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4.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13.xml" ContentType="application/vnd.openxmlformats-officedocument.presentationml.notesSlide+xml"/>
  <Override PartName="/ppt/tags/tag84.xml" ContentType="application/vnd.openxmlformats-officedocument.presentationml.tags+xml"/>
  <Override PartName="/ppt/media/image213.bin" ContentType="image/x-emf"/>
  <Override PartName="/ppt/tags/tag85.xml" ContentType="application/vnd.openxmlformats-officedocument.presentationml.tags+xml"/>
  <Override PartName="/ppt/tags/tag86.xml" ContentType="application/vnd.openxmlformats-officedocument.presentationml.tags+xml"/>
  <Override PartName="/ppt/notesSlides/notesSlide14.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15.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16.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17.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18.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notesSlides/notesSlide19.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7.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 id="2147483662" r:id="rId2"/>
    <p:sldMasterId id="2147483667" r:id="rId3"/>
    <p:sldMasterId id="2147483713" r:id="rId4"/>
  </p:sldMasterIdLst>
  <p:notesMasterIdLst>
    <p:notesMasterId r:id="rId108"/>
  </p:notesMasterIdLst>
  <p:sldIdLst>
    <p:sldId id="350" r:id="rId5"/>
    <p:sldId id="359" r:id="rId6"/>
    <p:sldId id="371" r:id="rId7"/>
    <p:sldId id="353" r:id="rId8"/>
    <p:sldId id="352" r:id="rId9"/>
    <p:sldId id="345" r:id="rId10"/>
    <p:sldId id="355" r:id="rId11"/>
    <p:sldId id="356" r:id="rId12"/>
    <p:sldId id="370" r:id="rId13"/>
    <p:sldId id="357" r:id="rId14"/>
    <p:sldId id="362" r:id="rId15"/>
    <p:sldId id="363" r:id="rId16"/>
    <p:sldId id="364" r:id="rId17"/>
    <p:sldId id="365" r:id="rId18"/>
    <p:sldId id="366" r:id="rId19"/>
    <p:sldId id="367" r:id="rId20"/>
    <p:sldId id="368" r:id="rId21"/>
    <p:sldId id="354" r:id="rId22"/>
    <p:sldId id="347" r:id="rId23"/>
    <p:sldId id="373" r:id="rId24"/>
    <p:sldId id="385" r:id="rId25"/>
    <p:sldId id="386" r:id="rId26"/>
    <p:sldId id="387" r:id="rId27"/>
    <p:sldId id="388" r:id="rId28"/>
    <p:sldId id="389" r:id="rId29"/>
    <p:sldId id="390" r:id="rId30"/>
    <p:sldId id="391" r:id="rId31"/>
    <p:sldId id="392" r:id="rId32"/>
    <p:sldId id="375" r:id="rId33"/>
    <p:sldId id="393" r:id="rId34"/>
    <p:sldId id="394" r:id="rId35"/>
    <p:sldId id="395" r:id="rId36"/>
    <p:sldId id="396" r:id="rId37"/>
    <p:sldId id="397" r:id="rId38"/>
    <p:sldId id="398" r:id="rId39"/>
    <p:sldId id="399" r:id="rId40"/>
    <p:sldId id="400" r:id="rId41"/>
    <p:sldId id="401" r:id="rId42"/>
    <p:sldId id="402" r:id="rId43"/>
    <p:sldId id="403" r:id="rId44"/>
    <p:sldId id="404" r:id="rId45"/>
    <p:sldId id="405" r:id="rId46"/>
    <p:sldId id="406" r:id="rId47"/>
    <p:sldId id="407" r:id="rId48"/>
    <p:sldId id="374" r:id="rId49"/>
    <p:sldId id="2147475310" r:id="rId50"/>
    <p:sldId id="2147475314" r:id="rId51"/>
    <p:sldId id="2147475315" r:id="rId52"/>
    <p:sldId id="2147475320" r:id="rId53"/>
    <p:sldId id="2147475321" r:id="rId54"/>
    <p:sldId id="2147475322" r:id="rId55"/>
    <p:sldId id="2147475323" r:id="rId56"/>
    <p:sldId id="2134805412" r:id="rId57"/>
    <p:sldId id="2147469259" r:id="rId58"/>
    <p:sldId id="2147475324" r:id="rId59"/>
    <p:sldId id="2147475325" r:id="rId60"/>
    <p:sldId id="2147475326" r:id="rId61"/>
    <p:sldId id="2147483268" r:id="rId62"/>
    <p:sldId id="2147483270" r:id="rId63"/>
    <p:sldId id="2147483271" r:id="rId64"/>
    <p:sldId id="2147483272" r:id="rId65"/>
    <p:sldId id="2147483273" r:id="rId66"/>
    <p:sldId id="377" r:id="rId67"/>
    <p:sldId id="256" r:id="rId68"/>
    <p:sldId id="280" r:id="rId69"/>
    <p:sldId id="257" r:id="rId70"/>
    <p:sldId id="285" r:id="rId71"/>
    <p:sldId id="259" r:id="rId72"/>
    <p:sldId id="281" r:id="rId73"/>
    <p:sldId id="260" r:id="rId74"/>
    <p:sldId id="288" r:id="rId75"/>
    <p:sldId id="287" r:id="rId76"/>
    <p:sldId id="263" r:id="rId77"/>
    <p:sldId id="265" r:id="rId78"/>
    <p:sldId id="266" r:id="rId79"/>
    <p:sldId id="282" r:id="rId80"/>
    <p:sldId id="284" r:id="rId81"/>
    <p:sldId id="269" r:id="rId82"/>
    <p:sldId id="289" r:id="rId83"/>
    <p:sldId id="271" r:id="rId84"/>
    <p:sldId id="272" r:id="rId85"/>
    <p:sldId id="290" r:id="rId86"/>
    <p:sldId id="291" r:id="rId87"/>
    <p:sldId id="275" r:id="rId88"/>
    <p:sldId id="276" r:id="rId89"/>
    <p:sldId id="292" r:id="rId90"/>
    <p:sldId id="278" r:id="rId91"/>
    <p:sldId id="376" r:id="rId92"/>
    <p:sldId id="378" r:id="rId93"/>
    <p:sldId id="379" r:id="rId94"/>
    <p:sldId id="258" r:id="rId95"/>
    <p:sldId id="310" r:id="rId96"/>
    <p:sldId id="380" r:id="rId97"/>
    <p:sldId id="261" r:id="rId98"/>
    <p:sldId id="262" r:id="rId99"/>
    <p:sldId id="311" r:id="rId100"/>
    <p:sldId id="309" r:id="rId101"/>
    <p:sldId id="381" r:id="rId102"/>
    <p:sldId id="384" r:id="rId103"/>
    <p:sldId id="264" r:id="rId104"/>
    <p:sldId id="305" r:id="rId105"/>
    <p:sldId id="383" r:id="rId106"/>
    <p:sldId id="369" r:id="rId107"/>
  </p:sldIdLst>
  <p:sldSz cx="12192000" cy="6858000"/>
  <p:notesSz cx="6807200" cy="9939338"/>
  <p:embeddedFontLst>
    <p:embeddedFont>
      <p:font typeface="Bebas Neue Bold" pitchFamily="2" charset="77"/>
      <p:bold r:id="rId109"/>
    </p:embeddedFont>
    <p:embeddedFont>
      <p:font typeface="Bebas Neue Book" pitchFamily="2" charset="77"/>
      <p:regular r:id="rId110"/>
    </p:embeddedFont>
    <p:embeddedFont>
      <p:font typeface="Calibri" panose="020F0502020204030204" pitchFamily="34" charset="0"/>
      <p:regular r:id="rId111"/>
      <p:bold r:id="rId112"/>
      <p:italic r:id="rId113"/>
      <p:boldItalic r:id="rId114"/>
    </p:embeddedFont>
    <p:embeddedFont>
      <p:font typeface="Helvetica" pitchFamily="2" charset="0"/>
      <p:regular r:id="rId115"/>
      <p:bold r:id="rId116"/>
      <p:italic r:id="rId117"/>
      <p:boldItalic r:id="rId118"/>
    </p:embeddedFont>
    <p:embeddedFont>
      <p:font typeface="Montserrat" pitchFamily="2" charset="77"/>
      <p:regular r:id="rId119"/>
      <p:bold r:id="rId120"/>
      <p:italic r:id="rId121"/>
      <p:boldItalic r:id="rId122"/>
    </p:embeddedFont>
    <p:embeddedFont>
      <p:font typeface="Montserrat Black" pitchFamily="2" charset="77"/>
      <p:bold r:id="rId123"/>
      <p:italic r:id="rId124"/>
      <p:boldItalic r:id="rId125"/>
    </p:embeddedFont>
    <p:embeddedFont>
      <p:font typeface="Montserrat ExtraBold" pitchFamily="2" charset="77"/>
      <p:bold r:id="rId126"/>
      <p:italic r:id="rId127"/>
      <p:boldItalic r:id="rId128"/>
    </p:embeddedFont>
    <p:embeddedFont>
      <p:font typeface="Montserrat SemiBold" pitchFamily="2" charset="77"/>
      <p:regular r:id="rId129"/>
      <p:bold r:id="rId130"/>
      <p:italic r:id="rId131"/>
      <p:boldItalic r:id="rId132"/>
    </p:embeddedFont>
    <p:embeddedFont>
      <p:font typeface="Nexa Book" pitchFamily="2" charset="77"/>
      <p:regular r:id="rId133"/>
    </p:embeddedFont>
    <p:embeddedFont>
      <p:font typeface="Nexa Extra Bold" pitchFamily="2" charset="77"/>
      <p:bold r:id="rId134"/>
    </p:embeddedFont>
    <p:embeddedFont>
      <p:font typeface="Nexa Extra Bold Italic" pitchFamily="2" charset="77"/>
      <p:bold r:id="rId135"/>
      <p:italic r:id="rId136"/>
      <p:boldItalic r:id="rId137"/>
    </p:embeddedFont>
    <p:embeddedFont>
      <p:font typeface="Roboto" panose="02000000000000000000" pitchFamily="2" charset="0"/>
      <p:regular r:id="rId138"/>
      <p:bold r:id="rId139"/>
      <p:italic r:id="rId140"/>
      <p:boldItalic r:id="rId141"/>
    </p:embeddedFont>
    <p:embeddedFont>
      <p:font typeface="Trebuchet MS" panose="020B0703020202090204" pitchFamily="34" charset="0"/>
      <p:regular r:id="rId142"/>
      <p:bold r:id="rId143"/>
      <p:italic r:id="rId144"/>
    </p:embeddedFont>
  </p:embeddedFontLst>
  <p:defaultTextStyle>
    <a:defPPr>
      <a:defRPr lang="bg-BG"/>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A98FF"/>
    <a:srgbClr val="00FC9B"/>
    <a:srgbClr val="050533"/>
    <a:srgbClr val="0D2E71"/>
    <a:srgbClr val="FF3737"/>
    <a:srgbClr val="064DEC"/>
    <a:srgbClr val="FF6D6D"/>
    <a:srgbClr val="0541C7"/>
    <a:srgbClr val="FFA7A7"/>
    <a:srgbClr val="FFE7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578" autoAdjust="0"/>
    <p:restoredTop sz="94660"/>
  </p:normalViewPr>
  <p:slideViewPr>
    <p:cSldViewPr snapToGrid="0">
      <p:cViewPr>
        <p:scale>
          <a:sx n="113" d="100"/>
          <a:sy n="113" d="100"/>
        </p:scale>
        <p:origin x="1368" y="408"/>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font" Target="fonts/font9.fntdata"/><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font" Target="fonts/font30.fntdata"/><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font" Target="fonts/font20.fntdata"/><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font" Target="fonts/font5.fntdata"/><Relationship Id="rId118" Type="http://schemas.openxmlformats.org/officeDocument/2006/relationships/font" Target="fonts/font10.fntdata"/><Relationship Id="rId134" Type="http://schemas.openxmlformats.org/officeDocument/2006/relationships/font" Target="fonts/font26.fntdata"/><Relationship Id="rId139" Type="http://schemas.openxmlformats.org/officeDocument/2006/relationships/font" Target="fonts/font31.fntdata"/><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notesMaster" Target="notesMasters/notesMaster1.xml"/><Relationship Id="rId124" Type="http://schemas.openxmlformats.org/officeDocument/2006/relationships/font" Target="fonts/font16.fntdata"/><Relationship Id="rId129" Type="http://schemas.openxmlformats.org/officeDocument/2006/relationships/font" Target="fonts/font21.fntdata"/><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40" Type="http://schemas.openxmlformats.org/officeDocument/2006/relationships/font" Target="fonts/font32.fntdata"/><Relationship Id="rId14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font" Target="fonts/font6.fntdata"/><Relationship Id="rId119" Type="http://schemas.openxmlformats.org/officeDocument/2006/relationships/font" Target="fonts/font11.fntdata"/><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font" Target="fonts/font22.fntdata"/><Relationship Id="rId135" Type="http://schemas.openxmlformats.org/officeDocument/2006/relationships/font" Target="fonts/font27.fntdata"/><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font" Target="fonts/font1.fntdata"/><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font" Target="fonts/font12.fntdata"/><Relationship Id="rId125" Type="http://schemas.openxmlformats.org/officeDocument/2006/relationships/font" Target="fonts/font17.fntdata"/><Relationship Id="rId141" Type="http://schemas.openxmlformats.org/officeDocument/2006/relationships/font" Target="fonts/font33.fntdata"/><Relationship Id="rId146"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font" Target="fonts/font2.fntdata"/><Relationship Id="rId115" Type="http://schemas.openxmlformats.org/officeDocument/2006/relationships/font" Target="fonts/font7.fntdata"/><Relationship Id="rId131" Type="http://schemas.openxmlformats.org/officeDocument/2006/relationships/font" Target="fonts/font23.fntdata"/><Relationship Id="rId136" Type="http://schemas.openxmlformats.org/officeDocument/2006/relationships/font" Target="fonts/font28.fntdata"/><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font" Target="fonts/font18.fntdata"/><Relationship Id="rId147"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font" Target="fonts/font13.fntdata"/><Relationship Id="rId142" Type="http://schemas.openxmlformats.org/officeDocument/2006/relationships/font" Target="fonts/font34.fntdata"/><Relationship Id="rId3" Type="http://schemas.openxmlformats.org/officeDocument/2006/relationships/slideMaster" Target="slideMasters/slideMaster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font" Target="fonts/font8.fntdata"/><Relationship Id="rId137" Type="http://schemas.openxmlformats.org/officeDocument/2006/relationships/font" Target="fonts/font29.fntdata"/><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font" Target="fonts/font3.fntdata"/><Relationship Id="rId132" Type="http://schemas.openxmlformats.org/officeDocument/2006/relationships/font" Target="fonts/font24.fntdata"/><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font" Target="fonts/font19.fntdata"/><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font" Target="fonts/font14.fntdata"/><Relationship Id="rId143" Type="http://schemas.openxmlformats.org/officeDocument/2006/relationships/font" Target="fonts/font35.fntdata"/><Relationship Id="rId148"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font" Target="fonts/font4.fntdata"/><Relationship Id="rId133" Type="http://schemas.openxmlformats.org/officeDocument/2006/relationships/font" Target="fonts/font25.fntdata"/><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font" Target="fonts/font15.fntdata"/><Relationship Id="rId144" Type="http://schemas.openxmlformats.org/officeDocument/2006/relationships/font" Target="fonts/font36.fntdata"/></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5" Type="http://schemas.openxmlformats.org/officeDocument/2006/relationships/chartUserShapes" Target="../drawings/drawing1.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snezhana\Desktop\New_investors_2023.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ontserrat" pitchFamily="2" charset="77"/>
                <a:ea typeface="+mn-ea"/>
                <a:cs typeface="+mn-cs"/>
              </a:defRPr>
            </a:pPr>
            <a:r>
              <a:rPr lang="en-GB" sz="1000" b="1" i="0" u="none" strike="noStrike" kern="1200" spc="0" baseline="0" dirty="0">
                <a:solidFill>
                  <a:srgbClr val="002060"/>
                </a:solidFill>
                <a:latin typeface="Montserrat" pitchFamily="2" charset="77"/>
                <a:cs typeface="Calibri" panose="020F0502020204030204" pitchFamily="34" charset="0"/>
              </a:rPr>
              <a:t>BSE T</a:t>
            </a:r>
            <a:r>
              <a:rPr lang="en-GB" sz="1000" b="1" i="0" u="none" strike="noStrike" kern="1200" spc="0" baseline="0" dirty="0">
                <a:solidFill>
                  <a:srgbClr val="002060"/>
                </a:solidFill>
                <a:latin typeface="Montserrat" pitchFamily="2" charset="77"/>
              </a:rPr>
              <a:t>urnover for the period 201</a:t>
            </a:r>
            <a:r>
              <a:rPr lang="bg-BG" sz="1000" b="1" i="0" u="none" strike="noStrike" kern="1200" spc="0" baseline="0" dirty="0">
                <a:solidFill>
                  <a:srgbClr val="002060"/>
                </a:solidFill>
                <a:latin typeface="Montserrat" pitchFamily="2" charset="77"/>
              </a:rPr>
              <a:t>9</a:t>
            </a:r>
            <a:r>
              <a:rPr lang="en-GB" sz="1000" b="1" i="0" u="none" strike="noStrike" kern="1200" spc="0" baseline="0" dirty="0">
                <a:solidFill>
                  <a:srgbClr val="002060"/>
                </a:solidFill>
                <a:latin typeface="Montserrat" pitchFamily="2" charset="77"/>
              </a:rPr>
              <a:t> – 202</a:t>
            </a:r>
            <a:r>
              <a:rPr lang="bg-BG" sz="1000" b="1" i="0" u="none" strike="noStrike" kern="1200" spc="0" baseline="0" dirty="0">
                <a:solidFill>
                  <a:srgbClr val="002060"/>
                </a:solidFill>
                <a:latin typeface="Montserrat" pitchFamily="2" charset="77"/>
              </a:rPr>
              <a:t>3</a:t>
            </a:r>
            <a:r>
              <a:rPr lang="en-GB" sz="1000" b="1" i="0" u="none" strike="noStrike" kern="1200" spc="0" baseline="0" dirty="0">
                <a:solidFill>
                  <a:srgbClr val="002060"/>
                </a:solidFill>
                <a:latin typeface="Montserrat" pitchFamily="2" charset="77"/>
              </a:rPr>
              <a:t> (EUR </a:t>
            </a:r>
            <a:r>
              <a:rPr lang="en-GB" sz="1000" b="1" i="0" u="none" strike="noStrike" kern="1200" spc="0" baseline="0" dirty="0" err="1">
                <a:solidFill>
                  <a:srgbClr val="002060"/>
                </a:solidFill>
                <a:latin typeface="Montserrat" pitchFamily="2" charset="77"/>
              </a:rPr>
              <a:t>mln</a:t>
            </a:r>
            <a:r>
              <a:rPr lang="en-GB" sz="1000" b="1" i="0" u="none" strike="noStrike" kern="1200" spc="0" baseline="0" dirty="0">
                <a:solidFill>
                  <a:srgbClr val="002060"/>
                </a:solidFill>
                <a:latin typeface="Montserrat" pitchFamily="2" charset="77"/>
              </a:rPr>
              <a:t>.) </a:t>
            </a:r>
            <a:r>
              <a:rPr lang="bg-BG" sz="1000" b="1" i="0" u="none" strike="noStrike" kern="1200" spc="0" baseline="0" dirty="0">
                <a:solidFill>
                  <a:sysClr val="windowText" lastClr="000000">
                    <a:lumMod val="65000"/>
                    <a:lumOff val="35000"/>
                  </a:sysClr>
                </a:solidFill>
                <a:latin typeface="Montserrat" pitchFamily="2" charset="77"/>
              </a:rPr>
              <a:t> </a:t>
            </a:r>
            <a:endParaRPr lang="de-DE" sz="1000" dirty="0">
              <a:latin typeface="Montserrat" pitchFamily="2" charset="77"/>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ontserrat" pitchFamily="2" charset="77"/>
              <a:ea typeface="+mn-ea"/>
              <a:cs typeface="+mn-cs"/>
            </a:defRPr>
          </a:pPr>
          <a:endParaRPr lang="en-BG"/>
        </a:p>
      </c:txPr>
    </c:title>
    <c:autoTitleDeleted val="0"/>
    <c:plotArea>
      <c:layout>
        <c:manualLayout>
          <c:layoutTarget val="inner"/>
          <c:xMode val="edge"/>
          <c:yMode val="edge"/>
          <c:x val="7.8876324507844375E-2"/>
          <c:y val="0.23709070576425312"/>
          <c:w val="0.88786291901827197"/>
          <c:h val="0.63848697171782265"/>
        </c:manualLayout>
      </c:layout>
      <c:barChart>
        <c:barDir val="col"/>
        <c:grouping val="clustered"/>
        <c:varyColors val="0"/>
        <c:ser>
          <c:idx val="0"/>
          <c:order val="0"/>
          <c:tx>
            <c:strRef>
              <c:f>Turnover_Trades!$B$118</c:f>
              <c:strCache>
                <c:ptCount val="1"/>
                <c:pt idx="0">
                  <c:v>Turnover (EUR mln) </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002060"/>
                    </a:solidFill>
                    <a:latin typeface="Montserrat" pitchFamily="2" charset="77"/>
                    <a:ea typeface="+mn-ea"/>
                    <a:cs typeface="+mn-cs"/>
                  </a:defRPr>
                </a:pPr>
                <a:endParaRPr lang="en-BG"/>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urnover_Trades!$A$119:$A$123</c:f>
              <c:numCache>
                <c:formatCode>General</c:formatCode>
                <c:ptCount val="5"/>
                <c:pt idx="0">
                  <c:v>2019</c:v>
                </c:pt>
                <c:pt idx="1">
                  <c:v>2020</c:v>
                </c:pt>
                <c:pt idx="2">
                  <c:v>2021</c:v>
                </c:pt>
                <c:pt idx="3">
                  <c:v>2022</c:v>
                </c:pt>
                <c:pt idx="4">
                  <c:v>2023</c:v>
                </c:pt>
              </c:numCache>
            </c:numRef>
          </c:cat>
          <c:val>
            <c:numRef>
              <c:f>Turnover_Trades!$B$119:$B$123</c:f>
              <c:numCache>
                <c:formatCode>#,##0</c:formatCode>
                <c:ptCount val="5"/>
                <c:pt idx="0">
                  <c:v>170.77148831953699</c:v>
                </c:pt>
                <c:pt idx="1">
                  <c:v>202.98287683489875</c:v>
                </c:pt>
                <c:pt idx="2">
                  <c:v>418.74805069970296</c:v>
                </c:pt>
                <c:pt idx="3">
                  <c:v>513.33704872100338</c:v>
                </c:pt>
                <c:pt idx="4" formatCode="0">
                  <c:v>400.85283485783532</c:v>
                </c:pt>
              </c:numCache>
            </c:numRef>
          </c:val>
          <c:extLst>
            <c:ext xmlns:c16="http://schemas.microsoft.com/office/drawing/2014/chart" uri="{C3380CC4-5D6E-409C-BE32-E72D297353CC}">
              <c16:uniqueId val="{00000000-C5E6-6448-A14F-759227F47D50}"/>
            </c:ext>
          </c:extLst>
        </c:ser>
        <c:dLbls>
          <c:showLegendKey val="0"/>
          <c:showVal val="0"/>
          <c:showCatName val="0"/>
          <c:showSerName val="0"/>
          <c:showPercent val="0"/>
          <c:showBubbleSize val="0"/>
        </c:dLbls>
        <c:gapWidth val="219"/>
        <c:overlap val="-27"/>
        <c:axId val="1459298287"/>
        <c:axId val="55108783"/>
      </c:barChart>
      <c:catAx>
        <c:axId val="14592982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rgbClr val="002060"/>
                </a:solidFill>
                <a:latin typeface="Montserrat" pitchFamily="2" charset="77"/>
                <a:ea typeface="+mn-ea"/>
                <a:cs typeface="+mn-cs"/>
              </a:defRPr>
            </a:pPr>
            <a:endParaRPr lang="en-BG"/>
          </a:p>
        </c:txPr>
        <c:crossAx val="55108783"/>
        <c:crosses val="autoZero"/>
        <c:auto val="1"/>
        <c:lblAlgn val="ctr"/>
        <c:lblOffset val="100"/>
        <c:noMultiLvlLbl val="0"/>
      </c:catAx>
      <c:valAx>
        <c:axId val="5510878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rgbClr val="002060"/>
                </a:solidFill>
                <a:latin typeface="Montserrat" pitchFamily="2" charset="77"/>
                <a:ea typeface="+mn-ea"/>
                <a:cs typeface="+mn-cs"/>
              </a:defRPr>
            </a:pPr>
            <a:endParaRPr lang="en-BG"/>
          </a:p>
        </c:txPr>
        <c:crossAx val="1459298287"/>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BG"/>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1" i="0" u="none" strike="noStrike" kern="1200" spc="0" baseline="0">
                <a:solidFill>
                  <a:srgbClr val="002060"/>
                </a:solidFill>
                <a:latin typeface="Montserrat" pitchFamily="2" charset="77"/>
                <a:ea typeface="+mn-ea"/>
                <a:cs typeface="+mn-cs"/>
              </a:defRPr>
            </a:pPr>
            <a:r>
              <a:rPr lang="de-DE" sz="1000" b="1" i="0" u="none" strike="noStrike" kern="1200" spc="0" baseline="0">
                <a:solidFill>
                  <a:srgbClr val="002060"/>
                </a:solidFill>
                <a:latin typeface="Montserrat" pitchFamily="2" charset="77"/>
              </a:rPr>
              <a:t>New capital raised on BSE for the period 2019-2023 (EUR mln) </a:t>
            </a:r>
          </a:p>
        </c:rich>
      </c:tx>
      <c:overlay val="0"/>
      <c:spPr>
        <a:noFill/>
        <a:ln>
          <a:noFill/>
        </a:ln>
        <a:effectLst/>
      </c:spPr>
      <c:txPr>
        <a:bodyPr rot="0" spcFirstLastPara="1" vertOverflow="ellipsis" vert="horz" wrap="square" anchor="ctr" anchorCtr="1"/>
        <a:lstStyle/>
        <a:p>
          <a:pPr>
            <a:defRPr sz="1000" b="1" i="0" u="none" strike="noStrike" kern="1200" spc="0" baseline="0">
              <a:solidFill>
                <a:srgbClr val="002060"/>
              </a:solidFill>
              <a:latin typeface="Montserrat" pitchFamily="2" charset="77"/>
              <a:ea typeface="+mn-ea"/>
              <a:cs typeface="+mn-cs"/>
            </a:defRPr>
          </a:pPr>
          <a:endParaRPr lang="en-BG"/>
        </a:p>
      </c:txPr>
    </c:title>
    <c:autoTitleDeleted val="0"/>
    <c:plotArea>
      <c:layout/>
      <c:barChart>
        <c:barDir val="col"/>
        <c:grouping val="stacked"/>
        <c:varyColors val="0"/>
        <c:ser>
          <c:idx val="0"/>
          <c:order val="0"/>
          <c:tx>
            <c:strRef>
              <c:f>Turnover_cap_incr_2017_2023!$A$167</c:f>
              <c:strCache>
                <c:ptCount val="1"/>
                <c:pt idx="0">
                  <c:v>bonds </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ontserrat" pitchFamily="2" charset="77"/>
                    <a:ea typeface="+mn-ea"/>
                    <a:cs typeface="+mn-cs"/>
                  </a:defRPr>
                </a:pPr>
                <a:endParaRPr lang="en-BG"/>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urnover_cap_incr_2017_2023!$B$166:$F$166</c:f>
              <c:numCache>
                <c:formatCode>General</c:formatCode>
                <c:ptCount val="5"/>
                <c:pt idx="0">
                  <c:v>2019</c:v>
                </c:pt>
                <c:pt idx="1">
                  <c:v>2020</c:v>
                </c:pt>
                <c:pt idx="2">
                  <c:v>2021</c:v>
                </c:pt>
                <c:pt idx="3">
                  <c:v>2022</c:v>
                </c:pt>
                <c:pt idx="4">
                  <c:v>2023</c:v>
                </c:pt>
              </c:numCache>
            </c:numRef>
          </c:cat>
          <c:val>
            <c:numRef>
              <c:f>Turnover_cap_incr_2017_2023!$B$167:$F$167</c:f>
              <c:numCache>
                <c:formatCode>#,##0</c:formatCode>
                <c:ptCount val="5"/>
                <c:pt idx="0">
                  <c:v>88</c:v>
                </c:pt>
                <c:pt idx="1">
                  <c:v>62</c:v>
                </c:pt>
                <c:pt idx="2">
                  <c:v>162</c:v>
                </c:pt>
                <c:pt idx="3">
                  <c:v>104</c:v>
                </c:pt>
                <c:pt idx="4">
                  <c:v>287</c:v>
                </c:pt>
              </c:numCache>
            </c:numRef>
          </c:val>
          <c:extLst>
            <c:ext xmlns:c16="http://schemas.microsoft.com/office/drawing/2014/chart" uri="{C3380CC4-5D6E-409C-BE32-E72D297353CC}">
              <c16:uniqueId val="{00000000-EDFA-F741-88B5-6F2D4A535405}"/>
            </c:ext>
          </c:extLst>
        </c:ser>
        <c:ser>
          <c:idx val="1"/>
          <c:order val="1"/>
          <c:tx>
            <c:strRef>
              <c:f>Turnover_cap_incr_2017_2023!$A$168</c:f>
              <c:strCache>
                <c:ptCount val="1"/>
                <c:pt idx="0">
                  <c:v>stocks </c:v>
                </c:pt>
              </c:strCache>
            </c:strRef>
          </c:tx>
          <c:spPr>
            <a:solidFill>
              <a:schemeClr val="accent5">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ontserrat" pitchFamily="2" charset="77"/>
                    <a:ea typeface="+mn-ea"/>
                    <a:cs typeface="+mn-cs"/>
                  </a:defRPr>
                </a:pPr>
                <a:endParaRPr lang="en-BG"/>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urnover_cap_incr_2017_2023!$B$166:$F$166</c:f>
              <c:numCache>
                <c:formatCode>General</c:formatCode>
                <c:ptCount val="5"/>
                <c:pt idx="0">
                  <c:v>2019</c:v>
                </c:pt>
                <c:pt idx="1">
                  <c:v>2020</c:v>
                </c:pt>
                <c:pt idx="2">
                  <c:v>2021</c:v>
                </c:pt>
                <c:pt idx="3">
                  <c:v>2022</c:v>
                </c:pt>
                <c:pt idx="4">
                  <c:v>2023</c:v>
                </c:pt>
              </c:numCache>
            </c:numRef>
          </c:cat>
          <c:val>
            <c:numRef>
              <c:f>Turnover_cap_incr_2017_2023!$B$168:$F$168</c:f>
              <c:numCache>
                <c:formatCode>#,##0</c:formatCode>
                <c:ptCount val="5"/>
                <c:pt idx="0">
                  <c:v>148.78593742809957</c:v>
                </c:pt>
                <c:pt idx="1">
                  <c:v>164.68711493330198</c:v>
                </c:pt>
                <c:pt idx="2">
                  <c:v>143.1617267349412</c:v>
                </c:pt>
                <c:pt idx="3">
                  <c:v>65.956652674312181</c:v>
                </c:pt>
                <c:pt idx="4">
                  <c:v>128.84555406144705</c:v>
                </c:pt>
              </c:numCache>
            </c:numRef>
          </c:val>
          <c:extLst>
            <c:ext xmlns:c16="http://schemas.microsoft.com/office/drawing/2014/chart" uri="{C3380CC4-5D6E-409C-BE32-E72D297353CC}">
              <c16:uniqueId val="{00000001-EDFA-F741-88B5-6F2D4A535405}"/>
            </c:ext>
          </c:extLst>
        </c:ser>
        <c:dLbls>
          <c:showLegendKey val="0"/>
          <c:showVal val="0"/>
          <c:showCatName val="0"/>
          <c:showSerName val="0"/>
          <c:showPercent val="0"/>
          <c:showBubbleSize val="0"/>
        </c:dLbls>
        <c:gapWidth val="150"/>
        <c:overlap val="100"/>
        <c:axId val="1954020191"/>
        <c:axId val="1954015871"/>
      </c:barChart>
      <c:catAx>
        <c:axId val="19540201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ontserrat" pitchFamily="2" charset="77"/>
                <a:ea typeface="+mn-ea"/>
                <a:cs typeface="+mn-cs"/>
              </a:defRPr>
            </a:pPr>
            <a:endParaRPr lang="en-BG"/>
          </a:p>
        </c:txPr>
        <c:crossAx val="1954015871"/>
        <c:crosses val="autoZero"/>
        <c:auto val="1"/>
        <c:lblAlgn val="ctr"/>
        <c:lblOffset val="100"/>
        <c:noMultiLvlLbl val="0"/>
      </c:catAx>
      <c:valAx>
        <c:axId val="195401587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002060"/>
                </a:solidFill>
                <a:latin typeface="Montserrat" pitchFamily="2" charset="77"/>
                <a:ea typeface="+mn-ea"/>
                <a:cs typeface="+mn-cs"/>
              </a:defRPr>
            </a:pPr>
            <a:endParaRPr lang="en-BG"/>
          </a:p>
        </c:txPr>
        <c:crossAx val="19540201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rgbClr val="002060"/>
              </a:solidFill>
              <a:latin typeface="Montserrat" pitchFamily="2" charset="77"/>
              <a:ea typeface="+mn-ea"/>
              <a:cs typeface="+mn-cs"/>
            </a:defRPr>
          </a:pPr>
          <a:endParaRPr lang="en-BG"/>
        </a:p>
      </c:txPr>
    </c:legend>
    <c:plotVisOnly val="1"/>
    <c:dispBlanksAs val="gap"/>
    <c:showDLblsOverMax val="0"/>
  </c:chart>
  <c:spPr>
    <a:noFill/>
    <a:ln>
      <a:noFill/>
    </a:ln>
    <a:effectLst/>
  </c:spPr>
  <c:txPr>
    <a:bodyPr/>
    <a:lstStyle/>
    <a:p>
      <a:pPr>
        <a:defRPr/>
      </a:pPr>
      <a:endParaRPr lang="en-BG"/>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8.0587865287390634E-2"/>
          <c:y val="0.15491211232941679"/>
          <c:w val="0.88961282875404857"/>
          <c:h val="0.71919551946427507"/>
        </c:manualLayout>
      </c:layout>
      <c:areaChart>
        <c:grouping val="standard"/>
        <c:varyColors val="0"/>
        <c:ser>
          <c:idx val="1"/>
          <c:order val="0"/>
          <c:tx>
            <c:strRef>
              <c:f>'5 index'!$C$17</c:f>
              <c:strCache>
                <c:ptCount val="1"/>
                <c:pt idx="0">
                  <c:v>SOFIX</c:v>
                </c:pt>
              </c:strCache>
            </c:strRef>
          </c:tx>
          <c:spPr>
            <a:solidFill>
              <a:srgbClr val="7BB1FF"/>
            </a:solidFill>
            <a:ln>
              <a:noFill/>
            </a:ln>
            <a:effectLst/>
          </c:spPr>
          <c:cat>
            <c:numRef>
              <c:f>'5 index'!$D$19:$D$1250</c:f>
              <c:numCache>
                <c:formatCode>m/d/yyyy</c:formatCode>
                <c:ptCount val="1232"/>
                <c:pt idx="0">
                  <c:v>43921</c:v>
                </c:pt>
                <c:pt idx="1">
                  <c:v>43922</c:v>
                </c:pt>
                <c:pt idx="2">
                  <c:v>43923</c:v>
                </c:pt>
                <c:pt idx="3">
                  <c:v>43924</c:v>
                </c:pt>
                <c:pt idx="4">
                  <c:v>43927</c:v>
                </c:pt>
                <c:pt idx="5">
                  <c:v>43928</c:v>
                </c:pt>
                <c:pt idx="6">
                  <c:v>43929</c:v>
                </c:pt>
                <c:pt idx="7">
                  <c:v>43930</c:v>
                </c:pt>
                <c:pt idx="8">
                  <c:v>43935</c:v>
                </c:pt>
                <c:pt idx="9">
                  <c:v>43936</c:v>
                </c:pt>
                <c:pt idx="10">
                  <c:v>43937</c:v>
                </c:pt>
                <c:pt idx="11">
                  <c:v>43942</c:v>
                </c:pt>
                <c:pt idx="12">
                  <c:v>43943</c:v>
                </c:pt>
                <c:pt idx="13">
                  <c:v>43944</c:v>
                </c:pt>
                <c:pt idx="14">
                  <c:v>43945</c:v>
                </c:pt>
                <c:pt idx="15">
                  <c:v>43948</c:v>
                </c:pt>
                <c:pt idx="16">
                  <c:v>43949</c:v>
                </c:pt>
                <c:pt idx="17">
                  <c:v>43950</c:v>
                </c:pt>
                <c:pt idx="18">
                  <c:v>43951</c:v>
                </c:pt>
                <c:pt idx="19">
                  <c:v>43955</c:v>
                </c:pt>
                <c:pt idx="20">
                  <c:v>43956</c:v>
                </c:pt>
                <c:pt idx="21">
                  <c:v>43958</c:v>
                </c:pt>
                <c:pt idx="22">
                  <c:v>43959</c:v>
                </c:pt>
                <c:pt idx="23">
                  <c:v>43962</c:v>
                </c:pt>
                <c:pt idx="24">
                  <c:v>43963</c:v>
                </c:pt>
                <c:pt idx="25">
                  <c:v>43964</c:v>
                </c:pt>
                <c:pt idx="26">
                  <c:v>43965</c:v>
                </c:pt>
                <c:pt idx="27">
                  <c:v>43966</c:v>
                </c:pt>
                <c:pt idx="28">
                  <c:v>43969</c:v>
                </c:pt>
                <c:pt idx="29">
                  <c:v>43970</c:v>
                </c:pt>
                <c:pt idx="30">
                  <c:v>43971</c:v>
                </c:pt>
                <c:pt idx="31">
                  <c:v>43972</c:v>
                </c:pt>
                <c:pt idx="32">
                  <c:v>43973</c:v>
                </c:pt>
                <c:pt idx="33">
                  <c:v>43977</c:v>
                </c:pt>
                <c:pt idx="34">
                  <c:v>43978</c:v>
                </c:pt>
                <c:pt idx="35">
                  <c:v>43979</c:v>
                </c:pt>
                <c:pt idx="36">
                  <c:v>43980</c:v>
                </c:pt>
                <c:pt idx="37">
                  <c:v>43983</c:v>
                </c:pt>
                <c:pt idx="38">
                  <c:v>43984</c:v>
                </c:pt>
                <c:pt idx="39">
                  <c:v>43985</c:v>
                </c:pt>
                <c:pt idx="40">
                  <c:v>43986</c:v>
                </c:pt>
                <c:pt idx="41">
                  <c:v>43987</c:v>
                </c:pt>
                <c:pt idx="42">
                  <c:v>43990</c:v>
                </c:pt>
                <c:pt idx="43">
                  <c:v>43991</c:v>
                </c:pt>
                <c:pt idx="44">
                  <c:v>43992</c:v>
                </c:pt>
                <c:pt idx="45">
                  <c:v>43993</c:v>
                </c:pt>
                <c:pt idx="46">
                  <c:v>43994</c:v>
                </c:pt>
                <c:pt idx="47">
                  <c:v>43997</c:v>
                </c:pt>
                <c:pt idx="48">
                  <c:v>43998</c:v>
                </c:pt>
                <c:pt idx="49">
                  <c:v>43999</c:v>
                </c:pt>
                <c:pt idx="50">
                  <c:v>44000</c:v>
                </c:pt>
                <c:pt idx="51">
                  <c:v>44001</c:v>
                </c:pt>
                <c:pt idx="52">
                  <c:v>44004</c:v>
                </c:pt>
                <c:pt idx="53">
                  <c:v>44005</c:v>
                </c:pt>
                <c:pt idx="54">
                  <c:v>44006</c:v>
                </c:pt>
                <c:pt idx="55">
                  <c:v>44007</c:v>
                </c:pt>
                <c:pt idx="56">
                  <c:v>44008</c:v>
                </c:pt>
                <c:pt idx="57">
                  <c:v>44011</c:v>
                </c:pt>
                <c:pt idx="58">
                  <c:v>44012</c:v>
                </c:pt>
                <c:pt idx="59">
                  <c:v>44013</c:v>
                </c:pt>
                <c:pt idx="60">
                  <c:v>44014</c:v>
                </c:pt>
                <c:pt idx="61">
                  <c:v>44015</c:v>
                </c:pt>
                <c:pt idx="62">
                  <c:v>44018</c:v>
                </c:pt>
                <c:pt idx="63">
                  <c:v>44019</c:v>
                </c:pt>
                <c:pt idx="64">
                  <c:v>44020</c:v>
                </c:pt>
                <c:pt idx="65">
                  <c:v>44021</c:v>
                </c:pt>
                <c:pt idx="66">
                  <c:v>44022</c:v>
                </c:pt>
                <c:pt idx="67">
                  <c:v>44025</c:v>
                </c:pt>
                <c:pt idx="68">
                  <c:v>44026</c:v>
                </c:pt>
                <c:pt idx="69">
                  <c:v>44027</c:v>
                </c:pt>
                <c:pt idx="70">
                  <c:v>44028</c:v>
                </c:pt>
                <c:pt idx="71">
                  <c:v>44029</c:v>
                </c:pt>
                <c:pt idx="72">
                  <c:v>44032</c:v>
                </c:pt>
                <c:pt idx="73">
                  <c:v>44033</c:v>
                </c:pt>
                <c:pt idx="74">
                  <c:v>44034</c:v>
                </c:pt>
                <c:pt idx="75">
                  <c:v>44035</c:v>
                </c:pt>
                <c:pt idx="76">
                  <c:v>44036</c:v>
                </c:pt>
                <c:pt idx="77">
                  <c:v>44039</c:v>
                </c:pt>
                <c:pt idx="78">
                  <c:v>44040</c:v>
                </c:pt>
                <c:pt idx="79">
                  <c:v>44041</c:v>
                </c:pt>
                <c:pt idx="80">
                  <c:v>44042</c:v>
                </c:pt>
                <c:pt idx="81">
                  <c:v>44043</c:v>
                </c:pt>
                <c:pt idx="82">
                  <c:v>44046</c:v>
                </c:pt>
                <c:pt idx="83">
                  <c:v>44047</c:v>
                </c:pt>
                <c:pt idx="84">
                  <c:v>44048</c:v>
                </c:pt>
                <c:pt idx="85">
                  <c:v>44049</c:v>
                </c:pt>
                <c:pt idx="86">
                  <c:v>44050</c:v>
                </c:pt>
                <c:pt idx="87">
                  <c:v>44053</c:v>
                </c:pt>
                <c:pt idx="88">
                  <c:v>44054</c:v>
                </c:pt>
                <c:pt idx="89">
                  <c:v>44055</c:v>
                </c:pt>
                <c:pt idx="90">
                  <c:v>44056</c:v>
                </c:pt>
                <c:pt idx="91">
                  <c:v>44057</c:v>
                </c:pt>
                <c:pt idx="92">
                  <c:v>44060</c:v>
                </c:pt>
                <c:pt idx="93">
                  <c:v>44061</c:v>
                </c:pt>
                <c:pt idx="94">
                  <c:v>44062</c:v>
                </c:pt>
                <c:pt idx="95">
                  <c:v>44063</c:v>
                </c:pt>
                <c:pt idx="96">
                  <c:v>44064</c:v>
                </c:pt>
                <c:pt idx="97">
                  <c:v>44067</c:v>
                </c:pt>
                <c:pt idx="98">
                  <c:v>44068</c:v>
                </c:pt>
                <c:pt idx="99">
                  <c:v>44069</c:v>
                </c:pt>
                <c:pt idx="100">
                  <c:v>44070</c:v>
                </c:pt>
                <c:pt idx="101">
                  <c:v>44071</c:v>
                </c:pt>
                <c:pt idx="102">
                  <c:v>44074</c:v>
                </c:pt>
                <c:pt idx="103">
                  <c:v>44075</c:v>
                </c:pt>
                <c:pt idx="104">
                  <c:v>44076</c:v>
                </c:pt>
                <c:pt idx="105">
                  <c:v>44077</c:v>
                </c:pt>
                <c:pt idx="106">
                  <c:v>44078</c:v>
                </c:pt>
                <c:pt idx="107">
                  <c:v>44082</c:v>
                </c:pt>
                <c:pt idx="108">
                  <c:v>44083</c:v>
                </c:pt>
                <c:pt idx="109">
                  <c:v>44084</c:v>
                </c:pt>
                <c:pt idx="110">
                  <c:v>44085</c:v>
                </c:pt>
                <c:pt idx="111">
                  <c:v>44088</c:v>
                </c:pt>
                <c:pt idx="112">
                  <c:v>44089</c:v>
                </c:pt>
                <c:pt idx="113">
                  <c:v>44090</c:v>
                </c:pt>
                <c:pt idx="114">
                  <c:v>44091</c:v>
                </c:pt>
                <c:pt idx="115">
                  <c:v>44092</c:v>
                </c:pt>
                <c:pt idx="116">
                  <c:v>44095</c:v>
                </c:pt>
                <c:pt idx="117">
                  <c:v>44097</c:v>
                </c:pt>
                <c:pt idx="118">
                  <c:v>44098</c:v>
                </c:pt>
                <c:pt idx="119">
                  <c:v>44099</c:v>
                </c:pt>
                <c:pt idx="120">
                  <c:v>44102</c:v>
                </c:pt>
                <c:pt idx="121">
                  <c:v>44103</c:v>
                </c:pt>
                <c:pt idx="122">
                  <c:v>44104</c:v>
                </c:pt>
                <c:pt idx="123">
                  <c:v>44105</c:v>
                </c:pt>
                <c:pt idx="124">
                  <c:v>44106</c:v>
                </c:pt>
                <c:pt idx="125">
                  <c:v>44109</c:v>
                </c:pt>
                <c:pt idx="126">
                  <c:v>44110</c:v>
                </c:pt>
                <c:pt idx="127">
                  <c:v>44111</c:v>
                </c:pt>
                <c:pt idx="128">
                  <c:v>44112</c:v>
                </c:pt>
                <c:pt idx="129">
                  <c:v>44113</c:v>
                </c:pt>
                <c:pt idx="130">
                  <c:v>44116</c:v>
                </c:pt>
                <c:pt idx="131">
                  <c:v>44117</c:v>
                </c:pt>
                <c:pt idx="132">
                  <c:v>44118</c:v>
                </c:pt>
                <c:pt idx="133">
                  <c:v>44119</c:v>
                </c:pt>
                <c:pt idx="134">
                  <c:v>44120</c:v>
                </c:pt>
                <c:pt idx="135">
                  <c:v>44123</c:v>
                </c:pt>
                <c:pt idx="136">
                  <c:v>44124</c:v>
                </c:pt>
                <c:pt idx="137">
                  <c:v>44125</c:v>
                </c:pt>
                <c:pt idx="138">
                  <c:v>44126</c:v>
                </c:pt>
                <c:pt idx="139">
                  <c:v>44127</c:v>
                </c:pt>
                <c:pt idx="140">
                  <c:v>44130</c:v>
                </c:pt>
                <c:pt idx="141">
                  <c:v>44131</c:v>
                </c:pt>
                <c:pt idx="142">
                  <c:v>44132</c:v>
                </c:pt>
                <c:pt idx="143">
                  <c:v>44133</c:v>
                </c:pt>
                <c:pt idx="144">
                  <c:v>44134</c:v>
                </c:pt>
                <c:pt idx="145">
                  <c:v>44137</c:v>
                </c:pt>
                <c:pt idx="146">
                  <c:v>44138</c:v>
                </c:pt>
                <c:pt idx="147">
                  <c:v>44139</c:v>
                </c:pt>
                <c:pt idx="148">
                  <c:v>44140</c:v>
                </c:pt>
                <c:pt idx="149">
                  <c:v>44141</c:v>
                </c:pt>
                <c:pt idx="150">
                  <c:v>44144</c:v>
                </c:pt>
                <c:pt idx="151">
                  <c:v>44145</c:v>
                </c:pt>
                <c:pt idx="152">
                  <c:v>44146</c:v>
                </c:pt>
                <c:pt idx="153">
                  <c:v>44147</c:v>
                </c:pt>
                <c:pt idx="154">
                  <c:v>44148</c:v>
                </c:pt>
                <c:pt idx="155">
                  <c:v>44151</c:v>
                </c:pt>
                <c:pt idx="156">
                  <c:v>44152</c:v>
                </c:pt>
                <c:pt idx="157">
                  <c:v>44153</c:v>
                </c:pt>
                <c:pt idx="158">
                  <c:v>44154</c:v>
                </c:pt>
                <c:pt idx="159">
                  <c:v>44155</c:v>
                </c:pt>
                <c:pt idx="160">
                  <c:v>44158</c:v>
                </c:pt>
                <c:pt idx="161">
                  <c:v>44159</c:v>
                </c:pt>
                <c:pt idx="162">
                  <c:v>44160</c:v>
                </c:pt>
                <c:pt idx="163">
                  <c:v>44161</c:v>
                </c:pt>
                <c:pt idx="164">
                  <c:v>44162</c:v>
                </c:pt>
                <c:pt idx="165">
                  <c:v>44165</c:v>
                </c:pt>
                <c:pt idx="166">
                  <c:v>44166</c:v>
                </c:pt>
                <c:pt idx="167">
                  <c:v>44167</c:v>
                </c:pt>
                <c:pt idx="168">
                  <c:v>44168</c:v>
                </c:pt>
                <c:pt idx="169">
                  <c:v>44169</c:v>
                </c:pt>
                <c:pt idx="170">
                  <c:v>44172</c:v>
                </c:pt>
                <c:pt idx="171">
                  <c:v>44173</c:v>
                </c:pt>
                <c:pt idx="172">
                  <c:v>44174</c:v>
                </c:pt>
                <c:pt idx="173">
                  <c:v>44175</c:v>
                </c:pt>
                <c:pt idx="174">
                  <c:v>44176</c:v>
                </c:pt>
                <c:pt idx="175">
                  <c:v>44179</c:v>
                </c:pt>
                <c:pt idx="176">
                  <c:v>44180</c:v>
                </c:pt>
                <c:pt idx="177">
                  <c:v>44181</c:v>
                </c:pt>
                <c:pt idx="178">
                  <c:v>44182</c:v>
                </c:pt>
                <c:pt idx="179">
                  <c:v>44183</c:v>
                </c:pt>
                <c:pt idx="180">
                  <c:v>44186</c:v>
                </c:pt>
                <c:pt idx="181">
                  <c:v>44187</c:v>
                </c:pt>
                <c:pt idx="182">
                  <c:v>44188</c:v>
                </c:pt>
                <c:pt idx="183">
                  <c:v>44193</c:v>
                </c:pt>
                <c:pt idx="184">
                  <c:v>44194</c:v>
                </c:pt>
                <c:pt idx="185">
                  <c:v>44195</c:v>
                </c:pt>
                <c:pt idx="186">
                  <c:v>44200</c:v>
                </c:pt>
                <c:pt idx="187">
                  <c:v>44201</c:v>
                </c:pt>
                <c:pt idx="188">
                  <c:v>44202</c:v>
                </c:pt>
                <c:pt idx="189">
                  <c:v>44203</c:v>
                </c:pt>
                <c:pt idx="190">
                  <c:v>44204</c:v>
                </c:pt>
                <c:pt idx="191">
                  <c:v>44207</c:v>
                </c:pt>
                <c:pt idx="192">
                  <c:v>44208</c:v>
                </c:pt>
                <c:pt idx="193">
                  <c:v>44209</c:v>
                </c:pt>
                <c:pt idx="194">
                  <c:v>44210</c:v>
                </c:pt>
                <c:pt idx="195">
                  <c:v>44211</c:v>
                </c:pt>
                <c:pt idx="196">
                  <c:v>44214</c:v>
                </c:pt>
                <c:pt idx="197">
                  <c:v>44215</c:v>
                </c:pt>
                <c:pt idx="198">
                  <c:v>44216</c:v>
                </c:pt>
                <c:pt idx="199">
                  <c:v>44217</c:v>
                </c:pt>
                <c:pt idx="200">
                  <c:v>44218</c:v>
                </c:pt>
                <c:pt idx="201">
                  <c:v>44221</c:v>
                </c:pt>
                <c:pt idx="202">
                  <c:v>44222</c:v>
                </c:pt>
                <c:pt idx="203">
                  <c:v>44223</c:v>
                </c:pt>
                <c:pt idx="204">
                  <c:v>44224</c:v>
                </c:pt>
                <c:pt idx="205">
                  <c:v>44225</c:v>
                </c:pt>
                <c:pt idx="206">
                  <c:v>44228</c:v>
                </c:pt>
                <c:pt idx="207">
                  <c:v>44229</c:v>
                </c:pt>
                <c:pt idx="208">
                  <c:v>44230</c:v>
                </c:pt>
                <c:pt idx="209">
                  <c:v>44231</c:v>
                </c:pt>
                <c:pt idx="210">
                  <c:v>44232</c:v>
                </c:pt>
                <c:pt idx="211">
                  <c:v>44235</c:v>
                </c:pt>
                <c:pt idx="212">
                  <c:v>44236</c:v>
                </c:pt>
                <c:pt idx="213">
                  <c:v>44237</c:v>
                </c:pt>
                <c:pt idx="214">
                  <c:v>44238</c:v>
                </c:pt>
                <c:pt idx="215">
                  <c:v>44239</c:v>
                </c:pt>
                <c:pt idx="216">
                  <c:v>44242</c:v>
                </c:pt>
                <c:pt idx="217">
                  <c:v>44243</c:v>
                </c:pt>
                <c:pt idx="218">
                  <c:v>44244</c:v>
                </c:pt>
                <c:pt idx="219">
                  <c:v>44245</c:v>
                </c:pt>
                <c:pt idx="220">
                  <c:v>44246</c:v>
                </c:pt>
                <c:pt idx="221">
                  <c:v>44249</c:v>
                </c:pt>
                <c:pt idx="222">
                  <c:v>44250</c:v>
                </c:pt>
                <c:pt idx="223">
                  <c:v>44251</c:v>
                </c:pt>
                <c:pt idx="224">
                  <c:v>44252</c:v>
                </c:pt>
                <c:pt idx="225">
                  <c:v>44253</c:v>
                </c:pt>
                <c:pt idx="226">
                  <c:v>44256</c:v>
                </c:pt>
                <c:pt idx="227">
                  <c:v>44257</c:v>
                </c:pt>
                <c:pt idx="228">
                  <c:v>44259</c:v>
                </c:pt>
                <c:pt idx="229">
                  <c:v>44260</c:v>
                </c:pt>
                <c:pt idx="230">
                  <c:v>44263</c:v>
                </c:pt>
                <c:pt idx="231">
                  <c:v>44264</c:v>
                </c:pt>
                <c:pt idx="232">
                  <c:v>44265</c:v>
                </c:pt>
                <c:pt idx="233">
                  <c:v>44266</c:v>
                </c:pt>
                <c:pt idx="234">
                  <c:v>44267</c:v>
                </c:pt>
                <c:pt idx="235">
                  <c:v>44270</c:v>
                </c:pt>
                <c:pt idx="236">
                  <c:v>44271</c:v>
                </c:pt>
                <c:pt idx="237">
                  <c:v>44272</c:v>
                </c:pt>
                <c:pt idx="238">
                  <c:v>44273</c:v>
                </c:pt>
                <c:pt idx="239">
                  <c:v>44274</c:v>
                </c:pt>
                <c:pt idx="240">
                  <c:v>44277</c:v>
                </c:pt>
                <c:pt idx="241">
                  <c:v>44278</c:v>
                </c:pt>
                <c:pt idx="242">
                  <c:v>44279</c:v>
                </c:pt>
                <c:pt idx="243">
                  <c:v>44280</c:v>
                </c:pt>
                <c:pt idx="244">
                  <c:v>44281</c:v>
                </c:pt>
                <c:pt idx="245">
                  <c:v>44284</c:v>
                </c:pt>
                <c:pt idx="246">
                  <c:v>44285</c:v>
                </c:pt>
                <c:pt idx="247">
                  <c:v>44286</c:v>
                </c:pt>
                <c:pt idx="248">
                  <c:v>44287</c:v>
                </c:pt>
                <c:pt idx="249">
                  <c:v>44292</c:v>
                </c:pt>
                <c:pt idx="250">
                  <c:v>44293</c:v>
                </c:pt>
                <c:pt idx="251">
                  <c:v>44294</c:v>
                </c:pt>
                <c:pt idx="252">
                  <c:v>44295</c:v>
                </c:pt>
                <c:pt idx="253">
                  <c:v>44298</c:v>
                </c:pt>
                <c:pt idx="254">
                  <c:v>44299</c:v>
                </c:pt>
                <c:pt idx="255">
                  <c:v>44300</c:v>
                </c:pt>
                <c:pt idx="256">
                  <c:v>44301</c:v>
                </c:pt>
                <c:pt idx="257">
                  <c:v>44302</c:v>
                </c:pt>
                <c:pt idx="258">
                  <c:v>44305</c:v>
                </c:pt>
                <c:pt idx="259">
                  <c:v>44306</c:v>
                </c:pt>
                <c:pt idx="260">
                  <c:v>44307</c:v>
                </c:pt>
                <c:pt idx="261">
                  <c:v>44308</c:v>
                </c:pt>
                <c:pt idx="262">
                  <c:v>44309</c:v>
                </c:pt>
                <c:pt idx="263">
                  <c:v>44312</c:v>
                </c:pt>
                <c:pt idx="264">
                  <c:v>44313</c:v>
                </c:pt>
                <c:pt idx="265">
                  <c:v>44314</c:v>
                </c:pt>
                <c:pt idx="266">
                  <c:v>44315</c:v>
                </c:pt>
                <c:pt idx="267">
                  <c:v>44321</c:v>
                </c:pt>
                <c:pt idx="268">
                  <c:v>44323</c:v>
                </c:pt>
                <c:pt idx="269">
                  <c:v>44326</c:v>
                </c:pt>
                <c:pt idx="270">
                  <c:v>44327</c:v>
                </c:pt>
                <c:pt idx="271">
                  <c:v>44328</c:v>
                </c:pt>
                <c:pt idx="272">
                  <c:v>44329</c:v>
                </c:pt>
                <c:pt idx="273">
                  <c:v>44330</c:v>
                </c:pt>
                <c:pt idx="274">
                  <c:v>44333</c:v>
                </c:pt>
                <c:pt idx="275">
                  <c:v>44334</c:v>
                </c:pt>
                <c:pt idx="276">
                  <c:v>44335</c:v>
                </c:pt>
                <c:pt idx="277">
                  <c:v>44336</c:v>
                </c:pt>
                <c:pt idx="278">
                  <c:v>44337</c:v>
                </c:pt>
                <c:pt idx="279">
                  <c:v>44341</c:v>
                </c:pt>
                <c:pt idx="280">
                  <c:v>44342</c:v>
                </c:pt>
                <c:pt idx="281">
                  <c:v>44343</c:v>
                </c:pt>
                <c:pt idx="282">
                  <c:v>44344</c:v>
                </c:pt>
                <c:pt idx="283">
                  <c:v>44347</c:v>
                </c:pt>
                <c:pt idx="284">
                  <c:v>44348</c:v>
                </c:pt>
                <c:pt idx="285">
                  <c:v>44349</c:v>
                </c:pt>
                <c:pt idx="286">
                  <c:v>44350</c:v>
                </c:pt>
                <c:pt idx="287">
                  <c:v>44351</c:v>
                </c:pt>
                <c:pt idx="288">
                  <c:v>44354</c:v>
                </c:pt>
                <c:pt idx="289">
                  <c:v>44355</c:v>
                </c:pt>
                <c:pt idx="290">
                  <c:v>44356</c:v>
                </c:pt>
                <c:pt idx="291">
                  <c:v>44357</c:v>
                </c:pt>
                <c:pt idx="292">
                  <c:v>44358</c:v>
                </c:pt>
                <c:pt idx="293">
                  <c:v>44361</c:v>
                </c:pt>
                <c:pt idx="294">
                  <c:v>44362</c:v>
                </c:pt>
                <c:pt idx="295">
                  <c:v>44363</c:v>
                </c:pt>
                <c:pt idx="296">
                  <c:v>44364</c:v>
                </c:pt>
                <c:pt idx="297">
                  <c:v>44365</c:v>
                </c:pt>
                <c:pt idx="298">
                  <c:v>44368</c:v>
                </c:pt>
                <c:pt idx="299">
                  <c:v>44369</c:v>
                </c:pt>
                <c:pt idx="300">
                  <c:v>44370</c:v>
                </c:pt>
                <c:pt idx="301">
                  <c:v>44371</c:v>
                </c:pt>
                <c:pt idx="302">
                  <c:v>44372</c:v>
                </c:pt>
                <c:pt idx="303">
                  <c:v>44375</c:v>
                </c:pt>
                <c:pt idx="304">
                  <c:v>44376</c:v>
                </c:pt>
                <c:pt idx="305">
                  <c:v>44377</c:v>
                </c:pt>
                <c:pt idx="306">
                  <c:v>44378</c:v>
                </c:pt>
                <c:pt idx="307">
                  <c:v>44379</c:v>
                </c:pt>
                <c:pt idx="308">
                  <c:v>44382</c:v>
                </c:pt>
                <c:pt idx="309">
                  <c:v>44383</c:v>
                </c:pt>
                <c:pt idx="310">
                  <c:v>44384</c:v>
                </c:pt>
                <c:pt idx="311">
                  <c:v>44385</c:v>
                </c:pt>
                <c:pt idx="312">
                  <c:v>44386</c:v>
                </c:pt>
                <c:pt idx="313">
                  <c:v>44389</c:v>
                </c:pt>
                <c:pt idx="314">
                  <c:v>44390</c:v>
                </c:pt>
                <c:pt idx="315">
                  <c:v>44391</c:v>
                </c:pt>
                <c:pt idx="316">
                  <c:v>44392</c:v>
                </c:pt>
                <c:pt idx="317">
                  <c:v>44393</c:v>
                </c:pt>
                <c:pt idx="318">
                  <c:v>44396</c:v>
                </c:pt>
                <c:pt idx="319">
                  <c:v>44397</c:v>
                </c:pt>
                <c:pt idx="320">
                  <c:v>44398</c:v>
                </c:pt>
                <c:pt idx="321">
                  <c:v>44399</c:v>
                </c:pt>
                <c:pt idx="322">
                  <c:v>44400</c:v>
                </c:pt>
                <c:pt idx="323">
                  <c:v>44403</c:v>
                </c:pt>
                <c:pt idx="324">
                  <c:v>44404</c:v>
                </c:pt>
                <c:pt idx="325">
                  <c:v>44405</c:v>
                </c:pt>
                <c:pt idx="326">
                  <c:v>44406</c:v>
                </c:pt>
                <c:pt idx="327">
                  <c:v>44407</c:v>
                </c:pt>
                <c:pt idx="328">
                  <c:v>44410</c:v>
                </c:pt>
                <c:pt idx="329">
                  <c:v>44411</c:v>
                </c:pt>
                <c:pt idx="330">
                  <c:v>44412</c:v>
                </c:pt>
                <c:pt idx="331">
                  <c:v>44413</c:v>
                </c:pt>
                <c:pt idx="332">
                  <c:v>44414</c:v>
                </c:pt>
                <c:pt idx="333">
                  <c:v>44417</c:v>
                </c:pt>
                <c:pt idx="334">
                  <c:v>44418</c:v>
                </c:pt>
                <c:pt idx="335">
                  <c:v>44419</c:v>
                </c:pt>
                <c:pt idx="336">
                  <c:v>44420</c:v>
                </c:pt>
                <c:pt idx="337">
                  <c:v>44421</c:v>
                </c:pt>
                <c:pt idx="338">
                  <c:v>44424</c:v>
                </c:pt>
                <c:pt idx="339">
                  <c:v>44425</c:v>
                </c:pt>
                <c:pt idx="340">
                  <c:v>44426</c:v>
                </c:pt>
                <c:pt idx="341">
                  <c:v>44427</c:v>
                </c:pt>
                <c:pt idx="342">
                  <c:v>44428</c:v>
                </c:pt>
                <c:pt idx="343">
                  <c:v>44431</c:v>
                </c:pt>
                <c:pt idx="344">
                  <c:v>44432</c:v>
                </c:pt>
                <c:pt idx="345">
                  <c:v>44433</c:v>
                </c:pt>
                <c:pt idx="346">
                  <c:v>44434</c:v>
                </c:pt>
                <c:pt idx="347">
                  <c:v>44435</c:v>
                </c:pt>
                <c:pt idx="348">
                  <c:v>44438</c:v>
                </c:pt>
                <c:pt idx="349">
                  <c:v>44439</c:v>
                </c:pt>
                <c:pt idx="350">
                  <c:v>44440</c:v>
                </c:pt>
                <c:pt idx="351">
                  <c:v>44441</c:v>
                </c:pt>
                <c:pt idx="352">
                  <c:v>44442</c:v>
                </c:pt>
                <c:pt idx="353">
                  <c:v>44446</c:v>
                </c:pt>
                <c:pt idx="354">
                  <c:v>44447</c:v>
                </c:pt>
                <c:pt idx="355">
                  <c:v>44448</c:v>
                </c:pt>
                <c:pt idx="356">
                  <c:v>44449</c:v>
                </c:pt>
                <c:pt idx="357">
                  <c:v>44452</c:v>
                </c:pt>
                <c:pt idx="358">
                  <c:v>44453</c:v>
                </c:pt>
                <c:pt idx="359">
                  <c:v>44454</c:v>
                </c:pt>
                <c:pt idx="360">
                  <c:v>44455</c:v>
                </c:pt>
                <c:pt idx="361">
                  <c:v>44456</c:v>
                </c:pt>
                <c:pt idx="362">
                  <c:v>44459</c:v>
                </c:pt>
                <c:pt idx="363">
                  <c:v>44460</c:v>
                </c:pt>
                <c:pt idx="364">
                  <c:v>44462</c:v>
                </c:pt>
                <c:pt idx="365">
                  <c:v>44463</c:v>
                </c:pt>
                <c:pt idx="366">
                  <c:v>44466</c:v>
                </c:pt>
                <c:pt idx="367">
                  <c:v>44467</c:v>
                </c:pt>
                <c:pt idx="368">
                  <c:v>44468</c:v>
                </c:pt>
                <c:pt idx="369">
                  <c:v>44469</c:v>
                </c:pt>
                <c:pt idx="370">
                  <c:v>44470</c:v>
                </c:pt>
                <c:pt idx="371">
                  <c:v>44473</c:v>
                </c:pt>
                <c:pt idx="372">
                  <c:v>44474</c:v>
                </c:pt>
                <c:pt idx="373">
                  <c:v>44475</c:v>
                </c:pt>
                <c:pt idx="374">
                  <c:v>44476</c:v>
                </c:pt>
                <c:pt idx="375">
                  <c:v>44477</c:v>
                </c:pt>
                <c:pt idx="376">
                  <c:v>44480</c:v>
                </c:pt>
                <c:pt idx="377">
                  <c:v>44481</c:v>
                </c:pt>
                <c:pt idx="378">
                  <c:v>44482</c:v>
                </c:pt>
                <c:pt idx="379">
                  <c:v>44483</c:v>
                </c:pt>
                <c:pt idx="380">
                  <c:v>44484</c:v>
                </c:pt>
                <c:pt idx="381">
                  <c:v>44487</c:v>
                </c:pt>
                <c:pt idx="382">
                  <c:v>44488</c:v>
                </c:pt>
                <c:pt idx="383">
                  <c:v>44489</c:v>
                </c:pt>
                <c:pt idx="384">
                  <c:v>44490</c:v>
                </c:pt>
                <c:pt idx="385">
                  <c:v>44491</c:v>
                </c:pt>
                <c:pt idx="386">
                  <c:v>44494</c:v>
                </c:pt>
                <c:pt idx="387">
                  <c:v>44495</c:v>
                </c:pt>
                <c:pt idx="388">
                  <c:v>44496</c:v>
                </c:pt>
                <c:pt idx="389">
                  <c:v>44497</c:v>
                </c:pt>
                <c:pt idx="390">
                  <c:v>44498</c:v>
                </c:pt>
                <c:pt idx="391">
                  <c:v>44501</c:v>
                </c:pt>
                <c:pt idx="392">
                  <c:v>44502</c:v>
                </c:pt>
                <c:pt idx="393">
                  <c:v>44503</c:v>
                </c:pt>
                <c:pt idx="394">
                  <c:v>44504</c:v>
                </c:pt>
                <c:pt idx="395">
                  <c:v>44505</c:v>
                </c:pt>
                <c:pt idx="396">
                  <c:v>44508</c:v>
                </c:pt>
                <c:pt idx="397">
                  <c:v>44509</c:v>
                </c:pt>
                <c:pt idx="398">
                  <c:v>44510</c:v>
                </c:pt>
                <c:pt idx="399">
                  <c:v>44511</c:v>
                </c:pt>
                <c:pt idx="400">
                  <c:v>44512</c:v>
                </c:pt>
                <c:pt idx="401">
                  <c:v>44515</c:v>
                </c:pt>
                <c:pt idx="402">
                  <c:v>44516</c:v>
                </c:pt>
                <c:pt idx="403">
                  <c:v>44517</c:v>
                </c:pt>
                <c:pt idx="404">
                  <c:v>44518</c:v>
                </c:pt>
                <c:pt idx="405">
                  <c:v>44519</c:v>
                </c:pt>
                <c:pt idx="406">
                  <c:v>44522</c:v>
                </c:pt>
                <c:pt idx="407">
                  <c:v>44523</c:v>
                </c:pt>
                <c:pt idx="408">
                  <c:v>44524</c:v>
                </c:pt>
                <c:pt idx="409">
                  <c:v>44525</c:v>
                </c:pt>
                <c:pt idx="410">
                  <c:v>44526</c:v>
                </c:pt>
                <c:pt idx="411">
                  <c:v>44529</c:v>
                </c:pt>
                <c:pt idx="412">
                  <c:v>44530</c:v>
                </c:pt>
                <c:pt idx="413">
                  <c:v>44531</c:v>
                </c:pt>
                <c:pt idx="414">
                  <c:v>44532</c:v>
                </c:pt>
                <c:pt idx="415">
                  <c:v>44533</c:v>
                </c:pt>
                <c:pt idx="416">
                  <c:v>44536</c:v>
                </c:pt>
                <c:pt idx="417">
                  <c:v>44537</c:v>
                </c:pt>
                <c:pt idx="418">
                  <c:v>44538</c:v>
                </c:pt>
                <c:pt idx="419">
                  <c:v>44539</c:v>
                </c:pt>
                <c:pt idx="420">
                  <c:v>44540</c:v>
                </c:pt>
                <c:pt idx="421">
                  <c:v>44543</c:v>
                </c:pt>
                <c:pt idx="422">
                  <c:v>44544</c:v>
                </c:pt>
                <c:pt idx="423">
                  <c:v>44545</c:v>
                </c:pt>
                <c:pt idx="424">
                  <c:v>44546</c:v>
                </c:pt>
                <c:pt idx="425">
                  <c:v>44547</c:v>
                </c:pt>
                <c:pt idx="426">
                  <c:v>44550</c:v>
                </c:pt>
                <c:pt idx="427">
                  <c:v>44551</c:v>
                </c:pt>
                <c:pt idx="428">
                  <c:v>44552</c:v>
                </c:pt>
                <c:pt idx="429">
                  <c:v>44553</c:v>
                </c:pt>
                <c:pt idx="430">
                  <c:v>44559</c:v>
                </c:pt>
                <c:pt idx="431">
                  <c:v>44560</c:v>
                </c:pt>
                <c:pt idx="432">
                  <c:v>44565</c:v>
                </c:pt>
                <c:pt idx="433">
                  <c:v>44566</c:v>
                </c:pt>
                <c:pt idx="434">
                  <c:v>44567</c:v>
                </c:pt>
                <c:pt idx="435">
                  <c:v>44568</c:v>
                </c:pt>
                <c:pt idx="436">
                  <c:v>44571</c:v>
                </c:pt>
                <c:pt idx="437">
                  <c:v>44572</c:v>
                </c:pt>
                <c:pt idx="438">
                  <c:v>44573</c:v>
                </c:pt>
                <c:pt idx="439">
                  <c:v>44574</c:v>
                </c:pt>
                <c:pt idx="440">
                  <c:v>44575</c:v>
                </c:pt>
                <c:pt idx="441">
                  <c:v>44578</c:v>
                </c:pt>
                <c:pt idx="442">
                  <c:v>44579</c:v>
                </c:pt>
                <c:pt idx="443">
                  <c:v>44580</c:v>
                </c:pt>
                <c:pt idx="444">
                  <c:v>44581</c:v>
                </c:pt>
                <c:pt idx="445">
                  <c:v>44582</c:v>
                </c:pt>
                <c:pt idx="446">
                  <c:v>44585</c:v>
                </c:pt>
                <c:pt idx="447">
                  <c:v>44586</c:v>
                </c:pt>
                <c:pt idx="448">
                  <c:v>44587</c:v>
                </c:pt>
                <c:pt idx="449">
                  <c:v>44588</c:v>
                </c:pt>
                <c:pt idx="450">
                  <c:v>44589</c:v>
                </c:pt>
                <c:pt idx="451">
                  <c:v>44592</c:v>
                </c:pt>
                <c:pt idx="452">
                  <c:v>44593</c:v>
                </c:pt>
                <c:pt idx="453">
                  <c:v>44594</c:v>
                </c:pt>
                <c:pt idx="454">
                  <c:v>44595</c:v>
                </c:pt>
                <c:pt idx="455">
                  <c:v>44596</c:v>
                </c:pt>
                <c:pt idx="456">
                  <c:v>44599</c:v>
                </c:pt>
                <c:pt idx="457">
                  <c:v>44600</c:v>
                </c:pt>
                <c:pt idx="458">
                  <c:v>44601</c:v>
                </c:pt>
                <c:pt idx="459">
                  <c:v>44602</c:v>
                </c:pt>
                <c:pt idx="460">
                  <c:v>44603</c:v>
                </c:pt>
                <c:pt idx="461">
                  <c:v>44606</c:v>
                </c:pt>
                <c:pt idx="462">
                  <c:v>44607</c:v>
                </c:pt>
                <c:pt idx="463">
                  <c:v>44608</c:v>
                </c:pt>
                <c:pt idx="464">
                  <c:v>44609</c:v>
                </c:pt>
                <c:pt idx="465">
                  <c:v>44610</c:v>
                </c:pt>
                <c:pt idx="466">
                  <c:v>44613</c:v>
                </c:pt>
                <c:pt idx="467">
                  <c:v>44614</c:v>
                </c:pt>
                <c:pt idx="468">
                  <c:v>44615</c:v>
                </c:pt>
                <c:pt idx="469">
                  <c:v>44616</c:v>
                </c:pt>
                <c:pt idx="470">
                  <c:v>44617</c:v>
                </c:pt>
                <c:pt idx="471">
                  <c:v>44620</c:v>
                </c:pt>
                <c:pt idx="472">
                  <c:v>44621</c:v>
                </c:pt>
                <c:pt idx="473">
                  <c:v>44622</c:v>
                </c:pt>
                <c:pt idx="474">
                  <c:v>44624</c:v>
                </c:pt>
                <c:pt idx="475">
                  <c:v>44627</c:v>
                </c:pt>
                <c:pt idx="476">
                  <c:v>44628</c:v>
                </c:pt>
                <c:pt idx="477">
                  <c:v>44629</c:v>
                </c:pt>
                <c:pt idx="478">
                  <c:v>44630</c:v>
                </c:pt>
                <c:pt idx="479">
                  <c:v>44631</c:v>
                </c:pt>
                <c:pt idx="480">
                  <c:v>44634</c:v>
                </c:pt>
                <c:pt idx="481">
                  <c:v>44635</c:v>
                </c:pt>
                <c:pt idx="482">
                  <c:v>44636</c:v>
                </c:pt>
                <c:pt idx="483">
                  <c:v>44637</c:v>
                </c:pt>
                <c:pt idx="484">
                  <c:v>44638</c:v>
                </c:pt>
                <c:pt idx="485">
                  <c:v>44641</c:v>
                </c:pt>
                <c:pt idx="486">
                  <c:v>44642</c:v>
                </c:pt>
                <c:pt idx="487">
                  <c:v>44643</c:v>
                </c:pt>
                <c:pt idx="488">
                  <c:v>44644</c:v>
                </c:pt>
                <c:pt idx="489">
                  <c:v>44645</c:v>
                </c:pt>
                <c:pt idx="490">
                  <c:v>44648</c:v>
                </c:pt>
                <c:pt idx="491">
                  <c:v>44649</c:v>
                </c:pt>
                <c:pt idx="492">
                  <c:v>44650</c:v>
                </c:pt>
                <c:pt idx="493">
                  <c:v>44651</c:v>
                </c:pt>
                <c:pt idx="494">
                  <c:v>44652</c:v>
                </c:pt>
                <c:pt idx="495">
                  <c:v>44655</c:v>
                </c:pt>
                <c:pt idx="496">
                  <c:v>44656</c:v>
                </c:pt>
                <c:pt idx="497">
                  <c:v>44657</c:v>
                </c:pt>
                <c:pt idx="498">
                  <c:v>44658</c:v>
                </c:pt>
                <c:pt idx="499">
                  <c:v>44659</c:v>
                </c:pt>
                <c:pt idx="500">
                  <c:v>44662</c:v>
                </c:pt>
                <c:pt idx="501">
                  <c:v>44663</c:v>
                </c:pt>
                <c:pt idx="502">
                  <c:v>44664</c:v>
                </c:pt>
                <c:pt idx="503">
                  <c:v>44665</c:v>
                </c:pt>
                <c:pt idx="504">
                  <c:v>44670</c:v>
                </c:pt>
                <c:pt idx="505">
                  <c:v>44671</c:v>
                </c:pt>
                <c:pt idx="506">
                  <c:v>44672</c:v>
                </c:pt>
                <c:pt idx="507">
                  <c:v>44677</c:v>
                </c:pt>
                <c:pt idx="508">
                  <c:v>44678</c:v>
                </c:pt>
                <c:pt idx="509">
                  <c:v>44679</c:v>
                </c:pt>
                <c:pt idx="510">
                  <c:v>44680</c:v>
                </c:pt>
                <c:pt idx="511">
                  <c:v>44684</c:v>
                </c:pt>
                <c:pt idx="512">
                  <c:v>44685</c:v>
                </c:pt>
                <c:pt idx="513">
                  <c:v>44686</c:v>
                </c:pt>
                <c:pt idx="514">
                  <c:v>44690</c:v>
                </c:pt>
                <c:pt idx="515">
                  <c:v>44691</c:v>
                </c:pt>
                <c:pt idx="516">
                  <c:v>44692</c:v>
                </c:pt>
                <c:pt idx="517">
                  <c:v>44693</c:v>
                </c:pt>
                <c:pt idx="518">
                  <c:v>44694</c:v>
                </c:pt>
                <c:pt idx="519">
                  <c:v>44697</c:v>
                </c:pt>
                <c:pt idx="520">
                  <c:v>44698</c:v>
                </c:pt>
                <c:pt idx="521">
                  <c:v>44699</c:v>
                </c:pt>
                <c:pt idx="522">
                  <c:v>44700</c:v>
                </c:pt>
                <c:pt idx="523">
                  <c:v>44701</c:v>
                </c:pt>
                <c:pt idx="524">
                  <c:v>44704</c:v>
                </c:pt>
                <c:pt idx="525">
                  <c:v>44706</c:v>
                </c:pt>
                <c:pt idx="526">
                  <c:v>44707</c:v>
                </c:pt>
                <c:pt idx="527">
                  <c:v>44708</c:v>
                </c:pt>
                <c:pt idx="528">
                  <c:v>44711</c:v>
                </c:pt>
                <c:pt idx="529">
                  <c:v>44712</c:v>
                </c:pt>
                <c:pt idx="530">
                  <c:v>44713</c:v>
                </c:pt>
                <c:pt idx="531">
                  <c:v>44714</c:v>
                </c:pt>
                <c:pt idx="532">
                  <c:v>44715</c:v>
                </c:pt>
                <c:pt idx="533">
                  <c:v>44718</c:v>
                </c:pt>
                <c:pt idx="534">
                  <c:v>44719</c:v>
                </c:pt>
                <c:pt idx="535">
                  <c:v>44720</c:v>
                </c:pt>
                <c:pt idx="536">
                  <c:v>44721</c:v>
                </c:pt>
                <c:pt idx="537">
                  <c:v>44722</c:v>
                </c:pt>
                <c:pt idx="538">
                  <c:v>44725</c:v>
                </c:pt>
                <c:pt idx="539">
                  <c:v>44726</c:v>
                </c:pt>
                <c:pt idx="540">
                  <c:v>44727</c:v>
                </c:pt>
                <c:pt idx="541">
                  <c:v>44728</c:v>
                </c:pt>
                <c:pt idx="542">
                  <c:v>44729</c:v>
                </c:pt>
                <c:pt idx="543">
                  <c:v>44732</c:v>
                </c:pt>
                <c:pt idx="544">
                  <c:v>44733</c:v>
                </c:pt>
                <c:pt idx="545">
                  <c:v>44734</c:v>
                </c:pt>
                <c:pt idx="546">
                  <c:v>44735</c:v>
                </c:pt>
                <c:pt idx="547">
                  <c:v>44736</c:v>
                </c:pt>
                <c:pt idx="548">
                  <c:v>44739</c:v>
                </c:pt>
                <c:pt idx="549">
                  <c:v>44740</c:v>
                </c:pt>
                <c:pt idx="550">
                  <c:v>44741</c:v>
                </c:pt>
                <c:pt idx="551">
                  <c:v>44742</c:v>
                </c:pt>
                <c:pt idx="552">
                  <c:v>44743</c:v>
                </c:pt>
                <c:pt idx="553">
                  <c:v>44746</c:v>
                </c:pt>
                <c:pt idx="554">
                  <c:v>44747</c:v>
                </c:pt>
                <c:pt idx="555">
                  <c:v>44748</c:v>
                </c:pt>
                <c:pt idx="556">
                  <c:v>44749</c:v>
                </c:pt>
                <c:pt idx="557">
                  <c:v>44750</c:v>
                </c:pt>
                <c:pt idx="558">
                  <c:v>44753</c:v>
                </c:pt>
                <c:pt idx="559">
                  <c:v>44754</c:v>
                </c:pt>
                <c:pt idx="560">
                  <c:v>44755</c:v>
                </c:pt>
                <c:pt idx="561">
                  <c:v>44756</c:v>
                </c:pt>
                <c:pt idx="562">
                  <c:v>44757</c:v>
                </c:pt>
                <c:pt idx="563">
                  <c:v>44760</c:v>
                </c:pt>
                <c:pt idx="564">
                  <c:v>44761</c:v>
                </c:pt>
                <c:pt idx="565">
                  <c:v>44762</c:v>
                </c:pt>
                <c:pt idx="566">
                  <c:v>44763</c:v>
                </c:pt>
                <c:pt idx="567">
                  <c:v>44764</c:v>
                </c:pt>
                <c:pt idx="568">
                  <c:v>44767</c:v>
                </c:pt>
                <c:pt idx="569">
                  <c:v>44768</c:v>
                </c:pt>
                <c:pt idx="570">
                  <c:v>44769</c:v>
                </c:pt>
                <c:pt idx="571">
                  <c:v>44770</c:v>
                </c:pt>
                <c:pt idx="572">
                  <c:v>44771</c:v>
                </c:pt>
                <c:pt idx="573">
                  <c:v>44774</c:v>
                </c:pt>
                <c:pt idx="574">
                  <c:v>44775</c:v>
                </c:pt>
                <c:pt idx="575">
                  <c:v>44776</c:v>
                </c:pt>
                <c:pt idx="576">
                  <c:v>44777</c:v>
                </c:pt>
                <c:pt idx="577">
                  <c:v>44778</c:v>
                </c:pt>
                <c:pt idx="578">
                  <c:v>44781</c:v>
                </c:pt>
                <c:pt idx="579">
                  <c:v>44782</c:v>
                </c:pt>
                <c:pt idx="580">
                  <c:v>44783</c:v>
                </c:pt>
                <c:pt idx="581">
                  <c:v>44784</c:v>
                </c:pt>
                <c:pt idx="582">
                  <c:v>44785</c:v>
                </c:pt>
                <c:pt idx="583">
                  <c:v>44788</c:v>
                </c:pt>
                <c:pt idx="584">
                  <c:v>44789</c:v>
                </c:pt>
                <c:pt idx="585">
                  <c:v>44790</c:v>
                </c:pt>
                <c:pt idx="586">
                  <c:v>44791</c:v>
                </c:pt>
                <c:pt idx="587">
                  <c:v>44792</c:v>
                </c:pt>
                <c:pt idx="588">
                  <c:v>44795</c:v>
                </c:pt>
                <c:pt idx="589">
                  <c:v>44796</c:v>
                </c:pt>
                <c:pt idx="590">
                  <c:v>44797</c:v>
                </c:pt>
                <c:pt idx="591">
                  <c:v>44798</c:v>
                </c:pt>
                <c:pt idx="592">
                  <c:v>44799</c:v>
                </c:pt>
                <c:pt idx="593">
                  <c:v>44802</c:v>
                </c:pt>
                <c:pt idx="594">
                  <c:v>44803</c:v>
                </c:pt>
                <c:pt idx="595">
                  <c:v>44804</c:v>
                </c:pt>
                <c:pt idx="596">
                  <c:v>44805</c:v>
                </c:pt>
                <c:pt idx="597">
                  <c:v>44806</c:v>
                </c:pt>
                <c:pt idx="598">
                  <c:v>44809</c:v>
                </c:pt>
                <c:pt idx="599">
                  <c:v>44811</c:v>
                </c:pt>
                <c:pt idx="600">
                  <c:v>44812</c:v>
                </c:pt>
                <c:pt idx="601">
                  <c:v>44813</c:v>
                </c:pt>
                <c:pt idx="602">
                  <c:v>44816</c:v>
                </c:pt>
                <c:pt idx="603">
                  <c:v>44817</c:v>
                </c:pt>
                <c:pt idx="604">
                  <c:v>44818</c:v>
                </c:pt>
                <c:pt idx="605">
                  <c:v>44819</c:v>
                </c:pt>
                <c:pt idx="606">
                  <c:v>44820</c:v>
                </c:pt>
                <c:pt idx="607">
                  <c:v>44823</c:v>
                </c:pt>
                <c:pt idx="608">
                  <c:v>44824</c:v>
                </c:pt>
                <c:pt idx="609">
                  <c:v>44825</c:v>
                </c:pt>
                <c:pt idx="610">
                  <c:v>44827</c:v>
                </c:pt>
                <c:pt idx="611">
                  <c:v>44830</c:v>
                </c:pt>
                <c:pt idx="612">
                  <c:v>44831</c:v>
                </c:pt>
                <c:pt idx="613">
                  <c:v>44832</c:v>
                </c:pt>
                <c:pt idx="614">
                  <c:v>44833</c:v>
                </c:pt>
                <c:pt idx="615">
                  <c:v>44834</c:v>
                </c:pt>
                <c:pt idx="616">
                  <c:v>44837</c:v>
                </c:pt>
                <c:pt idx="617">
                  <c:v>44838</c:v>
                </c:pt>
                <c:pt idx="618">
                  <c:v>44839</c:v>
                </c:pt>
                <c:pt idx="619">
                  <c:v>44840</c:v>
                </c:pt>
                <c:pt idx="620">
                  <c:v>44841</c:v>
                </c:pt>
                <c:pt idx="621">
                  <c:v>44844</c:v>
                </c:pt>
                <c:pt idx="622">
                  <c:v>44845</c:v>
                </c:pt>
                <c:pt idx="623">
                  <c:v>44846</c:v>
                </c:pt>
                <c:pt idx="624">
                  <c:v>44847</c:v>
                </c:pt>
                <c:pt idx="625">
                  <c:v>44848</c:v>
                </c:pt>
                <c:pt idx="626">
                  <c:v>44851</c:v>
                </c:pt>
                <c:pt idx="627">
                  <c:v>44852</c:v>
                </c:pt>
                <c:pt idx="628">
                  <c:v>44853</c:v>
                </c:pt>
                <c:pt idx="629">
                  <c:v>44854</c:v>
                </c:pt>
                <c:pt idx="630">
                  <c:v>44855</c:v>
                </c:pt>
                <c:pt idx="631">
                  <c:v>44858</c:v>
                </c:pt>
                <c:pt idx="632">
                  <c:v>44859</c:v>
                </c:pt>
                <c:pt idx="633">
                  <c:v>44860</c:v>
                </c:pt>
                <c:pt idx="634">
                  <c:v>44861</c:v>
                </c:pt>
                <c:pt idx="635">
                  <c:v>44862</c:v>
                </c:pt>
                <c:pt idx="636">
                  <c:v>44865</c:v>
                </c:pt>
                <c:pt idx="637">
                  <c:v>44866</c:v>
                </c:pt>
                <c:pt idx="638">
                  <c:v>44867</c:v>
                </c:pt>
                <c:pt idx="639">
                  <c:v>44868</c:v>
                </c:pt>
                <c:pt idx="640">
                  <c:v>44869</c:v>
                </c:pt>
                <c:pt idx="641">
                  <c:v>44872</c:v>
                </c:pt>
                <c:pt idx="642">
                  <c:v>44873</c:v>
                </c:pt>
                <c:pt idx="643">
                  <c:v>44874</c:v>
                </c:pt>
                <c:pt idx="644">
                  <c:v>44875</c:v>
                </c:pt>
                <c:pt idx="645">
                  <c:v>44876</c:v>
                </c:pt>
                <c:pt idx="646">
                  <c:v>44879</c:v>
                </c:pt>
                <c:pt idx="647">
                  <c:v>44880</c:v>
                </c:pt>
                <c:pt idx="648">
                  <c:v>44881</c:v>
                </c:pt>
                <c:pt idx="649">
                  <c:v>44882</c:v>
                </c:pt>
                <c:pt idx="650">
                  <c:v>44883</c:v>
                </c:pt>
                <c:pt idx="651">
                  <c:v>44886</c:v>
                </c:pt>
                <c:pt idx="652">
                  <c:v>44887</c:v>
                </c:pt>
                <c:pt idx="653">
                  <c:v>44888</c:v>
                </c:pt>
                <c:pt idx="654">
                  <c:v>44889</c:v>
                </c:pt>
                <c:pt idx="655">
                  <c:v>44890</c:v>
                </c:pt>
                <c:pt idx="656">
                  <c:v>44893</c:v>
                </c:pt>
                <c:pt idx="657">
                  <c:v>44894</c:v>
                </c:pt>
                <c:pt idx="658">
                  <c:v>44895</c:v>
                </c:pt>
                <c:pt idx="659">
                  <c:v>44896</c:v>
                </c:pt>
                <c:pt idx="660">
                  <c:v>44897</c:v>
                </c:pt>
                <c:pt idx="661">
                  <c:v>44900</c:v>
                </c:pt>
                <c:pt idx="662">
                  <c:v>44901</c:v>
                </c:pt>
                <c:pt idx="663">
                  <c:v>44902</c:v>
                </c:pt>
                <c:pt idx="664">
                  <c:v>44903</c:v>
                </c:pt>
                <c:pt idx="665">
                  <c:v>44904</c:v>
                </c:pt>
                <c:pt idx="666">
                  <c:v>44907</c:v>
                </c:pt>
                <c:pt idx="667">
                  <c:v>44908</c:v>
                </c:pt>
                <c:pt idx="668">
                  <c:v>44909</c:v>
                </c:pt>
                <c:pt idx="669">
                  <c:v>44910</c:v>
                </c:pt>
                <c:pt idx="670">
                  <c:v>44911</c:v>
                </c:pt>
                <c:pt idx="671">
                  <c:v>44914</c:v>
                </c:pt>
                <c:pt idx="672">
                  <c:v>44915</c:v>
                </c:pt>
                <c:pt idx="673">
                  <c:v>44916</c:v>
                </c:pt>
                <c:pt idx="674">
                  <c:v>44917</c:v>
                </c:pt>
                <c:pt idx="675">
                  <c:v>44918</c:v>
                </c:pt>
                <c:pt idx="676">
                  <c:v>44924</c:v>
                </c:pt>
                <c:pt idx="677">
                  <c:v>44925</c:v>
                </c:pt>
                <c:pt idx="678">
                  <c:v>44929</c:v>
                </c:pt>
                <c:pt idx="679">
                  <c:v>44930</c:v>
                </c:pt>
                <c:pt idx="680">
                  <c:v>44931</c:v>
                </c:pt>
                <c:pt idx="681">
                  <c:v>44932</c:v>
                </c:pt>
                <c:pt idx="682">
                  <c:v>44935</c:v>
                </c:pt>
                <c:pt idx="683">
                  <c:v>44936</c:v>
                </c:pt>
                <c:pt idx="684">
                  <c:v>44937</c:v>
                </c:pt>
                <c:pt idx="685">
                  <c:v>44938</c:v>
                </c:pt>
                <c:pt idx="686">
                  <c:v>44939</c:v>
                </c:pt>
                <c:pt idx="687">
                  <c:v>44942</c:v>
                </c:pt>
                <c:pt idx="688">
                  <c:v>44943</c:v>
                </c:pt>
                <c:pt idx="689">
                  <c:v>44944</c:v>
                </c:pt>
                <c:pt idx="690">
                  <c:v>44945</c:v>
                </c:pt>
                <c:pt idx="691">
                  <c:v>44946</c:v>
                </c:pt>
                <c:pt idx="692">
                  <c:v>44949</c:v>
                </c:pt>
                <c:pt idx="693">
                  <c:v>44950</c:v>
                </c:pt>
                <c:pt idx="694">
                  <c:v>44951</c:v>
                </c:pt>
                <c:pt idx="695">
                  <c:v>44952</c:v>
                </c:pt>
                <c:pt idx="696">
                  <c:v>44953</c:v>
                </c:pt>
                <c:pt idx="697">
                  <c:v>44956</c:v>
                </c:pt>
                <c:pt idx="698">
                  <c:v>44957</c:v>
                </c:pt>
                <c:pt idx="699">
                  <c:v>44958</c:v>
                </c:pt>
                <c:pt idx="700">
                  <c:v>44959</c:v>
                </c:pt>
                <c:pt idx="701">
                  <c:v>44960</c:v>
                </c:pt>
                <c:pt idx="702">
                  <c:v>44963</c:v>
                </c:pt>
                <c:pt idx="703">
                  <c:v>44964</c:v>
                </c:pt>
                <c:pt idx="704">
                  <c:v>44965</c:v>
                </c:pt>
                <c:pt idx="705">
                  <c:v>44966</c:v>
                </c:pt>
                <c:pt idx="706">
                  <c:v>44967</c:v>
                </c:pt>
                <c:pt idx="707">
                  <c:v>44970</c:v>
                </c:pt>
                <c:pt idx="708">
                  <c:v>44971</c:v>
                </c:pt>
                <c:pt idx="709">
                  <c:v>44972</c:v>
                </c:pt>
                <c:pt idx="710">
                  <c:v>44973</c:v>
                </c:pt>
                <c:pt idx="711">
                  <c:v>44974</c:v>
                </c:pt>
                <c:pt idx="712">
                  <c:v>44977</c:v>
                </c:pt>
                <c:pt idx="713">
                  <c:v>44978</c:v>
                </c:pt>
                <c:pt idx="714">
                  <c:v>44979</c:v>
                </c:pt>
                <c:pt idx="715">
                  <c:v>44980</c:v>
                </c:pt>
                <c:pt idx="716">
                  <c:v>44981</c:v>
                </c:pt>
                <c:pt idx="717">
                  <c:v>44984</c:v>
                </c:pt>
                <c:pt idx="718">
                  <c:v>44985</c:v>
                </c:pt>
                <c:pt idx="719">
                  <c:v>44986</c:v>
                </c:pt>
                <c:pt idx="720">
                  <c:v>44987</c:v>
                </c:pt>
                <c:pt idx="721">
                  <c:v>44991</c:v>
                </c:pt>
                <c:pt idx="722">
                  <c:v>44992</c:v>
                </c:pt>
                <c:pt idx="723">
                  <c:v>44993</c:v>
                </c:pt>
                <c:pt idx="724">
                  <c:v>44994</c:v>
                </c:pt>
                <c:pt idx="725">
                  <c:v>44995</c:v>
                </c:pt>
                <c:pt idx="726">
                  <c:v>44998</c:v>
                </c:pt>
                <c:pt idx="727">
                  <c:v>44999</c:v>
                </c:pt>
                <c:pt idx="728">
                  <c:v>45000</c:v>
                </c:pt>
                <c:pt idx="729">
                  <c:v>45001</c:v>
                </c:pt>
                <c:pt idx="730">
                  <c:v>45002</c:v>
                </c:pt>
                <c:pt idx="731">
                  <c:v>45005</c:v>
                </c:pt>
                <c:pt idx="732">
                  <c:v>45006</c:v>
                </c:pt>
                <c:pt idx="733">
                  <c:v>45007</c:v>
                </c:pt>
                <c:pt idx="734">
                  <c:v>45008</c:v>
                </c:pt>
                <c:pt idx="735">
                  <c:v>45009</c:v>
                </c:pt>
                <c:pt idx="736">
                  <c:v>45012</c:v>
                </c:pt>
                <c:pt idx="737">
                  <c:v>45013</c:v>
                </c:pt>
                <c:pt idx="738">
                  <c:v>45014</c:v>
                </c:pt>
                <c:pt idx="739">
                  <c:v>45015</c:v>
                </c:pt>
                <c:pt idx="740">
                  <c:v>45016</c:v>
                </c:pt>
                <c:pt idx="741">
                  <c:v>45019</c:v>
                </c:pt>
                <c:pt idx="742">
                  <c:v>45020</c:v>
                </c:pt>
                <c:pt idx="743">
                  <c:v>45021</c:v>
                </c:pt>
                <c:pt idx="744">
                  <c:v>45022</c:v>
                </c:pt>
                <c:pt idx="745">
                  <c:v>45027</c:v>
                </c:pt>
                <c:pt idx="746">
                  <c:v>45028</c:v>
                </c:pt>
                <c:pt idx="747">
                  <c:v>45029</c:v>
                </c:pt>
                <c:pt idx="748">
                  <c:v>45034</c:v>
                </c:pt>
                <c:pt idx="749">
                  <c:v>45035</c:v>
                </c:pt>
                <c:pt idx="750">
                  <c:v>45036</c:v>
                </c:pt>
                <c:pt idx="751">
                  <c:v>45037</c:v>
                </c:pt>
                <c:pt idx="752">
                  <c:v>45040</c:v>
                </c:pt>
                <c:pt idx="753">
                  <c:v>45041</c:v>
                </c:pt>
                <c:pt idx="754">
                  <c:v>45042</c:v>
                </c:pt>
                <c:pt idx="755">
                  <c:v>45043</c:v>
                </c:pt>
                <c:pt idx="756">
                  <c:v>45044</c:v>
                </c:pt>
                <c:pt idx="757">
                  <c:v>45048</c:v>
                </c:pt>
                <c:pt idx="758">
                  <c:v>45049</c:v>
                </c:pt>
                <c:pt idx="759">
                  <c:v>45050</c:v>
                </c:pt>
                <c:pt idx="760">
                  <c:v>45051</c:v>
                </c:pt>
                <c:pt idx="761">
                  <c:v>45055</c:v>
                </c:pt>
                <c:pt idx="762">
                  <c:v>45056</c:v>
                </c:pt>
                <c:pt idx="763">
                  <c:v>45057</c:v>
                </c:pt>
                <c:pt idx="764">
                  <c:v>45058</c:v>
                </c:pt>
                <c:pt idx="765">
                  <c:v>45061</c:v>
                </c:pt>
                <c:pt idx="766">
                  <c:v>45062</c:v>
                </c:pt>
                <c:pt idx="767">
                  <c:v>45063</c:v>
                </c:pt>
                <c:pt idx="768">
                  <c:v>45064</c:v>
                </c:pt>
                <c:pt idx="769">
                  <c:v>45065</c:v>
                </c:pt>
                <c:pt idx="770">
                  <c:v>45068</c:v>
                </c:pt>
                <c:pt idx="771">
                  <c:v>45069</c:v>
                </c:pt>
                <c:pt idx="772">
                  <c:v>45071</c:v>
                </c:pt>
                <c:pt idx="773">
                  <c:v>45072</c:v>
                </c:pt>
                <c:pt idx="774">
                  <c:v>45075</c:v>
                </c:pt>
                <c:pt idx="775">
                  <c:v>45076</c:v>
                </c:pt>
                <c:pt idx="776">
                  <c:v>45077</c:v>
                </c:pt>
                <c:pt idx="777">
                  <c:v>45078</c:v>
                </c:pt>
                <c:pt idx="778">
                  <c:v>45079</c:v>
                </c:pt>
                <c:pt idx="779">
                  <c:v>45082</c:v>
                </c:pt>
                <c:pt idx="780">
                  <c:v>45083</c:v>
                </c:pt>
                <c:pt idx="781">
                  <c:v>45084</c:v>
                </c:pt>
                <c:pt idx="782">
                  <c:v>45085</c:v>
                </c:pt>
                <c:pt idx="783">
                  <c:v>45086</c:v>
                </c:pt>
                <c:pt idx="784">
                  <c:v>45089</c:v>
                </c:pt>
                <c:pt idx="785">
                  <c:v>45090</c:v>
                </c:pt>
                <c:pt idx="786">
                  <c:v>45091</c:v>
                </c:pt>
                <c:pt idx="787">
                  <c:v>45092</c:v>
                </c:pt>
                <c:pt idx="788">
                  <c:v>45093</c:v>
                </c:pt>
                <c:pt idx="789">
                  <c:v>45096</c:v>
                </c:pt>
                <c:pt idx="790">
                  <c:v>45097</c:v>
                </c:pt>
                <c:pt idx="791">
                  <c:v>45098</c:v>
                </c:pt>
                <c:pt idx="792">
                  <c:v>45099</c:v>
                </c:pt>
                <c:pt idx="793">
                  <c:v>45100</c:v>
                </c:pt>
                <c:pt idx="794">
                  <c:v>45103</c:v>
                </c:pt>
                <c:pt idx="795">
                  <c:v>45104</c:v>
                </c:pt>
                <c:pt idx="796">
                  <c:v>45105</c:v>
                </c:pt>
                <c:pt idx="797">
                  <c:v>45106</c:v>
                </c:pt>
                <c:pt idx="798">
                  <c:v>45107</c:v>
                </c:pt>
                <c:pt idx="799">
                  <c:v>45110</c:v>
                </c:pt>
                <c:pt idx="800">
                  <c:v>45111</c:v>
                </c:pt>
                <c:pt idx="801">
                  <c:v>45112</c:v>
                </c:pt>
                <c:pt idx="802">
                  <c:v>45113</c:v>
                </c:pt>
                <c:pt idx="803">
                  <c:v>45114</c:v>
                </c:pt>
                <c:pt idx="804">
                  <c:v>45117</c:v>
                </c:pt>
                <c:pt idx="805">
                  <c:v>45118</c:v>
                </c:pt>
                <c:pt idx="806">
                  <c:v>45119</c:v>
                </c:pt>
                <c:pt idx="807">
                  <c:v>45120</c:v>
                </c:pt>
                <c:pt idx="808">
                  <c:v>45121</c:v>
                </c:pt>
                <c:pt idx="809">
                  <c:v>45124</c:v>
                </c:pt>
                <c:pt idx="810">
                  <c:v>45125</c:v>
                </c:pt>
                <c:pt idx="811">
                  <c:v>45126</c:v>
                </c:pt>
                <c:pt idx="812">
                  <c:v>45127</c:v>
                </c:pt>
                <c:pt idx="813">
                  <c:v>45128</c:v>
                </c:pt>
                <c:pt idx="814">
                  <c:v>45131</c:v>
                </c:pt>
                <c:pt idx="815">
                  <c:v>45132</c:v>
                </c:pt>
                <c:pt idx="816">
                  <c:v>45133</c:v>
                </c:pt>
                <c:pt idx="817">
                  <c:v>45134</c:v>
                </c:pt>
                <c:pt idx="818">
                  <c:v>45135</c:v>
                </c:pt>
                <c:pt idx="819">
                  <c:v>45138</c:v>
                </c:pt>
                <c:pt idx="820">
                  <c:v>45139</c:v>
                </c:pt>
                <c:pt idx="821">
                  <c:v>45140</c:v>
                </c:pt>
                <c:pt idx="822">
                  <c:v>45141</c:v>
                </c:pt>
                <c:pt idx="823">
                  <c:v>45142</c:v>
                </c:pt>
                <c:pt idx="824">
                  <c:v>45145</c:v>
                </c:pt>
                <c:pt idx="825">
                  <c:v>45146</c:v>
                </c:pt>
                <c:pt idx="826">
                  <c:v>45147</c:v>
                </c:pt>
                <c:pt idx="827">
                  <c:v>45148</c:v>
                </c:pt>
                <c:pt idx="828">
                  <c:v>45149</c:v>
                </c:pt>
                <c:pt idx="829">
                  <c:v>45152</c:v>
                </c:pt>
                <c:pt idx="830">
                  <c:v>45153</c:v>
                </c:pt>
                <c:pt idx="831">
                  <c:v>45154</c:v>
                </c:pt>
                <c:pt idx="832">
                  <c:v>45155</c:v>
                </c:pt>
                <c:pt idx="833">
                  <c:v>45156</c:v>
                </c:pt>
                <c:pt idx="834">
                  <c:v>45159</c:v>
                </c:pt>
                <c:pt idx="835">
                  <c:v>45160</c:v>
                </c:pt>
                <c:pt idx="836">
                  <c:v>45161</c:v>
                </c:pt>
                <c:pt idx="837">
                  <c:v>45162</c:v>
                </c:pt>
                <c:pt idx="838">
                  <c:v>45163</c:v>
                </c:pt>
                <c:pt idx="839">
                  <c:v>45166</c:v>
                </c:pt>
                <c:pt idx="840">
                  <c:v>45167</c:v>
                </c:pt>
                <c:pt idx="841">
                  <c:v>45168</c:v>
                </c:pt>
                <c:pt idx="842">
                  <c:v>45169</c:v>
                </c:pt>
                <c:pt idx="843">
                  <c:v>45170</c:v>
                </c:pt>
                <c:pt idx="844">
                  <c:v>45173</c:v>
                </c:pt>
                <c:pt idx="845">
                  <c:v>45174</c:v>
                </c:pt>
                <c:pt idx="846">
                  <c:v>45176</c:v>
                </c:pt>
                <c:pt idx="847">
                  <c:v>45177</c:v>
                </c:pt>
                <c:pt idx="848">
                  <c:v>45180</c:v>
                </c:pt>
                <c:pt idx="849">
                  <c:v>45181</c:v>
                </c:pt>
                <c:pt idx="850">
                  <c:v>45182</c:v>
                </c:pt>
                <c:pt idx="851">
                  <c:v>45183</c:v>
                </c:pt>
                <c:pt idx="852">
                  <c:v>45184</c:v>
                </c:pt>
                <c:pt idx="853">
                  <c:v>45187</c:v>
                </c:pt>
                <c:pt idx="854">
                  <c:v>45188</c:v>
                </c:pt>
                <c:pt idx="855">
                  <c:v>45189</c:v>
                </c:pt>
                <c:pt idx="856">
                  <c:v>45190</c:v>
                </c:pt>
                <c:pt idx="857">
                  <c:v>45194</c:v>
                </c:pt>
                <c:pt idx="858">
                  <c:v>45195</c:v>
                </c:pt>
                <c:pt idx="859">
                  <c:v>45196</c:v>
                </c:pt>
                <c:pt idx="860">
                  <c:v>45197</c:v>
                </c:pt>
                <c:pt idx="861">
                  <c:v>45198</c:v>
                </c:pt>
                <c:pt idx="862">
                  <c:v>45201</c:v>
                </c:pt>
                <c:pt idx="863">
                  <c:v>45202</c:v>
                </c:pt>
                <c:pt idx="864">
                  <c:v>45203</c:v>
                </c:pt>
                <c:pt idx="865">
                  <c:v>45204</c:v>
                </c:pt>
                <c:pt idx="866">
                  <c:v>45205</c:v>
                </c:pt>
                <c:pt idx="867">
                  <c:v>45208</c:v>
                </c:pt>
                <c:pt idx="868">
                  <c:v>45209</c:v>
                </c:pt>
                <c:pt idx="869">
                  <c:v>45210</c:v>
                </c:pt>
                <c:pt idx="870">
                  <c:v>45211</c:v>
                </c:pt>
                <c:pt idx="871">
                  <c:v>45212</c:v>
                </c:pt>
                <c:pt idx="872">
                  <c:v>45215</c:v>
                </c:pt>
                <c:pt idx="873">
                  <c:v>45216</c:v>
                </c:pt>
                <c:pt idx="874">
                  <c:v>45217</c:v>
                </c:pt>
                <c:pt idx="875">
                  <c:v>45218</c:v>
                </c:pt>
                <c:pt idx="876">
                  <c:v>45219</c:v>
                </c:pt>
                <c:pt idx="877">
                  <c:v>45222</c:v>
                </c:pt>
                <c:pt idx="878">
                  <c:v>45223</c:v>
                </c:pt>
                <c:pt idx="879">
                  <c:v>45224</c:v>
                </c:pt>
                <c:pt idx="880">
                  <c:v>45225</c:v>
                </c:pt>
                <c:pt idx="881">
                  <c:v>45226</c:v>
                </c:pt>
                <c:pt idx="882">
                  <c:v>45229</c:v>
                </c:pt>
                <c:pt idx="883">
                  <c:v>45230</c:v>
                </c:pt>
                <c:pt idx="884">
                  <c:v>45231</c:v>
                </c:pt>
                <c:pt idx="885">
                  <c:v>45232</c:v>
                </c:pt>
                <c:pt idx="886">
                  <c:v>45233</c:v>
                </c:pt>
                <c:pt idx="887">
                  <c:v>45236</c:v>
                </c:pt>
                <c:pt idx="888">
                  <c:v>45237</c:v>
                </c:pt>
                <c:pt idx="889">
                  <c:v>45238</c:v>
                </c:pt>
                <c:pt idx="890">
                  <c:v>45239</c:v>
                </c:pt>
                <c:pt idx="891">
                  <c:v>45240</c:v>
                </c:pt>
                <c:pt idx="892">
                  <c:v>45243</c:v>
                </c:pt>
                <c:pt idx="893">
                  <c:v>45244</c:v>
                </c:pt>
                <c:pt idx="894">
                  <c:v>45245</c:v>
                </c:pt>
                <c:pt idx="895">
                  <c:v>45246</c:v>
                </c:pt>
                <c:pt idx="896">
                  <c:v>45247</c:v>
                </c:pt>
                <c:pt idx="897">
                  <c:v>45250</c:v>
                </c:pt>
                <c:pt idx="898">
                  <c:v>45251</c:v>
                </c:pt>
                <c:pt idx="899">
                  <c:v>45252</c:v>
                </c:pt>
                <c:pt idx="900">
                  <c:v>45253</c:v>
                </c:pt>
                <c:pt idx="901">
                  <c:v>45254</c:v>
                </c:pt>
                <c:pt idx="902">
                  <c:v>45257</c:v>
                </c:pt>
                <c:pt idx="903">
                  <c:v>45258</c:v>
                </c:pt>
                <c:pt idx="904">
                  <c:v>45259</c:v>
                </c:pt>
                <c:pt idx="905">
                  <c:v>45260</c:v>
                </c:pt>
                <c:pt idx="906">
                  <c:v>45261</c:v>
                </c:pt>
                <c:pt idx="907">
                  <c:v>45264</c:v>
                </c:pt>
                <c:pt idx="908">
                  <c:v>45265</c:v>
                </c:pt>
                <c:pt idx="909">
                  <c:v>45266</c:v>
                </c:pt>
                <c:pt idx="910">
                  <c:v>45267</c:v>
                </c:pt>
                <c:pt idx="911">
                  <c:v>45268</c:v>
                </c:pt>
                <c:pt idx="912">
                  <c:v>45271</c:v>
                </c:pt>
                <c:pt idx="913">
                  <c:v>45272</c:v>
                </c:pt>
                <c:pt idx="914">
                  <c:v>45273</c:v>
                </c:pt>
                <c:pt idx="915">
                  <c:v>45274</c:v>
                </c:pt>
                <c:pt idx="916">
                  <c:v>45275</c:v>
                </c:pt>
                <c:pt idx="917">
                  <c:v>45278</c:v>
                </c:pt>
                <c:pt idx="918">
                  <c:v>45279</c:v>
                </c:pt>
                <c:pt idx="919">
                  <c:v>45280</c:v>
                </c:pt>
                <c:pt idx="920">
                  <c:v>45281</c:v>
                </c:pt>
                <c:pt idx="921">
                  <c:v>45282</c:v>
                </c:pt>
                <c:pt idx="922">
                  <c:v>45288</c:v>
                </c:pt>
                <c:pt idx="923">
                  <c:v>45289</c:v>
                </c:pt>
                <c:pt idx="924">
                  <c:v>45293</c:v>
                </c:pt>
                <c:pt idx="925">
                  <c:v>45294</c:v>
                </c:pt>
                <c:pt idx="926">
                  <c:v>45295</c:v>
                </c:pt>
                <c:pt idx="927">
                  <c:v>45296</c:v>
                </c:pt>
                <c:pt idx="928">
                  <c:v>45299</c:v>
                </c:pt>
                <c:pt idx="929">
                  <c:v>45300</c:v>
                </c:pt>
                <c:pt idx="930">
                  <c:v>45301</c:v>
                </c:pt>
                <c:pt idx="931">
                  <c:v>45302</c:v>
                </c:pt>
                <c:pt idx="932">
                  <c:v>45303</c:v>
                </c:pt>
                <c:pt idx="933">
                  <c:v>45306</c:v>
                </c:pt>
                <c:pt idx="934">
                  <c:v>45307</c:v>
                </c:pt>
                <c:pt idx="935">
                  <c:v>45308</c:v>
                </c:pt>
                <c:pt idx="936">
                  <c:v>45309</c:v>
                </c:pt>
                <c:pt idx="937">
                  <c:v>45310</c:v>
                </c:pt>
                <c:pt idx="938">
                  <c:v>45313</c:v>
                </c:pt>
                <c:pt idx="939">
                  <c:v>45314</c:v>
                </c:pt>
                <c:pt idx="940">
                  <c:v>45315</c:v>
                </c:pt>
                <c:pt idx="941">
                  <c:v>45316</c:v>
                </c:pt>
                <c:pt idx="942">
                  <c:v>45317</c:v>
                </c:pt>
                <c:pt idx="943">
                  <c:v>45320</c:v>
                </c:pt>
                <c:pt idx="944">
                  <c:v>45321</c:v>
                </c:pt>
                <c:pt idx="945">
                  <c:v>45322</c:v>
                </c:pt>
                <c:pt idx="946">
                  <c:v>45323</c:v>
                </c:pt>
                <c:pt idx="947">
                  <c:v>45324</c:v>
                </c:pt>
                <c:pt idx="948">
                  <c:v>45327</c:v>
                </c:pt>
                <c:pt idx="949">
                  <c:v>45328</c:v>
                </c:pt>
                <c:pt idx="950">
                  <c:v>45329</c:v>
                </c:pt>
                <c:pt idx="951">
                  <c:v>45330</c:v>
                </c:pt>
                <c:pt idx="952">
                  <c:v>45331</c:v>
                </c:pt>
                <c:pt idx="953">
                  <c:v>45334</c:v>
                </c:pt>
                <c:pt idx="954">
                  <c:v>45335</c:v>
                </c:pt>
                <c:pt idx="955">
                  <c:v>45336</c:v>
                </c:pt>
                <c:pt idx="956">
                  <c:v>45337</c:v>
                </c:pt>
                <c:pt idx="957">
                  <c:v>45338</c:v>
                </c:pt>
                <c:pt idx="958">
                  <c:v>45341</c:v>
                </c:pt>
                <c:pt idx="959">
                  <c:v>45342</c:v>
                </c:pt>
                <c:pt idx="960">
                  <c:v>45343</c:v>
                </c:pt>
                <c:pt idx="961">
                  <c:v>45344</c:v>
                </c:pt>
                <c:pt idx="962">
                  <c:v>45345</c:v>
                </c:pt>
                <c:pt idx="963">
                  <c:v>45348</c:v>
                </c:pt>
                <c:pt idx="964">
                  <c:v>45349</c:v>
                </c:pt>
                <c:pt idx="965">
                  <c:v>45350</c:v>
                </c:pt>
                <c:pt idx="966">
                  <c:v>45351</c:v>
                </c:pt>
                <c:pt idx="967">
                  <c:v>45352</c:v>
                </c:pt>
                <c:pt idx="968">
                  <c:v>45356</c:v>
                </c:pt>
                <c:pt idx="969">
                  <c:v>45357</c:v>
                </c:pt>
                <c:pt idx="970">
                  <c:v>45358</c:v>
                </c:pt>
                <c:pt idx="971">
                  <c:v>44995</c:v>
                </c:pt>
                <c:pt idx="972">
                  <c:v>44998</c:v>
                </c:pt>
                <c:pt idx="973">
                  <c:v>44999</c:v>
                </c:pt>
                <c:pt idx="974">
                  <c:v>45000</c:v>
                </c:pt>
                <c:pt idx="975">
                  <c:v>45001</c:v>
                </c:pt>
                <c:pt idx="976">
                  <c:v>45002</c:v>
                </c:pt>
                <c:pt idx="977">
                  <c:v>45005</c:v>
                </c:pt>
                <c:pt idx="978">
                  <c:v>45006</c:v>
                </c:pt>
                <c:pt idx="979">
                  <c:v>45007</c:v>
                </c:pt>
                <c:pt idx="980">
                  <c:v>45008</c:v>
                </c:pt>
                <c:pt idx="981">
                  <c:v>45009</c:v>
                </c:pt>
                <c:pt idx="982">
                  <c:v>45012</c:v>
                </c:pt>
                <c:pt idx="983">
                  <c:v>45013</c:v>
                </c:pt>
                <c:pt idx="984">
                  <c:v>45014</c:v>
                </c:pt>
                <c:pt idx="985">
                  <c:v>45015</c:v>
                </c:pt>
                <c:pt idx="986">
                  <c:v>45016</c:v>
                </c:pt>
                <c:pt idx="987">
                  <c:v>45019</c:v>
                </c:pt>
                <c:pt idx="988">
                  <c:v>45020</c:v>
                </c:pt>
                <c:pt idx="989">
                  <c:v>45021</c:v>
                </c:pt>
                <c:pt idx="990">
                  <c:v>45022</c:v>
                </c:pt>
                <c:pt idx="991">
                  <c:v>45027</c:v>
                </c:pt>
                <c:pt idx="992">
                  <c:v>45028</c:v>
                </c:pt>
                <c:pt idx="993">
                  <c:v>45029</c:v>
                </c:pt>
                <c:pt idx="994">
                  <c:v>45034</c:v>
                </c:pt>
                <c:pt idx="995">
                  <c:v>45035</c:v>
                </c:pt>
                <c:pt idx="996">
                  <c:v>45036</c:v>
                </c:pt>
                <c:pt idx="997">
                  <c:v>45037</c:v>
                </c:pt>
                <c:pt idx="998">
                  <c:v>45040</c:v>
                </c:pt>
                <c:pt idx="999">
                  <c:v>45041</c:v>
                </c:pt>
                <c:pt idx="1000">
                  <c:v>45042</c:v>
                </c:pt>
                <c:pt idx="1001">
                  <c:v>45043</c:v>
                </c:pt>
                <c:pt idx="1002">
                  <c:v>45044</c:v>
                </c:pt>
                <c:pt idx="1003">
                  <c:v>45048</c:v>
                </c:pt>
                <c:pt idx="1004">
                  <c:v>45049</c:v>
                </c:pt>
                <c:pt idx="1005">
                  <c:v>45050</c:v>
                </c:pt>
                <c:pt idx="1006">
                  <c:v>45051</c:v>
                </c:pt>
                <c:pt idx="1007">
                  <c:v>45055</c:v>
                </c:pt>
                <c:pt idx="1008">
                  <c:v>45056</c:v>
                </c:pt>
                <c:pt idx="1009">
                  <c:v>45057</c:v>
                </c:pt>
                <c:pt idx="1010">
                  <c:v>45058</c:v>
                </c:pt>
                <c:pt idx="1011">
                  <c:v>45061</c:v>
                </c:pt>
                <c:pt idx="1012">
                  <c:v>45062</c:v>
                </c:pt>
                <c:pt idx="1013">
                  <c:v>45063</c:v>
                </c:pt>
                <c:pt idx="1014">
                  <c:v>45064</c:v>
                </c:pt>
                <c:pt idx="1015">
                  <c:v>45065</c:v>
                </c:pt>
                <c:pt idx="1016">
                  <c:v>45068</c:v>
                </c:pt>
                <c:pt idx="1017">
                  <c:v>45069</c:v>
                </c:pt>
                <c:pt idx="1018">
                  <c:v>45071</c:v>
                </c:pt>
                <c:pt idx="1019">
                  <c:v>45072</c:v>
                </c:pt>
                <c:pt idx="1020">
                  <c:v>45075</c:v>
                </c:pt>
                <c:pt idx="1021">
                  <c:v>45076</c:v>
                </c:pt>
                <c:pt idx="1022">
                  <c:v>45077</c:v>
                </c:pt>
                <c:pt idx="1023">
                  <c:v>45078</c:v>
                </c:pt>
                <c:pt idx="1024">
                  <c:v>45079</c:v>
                </c:pt>
                <c:pt idx="1025">
                  <c:v>45082</c:v>
                </c:pt>
                <c:pt idx="1026">
                  <c:v>45083</c:v>
                </c:pt>
                <c:pt idx="1027">
                  <c:v>45084</c:v>
                </c:pt>
                <c:pt idx="1028">
                  <c:v>45085</c:v>
                </c:pt>
                <c:pt idx="1029">
                  <c:v>45086</c:v>
                </c:pt>
                <c:pt idx="1030">
                  <c:v>45089</c:v>
                </c:pt>
                <c:pt idx="1031">
                  <c:v>45090</c:v>
                </c:pt>
                <c:pt idx="1032">
                  <c:v>45091</c:v>
                </c:pt>
                <c:pt idx="1033">
                  <c:v>45092</c:v>
                </c:pt>
                <c:pt idx="1034">
                  <c:v>45093</c:v>
                </c:pt>
                <c:pt idx="1035">
                  <c:v>45096</c:v>
                </c:pt>
                <c:pt idx="1036">
                  <c:v>45097</c:v>
                </c:pt>
                <c:pt idx="1037">
                  <c:v>45098</c:v>
                </c:pt>
                <c:pt idx="1038">
                  <c:v>45099</c:v>
                </c:pt>
                <c:pt idx="1039">
                  <c:v>45100</c:v>
                </c:pt>
                <c:pt idx="1040">
                  <c:v>45103</c:v>
                </c:pt>
                <c:pt idx="1041">
                  <c:v>45104</c:v>
                </c:pt>
                <c:pt idx="1042">
                  <c:v>45105</c:v>
                </c:pt>
                <c:pt idx="1043">
                  <c:v>45106</c:v>
                </c:pt>
                <c:pt idx="1044">
                  <c:v>45107</c:v>
                </c:pt>
                <c:pt idx="1045">
                  <c:v>45110</c:v>
                </c:pt>
                <c:pt idx="1046">
                  <c:v>45111</c:v>
                </c:pt>
                <c:pt idx="1047">
                  <c:v>45112</c:v>
                </c:pt>
                <c:pt idx="1048">
                  <c:v>45113</c:v>
                </c:pt>
                <c:pt idx="1049">
                  <c:v>45114</c:v>
                </c:pt>
                <c:pt idx="1050">
                  <c:v>45117</c:v>
                </c:pt>
                <c:pt idx="1051">
                  <c:v>45118</c:v>
                </c:pt>
                <c:pt idx="1052">
                  <c:v>45119</c:v>
                </c:pt>
                <c:pt idx="1053">
                  <c:v>45120</c:v>
                </c:pt>
                <c:pt idx="1054">
                  <c:v>45121</c:v>
                </c:pt>
                <c:pt idx="1055">
                  <c:v>45124</c:v>
                </c:pt>
                <c:pt idx="1056">
                  <c:v>45125</c:v>
                </c:pt>
                <c:pt idx="1057">
                  <c:v>45126</c:v>
                </c:pt>
                <c:pt idx="1058">
                  <c:v>45127</c:v>
                </c:pt>
                <c:pt idx="1059">
                  <c:v>45128</c:v>
                </c:pt>
                <c:pt idx="1060">
                  <c:v>45131</c:v>
                </c:pt>
                <c:pt idx="1061">
                  <c:v>45132</c:v>
                </c:pt>
                <c:pt idx="1062">
                  <c:v>45133</c:v>
                </c:pt>
                <c:pt idx="1063">
                  <c:v>45134</c:v>
                </c:pt>
                <c:pt idx="1064">
                  <c:v>45135</c:v>
                </c:pt>
                <c:pt idx="1065">
                  <c:v>45138</c:v>
                </c:pt>
                <c:pt idx="1066">
                  <c:v>45139</c:v>
                </c:pt>
                <c:pt idx="1067">
                  <c:v>45140</c:v>
                </c:pt>
                <c:pt idx="1068">
                  <c:v>45141</c:v>
                </c:pt>
                <c:pt idx="1069">
                  <c:v>45142</c:v>
                </c:pt>
                <c:pt idx="1070">
                  <c:v>45145</c:v>
                </c:pt>
                <c:pt idx="1071">
                  <c:v>45146</c:v>
                </c:pt>
                <c:pt idx="1072">
                  <c:v>45147</c:v>
                </c:pt>
                <c:pt idx="1073">
                  <c:v>45148</c:v>
                </c:pt>
                <c:pt idx="1074">
                  <c:v>45149</c:v>
                </c:pt>
                <c:pt idx="1075">
                  <c:v>45152</c:v>
                </c:pt>
                <c:pt idx="1076">
                  <c:v>45153</c:v>
                </c:pt>
                <c:pt idx="1077">
                  <c:v>45154</c:v>
                </c:pt>
                <c:pt idx="1078">
                  <c:v>45155</c:v>
                </c:pt>
                <c:pt idx="1079">
                  <c:v>45156</c:v>
                </c:pt>
                <c:pt idx="1080">
                  <c:v>45159</c:v>
                </c:pt>
                <c:pt idx="1081">
                  <c:v>45160</c:v>
                </c:pt>
                <c:pt idx="1082">
                  <c:v>45161</c:v>
                </c:pt>
                <c:pt idx="1083">
                  <c:v>45162</c:v>
                </c:pt>
                <c:pt idx="1084">
                  <c:v>45163</c:v>
                </c:pt>
                <c:pt idx="1085">
                  <c:v>45166</c:v>
                </c:pt>
                <c:pt idx="1086">
                  <c:v>45167</c:v>
                </c:pt>
                <c:pt idx="1087">
                  <c:v>45168</c:v>
                </c:pt>
                <c:pt idx="1088">
                  <c:v>45169</c:v>
                </c:pt>
                <c:pt idx="1089">
                  <c:v>45170</c:v>
                </c:pt>
                <c:pt idx="1090">
                  <c:v>45173</c:v>
                </c:pt>
                <c:pt idx="1091">
                  <c:v>45174</c:v>
                </c:pt>
                <c:pt idx="1092">
                  <c:v>45176</c:v>
                </c:pt>
                <c:pt idx="1093">
                  <c:v>45177</c:v>
                </c:pt>
                <c:pt idx="1094">
                  <c:v>45180</c:v>
                </c:pt>
                <c:pt idx="1095">
                  <c:v>45181</c:v>
                </c:pt>
                <c:pt idx="1096">
                  <c:v>45182</c:v>
                </c:pt>
                <c:pt idx="1097">
                  <c:v>45183</c:v>
                </c:pt>
                <c:pt idx="1098">
                  <c:v>45184</c:v>
                </c:pt>
                <c:pt idx="1099">
                  <c:v>45187</c:v>
                </c:pt>
                <c:pt idx="1100">
                  <c:v>45188</c:v>
                </c:pt>
                <c:pt idx="1101">
                  <c:v>45189</c:v>
                </c:pt>
                <c:pt idx="1102">
                  <c:v>45190</c:v>
                </c:pt>
                <c:pt idx="1103">
                  <c:v>45194</c:v>
                </c:pt>
                <c:pt idx="1104">
                  <c:v>45195</c:v>
                </c:pt>
                <c:pt idx="1105">
                  <c:v>45196</c:v>
                </c:pt>
                <c:pt idx="1106">
                  <c:v>45197</c:v>
                </c:pt>
                <c:pt idx="1107">
                  <c:v>45198</c:v>
                </c:pt>
                <c:pt idx="1108">
                  <c:v>45201</c:v>
                </c:pt>
                <c:pt idx="1109">
                  <c:v>45202</c:v>
                </c:pt>
                <c:pt idx="1110">
                  <c:v>45203</c:v>
                </c:pt>
                <c:pt idx="1111">
                  <c:v>45204</c:v>
                </c:pt>
                <c:pt idx="1112">
                  <c:v>45205</c:v>
                </c:pt>
                <c:pt idx="1113">
                  <c:v>45208</c:v>
                </c:pt>
                <c:pt idx="1114">
                  <c:v>45209</c:v>
                </c:pt>
                <c:pt idx="1115">
                  <c:v>45210</c:v>
                </c:pt>
                <c:pt idx="1116">
                  <c:v>45211</c:v>
                </c:pt>
                <c:pt idx="1117">
                  <c:v>45212</c:v>
                </c:pt>
                <c:pt idx="1118">
                  <c:v>45215</c:v>
                </c:pt>
                <c:pt idx="1119">
                  <c:v>45216</c:v>
                </c:pt>
                <c:pt idx="1120">
                  <c:v>45217</c:v>
                </c:pt>
                <c:pt idx="1121">
                  <c:v>45218</c:v>
                </c:pt>
                <c:pt idx="1122">
                  <c:v>45219</c:v>
                </c:pt>
                <c:pt idx="1123">
                  <c:v>45222</c:v>
                </c:pt>
                <c:pt idx="1124">
                  <c:v>45223</c:v>
                </c:pt>
                <c:pt idx="1125">
                  <c:v>45224</c:v>
                </c:pt>
                <c:pt idx="1126">
                  <c:v>45225</c:v>
                </c:pt>
                <c:pt idx="1127">
                  <c:v>45226</c:v>
                </c:pt>
                <c:pt idx="1128">
                  <c:v>45229</c:v>
                </c:pt>
                <c:pt idx="1129">
                  <c:v>45230</c:v>
                </c:pt>
                <c:pt idx="1130">
                  <c:v>45231</c:v>
                </c:pt>
                <c:pt idx="1131">
                  <c:v>45232</c:v>
                </c:pt>
                <c:pt idx="1132">
                  <c:v>45233</c:v>
                </c:pt>
                <c:pt idx="1133">
                  <c:v>45236</c:v>
                </c:pt>
                <c:pt idx="1134">
                  <c:v>45237</c:v>
                </c:pt>
                <c:pt idx="1135">
                  <c:v>45238</c:v>
                </c:pt>
                <c:pt idx="1136">
                  <c:v>45239</c:v>
                </c:pt>
                <c:pt idx="1137">
                  <c:v>45240</c:v>
                </c:pt>
                <c:pt idx="1138">
                  <c:v>45243</c:v>
                </c:pt>
                <c:pt idx="1139">
                  <c:v>45244</c:v>
                </c:pt>
                <c:pt idx="1140">
                  <c:v>45245</c:v>
                </c:pt>
                <c:pt idx="1141">
                  <c:v>45246</c:v>
                </c:pt>
                <c:pt idx="1142">
                  <c:v>45247</c:v>
                </c:pt>
                <c:pt idx="1143">
                  <c:v>45250</c:v>
                </c:pt>
                <c:pt idx="1144">
                  <c:v>45251</c:v>
                </c:pt>
                <c:pt idx="1145">
                  <c:v>45252</c:v>
                </c:pt>
                <c:pt idx="1146">
                  <c:v>45253</c:v>
                </c:pt>
                <c:pt idx="1147">
                  <c:v>45254</c:v>
                </c:pt>
                <c:pt idx="1148">
                  <c:v>45257</c:v>
                </c:pt>
                <c:pt idx="1149">
                  <c:v>45258</c:v>
                </c:pt>
                <c:pt idx="1150">
                  <c:v>45259</c:v>
                </c:pt>
                <c:pt idx="1151">
                  <c:v>45260</c:v>
                </c:pt>
                <c:pt idx="1152">
                  <c:v>45261</c:v>
                </c:pt>
                <c:pt idx="1153">
                  <c:v>45264</c:v>
                </c:pt>
                <c:pt idx="1154">
                  <c:v>45265</c:v>
                </c:pt>
                <c:pt idx="1155">
                  <c:v>45266</c:v>
                </c:pt>
                <c:pt idx="1156">
                  <c:v>45267</c:v>
                </c:pt>
                <c:pt idx="1157">
                  <c:v>45268</c:v>
                </c:pt>
                <c:pt idx="1158">
                  <c:v>45271</c:v>
                </c:pt>
                <c:pt idx="1159">
                  <c:v>45272</c:v>
                </c:pt>
                <c:pt idx="1160">
                  <c:v>45273</c:v>
                </c:pt>
                <c:pt idx="1161">
                  <c:v>45274</c:v>
                </c:pt>
                <c:pt idx="1162">
                  <c:v>45275</c:v>
                </c:pt>
                <c:pt idx="1163">
                  <c:v>45278</c:v>
                </c:pt>
                <c:pt idx="1164">
                  <c:v>45279</c:v>
                </c:pt>
                <c:pt idx="1165">
                  <c:v>45280</c:v>
                </c:pt>
                <c:pt idx="1166">
                  <c:v>45281</c:v>
                </c:pt>
                <c:pt idx="1167">
                  <c:v>45282</c:v>
                </c:pt>
                <c:pt idx="1168">
                  <c:v>45288</c:v>
                </c:pt>
                <c:pt idx="1169">
                  <c:v>45289</c:v>
                </c:pt>
                <c:pt idx="1170">
                  <c:v>45293</c:v>
                </c:pt>
                <c:pt idx="1171">
                  <c:v>45294</c:v>
                </c:pt>
                <c:pt idx="1172">
                  <c:v>45295</c:v>
                </c:pt>
                <c:pt idx="1173">
                  <c:v>45296</c:v>
                </c:pt>
                <c:pt idx="1174">
                  <c:v>45299</c:v>
                </c:pt>
                <c:pt idx="1175">
                  <c:v>45300</c:v>
                </c:pt>
                <c:pt idx="1176">
                  <c:v>45301</c:v>
                </c:pt>
                <c:pt idx="1177">
                  <c:v>45302</c:v>
                </c:pt>
                <c:pt idx="1178">
                  <c:v>45303</c:v>
                </c:pt>
                <c:pt idx="1179">
                  <c:v>45306</c:v>
                </c:pt>
                <c:pt idx="1180">
                  <c:v>45307</c:v>
                </c:pt>
                <c:pt idx="1181">
                  <c:v>45308</c:v>
                </c:pt>
                <c:pt idx="1182">
                  <c:v>45309</c:v>
                </c:pt>
                <c:pt idx="1183">
                  <c:v>45310</c:v>
                </c:pt>
                <c:pt idx="1184">
                  <c:v>45313</c:v>
                </c:pt>
                <c:pt idx="1185">
                  <c:v>45314</c:v>
                </c:pt>
                <c:pt idx="1186">
                  <c:v>45315</c:v>
                </c:pt>
                <c:pt idx="1187">
                  <c:v>45316</c:v>
                </c:pt>
                <c:pt idx="1188">
                  <c:v>45317</c:v>
                </c:pt>
                <c:pt idx="1189">
                  <c:v>45320</c:v>
                </c:pt>
                <c:pt idx="1190">
                  <c:v>45321</c:v>
                </c:pt>
                <c:pt idx="1191">
                  <c:v>45322</c:v>
                </c:pt>
                <c:pt idx="1192">
                  <c:v>45323</c:v>
                </c:pt>
                <c:pt idx="1193">
                  <c:v>45324</c:v>
                </c:pt>
                <c:pt idx="1194">
                  <c:v>45327</c:v>
                </c:pt>
                <c:pt idx="1195">
                  <c:v>45328</c:v>
                </c:pt>
                <c:pt idx="1196">
                  <c:v>45329</c:v>
                </c:pt>
                <c:pt idx="1197">
                  <c:v>45330</c:v>
                </c:pt>
                <c:pt idx="1198">
                  <c:v>45331</c:v>
                </c:pt>
                <c:pt idx="1199">
                  <c:v>45334</c:v>
                </c:pt>
                <c:pt idx="1200">
                  <c:v>45335</c:v>
                </c:pt>
                <c:pt idx="1201">
                  <c:v>45336</c:v>
                </c:pt>
                <c:pt idx="1202">
                  <c:v>45337</c:v>
                </c:pt>
                <c:pt idx="1203">
                  <c:v>45338</c:v>
                </c:pt>
                <c:pt idx="1204">
                  <c:v>45341</c:v>
                </c:pt>
                <c:pt idx="1205">
                  <c:v>45342</c:v>
                </c:pt>
                <c:pt idx="1206">
                  <c:v>45343</c:v>
                </c:pt>
                <c:pt idx="1207">
                  <c:v>45344</c:v>
                </c:pt>
                <c:pt idx="1208">
                  <c:v>45345</c:v>
                </c:pt>
                <c:pt idx="1209">
                  <c:v>45348</c:v>
                </c:pt>
                <c:pt idx="1210">
                  <c:v>45349</c:v>
                </c:pt>
                <c:pt idx="1211">
                  <c:v>45350</c:v>
                </c:pt>
                <c:pt idx="1212">
                  <c:v>45351</c:v>
                </c:pt>
                <c:pt idx="1213">
                  <c:v>45352</c:v>
                </c:pt>
                <c:pt idx="1214">
                  <c:v>45356</c:v>
                </c:pt>
                <c:pt idx="1215">
                  <c:v>45357</c:v>
                </c:pt>
                <c:pt idx="1216">
                  <c:v>45358</c:v>
                </c:pt>
                <c:pt idx="1217">
                  <c:v>45359</c:v>
                </c:pt>
                <c:pt idx="1218">
                  <c:v>45362</c:v>
                </c:pt>
                <c:pt idx="1219">
                  <c:v>45363</c:v>
                </c:pt>
                <c:pt idx="1220">
                  <c:v>45364</c:v>
                </c:pt>
                <c:pt idx="1221">
                  <c:v>45365</c:v>
                </c:pt>
                <c:pt idx="1222">
                  <c:v>45366</c:v>
                </c:pt>
                <c:pt idx="1223">
                  <c:v>45369</c:v>
                </c:pt>
                <c:pt idx="1224">
                  <c:v>45370</c:v>
                </c:pt>
                <c:pt idx="1225">
                  <c:v>45371</c:v>
                </c:pt>
                <c:pt idx="1226">
                  <c:v>45372</c:v>
                </c:pt>
                <c:pt idx="1227">
                  <c:v>45373</c:v>
                </c:pt>
                <c:pt idx="1228">
                  <c:v>45376</c:v>
                </c:pt>
                <c:pt idx="1229">
                  <c:v>45377</c:v>
                </c:pt>
                <c:pt idx="1230">
                  <c:v>45378</c:v>
                </c:pt>
                <c:pt idx="1231">
                  <c:v>45379</c:v>
                </c:pt>
              </c:numCache>
            </c:numRef>
          </c:cat>
          <c:val>
            <c:numRef>
              <c:f>'5 index'!$E$19:$E$1250</c:f>
              <c:numCache>
                <c:formatCode>General</c:formatCode>
                <c:ptCount val="1232"/>
                <c:pt idx="0">
                  <c:v>419.35</c:v>
                </c:pt>
                <c:pt idx="1">
                  <c:v>417.64</c:v>
                </c:pt>
                <c:pt idx="2">
                  <c:v>421.69</c:v>
                </c:pt>
                <c:pt idx="3">
                  <c:v>423.34</c:v>
                </c:pt>
                <c:pt idx="4">
                  <c:v>427.78</c:v>
                </c:pt>
                <c:pt idx="5">
                  <c:v>433.39</c:v>
                </c:pt>
                <c:pt idx="6">
                  <c:v>435.55</c:v>
                </c:pt>
                <c:pt idx="7">
                  <c:v>445.43</c:v>
                </c:pt>
                <c:pt idx="8">
                  <c:v>459.55</c:v>
                </c:pt>
                <c:pt idx="9">
                  <c:v>453.2</c:v>
                </c:pt>
                <c:pt idx="10">
                  <c:v>447.27</c:v>
                </c:pt>
                <c:pt idx="11">
                  <c:v>429.12</c:v>
                </c:pt>
                <c:pt idx="12">
                  <c:v>435.38</c:v>
                </c:pt>
                <c:pt idx="13">
                  <c:v>442.63</c:v>
                </c:pt>
                <c:pt idx="14">
                  <c:v>448.61</c:v>
                </c:pt>
                <c:pt idx="15">
                  <c:v>445.33</c:v>
                </c:pt>
                <c:pt idx="16">
                  <c:v>447.7</c:v>
                </c:pt>
                <c:pt idx="17">
                  <c:v>449.39</c:v>
                </c:pt>
                <c:pt idx="18">
                  <c:v>447.45</c:v>
                </c:pt>
                <c:pt idx="19">
                  <c:v>447.74</c:v>
                </c:pt>
                <c:pt idx="20">
                  <c:v>448.37</c:v>
                </c:pt>
                <c:pt idx="21">
                  <c:v>446.95</c:v>
                </c:pt>
                <c:pt idx="22">
                  <c:v>448.82</c:v>
                </c:pt>
                <c:pt idx="23">
                  <c:v>449.77</c:v>
                </c:pt>
                <c:pt idx="24">
                  <c:v>451.78</c:v>
                </c:pt>
                <c:pt idx="25">
                  <c:v>452.98</c:v>
                </c:pt>
                <c:pt idx="26">
                  <c:v>449.51</c:v>
                </c:pt>
                <c:pt idx="27">
                  <c:v>450.13</c:v>
                </c:pt>
                <c:pt idx="28">
                  <c:v>449.75</c:v>
                </c:pt>
                <c:pt idx="29">
                  <c:v>451.33</c:v>
                </c:pt>
                <c:pt idx="30">
                  <c:v>449.45</c:v>
                </c:pt>
                <c:pt idx="31">
                  <c:v>449.56</c:v>
                </c:pt>
                <c:pt idx="32">
                  <c:v>450.22</c:v>
                </c:pt>
                <c:pt idx="33">
                  <c:v>451.56</c:v>
                </c:pt>
                <c:pt idx="34">
                  <c:v>452.92</c:v>
                </c:pt>
                <c:pt idx="35">
                  <c:v>453.76</c:v>
                </c:pt>
                <c:pt idx="36">
                  <c:v>452.71</c:v>
                </c:pt>
                <c:pt idx="37">
                  <c:v>461.06</c:v>
                </c:pt>
                <c:pt idx="38">
                  <c:v>461.03</c:v>
                </c:pt>
                <c:pt idx="39">
                  <c:v>458.87</c:v>
                </c:pt>
                <c:pt idx="40">
                  <c:v>462.1</c:v>
                </c:pt>
                <c:pt idx="41">
                  <c:v>467.21</c:v>
                </c:pt>
                <c:pt idx="42">
                  <c:v>465.84</c:v>
                </c:pt>
                <c:pt idx="43">
                  <c:v>465.68</c:v>
                </c:pt>
                <c:pt idx="44">
                  <c:v>462.28</c:v>
                </c:pt>
                <c:pt idx="45">
                  <c:v>452.47</c:v>
                </c:pt>
                <c:pt idx="46">
                  <c:v>456.39</c:v>
                </c:pt>
                <c:pt idx="47">
                  <c:v>458.81</c:v>
                </c:pt>
                <c:pt idx="48">
                  <c:v>457.53</c:v>
                </c:pt>
                <c:pt idx="49">
                  <c:v>459.46</c:v>
                </c:pt>
                <c:pt idx="50">
                  <c:v>459.09</c:v>
                </c:pt>
                <c:pt idx="51">
                  <c:v>459.87</c:v>
                </c:pt>
                <c:pt idx="52">
                  <c:v>457.22</c:v>
                </c:pt>
                <c:pt idx="53">
                  <c:v>455.12</c:v>
                </c:pt>
                <c:pt idx="54">
                  <c:v>455.24</c:v>
                </c:pt>
                <c:pt idx="55">
                  <c:v>456.02</c:v>
                </c:pt>
                <c:pt idx="56">
                  <c:v>455.15</c:v>
                </c:pt>
                <c:pt idx="57">
                  <c:v>453.92</c:v>
                </c:pt>
                <c:pt idx="58">
                  <c:v>453.26</c:v>
                </c:pt>
                <c:pt idx="59">
                  <c:v>453.03</c:v>
                </c:pt>
                <c:pt idx="60">
                  <c:v>452.52</c:v>
                </c:pt>
                <c:pt idx="61">
                  <c:v>449.82</c:v>
                </c:pt>
                <c:pt idx="62">
                  <c:v>447.12</c:v>
                </c:pt>
                <c:pt idx="63">
                  <c:v>446.22</c:v>
                </c:pt>
                <c:pt idx="64">
                  <c:v>448.19</c:v>
                </c:pt>
                <c:pt idx="65">
                  <c:v>445.52</c:v>
                </c:pt>
                <c:pt idx="66">
                  <c:v>444.23</c:v>
                </c:pt>
                <c:pt idx="67">
                  <c:v>443.73</c:v>
                </c:pt>
                <c:pt idx="68">
                  <c:v>441.32</c:v>
                </c:pt>
                <c:pt idx="69">
                  <c:v>442.17</c:v>
                </c:pt>
                <c:pt idx="70">
                  <c:v>444.77</c:v>
                </c:pt>
                <c:pt idx="71">
                  <c:v>442.27</c:v>
                </c:pt>
                <c:pt idx="72">
                  <c:v>442.02</c:v>
                </c:pt>
                <c:pt idx="73">
                  <c:v>441.46</c:v>
                </c:pt>
                <c:pt idx="74">
                  <c:v>439.71</c:v>
                </c:pt>
                <c:pt idx="75">
                  <c:v>440.63</c:v>
                </c:pt>
                <c:pt idx="76">
                  <c:v>440.18</c:v>
                </c:pt>
                <c:pt idx="77">
                  <c:v>439.88</c:v>
                </c:pt>
                <c:pt idx="78">
                  <c:v>438.22</c:v>
                </c:pt>
                <c:pt idx="79">
                  <c:v>438.16</c:v>
                </c:pt>
                <c:pt idx="80">
                  <c:v>439.6</c:v>
                </c:pt>
                <c:pt idx="81">
                  <c:v>436.45</c:v>
                </c:pt>
                <c:pt idx="82">
                  <c:v>436.59</c:v>
                </c:pt>
                <c:pt idx="83">
                  <c:v>436.91</c:v>
                </c:pt>
                <c:pt idx="84">
                  <c:v>434.56</c:v>
                </c:pt>
                <c:pt idx="85">
                  <c:v>433.08</c:v>
                </c:pt>
                <c:pt idx="86">
                  <c:v>430.87</c:v>
                </c:pt>
                <c:pt idx="87">
                  <c:v>431.99</c:v>
                </c:pt>
                <c:pt idx="88">
                  <c:v>435.62</c:v>
                </c:pt>
                <c:pt idx="89">
                  <c:v>435.59</c:v>
                </c:pt>
                <c:pt idx="90">
                  <c:v>435.61</c:v>
                </c:pt>
                <c:pt idx="91">
                  <c:v>433.21</c:v>
                </c:pt>
                <c:pt idx="92">
                  <c:v>433.61</c:v>
                </c:pt>
                <c:pt idx="93">
                  <c:v>433.44</c:v>
                </c:pt>
                <c:pt idx="94">
                  <c:v>434.46</c:v>
                </c:pt>
                <c:pt idx="95">
                  <c:v>435.81</c:v>
                </c:pt>
                <c:pt idx="96">
                  <c:v>435.14</c:v>
                </c:pt>
                <c:pt idx="97">
                  <c:v>435.17</c:v>
                </c:pt>
                <c:pt idx="98">
                  <c:v>433.71</c:v>
                </c:pt>
                <c:pt idx="99">
                  <c:v>437.61</c:v>
                </c:pt>
                <c:pt idx="100">
                  <c:v>430.86</c:v>
                </c:pt>
                <c:pt idx="101">
                  <c:v>432.51</c:v>
                </c:pt>
                <c:pt idx="102">
                  <c:v>434.21</c:v>
                </c:pt>
                <c:pt idx="103">
                  <c:v>430.87</c:v>
                </c:pt>
                <c:pt idx="104">
                  <c:v>431.75</c:v>
                </c:pt>
                <c:pt idx="105">
                  <c:v>434.77</c:v>
                </c:pt>
                <c:pt idx="106">
                  <c:v>435.11</c:v>
                </c:pt>
                <c:pt idx="107">
                  <c:v>434.26</c:v>
                </c:pt>
                <c:pt idx="108">
                  <c:v>435.07</c:v>
                </c:pt>
                <c:pt idx="109">
                  <c:v>430.51</c:v>
                </c:pt>
                <c:pt idx="110">
                  <c:v>431.95</c:v>
                </c:pt>
                <c:pt idx="111">
                  <c:v>430.91</c:v>
                </c:pt>
                <c:pt idx="112">
                  <c:v>430.66</c:v>
                </c:pt>
                <c:pt idx="113">
                  <c:v>429.81</c:v>
                </c:pt>
                <c:pt idx="114">
                  <c:v>429.6</c:v>
                </c:pt>
                <c:pt idx="115">
                  <c:v>424.97</c:v>
                </c:pt>
                <c:pt idx="116">
                  <c:v>423.59</c:v>
                </c:pt>
                <c:pt idx="117">
                  <c:v>425.11</c:v>
                </c:pt>
                <c:pt idx="118">
                  <c:v>425.21</c:v>
                </c:pt>
                <c:pt idx="119">
                  <c:v>422.58</c:v>
                </c:pt>
                <c:pt idx="120">
                  <c:v>426.43</c:v>
                </c:pt>
                <c:pt idx="121">
                  <c:v>426.9</c:v>
                </c:pt>
                <c:pt idx="122">
                  <c:v>427.55</c:v>
                </c:pt>
                <c:pt idx="123">
                  <c:v>425.63</c:v>
                </c:pt>
                <c:pt idx="124">
                  <c:v>420.33</c:v>
                </c:pt>
                <c:pt idx="125">
                  <c:v>421.91</c:v>
                </c:pt>
                <c:pt idx="126">
                  <c:v>422.19</c:v>
                </c:pt>
                <c:pt idx="127">
                  <c:v>422</c:v>
                </c:pt>
                <c:pt idx="128">
                  <c:v>421.65</c:v>
                </c:pt>
                <c:pt idx="129">
                  <c:v>423.27</c:v>
                </c:pt>
                <c:pt idx="130">
                  <c:v>425.93</c:v>
                </c:pt>
                <c:pt idx="131">
                  <c:v>424.46</c:v>
                </c:pt>
                <c:pt idx="132">
                  <c:v>425.96</c:v>
                </c:pt>
                <c:pt idx="133">
                  <c:v>425.35</c:v>
                </c:pt>
                <c:pt idx="134">
                  <c:v>429.83</c:v>
                </c:pt>
                <c:pt idx="135">
                  <c:v>428.97</c:v>
                </c:pt>
                <c:pt idx="136">
                  <c:v>428.07</c:v>
                </c:pt>
                <c:pt idx="137">
                  <c:v>428</c:v>
                </c:pt>
                <c:pt idx="138">
                  <c:v>429.66</c:v>
                </c:pt>
                <c:pt idx="139">
                  <c:v>427.07</c:v>
                </c:pt>
                <c:pt idx="140">
                  <c:v>429.72</c:v>
                </c:pt>
                <c:pt idx="141">
                  <c:v>426.4</c:v>
                </c:pt>
                <c:pt idx="142">
                  <c:v>423.69</c:v>
                </c:pt>
                <c:pt idx="143">
                  <c:v>424.09</c:v>
                </c:pt>
                <c:pt idx="144">
                  <c:v>427.94</c:v>
                </c:pt>
                <c:pt idx="145">
                  <c:v>429.38</c:v>
                </c:pt>
                <c:pt idx="146">
                  <c:v>427.36</c:v>
                </c:pt>
                <c:pt idx="147">
                  <c:v>427.69</c:v>
                </c:pt>
                <c:pt idx="148">
                  <c:v>425.91</c:v>
                </c:pt>
                <c:pt idx="149">
                  <c:v>424.94</c:v>
                </c:pt>
                <c:pt idx="150">
                  <c:v>425.96</c:v>
                </c:pt>
                <c:pt idx="151">
                  <c:v>428.62</c:v>
                </c:pt>
                <c:pt idx="152">
                  <c:v>428.63</c:v>
                </c:pt>
                <c:pt idx="153">
                  <c:v>428.07</c:v>
                </c:pt>
                <c:pt idx="154">
                  <c:v>425.62</c:v>
                </c:pt>
                <c:pt idx="155">
                  <c:v>422.84</c:v>
                </c:pt>
                <c:pt idx="156">
                  <c:v>425.65</c:v>
                </c:pt>
                <c:pt idx="157">
                  <c:v>425.66</c:v>
                </c:pt>
                <c:pt idx="158">
                  <c:v>422.86</c:v>
                </c:pt>
                <c:pt idx="159">
                  <c:v>426.4</c:v>
                </c:pt>
                <c:pt idx="160">
                  <c:v>424.42</c:v>
                </c:pt>
                <c:pt idx="161">
                  <c:v>424.87</c:v>
                </c:pt>
                <c:pt idx="162">
                  <c:v>422.39</c:v>
                </c:pt>
                <c:pt idx="163">
                  <c:v>424.62</c:v>
                </c:pt>
                <c:pt idx="164">
                  <c:v>425.7</c:v>
                </c:pt>
                <c:pt idx="165">
                  <c:v>423.33</c:v>
                </c:pt>
                <c:pt idx="166">
                  <c:v>427.87</c:v>
                </c:pt>
                <c:pt idx="167">
                  <c:v>427.28</c:v>
                </c:pt>
                <c:pt idx="168">
                  <c:v>426.91</c:v>
                </c:pt>
                <c:pt idx="169">
                  <c:v>429.25</c:v>
                </c:pt>
                <c:pt idx="170">
                  <c:v>433.18</c:v>
                </c:pt>
                <c:pt idx="171">
                  <c:v>435.29</c:v>
                </c:pt>
                <c:pt idx="172">
                  <c:v>437.44</c:v>
                </c:pt>
                <c:pt idx="173">
                  <c:v>436.78</c:v>
                </c:pt>
                <c:pt idx="174">
                  <c:v>438.45</c:v>
                </c:pt>
                <c:pt idx="175">
                  <c:v>438.26</c:v>
                </c:pt>
                <c:pt idx="176">
                  <c:v>437.68</c:v>
                </c:pt>
                <c:pt idx="177">
                  <c:v>439.89</c:v>
                </c:pt>
                <c:pt idx="178">
                  <c:v>439.59</c:v>
                </c:pt>
                <c:pt idx="179">
                  <c:v>442.3</c:v>
                </c:pt>
                <c:pt idx="180">
                  <c:v>441.78</c:v>
                </c:pt>
                <c:pt idx="181">
                  <c:v>443.12</c:v>
                </c:pt>
                <c:pt idx="182">
                  <c:v>444.67</c:v>
                </c:pt>
                <c:pt idx="183">
                  <c:v>444.67</c:v>
                </c:pt>
                <c:pt idx="184">
                  <c:v>446.79</c:v>
                </c:pt>
                <c:pt idx="185">
                  <c:v>447.53</c:v>
                </c:pt>
                <c:pt idx="186">
                  <c:v>446.94</c:v>
                </c:pt>
                <c:pt idx="187">
                  <c:v>449.47</c:v>
                </c:pt>
                <c:pt idx="188">
                  <c:v>447.45</c:v>
                </c:pt>
                <c:pt idx="189">
                  <c:v>449.88</c:v>
                </c:pt>
                <c:pt idx="190">
                  <c:v>451.31</c:v>
                </c:pt>
                <c:pt idx="191">
                  <c:v>453.92</c:v>
                </c:pt>
                <c:pt idx="192">
                  <c:v>452.5</c:v>
                </c:pt>
                <c:pt idx="193">
                  <c:v>454.77</c:v>
                </c:pt>
                <c:pt idx="194">
                  <c:v>457.4</c:v>
                </c:pt>
                <c:pt idx="195">
                  <c:v>465.71</c:v>
                </c:pt>
                <c:pt idx="196">
                  <c:v>470.35</c:v>
                </c:pt>
                <c:pt idx="197">
                  <c:v>476.94</c:v>
                </c:pt>
                <c:pt idx="198">
                  <c:v>488.73</c:v>
                </c:pt>
                <c:pt idx="199">
                  <c:v>499.85</c:v>
                </c:pt>
                <c:pt idx="200">
                  <c:v>502.3</c:v>
                </c:pt>
                <c:pt idx="201">
                  <c:v>503.37</c:v>
                </c:pt>
                <c:pt idx="202">
                  <c:v>504.69</c:v>
                </c:pt>
                <c:pt idx="203">
                  <c:v>506.98</c:v>
                </c:pt>
                <c:pt idx="204">
                  <c:v>498.9</c:v>
                </c:pt>
                <c:pt idx="205">
                  <c:v>499.38</c:v>
                </c:pt>
                <c:pt idx="206">
                  <c:v>497.38</c:v>
                </c:pt>
                <c:pt idx="207">
                  <c:v>500.3</c:v>
                </c:pt>
                <c:pt idx="208">
                  <c:v>502.5</c:v>
                </c:pt>
                <c:pt idx="209">
                  <c:v>498.34</c:v>
                </c:pt>
                <c:pt idx="210">
                  <c:v>494.51</c:v>
                </c:pt>
                <c:pt idx="211">
                  <c:v>494.39</c:v>
                </c:pt>
                <c:pt idx="212">
                  <c:v>496.3</c:v>
                </c:pt>
                <c:pt idx="213">
                  <c:v>494.34</c:v>
                </c:pt>
                <c:pt idx="214">
                  <c:v>491.21</c:v>
                </c:pt>
                <c:pt idx="215">
                  <c:v>496.75</c:v>
                </c:pt>
                <c:pt idx="216">
                  <c:v>494.79</c:v>
                </c:pt>
                <c:pt idx="217">
                  <c:v>499.09</c:v>
                </c:pt>
                <c:pt idx="218">
                  <c:v>499.76</c:v>
                </c:pt>
                <c:pt idx="219">
                  <c:v>500.53</c:v>
                </c:pt>
                <c:pt idx="220">
                  <c:v>501.36</c:v>
                </c:pt>
                <c:pt idx="221">
                  <c:v>498.45</c:v>
                </c:pt>
                <c:pt idx="222">
                  <c:v>497.65</c:v>
                </c:pt>
                <c:pt idx="223">
                  <c:v>498.02</c:v>
                </c:pt>
                <c:pt idx="224">
                  <c:v>497.92</c:v>
                </c:pt>
                <c:pt idx="225">
                  <c:v>495.58</c:v>
                </c:pt>
                <c:pt idx="226">
                  <c:v>502.34</c:v>
                </c:pt>
                <c:pt idx="227">
                  <c:v>498.53</c:v>
                </c:pt>
                <c:pt idx="228">
                  <c:v>495.18</c:v>
                </c:pt>
                <c:pt idx="229">
                  <c:v>493.78</c:v>
                </c:pt>
                <c:pt idx="230">
                  <c:v>494.08</c:v>
                </c:pt>
                <c:pt idx="231">
                  <c:v>488.05</c:v>
                </c:pt>
                <c:pt idx="232">
                  <c:v>487.49</c:v>
                </c:pt>
                <c:pt idx="233">
                  <c:v>492.44</c:v>
                </c:pt>
                <c:pt idx="234">
                  <c:v>491.26</c:v>
                </c:pt>
                <c:pt idx="235">
                  <c:v>488.47</c:v>
                </c:pt>
                <c:pt idx="236">
                  <c:v>491.55</c:v>
                </c:pt>
                <c:pt idx="237">
                  <c:v>493.84</c:v>
                </c:pt>
                <c:pt idx="238">
                  <c:v>493.48</c:v>
                </c:pt>
                <c:pt idx="239">
                  <c:v>491.03</c:v>
                </c:pt>
                <c:pt idx="240">
                  <c:v>490.36</c:v>
                </c:pt>
                <c:pt idx="241">
                  <c:v>492.68</c:v>
                </c:pt>
                <c:pt idx="242">
                  <c:v>494.29</c:v>
                </c:pt>
                <c:pt idx="243">
                  <c:v>495.55</c:v>
                </c:pt>
                <c:pt idx="244">
                  <c:v>499.91</c:v>
                </c:pt>
                <c:pt idx="245">
                  <c:v>500.24</c:v>
                </c:pt>
                <c:pt idx="246">
                  <c:v>500.02</c:v>
                </c:pt>
                <c:pt idx="247">
                  <c:v>502.28</c:v>
                </c:pt>
                <c:pt idx="248">
                  <c:v>499.98</c:v>
                </c:pt>
                <c:pt idx="249">
                  <c:v>501.51</c:v>
                </c:pt>
                <c:pt idx="250">
                  <c:v>503.78</c:v>
                </c:pt>
                <c:pt idx="251">
                  <c:v>508.66</c:v>
                </c:pt>
                <c:pt idx="252">
                  <c:v>504.28</c:v>
                </c:pt>
                <c:pt idx="253">
                  <c:v>507.86</c:v>
                </c:pt>
                <c:pt idx="254">
                  <c:v>506.5</c:v>
                </c:pt>
                <c:pt idx="255">
                  <c:v>506.32</c:v>
                </c:pt>
                <c:pt idx="256">
                  <c:v>514.29999999999995</c:v>
                </c:pt>
                <c:pt idx="257">
                  <c:v>513.66</c:v>
                </c:pt>
                <c:pt idx="258">
                  <c:v>520.57000000000005</c:v>
                </c:pt>
                <c:pt idx="259">
                  <c:v>521.54</c:v>
                </c:pt>
                <c:pt idx="260">
                  <c:v>521.70000000000005</c:v>
                </c:pt>
                <c:pt idx="261">
                  <c:v>519.17999999999995</c:v>
                </c:pt>
                <c:pt idx="262">
                  <c:v>519.92999999999995</c:v>
                </c:pt>
                <c:pt idx="263">
                  <c:v>519.88</c:v>
                </c:pt>
                <c:pt idx="264">
                  <c:v>522.41</c:v>
                </c:pt>
                <c:pt idx="265">
                  <c:v>523.94000000000005</c:v>
                </c:pt>
                <c:pt idx="266">
                  <c:v>522.39</c:v>
                </c:pt>
                <c:pt idx="267">
                  <c:v>522.74</c:v>
                </c:pt>
                <c:pt idx="268">
                  <c:v>518.04999999999995</c:v>
                </c:pt>
                <c:pt idx="269">
                  <c:v>519.87</c:v>
                </c:pt>
                <c:pt idx="270">
                  <c:v>515.34</c:v>
                </c:pt>
                <c:pt idx="271">
                  <c:v>517.67999999999995</c:v>
                </c:pt>
                <c:pt idx="272">
                  <c:v>519.91</c:v>
                </c:pt>
                <c:pt idx="273">
                  <c:v>522.39</c:v>
                </c:pt>
                <c:pt idx="274">
                  <c:v>520.95000000000005</c:v>
                </c:pt>
                <c:pt idx="275">
                  <c:v>519.92999999999995</c:v>
                </c:pt>
                <c:pt idx="276">
                  <c:v>524.5</c:v>
                </c:pt>
                <c:pt idx="277">
                  <c:v>524.42999999999995</c:v>
                </c:pt>
                <c:pt idx="278">
                  <c:v>534.08000000000004</c:v>
                </c:pt>
                <c:pt idx="279">
                  <c:v>532.52</c:v>
                </c:pt>
                <c:pt idx="280">
                  <c:v>531.89</c:v>
                </c:pt>
                <c:pt idx="281">
                  <c:v>531.57000000000005</c:v>
                </c:pt>
                <c:pt idx="282">
                  <c:v>528.59</c:v>
                </c:pt>
                <c:pt idx="283">
                  <c:v>527.61</c:v>
                </c:pt>
                <c:pt idx="284">
                  <c:v>529.62</c:v>
                </c:pt>
                <c:pt idx="285">
                  <c:v>534.77</c:v>
                </c:pt>
                <c:pt idx="286">
                  <c:v>541.27</c:v>
                </c:pt>
                <c:pt idx="287">
                  <c:v>540.64</c:v>
                </c:pt>
                <c:pt idx="288">
                  <c:v>536.20000000000005</c:v>
                </c:pt>
                <c:pt idx="289">
                  <c:v>535.16999999999996</c:v>
                </c:pt>
                <c:pt idx="290">
                  <c:v>538.12</c:v>
                </c:pt>
                <c:pt idx="291">
                  <c:v>541.55999999999995</c:v>
                </c:pt>
                <c:pt idx="292">
                  <c:v>542.48</c:v>
                </c:pt>
                <c:pt idx="293">
                  <c:v>544.70000000000005</c:v>
                </c:pt>
                <c:pt idx="294">
                  <c:v>547.41</c:v>
                </c:pt>
                <c:pt idx="295">
                  <c:v>548</c:v>
                </c:pt>
                <c:pt idx="296">
                  <c:v>550.74</c:v>
                </c:pt>
                <c:pt idx="297">
                  <c:v>551.89</c:v>
                </c:pt>
                <c:pt idx="298">
                  <c:v>557.84</c:v>
                </c:pt>
                <c:pt idx="299">
                  <c:v>550.21</c:v>
                </c:pt>
                <c:pt idx="300">
                  <c:v>550.17999999999995</c:v>
                </c:pt>
                <c:pt idx="301">
                  <c:v>554.54</c:v>
                </c:pt>
                <c:pt idx="302">
                  <c:v>556.03</c:v>
                </c:pt>
                <c:pt idx="303">
                  <c:v>556.14</c:v>
                </c:pt>
                <c:pt idx="304">
                  <c:v>550.36</c:v>
                </c:pt>
                <c:pt idx="305">
                  <c:v>557.69000000000005</c:v>
                </c:pt>
                <c:pt idx="306">
                  <c:v>555.62</c:v>
                </c:pt>
                <c:pt idx="307">
                  <c:v>550.76</c:v>
                </c:pt>
                <c:pt idx="308">
                  <c:v>552.02</c:v>
                </c:pt>
                <c:pt idx="309">
                  <c:v>548.42999999999995</c:v>
                </c:pt>
                <c:pt idx="310">
                  <c:v>553.86</c:v>
                </c:pt>
                <c:pt idx="311">
                  <c:v>555.09</c:v>
                </c:pt>
                <c:pt idx="312">
                  <c:v>561.27</c:v>
                </c:pt>
                <c:pt idx="313">
                  <c:v>563.91</c:v>
                </c:pt>
                <c:pt idx="314">
                  <c:v>565.86</c:v>
                </c:pt>
                <c:pt idx="315">
                  <c:v>563.4</c:v>
                </c:pt>
                <c:pt idx="316">
                  <c:v>564.17999999999995</c:v>
                </c:pt>
                <c:pt idx="317">
                  <c:v>566.04</c:v>
                </c:pt>
                <c:pt idx="318">
                  <c:v>563.26</c:v>
                </c:pt>
                <c:pt idx="319">
                  <c:v>563.86</c:v>
                </c:pt>
                <c:pt idx="320">
                  <c:v>563.17999999999995</c:v>
                </c:pt>
                <c:pt idx="321">
                  <c:v>559.95000000000005</c:v>
                </c:pt>
                <c:pt idx="322">
                  <c:v>564.77</c:v>
                </c:pt>
                <c:pt idx="323">
                  <c:v>568.39</c:v>
                </c:pt>
                <c:pt idx="324">
                  <c:v>563.76</c:v>
                </c:pt>
                <c:pt idx="325">
                  <c:v>572.22</c:v>
                </c:pt>
                <c:pt idx="326">
                  <c:v>570.87</c:v>
                </c:pt>
                <c:pt idx="327">
                  <c:v>570.44000000000005</c:v>
                </c:pt>
                <c:pt idx="328">
                  <c:v>572.65</c:v>
                </c:pt>
                <c:pt idx="329">
                  <c:v>575.63</c:v>
                </c:pt>
                <c:pt idx="330">
                  <c:v>573.39</c:v>
                </c:pt>
                <c:pt idx="331">
                  <c:v>578.38</c:v>
                </c:pt>
                <c:pt idx="332">
                  <c:v>580.27</c:v>
                </c:pt>
                <c:pt idx="333">
                  <c:v>580.86</c:v>
                </c:pt>
                <c:pt idx="334">
                  <c:v>579.99</c:v>
                </c:pt>
                <c:pt idx="335">
                  <c:v>579.5</c:v>
                </c:pt>
                <c:pt idx="336">
                  <c:v>583.64</c:v>
                </c:pt>
                <c:pt idx="337">
                  <c:v>582.59</c:v>
                </c:pt>
                <c:pt idx="338">
                  <c:v>583.37</c:v>
                </c:pt>
                <c:pt idx="339">
                  <c:v>571.9</c:v>
                </c:pt>
                <c:pt idx="340">
                  <c:v>579.66999999999996</c:v>
                </c:pt>
                <c:pt idx="341">
                  <c:v>575.54999999999995</c:v>
                </c:pt>
                <c:pt idx="342">
                  <c:v>572.42999999999995</c:v>
                </c:pt>
                <c:pt idx="343">
                  <c:v>565.92999999999995</c:v>
                </c:pt>
                <c:pt idx="344">
                  <c:v>573.39</c:v>
                </c:pt>
                <c:pt idx="345">
                  <c:v>570.67999999999995</c:v>
                </c:pt>
                <c:pt idx="346">
                  <c:v>571.59</c:v>
                </c:pt>
                <c:pt idx="347">
                  <c:v>569.79999999999995</c:v>
                </c:pt>
                <c:pt idx="348">
                  <c:v>572.52</c:v>
                </c:pt>
                <c:pt idx="349">
                  <c:v>566.1</c:v>
                </c:pt>
                <c:pt idx="350">
                  <c:v>565.11</c:v>
                </c:pt>
                <c:pt idx="351">
                  <c:v>562.77</c:v>
                </c:pt>
                <c:pt idx="352">
                  <c:v>560.71</c:v>
                </c:pt>
                <c:pt idx="353">
                  <c:v>565.4</c:v>
                </c:pt>
                <c:pt idx="354">
                  <c:v>565.42999999999995</c:v>
                </c:pt>
                <c:pt idx="355">
                  <c:v>566.12</c:v>
                </c:pt>
                <c:pt idx="356">
                  <c:v>563.08000000000004</c:v>
                </c:pt>
                <c:pt idx="357">
                  <c:v>565.83000000000004</c:v>
                </c:pt>
                <c:pt idx="358">
                  <c:v>566.07000000000005</c:v>
                </c:pt>
                <c:pt idx="359">
                  <c:v>566.9</c:v>
                </c:pt>
                <c:pt idx="360">
                  <c:v>561.86</c:v>
                </c:pt>
                <c:pt idx="361">
                  <c:v>556.42999999999995</c:v>
                </c:pt>
                <c:pt idx="362">
                  <c:v>553.69000000000005</c:v>
                </c:pt>
                <c:pt idx="363">
                  <c:v>560.72</c:v>
                </c:pt>
                <c:pt idx="364">
                  <c:v>561.58000000000004</c:v>
                </c:pt>
                <c:pt idx="365">
                  <c:v>564.03</c:v>
                </c:pt>
                <c:pt idx="366">
                  <c:v>571.79999999999995</c:v>
                </c:pt>
                <c:pt idx="367">
                  <c:v>570.1</c:v>
                </c:pt>
                <c:pt idx="368">
                  <c:v>580.76</c:v>
                </c:pt>
                <c:pt idx="369">
                  <c:v>585.36</c:v>
                </c:pt>
                <c:pt idx="370">
                  <c:v>581.79</c:v>
                </c:pt>
                <c:pt idx="371">
                  <c:v>570.67999999999995</c:v>
                </c:pt>
                <c:pt idx="372">
                  <c:v>573.54999999999995</c:v>
                </c:pt>
                <c:pt idx="373">
                  <c:v>573.05999999999995</c:v>
                </c:pt>
                <c:pt idx="374">
                  <c:v>566.84</c:v>
                </c:pt>
                <c:pt idx="375">
                  <c:v>571.92999999999995</c:v>
                </c:pt>
                <c:pt idx="376">
                  <c:v>570.64</c:v>
                </c:pt>
                <c:pt idx="377">
                  <c:v>569.25</c:v>
                </c:pt>
                <c:pt idx="378">
                  <c:v>572.57000000000005</c:v>
                </c:pt>
                <c:pt idx="379">
                  <c:v>572.99</c:v>
                </c:pt>
                <c:pt idx="380">
                  <c:v>574.94000000000005</c:v>
                </c:pt>
                <c:pt idx="381">
                  <c:v>578.72</c:v>
                </c:pt>
                <c:pt idx="382">
                  <c:v>581.17999999999995</c:v>
                </c:pt>
                <c:pt idx="383">
                  <c:v>572.66</c:v>
                </c:pt>
                <c:pt idx="384">
                  <c:v>576.1</c:v>
                </c:pt>
                <c:pt idx="385">
                  <c:v>574.78</c:v>
                </c:pt>
                <c:pt idx="386">
                  <c:v>571.66</c:v>
                </c:pt>
                <c:pt idx="387">
                  <c:v>571.9</c:v>
                </c:pt>
                <c:pt idx="388">
                  <c:v>575.61</c:v>
                </c:pt>
                <c:pt idx="389">
                  <c:v>577.36</c:v>
                </c:pt>
                <c:pt idx="390">
                  <c:v>583.95000000000005</c:v>
                </c:pt>
                <c:pt idx="391">
                  <c:v>583.28</c:v>
                </c:pt>
                <c:pt idx="392">
                  <c:v>590.22</c:v>
                </c:pt>
                <c:pt idx="393">
                  <c:v>598.86</c:v>
                </c:pt>
                <c:pt idx="394">
                  <c:v>599.69000000000005</c:v>
                </c:pt>
                <c:pt idx="395">
                  <c:v>603.84</c:v>
                </c:pt>
                <c:pt idx="396">
                  <c:v>601.44000000000005</c:v>
                </c:pt>
                <c:pt idx="397">
                  <c:v>598.77</c:v>
                </c:pt>
                <c:pt idx="398">
                  <c:v>603.70000000000005</c:v>
                </c:pt>
                <c:pt idx="399">
                  <c:v>602.87</c:v>
                </c:pt>
                <c:pt idx="400">
                  <c:v>608.54999999999995</c:v>
                </c:pt>
                <c:pt idx="401">
                  <c:v>606.08000000000004</c:v>
                </c:pt>
                <c:pt idx="402">
                  <c:v>611.23</c:v>
                </c:pt>
                <c:pt idx="403">
                  <c:v>608.61</c:v>
                </c:pt>
                <c:pt idx="404">
                  <c:v>604.52</c:v>
                </c:pt>
                <c:pt idx="405">
                  <c:v>612.08000000000004</c:v>
                </c:pt>
                <c:pt idx="406">
                  <c:v>621.35</c:v>
                </c:pt>
                <c:pt idx="407">
                  <c:v>623.78</c:v>
                </c:pt>
                <c:pt idx="408">
                  <c:v>621.07000000000005</c:v>
                </c:pt>
                <c:pt idx="409">
                  <c:v>627.19000000000005</c:v>
                </c:pt>
                <c:pt idx="410">
                  <c:v>618.47</c:v>
                </c:pt>
                <c:pt idx="411">
                  <c:v>622.22</c:v>
                </c:pt>
                <c:pt idx="412">
                  <c:v>622.72</c:v>
                </c:pt>
                <c:pt idx="413">
                  <c:v>616.79999999999995</c:v>
                </c:pt>
                <c:pt idx="414">
                  <c:v>619.87</c:v>
                </c:pt>
                <c:pt idx="415">
                  <c:v>624.54</c:v>
                </c:pt>
                <c:pt idx="416">
                  <c:v>624.64</c:v>
                </c:pt>
                <c:pt idx="417">
                  <c:v>627.19000000000005</c:v>
                </c:pt>
                <c:pt idx="418">
                  <c:v>621.73</c:v>
                </c:pt>
                <c:pt idx="419">
                  <c:v>620.39</c:v>
                </c:pt>
                <c:pt idx="420">
                  <c:v>613.34</c:v>
                </c:pt>
                <c:pt idx="421">
                  <c:v>609.48</c:v>
                </c:pt>
                <c:pt idx="422">
                  <c:v>607.97</c:v>
                </c:pt>
                <c:pt idx="423">
                  <c:v>608.28</c:v>
                </c:pt>
                <c:pt idx="424">
                  <c:v>622.32000000000005</c:v>
                </c:pt>
                <c:pt idx="425">
                  <c:v>619.54999999999995</c:v>
                </c:pt>
                <c:pt idx="426">
                  <c:v>631.87</c:v>
                </c:pt>
                <c:pt idx="427">
                  <c:v>635.57000000000005</c:v>
                </c:pt>
                <c:pt idx="428">
                  <c:v>631.27</c:v>
                </c:pt>
                <c:pt idx="429">
                  <c:v>633.30999999999995</c:v>
                </c:pt>
                <c:pt idx="430">
                  <c:v>641.24</c:v>
                </c:pt>
                <c:pt idx="431">
                  <c:v>635.67999999999995</c:v>
                </c:pt>
                <c:pt idx="432">
                  <c:v>634.82000000000005</c:v>
                </c:pt>
                <c:pt idx="433">
                  <c:v>643.66999999999996</c:v>
                </c:pt>
                <c:pt idx="434">
                  <c:v>646.97</c:v>
                </c:pt>
                <c:pt idx="435">
                  <c:v>647.17999999999995</c:v>
                </c:pt>
                <c:pt idx="436">
                  <c:v>648.57000000000005</c:v>
                </c:pt>
                <c:pt idx="437">
                  <c:v>650.71</c:v>
                </c:pt>
                <c:pt idx="438">
                  <c:v>647.05999999999995</c:v>
                </c:pt>
                <c:pt idx="439">
                  <c:v>648.19000000000005</c:v>
                </c:pt>
                <c:pt idx="440">
                  <c:v>643.66</c:v>
                </c:pt>
                <c:pt idx="441">
                  <c:v>646.14</c:v>
                </c:pt>
                <c:pt idx="442">
                  <c:v>639.36</c:v>
                </c:pt>
                <c:pt idx="443">
                  <c:v>631.58000000000004</c:v>
                </c:pt>
                <c:pt idx="444">
                  <c:v>634.55999999999995</c:v>
                </c:pt>
                <c:pt idx="445">
                  <c:v>627.17999999999995</c:v>
                </c:pt>
                <c:pt idx="446">
                  <c:v>609.94000000000005</c:v>
                </c:pt>
                <c:pt idx="447">
                  <c:v>613.72</c:v>
                </c:pt>
                <c:pt idx="448">
                  <c:v>610.9</c:v>
                </c:pt>
                <c:pt idx="449">
                  <c:v>611.71</c:v>
                </c:pt>
                <c:pt idx="450">
                  <c:v>614.44000000000005</c:v>
                </c:pt>
                <c:pt idx="451">
                  <c:v>618.53</c:v>
                </c:pt>
                <c:pt idx="452">
                  <c:v>620.33000000000004</c:v>
                </c:pt>
                <c:pt idx="453">
                  <c:v>625.53</c:v>
                </c:pt>
                <c:pt idx="454">
                  <c:v>625.36</c:v>
                </c:pt>
                <c:pt idx="455">
                  <c:v>626.52</c:v>
                </c:pt>
                <c:pt idx="456">
                  <c:v>630</c:v>
                </c:pt>
                <c:pt idx="457">
                  <c:v>629.25</c:v>
                </c:pt>
                <c:pt idx="458">
                  <c:v>629.29</c:v>
                </c:pt>
                <c:pt idx="459">
                  <c:v>623.15</c:v>
                </c:pt>
                <c:pt idx="460">
                  <c:v>622.52</c:v>
                </c:pt>
                <c:pt idx="461">
                  <c:v>622.07000000000005</c:v>
                </c:pt>
                <c:pt idx="462">
                  <c:v>621.02</c:v>
                </c:pt>
                <c:pt idx="463">
                  <c:v>623.39</c:v>
                </c:pt>
                <c:pt idx="464">
                  <c:v>623.99</c:v>
                </c:pt>
                <c:pt idx="465">
                  <c:v>624.08000000000004</c:v>
                </c:pt>
                <c:pt idx="466">
                  <c:v>621.37</c:v>
                </c:pt>
                <c:pt idx="467">
                  <c:v>615.11</c:v>
                </c:pt>
                <c:pt idx="468">
                  <c:v>607.44000000000005</c:v>
                </c:pt>
                <c:pt idx="469">
                  <c:v>595.89</c:v>
                </c:pt>
                <c:pt idx="470">
                  <c:v>607.24</c:v>
                </c:pt>
                <c:pt idx="471">
                  <c:v>595.22</c:v>
                </c:pt>
                <c:pt idx="472">
                  <c:v>592.92999999999995</c:v>
                </c:pt>
                <c:pt idx="473">
                  <c:v>587.48</c:v>
                </c:pt>
                <c:pt idx="474">
                  <c:v>574.41999999999996</c:v>
                </c:pt>
                <c:pt idx="475">
                  <c:v>538.96</c:v>
                </c:pt>
                <c:pt idx="476">
                  <c:v>547.27</c:v>
                </c:pt>
                <c:pt idx="477">
                  <c:v>576.23</c:v>
                </c:pt>
                <c:pt idx="478">
                  <c:v>570.49</c:v>
                </c:pt>
                <c:pt idx="479">
                  <c:v>579.30999999999995</c:v>
                </c:pt>
                <c:pt idx="480">
                  <c:v>589.73</c:v>
                </c:pt>
                <c:pt idx="481">
                  <c:v>590.38</c:v>
                </c:pt>
                <c:pt idx="482">
                  <c:v>589.66999999999996</c:v>
                </c:pt>
                <c:pt idx="483">
                  <c:v>596.55999999999995</c:v>
                </c:pt>
                <c:pt idx="484">
                  <c:v>601.96</c:v>
                </c:pt>
                <c:pt idx="485">
                  <c:v>598.03</c:v>
                </c:pt>
                <c:pt idx="486">
                  <c:v>597.16</c:v>
                </c:pt>
                <c:pt idx="487">
                  <c:v>600.73</c:v>
                </c:pt>
                <c:pt idx="488">
                  <c:v>597.23</c:v>
                </c:pt>
                <c:pt idx="489">
                  <c:v>610.52</c:v>
                </c:pt>
                <c:pt idx="490">
                  <c:v>610.83000000000004</c:v>
                </c:pt>
                <c:pt idx="491">
                  <c:v>618.66</c:v>
                </c:pt>
                <c:pt idx="492">
                  <c:v>623.20000000000005</c:v>
                </c:pt>
                <c:pt idx="493">
                  <c:v>626.76</c:v>
                </c:pt>
                <c:pt idx="494">
                  <c:v>635.1</c:v>
                </c:pt>
                <c:pt idx="495">
                  <c:v>636.20000000000005</c:v>
                </c:pt>
                <c:pt idx="496">
                  <c:v>636.04</c:v>
                </c:pt>
                <c:pt idx="497">
                  <c:v>627.01</c:v>
                </c:pt>
                <c:pt idx="498">
                  <c:v>623.70000000000005</c:v>
                </c:pt>
                <c:pt idx="499">
                  <c:v>627.54999999999995</c:v>
                </c:pt>
                <c:pt idx="500">
                  <c:v>621.02</c:v>
                </c:pt>
                <c:pt idx="501">
                  <c:v>622.70000000000005</c:v>
                </c:pt>
                <c:pt idx="502">
                  <c:v>631.05999999999995</c:v>
                </c:pt>
                <c:pt idx="503">
                  <c:v>634.32000000000005</c:v>
                </c:pt>
                <c:pt idx="504">
                  <c:v>637.08000000000004</c:v>
                </c:pt>
                <c:pt idx="505">
                  <c:v>636.79</c:v>
                </c:pt>
                <c:pt idx="506">
                  <c:v>635.25</c:v>
                </c:pt>
                <c:pt idx="507">
                  <c:v>630.27</c:v>
                </c:pt>
                <c:pt idx="508">
                  <c:v>613.46</c:v>
                </c:pt>
                <c:pt idx="509">
                  <c:v>610.54999999999995</c:v>
                </c:pt>
                <c:pt idx="510">
                  <c:v>619.03</c:v>
                </c:pt>
                <c:pt idx="511">
                  <c:v>603.39</c:v>
                </c:pt>
                <c:pt idx="512">
                  <c:v>602.52</c:v>
                </c:pt>
                <c:pt idx="513">
                  <c:v>605.41999999999996</c:v>
                </c:pt>
                <c:pt idx="514">
                  <c:v>603.95000000000005</c:v>
                </c:pt>
                <c:pt idx="515">
                  <c:v>600.53</c:v>
                </c:pt>
                <c:pt idx="516">
                  <c:v>608.08000000000004</c:v>
                </c:pt>
                <c:pt idx="517">
                  <c:v>601.82000000000005</c:v>
                </c:pt>
                <c:pt idx="518">
                  <c:v>599.63</c:v>
                </c:pt>
                <c:pt idx="519">
                  <c:v>600.70000000000005</c:v>
                </c:pt>
                <c:pt idx="520">
                  <c:v>609.42999999999995</c:v>
                </c:pt>
                <c:pt idx="521">
                  <c:v>616.04999999999995</c:v>
                </c:pt>
                <c:pt idx="522">
                  <c:v>613.99</c:v>
                </c:pt>
                <c:pt idx="523">
                  <c:v>618.69000000000005</c:v>
                </c:pt>
                <c:pt idx="524">
                  <c:v>614.46</c:v>
                </c:pt>
                <c:pt idx="525">
                  <c:v>608.21</c:v>
                </c:pt>
                <c:pt idx="526">
                  <c:v>610.41999999999996</c:v>
                </c:pt>
                <c:pt idx="527">
                  <c:v>613.62</c:v>
                </c:pt>
                <c:pt idx="528">
                  <c:v>612.91999999999996</c:v>
                </c:pt>
                <c:pt idx="529">
                  <c:v>617.97</c:v>
                </c:pt>
                <c:pt idx="530">
                  <c:v>621.96</c:v>
                </c:pt>
                <c:pt idx="531">
                  <c:v>618.54</c:v>
                </c:pt>
                <c:pt idx="532">
                  <c:v>615.66</c:v>
                </c:pt>
                <c:pt idx="533">
                  <c:v>614.45000000000005</c:v>
                </c:pt>
                <c:pt idx="534">
                  <c:v>618.57000000000005</c:v>
                </c:pt>
                <c:pt idx="535">
                  <c:v>621.86</c:v>
                </c:pt>
                <c:pt idx="536">
                  <c:v>620.30999999999995</c:v>
                </c:pt>
                <c:pt idx="537">
                  <c:v>620.05999999999995</c:v>
                </c:pt>
                <c:pt idx="538">
                  <c:v>615.09</c:v>
                </c:pt>
                <c:pt idx="539">
                  <c:v>611.38</c:v>
                </c:pt>
                <c:pt idx="540">
                  <c:v>611.67999999999995</c:v>
                </c:pt>
                <c:pt idx="541">
                  <c:v>611.73</c:v>
                </c:pt>
                <c:pt idx="542">
                  <c:v>612.79</c:v>
                </c:pt>
                <c:pt idx="543">
                  <c:v>612.77</c:v>
                </c:pt>
                <c:pt idx="544">
                  <c:v>616.25</c:v>
                </c:pt>
                <c:pt idx="545">
                  <c:v>611.79</c:v>
                </c:pt>
                <c:pt idx="546">
                  <c:v>606.42999999999995</c:v>
                </c:pt>
                <c:pt idx="547">
                  <c:v>614.28</c:v>
                </c:pt>
                <c:pt idx="548">
                  <c:v>613.66999999999996</c:v>
                </c:pt>
                <c:pt idx="549">
                  <c:v>611.48</c:v>
                </c:pt>
                <c:pt idx="550">
                  <c:v>612.5</c:v>
                </c:pt>
                <c:pt idx="551">
                  <c:v>613.21</c:v>
                </c:pt>
                <c:pt idx="552">
                  <c:v>609.99</c:v>
                </c:pt>
                <c:pt idx="553">
                  <c:v>609.24</c:v>
                </c:pt>
                <c:pt idx="554">
                  <c:v>610.1</c:v>
                </c:pt>
                <c:pt idx="555">
                  <c:v>612.33000000000004</c:v>
                </c:pt>
                <c:pt idx="556">
                  <c:v>610.96</c:v>
                </c:pt>
                <c:pt idx="557">
                  <c:v>615.09</c:v>
                </c:pt>
                <c:pt idx="558">
                  <c:v>609.69000000000005</c:v>
                </c:pt>
                <c:pt idx="559">
                  <c:v>606.67999999999995</c:v>
                </c:pt>
                <c:pt idx="560">
                  <c:v>598.12</c:v>
                </c:pt>
                <c:pt idx="561">
                  <c:v>607.29999999999995</c:v>
                </c:pt>
                <c:pt idx="562">
                  <c:v>606.89</c:v>
                </c:pt>
                <c:pt idx="563">
                  <c:v>607.38</c:v>
                </c:pt>
                <c:pt idx="564">
                  <c:v>602.58000000000004</c:v>
                </c:pt>
                <c:pt idx="565">
                  <c:v>609.59</c:v>
                </c:pt>
                <c:pt idx="566">
                  <c:v>608.83000000000004</c:v>
                </c:pt>
                <c:pt idx="567">
                  <c:v>600.63</c:v>
                </c:pt>
                <c:pt idx="568">
                  <c:v>597.74</c:v>
                </c:pt>
                <c:pt idx="569">
                  <c:v>605.85</c:v>
                </c:pt>
                <c:pt idx="570">
                  <c:v>604.98</c:v>
                </c:pt>
                <c:pt idx="571">
                  <c:v>602.48</c:v>
                </c:pt>
                <c:pt idx="572">
                  <c:v>599.72</c:v>
                </c:pt>
                <c:pt idx="573">
                  <c:v>602.07000000000005</c:v>
                </c:pt>
                <c:pt idx="574">
                  <c:v>596.54</c:v>
                </c:pt>
                <c:pt idx="575">
                  <c:v>599.85</c:v>
                </c:pt>
                <c:pt idx="576">
                  <c:v>606.92999999999995</c:v>
                </c:pt>
                <c:pt idx="577">
                  <c:v>608.44000000000005</c:v>
                </c:pt>
                <c:pt idx="578">
                  <c:v>607.91</c:v>
                </c:pt>
                <c:pt idx="579">
                  <c:v>610.45000000000005</c:v>
                </c:pt>
                <c:pt idx="580">
                  <c:v>617.13</c:v>
                </c:pt>
                <c:pt idx="581">
                  <c:v>614.74</c:v>
                </c:pt>
                <c:pt idx="582">
                  <c:v>619.17999999999995</c:v>
                </c:pt>
                <c:pt idx="583">
                  <c:v>622.29</c:v>
                </c:pt>
                <c:pt idx="584">
                  <c:v>614.64</c:v>
                </c:pt>
                <c:pt idx="585">
                  <c:v>613.36</c:v>
                </c:pt>
                <c:pt idx="586">
                  <c:v>613.9</c:v>
                </c:pt>
                <c:pt idx="587">
                  <c:v>614.47</c:v>
                </c:pt>
                <c:pt idx="588">
                  <c:v>610.75</c:v>
                </c:pt>
                <c:pt idx="589">
                  <c:v>613.28</c:v>
                </c:pt>
                <c:pt idx="590">
                  <c:v>617.07000000000005</c:v>
                </c:pt>
                <c:pt idx="591">
                  <c:v>607.32000000000005</c:v>
                </c:pt>
                <c:pt idx="592">
                  <c:v>607.75</c:v>
                </c:pt>
                <c:pt idx="593">
                  <c:v>606.98</c:v>
                </c:pt>
                <c:pt idx="594">
                  <c:v>612.1</c:v>
                </c:pt>
                <c:pt idx="595">
                  <c:v>612.34</c:v>
                </c:pt>
                <c:pt idx="596">
                  <c:v>615.79</c:v>
                </c:pt>
                <c:pt idx="597">
                  <c:v>611.09</c:v>
                </c:pt>
                <c:pt idx="598">
                  <c:v>609.6</c:v>
                </c:pt>
                <c:pt idx="599">
                  <c:v>607.46</c:v>
                </c:pt>
                <c:pt idx="600">
                  <c:v>606.66999999999996</c:v>
                </c:pt>
                <c:pt idx="601">
                  <c:v>605.20000000000005</c:v>
                </c:pt>
                <c:pt idx="602">
                  <c:v>612.22</c:v>
                </c:pt>
                <c:pt idx="603">
                  <c:v>613.73</c:v>
                </c:pt>
                <c:pt idx="604">
                  <c:v>611.62</c:v>
                </c:pt>
                <c:pt idx="605">
                  <c:v>605.1</c:v>
                </c:pt>
                <c:pt idx="606">
                  <c:v>603.74</c:v>
                </c:pt>
                <c:pt idx="607">
                  <c:v>606.48</c:v>
                </c:pt>
                <c:pt idx="608">
                  <c:v>601.6</c:v>
                </c:pt>
                <c:pt idx="609">
                  <c:v>599.98</c:v>
                </c:pt>
                <c:pt idx="610">
                  <c:v>589.13</c:v>
                </c:pt>
                <c:pt idx="611">
                  <c:v>591.74</c:v>
                </c:pt>
                <c:pt idx="612">
                  <c:v>591.63</c:v>
                </c:pt>
                <c:pt idx="613">
                  <c:v>590.37</c:v>
                </c:pt>
                <c:pt idx="614">
                  <c:v>585.29</c:v>
                </c:pt>
                <c:pt idx="615">
                  <c:v>587.15</c:v>
                </c:pt>
                <c:pt idx="616">
                  <c:v>570.94000000000005</c:v>
                </c:pt>
                <c:pt idx="617">
                  <c:v>583.54</c:v>
                </c:pt>
                <c:pt idx="618">
                  <c:v>582.1</c:v>
                </c:pt>
                <c:pt idx="619">
                  <c:v>582.54</c:v>
                </c:pt>
                <c:pt idx="620">
                  <c:v>581.69000000000005</c:v>
                </c:pt>
                <c:pt idx="621">
                  <c:v>583.83000000000004</c:v>
                </c:pt>
                <c:pt idx="622">
                  <c:v>583.11</c:v>
                </c:pt>
                <c:pt idx="623">
                  <c:v>582.72</c:v>
                </c:pt>
                <c:pt idx="624">
                  <c:v>580.37</c:v>
                </c:pt>
                <c:pt idx="625">
                  <c:v>581.70000000000005</c:v>
                </c:pt>
                <c:pt idx="626">
                  <c:v>577.48</c:v>
                </c:pt>
                <c:pt idx="627">
                  <c:v>579.88</c:v>
                </c:pt>
                <c:pt idx="628">
                  <c:v>579.58000000000004</c:v>
                </c:pt>
                <c:pt idx="629">
                  <c:v>579.85</c:v>
                </c:pt>
                <c:pt idx="630">
                  <c:v>579.42999999999995</c:v>
                </c:pt>
                <c:pt idx="631">
                  <c:v>580.17999999999995</c:v>
                </c:pt>
                <c:pt idx="632">
                  <c:v>580.41999999999996</c:v>
                </c:pt>
                <c:pt idx="633">
                  <c:v>582.75</c:v>
                </c:pt>
                <c:pt idx="634">
                  <c:v>585.75</c:v>
                </c:pt>
                <c:pt idx="635">
                  <c:v>587.79999999999995</c:v>
                </c:pt>
                <c:pt idx="636">
                  <c:v>589.52</c:v>
                </c:pt>
                <c:pt idx="637">
                  <c:v>590.21</c:v>
                </c:pt>
                <c:pt idx="638">
                  <c:v>590.91</c:v>
                </c:pt>
                <c:pt idx="639">
                  <c:v>593.83000000000004</c:v>
                </c:pt>
                <c:pt idx="640">
                  <c:v>593.87</c:v>
                </c:pt>
                <c:pt idx="641">
                  <c:v>592.98</c:v>
                </c:pt>
                <c:pt idx="642">
                  <c:v>594.11</c:v>
                </c:pt>
                <c:pt idx="643">
                  <c:v>597.45000000000005</c:v>
                </c:pt>
                <c:pt idx="644">
                  <c:v>602.26</c:v>
                </c:pt>
                <c:pt idx="645">
                  <c:v>596.42999999999995</c:v>
                </c:pt>
                <c:pt idx="646">
                  <c:v>598.51</c:v>
                </c:pt>
                <c:pt idx="647">
                  <c:v>595.14</c:v>
                </c:pt>
                <c:pt idx="648">
                  <c:v>592.17999999999995</c:v>
                </c:pt>
                <c:pt idx="649">
                  <c:v>588.89</c:v>
                </c:pt>
                <c:pt idx="650">
                  <c:v>593.22</c:v>
                </c:pt>
                <c:pt idx="651">
                  <c:v>592.14</c:v>
                </c:pt>
                <c:pt idx="652">
                  <c:v>594.39</c:v>
                </c:pt>
                <c:pt idx="653">
                  <c:v>591.70000000000005</c:v>
                </c:pt>
                <c:pt idx="654">
                  <c:v>593.1</c:v>
                </c:pt>
                <c:pt idx="655">
                  <c:v>595.75</c:v>
                </c:pt>
                <c:pt idx="656">
                  <c:v>596.62</c:v>
                </c:pt>
                <c:pt idx="657">
                  <c:v>598.64</c:v>
                </c:pt>
                <c:pt idx="658">
                  <c:v>603.44000000000005</c:v>
                </c:pt>
                <c:pt idx="659">
                  <c:v>601.79999999999995</c:v>
                </c:pt>
                <c:pt idx="660">
                  <c:v>605.42999999999995</c:v>
                </c:pt>
                <c:pt idx="661">
                  <c:v>602.61</c:v>
                </c:pt>
                <c:pt idx="662">
                  <c:v>606.62</c:v>
                </c:pt>
                <c:pt idx="663">
                  <c:v>606.11</c:v>
                </c:pt>
                <c:pt idx="664">
                  <c:v>602.4</c:v>
                </c:pt>
                <c:pt idx="665">
                  <c:v>603.83000000000004</c:v>
                </c:pt>
                <c:pt idx="666">
                  <c:v>602.54999999999995</c:v>
                </c:pt>
                <c:pt idx="667">
                  <c:v>601.58000000000004</c:v>
                </c:pt>
                <c:pt idx="668">
                  <c:v>602.85</c:v>
                </c:pt>
                <c:pt idx="669">
                  <c:v>602.48</c:v>
                </c:pt>
                <c:pt idx="670">
                  <c:v>601.38</c:v>
                </c:pt>
                <c:pt idx="671">
                  <c:v>597.75</c:v>
                </c:pt>
                <c:pt idx="672">
                  <c:v>597.75</c:v>
                </c:pt>
                <c:pt idx="673">
                  <c:v>600.67999999999995</c:v>
                </c:pt>
                <c:pt idx="674">
                  <c:v>601.41999999999996</c:v>
                </c:pt>
                <c:pt idx="675">
                  <c:v>602.95000000000005</c:v>
                </c:pt>
                <c:pt idx="676">
                  <c:v>602.86</c:v>
                </c:pt>
                <c:pt idx="677">
                  <c:v>601.49</c:v>
                </c:pt>
                <c:pt idx="678">
                  <c:v>602.39</c:v>
                </c:pt>
                <c:pt idx="679">
                  <c:v>603.41999999999996</c:v>
                </c:pt>
                <c:pt idx="680">
                  <c:v>605.13</c:v>
                </c:pt>
                <c:pt idx="681">
                  <c:v>604.72</c:v>
                </c:pt>
                <c:pt idx="682">
                  <c:v>607.4</c:v>
                </c:pt>
                <c:pt idx="683">
                  <c:v>617.38</c:v>
                </c:pt>
                <c:pt idx="684">
                  <c:v>620.09</c:v>
                </c:pt>
                <c:pt idx="685">
                  <c:v>617.62</c:v>
                </c:pt>
                <c:pt idx="686">
                  <c:v>623.26</c:v>
                </c:pt>
                <c:pt idx="687">
                  <c:v>619.61</c:v>
                </c:pt>
                <c:pt idx="688">
                  <c:v>616.48</c:v>
                </c:pt>
                <c:pt idx="689">
                  <c:v>613.54</c:v>
                </c:pt>
                <c:pt idx="690">
                  <c:v>613.9</c:v>
                </c:pt>
                <c:pt idx="691">
                  <c:v>617.74</c:v>
                </c:pt>
                <c:pt idx="692">
                  <c:v>615.54999999999995</c:v>
                </c:pt>
                <c:pt idx="693">
                  <c:v>615.34</c:v>
                </c:pt>
                <c:pt idx="694">
                  <c:v>614.45000000000005</c:v>
                </c:pt>
                <c:pt idx="695">
                  <c:v>616.38</c:v>
                </c:pt>
                <c:pt idx="696">
                  <c:v>614.04</c:v>
                </c:pt>
                <c:pt idx="697">
                  <c:v>614.77</c:v>
                </c:pt>
                <c:pt idx="698">
                  <c:v>614.89</c:v>
                </c:pt>
                <c:pt idx="699">
                  <c:v>615.1</c:v>
                </c:pt>
                <c:pt idx="700">
                  <c:v>612.55999999999995</c:v>
                </c:pt>
                <c:pt idx="701">
                  <c:v>611.28</c:v>
                </c:pt>
                <c:pt idx="702">
                  <c:v>612</c:v>
                </c:pt>
                <c:pt idx="703">
                  <c:v>611.41999999999996</c:v>
                </c:pt>
                <c:pt idx="704">
                  <c:v>612.71</c:v>
                </c:pt>
                <c:pt idx="705">
                  <c:v>613.4</c:v>
                </c:pt>
                <c:pt idx="706">
                  <c:v>614.79999999999995</c:v>
                </c:pt>
                <c:pt idx="707">
                  <c:v>612.35</c:v>
                </c:pt>
                <c:pt idx="708">
                  <c:v>609.91</c:v>
                </c:pt>
                <c:pt idx="709">
                  <c:v>607.59</c:v>
                </c:pt>
                <c:pt idx="710">
                  <c:v>605.89</c:v>
                </c:pt>
                <c:pt idx="711">
                  <c:v>607.29999999999995</c:v>
                </c:pt>
                <c:pt idx="712">
                  <c:v>610.49</c:v>
                </c:pt>
                <c:pt idx="713">
                  <c:v>614.14</c:v>
                </c:pt>
                <c:pt idx="714">
                  <c:v>616.37</c:v>
                </c:pt>
                <c:pt idx="715">
                  <c:v>617.54999999999995</c:v>
                </c:pt>
                <c:pt idx="716">
                  <c:v>619.02</c:v>
                </c:pt>
                <c:pt idx="717">
                  <c:v>626.29999999999995</c:v>
                </c:pt>
                <c:pt idx="718">
                  <c:v>628.85</c:v>
                </c:pt>
                <c:pt idx="719">
                  <c:v>622.04999999999995</c:v>
                </c:pt>
                <c:pt idx="720">
                  <c:v>624.35</c:v>
                </c:pt>
                <c:pt idx="721">
                  <c:v>629.16999999999996</c:v>
                </c:pt>
                <c:pt idx="722">
                  <c:v>627.16999999999996</c:v>
                </c:pt>
                <c:pt idx="723">
                  <c:v>631.96</c:v>
                </c:pt>
                <c:pt idx="724">
                  <c:v>632.84</c:v>
                </c:pt>
                <c:pt idx="725">
                  <c:v>632.75</c:v>
                </c:pt>
                <c:pt idx="726">
                  <c:v>625.09</c:v>
                </c:pt>
                <c:pt idx="727">
                  <c:v>627.46</c:v>
                </c:pt>
                <c:pt idx="728">
                  <c:v>621.92999999999995</c:v>
                </c:pt>
                <c:pt idx="729">
                  <c:v>624.38</c:v>
                </c:pt>
                <c:pt idx="730">
                  <c:v>606.59</c:v>
                </c:pt>
                <c:pt idx="731">
                  <c:v>595.64</c:v>
                </c:pt>
                <c:pt idx="732">
                  <c:v>602.69000000000005</c:v>
                </c:pt>
                <c:pt idx="733">
                  <c:v>607.58000000000004</c:v>
                </c:pt>
                <c:pt idx="734">
                  <c:v>602.79</c:v>
                </c:pt>
                <c:pt idx="735">
                  <c:v>601.32000000000005</c:v>
                </c:pt>
                <c:pt idx="736">
                  <c:v>604.98</c:v>
                </c:pt>
                <c:pt idx="737">
                  <c:v>601.64</c:v>
                </c:pt>
                <c:pt idx="738">
                  <c:v>605.26</c:v>
                </c:pt>
                <c:pt idx="739">
                  <c:v>606.66</c:v>
                </c:pt>
                <c:pt idx="740">
                  <c:v>610.79</c:v>
                </c:pt>
                <c:pt idx="741">
                  <c:v>610.92999999999995</c:v>
                </c:pt>
                <c:pt idx="742">
                  <c:v>611.30999999999995</c:v>
                </c:pt>
                <c:pt idx="743">
                  <c:v>610.42999999999995</c:v>
                </c:pt>
                <c:pt idx="744">
                  <c:v>611.07000000000005</c:v>
                </c:pt>
                <c:pt idx="745">
                  <c:v>612.84</c:v>
                </c:pt>
                <c:pt idx="746">
                  <c:v>611.57000000000005</c:v>
                </c:pt>
                <c:pt idx="747">
                  <c:v>615.54999999999995</c:v>
                </c:pt>
                <c:pt idx="748">
                  <c:v>617.6</c:v>
                </c:pt>
                <c:pt idx="749">
                  <c:v>616.30999999999995</c:v>
                </c:pt>
                <c:pt idx="750">
                  <c:v>611.4</c:v>
                </c:pt>
                <c:pt idx="751">
                  <c:v>608.95000000000005</c:v>
                </c:pt>
                <c:pt idx="752">
                  <c:v>607.36</c:v>
                </c:pt>
                <c:pt idx="753">
                  <c:v>610.08000000000004</c:v>
                </c:pt>
                <c:pt idx="754">
                  <c:v>609.4</c:v>
                </c:pt>
                <c:pt idx="755">
                  <c:v>603.87</c:v>
                </c:pt>
                <c:pt idx="756">
                  <c:v>607.01</c:v>
                </c:pt>
                <c:pt idx="757">
                  <c:v>609.54999999999995</c:v>
                </c:pt>
                <c:pt idx="758">
                  <c:v>611.80999999999995</c:v>
                </c:pt>
                <c:pt idx="759">
                  <c:v>613.72</c:v>
                </c:pt>
                <c:pt idx="760">
                  <c:v>613.91</c:v>
                </c:pt>
                <c:pt idx="761">
                  <c:v>617.95000000000005</c:v>
                </c:pt>
                <c:pt idx="762">
                  <c:v>621.66999999999996</c:v>
                </c:pt>
                <c:pt idx="763">
                  <c:v>631.42999999999995</c:v>
                </c:pt>
                <c:pt idx="764">
                  <c:v>629.36</c:v>
                </c:pt>
                <c:pt idx="765">
                  <c:v>635.39</c:v>
                </c:pt>
                <c:pt idx="766">
                  <c:v>638.17999999999995</c:v>
                </c:pt>
                <c:pt idx="767">
                  <c:v>638.54</c:v>
                </c:pt>
                <c:pt idx="768">
                  <c:v>641.72</c:v>
                </c:pt>
                <c:pt idx="769">
                  <c:v>657</c:v>
                </c:pt>
                <c:pt idx="770">
                  <c:v>656.47</c:v>
                </c:pt>
                <c:pt idx="771">
                  <c:v>661.82</c:v>
                </c:pt>
                <c:pt idx="772">
                  <c:v>664.02</c:v>
                </c:pt>
                <c:pt idx="773">
                  <c:v>663.38</c:v>
                </c:pt>
                <c:pt idx="774">
                  <c:v>660.77</c:v>
                </c:pt>
                <c:pt idx="775">
                  <c:v>666.25</c:v>
                </c:pt>
                <c:pt idx="776">
                  <c:v>666.63</c:v>
                </c:pt>
                <c:pt idx="777">
                  <c:v>672.12</c:v>
                </c:pt>
                <c:pt idx="778">
                  <c:v>673.67</c:v>
                </c:pt>
                <c:pt idx="779">
                  <c:v>683.65</c:v>
                </c:pt>
                <c:pt idx="780">
                  <c:v>680.23</c:v>
                </c:pt>
                <c:pt idx="781">
                  <c:v>681.64</c:v>
                </c:pt>
                <c:pt idx="782">
                  <c:v>686.3</c:v>
                </c:pt>
                <c:pt idx="783">
                  <c:v>683.34</c:v>
                </c:pt>
                <c:pt idx="784">
                  <c:v>684.63</c:v>
                </c:pt>
                <c:pt idx="785">
                  <c:v>690.42</c:v>
                </c:pt>
                <c:pt idx="786">
                  <c:v>685.11</c:v>
                </c:pt>
                <c:pt idx="787">
                  <c:v>686.69</c:v>
                </c:pt>
                <c:pt idx="788">
                  <c:v>684.87</c:v>
                </c:pt>
                <c:pt idx="789">
                  <c:v>685.44</c:v>
                </c:pt>
                <c:pt idx="790">
                  <c:v>675.16</c:v>
                </c:pt>
                <c:pt idx="791">
                  <c:v>677.81</c:v>
                </c:pt>
                <c:pt idx="792">
                  <c:v>675.16</c:v>
                </c:pt>
                <c:pt idx="793">
                  <c:v>678.45</c:v>
                </c:pt>
                <c:pt idx="794">
                  <c:v>675.67</c:v>
                </c:pt>
                <c:pt idx="795">
                  <c:v>670.14</c:v>
                </c:pt>
                <c:pt idx="796">
                  <c:v>669.07</c:v>
                </c:pt>
                <c:pt idx="797">
                  <c:v>668.81</c:v>
                </c:pt>
                <c:pt idx="798">
                  <c:v>669.9</c:v>
                </c:pt>
                <c:pt idx="799">
                  <c:v>668.79</c:v>
                </c:pt>
                <c:pt idx="800">
                  <c:v>671.17</c:v>
                </c:pt>
                <c:pt idx="801">
                  <c:v>673.73</c:v>
                </c:pt>
                <c:pt idx="802">
                  <c:v>671.91</c:v>
                </c:pt>
                <c:pt idx="803">
                  <c:v>672.49</c:v>
                </c:pt>
                <c:pt idx="804">
                  <c:v>671.48</c:v>
                </c:pt>
                <c:pt idx="805">
                  <c:v>672.53</c:v>
                </c:pt>
                <c:pt idx="806">
                  <c:v>673.26</c:v>
                </c:pt>
                <c:pt idx="807">
                  <c:v>671.89</c:v>
                </c:pt>
                <c:pt idx="808">
                  <c:v>671.96</c:v>
                </c:pt>
                <c:pt idx="809">
                  <c:v>672.04</c:v>
                </c:pt>
                <c:pt idx="810">
                  <c:v>670.59</c:v>
                </c:pt>
                <c:pt idx="811">
                  <c:v>672.01</c:v>
                </c:pt>
                <c:pt idx="812">
                  <c:v>678.05</c:v>
                </c:pt>
                <c:pt idx="813">
                  <c:v>682.7</c:v>
                </c:pt>
                <c:pt idx="814">
                  <c:v>680.94</c:v>
                </c:pt>
                <c:pt idx="815">
                  <c:v>677.22</c:v>
                </c:pt>
                <c:pt idx="816">
                  <c:v>677.61</c:v>
                </c:pt>
                <c:pt idx="817">
                  <c:v>677.81</c:v>
                </c:pt>
                <c:pt idx="818">
                  <c:v>679.54</c:v>
                </c:pt>
                <c:pt idx="819">
                  <c:v>687.14</c:v>
                </c:pt>
                <c:pt idx="820">
                  <c:v>688.34</c:v>
                </c:pt>
                <c:pt idx="821">
                  <c:v>688.55</c:v>
                </c:pt>
                <c:pt idx="822">
                  <c:v>691.29</c:v>
                </c:pt>
                <c:pt idx="823">
                  <c:v>695.21</c:v>
                </c:pt>
                <c:pt idx="824">
                  <c:v>706.39</c:v>
                </c:pt>
                <c:pt idx="825">
                  <c:v>705.09</c:v>
                </c:pt>
                <c:pt idx="826">
                  <c:v>705</c:v>
                </c:pt>
                <c:pt idx="827">
                  <c:v>706.48</c:v>
                </c:pt>
                <c:pt idx="828">
                  <c:v>706.53</c:v>
                </c:pt>
                <c:pt idx="829">
                  <c:v>708.55</c:v>
                </c:pt>
                <c:pt idx="830">
                  <c:v>713.38</c:v>
                </c:pt>
                <c:pt idx="831">
                  <c:v>710.3</c:v>
                </c:pt>
                <c:pt idx="832">
                  <c:v>718.16</c:v>
                </c:pt>
                <c:pt idx="833">
                  <c:v>727.72</c:v>
                </c:pt>
                <c:pt idx="834">
                  <c:v>729.65</c:v>
                </c:pt>
                <c:pt idx="835">
                  <c:v>729.22</c:v>
                </c:pt>
                <c:pt idx="836">
                  <c:v>730.4</c:v>
                </c:pt>
                <c:pt idx="837">
                  <c:v>733.41</c:v>
                </c:pt>
                <c:pt idx="838">
                  <c:v>741.19</c:v>
                </c:pt>
                <c:pt idx="839">
                  <c:v>746.62</c:v>
                </c:pt>
                <c:pt idx="840">
                  <c:v>752.63</c:v>
                </c:pt>
                <c:pt idx="841">
                  <c:v>757.88</c:v>
                </c:pt>
                <c:pt idx="842">
                  <c:v>755.65</c:v>
                </c:pt>
                <c:pt idx="843">
                  <c:v>758.33</c:v>
                </c:pt>
                <c:pt idx="844">
                  <c:v>752.26</c:v>
                </c:pt>
                <c:pt idx="845">
                  <c:v>745.93</c:v>
                </c:pt>
                <c:pt idx="846">
                  <c:v>756.46</c:v>
                </c:pt>
                <c:pt idx="847">
                  <c:v>756.68</c:v>
                </c:pt>
                <c:pt idx="848">
                  <c:v>755.03</c:v>
                </c:pt>
                <c:pt idx="849">
                  <c:v>755.65</c:v>
                </c:pt>
                <c:pt idx="850">
                  <c:v>753.37</c:v>
                </c:pt>
                <c:pt idx="851">
                  <c:v>751.96</c:v>
                </c:pt>
                <c:pt idx="852">
                  <c:v>745.82</c:v>
                </c:pt>
                <c:pt idx="853">
                  <c:v>740.97</c:v>
                </c:pt>
                <c:pt idx="854">
                  <c:v>733.39</c:v>
                </c:pt>
                <c:pt idx="855">
                  <c:v>740.06</c:v>
                </c:pt>
                <c:pt idx="856">
                  <c:v>741.15</c:v>
                </c:pt>
                <c:pt idx="857">
                  <c:v>741.81</c:v>
                </c:pt>
                <c:pt idx="858">
                  <c:v>743.56</c:v>
                </c:pt>
                <c:pt idx="859">
                  <c:v>743.79</c:v>
                </c:pt>
                <c:pt idx="860">
                  <c:v>755.18</c:v>
                </c:pt>
                <c:pt idx="861">
                  <c:v>755.73</c:v>
                </c:pt>
                <c:pt idx="862">
                  <c:v>748.73</c:v>
                </c:pt>
                <c:pt idx="863">
                  <c:v>747.79</c:v>
                </c:pt>
                <c:pt idx="864">
                  <c:v>751.77</c:v>
                </c:pt>
                <c:pt idx="865">
                  <c:v>753.57</c:v>
                </c:pt>
                <c:pt idx="866">
                  <c:v>753.13</c:v>
                </c:pt>
                <c:pt idx="867">
                  <c:v>755.71</c:v>
                </c:pt>
                <c:pt idx="868">
                  <c:v>753.4</c:v>
                </c:pt>
                <c:pt idx="869">
                  <c:v>751.89</c:v>
                </c:pt>
                <c:pt idx="870">
                  <c:v>752.83</c:v>
                </c:pt>
                <c:pt idx="871">
                  <c:v>750.41</c:v>
                </c:pt>
                <c:pt idx="872">
                  <c:v>748.29</c:v>
                </c:pt>
                <c:pt idx="873">
                  <c:v>749.65</c:v>
                </c:pt>
                <c:pt idx="874">
                  <c:v>752.53</c:v>
                </c:pt>
                <c:pt idx="875">
                  <c:v>750.2</c:v>
                </c:pt>
                <c:pt idx="876">
                  <c:v>741.92</c:v>
                </c:pt>
                <c:pt idx="877">
                  <c:v>740</c:v>
                </c:pt>
                <c:pt idx="878">
                  <c:v>742.27</c:v>
                </c:pt>
                <c:pt idx="879">
                  <c:v>742.64</c:v>
                </c:pt>
                <c:pt idx="880">
                  <c:v>745.4</c:v>
                </c:pt>
                <c:pt idx="881">
                  <c:v>747.05</c:v>
                </c:pt>
                <c:pt idx="882">
                  <c:v>747.86</c:v>
                </c:pt>
                <c:pt idx="883">
                  <c:v>747</c:v>
                </c:pt>
                <c:pt idx="884">
                  <c:v>747</c:v>
                </c:pt>
                <c:pt idx="885">
                  <c:v>746.91</c:v>
                </c:pt>
                <c:pt idx="886">
                  <c:v>745.07</c:v>
                </c:pt>
                <c:pt idx="887">
                  <c:v>752.78</c:v>
                </c:pt>
                <c:pt idx="888">
                  <c:v>746.67</c:v>
                </c:pt>
                <c:pt idx="889">
                  <c:v>745.84</c:v>
                </c:pt>
                <c:pt idx="890">
                  <c:v>742.79</c:v>
                </c:pt>
                <c:pt idx="891">
                  <c:v>742.21</c:v>
                </c:pt>
                <c:pt idx="892">
                  <c:v>747.37</c:v>
                </c:pt>
                <c:pt idx="893">
                  <c:v>748.52</c:v>
                </c:pt>
                <c:pt idx="894">
                  <c:v>748.71</c:v>
                </c:pt>
                <c:pt idx="895">
                  <c:v>748.33</c:v>
                </c:pt>
                <c:pt idx="896">
                  <c:v>748.78</c:v>
                </c:pt>
                <c:pt idx="897">
                  <c:v>746.53</c:v>
                </c:pt>
                <c:pt idx="898">
                  <c:v>737.46</c:v>
                </c:pt>
                <c:pt idx="899">
                  <c:v>740.72</c:v>
                </c:pt>
                <c:pt idx="900">
                  <c:v>746.24</c:v>
                </c:pt>
                <c:pt idx="901">
                  <c:v>748.79</c:v>
                </c:pt>
                <c:pt idx="902">
                  <c:v>741.34</c:v>
                </c:pt>
                <c:pt idx="903">
                  <c:v>746.58</c:v>
                </c:pt>
                <c:pt idx="904">
                  <c:v>742.57</c:v>
                </c:pt>
                <c:pt idx="905">
                  <c:v>746.23</c:v>
                </c:pt>
                <c:pt idx="906">
                  <c:v>745.97</c:v>
                </c:pt>
                <c:pt idx="907">
                  <c:v>748.61</c:v>
                </c:pt>
                <c:pt idx="908">
                  <c:v>750.04</c:v>
                </c:pt>
                <c:pt idx="909">
                  <c:v>756.56</c:v>
                </c:pt>
                <c:pt idx="910">
                  <c:v>759.25</c:v>
                </c:pt>
                <c:pt idx="911">
                  <c:v>755.99</c:v>
                </c:pt>
                <c:pt idx="912">
                  <c:v>756.33</c:v>
                </c:pt>
                <c:pt idx="913">
                  <c:v>755.51</c:v>
                </c:pt>
                <c:pt idx="914">
                  <c:v>759.17</c:v>
                </c:pt>
                <c:pt idx="915">
                  <c:v>748.21</c:v>
                </c:pt>
                <c:pt idx="916">
                  <c:v>745.32</c:v>
                </c:pt>
                <c:pt idx="917">
                  <c:v>743.83</c:v>
                </c:pt>
                <c:pt idx="918">
                  <c:v>744.68</c:v>
                </c:pt>
                <c:pt idx="919">
                  <c:v>742.27</c:v>
                </c:pt>
                <c:pt idx="920">
                  <c:v>740.77</c:v>
                </c:pt>
                <c:pt idx="921">
                  <c:v>740.97</c:v>
                </c:pt>
                <c:pt idx="922">
                  <c:v>742.09</c:v>
                </c:pt>
                <c:pt idx="923">
                  <c:v>765.12</c:v>
                </c:pt>
                <c:pt idx="924">
                  <c:v>768.87</c:v>
                </c:pt>
                <c:pt idx="925">
                  <c:v>757.78</c:v>
                </c:pt>
                <c:pt idx="926">
                  <c:v>764.52</c:v>
                </c:pt>
                <c:pt idx="927">
                  <c:v>766.84</c:v>
                </c:pt>
                <c:pt idx="928">
                  <c:v>758.55</c:v>
                </c:pt>
                <c:pt idx="929">
                  <c:v>767.21</c:v>
                </c:pt>
                <c:pt idx="930">
                  <c:v>763.63</c:v>
                </c:pt>
                <c:pt idx="931">
                  <c:v>769.78</c:v>
                </c:pt>
                <c:pt idx="932">
                  <c:v>777.54</c:v>
                </c:pt>
                <c:pt idx="933">
                  <c:v>772.96</c:v>
                </c:pt>
                <c:pt idx="934">
                  <c:v>774.57</c:v>
                </c:pt>
                <c:pt idx="935">
                  <c:v>773.78</c:v>
                </c:pt>
                <c:pt idx="936">
                  <c:v>777.23</c:v>
                </c:pt>
                <c:pt idx="937">
                  <c:v>782.93</c:v>
                </c:pt>
                <c:pt idx="938">
                  <c:v>781.82</c:v>
                </c:pt>
                <c:pt idx="939">
                  <c:v>778.21</c:v>
                </c:pt>
                <c:pt idx="940">
                  <c:v>783.72</c:v>
                </c:pt>
                <c:pt idx="941">
                  <c:v>782.07</c:v>
                </c:pt>
                <c:pt idx="942">
                  <c:v>787.72</c:v>
                </c:pt>
                <c:pt idx="943">
                  <c:v>789.8</c:v>
                </c:pt>
                <c:pt idx="944">
                  <c:v>787.71</c:v>
                </c:pt>
                <c:pt idx="945">
                  <c:v>786.68</c:v>
                </c:pt>
                <c:pt idx="946">
                  <c:v>783.52</c:v>
                </c:pt>
                <c:pt idx="947">
                  <c:v>779.96</c:v>
                </c:pt>
                <c:pt idx="948">
                  <c:v>778.98</c:v>
                </c:pt>
                <c:pt idx="949">
                  <c:v>777.84</c:v>
                </c:pt>
                <c:pt idx="950">
                  <c:v>781.87</c:v>
                </c:pt>
                <c:pt idx="951">
                  <c:v>781.32</c:v>
                </c:pt>
                <c:pt idx="952">
                  <c:v>781.02</c:v>
                </c:pt>
                <c:pt idx="953">
                  <c:v>781.76</c:v>
                </c:pt>
                <c:pt idx="954">
                  <c:v>780.02</c:v>
                </c:pt>
                <c:pt idx="955">
                  <c:v>785.2</c:v>
                </c:pt>
                <c:pt idx="956">
                  <c:v>780.69</c:v>
                </c:pt>
                <c:pt idx="957">
                  <c:v>785.36</c:v>
                </c:pt>
                <c:pt idx="958">
                  <c:v>781.73</c:v>
                </c:pt>
                <c:pt idx="959">
                  <c:v>781.07</c:v>
                </c:pt>
                <c:pt idx="960">
                  <c:v>780.01</c:v>
                </c:pt>
                <c:pt idx="961">
                  <c:v>784.84</c:v>
                </c:pt>
                <c:pt idx="962">
                  <c:v>785.45</c:v>
                </c:pt>
                <c:pt idx="963">
                  <c:v>785.07</c:v>
                </c:pt>
                <c:pt idx="964">
                  <c:v>783.41</c:v>
                </c:pt>
                <c:pt idx="965">
                  <c:v>784.03</c:v>
                </c:pt>
                <c:pt idx="966">
                  <c:v>788.42</c:v>
                </c:pt>
                <c:pt idx="967">
                  <c:v>793.16</c:v>
                </c:pt>
                <c:pt idx="968">
                  <c:v>794.35</c:v>
                </c:pt>
                <c:pt idx="969">
                  <c:v>800.72</c:v>
                </c:pt>
                <c:pt idx="970">
                  <c:v>798.19</c:v>
                </c:pt>
                <c:pt idx="971">
                  <c:v>632.75</c:v>
                </c:pt>
                <c:pt idx="972">
                  <c:v>625.09</c:v>
                </c:pt>
                <c:pt idx="973">
                  <c:v>627.46</c:v>
                </c:pt>
                <c:pt idx="974">
                  <c:v>621.92999999999995</c:v>
                </c:pt>
                <c:pt idx="975">
                  <c:v>624.38</c:v>
                </c:pt>
                <c:pt idx="976">
                  <c:v>606.59</c:v>
                </c:pt>
                <c:pt idx="977">
                  <c:v>595.64</c:v>
                </c:pt>
                <c:pt idx="978">
                  <c:v>602.69000000000005</c:v>
                </c:pt>
                <c:pt idx="979">
                  <c:v>607.58000000000004</c:v>
                </c:pt>
                <c:pt idx="980">
                  <c:v>602.79</c:v>
                </c:pt>
                <c:pt idx="981">
                  <c:v>601.32000000000005</c:v>
                </c:pt>
                <c:pt idx="982">
                  <c:v>604.98</c:v>
                </c:pt>
                <c:pt idx="983">
                  <c:v>601.64</c:v>
                </c:pt>
                <c:pt idx="984">
                  <c:v>605.26</c:v>
                </c:pt>
                <c:pt idx="985">
                  <c:v>606.66</c:v>
                </c:pt>
                <c:pt idx="986">
                  <c:v>610.79</c:v>
                </c:pt>
                <c:pt idx="987">
                  <c:v>610.92999999999995</c:v>
                </c:pt>
                <c:pt idx="988">
                  <c:v>611.30999999999995</c:v>
                </c:pt>
                <c:pt idx="989">
                  <c:v>610.42999999999995</c:v>
                </c:pt>
                <c:pt idx="990">
                  <c:v>611.07000000000005</c:v>
                </c:pt>
                <c:pt idx="991">
                  <c:v>612.84</c:v>
                </c:pt>
                <c:pt idx="992">
                  <c:v>611.57000000000005</c:v>
                </c:pt>
                <c:pt idx="993">
                  <c:v>615.54999999999995</c:v>
                </c:pt>
                <c:pt idx="994">
                  <c:v>617.6</c:v>
                </c:pt>
                <c:pt idx="995">
                  <c:v>616.30999999999995</c:v>
                </c:pt>
                <c:pt idx="996">
                  <c:v>611.4</c:v>
                </c:pt>
                <c:pt idx="997">
                  <c:v>608.95000000000005</c:v>
                </c:pt>
                <c:pt idx="998">
                  <c:v>607.36</c:v>
                </c:pt>
                <c:pt idx="999">
                  <c:v>610.08000000000004</c:v>
                </c:pt>
                <c:pt idx="1000">
                  <c:v>609.4</c:v>
                </c:pt>
                <c:pt idx="1001">
                  <c:v>603.87</c:v>
                </c:pt>
                <c:pt idx="1002">
                  <c:v>607.01</c:v>
                </c:pt>
                <c:pt idx="1003">
                  <c:v>609.54999999999995</c:v>
                </c:pt>
                <c:pt idx="1004">
                  <c:v>611.80999999999995</c:v>
                </c:pt>
                <c:pt idx="1005">
                  <c:v>613.72</c:v>
                </c:pt>
                <c:pt idx="1006">
                  <c:v>613.91</c:v>
                </c:pt>
                <c:pt idx="1007">
                  <c:v>617.95000000000005</c:v>
                </c:pt>
                <c:pt idx="1008">
                  <c:v>621.66999999999996</c:v>
                </c:pt>
                <c:pt idx="1009">
                  <c:v>631.42999999999995</c:v>
                </c:pt>
                <c:pt idx="1010">
                  <c:v>629.36</c:v>
                </c:pt>
                <c:pt idx="1011">
                  <c:v>635.39</c:v>
                </c:pt>
                <c:pt idx="1012">
                  <c:v>638.17999999999995</c:v>
                </c:pt>
                <c:pt idx="1013">
                  <c:v>638.54</c:v>
                </c:pt>
                <c:pt idx="1014">
                  <c:v>641.72</c:v>
                </c:pt>
                <c:pt idx="1015">
                  <c:v>657</c:v>
                </c:pt>
                <c:pt idx="1016">
                  <c:v>656.47</c:v>
                </c:pt>
                <c:pt idx="1017">
                  <c:v>661.82</c:v>
                </c:pt>
                <c:pt idx="1018">
                  <c:v>664.02</c:v>
                </c:pt>
                <c:pt idx="1019">
                  <c:v>663.38</c:v>
                </c:pt>
                <c:pt idx="1020">
                  <c:v>660.77</c:v>
                </c:pt>
                <c:pt idx="1021">
                  <c:v>666.25</c:v>
                </c:pt>
                <c:pt idx="1022">
                  <c:v>666.63</c:v>
                </c:pt>
                <c:pt idx="1023">
                  <c:v>672.12</c:v>
                </c:pt>
                <c:pt idx="1024">
                  <c:v>673.67</c:v>
                </c:pt>
                <c:pt idx="1025">
                  <c:v>683.65</c:v>
                </c:pt>
                <c:pt idx="1026">
                  <c:v>680.23</c:v>
                </c:pt>
                <c:pt idx="1027">
                  <c:v>681.64</c:v>
                </c:pt>
                <c:pt idx="1028">
                  <c:v>686.3</c:v>
                </c:pt>
                <c:pt idx="1029">
                  <c:v>683.34</c:v>
                </c:pt>
                <c:pt idx="1030">
                  <c:v>684.63</c:v>
                </c:pt>
                <c:pt idx="1031">
                  <c:v>690.42</c:v>
                </c:pt>
                <c:pt idx="1032">
                  <c:v>685.11</c:v>
                </c:pt>
                <c:pt idx="1033">
                  <c:v>686.69</c:v>
                </c:pt>
                <c:pt idx="1034">
                  <c:v>684.87</c:v>
                </c:pt>
                <c:pt idx="1035">
                  <c:v>685.44</c:v>
                </c:pt>
                <c:pt idx="1036">
                  <c:v>675.16</c:v>
                </c:pt>
                <c:pt idx="1037">
                  <c:v>677.81</c:v>
                </c:pt>
                <c:pt idx="1038">
                  <c:v>675.16</c:v>
                </c:pt>
                <c:pt idx="1039">
                  <c:v>678.45</c:v>
                </c:pt>
                <c:pt idx="1040">
                  <c:v>675.67</c:v>
                </c:pt>
                <c:pt idx="1041">
                  <c:v>670.14</c:v>
                </c:pt>
                <c:pt idx="1042">
                  <c:v>669.07</c:v>
                </c:pt>
                <c:pt idx="1043">
                  <c:v>668.81</c:v>
                </c:pt>
                <c:pt idx="1044">
                  <c:v>669.9</c:v>
                </c:pt>
                <c:pt idx="1045">
                  <c:v>668.79</c:v>
                </c:pt>
                <c:pt idx="1046">
                  <c:v>671.17</c:v>
                </c:pt>
                <c:pt idx="1047">
                  <c:v>673.73</c:v>
                </c:pt>
                <c:pt idx="1048">
                  <c:v>671.91</c:v>
                </c:pt>
                <c:pt idx="1049">
                  <c:v>672.49</c:v>
                </c:pt>
                <c:pt idx="1050">
                  <c:v>671.48</c:v>
                </c:pt>
                <c:pt idx="1051">
                  <c:v>672.53</c:v>
                </c:pt>
                <c:pt idx="1052">
                  <c:v>673.26</c:v>
                </c:pt>
                <c:pt idx="1053">
                  <c:v>671.89</c:v>
                </c:pt>
                <c:pt idx="1054">
                  <c:v>671.96</c:v>
                </c:pt>
                <c:pt idx="1055">
                  <c:v>672.04</c:v>
                </c:pt>
                <c:pt idx="1056">
                  <c:v>670.59</c:v>
                </c:pt>
                <c:pt idx="1057">
                  <c:v>672.01</c:v>
                </c:pt>
                <c:pt idx="1058">
                  <c:v>678.05</c:v>
                </c:pt>
                <c:pt idx="1059">
                  <c:v>682.7</c:v>
                </c:pt>
                <c:pt idx="1060">
                  <c:v>680.94</c:v>
                </c:pt>
                <c:pt idx="1061">
                  <c:v>677.22</c:v>
                </c:pt>
                <c:pt idx="1062">
                  <c:v>677.61</c:v>
                </c:pt>
                <c:pt idx="1063">
                  <c:v>677.81</c:v>
                </c:pt>
                <c:pt idx="1064">
                  <c:v>679.54</c:v>
                </c:pt>
                <c:pt idx="1065">
                  <c:v>687.14</c:v>
                </c:pt>
                <c:pt idx="1066">
                  <c:v>688.34</c:v>
                </c:pt>
                <c:pt idx="1067">
                  <c:v>688.55</c:v>
                </c:pt>
                <c:pt idx="1068">
                  <c:v>691.29</c:v>
                </c:pt>
                <c:pt idx="1069">
                  <c:v>695.21</c:v>
                </c:pt>
                <c:pt idx="1070">
                  <c:v>706.39</c:v>
                </c:pt>
                <c:pt idx="1071">
                  <c:v>705.09</c:v>
                </c:pt>
                <c:pt idx="1072">
                  <c:v>705</c:v>
                </c:pt>
                <c:pt idx="1073">
                  <c:v>706.48</c:v>
                </c:pt>
                <c:pt idx="1074">
                  <c:v>706.53</c:v>
                </c:pt>
                <c:pt idx="1075">
                  <c:v>708.55</c:v>
                </c:pt>
                <c:pt idx="1076">
                  <c:v>713.38</c:v>
                </c:pt>
                <c:pt idx="1077">
                  <c:v>710.3</c:v>
                </c:pt>
                <c:pt idx="1078">
                  <c:v>718.16</c:v>
                </c:pt>
                <c:pt idx="1079">
                  <c:v>727.72</c:v>
                </c:pt>
                <c:pt idx="1080">
                  <c:v>729.65</c:v>
                </c:pt>
                <c:pt idx="1081">
                  <c:v>729.22</c:v>
                </c:pt>
                <c:pt idx="1082">
                  <c:v>730.4</c:v>
                </c:pt>
                <c:pt idx="1083">
                  <c:v>733.41</c:v>
                </c:pt>
                <c:pt idx="1084">
                  <c:v>741.19</c:v>
                </c:pt>
                <c:pt idx="1085">
                  <c:v>746.62</c:v>
                </c:pt>
                <c:pt idx="1086">
                  <c:v>752.63</c:v>
                </c:pt>
                <c:pt idx="1087">
                  <c:v>757.88</c:v>
                </c:pt>
                <c:pt idx="1088">
                  <c:v>755.65</c:v>
                </c:pt>
                <c:pt idx="1089">
                  <c:v>758.33</c:v>
                </c:pt>
                <c:pt idx="1090">
                  <c:v>752.26</c:v>
                </c:pt>
                <c:pt idx="1091">
                  <c:v>745.93</c:v>
                </c:pt>
                <c:pt idx="1092">
                  <c:v>756.46</c:v>
                </c:pt>
                <c:pt idx="1093">
                  <c:v>756.68</c:v>
                </c:pt>
                <c:pt idx="1094">
                  <c:v>755.03</c:v>
                </c:pt>
                <c:pt idx="1095">
                  <c:v>755.65</c:v>
                </c:pt>
                <c:pt idx="1096">
                  <c:v>753.37</c:v>
                </c:pt>
                <c:pt idx="1097">
                  <c:v>751.96</c:v>
                </c:pt>
                <c:pt idx="1098">
                  <c:v>745.82</c:v>
                </c:pt>
                <c:pt idx="1099">
                  <c:v>740.97</c:v>
                </c:pt>
                <c:pt idx="1100">
                  <c:v>733.39</c:v>
                </c:pt>
                <c:pt idx="1101">
                  <c:v>740.06</c:v>
                </c:pt>
                <c:pt idx="1102">
                  <c:v>741.15</c:v>
                </c:pt>
                <c:pt idx="1103">
                  <c:v>741.81</c:v>
                </c:pt>
                <c:pt idx="1104">
                  <c:v>743.56</c:v>
                </c:pt>
                <c:pt idx="1105">
                  <c:v>743.79</c:v>
                </c:pt>
                <c:pt idx="1106">
                  <c:v>755.18</c:v>
                </c:pt>
                <c:pt idx="1107">
                  <c:v>755.73</c:v>
                </c:pt>
                <c:pt idx="1108">
                  <c:v>748.73</c:v>
                </c:pt>
                <c:pt idx="1109">
                  <c:v>747.79</c:v>
                </c:pt>
                <c:pt idx="1110">
                  <c:v>751.77</c:v>
                </c:pt>
                <c:pt idx="1111">
                  <c:v>753.57</c:v>
                </c:pt>
                <c:pt idx="1112">
                  <c:v>753.13</c:v>
                </c:pt>
                <c:pt idx="1113">
                  <c:v>755.71</c:v>
                </c:pt>
                <c:pt idx="1114">
                  <c:v>753.4</c:v>
                </c:pt>
                <c:pt idx="1115">
                  <c:v>751.89</c:v>
                </c:pt>
                <c:pt idx="1116">
                  <c:v>752.83</c:v>
                </c:pt>
                <c:pt idx="1117">
                  <c:v>750.41</c:v>
                </c:pt>
                <c:pt idx="1118">
                  <c:v>748.29</c:v>
                </c:pt>
                <c:pt idx="1119">
                  <c:v>749.65</c:v>
                </c:pt>
                <c:pt idx="1120">
                  <c:v>752.53</c:v>
                </c:pt>
                <c:pt idx="1121">
                  <c:v>750.2</c:v>
                </c:pt>
                <c:pt idx="1122">
                  <c:v>741.92</c:v>
                </c:pt>
                <c:pt idx="1123">
                  <c:v>740</c:v>
                </c:pt>
                <c:pt idx="1124">
                  <c:v>742.27</c:v>
                </c:pt>
                <c:pt idx="1125">
                  <c:v>742.64</c:v>
                </c:pt>
                <c:pt idx="1126">
                  <c:v>745.4</c:v>
                </c:pt>
                <c:pt idx="1127">
                  <c:v>747.05</c:v>
                </c:pt>
                <c:pt idx="1128">
                  <c:v>747.86</c:v>
                </c:pt>
                <c:pt idx="1129">
                  <c:v>747</c:v>
                </c:pt>
                <c:pt idx="1130">
                  <c:v>747</c:v>
                </c:pt>
                <c:pt idx="1131">
                  <c:v>746.91</c:v>
                </c:pt>
                <c:pt idx="1132">
                  <c:v>745.07</c:v>
                </c:pt>
                <c:pt idx="1133">
                  <c:v>752.78</c:v>
                </c:pt>
                <c:pt idx="1134">
                  <c:v>746.67</c:v>
                </c:pt>
                <c:pt idx="1135">
                  <c:v>745.84</c:v>
                </c:pt>
                <c:pt idx="1136">
                  <c:v>742.79</c:v>
                </c:pt>
                <c:pt idx="1137">
                  <c:v>742.21</c:v>
                </c:pt>
                <c:pt idx="1138">
                  <c:v>747.37</c:v>
                </c:pt>
                <c:pt idx="1139">
                  <c:v>748.52</c:v>
                </c:pt>
                <c:pt idx="1140">
                  <c:v>748.71</c:v>
                </c:pt>
                <c:pt idx="1141">
                  <c:v>748.33</c:v>
                </c:pt>
                <c:pt idx="1142">
                  <c:v>748.78</c:v>
                </c:pt>
                <c:pt idx="1143">
                  <c:v>746.53</c:v>
                </c:pt>
                <c:pt idx="1144">
                  <c:v>737.46</c:v>
                </c:pt>
                <c:pt idx="1145">
                  <c:v>740.72</c:v>
                </c:pt>
                <c:pt idx="1146">
                  <c:v>746.24</c:v>
                </c:pt>
                <c:pt idx="1147">
                  <c:v>748.79</c:v>
                </c:pt>
                <c:pt idx="1148">
                  <c:v>741.34</c:v>
                </c:pt>
                <c:pt idx="1149">
                  <c:v>746.58</c:v>
                </c:pt>
                <c:pt idx="1150">
                  <c:v>742.57</c:v>
                </c:pt>
                <c:pt idx="1151">
                  <c:v>746.23</c:v>
                </c:pt>
                <c:pt idx="1152">
                  <c:v>745.97</c:v>
                </c:pt>
                <c:pt idx="1153">
                  <c:v>748.61</c:v>
                </c:pt>
                <c:pt idx="1154">
                  <c:v>750.04</c:v>
                </c:pt>
                <c:pt idx="1155">
                  <c:v>756.56</c:v>
                </c:pt>
                <c:pt idx="1156">
                  <c:v>759.25</c:v>
                </c:pt>
                <c:pt idx="1157">
                  <c:v>755.99</c:v>
                </c:pt>
                <c:pt idx="1158">
                  <c:v>756.33</c:v>
                </c:pt>
                <c:pt idx="1159">
                  <c:v>755.51</c:v>
                </c:pt>
                <c:pt idx="1160">
                  <c:v>759.17</c:v>
                </c:pt>
                <c:pt idx="1161">
                  <c:v>748.21</c:v>
                </c:pt>
                <c:pt idx="1162">
                  <c:v>745.32</c:v>
                </c:pt>
                <c:pt idx="1163">
                  <c:v>743.83</c:v>
                </c:pt>
                <c:pt idx="1164">
                  <c:v>744.68</c:v>
                </c:pt>
                <c:pt idx="1165">
                  <c:v>742.27</c:v>
                </c:pt>
                <c:pt idx="1166">
                  <c:v>740.77</c:v>
                </c:pt>
                <c:pt idx="1167">
                  <c:v>740.97</c:v>
                </c:pt>
                <c:pt idx="1168">
                  <c:v>742.09</c:v>
                </c:pt>
                <c:pt idx="1169">
                  <c:v>765.12</c:v>
                </c:pt>
                <c:pt idx="1170">
                  <c:v>768.87</c:v>
                </c:pt>
                <c:pt idx="1171">
                  <c:v>757.78</c:v>
                </c:pt>
                <c:pt idx="1172">
                  <c:v>764.52</c:v>
                </c:pt>
                <c:pt idx="1173">
                  <c:v>766.84</c:v>
                </c:pt>
                <c:pt idx="1174">
                  <c:v>758.55</c:v>
                </c:pt>
                <c:pt idx="1175">
                  <c:v>767.21</c:v>
                </c:pt>
                <c:pt idx="1176">
                  <c:v>763.63</c:v>
                </c:pt>
                <c:pt idx="1177">
                  <c:v>769.78</c:v>
                </c:pt>
                <c:pt idx="1178">
                  <c:v>777.54</c:v>
                </c:pt>
                <c:pt idx="1179">
                  <c:v>772.96</c:v>
                </c:pt>
                <c:pt idx="1180">
                  <c:v>774.57</c:v>
                </c:pt>
                <c:pt idx="1181">
                  <c:v>773.78</c:v>
                </c:pt>
                <c:pt idx="1182">
                  <c:v>777.23</c:v>
                </c:pt>
                <c:pt idx="1183">
                  <c:v>782.93</c:v>
                </c:pt>
                <c:pt idx="1184">
                  <c:v>781.82</c:v>
                </c:pt>
                <c:pt idx="1185">
                  <c:v>778.21</c:v>
                </c:pt>
                <c:pt idx="1186">
                  <c:v>783.72</c:v>
                </c:pt>
                <c:pt idx="1187">
                  <c:v>782.07</c:v>
                </c:pt>
                <c:pt idx="1188">
                  <c:v>787.72</c:v>
                </c:pt>
                <c:pt idx="1189">
                  <c:v>789.8</c:v>
                </c:pt>
                <c:pt idx="1190">
                  <c:v>787.71</c:v>
                </c:pt>
                <c:pt idx="1191">
                  <c:v>786.68</c:v>
                </c:pt>
                <c:pt idx="1192">
                  <c:v>783.52</c:v>
                </c:pt>
                <c:pt idx="1193">
                  <c:v>779.96</c:v>
                </c:pt>
                <c:pt idx="1194">
                  <c:v>778.98</c:v>
                </c:pt>
                <c:pt idx="1195">
                  <c:v>777.84</c:v>
                </c:pt>
                <c:pt idx="1196">
                  <c:v>781.87</c:v>
                </c:pt>
                <c:pt idx="1197">
                  <c:v>781.32</c:v>
                </c:pt>
                <c:pt idx="1198">
                  <c:v>781.02</c:v>
                </c:pt>
                <c:pt idx="1199">
                  <c:v>781.76</c:v>
                </c:pt>
                <c:pt idx="1200">
                  <c:v>780.02</c:v>
                </c:pt>
                <c:pt idx="1201">
                  <c:v>785.2</c:v>
                </c:pt>
                <c:pt idx="1202">
                  <c:v>780.69</c:v>
                </c:pt>
                <c:pt idx="1203">
                  <c:v>785.36</c:v>
                </c:pt>
                <c:pt idx="1204">
                  <c:v>781.73</c:v>
                </c:pt>
                <c:pt idx="1205">
                  <c:v>781.07</c:v>
                </c:pt>
                <c:pt idx="1206">
                  <c:v>780.01</c:v>
                </c:pt>
                <c:pt idx="1207">
                  <c:v>784.84</c:v>
                </c:pt>
                <c:pt idx="1208">
                  <c:v>785.45</c:v>
                </c:pt>
                <c:pt idx="1209">
                  <c:v>785.07</c:v>
                </c:pt>
                <c:pt idx="1210">
                  <c:v>783.41</c:v>
                </c:pt>
                <c:pt idx="1211">
                  <c:v>784.03</c:v>
                </c:pt>
                <c:pt idx="1212">
                  <c:v>788.42</c:v>
                </c:pt>
                <c:pt idx="1213">
                  <c:v>793.16</c:v>
                </c:pt>
                <c:pt idx="1214">
                  <c:v>794.35</c:v>
                </c:pt>
                <c:pt idx="1215">
                  <c:v>800.72</c:v>
                </c:pt>
                <c:pt idx="1216">
                  <c:v>798.19</c:v>
                </c:pt>
                <c:pt idx="1217">
                  <c:v>803</c:v>
                </c:pt>
                <c:pt idx="1218">
                  <c:v>813.81</c:v>
                </c:pt>
                <c:pt idx="1219">
                  <c:v>810.13</c:v>
                </c:pt>
                <c:pt idx="1220">
                  <c:v>809.41</c:v>
                </c:pt>
                <c:pt idx="1221">
                  <c:v>813.62</c:v>
                </c:pt>
                <c:pt idx="1222">
                  <c:v>813.62</c:v>
                </c:pt>
                <c:pt idx="1223">
                  <c:v>814.4</c:v>
                </c:pt>
                <c:pt idx="1224">
                  <c:v>809.24</c:v>
                </c:pt>
                <c:pt idx="1225">
                  <c:v>811.35</c:v>
                </c:pt>
                <c:pt idx="1226">
                  <c:v>811.02</c:v>
                </c:pt>
                <c:pt idx="1227">
                  <c:v>806.02</c:v>
                </c:pt>
                <c:pt idx="1228">
                  <c:v>805.51</c:v>
                </c:pt>
                <c:pt idx="1229">
                  <c:v>804.48</c:v>
                </c:pt>
                <c:pt idx="1230">
                  <c:v>803.52</c:v>
                </c:pt>
                <c:pt idx="1231">
                  <c:v>807.47</c:v>
                </c:pt>
              </c:numCache>
            </c:numRef>
          </c:val>
          <c:extLst>
            <c:ext xmlns:c16="http://schemas.microsoft.com/office/drawing/2014/chart" uri="{C3380CC4-5D6E-409C-BE32-E72D297353CC}">
              <c16:uniqueId val="{00000000-A6CB-7C4C-8F79-51DF76CAA5D2}"/>
            </c:ext>
          </c:extLst>
        </c:ser>
        <c:ser>
          <c:idx val="0"/>
          <c:order val="1"/>
          <c:spPr>
            <a:solidFill>
              <a:schemeClr val="accent1">
                <a:shade val="76000"/>
              </a:schemeClr>
            </a:solidFill>
            <a:ln>
              <a:noFill/>
            </a:ln>
            <a:effectLst/>
          </c:spPr>
          <c:cat>
            <c:numRef>
              <c:f>'5 index'!$D$19:$D$1250</c:f>
              <c:numCache>
                <c:formatCode>m/d/yyyy</c:formatCode>
                <c:ptCount val="1232"/>
                <c:pt idx="0">
                  <c:v>43921</c:v>
                </c:pt>
                <c:pt idx="1">
                  <c:v>43922</c:v>
                </c:pt>
                <c:pt idx="2">
                  <c:v>43923</c:v>
                </c:pt>
                <c:pt idx="3">
                  <c:v>43924</c:v>
                </c:pt>
                <c:pt idx="4">
                  <c:v>43927</c:v>
                </c:pt>
                <c:pt idx="5">
                  <c:v>43928</c:v>
                </c:pt>
                <c:pt idx="6">
                  <c:v>43929</c:v>
                </c:pt>
                <c:pt idx="7">
                  <c:v>43930</c:v>
                </c:pt>
                <c:pt idx="8">
                  <c:v>43935</c:v>
                </c:pt>
                <c:pt idx="9">
                  <c:v>43936</c:v>
                </c:pt>
                <c:pt idx="10">
                  <c:v>43937</c:v>
                </c:pt>
                <c:pt idx="11">
                  <c:v>43942</c:v>
                </c:pt>
                <c:pt idx="12">
                  <c:v>43943</c:v>
                </c:pt>
                <c:pt idx="13">
                  <c:v>43944</c:v>
                </c:pt>
                <c:pt idx="14">
                  <c:v>43945</c:v>
                </c:pt>
                <c:pt idx="15">
                  <c:v>43948</c:v>
                </c:pt>
                <c:pt idx="16">
                  <c:v>43949</c:v>
                </c:pt>
                <c:pt idx="17">
                  <c:v>43950</c:v>
                </c:pt>
                <c:pt idx="18">
                  <c:v>43951</c:v>
                </c:pt>
                <c:pt idx="19">
                  <c:v>43955</c:v>
                </c:pt>
                <c:pt idx="20">
                  <c:v>43956</c:v>
                </c:pt>
                <c:pt idx="21">
                  <c:v>43958</c:v>
                </c:pt>
                <c:pt idx="22">
                  <c:v>43959</c:v>
                </c:pt>
                <c:pt idx="23">
                  <c:v>43962</c:v>
                </c:pt>
                <c:pt idx="24">
                  <c:v>43963</c:v>
                </c:pt>
                <c:pt idx="25">
                  <c:v>43964</c:v>
                </c:pt>
                <c:pt idx="26">
                  <c:v>43965</c:v>
                </c:pt>
                <c:pt idx="27">
                  <c:v>43966</c:v>
                </c:pt>
                <c:pt idx="28">
                  <c:v>43969</c:v>
                </c:pt>
                <c:pt idx="29">
                  <c:v>43970</c:v>
                </c:pt>
                <c:pt idx="30">
                  <c:v>43971</c:v>
                </c:pt>
                <c:pt idx="31">
                  <c:v>43972</c:v>
                </c:pt>
                <c:pt idx="32">
                  <c:v>43973</c:v>
                </c:pt>
                <c:pt idx="33">
                  <c:v>43977</c:v>
                </c:pt>
                <c:pt idx="34">
                  <c:v>43978</c:v>
                </c:pt>
                <c:pt idx="35">
                  <c:v>43979</c:v>
                </c:pt>
                <c:pt idx="36">
                  <c:v>43980</c:v>
                </c:pt>
                <c:pt idx="37">
                  <c:v>43983</c:v>
                </c:pt>
                <c:pt idx="38">
                  <c:v>43984</c:v>
                </c:pt>
                <c:pt idx="39">
                  <c:v>43985</c:v>
                </c:pt>
                <c:pt idx="40">
                  <c:v>43986</c:v>
                </c:pt>
                <c:pt idx="41">
                  <c:v>43987</c:v>
                </c:pt>
                <c:pt idx="42">
                  <c:v>43990</c:v>
                </c:pt>
                <c:pt idx="43">
                  <c:v>43991</c:v>
                </c:pt>
                <c:pt idx="44">
                  <c:v>43992</c:v>
                </c:pt>
                <c:pt idx="45">
                  <c:v>43993</c:v>
                </c:pt>
                <c:pt idx="46">
                  <c:v>43994</c:v>
                </c:pt>
                <c:pt idx="47">
                  <c:v>43997</c:v>
                </c:pt>
                <c:pt idx="48">
                  <c:v>43998</c:v>
                </c:pt>
                <c:pt idx="49">
                  <c:v>43999</c:v>
                </c:pt>
                <c:pt idx="50">
                  <c:v>44000</c:v>
                </c:pt>
                <c:pt idx="51">
                  <c:v>44001</c:v>
                </c:pt>
                <c:pt idx="52">
                  <c:v>44004</c:v>
                </c:pt>
                <c:pt idx="53">
                  <c:v>44005</c:v>
                </c:pt>
                <c:pt idx="54">
                  <c:v>44006</c:v>
                </c:pt>
                <c:pt idx="55">
                  <c:v>44007</c:v>
                </c:pt>
                <c:pt idx="56">
                  <c:v>44008</c:v>
                </c:pt>
                <c:pt idx="57">
                  <c:v>44011</c:v>
                </c:pt>
                <c:pt idx="58">
                  <c:v>44012</c:v>
                </c:pt>
                <c:pt idx="59">
                  <c:v>44013</c:v>
                </c:pt>
                <c:pt idx="60">
                  <c:v>44014</c:v>
                </c:pt>
                <c:pt idx="61">
                  <c:v>44015</c:v>
                </c:pt>
                <c:pt idx="62">
                  <c:v>44018</c:v>
                </c:pt>
                <c:pt idx="63">
                  <c:v>44019</c:v>
                </c:pt>
                <c:pt idx="64">
                  <c:v>44020</c:v>
                </c:pt>
                <c:pt idx="65">
                  <c:v>44021</c:v>
                </c:pt>
                <c:pt idx="66">
                  <c:v>44022</c:v>
                </c:pt>
                <c:pt idx="67">
                  <c:v>44025</c:v>
                </c:pt>
                <c:pt idx="68">
                  <c:v>44026</c:v>
                </c:pt>
                <c:pt idx="69">
                  <c:v>44027</c:v>
                </c:pt>
                <c:pt idx="70">
                  <c:v>44028</c:v>
                </c:pt>
                <c:pt idx="71">
                  <c:v>44029</c:v>
                </c:pt>
                <c:pt idx="72">
                  <c:v>44032</c:v>
                </c:pt>
                <c:pt idx="73">
                  <c:v>44033</c:v>
                </c:pt>
                <c:pt idx="74">
                  <c:v>44034</c:v>
                </c:pt>
                <c:pt idx="75">
                  <c:v>44035</c:v>
                </c:pt>
                <c:pt idx="76">
                  <c:v>44036</c:v>
                </c:pt>
                <c:pt idx="77">
                  <c:v>44039</c:v>
                </c:pt>
                <c:pt idx="78">
                  <c:v>44040</c:v>
                </c:pt>
                <c:pt idx="79">
                  <c:v>44041</c:v>
                </c:pt>
                <c:pt idx="80">
                  <c:v>44042</c:v>
                </c:pt>
                <c:pt idx="81">
                  <c:v>44043</c:v>
                </c:pt>
                <c:pt idx="82">
                  <c:v>44046</c:v>
                </c:pt>
                <c:pt idx="83">
                  <c:v>44047</c:v>
                </c:pt>
                <c:pt idx="84">
                  <c:v>44048</c:v>
                </c:pt>
                <c:pt idx="85">
                  <c:v>44049</c:v>
                </c:pt>
                <c:pt idx="86">
                  <c:v>44050</c:v>
                </c:pt>
                <c:pt idx="87">
                  <c:v>44053</c:v>
                </c:pt>
                <c:pt idx="88">
                  <c:v>44054</c:v>
                </c:pt>
                <c:pt idx="89">
                  <c:v>44055</c:v>
                </c:pt>
                <c:pt idx="90">
                  <c:v>44056</c:v>
                </c:pt>
                <c:pt idx="91">
                  <c:v>44057</c:v>
                </c:pt>
                <c:pt idx="92">
                  <c:v>44060</c:v>
                </c:pt>
                <c:pt idx="93">
                  <c:v>44061</c:v>
                </c:pt>
                <c:pt idx="94">
                  <c:v>44062</c:v>
                </c:pt>
                <c:pt idx="95">
                  <c:v>44063</c:v>
                </c:pt>
                <c:pt idx="96">
                  <c:v>44064</c:v>
                </c:pt>
                <c:pt idx="97">
                  <c:v>44067</c:v>
                </c:pt>
                <c:pt idx="98">
                  <c:v>44068</c:v>
                </c:pt>
                <c:pt idx="99">
                  <c:v>44069</c:v>
                </c:pt>
                <c:pt idx="100">
                  <c:v>44070</c:v>
                </c:pt>
                <c:pt idx="101">
                  <c:v>44071</c:v>
                </c:pt>
                <c:pt idx="102">
                  <c:v>44074</c:v>
                </c:pt>
                <c:pt idx="103">
                  <c:v>44075</c:v>
                </c:pt>
                <c:pt idx="104">
                  <c:v>44076</c:v>
                </c:pt>
                <c:pt idx="105">
                  <c:v>44077</c:v>
                </c:pt>
                <c:pt idx="106">
                  <c:v>44078</c:v>
                </c:pt>
                <c:pt idx="107">
                  <c:v>44082</c:v>
                </c:pt>
                <c:pt idx="108">
                  <c:v>44083</c:v>
                </c:pt>
                <c:pt idx="109">
                  <c:v>44084</c:v>
                </c:pt>
                <c:pt idx="110">
                  <c:v>44085</c:v>
                </c:pt>
                <c:pt idx="111">
                  <c:v>44088</c:v>
                </c:pt>
                <c:pt idx="112">
                  <c:v>44089</c:v>
                </c:pt>
                <c:pt idx="113">
                  <c:v>44090</c:v>
                </c:pt>
                <c:pt idx="114">
                  <c:v>44091</c:v>
                </c:pt>
                <c:pt idx="115">
                  <c:v>44092</c:v>
                </c:pt>
                <c:pt idx="116">
                  <c:v>44095</c:v>
                </c:pt>
                <c:pt idx="117">
                  <c:v>44097</c:v>
                </c:pt>
                <c:pt idx="118">
                  <c:v>44098</c:v>
                </c:pt>
                <c:pt idx="119">
                  <c:v>44099</c:v>
                </c:pt>
                <c:pt idx="120">
                  <c:v>44102</c:v>
                </c:pt>
                <c:pt idx="121">
                  <c:v>44103</c:v>
                </c:pt>
                <c:pt idx="122">
                  <c:v>44104</c:v>
                </c:pt>
                <c:pt idx="123">
                  <c:v>44105</c:v>
                </c:pt>
                <c:pt idx="124">
                  <c:v>44106</c:v>
                </c:pt>
                <c:pt idx="125">
                  <c:v>44109</c:v>
                </c:pt>
                <c:pt idx="126">
                  <c:v>44110</c:v>
                </c:pt>
                <c:pt idx="127">
                  <c:v>44111</c:v>
                </c:pt>
                <c:pt idx="128">
                  <c:v>44112</c:v>
                </c:pt>
                <c:pt idx="129">
                  <c:v>44113</c:v>
                </c:pt>
                <c:pt idx="130">
                  <c:v>44116</c:v>
                </c:pt>
                <c:pt idx="131">
                  <c:v>44117</c:v>
                </c:pt>
                <c:pt idx="132">
                  <c:v>44118</c:v>
                </c:pt>
                <c:pt idx="133">
                  <c:v>44119</c:v>
                </c:pt>
                <c:pt idx="134">
                  <c:v>44120</c:v>
                </c:pt>
                <c:pt idx="135">
                  <c:v>44123</c:v>
                </c:pt>
                <c:pt idx="136">
                  <c:v>44124</c:v>
                </c:pt>
                <c:pt idx="137">
                  <c:v>44125</c:v>
                </c:pt>
                <c:pt idx="138">
                  <c:v>44126</c:v>
                </c:pt>
                <c:pt idx="139">
                  <c:v>44127</c:v>
                </c:pt>
                <c:pt idx="140">
                  <c:v>44130</c:v>
                </c:pt>
                <c:pt idx="141">
                  <c:v>44131</c:v>
                </c:pt>
                <c:pt idx="142">
                  <c:v>44132</c:v>
                </c:pt>
                <c:pt idx="143">
                  <c:v>44133</c:v>
                </c:pt>
                <c:pt idx="144">
                  <c:v>44134</c:v>
                </c:pt>
                <c:pt idx="145">
                  <c:v>44137</c:v>
                </c:pt>
                <c:pt idx="146">
                  <c:v>44138</c:v>
                </c:pt>
                <c:pt idx="147">
                  <c:v>44139</c:v>
                </c:pt>
                <c:pt idx="148">
                  <c:v>44140</c:v>
                </c:pt>
                <c:pt idx="149">
                  <c:v>44141</c:v>
                </c:pt>
                <c:pt idx="150">
                  <c:v>44144</c:v>
                </c:pt>
                <c:pt idx="151">
                  <c:v>44145</c:v>
                </c:pt>
                <c:pt idx="152">
                  <c:v>44146</c:v>
                </c:pt>
                <c:pt idx="153">
                  <c:v>44147</c:v>
                </c:pt>
                <c:pt idx="154">
                  <c:v>44148</c:v>
                </c:pt>
                <c:pt idx="155">
                  <c:v>44151</c:v>
                </c:pt>
                <c:pt idx="156">
                  <c:v>44152</c:v>
                </c:pt>
                <c:pt idx="157">
                  <c:v>44153</c:v>
                </c:pt>
                <c:pt idx="158">
                  <c:v>44154</c:v>
                </c:pt>
                <c:pt idx="159">
                  <c:v>44155</c:v>
                </c:pt>
                <c:pt idx="160">
                  <c:v>44158</c:v>
                </c:pt>
                <c:pt idx="161">
                  <c:v>44159</c:v>
                </c:pt>
                <c:pt idx="162">
                  <c:v>44160</c:v>
                </c:pt>
                <c:pt idx="163">
                  <c:v>44161</c:v>
                </c:pt>
                <c:pt idx="164">
                  <c:v>44162</c:v>
                </c:pt>
                <c:pt idx="165">
                  <c:v>44165</c:v>
                </c:pt>
                <c:pt idx="166">
                  <c:v>44166</c:v>
                </c:pt>
                <c:pt idx="167">
                  <c:v>44167</c:v>
                </c:pt>
                <c:pt idx="168">
                  <c:v>44168</c:v>
                </c:pt>
                <c:pt idx="169">
                  <c:v>44169</c:v>
                </c:pt>
                <c:pt idx="170">
                  <c:v>44172</c:v>
                </c:pt>
                <c:pt idx="171">
                  <c:v>44173</c:v>
                </c:pt>
                <c:pt idx="172">
                  <c:v>44174</c:v>
                </c:pt>
                <c:pt idx="173">
                  <c:v>44175</c:v>
                </c:pt>
                <c:pt idx="174">
                  <c:v>44176</c:v>
                </c:pt>
                <c:pt idx="175">
                  <c:v>44179</c:v>
                </c:pt>
                <c:pt idx="176">
                  <c:v>44180</c:v>
                </c:pt>
                <c:pt idx="177">
                  <c:v>44181</c:v>
                </c:pt>
                <c:pt idx="178">
                  <c:v>44182</c:v>
                </c:pt>
                <c:pt idx="179">
                  <c:v>44183</c:v>
                </c:pt>
                <c:pt idx="180">
                  <c:v>44186</c:v>
                </c:pt>
                <c:pt idx="181">
                  <c:v>44187</c:v>
                </c:pt>
                <c:pt idx="182">
                  <c:v>44188</c:v>
                </c:pt>
                <c:pt idx="183">
                  <c:v>44193</c:v>
                </c:pt>
                <c:pt idx="184">
                  <c:v>44194</c:v>
                </c:pt>
                <c:pt idx="185">
                  <c:v>44195</c:v>
                </c:pt>
                <c:pt idx="186">
                  <c:v>44200</c:v>
                </c:pt>
                <c:pt idx="187">
                  <c:v>44201</c:v>
                </c:pt>
                <c:pt idx="188">
                  <c:v>44202</c:v>
                </c:pt>
                <c:pt idx="189">
                  <c:v>44203</c:v>
                </c:pt>
                <c:pt idx="190">
                  <c:v>44204</c:v>
                </c:pt>
                <c:pt idx="191">
                  <c:v>44207</c:v>
                </c:pt>
                <c:pt idx="192">
                  <c:v>44208</c:v>
                </c:pt>
                <c:pt idx="193">
                  <c:v>44209</c:v>
                </c:pt>
                <c:pt idx="194">
                  <c:v>44210</c:v>
                </c:pt>
                <c:pt idx="195">
                  <c:v>44211</c:v>
                </c:pt>
                <c:pt idx="196">
                  <c:v>44214</c:v>
                </c:pt>
                <c:pt idx="197">
                  <c:v>44215</c:v>
                </c:pt>
                <c:pt idx="198">
                  <c:v>44216</c:v>
                </c:pt>
                <c:pt idx="199">
                  <c:v>44217</c:v>
                </c:pt>
                <c:pt idx="200">
                  <c:v>44218</c:v>
                </c:pt>
                <c:pt idx="201">
                  <c:v>44221</c:v>
                </c:pt>
                <c:pt idx="202">
                  <c:v>44222</c:v>
                </c:pt>
                <c:pt idx="203">
                  <c:v>44223</c:v>
                </c:pt>
                <c:pt idx="204">
                  <c:v>44224</c:v>
                </c:pt>
                <c:pt idx="205">
                  <c:v>44225</c:v>
                </c:pt>
                <c:pt idx="206">
                  <c:v>44228</c:v>
                </c:pt>
                <c:pt idx="207">
                  <c:v>44229</c:v>
                </c:pt>
                <c:pt idx="208">
                  <c:v>44230</c:v>
                </c:pt>
                <c:pt idx="209">
                  <c:v>44231</c:v>
                </c:pt>
                <c:pt idx="210">
                  <c:v>44232</c:v>
                </c:pt>
                <c:pt idx="211">
                  <c:v>44235</c:v>
                </c:pt>
                <c:pt idx="212">
                  <c:v>44236</c:v>
                </c:pt>
                <c:pt idx="213">
                  <c:v>44237</c:v>
                </c:pt>
                <c:pt idx="214">
                  <c:v>44238</c:v>
                </c:pt>
                <c:pt idx="215">
                  <c:v>44239</c:v>
                </c:pt>
                <c:pt idx="216">
                  <c:v>44242</c:v>
                </c:pt>
                <c:pt idx="217">
                  <c:v>44243</c:v>
                </c:pt>
                <c:pt idx="218">
                  <c:v>44244</c:v>
                </c:pt>
                <c:pt idx="219">
                  <c:v>44245</c:v>
                </c:pt>
                <c:pt idx="220">
                  <c:v>44246</c:v>
                </c:pt>
                <c:pt idx="221">
                  <c:v>44249</c:v>
                </c:pt>
                <c:pt idx="222">
                  <c:v>44250</c:v>
                </c:pt>
                <c:pt idx="223">
                  <c:v>44251</c:v>
                </c:pt>
                <c:pt idx="224">
                  <c:v>44252</c:v>
                </c:pt>
                <c:pt idx="225">
                  <c:v>44253</c:v>
                </c:pt>
                <c:pt idx="226">
                  <c:v>44256</c:v>
                </c:pt>
                <c:pt idx="227">
                  <c:v>44257</c:v>
                </c:pt>
                <c:pt idx="228">
                  <c:v>44259</c:v>
                </c:pt>
                <c:pt idx="229">
                  <c:v>44260</c:v>
                </c:pt>
                <c:pt idx="230">
                  <c:v>44263</c:v>
                </c:pt>
                <c:pt idx="231">
                  <c:v>44264</c:v>
                </c:pt>
                <c:pt idx="232">
                  <c:v>44265</c:v>
                </c:pt>
                <c:pt idx="233">
                  <c:v>44266</c:v>
                </c:pt>
                <c:pt idx="234">
                  <c:v>44267</c:v>
                </c:pt>
                <c:pt idx="235">
                  <c:v>44270</c:v>
                </c:pt>
                <c:pt idx="236">
                  <c:v>44271</c:v>
                </c:pt>
                <c:pt idx="237">
                  <c:v>44272</c:v>
                </c:pt>
                <c:pt idx="238">
                  <c:v>44273</c:v>
                </c:pt>
                <c:pt idx="239">
                  <c:v>44274</c:v>
                </c:pt>
                <c:pt idx="240">
                  <c:v>44277</c:v>
                </c:pt>
                <c:pt idx="241">
                  <c:v>44278</c:v>
                </c:pt>
                <c:pt idx="242">
                  <c:v>44279</c:v>
                </c:pt>
                <c:pt idx="243">
                  <c:v>44280</c:v>
                </c:pt>
                <c:pt idx="244">
                  <c:v>44281</c:v>
                </c:pt>
                <c:pt idx="245">
                  <c:v>44284</c:v>
                </c:pt>
                <c:pt idx="246">
                  <c:v>44285</c:v>
                </c:pt>
                <c:pt idx="247">
                  <c:v>44286</c:v>
                </c:pt>
                <c:pt idx="248">
                  <c:v>44287</c:v>
                </c:pt>
                <c:pt idx="249">
                  <c:v>44292</c:v>
                </c:pt>
                <c:pt idx="250">
                  <c:v>44293</c:v>
                </c:pt>
                <c:pt idx="251">
                  <c:v>44294</c:v>
                </c:pt>
                <c:pt idx="252">
                  <c:v>44295</c:v>
                </c:pt>
                <c:pt idx="253">
                  <c:v>44298</c:v>
                </c:pt>
                <c:pt idx="254">
                  <c:v>44299</c:v>
                </c:pt>
                <c:pt idx="255">
                  <c:v>44300</c:v>
                </c:pt>
                <c:pt idx="256">
                  <c:v>44301</c:v>
                </c:pt>
                <c:pt idx="257">
                  <c:v>44302</c:v>
                </c:pt>
                <c:pt idx="258">
                  <c:v>44305</c:v>
                </c:pt>
                <c:pt idx="259">
                  <c:v>44306</c:v>
                </c:pt>
                <c:pt idx="260">
                  <c:v>44307</c:v>
                </c:pt>
                <c:pt idx="261">
                  <c:v>44308</c:v>
                </c:pt>
                <c:pt idx="262">
                  <c:v>44309</c:v>
                </c:pt>
                <c:pt idx="263">
                  <c:v>44312</c:v>
                </c:pt>
                <c:pt idx="264">
                  <c:v>44313</c:v>
                </c:pt>
                <c:pt idx="265">
                  <c:v>44314</c:v>
                </c:pt>
                <c:pt idx="266">
                  <c:v>44315</c:v>
                </c:pt>
                <c:pt idx="267">
                  <c:v>44321</c:v>
                </c:pt>
                <c:pt idx="268">
                  <c:v>44323</c:v>
                </c:pt>
                <c:pt idx="269">
                  <c:v>44326</c:v>
                </c:pt>
                <c:pt idx="270">
                  <c:v>44327</c:v>
                </c:pt>
                <c:pt idx="271">
                  <c:v>44328</c:v>
                </c:pt>
                <c:pt idx="272">
                  <c:v>44329</c:v>
                </c:pt>
                <c:pt idx="273">
                  <c:v>44330</c:v>
                </c:pt>
                <c:pt idx="274">
                  <c:v>44333</c:v>
                </c:pt>
                <c:pt idx="275">
                  <c:v>44334</c:v>
                </c:pt>
                <c:pt idx="276">
                  <c:v>44335</c:v>
                </c:pt>
                <c:pt idx="277">
                  <c:v>44336</c:v>
                </c:pt>
                <c:pt idx="278">
                  <c:v>44337</c:v>
                </c:pt>
                <c:pt idx="279">
                  <c:v>44341</c:v>
                </c:pt>
                <c:pt idx="280">
                  <c:v>44342</c:v>
                </c:pt>
                <c:pt idx="281">
                  <c:v>44343</c:v>
                </c:pt>
                <c:pt idx="282">
                  <c:v>44344</c:v>
                </c:pt>
                <c:pt idx="283">
                  <c:v>44347</c:v>
                </c:pt>
                <c:pt idx="284">
                  <c:v>44348</c:v>
                </c:pt>
                <c:pt idx="285">
                  <c:v>44349</c:v>
                </c:pt>
                <c:pt idx="286">
                  <c:v>44350</c:v>
                </c:pt>
                <c:pt idx="287">
                  <c:v>44351</c:v>
                </c:pt>
                <c:pt idx="288">
                  <c:v>44354</c:v>
                </c:pt>
                <c:pt idx="289">
                  <c:v>44355</c:v>
                </c:pt>
                <c:pt idx="290">
                  <c:v>44356</c:v>
                </c:pt>
                <c:pt idx="291">
                  <c:v>44357</c:v>
                </c:pt>
                <c:pt idx="292">
                  <c:v>44358</c:v>
                </c:pt>
                <c:pt idx="293">
                  <c:v>44361</c:v>
                </c:pt>
                <c:pt idx="294">
                  <c:v>44362</c:v>
                </c:pt>
                <c:pt idx="295">
                  <c:v>44363</c:v>
                </c:pt>
                <c:pt idx="296">
                  <c:v>44364</c:v>
                </c:pt>
                <c:pt idx="297">
                  <c:v>44365</c:v>
                </c:pt>
                <c:pt idx="298">
                  <c:v>44368</c:v>
                </c:pt>
                <c:pt idx="299">
                  <c:v>44369</c:v>
                </c:pt>
                <c:pt idx="300">
                  <c:v>44370</c:v>
                </c:pt>
                <c:pt idx="301">
                  <c:v>44371</c:v>
                </c:pt>
                <c:pt idx="302">
                  <c:v>44372</c:v>
                </c:pt>
                <c:pt idx="303">
                  <c:v>44375</c:v>
                </c:pt>
                <c:pt idx="304">
                  <c:v>44376</c:v>
                </c:pt>
                <c:pt idx="305">
                  <c:v>44377</c:v>
                </c:pt>
                <c:pt idx="306">
                  <c:v>44378</c:v>
                </c:pt>
                <c:pt idx="307">
                  <c:v>44379</c:v>
                </c:pt>
                <c:pt idx="308">
                  <c:v>44382</c:v>
                </c:pt>
                <c:pt idx="309">
                  <c:v>44383</c:v>
                </c:pt>
                <c:pt idx="310">
                  <c:v>44384</c:v>
                </c:pt>
                <c:pt idx="311">
                  <c:v>44385</c:v>
                </c:pt>
                <c:pt idx="312">
                  <c:v>44386</c:v>
                </c:pt>
                <c:pt idx="313">
                  <c:v>44389</c:v>
                </c:pt>
                <c:pt idx="314">
                  <c:v>44390</c:v>
                </c:pt>
                <c:pt idx="315">
                  <c:v>44391</c:v>
                </c:pt>
                <c:pt idx="316">
                  <c:v>44392</c:v>
                </c:pt>
                <c:pt idx="317">
                  <c:v>44393</c:v>
                </c:pt>
                <c:pt idx="318">
                  <c:v>44396</c:v>
                </c:pt>
                <c:pt idx="319">
                  <c:v>44397</c:v>
                </c:pt>
                <c:pt idx="320">
                  <c:v>44398</c:v>
                </c:pt>
                <c:pt idx="321">
                  <c:v>44399</c:v>
                </c:pt>
                <c:pt idx="322">
                  <c:v>44400</c:v>
                </c:pt>
                <c:pt idx="323">
                  <c:v>44403</c:v>
                </c:pt>
                <c:pt idx="324">
                  <c:v>44404</c:v>
                </c:pt>
                <c:pt idx="325">
                  <c:v>44405</c:v>
                </c:pt>
                <c:pt idx="326">
                  <c:v>44406</c:v>
                </c:pt>
                <c:pt idx="327">
                  <c:v>44407</c:v>
                </c:pt>
                <c:pt idx="328">
                  <c:v>44410</c:v>
                </c:pt>
                <c:pt idx="329">
                  <c:v>44411</c:v>
                </c:pt>
                <c:pt idx="330">
                  <c:v>44412</c:v>
                </c:pt>
                <c:pt idx="331">
                  <c:v>44413</c:v>
                </c:pt>
                <c:pt idx="332">
                  <c:v>44414</c:v>
                </c:pt>
                <c:pt idx="333">
                  <c:v>44417</c:v>
                </c:pt>
                <c:pt idx="334">
                  <c:v>44418</c:v>
                </c:pt>
                <c:pt idx="335">
                  <c:v>44419</c:v>
                </c:pt>
                <c:pt idx="336">
                  <c:v>44420</c:v>
                </c:pt>
                <c:pt idx="337">
                  <c:v>44421</c:v>
                </c:pt>
                <c:pt idx="338">
                  <c:v>44424</c:v>
                </c:pt>
                <c:pt idx="339">
                  <c:v>44425</c:v>
                </c:pt>
                <c:pt idx="340">
                  <c:v>44426</c:v>
                </c:pt>
                <c:pt idx="341">
                  <c:v>44427</c:v>
                </c:pt>
                <c:pt idx="342">
                  <c:v>44428</c:v>
                </c:pt>
                <c:pt idx="343">
                  <c:v>44431</c:v>
                </c:pt>
                <c:pt idx="344">
                  <c:v>44432</c:v>
                </c:pt>
                <c:pt idx="345">
                  <c:v>44433</c:v>
                </c:pt>
                <c:pt idx="346">
                  <c:v>44434</c:v>
                </c:pt>
                <c:pt idx="347">
                  <c:v>44435</c:v>
                </c:pt>
                <c:pt idx="348">
                  <c:v>44438</c:v>
                </c:pt>
                <c:pt idx="349">
                  <c:v>44439</c:v>
                </c:pt>
                <c:pt idx="350">
                  <c:v>44440</c:v>
                </c:pt>
                <c:pt idx="351">
                  <c:v>44441</c:v>
                </c:pt>
                <c:pt idx="352">
                  <c:v>44442</c:v>
                </c:pt>
                <c:pt idx="353">
                  <c:v>44446</c:v>
                </c:pt>
                <c:pt idx="354">
                  <c:v>44447</c:v>
                </c:pt>
                <c:pt idx="355">
                  <c:v>44448</c:v>
                </c:pt>
                <c:pt idx="356">
                  <c:v>44449</c:v>
                </c:pt>
                <c:pt idx="357">
                  <c:v>44452</c:v>
                </c:pt>
                <c:pt idx="358">
                  <c:v>44453</c:v>
                </c:pt>
                <c:pt idx="359">
                  <c:v>44454</c:v>
                </c:pt>
                <c:pt idx="360">
                  <c:v>44455</c:v>
                </c:pt>
                <c:pt idx="361">
                  <c:v>44456</c:v>
                </c:pt>
                <c:pt idx="362">
                  <c:v>44459</c:v>
                </c:pt>
                <c:pt idx="363">
                  <c:v>44460</c:v>
                </c:pt>
                <c:pt idx="364">
                  <c:v>44462</c:v>
                </c:pt>
                <c:pt idx="365">
                  <c:v>44463</c:v>
                </c:pt>
                <c:pt idx="366">
                  <c:v>44466</c:v>
                </c:pt>
                <c:pt idx="367">
                  <c:v>44467</c:v>
                </c:pt>
                <c:pt idx="368">
                  <c:v>44468</c:v>
                </c:pt>
                <c:pt idx="369">
                  <c:v>44469</c:v>
                </c:pt>
                <c:pt idx="370">
                  <c:v>44470</c:v>
                </c:pt>
                <c:pt idx="371">
                  <c:v>44473</c:v>
                </c:pt>
                <c:pt idx="372">
                  <c:v>44474</c:v>
                </c:pt>
                <c:pt idx="373">
                  <c:v>44475</c:v>
                </c:pt>
                <c:pt idx="374">
                  <c:v>44476</c:v>
                </c:pt>
                <c:pt idx="375">
                  <c:v>44477</c:v>
                </c:pt>
                <c:pt idx="376">
                  <c:v>44480</c:v>
                </c:pt>
                <c:pt idx="377">
                  <c:v>44481</c:v>
                </c:pt>
                <c:pt idx="378">
                  <c:v>44482</c:v>
                </c:pt>
                <c:pt idx="379">
                  <c:v>44483</c:v>
                </c:pt>
                <c:pt idx="380">
                  <c:v>44484</c:v>
                </c:pt>
                <c:pt idx="381">
                  <c:v>44487</c:v>
                </c:pt>
                <c:pt idx="382">
                  <c:v>44488</c:v>
                </c:pt>
                <c:pt idx="383">
                  <c:v>44489</c:v>
                </c:pt>
                <c:pt idx="384">
                  <c:v>44490</c:v>
                </c:pt>
                <c:pt idx="385">
                  <c:v>44491</c:v>
                </c:pt>
                <c:pt idx="386">
                  <c:v>44494</c:v>
                </c:pt>
                <c:pt idx="387">
                  <c:v>44495</c:v>
                </c:pt>
                <c:pt idx="388">
                  <c:v>44496</c:v>
                </c:pt>
                <c:pt idx="389">
                  <c:v>44497</c:v>
                </c:pt>
                <c:pt idx="390">
                  <c:v>44498</c:v>
                </c:pt>
                <c:pt idx="391">
                  <c:v>44501</c:v>
                </c:pt>
                <c:pt idx="392">
                  <c:v>44502</c:v>
                </c:pt>
                <c:pt idx="393">
                  <c:v>44503</c:v>
                </c:pt>
                <c:pt idx="394">
                  <c:v>44504</c:v>
                </c:pt>
                <c:pt idx="395">
                  <c:v>44505</c:v>
                </c:pt>
                <c:pt idx="396">
                  <c:v>44508</c:v>
                </c:pt>
                <c:pt idx="397">
                  <c:v>44509</c:v>
                </c:pt>
                <c:pt idx="398">
                  <c:v>44510</c:v>
                </c:pt>
                <c:pt idx="399">
                  <c:v>44511</c:v>
                </c:pt>
                <c:pt idx="400">
                  <c:v>44512</c:v>
                </c:pt>
                <c:pt idx="401">
                  <c:v>44515</c:v>
                </c:pt>
                <c:pt idx="402">
                  <c:v>44516</c:v>
                </c:pt>
                <c:pt idx="403">
                  <c:v>44517</c:v>
                </c:pt>
                <c:pt idx="404">
                  <c:v>44518</c:v>
                </c:pt>
                <c:pt idx="405">
                  <c:v>44519</c:v>
                </c:pt>
                <c:pt idx="406">
                  <c:v>44522</c:v>
                </c:pt>
                <c:pt idx="407">
                  <c:v>44523</c:v>
                </c:pt>
                <c:pt idx="408">
                  <c:v>44524</c:v>
                </c:pt>
                <c:pt idx="409">
                  <c:v>44525</c:v>
                </c:pt>
                <c:pt idx="410">
                  <c:v>44526</c:v>
                </c:pt>
                <c:pt idx="411">
                  <c:v>44529</c:v>
                </c:pt>
                <c:pt idx="412">
                  <c:v>44530</c:v>
                </c:pt>
                <c:pt idx="413">
                  <c:v>44531</c:v>
                </c:pt>
                <c:pt idx="414">
                  <c:v>44532</c:v>
                </c:pt>
                <c:pt idx="415">
                  <c:v>44533</c:v>
                </c:pt>
                <c:pt idx="416">
                  <c:v>44536</c:v>
                </c:pt>
                <c:pt idx="417">
                  <c:v>44537</c:v>
                </c:pt>
                <c:pt idx="418">
                  <c:v>44538</c:v>
                </c:pt>
                <c:pt idx="419">
                  <c:v>44539</c:v>
                </c:pt>
                <c:pt idx="420">
                  <c:v>44540</c:v>
                </c:pt>
                <c:pt idx="421">
                  <c:v>44543</c:v>
                </c:pt>
                <c:pt idx="422">
                  <c:v>44544</c:v>
                </c:pt>
                <c:pt idx="423">
                  <c:v>44545</c:v>
                </c:pt>
                <c:pt idx="424">
                  <c:v>44546</c:v>
                </c:pt>
                <c:pt idx="425">
                  <c:v>44547</c:v>
                </c:pt>
                <c:pt idx="426">
                  <c:v>44550</c:v>
                </c:pt>
                <c:pt idx="427">
                  <c:v>44551</c:v>
                </c:pt>
                <c:pt idx="428">
                  <c:v>44552</c:v>
                </c:pt>
                <c:pt idx="429">
                  <c:v>44553</c:v>
                </c:pt>
                <c:pt idx="430">
                  <c:v>44559</c:v>
                </c:pt>
                <c:pt idx="431">
                  <c:v>44560</c:v>
                </c:pt>
                <c:pt idx="432">
                  <c:v>44565</c:v>
                </c:pt>
                <c:pt idx="433">
                  <c:v>44566</c:v>
                </c:pt>
                <c:pt idx="434">
                  <c:v>44567</c:v>
                </c:pt>
                <c:pt idx="435">
                  <c:v>44568</c:v>
                </c:pt>
                <c:pt idx="436">
                  <c:v>44571</c:v>
                </c:pt>
                <c:pt idx="437">
                  <c:v>44572</c:v>
                </c:pt>
                <c:pt idx="438">
                  <c:v>44573</c:v>
                </c:pt>
                <c:pt idx="439">
                  <c:v>44574</c:v>
                </c:pt>
                <c:pt idx="440">
                  <c:v>44575</c:v>
                </c:pt>
                <c:pt idx="441">
                  <c:v>44578</c:v>
                </c:pt>
                <c:pt idx="442">
                  <c:v>44579</c:v>
                </c:pt>
                <c:pt idx="443">
                  <c:v>44580</c:v>
                </c:pt>
                <c:pt idx="444">
                  <c:v>44581</c:v>
                </c:pt>
                <c:pt idx="445">
                  <c:v>44582</c:v>
                </c:pt>
                <c:pt idx="446">
                  <c:v>44585</c:v>
                </c:pt>
                <c:pt idx="447">
                  <c:v>44586</c:v>
                </c:pt>
                <c:pt idx="448">
                  <c:v>44587</c:v>
                </c:pt>
                <c:pt idx="449">
                  <c:v>44588</c:v>
                </c:pt>
                <c:pt idx="450">
                  <c:v>44589</c:v>
                </c:pt>
                <c:pt idx="451">
                  <c:v>44592</c:v>
                </c:pt>
                <c:pt idx="452">
                  <c:v>44593</c:v>
                </c:pt>
                <c:pt idx="453">
                  <c:v>44594</c:v>
                </c:pt>
                <c:pt idx="454">
                  <c:v>44595</c:v>
                </c:pt>
                <c:pt idx="455">
                  <c:v>44596</c:v>
                </c:pt>
                <c:pt idx="456">
                  <c:v>44599</c:v>
                </c:pt>
                <c:pt idx="457">
                  <c:v>44600</c:v>
                </c:pt>
                <c:pt idx="458">
                  <c:v>44601</c:v>
                </c:pt>
                <c:pt idx="459">
                  <c:v>44602</c:v>
                </c:pt>
                <c:pt idx="460">
                  <c:v>44603</c:v>
                </c:pt>
                <c:pt idx="461">
                  <c:v>44606</c:v>
                </c:pt>
                <c:pt idx="462">
                  <c:v>44607</c:v>
                </c:pt>
                <c:pt idx="463">
                  <c:v>44608</c:v>
                </c:pt>
                <c:pt idx="464">
                  <c:v>44609</c:v>
                </c:pt>
                <c:pt idx="465">
                  <c:v>44610</c:v>
                </c:pt>
                <c:pt idx="466">
                  <c:v>44613</c:v>
                </c:pt>
                <c:pt idx="467">
                  <c:v>44614</c:v>
                </c:pt>
                <c:pt idx="468">
                  <c:v>44615</c:v>
                </c:pt>
                <c:pt idx="469">
                  <c:v>44616</c:v>
                </c:pt>
                <c:pt idx="470">
                  <c:v>44617</c:v>
                </c:pt>
                <c:pt idx="471">
                  <c:v>44620</c:v>
                </c:pt>
                <c:pt idx="472">
                  <c:v>44621</c:v>
                </c:pt>
                <c:pt idx="473">
                  <c:v>44622</c:v>
                </c:pt>
                <c:pt idx="474">
                  <c:v>44624</c:v>
                </c:pt>
                <c:pt idx="475">
                  <c:v>44627</c:v>
                </c:pt>
                <c:pt idx="476">
                  <c:v>44628</c:v>
                </c:pt>
                <c:pt idx="477">
                  <c:v>44629</c:v>
                </c:pt>
                <c:pt idx="478">
                  <c:v>44630</c:v>
                </c:pt>
                <c:pt idx="479">
                  <c:v>44631</c:v>
                </c:pt>
                <c:pt idx="480">
                  <c:v>44634</c:v>
                </c:pt>
                <c:pt idx="481">
                  <c:v>44635</c:v>
                </c:pt>
                <c:pt idx="482">
                  <c:v>44636</c:v>
                </c:pt>
                <c:pt idx="483">
                  <c:v>44637</c:v>
                </c:pt>
                <c:pt idx="484">
                  <c:v>44638</c:v>
                </c:pt>
                <c:pt idx="485">
                  <c:v>44641</c:v>
                </c:pt>
                <c:pt idx="486">
                  <c:v>44642</c:v>
                </c:pt>
                <c:pt idx="487">
                  <c:v>44643</c:v>
                </c:pt>
                <c:pt idx="488">
                  <c:v>44644</c:v>
                </c:pt>
                <c:pt idx="489">
                  <c:v>44645</c:v>
                </c:pt>
                <c:pt idx="490">
                  <c:v>44648</c:v>
                </c:pt>
                <c:pt idx="491">
                  <c:v>44649</c:v>
                </c:pt>
                <c:pt idx="492">
                  <c:v>44650</c:v>
                </c:pt>
                <c:pt idx="493">
                  <c:v>44651</c:v>
                </c:pt>
                <c:pt idx="494">
                  <c:v>44652</c:v>
                </c:pt>
                <c:pt idx="495">
                  <c:v>44655</c:v>
                </c:pt>
                <c:pt idx="496">
                  <c:v>44656</c:v>
                </c:pt>
                <c:pt idx="497">
                  <c:v>44657</c:v>
                </c:pt>
                <c:pt idx="498">
                  <c:v>44658</c:v>
                </c:pt>
                <c:pt idx="499">
                  <c:v>44659</c:v>
                </c:pt>
                <c:pt idx="500">
                  <c:v>44662</c:v>
                </c:pt>
                <c:pt idx="501">
                  <c:v>44663</c:v>
                </c:pt>
                <c:pt idx="502">
                  <c:v>44664</c:v>
                </c:pt>
                <c:pt idx="503">
                  <c:v>44665</c:v>
                </c:pt>
                <c:pt idx="504">
                  <c:v>44670</c:v>
                </c:pt>
                <c:pt idx="505">
                  <c:v>44671</c:v>
                </c:pt>
                <c:pt idx="506">
                  <c:v>44672</c:v>
                </c:pt>
                <c:pt idx="507">
                  <c:v>44677</c:v>
                </c:pt>
                <c:pt idx="508">
                  <c:v>44678</c:v>
                </c:pt>
                <c:pt idx="509">
                  <c:v>44679</c:v>
                </c:pt>
                <c:pt idx="510">
                  <c:v>44680</c:v>
                </c:pt>
                <c:pt idx="511">
                  <c:v>44684</c:v>
                </c:pt>
                <c:pt idx="512">
                  <c:v>44685</c:v>
                </c:pt>
                <c:pt idx="513">
                  <c:v>44686</c:v>
                </c:pt>
                <c:pt idx="514">
                  <c:v>44690</c:v>
                </c:pt>
                <c:pt idx="515">
                  <c:v>44691</c:v>
                </c:pt>
                <c:pt idx="516">
                  <c:v>44692</c:v>
                </c:pt>
                <c:pt idx="517">
                  <c:v>44693</c:v>
                </c:pt>
                <c:pt idx="518">
                  <c:v>44694</c:v>
                </c:pt>
                <c:pt idx="519">
                  <c:v>44697</c:v>
                </c:pt>
                <c:pt idx="520">
                  <c:v>44698</c:v>
                </c:pt>
                <c:pt idx="521">
                  <c:v>44699</c:v>
                </c:pt>
                <c:pt idx="522">
                  <c:v>44700</c:v>
                </c:pt>
                <c:pt idx="523">
                  <c:v>44701</c:v>
                </c:pt>
                <c:pt idx="524">
                  <c:v>44704</c:v>
                </c:pt>
                <c:pt idx="525">
                  <c:v>44706</c:v>
                </c:pt>
                <c:pt idx="526">
                  <c:v>44707</c:v>
                </c:pt>
                <c:pt idx="527">
                  <c:v>44708</c:v>
                </c:pt>
                <c:pt idx="528">
                  <c:v>44711</c:v>
                </c:pt>
                <c:pt idx="529">
                  <c:v>44712</c:v>
                </c:pt>
                <c:pt idx="530">
                  <c:v>44713</c:v>
                </c:pt>
                <c:pt idx="531">
                  <c:v>44714</c:v>
                </c:pt>
                <c:pt idx="532">
                  <c:v>44715</c:v>
                </c:pt>
                <c:pt idx="533">
                  <c:v>44718</c:v>
                </c:pt>
                <c:pt idx="534">
                  <c:v>44719</c:v>
                </c:pt>
                <c:pt idx="535">
                  <c:v>44720</c:v>
                </c:pt>
                <c:pt idx="536">
                  <c:v>44721</c:v>
                </c:pt>
                <c:pt idx="537">
                  <c:v>44722</c:v>
                </c:pt>
                <c:pt idx="538">
                  <c:v>44725</c:v>
                </c:pt>
                <c:pt idx="539">
                  <c:v>44726</c:v>
                </c:pt>
                <c:pt idx="540">
                  <c:v>44727</c:v>
                </c:pt>
                <c:pt idx="541">
                  <c:v>44728</c:v>
                </c:pt>
                <c:pt idx="542">
                  <c:v>44729</c:v>
                </c:pt>
                <c:pt idx="543">
                  <c:v>44732</c:v>
                </c:pt>
                <c:pt idx="544">
                  <c:v>44733</c:v>
                </c:pt>
                <c:pt idx="545">
                  <c:v>44734</c:v>
                </c:pt>
                <c:pt idx="546">
                  <c:v>44735</c:v>
                </c:pt>
                <c:pt idx="547">
                  <c:v>44736</c:v>
                </c:pt>
                <c:pt idx="548">
                  <c:v>44739</c:v>
                </c:pt>
                <c:pt idx="549">
                  <c:v>44740</c:v>
                </c:pt>
                <c:pt idx="550">
                  <c:v>44741</c:v>
                </c:pt>
                <c:pt idx="551">
                  <c:v>44742</c:v>
                </c:pt>
                <c:pt idx="552">
                  <c:v>44743</c:v>
                </c:pt>
                <c:pt idx="553">
                  <c:v>44746</c:v>
                </c:pt>
                <c:pt idx="554">
                  <c:v>44747</c:v>
                </c:pt>
                <c:pt idx="555">
                  <c:v>44748</c:v>
                </c:pt>
                <c:pt idx="556">
                  <c:v>44749</c:v>
                </c:pt>
                <c:pt idx="557">
                  <c:v>44750</c:v>
                </c:pt>
                <c:pt idx="558">
                  <c:v>44753</c:v>
                </c:pt>
                <c:pt idx="559">
                  <c:v>44754</c:v>
                </c:pt>
                <c:pt idx="560">
                  <c:v>44755</c:v>
                </c:pt>
                <c:pt idx="561">
                  <c:v>44756</c:v>
                </c:pt>
                <c:pt idx="562">
                  <c:v>44757</c:v>
                </c:pt>
                <c:pt idx="563">
                  <c:v>44760</c:v>
                </c:pt>
                <c:pt idx="564">
                  <c:v>44761</c:v>
                </c:pt>
                <c:pt idx="565">
                  <c:v>44762</c:v>
                </c:pt>
                <c:pt idx="566">
                  <c:v>44763</c:v>
                </c:pt>
                <c:pt idx="567">
                  <c:v>44764</c:v>
                </c:pt>
                <c:pt idx="568">
                  <c:v>44767</c:v>
                </c:pt>
                <c:pt idx="569">
                  <c:v>44768</c:v>
                </c:pt>
                <c:pt idx="570">
                  <c:v>44769</c:v>
                </c:pt>
                <c:pt idx="571">
                  <c:v>44770</c:v>
                </c:pt>
                <c:pt idx="572">
                  <c:v>44771</c:v>
                </c:pt>
                <c:pt idx="573">
                  <c:v>44774</c:v>
                </c:pt>
                <c:pt idx="574">
                  <c:v>44775</c:v>
                </c:pt>
                <c:pt idx="575">
                  <c:v>44776</c:v>
                </c:pt>
                <c:pt idx="576">
                  <c:v>44777</c:v>
                </c:pt>
                <c:pt idx="577">
                  <c:v>44778</c:v>
                </c:pt>
                <c:pt idx="578">
                  <c:v>44781</c:v>
                </c:pt>
                <c:pt idx="579">
                  <c:v>44782</c:v>
                </c:pt>
                <c:pt idx="580">
                  <c:v>44783</c:v>
                </c:pt>
                <c:pt idx="581">
                  <c:v>44784</c:v>
                </c:pt>
                <c:pt idx="582">
                  <c:v>44785</c:v>
                </c:pt>
                <c:pt idx="583">
                  <c:v>44788</c:v>
                </c:pt>
                <c:pt idx="584">
                  <c:v>44789</c:v>
                </c:pt>
                <c:pt idx="585">
                  <c:v>44790</c:v>
                </c:pt>
                <c:pt idx="586">
                  <c:v>44791</c:v>
                </c:pt>
                <c:pt idx="587">
                  <c:v>44792</c:v>
                </c:pt>
                <c:pt idx="588">
                  <c:v>44795</c:v>
                </c:pt>
                <c:pt idx="589">
                  <c:v>44796</c:v>
                </c:pt>
                <c:pt idx="590">
                  <c:v>44797</c:v>
                </c:pt>
                <c:pt idx="591">
                  <c:v>44798</c:v>
                </c:pt>
                <c:pt idx="592">
                  <c:v>44799</c:v>
                </c:pt>
                <c:pt idx="593">
                  <c:v>44802</c:v>
                </c:pt>
                <c:pt idx="594">
                  <c:v>44803</c:v>
                </c:pt>
                <c:pt idx="595">
                  <c:v>44804</c:v>
                </c:pt>
                <c:pt idx="596">
                  <c:v>44805</c:v>
                </c:pt>
                <c:pt idx="597">
                  <c:v>44806</c:v>
                </c:pt>
                <c:pt idx="598">
                  <c:v>44809</c:v>
                </c:pt>
                <c:pt idx="599">
                  <c:v>44811</c:v>
                </c:pt>
                <c:pt idx="600">
                  <c:v>44812</c:v>
                </c:pt>
                <c:pt idx="601">
                  <c:v>44813</c:v>
                </c:pt>
                <c:pt idx="602">
                  <c:v>44816</c:v>
                </c:pt>
                <c:pt idx="603">
                  <c:v>44817</c:v>
                </c:pt>
                <c:pt idx="604">
                  <c:v>44818</c:v>
                </c:pt>
                <c:pt idx="605">
                  <c:v>44819</c:v>
                </c:pt>
                <c:pt idx="606">
                  <c:v>44820</c:v>
                </c:pt>
                <c:pt idx="607">
                  <c:v>44823</c:v>
                </c:pt>
                <c:pt idx="608">
                  <c:v>44824</c:v>
                </c:pt>
                <c:pt idx="609">
                  <c:v>44825</c:v>
                </c:pt>
                <c:pt idx="610">
                  <c:v>44827</c:v>
                </c:pt>
                <c:pt idx="611">
                  <c:v>44830</c:v>
                </c:pt>
                <c:pt idx="612">
                  <c:v>44831</c:v>
                </c:pt>
                <c:pt idx="613">
                  <c:v>44832</c:v>
                </c:pt>
                <c:pt idx="614">
                  <c:v>44833</c:v>
                </c:pt>
                <c:pt idx="615">
                  <c:v>44834</c:v>
                </c:pt>
                <c:pt idx="616">
                  <c:v>44837</c:v>
                </c:pt>
                <c:pt idx="617">
                  <c:v>44838</c:v>
                </c:pt>
                <c:pt idx="618">
                  <c:v>44839</c:v>
                </c:pt>
                <c:pt idx="619">
                  <c:v>44840</c:v>
                </c:pt>
                <c:pt idx="620">
                  <c:v>44841</c:v>
                </c:pt>
                <c:pt idx="621">
                  <c:v>44844</c:v>
                </c:pt>
                <c:pt idx="622">
                  <c:v>44845</c:v>
                </c:pt>
                <c:pt idx="623">
                  <c:v>44846</c:v>
                </c:pt>
                <c:pt idx="624">
                  <c:v>44847</c:v>
                </c:pt>
                <c:pt idx="625">
                  <c:v>44848</c:v>
                </c:pt>
                <c:pt idx="626">
                  <c:v>44851</c:v>
                </c:pt>
                <c:pt idx="627">
                  <c:v>44852</c:v>
                </c:pt>
                <c:pt idx="628">
                  <c:v>44853</c:v>
                </c:pt>
                <c:pt idx="629">
                  <c:v>44854</c:v>
                </c:pt>
                <c:pt idx="630">
                  <c:v>44855</c:v>
                </c:pt>
                <c:pt idx="631">
                  <c:v>44858</c:v>
                </c:pt>
                <c:pt idx="632">
                  <c:v>44859</c:v>
                </c:pt>
                <c:pt idx="633">
                  <c:v>44860</c:v>
                </c:pt>
                <c:pt idx="634">
                  <c:v>44861</c:v>
                </c:pt>
                <c:pt idx="635">
                  <c:v>44862</c:v>
                </c:pt>
                <c:pt idx="636">
                  <c:v>44865</c:v>
                </c:pt>
                <c:pt idx="637">
                  <c:v>44866</c:v>
                </c:pt>
                <c:pt idx="638">
                  <c:v>44867</c:v>
                </c:pt>
                <c:pt idx="639">
                  <c:v>44868</c:v>
                </c:pt>
                <c:pt idx="640">
                  <c:v>44869</c:v>
                </c:pt>
                <c:pt idx="641">
                  <c:v>44872</c:v>
                </c:pt>
                <c:pt idx="642">
                  <c:v>44873</c:v>
                </c:pt>
                <c:pt idx="643">
                  <c:v>44874</c:v>
                </c:pt>
                <c:pt idx="644">
                  <c:v>44875</c:v>
                </c:pt>
                <c:pt idx="645">
                  <c:v>44876</c:v>
                </c:pt>
                <c:pt idx="646">
                  <c:v>44879</c:v>
                </c:pt>
                <c:pt idx="647">
                  <c:v>44880</c:v>
                </c:pt>
                <c:pt idx="648">
                  <c:v>44881</c:v>
                </c:pt>
                <c:pt idx="649">
                  <c:v>44882</c:v>
                </c:pt>
                <c:pt idx="650">
                  <c:v>44883</c:v>
                </c:pt>
                <c:pt idx="651">
                  <c:v>44886</c:v>
                </c:pt>
                <c:pt idx="652">
                  <c:v>44887</c:v>
                </c:pt>
                <c:pt idx="653">
                  <c:v>44888</c:v>
                </c:pt>
                <c:pt idx="654">
                  <c:v>44889</c:v>
                </c:pt>
                <c:pt idx="655">
                  <c:v>44890</c:v>
                </c:pt>
                <c:pt idx="656">
                  <c:v>44893</c:v>
                </c:pt>
                <c:pt idx="657">
                  <c:v>44894</c:v>
                </c:pt>
                <c:pt idx="658">
                  <c:v>44895</c:v>
                </c:pt>
                <c:pt idx="659">
                  <c:v>44896</c:v>
                </c:pt>
                <c:pt idx="660">
                  <c:v>44897</c:v>
                </c:pt>
                <c:pt idx="661">
                  <c:v>44900</c:v>
                </c:pt>
                <c:pt idx="662">
                  <c:v>44901</c:v>
                </c:pt>
                <c:pt idx="663">
                  <c:v>44902</c:v>
                </c:pt>
                <c:pt idx="664">
                  <c:v>44903</c:v>
                </c:pt>
                <c:pt idx="665">
                  <c:v>44904</c:v>
                </c:pt>
                <c:pt idx="666">
                  <c:v>44907</c:v>
                </c:pt>
                <c:pt idx="667">
                  <c:v>44908</c:v>
                </c:pt>
                <c:pt idx="668">
                  <c:v>44909</c:v>
                </c:pt>
                <c:pt idx="669">
                  <c:v>44910</c:v>
                </c:pt>
                <c:pt idx="670">
                  <c:v>44911</c:v>
                </c:pt>
                <c:pt idx="671">
                  <c:v>44914</c:v>
                </c:pt>
                <c:pt idx="672">
                  <c:v>44915</c:v>
                </c:pt>
                <c:pt idx="673">
                  <c:v>44916</c:v>
                </c:pt>
                <c:pt idx="674">
                  <c:v>44917</c:v>
                </c:pt>
                <c:pt idx="675">
                  <c:v>44918</c:v>
                </c:pt>
                <c:pt idx="676">
                  <c:v>44924</c:v>
                </c:pt>
                <c:pt idx="677">
                  <c:v>44925</c:v>
                </c:pt>
                <c:pt idx="678">
                  <c:v>44929</c:v>
                </c:pt>
                <c:pt idx="679">
                  <c:v>44930</c:v>
                </c:pt>
                <c:pt idx="680">
                  <c:v>44931</c:v>
                </c:pt>
                <c:pt idx="681">
                  <c:v>44932</c:v>
                </c:pt>
                <c:pt idx="682">
                  <c:v>44935</c:v>
                </c:pt>
                <c:pt idx="683">
                  <c:v>44936</c:v>
                </c:pt>
                <c:pt idx="684">
                  <c:v>44937</c:v>
                </c:pt>
                <c:pt idx="685">
                  <c:v>44938</c:v>
                </c:pt>
                <c:pt idx="686">
                  <c:v>44939</c:v>
                </c:pt>
                <c:pt idx="687">
                  <c:v>44942</c:v>
                </c:pt>
                <c:pt idx="688">
                  <c:v>44943</c:v>
                </c:pt>
                <c:pt idx="689">
                  <c:v>44944</c:v>
                </c:pt>
                <c:pt idx="690">
                  <c:v>44945</c:v>
                </c:pt>
                <c:pt idx="691">
                  <c:v>44946</c:v>
                </c:pt>
                <c:pt idx="692">
                  <c:v>44949</c:v>
                </c:pt>
                <c:pt idx="693">
                  <c:v>44950</c:v>
                </c:pt>
                <c:pt idx="694">
                  <c:v>44951</c:v>
                </c:pt>
                <c:pt idx="695">
                  <c:v>44952</c:v>
                </c:pt>
                <c:pt idx="696">
                  <c:v>44953</c:v>
                </c:pt>
                <c:pt idx="697">
                  <c:v>44956</c:v>
                </c:pt>
                <c:pt idx="698">
                  <c:v>44957</c:v>
                </c:pt>
                <c:pt idx="699">
                  <c:v>44958</c:v>
                </c:pt>
                <c:pt idx="700">
                  <c:v>44959</c:v>
                </c:pt>
                <c:pt idx="701">
                  <c:v>44960</c:v>
                </c:pt>
                <c:pt idx="702">
                  <c:v>44963</c:v>
                </c:pt>
                <c:pt idx="703">
                  <c:v>44964</c:v>
                </c:pt>
                <c:pt idx="704">
                  <c:v>44965</c:v>
                </c:pt>
                <c:pt idx="705">
                  <c:v>44966</c:v>
                </c:pt>
                <c:pt idx="706">
                  <c:v>44967</c:v>
                </c:pt>
                <c:pt idx="707">
                  <c:v>44970</c:v>
                </c:pt>
                <c:pt idx="708">
                  <c:v>44971</c:v>
                </c:pt>
                <c:pt idx="709">
                  <c:v>44972</c:v>
                </c:pt>
                <c:pt idx="710">
                  <c:v>44973</c:v>
                </c:pt>
                <c:pt idx="711">
                  <c:v>44974</c:v>
                </c:pt>
                <c:pt idx="712">
                  <c:v>44977</c:v>
                </c:pt>
                <c:pt idx="713">
                  <c:v>44978</c:v>
                </c:pt>
                <c:pt idx="714">
                  <c:v>44979</c:v>
                </c:pt>
                <c:pt idx="715">
                  <c:v>44980</c:v>
                </c:pt>
                <c:pt idx="716">
                  <c:v>44981</c:v>
                </c:pt>
                <c:pt idx="717">
                  <c:v>44984</c:v>
                </c:pt>
                <c:pt idx="718">
                  <c:v>44985</c:v>
                </c:pt>
                <c:pt idx="719">
                  <c:v>44986</c:v>
                </c:pt>
                <c:pt idx="720">
                  <c:v>44987</c:v>
                </c:pt>
                <c:pt idx="721">
                  <c:v>44991</c:v>
                </c:pt>
                <c:pt idx="722">
                  <c:v>44992</c:v>
                </c:pt>
                <c:pt idx="723">
                  <c:v>44993</c:v>
                </c:pt>
                <c:pt idx="724">
                  <c:v>44994</c:v>
                </c:pt>
                <c:pt idx="725">
                  <c:v>44995</c:v>
                </c:pt>
                <c:pt idx="726">
                  <c:v>44998</c:v>
                </c:pt>
                <c:pt idx="727">
                  <c:v>44999</c:v>
                </c:pt>
                <c:pt idx="728">
                  <c:v>45000</c:v>
                </c:pt>
                <c:pt idx="729">
                  <c:v>45001</c:v>
                </c:pt>
                <c:pt idx="730">
                  <c:v>45002</c:v>
                </c:pt>
                <c:pt idx="731">
                  <c:v>45005</c:v>
                </c:pt>
                <c:pt idx="732">
                  <c:v>45006</c:v>
                </c:pt>
                <c:pt idx="733">
                  <c:v>45007</c:v>
                </c:pt>
                <c:pt idx="734">
                  <c:v>45008</c:v>
                </c:pt>
                <c:pt idx="735">
                  <c:v>45009</c:v>
                </c:pt>
                <c:pt idx="736">
                  <c:v>45012</c:v>
                </c:pt>
                <c:pt idx="737">
                  <c:v>45013</c:v>
                </c:pt>
                <c:pt idx="738">
                  <c:v>45014</c:v>
                </c:pt>
                <c:pt idx="739">
                  <c:v>45015</c:v>
                </c:pt>
                <c:pt idx="740">
                  <c:v>45016</c:v>
                </c:pt>
                <c:pt idx="741">
                  <c:v>45019</c:v>
                </c:pt>
                <c:pt idx="742">
                  <c:v>45020</c:v>
                </c:pt>
                <c:pt idx="743">
                  <c:v>45021</c:v>
                </c:pt>
                <c:pt idx="744">
                  <c:v>45022</c:v>
                </c:pt>
                <c:pt idx="745">
                  <c:v>45027</c:v>
                </c:pt>
                <c:pt idx="746">
                  <c:v>45028</c:v>
                </c:pt>
                <c:pt idx="747">
                  <c:v>45029</c:v>
                </c:pt>
                <c:pt idx="748">
                  <c:v>45034</c:v>
                </c:pt>
                <c:pt idx="749">
                  <c:v>45035</c:v>
                </c:pt>
                <c:pt idx="750">
                  <c:v>45036</c:v>
                </c:pt>
                <c:pt idx="751">
                  <c:v>45037</c:v>
                </c:pt>
                <c:pt idx="752">
                  <c:v>45040</c:v>
                </c:pt>
                <c:pt idx="753">
                  <c:v>45041</c:v>
                </c:pt>
                <c:pt idx="754">
                  <c:v>45042</c:v>
                </c:pt>
                <c:pt idx="755">
                  <c:v>45043</c:v>
                </c:pt>
                <c:pt idx="756">
                  <c:v>45044</c:v>
                </c:pt>
                <c:pt idx="757">
                  <c:v>45048</c:v>
                </c:pt>
                <c:pt idx="758">
                  <c:v>45049</c:v>
                </c:pt>
                <c:pt idx="759">
                  <c:v>45050</c:v>
                </c:pt>
                <c:pt idx="760">
                  <c:v>45051</c:v>
                </c:pt>
                <c:pt idx="761">
                  <c:v>45055</c:v>
                </c:pt>
                <c:pt idx="762">
                  <c:v>45056</c:v>
                </c:pt>
                <c:pt idx="763">
                  <c:v>45057</c:v>
                </c:pt>
                <c:pt idx="764">
                  <c:v>45058</c:v>
                </c:pt>
                <c:pt idx="765">
                  <c:v>45061</c:v>
                </c:pt>
                <c:pt idx="766">
                  <c:v>45062</c:v>
                </c:pt>
                <c:pt idx="767">
                  <c:v>45063</c:v>
                </c:pt>
                <c:pt idx="768">
                  <c:v>45064</c:v>
                </c:pt>
                <c:pt idx="769">
                  <c:v>45065</c:v>
                </c:pt>
                <c:pt idx="770">
                  <c:v>45068</c:v>
                </c:pt>
                <c:pt idx="771">
                  <c:v>45069</c:v>
                </c:pt>
                <c:pt idx="772">
                  <c:v>45071</c:v>
                </c:pt>
                <c:pt idx="773">
                  <c:v>45072</c:v>
                </c:pt>
                <c:pt idx="774">
                  <c:v>45075</c:v>
                </c:pt>
                <c:pt idx="775">
                  <c:v>45076</c:v>
                </c:pt>
                <c:pt idx="776">
                  <c:v>45077</c:v>
                </c:pt>
                <c:pt idx="777">
                  <c:v>45078</c:v>
                </c:pt>
                <c:pt idx="778">
                  <c:v>45079</c:v>
                </c:pt>
                <c:pt idx="779">
                  <c:v>45082</c:v>
                </c:pt>
                <c:pt idx="780">
                  <c:v>45083</c:v>
                </c:pt>
                <c:pt idx="781">
                  <c:v>45084</c:v>
                </c:pt>
                <c:pt idx="782">
                  <c:v>45085</c:v>
                </c:pt>
                <c:pt idx="783">
                  <c:v>45086</c:v>
                </c:pt>
                <c:pt idx="784">
                  <c:v>45089</c:v>
                </c:pt>
                <c:pt idx="785">
                  <c:v>45090</c:v>
                </c:pt>
                <c:pt idx="786">
                  <c:v>45091</c:v>
                </c:pt>
                <c:pt idx="787">
                  <c:v>45092</c:v>
                </c:pt>
                <c:pt idx="788">
                  <c:v>45093</c:v>
                </c:pt>
                <c:pt idx="789">
                  <c:v>45096</c:v>
                </c:pt>
                <c:pt idx="790">
                  <c:v>45097</c:v>
                </c:pt>
                <c:pt idx="791">
                  <c:v>45098</c:v>
                </c:pt>
                <c:pt idx="792">
                  <c:v>45099</c:v>
                </c:pt>
                <c:pt idx="793">
                  <c:v>45100</c:v>
                </c:pt>
                <c:pt idx="794">
                  <c:v>45103</c:v>
                </c:pt>
                <c:pt idx="795">
                  <c:v>45104</c:v>
                </c:pt>
                <c:pt idx="796">
                  <c:v>45105</c:v>
                </c:pt>
                <c:pt idx="797">
                  <c:v>45106</c:v>
                </c:pt>
                <c:pt idx="798">
                  <c:v>45107</c:v>
                </c:pt>
                <c:pt idx="799">
                  <c:v>45110</c:v>
                </c:pt>
                <c:pt idx="800">
                  <c:v>45111</c:v>
                </c:pt>
                <c:pt idx="801">
                  <c:v>45112</c:v>
                </c:pt>
                <c:pt idx="802">
                  <c:v>45113</c:v>
                </c:pt>
                <c:pt idx="803">
                  <c:v>45114</c:v>
                </c:pt>
                <c:pt idx="804">
                  <c:v>45117</c:v>
                </c:pt>
                <c:pt idx="805">
                  <c:v>45118</c:v>
                </c:pt>
                <c:pt idx="806">
                  <c:v>45119</c:v>
                </c:pt>
                <c:pt idx="807">
                  <c:v>45120</c:v>
                </c:pt>
                <c:pt idx="808">
                  <c:v>45121</c:v>
                </c:pt>
                <c:pt idx="809">
                  <c:v>45124</c:v>
                </c:pt>
                <c:pt idx="810">
                  <c:v>45125</c:v>
                </c:pt>
                <c:pt idx="811">
                  <c:v>45126</c:v>
                </c:pt>
                <c:pt idx="812">
                  <c:v>45127</c:v>
                </c:pt>
                <c:pt idx="813">
                  <c:v>45128</c:v>
                </c:pt>
                <c:pt idx="814">
                  <c:v>45131</c:v>
                </c:pt>
                <c:pt idx="815">
                  <c:v>45132</c:v>
                </c:pt>
                <c:pt idx="816">
                  <c:v>45133</c:v>
                </c:pt>
                <c:pt idx="817">
                  <c:v>45134</c:v>
                </c:pt>
                <c:pt idx="818">
                  <c:v>45135</c:v>
                </c:pt>
                <c:pt idx="819">
                  <c:v>45138</c:v>
                </c:pt>
                <c:pt idx="820">
                  <c:v>45139</c:v>
                </c:pt>
                <c:pt idx="821">
                  <c:v>45140</c:v>
                </c:pt>
                <c:pt idx="822">
                  <c:v>45141</c:v>
                </c:pt>
                <c:pt idx="823">
                  <c:v>45142</c:v>
                </c:pt>
                <c:pt idx="824">
                  <c:v>45145</c:v>
                </c:pt>
                <c:pt idx="825">
                  <c:v>45146</c:v>
                </c:pt>
                <c:pt idx="826">
                  <c:v>45147</c:v>
                </c:pt>
                <c:pt idx="827">
                  <c:v>45148</c:v>
                </c:pt>
                <c:pt idx="828">
                  <c:v>45149</c:v>
                </c:pt>
                <c:pt idx="829">
                  <c:v>45152</c:v>
                </c:pt>
                <c:pt idx="830">
                  <c:v>45153</c:v>
                </c:pt>
                <c:pt idx="831">
                  <c:v>45154</c:v>
                </c:pt>
                <c:pt idx="832">
                  <c:v>45155</c:v>
                </c:pt>
                <c:pt idx="833">
                  <c:v>45156</c:v>
                </c:pt>
                <c:pt idx="834">
                  <c:v>45159</c:v>
                </c:pt>
                <c:pt idx="835">
                  <c:v>45160</c:v>
                </c:pt>
                <c:pt idx="836">
                  <c:v>45161</c:v>
                </c:pt>
                <c:pt idx="837">
                  <c:v>45162</c:v>
                </c:pt>
                <c:pt idx="838">
                  <c:v>45163</c:v>
                </c:pt>
                <c:pt idx="839">
                  <c:v>45166</c:v>
                </c:pt>
                <c:pt idx="840">
                  <c:v>45167</c:v>
                </c:pt>
                <c:pt idx="841">
                  <c:v>45168</c:v>
                </c:pt>
                <c:pt idx="842">
                  <c:v>45169</c:v>
                </c:pt>
                <c:pt idx="843">
                  <c:v>45170</c:v>
                </c:pt>
                <c:pt idx="844">
                  <c:v>45173</c:v>
                </c:pt>
                <c:pt idx="845">
                  <c:v>45174</c:v>
                </c:pt>
                <c:pt idx="846">
                  <c:v>45176</c:v>
                </c:pt>
                <c:pt idx="847">
                  <c:v>45177</c:v>
                </c:pt>
                <c:pt idx="848">
                  <c:v>45180</c:v>
                </c:pt>
                <c:pt idx="849">
                  <c:v>45181</c:v>
                </c:pt>
                <c:pt idx="850">
                  <c:v>45182</c:v>
                </c:pt>
                <c:pt idx="851">
                  <c:v>45183</c:v>
                </c:pt>
                <c:pt idx="852">
                  <c:v>45184</c:v>
                </c:pt>
                <c:pt idx="853">
                  <c:v>45187</c:v>
                </c:pt>
                <c:pt idx="854">
                  <c:v>45188</c:v>
                </c:pt>
                <c:pt idx="855">
                  <c:v>45189</c:v>
                </c:pt>
                <c:pt idx="856">
                  <c:v>45190</c:v>
                </c:pt>
                <c:pt idx="857">
                  <c:v>45194</c:v>
                </c:pt>
                <c:pt idx="858">
                  <c:v>45195</c:v>
                </c:pt>
                <c:pt idx="859">
                  <c:v>45196</c:v>
                </c:pt>
                <c:pt idx="860">
                  <c:v>45197</c:v>
                </c:pt>
                <c:pt idx="861">
                  <c:v>45198</c:v>
                </c:pt>
                <c:pt idx="862">
                  <c:v>45201</c:v>
                </c:pt>
                <c:pt idx="863">
                  <c:v>45202</c:v>
                </c:pt>
                <c:pt idx="864">
                  <c:v>45203</c:v>
                </c:pt>
                <c:pt idx="865">
                  <c:v>45204</c:v>
                </c:pt>
                <c:pt idx="866">
                  <c:v>45205</c:v>
                </c:pt>
                <c:pt idx="867">
                  <c:v>45208</c:v>
                </c:pt>
                <c:pt idx="868">
                  <c:v>45209</c:v>
                </c:pt>
                <c:pt idx="869">
                  <c:v>45210</c:v>
                </c:pt>
                <c:pt idx="870">
                  <c:v>45211</c:v>
                </c:pt>
                <c:pt idx="871">
                  <c:v>45212</c:v>
                </c:pt>
                <c:pt idx="872">
                  <c:v>45215</c:v>
                </c:pt>
                <c:pt idx="873">
                  <c:v>45216</c:v>
                </c:pt>
                <c:pt idx="874">
                  <c:v>45217</c:v>
                </c:pt>
                <c:pt idx="875">
                  <c:v>45218</c:v>
                </c:pt>
                <c:pt idx="876">
                  <c:v>45219</c:v>
                </c:pt>
                <c:pt idx="877">
                  <c:v>45222</c:v>
                </c:pt>
                <c:pt idx="878">
                  <c:v>45223</c:v>
                </c:pt>
                <c:pt idx="879">
                  <c:v>45224</c:v>
                </c:pt>
                <c:pt idx="880">
                  <c:v>45225</c:v>
                </c:pt>
                <c:pt idx="881">
                  <c:v>45226</c:v>
                </c:pt>
                <c:pt idx="882">
                  <c:v>45229</c:v>
                </c:pt>
                <c:pt idx="883">
                  <c:v>45230</c:v>
                </c:pt>
                <c:pt idx="884">
                  <c:v>45231</c:v>
                </c:pt>
                <c:pt idx="885">
                  <c:v>45232</c:v>
                </c:pt>
                <c:pt idx="886">
                  <c:v>45233</c:v>
                </c:pt>
                <c:pt idx="887">
                  <c:v>45236</c:v>
                </c:pt>
                <c:pt idx="888">
                  <c:v>45237</c:v>
                </c:pt>
                <c:pt idx="889">
                  <c:v>45238</c:v>
                </c:pt>
                <c:pt idx="890">
                  <c:v>45239</c:v>
                </c:pt>
                <c:pt idx="891">
                  <c:v>45240</c:v>
                </c:pt>
                <c:pt idx="892">
                  <c:v>45243</c:v>
                </c:pt>
                <c:pt idx="893">
                  <c:v>45244</c:v>
                </c:pt>
                <c:pt idx="894">
                  <c:v>45245</c:v>
                </c:pt>
                <c:pt idx="895">
                  <c:v>45246</c:v>
                </c:pt>
                <c:pt idx="896">
                  <c:v>45247</c:v>
                </c:pt>
                <c:pt idx="897">
                  <c:v>45250</c:v>
                </c:pt>
                <c:pt idx="898">
                  <c:v>45251</c:v>
                </c:pt>
                <c:pt idx="899">
                  <c:v>45252</c:v>
                </c:pt>
                <c:pt idx="900">
                  <c:v>45253</c:v>
                </c:pt>
                <c:pt idx="901">
                  <c:v>45254</c:v>
                </c:pt>
                <c:pt idx="902">
                  <c:v>45257</c:v>
                </c:pt>
                <c:pt idx="903">
                  <c:v>45258</c:v>
                </c:pt>
                <c:pt idx="904">
                  <c:v>45259</c:v>
                </c:pt>
                <c:pt idx="905">
                  <c:v>45260</c:v>
                </c:pt>
                <c:pt idx="906">
                  <c:v>45261</c:v>
                </c:pt>
                <c:pt idx="907">
                  <c:v>45264</c:v>
                </c:pt>
                <c:pt idx="908">
                  <c:v>45265</c:v>
                </c:pt>
                <c:pt idx="909">
                  <c:v>45266</c:v>
                </c:pt>
                <c:pt idx="910">
                  <c:v>45267</c:v>
                </c:pt>
                <c:pt idx="911">
                  <c:v>45268</c:v>
                </c:pt>
                <c:pt idx="912">
                  <c:v>45271</c:v>
                </c:pt>
                <c:pt idx="913">
                  <c:v>45272</c:v>
                </c:pt>
                <c:pt idx="914">
                  <c:v>45273</c:v>
                </c:pt>
                <c:pt idx="915">
                  <c:v>45274</c:v>
                </c:pt>
                <c:pt idx="916">
                  <c:v>45275</c:v>
                </c:pt>
                <c:pt idx="917">
                  <c:v>45278</c:v>
                </c:pt>
                <c:pt idx="918">
                  <c:v>45279</c:v>
                </c:pt>
                <c:pt idx="919">
                  <c:v>45280</c:v>
                </c:pt>
                <c:pt idx="920">
                  <c:v>45281</c:v>
                </c:pt>
                <c:pt idx="921">
                  <c:v>45282</c:v>
                </c:pt>
                <c:pt idx="922">
                  <c:v>45288</c:v>
                </c:pt>
                <c:pt idx="923">
                  <c:v>45289</c:v>
                </c:pt>
                <c:pt idx="924">
                  <c:v>45293</c:v>
                </c:pt>
                <c:pt idx="925">
                  <c:v>45294</c:v>
                </c:pt>
                <c:pt idx="926">
                  <c:v>45295</c:v>
                </c:pt>
                <c:pt idx="927">
                  <c:v>45296</c:v>
                </c:pt>
                <c:pt idx="928">
                  <c:v>45299</c:v>
                </c:pt>
                <c:pt idx="929">
                  <c:v>45300</c:v>
                </c:pt>
                <c:pt idx="930">
                  <c:v>45301</c:v>
                </c:pt>
                <c:pt idx="931">
                  <c:v>45302</c:v>
                </c:pt>
                <c:pt idx="932">
                  <c:v>45303</c:v>
                </c:pt>
                <c:pt idx="933">
                  <c:v>45306</c:v>
                </c:pt>
                <c:pt idx="934">
                  <c:v>45307</c:v>
                </c:pt>
                <c:pt idx="935">
                  <c:v>45308</c:v>
                </c:pt>
                <c:pt idx="936">
                  <c:v>45309</c:v>
                </c:pt>
                <c:pt idx="937">
                  <c:v>45310</c:v>
                </c:pt>
                <c:pt idx="938">
                  <c:v>45313</c:v>
                </c:pt>
                <c:pt idx="939">
                  <c:v>45314</c:v>
                </c:pt>
                <c:pt idx="940">
                  <c:v>45315</c:v>
                </c:pt>
                <c:pt idx="941">
                  <c:v>45316</c:v>
                </c:pt>
                <c:pt idx="942">
                  <c:v>45317</c:v>
                </c:pt>
                <c:pt idx="943">
                  <c:v>45320</c:v>
                </c:pt>
                <c:pt idx="944">
                  <c:v>45321</c:v>
                </c:pt>
                <c:pt idx="945">
                  <c:v>45322</c:v>
                </c:pt>
                <c:pt idx="946">
                  <c:v>45323</c:v>
                </c:pt>
                <c:pt idx="947">
                  <c:v>45324</c:v>
                </c:pt>
                <c:pt idx="948">
                  <c:v>45327</c:v>
                </c:pt>
                <c:pt idx="949">
                  <c:v>45328</c:v>
                </c:pt>
                <c:pt idx="950">
                  <c:v>45329</c:v>
                </c:pt>
                <c:pt idx="951">
                  <c:v>45330</c:v>
                </c:pt>
                <c:pt idx="952">
                  <c:v>45331</c:v>
                </c:pt>
                <c:pt idx="953">
                  <c:v>45334</c:v>
                </c:pt>
                <c:pt idx="954">
                  <c:v>45335</c:v>
                </c:pt>
                <c:pt idx="955">
                  <c:v>45336</c:v>
                </c:pt>
                <c:pt idx="956">
                  <c:v>45337</c:v>
                </c:pt>
                <c:pt idx="957">
                  <c:v>45338</c:v>
                </c:pt>
                <c:pt idx="958">
                  <c:v>45341</c:v>
                </c:pt>
                <c:pt idx="959">
                  <c:v>45342</c:v>
                </c:pt>
                <c:pt idx="960">
                  <c:v>45343</c:v>
                </c:pt>
                <c:pt idx="961">
                  <c:v>45344</c:v>
                </c:pt>
                <c:pt idx="962">
                  <c:v>45345</c:v>
                </c:pt>
                <c:pt idx="963">
                  <c:v>45348</c:v>
                </c:pt>
                <c:pt idx="964">
                  <c:v>45349</c:v>
                </c:pt>
                <c:pt idx="965">
                  <c:v>45350</c:v>
                </c:pt>
                <c:pt idx="966">
                  <c:v>45351</c:v>
                </c:pt>
                <c:pt idx="967">
                  <c:v>45352</c:v>
                </c:pt>
                <c:pt idx="968">
                  <c:v>45356</c:v>
                </c:pt>
                <c:pt idx="969">
                  <c:v>45357</c:v>
                </c:pt>
                <c:pt idx="970">
                  <c:v>45358</c:v>
                </c:pt>
                <c:pt idx="971">
                  <c:v>44995</c:v>
                </c:pt>
                <c:pt idx="972">
                  <c:v>44998</c:v>
                </c:pt>
                <c:pt idx="973">
                  <c:v>44999</c:v>
                </c:pt>
                <c:pt idx="974">
                  <c:v>45000</c:v>
                </c:pt>
                <c:pt idx="975">
                  <c:v>45001</c:v>
                </c:pt>
                <c:pt idx="976">
                  <c:v>45002</c:v>
                </c:pt>
                <c:pt idx="977">
                  <c:v>45005</c:v>
                </c:pt>
                <c:pt idx="978">
                  <c:v>45006</c:v>
                </c:pt>
                <c:pt idx="979">
                  <c:v>45007</c:v>
                </c:pt>
                <c:pt idx="980">
                  <c:v>45008</c:v>
                </c:pt>
                <c:pt idx="981">
                  <c:v>45009</c:v>
                </c:pt>
                <c:pt idx="982">
                  <c:v>45012</c:v>
                </c:pt>
                <c:pt idx="983">
                  <c:v>45013</c:v>
                </c:pt>
                <c:pt idx="984">
                  <c:v>45014</c:v>
                </c:pt>
                <c:pt idx="985">
                  <c:v>45015</c:v>
                </c:pt>
                <c:pt idx="986">
                  <c:v>45016</c:v>
                </c:pt>
                <c:pt idx="987">
                  <c:v>45019</c:v>
                </c:pt>
                <c:pt idx="988">
                  <c:v>45020</c:v>
                </c:pt>
                <c:pt idx="989">
                  <c:v>45021</c:v>
                </c:pt>
                <c:pt idx="990">
                  <c:v>45022</c:v>
                </c:pt>
                <c:pt idx="991">
                  <c:v>45027</c:v>
                </c:pt>
                <c:pt idx="992">
                  <c:v>45028</c:v>
                </c:pt>
                <c:pt idx="993">
                  <c:v>45029</c:v>
                </c:pt>
                <c:pt idx="994">
                  <c:v>45034</c:v>
                </c:pt>
                <c:pt idx="995">
                  <c:v>45035</c:v>
                </c:pt>
                <c:pt idx="996">
                  <c:v>45036</c:v>
                </c:pt>
                <c:pt idx="997">
                  <c:v>45037</c:v>
                </c:pt>
                <c:pt idx="998">
                  <c:v>45040</c:v>
                </c:pt>
                <c:pt idx="999">
                  <c:v>45041</c:v>
                </c:pt>
                <c:pt idx="1000">
                  <c:v>45042</c:v>
                </c:pt>
                <c:pt idx="1001">
                  <c:v>45043</c:v>
                </c:pt>
                <c:pt idx="1002">
                  <c:v>45044</c:v>
                </c:pt>
                <c:pt idx="1003">
                  <c:v>45048</c:v>
                </c:pt>
                <c:pt idx="1004">
                  <c:v>45049</c:v>
                </c:pt>
                <c:pt idx="1005">
                  <c:v>45050</c:v>
                </c:pt>
                <c:pt idx="1006">
                  <c:v>45051</c:v>
                </c:pt>
                <c:pt idx="1007">
                  <c:v>45055</c:v>
                </c:pt>
                <c:pt idx="1008">
                  <c:v>45056</c:v>
                </c:pt>
                <c:pt idx="1009">
                  <c:v>45057</c:v>
                </c:pt>
                <c:pt idx="1010">
                  <c:v>45058</c:v>
                </c:pt>
                <c:pt idx="1011">
                  <c:v>45061</c:v>
                </c:pt>
                <c:pt idx="1012">
                  <c:v>45062</c:v>
                </c:pt>
                <c:pt idx="1013">
                  <c:v>45063</c:v>
                </c:pt>
                <c:pt idx="1014">
                  <c:v>45064</c:v>
                </c:pt>
                <c:pt idx="1015">
                  <c:v>45065</c:v>
                </c:pt>
                <c:pt idx="1016">
                  <c:v>45068</c:v>
                </c:pt>
                <c:pt idx="1017">
                  <c:v>45069</c:v>
                </c:pt>
                <c:pt idx="1018">
                  <c:v>45071</c:v>
                </c:pt>
                <c:pt idx="1019">
                  <c:v>45072</c:v>
                </c:pt>
                <c:pt idx="1020">
                  <c:v>45075</c:v>
                </c:pt>
                <c:pt idx="1021">
                  <c:v>45076</c:v>
                </c:pt>
                <c:pt idx="1022">
                  <c:v>45077</c:v>
                </c:pt>
                <c:pt idx="1023">
                  <c:v>45078</c:v>
                </c:pt>
                <c:pt idx="1024">
                  <c:v>45079</c:v>
                </c:pt>
                <c:pt idx="1025">
                  <c:v>45082</c:v>
                </c:pt>
                <c:pt idx="1026">
                  <c:v>45083</c:v>
                </c:pt>
                <c:pt idx="1027">
                  <c:v>45084</c:v>
                </c:pt>
                <c:pt idx="1028">
                  <c:v>45085</c:v>
                </c:pt>
                <c:pt idx="1029">
                  <c:v>45086</c:v>
                </c:pt>
                <c:pt idx="1030">
                  <c:v>45089</c:v>
                </c:pt>
                <c:pt idx="1031">
                  <c:v>45090</c:v>
                </c:pt>
                <c:pt idx="1032">
                  <c:v>45091</c:v>
                </c:pt>
                <c:pt idx="1033">
                  <c:v>45092</c:v>
                </c:pt>
                <c:pt idx="1034">
                  <c:v>45093</c:v>
                </c:pt>
                <c:pt idx="1035">
                  <c:v>45096</c:v>
                </c:pt>
                <c:pt idx="1036">
                  <c:v>45097</c:v>
                </c:pt>
                <c:pt idx="1037">
                  <c:v>45098</c:v>
                </c:pt>
                <c:pt idx="1038">
                  <c:v>45099</c:v>
                </c:pt>
                <c:pt idx="1039">
                  <c:v>45100</c:v>
                </c:pt>
                <c:pt idx="1040">
                  <c:v>45103</c:v>
                </c:pt>
                <c:pt idx="1041">
                  <c:v>45104</c:v>
                </c:pt>
                <c:pt idx="1042">
                  <c:v>45105</c:v>
                </c:pt>
                <c:pt idx="1043">
                  <c:v>45106</c:v>
                </c:pt>
                <c:pt idx="1044">
                  <c:v>45107</c:v>
                </c:pt>
                <c:pt idx="1045">
                  <c:v>45110</c:v>
                </c:pt>
                <c:pt idx="1046">
                  <c:v>45111</c:v>
                </c:pt>
                <c:pt idx="1047">
                  <c:v>45112</c:v>
                </c:pt>
                <c:pt idx="1048">
                  <c:v>45113</c:v>
                </c:pt>
                <c:pt idx="1049">
                  <c:v>45114</c:v>
                </c:pt>
                <c:pt idx="1050">
                  <c:v>45117</c:v>
                </c:pt>
                <c:pt idx="1051">
                  <c:v>45118</c:v>
                </c:pt>
                <c:pt idx="1052">
                  <c:v>45119</c:v>
                </c:pt>
                <c:pt idx="1053">
                  <c:v>45120</c:v>
                </c:pt>
                <c:pt idx="1054">
                  <c:v>45121</c:v>
                </c:pt>
                <c:pt idx="1055">
                  <c:v>45124</c:v>
                </c:pt>
                <c:pt idx="1056">
                  <c:v>45125</c:v>
                </c:pt>
                <c:pt idx="1057">
                  <c:v>45126</c:v>
                </c:pt>
                <c:pt idx="1058">
                  <c:v>45127</c:v>
                </c:pt>
                <c:pt idx="1059">
                  <c:v>45128</c:v>
                </c:pt>
                <c:pt idx="1060">
                  <c:v>45131</c:v>
                </c:pt>
                <c:pt idx="1061">
                  <c:v>45132</c:v>
                </c:pt>
                <c:pt idx="1062">
                  <c:v>45133</c:v>
                </c:pt>
                <c:pt idx="1063">
                  <c:v>45134</c:v>
                </c:pt>
                <c:pt idx="1064">
                  <c:v>45135</c:v>
                </c:pt>
                <c:pt idx="1065">
                  <c:v>45138</c:v>
                </c:pt>
                <c:pt idx="1066">
                  <c:v>45139</c:v>
                </c:pt>
                <c:pt idx="1067">
                  <c:v>45140</c:v>
                </c:pt>
                <c:pt idx="1068">
                  <c:v>45141</c:v>
                </c:pt>
                <c:pt idx="1069">
                  <c:v>45142</c:v>
                </c:pt>
                <c:pt idx="1070">
                  <c:v>45145</c:v>
                </c:pt>
                <c:pt idx="1071">
                  <c:v>45146</c:v>
                </c:pt>
                <c:pt idx="1072">
                  <c:v>45147</c:v>
                </c:pt>
                <c:pt idx="1073">
                  <c:v>45148</c:v>
                </c:pt>
                <c:pt idx="1074">
                  <c:v>45149</c:v>
                </c:pt>
                <c:pt idx="1075">
                  <c:v>45152</c:v>
                </c:pt>
                <c:pt idx="1076">
                  <c:v>45153</c:v>
                </c:pt>
                <c:pt idx="1077">
                  <c:v>45154</c:v>
                </c:pt>
                <c:pt idx="1078">
                  <c:v>45155</c:v>
                </c:pt>
                <c:pt idx="1079">
                  <c:v>45156</c:v>
                </c:pt>
                <c:pt idx="1080">
                  <c:v>45159</c:v>
                </c:pt>
                <c:pt idx="1081">
                  <c:v>45160</c:v>
                </c:pt>
                <c:pt idx="1082">
                  <c:v>45161</c:v>
                </c:pt>
                <c:pt idx="1083">
                  <c:v>45162</c:v>
                </c:pt>
                <c:pt idx="1084">
                  <c:v>45163</c:v>
                </c:pt>
                <c:pt idx="1085">
                  <c:v>45166</c:v>
                </c:pt>
                <c:pt idx="1086">
                  <c:v>45167</c:v>
                </c:pt>
                <c:pt idx="1087">
                  <c:v>45168</c:v>
                </c:pt>
                <c:pt idx="1088">
                  <c:v>45169</c:v>
                </c:pt>
                <c:pt idx="1089">
                  <c:v>45170</c:v>
                </c:pt>
                <c:pt idx="1090">
                  <c:v>45173</c:v>
                </c:pt>
                <c:pt idx="1091">
                  <c:v>45174</c:v>
                </c:pt>
                <c:pt idx="1092">
                  <c:v>45176</c:v>
                </c:pt>
                <c:pt idx="1093">
                  <c:v>45177</c:v>
                </c:pt>
                <c:pt idx="1094">
                  <c:v>45180</c:v>
                </c:pt>
                <c:pt idx="1095">
                  <c:v>45181</c:v>
                </c:pt>
                <c:pt idx="1096">
                  <c:v>45182</c:v>
                </c:pt>
                <c:pt idx="1097">
                  <c:v>45183</c:v>
                </c:pt>
                <c:pt idx="1098">
                  <c:v>45184</c:v>
                </c:pt>
                <c:pt idx="1099">
                  <c:v>45187</c:v>
                </c:pt>
                <c:pt idx="1100">
                  <c:v>45188</c:v>
                </c:pt>
                <c:pt idx="1101">
                  <c:v>45189</c:v>
                </c:pt>
                <c:pt idx="1102">
                  <c:v>45190</c:v>
                </c:pt>
                <c:pt idx="1103">
                  <c:v>45194</c:v>
                </c:pt>
                <c:pt idx="1104">
                  <c:v>45195</c:v>
                </c:pt>
                <c:pt idx="1105">
                  <c:v>45196</c:v>
                </c:pt>
                <c:pt idx="1106">
                  <c:v>45197</c:v>
                </c:pt>
                <c:pt idx="1107">
                  <c:v>45198</c:v>
                </c:pt>
                <c:pt idx="1108">
                  <c:v>45201</c:v>
                </c:pt>
                <c:pt idx="1109">
                  <c:v>45202</c:v>
                </c:pt>
                <c:pt idx="1110">
                  <c:v>45203</c:v>
                </c:pt>
                <c:pt idx="1111">
                  <c:v>45204</c:v>
                </c:pt>
                <c:pt idx="1112">
                  <c:v>45205</c:v>
                </c:pt>
                <c:pt idx="1113">
                  <c:v>45208</c:v>
                </c:pt>
                <c:pt idx="1114">
                  <c:v>45209</c:v>
                </c:pt>
                <c:pt idx="1115">
                  <c:v>45210</c:v>
                </c:pt>
                <c:pt idx="1116">
                  <c:v>45211</c:v>
                </c:pt>
                <c:pt idx="1117">
                  <c:v>45212</c:v>
                </c:pt>
                <c:pt idx="1118">
                  <c:v>45215</c:v>
                </c:pt>
                <c:pt idx="1119">
                  <c:v>45216</c:v>
                </c:pt>
                <c:pt idx="1120">
                  <c:v>45217</c:v>
                </c:pt>
                <c:pt idx="1121">
                  <c:v>45218</c:v>
                </c:pt>
                <c:pt idx="1122">
                  <c:v>45219</c:v>
                </c:pt>
                <c:pt idx="1123">
                  <c:v>45222</c:v>
                </c:pt>
                <c:pt idx="1124">
                  <c:v>45223</c:v>
                </c:pt>
                <c:pt idx="1125">
                  <c:v>45224</c:v>
                </c:pt>
                <c:pt idx="1126">
                  <c:v>45225</c:v>
                </c:pt>
                <c:pt idx="1127">
                  <c:v>45226</c:v>
                </c:pt>
                <c:pt idx="1128">
                  <c:v>45229</c:v>
                </c:pt>
                <c:pt idx="1129">
                  <c:v>45230</c:v>
                </c:pt>
                <c:pt idx="1130">
                  <c:v>45231</c:v>
                </c:pt>
                <c:pt idx="1131">
                  <c:v>45232</c:v>
                </c:pt>
                <c:pt idx="1132">
                  <c:v>45233</c:v>
                </c:pt>
                <c:pt idx="1133">
                  <c:v>45236</c:v>
                </c:pt>
                <c:pt idx="1134">
                  <c:v>45237</c:v>
                </c:pt>
                <c:pt idx="1135">
                  <c:v>45238</c:v>
                </c:pt>
                <c:pt idx="1136">
                  <c:v>45239</c:v>
                </c:pt>
                <c:pt idx="1137">
                  <c:v>45240</c:v>
                </c:pt>
                <c:pt idx="1138">
                  <c:v>45243</c:v>
                </c:pt>
                <c:pt idx="1139">
                  <c:v>45244</c:v>
                </c:pt>
                <c:pt idx="1140">
                  <c:v>45245</c:v>
                </c:pt>
                <c:pt idx="1141">
                  <c:v>45246</c:v>
                </c:pt>
                <c:pt idx="1142">
                  <c:v>45247</c:v>
                </c:pt>
                <c:pt idx="1143">
                  <c:v>45250</c:v>
                </c:pt>
                <c:pt idx="1144">
                  <c:v>45251</c:v>
                </c:pt>
                <c:pt idx="1145">
                  <c:v>45252</c:v>
                </c:pt>
                <c:pt idx="1146">
                  <c:v>45253</c:v>
                </c:pt>
                <c:pt idx="1147">
                  <c:v>45254</c:v>
                </c:pt>
                <c:pt idx="1148">
                  <c:v>45257</c:v>
                </c:pt>
                <c:pt idx="1149">
                  <c:v>45258</c:v>
                </c:pt>
                <c:pt idx="1150">
                  <c:v>45259</c:v>
                </c:pt>
                <c:pt idx="1151">
                  <c:v>45260</c:v>
                </c:pt>
                <c:pt idx="1152">
                  <c:v>45261</c:v>
                </c:pt>
                <c:pt idx="1153">
                  <c:v>45264</c:v>
                </c:pt>
                <c:pt idx="1154">
                  <c:v>45265</c:v>
                </c:pt>
                <c:pt idx="1155">
                  <c:v>45266</c:v>
                </c:pt>
                <c:pt idx="1156">
                  <c:v>45267</c:v>
                </c:pt>
                <c:pt idx="1157">
                  <c:v>45268</c:v>
                </c:pt>
                <c:pt idx="1158">
                  <c:v>45271</c:v>
                </c:pt>
                <c:pt idx="1159">
                  <c:v>45272</c:v>
                </c:pt>
                <c:pt idx="1160">
                  <c:v>45273</c:v>
                </c:pt>
                <c:pt idx="1161">
                  <c:v>45274</c:v>
                </c:pt>
                <c:pt idx="1162">
                  <c:v>45275</c:v>
                </c:pt>
                <c:pt idx="1163">
                  <c:v>45278</c:v>
                </c:pt>
                <c:pt idx="1164">
                  <c:v>45279</c:v>
                </c:pt>
                <c:pt idx="1165">
                  <c:v>45280</c:v>
                </c:pt>
                <c:pt idx="1166">
                  <c:v>45281</c:v>
                </c:pt>
                <c:pt idx="1167">
                  <c:v>45282</c:v>
                </c:pt>
                <c:pt idx="1168">
                  <c:v>45288</c:v>
                </c:pt>
                <c:pt idx="1169">
                  <c:v>45289</c:v>
                </c:pt>
                <c:pt idx="1170">
                  <c:v>45293</c:v>
                </c:pt>
                <c:pt idx="1171">
                  <c:v>45294</c:v>
                </c:pt>
                <c:pt idx="1172">
                  <c:v>45295</c:v>
                </c:pt>
                <c:pt idx="1173">
                  <c:v>45296</c:v>
                </c:pt>
                <c:pt idx="1174">
                  <c:v>45299</c:v>
                </c:pt>
                <c:pt idx="1175">
                  <c:v>45300</c:v>
                </c:pt>
                <c:pt idx="1176">
                  <c:v>45301</c:v>
                </c:pt>
                <c:pt idx="1177">
                  <c:v>45302</c:v>
                </c:pt>
                <c:pt idx="1178">
                  <c:v>45303</c:v>
                </c:pt>
                <c:pt idx="1179">
                  <c:v>45306</c:v>
                </c:pt>
                <c:pt idx="1180">
                  <c:v>45307</c:v>
                </c:pt>
                <c:pt idx="1181">
                  <c:v>45308</c:v>
                </c:pt>
                <c:pt idx="1182">
                  <c:v>45309</c:v>
                </c:pt>
                <c:pt idx="1183">
                  <c:v>45310</c:v>
                </c:pt>
                <c:pt idx="1184">
                  <c:v>45313</c:v>
                </c:pt>
                <c:pt idx="1185">
                  <c:v>45314</c:v>
                </c:pt>
                <c:pt idx="1186">
                  <c:v>45315</c:v>
                </c:pt>
                <c:pt idx="1187">
                  <c:v>45316</c:v>
                </c:pt>
                <c:pt idx="1188">
                  <c:v>45317</c:v>
                </c:pt>
                <c:pt idx="1189">
                  <c:v>45320</c:v>
                </c:pt>
                <c:pt idx="1190">
                  <c:v>45321</c:v>
                </c:pt>
                <c:pt idx="1191">
                  <c:v>45322</c:v>
                </c:pt>
                <c:pt idx="1192">
                  <c:v>45323</c:v>
                </c:pt>
                <c:pt idx="1193">
                  <c:v>45324</c:v>
                </c:pt>
                <c:pt idx="1194">
                  <c:v>45327</c:v>
                </c:pt>
                <c:pt idx="1195">
                  <c:v>45328</c:v>
                </c:pt>
                <c:pt idx="1196">
                  <c:v>45329</c:v>
                </c:pt>
                <c:pt idx="1197">
                  <c:v>45330</c:v>
                </c:pt>
                <c:pt idx="1198">
                  <c:v>45331</c:v>
                </c:pt>
                <c:pt idx="1199">
                  <c:v>45334</c:v>
                </c:pt>
                <c:pt idx="1200">
                  <c:v>45335</c:v>
                </c:pt>
                <c:pt idx="1201">
                  <c:v>45336</c:v>
                </c:pt>
                <c:pt idx="1202">
                  <c:v>45337</c:v>
                </c:pt>
                <c:pt idx="1203">
                  <c:v>45338</c:v>
                </c:pt>
                <c:pt idx="1204">
                  <c:v>45341</c:v>
                </c:pt>
                <c:pt idx="1205">
                  <c:v>45342</c:v>
                </c:pt>
                <c:pt idx="1206">
                  <c:v>45343</c:v>
                </c:pt>
                <c:pt idx="1207">
                  <c:v>45344</c:v>
                </c:pt>
                <c:pt idx="1208">
                  <c:v>45345</c:v>
                </c:pt>
                <c:pt idx="1209">
                  <c:v>45348</c:v>
                </c:pt>
                <c:pt idx="1210">
                  <c:v>45349</c:v>
                </c:pt>
                <c:pt idx="1211">
                  <c:v>45350</c:v>
                </c:pt>
                <c:pt idx="1212">
                  <c:v>45351</c:v>
                </c:pt>
                <c:pt idx="1213">
                  <c:v>45352</c:v>
                </c:pt>
                <c:pt idx="1214">
                  <c:v>45356</c:v>
                </c:pt>
                <c:pt idx="1215">
                  <c:v>45357</c:v>
                </c:pt>
                <c:pt idx="1216">
                  <c:v>45358</c:v>
                </c:pt>
                <c:pt idx="1217">
                  <c:v>45359</c:v>
                </c:pt>
                <c:pt idx="1218">
                  <c:v>45362</c:v>
                </c:pt>
                <c:pt idx="1219">
                  <c:v>45363</c:v>
                </c:pt>
                <c:pt idx="1220">
                  <c:v>45364</c:v>
                </c:pt>
                <c:pt idx="1221">
                  <c:v>45365</c:v>
                </c:pt>
                <c:pt idx="1222">
                  <c:v>45366</c:v>
                </c:pt>
                <c:pt idx="1223">
                  <c:v>45369</c:v>
                </c:pt>
                <c:pt idx="1224">
                  <c:v>45370</c:v>
                </c:pt>
                <c:pt idx="1225">
                  <c:v>45371</c:v>
                </c:pt>
                <c:pt idx="1226">
                  <c:v>45372</c:v>
                </c:pt>
                <c:pt idx="1227">
                  <c:v>45373</c:v>
                </c:pt>
                <c:pt idx="1228">
                  <c:v>45376</c:v>
                </c:pt>
                <c:pt idx="1229">
                  <c:v>45377</c:v>
                </c:pt>
                <c:pt idx="1230">
                  <c:v>45378</c:v>
                </c:pt>
                <c:pt idx="1231">
                  <c:v>45379</c:v>
                </c:pt>
              </c:numCache>
            </c:numRef>
          </c:cat>
          <c:val>
            <c:numRef>
              <c:f>'5 index'!#REF!</c:f>
              <c:numCache>
                <c:formatCode>General</c:formatCode>
                <c:ptCount val="1"/>
                <c:pt idx="0">
                  <c:v>1</c:v>
                </c:pt>
              </c:numCache>
            </c:numRef>
          </c:val>
          <c:extLst>
            <c:ext xmlns:c16="http://schemas.microsoft.com/office/drawing/2014/chart" uri="{C3380CC4-5D6E-409C-BE32-E72D297353CC}">
              <c16:uniqueId val="{00000001-A6CB-7C4C-8F79-51DF76CAA5D2}"/>
            </c:ext>
          </c:extLst>
        </c:ser>
        <c:dLbls>
          <c:showLegendKey val="0"/>
          <c:showVal val="0"/>
          <c:showCatName val="0"/>
          <c:showSerName val="0"/>
          <c:showPercent val="0"/>
          <c:showBubbleSize val="0"/>
        </c:dLbls>
        <c:axId val="79836288"/>
        <c:axId val="79837824"/>
      </c:areaChart>
      <c:dateAx>
        <c:axId val="79836288"/>
        <c:scaling>
          <c:orientation val="minMax"/>
          <c:max val="45382"/>
        </c:scaling>
        <c:delete val="0"/>
        <c:axPos val="b"/>
        <c:numFmt formatCode="dd/mm"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600" b="0" i="0" u="none" strike="noStrike" kern="1200" baseline="0">
                <a:solidFill>
                  <a:schemeClr val="tx1"/>
                </a:solidFill>
                <a:latin typeface="News Gothic Cyr" panose="020B0503020103020203" pitchFamily="34" charset="-52"/>
                <a:ea typeface="+mn-ea"/>
                <a:cs typeface="+mn-cs"/>
              </a:defRPr>
            </a:pPr>
            <a:endParaRPr lang="en-BG"/>
          </a:p>
        </c:txPr>
        <c:crossAx val="79837824"/>
        <c:crosses val="autoZero"/>
        <c:auto val="0"/>
        <c:lblOffset val="100"/>
        <c:baseTimeUnit val="days"/>
        <c:majorUnit val="1"/>
        <c:majorTimeUnit val="months"/>
      </c:dateAx>
      <c:valAx>
        <c:axId val="79837824"/>
        <c:scaling>
          <c:orientation val="minMax"/>
          <c:max val="840"/>
          <c:min val="370"/>
        </c:scaling>
        <c:delete val="0"/>
        <c:axPos val="l"/>
        <c:majorGridlines>
          <c:spPr>
            <a:ln w="9525" cap="flat" cmpd="sng" algn="ctr">
              <a:solidFill>
                <a:schemeClr val="tx1">
                  <a:tint val="75000"/>
                  <a:shade val="95000"/>
                  <a:satMod val="105000"/>
                </a:schemeClr>
              </a:solidFill>
              <a:prstDash val="solid"/>
              <a:round/>
            </a:ln>
            <a:effectLst/>
          </c:spPr>
        </c:majorGridlines>
        <c:numFmt formatCode="#,##0"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600" b="0" i="0" u="none" strike="noStrike" kern="1200" baseline="0">
                <a:solidFill>
                  <a:schemeClr val="tx1"/>
                </a:solidFill>
                <a:latin typeface="News Gothic Cyr" panose="020B0503020103020203" pitchFamily="34" charset="-52"/>
                <a:ea typeface="+mn-ea"/>
                <a:cs typeface="+mn-cs"/>
              </a:defRPr>
            </a:pPr>
            <a:endParaRPr lang="en-BG"/>
          </a:p>
        </c:txPr>
        <c:crossAx val="79836288"/>
        <c:crosses val="autoZero"/>
        <c:crossBetween val="midCat"/>
        <c:majorUnit val="40"/>
      </c:valAx>
      <c:spPr>
        <a:noFill/>
        <a:ln>
          <a:noFill/>
        </a:ln>
        <a:effectLst/>
      </c:spPr>
    </c:plotArea>
    <c:plotVisOnly val="1"/>
    <c:dispBlanksAs val="zero"/>
    <c:showDLblsOverMax val="0"/>
  </c:chart>
  <c:spPr>
    <a:solidFill>
      <a:schemeClr val="bg1"/>
    </a:solidFill>
    <a:ln w="9525" cap="flat" cmpd="sng" algn="ctr">
      <a:noFill/>
      <a:prstDash val="solid"/>
      <a:round/>
    </a:ln>
    <a:effectLst/>
  </c:spPr>
  <c:txPr>
    <a:bodyPr/>
    <a:lstStyle/>
    <a:p>
      <a:pPr>
        <a:defRPr sz="600">
          <a:latin typeface="News Gothic Cyr" panose="020B0503020103020203" pitchFamily="34" charset="-52"/>
        </a:defRPr>
      </a:pPr>
      <a:endParaRPr lang="en-BG"/>
    </a:p>
  </c:txPr>
  <c:externalData r:id="rId4">
    <c:autoUpdate val="0"/>
  </c:externalData>
  <c:userShapes r:id="rId5"/>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rgbClr val="002060"/>
                </a:solidFill>
                <a:latin typeface="+mn-lt"/>
                <a:ea typeface="+mn-ea"/>
                <a:cs typeface="+mn-cs"/>
              </a:defRPr>
            </a:pPr>
            <a:r>
              <a:rPr lang="en-GB" sz="1200" b="1" i="0" u="none" strike="noStrike" kern="1200" spc="0" baseline="0" noProof="0" dirty="0">
                <a:solidFill>
                  <a:srgbClr val="002060"/>
                </a:solidFill>
                <a:latin typeface="Montserrat SemiBold" pitchFamily="2" charset="77"/>
              </a:rPr>
              <a:t>Institutional investors assets for the period </a:t>
            </a:r>
            <a:br>
              <a:rPr lang="en-GB" sz="1200" b="1" i="0" u="none" strike="noStrike" kern="1200" spc="0" baseline="0" noProof="0" dirty="0">
                <a:solidFill>
                  <a:srgbClr val="002060"/>
                </a:solidFill>
                <a:latin typeface="Montserrat SemiBold" pitchFamily="2" charset="77"/>
              </a:rPr>
            </a:br>
            <a:r>
              <a:rPr lang="en-GB" sz="1200" b="1" i="0" u="none" strike="noStrike" kern="1200" spc="0" baseline="0" noProof="0" dirty="0">
                <a:solidFill>
                  <a:srgbClr val="002060"/>
                </a:solidFill>
                <a:latin typeface="Montserrat SemiBold" pitchFamily="2" charset="77"/>
              </a:rPr>
              <a:t>2020-2023  (EUR </a:t>
            </a:r>
            <a:r>
              <a:rPr lang="en-GB" sz="1200" b="1" i="0" u="none" strike="noStrike" kern="1200" spc="0" baseline="0" noProof="0" dirty="0" err="1">
                <a:solidFill>
                  <a:srgbClr val="002060"/>
                </a:solidFill>
                <a:latin typeface="Montserrat SemiBold" pitchFamily="2" charset="77"/>
              </a:rPr>
              <a:t>mln</a:t>
            </a:r>
            <a:r>
              <a:rPr lang="en-GB" sz="1200" b="1" i="0" u="none" strike="noStrike" kern="1200" spc="0" baseline="0" noProof="0" dirty="0">
                <a:solidFill>
                  <a:srgbClr val="002060"/>
                </a:solidFill>
                <a:latin typeface="Montserrat SemiBold" pitchFamily="2" charset="77"/>
              </a:rPr>
              <a:t>.)</a:t>
            </a:r>
          </a:p>
        </c:rich>
      </c:tx>
      <c:layout>
        <c:manualLayout>
          <c:xMode val="edge"/>
          <c:yMode val="edge"/>
          <c:x val="0.1556680696444476"/>
          <c:y val="0"/>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rgbClr val="002060"/>
              </a:solidFill>
              <a:latin typeface="+mn-lt"/>
              <a:ea typeface="+mn-ea"/>
              <a:cs typeface="+mn-cs"/>
            </a:defRPr>
          </a:pPr>
          <a:endParaRPr lang="en-BG"/>
        </a:p>
      </c:txPr>
    </c:title>
    <c:autoTitleDeleted val="0"/>
    <c:plotArea>
      <c:layout/>
      <c:barChart>
        <c:barDir val="col"/>
        <c:grouping val="stacked"/>
        <c:varyColors val="0"/>
        <c:ser>
          <c:idx val="0"/>
          <c:order val="0"/>
          <c:tx>
            <c:strRef>
              <c:f>Лист1!$C$21</c:f>
              <c:strCache>
                <c:ptCount val="1"/>
                <c:pt idx="0">
                  <c:v>Assets of pension funds</c:v>
                </c:pt>
              </c:strCache>
            </c:strRef>
          </c:tx>
          <c:spPr>
            <a:solidFill>
              <a:srgbClr val="064DE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ontserrat" pitchFamily="2" charset="77"/>
                    <a:ea typeface="+mn-ea"/>
                    <a:cs typeface="+mn-cs"/>
                  </a:defRPr>
                </a:pPr>
                <a:endParaRPr lang="en-BG"/>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D$20:$G$20</c:f>
              <c:numCache>
                <c:formatCode>General</c:formatCode>
                <c:ptCount val="4"/>
                <c:pt idx="0">
                  <c:v>2020</c:v>
                </c:pt>
                <c:pt idx="1">
                  <c:v>2021</c:v>
                </c:pt>
                <c:pt idx="2">
                  <c:v>2022</c:v>
                </c:pt>
                <c:pt idx="3">
                  <c:v>2023</c:v>
                </c:pt>
              </c:numCache>
            </c:numRef>
          </c:cat>
          <c:val>
            <c:numRef>
              <c:f>Лист1!$D$21:$G$21</c:f>
              <c:numCache>
                <c:formatCode>#,##0</c:formatCode>
                <c:ptCount val="4"/>
                <c:pt idx="0">
                  <c:v>9051.9114646978524</c:v>
                </c:pt>
                <c:pt idx="1">
                  <c:v>10037.170919762966</c:v>
                </c:pt>
                <c:pt idx="2">
                  <c:v>9898.6108199587907</c:v>
                </c:pt>
                <c:pt idx="3">
                  <c:v>11724.434127710487</c:v>
                </c:pt>
              </c:numCache>
            </c:numRef>
          </c:val>
          <c:extLst>
            <c:ext xmlns:c16="http://schemas.microsoft.com/office/drawing/2014/chart" uri="{C3380CC4-5D6E-409C-BE32-E72D297353CC}">
              <c16:uniqueId val="{00000000-DF4C-B840-A4DF-073CE339C74B}"/>
            </c:ext>
          </c:extLst>
        </c:ser>
        <c:ser>
          <c:idx val="1"/>
          <c:order val="1"/>
          <c:tx>
            <c:strRef>
              <c:f>Лист1!$C$22</c:f>
              <c:strCache>
                <c:ptCount val="1"/>
                <c:pt idx="0">
                  <c:v>Assets of local investment funds</c:v>
                </c:pt>
              </c:strCache>
            </c:strRef>
          </c:tx>
          <c:spPr>
            <a:solidFill>
              <a:schemeClr val="accent3">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ontserrat" pitchFamily="2" charset="77"/>
                    <a:ea typeface="+mn-ea"/>
                    <a:cs typeface="+mn-cs"/>
                  </a:defRPr>
                </a:pPr>
                <a:endParaRPr lang="en-BG"/>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D$20:$G$20</c:f>
              <c:numCache>
                <c:formatCode>General</c:formatCode>
                <c:ptCount val="4"/>
                <c:pt idx="0">
                  <c:v>2020</c:v>
                </c:pt>
                <c:pt idx="1">
                  <c:v>2021</c:v>
                </c:pt>
                <c:pt idx="2">
                  <c:v>2022</c:v>
                </c:pt>
                <c:pt idx="3">
                  <c:v>2023</c:v>
                </c:pt>
              </c:numCache>
            </c:numRef>
          </c:cat>
          <c:val>
            <c:numRef>
              <c:f>Лист1!$D$22:$G$22</c:f>
              <c:numCache>
                <c:formatCode>#,##0</c:formatCode>
                <c:ptCount val="4"/>
                <c:pt idx="0">
                  <c:v>912.65600793525005</c:v>
                </c:pt>
                <c:pt idx="1">
                  <c:v>1393.7816681408917</c:v>
                </c:pt>
                <c:pt idx="2">
                  <c:v>1414.2333433887404</c:v>
                </c:pt>
                <c:pt idx="3">
                  <c:v>1608.0129663621071</c:v>
                </c:pt>
              </c:numCache>
            </c:numRef>
          </c:val>
          <c:extLst>
            <c:ext xmlns:c16="http://schemas.microsoft.com/office/drawing/2014/chart" uri="{C3380CC4-5D6E-409C-BE32-E72D297353CC}">
              <c16:uniqueId val="{00000001-DF4C-B840-A4DF-073CE339C74B}"/>
            </c:ext>
          </c:extLst>
        </c:ser>
        <c:dLbls>
          <c:showLegendKey val="0"/>
          <c:showVal val="0"/>
          <c:showCatName val="0"/>
          <c:showSerName val="0"/>
          <c:showPercent val="0"/>
          <c:showBubbleSize val="0"/>
        </c:dLbls>
        <c:gapWidth val="150"/>
        <c:overlap val="100"/>
        <c:axId val="1303796432"/>
        <c:axId val="1261611279"/>
      </c:barChart>
      <c:catAx>
        <c:axId val="13037964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002060"/>
                </a:solidFill>
                <a:latin typeface="Montserrat" pitchFamily="2" charset="77"/>
                <a:ea typeface="+mn-ea"/>
                <a:cs typeface="+mn-cs"/>
              </a:defRPr>
            </a:pPr>
            <a:endParaRPr lang="en-BG"/>
          </a:p>
        </c:txPr>
        <c:crossAx val="1261611279"/>
        <c:crosses val="autoZero"/>
        <c:auto val="1"/>
        <c:lblAlgn val="ctr"/>
        <c:lblOffset val="100"/>
        <c:noMultiLvlLbl val="0"/>
      </c:catAx>
      <c:valAx>
        <c:axId val="126161127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rgbClr val="002060"/>
                </a:solidFill>
                <a:latin typeface="Montserrat SemiBold" pitchFamily="2" charset="77"/>
                <a:ea typeface="+mn-ea"/>
                <a:cs typeface="+mn-cs"/>
              </a:defRPr>
            </a:pPr>
            <a:endParaRPr lang="en-BG"/>
          </a:p>
        </c:txPr>
        <c:crossAx val="13037964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rgbClr val="002060"/>
              </a:solidFill>
              <a:latin typeface="Montserrat SemiBold" pitchFamily="2" charset="77"/>
              <a:ea typeface="+mn-ea"/>
              <a:cs typeface="+mn-cs"/>
            </a:defRPr>
          </a:pPr>
          <a:endParaRPr lang="en-BG"/>
        </a:p>
      </c:txPr>
    </c:legend>
    <c:plotVisOnly val="1"/>
    <c:dispBlanksAs val="gap"/>
    <c:showDLblsOverMax val="0"/>
  </c:chart>
  <c:spPr>
    <a:noFill/>
    <a:ln>
      <a:noFill/>
    </a:ln>
    <a:effectLst/>
  </c:spPr>
  <c:txPr>
    <a:bodyPr/>
    <a:lstStyle/>
    <a:p>
      <a:pPr>
        <a:defRPr/>
      </a:pPr>
      <a:endParaRPr lang="en-BG"/>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rgbClr val="002060"/>
                </a:solidFill>
                <a:latin typeface="Montserrat SemiBold" pitchFamily="2" charset="77"/>
                <a:ea typeface="+mn-ea"/>
                <a:cs typeface="+mn-cs"/>
              </a:defRPr>
            </a:pPr>
            <a:r>
              <a:rPr lang="en-GB" sz="1200" b="1" i="0" noProof="0" dirty="0">
                <a:solidFill>
                  <a:srgbClr val="002060"/>
                </a:solidFill>
                <a:latin typeface="Montserrat SemiBold" pitchFamily="2" charset="77"/>
              </a:rPr>
              <a:t>New individual investors for the last 3 years</a:t>
            </a:r>
          </a:p>
        </c:rich>
      </c:tx>
      <c:layout>
        <c:manualLayout>
          <c:xMode val="edge"/>
          <c:yMode val="edge"/>
          <c:x val="0.10262499575311665"/>
          <c:y val="0"/>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rgbClr val="002060"/>
              </a:solidFill>
              <a:latin typeface="Montserrat SemiBold" pitchFamily="2" charset="77"/>
              <a:ea typeface="+mn-ea"/>
              <a:cs typeface="+mn-cs"/>
            </a:defRPr>
          </a:pPr>
          <a:endParaRPr lang="en-BG"/>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9.9667650679995778E-2"/>
          <c:y val="0.21004532070757359"/>
          <c:w val="0.81210095513002778"/>
          <c:h val="0.60075846894976825"/>
        </c:manualLayout>
      </c:layout>
      <c:pie3DChart>
        <c:varyColors val="1"/>
        <c:ser>
          <c:idx val="0"/>
          <c:order val="0"/>
          <c:tx>
            <c:strRef>
              <c:f>Лист1!$C$11</c:f>
              <c:strCache>
                <c:ptCount val="1"/>
                <c:pt idx="0">
                  <c:v>%</c:v>
                </c:pt>
              </c:strCache>
            </c:strRef>
          </c:tx>
          <c:dPt>
            <c:idx val="0"/>
            <c:bubble3D val="0"/>
            <c:spPr>
              <a:solidFill>
                <a:srgbClr val="0D2E71"/>
              </a:solidFill>
              <a:ln w="25400">
                <a:solidFill>
                  <a:schemeClr val="lt1"/>
                </a:solidFill>
              </a:ln>
              <a:effectLst/>
              <a:sp3d contourW="25400">
                <a:contourClr>
                  <a:schemeClr val="lt1"/>
                </a:contourClr>
              </a:sp3d>
            </c:spPr>
            <c:extLst>
              <c:ext xmlns:c16="http://schemas.microsoft.com/office/drawing/2014/chart" uri="{C3380CC4-5D6E-409C-BE32-E72D297353CC}">
                <c16:uniqueId val="{00000001-875D-5A43-91BF-40E1079B979F}"/>
              </c:ext>
            </c:extLst>
          </c:dPt>
          <c:dPt>
            <c:idx val="1"/>
            <c:bubble3D val="0"/>
            <c:spPr>
              <a:solidFill>
                <a:schemeClr val="accent6">
                  <a:lumMod val="60000"/>
                  <a:lumOff val="4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3-875D-5A43-91BF-40E1079B979F}"/>
              </c:ext>
            </c:extLst>
          </c:dPt>
          <c:dLbls>
            <c:dLbl>
              <c:idx val="0"/>
              <c:layout>
                <c:manualLayout>
                  <c:x val="-0.2108385514422754"/>
                  <c:y val="-9.4582287819133484E-2"/>
                </c:manualLayout>
              </c:layout>
              <c:tx>
                <c:rich>
                  <a:bodyPr rot="0" spcFirstLastPara="1" vertOverflow="ellipsis" vert="horz" wrap="square" lIns="38100" tIns="19050" rIns="38100" bIns="19050" anchor="ctr" anchorCtr="1">
                    <a:noAutofit/>
                  </a:bodyPr>
                  <a:lstStyle/>
                  <a:p>
                    <a:pPr>
                      <a:defRPr sz="900" b="1" i="0" u="none" strike="noStrike" kern="1200" baseline="0">
                        <a:solidFill>
                          <a:schemeClr val="bg1"/>
                        </a:solidFill>
                        <a:latin typeface="Montserrat SemiBold" pitchFamily="2" charset="77"/>
                        <a:ea typeface="+mn-ea"/>
                        <a:cs typeface="+mn-cs"/>
                      </a:defRPr>
                    </a:pPr>
                    <a:r>
                      <a:rPr lang="en-US" b="1" i="0" dirty="0">
                        <a:solidFill>
                          <a:schemeClr val="bg1"/>
                        </a:solidFill>
                        <a:latin typeface="Montserrat SemiBold" pitchFamily="2" charset="77"/>
                      </a:rPr>
                      <a:t>7 500</a:t>
                    </a:r>
                  </a:p>
                  <a:p>
                    <a:pPr>
                      <a:defRPr b="1">
                        <a:solidFill>
                          <a:schemeClr val="bg1"/>
                        </a:solidFill>
                        <a:latin typeface="Montserrat SemiBold" pitchFamily="2" charset="77"/>
                      </a:defRPr>
                    </a:pPr>
                    <a:endParaRPr lang="en-US" b="1" i="0" dirty="0">
                      <a:latin typeface="Montserrat SemiBold" pitchFamily="2" charset="77"/>
                    </a:endParaRPr>
                  </a:p>
                </c:rich>
              </c:tx>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bg1"/>
                      </a:solidFill>
                      <a:latin typeface="Montserrat SemiBold" pitchFamily="2" charset="77"/>
                      <a:ea typeface="+mn-ea"/>
                      <a:cs typeface="+mn-cs"/>
                    </a:defRPr>
                  </a:pPr>
                  <a:endParaRPr lang="en-BG"/>
                </a:p>
              </c:txPr>
              <c:showLegendKey val="0"/>
              <c:showVal val="1"/>
              <c:showCatName val="0"/>
              <c:showSerName val="0"/>
              <c:showPercent val="0"/>
              <c:showBubbleSize val="0"/>
              <c:extLst>
                <c:ext xmlns:c15="http://schemas.microsoft.com/office/drawing/2012/chart" uri="{CE6537A1-D6FC-4f65-9D91-7224C49458BB}">
                  <c15:layout>
                    <c:manualLayout>
                      <c:w val="0.12048306059083649"/>
                      <c:h val="0.16208130715477326"/>
                    </c:manualLayout>
                  </c15:layout>
                  <c15:showDataLabelsRange val="0"/>
                </c:ext>
                <c:ext xmlns:c16="http://schemas.microsoft.com/office/drawing/2014/chart" uri="{C3380CC4-5D6E-409C-BE32-E72D297353CC}">
                  <c16:uniqueId val="{00000001-875D-5A43-91BF-40E1079B979F}"/>
                </c:ext>
              </c:extLst>
            </c:dLbl>
            <c:dLbl>
              <c:idx val="1"/>
              <c:layout>
                <c:manualLayout>
                  <c:x val="0.18236763319931887"/>
                  <c:y val="0.10643885134271691"/>
                </c:manualLayout>
              </c:layout>
              <c:tx>
                <c:rich>
                  <a:bodyPr rot="0" spcFirstLastPara="1" vertOverflow="ellipsis" vert="horz" wrap="square" lIns="38100" tIns="19050" rIns="38100" bIns="19050" anchor="ctr" anchorCtr="1">
                    <a:noAutofit/>
                  </a:bodyPr>
                  <a:lstStyle/>
                  <a:p>
                    <a:pPr>
                      <a:defRPr sz="900" b="1" i="0" u="none" strike="noStrike" kern="1200" baseline="0">
                        <a:solidFill>
                          <a:schemeClr val="tx1">
                            <a:lumMod val="75000"/>
                            <a:lumOff val="25000"/>
                          </a:schemeClr>
                        </a:solidFill>
                        <a:latin typeface="Montserrat SemiBold" pitchFamily="2" charset="77"/>
                        <a:ea typeface="+mn-ea"/>
                        <a:cs typeface="+mn-cs"/>
                      </a:defRPr>
                    </a:pPr>
                    <a:r>
                      <a:rPr lang="en-US" b="1" i="0" dirty="0">
                        <a:latin typeface="Montserrat SemiBold" pitchFamily="2" charset="77"/>
                      </a:rPr>
                      <a:t>3 500</a:t>
                    </a:r>
                  </a:p>
                  <a:p>
                    <a:pPr>
                      <a:defRPr b="1">
                        <a:latin typeface="Montserrat SemiBold" pitchFamily="2" charset="77"/>
                      </a:defRPr>
                    </a:pPr>
                    <a:endParaRPr lang="en-US" b="1" i="0" dirty="0">
                      <a:latin typeface="Montserrat SemiBold" pitchFamily="2" charset="77"/>
                    </a:endParaRPr>
                  </a:p>
                </c:rich>
              </c:tx>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tx1">
                          <a:lumMod val="75000"/>
                          <a:lumOff val="25000"/>
                        </a:schemeClr>
                      </a:solidFill>
                      <a:latin typeface="Montserrat SemiBold" pitchFamily="2" charset="77"/>
                      <a:ea typeface="+mn-ea"/>
                      <a:cs typeface="+mn-cs"/>
                    </a:defRPr>
                  </a:pPr>
                  <a:endParaRPr lang="en-BG"/>
                </a:p>
              </c:txPr>
              <c:showLegendKey val="0"/>
              <c:showVal val="1"/>
              <c:showCatName val="0"/>
              <c:showSerName val="0"/>
              <c:showPercent val="0"/>
              <c:showBubbleSize val="0"/>
              <c:extLst>
                <c:ext xmlns:c15="http://schemas.microsoft.com/office/drawing/2012/chart" uri="{CE6537A1-D6FC-4f65-9D91-7224C49458BB}">
                  <c15:layout>
                    <c:manualLayout>
                      <c:w val="0.10843879544914992"/>
                      <c:h val="0.17958390670425359"/>
                    </c:manualLayout>
                  </c15:layout>
                  <c15:showDataLabelsRange val="0"/>
                </c:ext>
                <c:ext xmlns:c16="http://schemas.microsoft.com/office/drawing/2014/chart" uri="{C3380CC4-5D6E-409C-BE32-E72D297353CC}">
                  <c16:uniqueId val="{00000003-875D-5A43-91BF-40E1079B979F}"/>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ontserrat SemiBold" pitchFamily="2" charset="77"/>
                    <a:ea typeface="+mn-ea"/>
                    <a:cs typeface="+mn-cs"/>
                  </a:defRPr>
                </a:pPr>
                <a:endParaRPr lang="en-BG"/>
              </a:p>
            </c:txPr>
            <c:showLegendKey val="0"/>
            <c:showVal val="0"/>
            <c:showCatName val="0"/>
            <c:showSerName val="0"/>
            <c:showPercent val="0"/>
            <c:showBubbleSize val="0"/>
            <c:extLst>
              <c:ext xmlns:c15="http://schemas.microsoft.com/office/drawing/2012/chart" uri="{CE6537A1-D6FC-4f65-9D91-7224C49458BB}"/>
            </c:extLst>
          </c:dLbls>
          <c:cat>
            <c:strRef>
              <c:f>Лист1!$B$12:$B$13</c:f>
              <c:strCache>
                <c:ptCount val="2"/>
                <c:pt idx="0">
                  <c:v>New investors in 2021-2022</c:v>
                </c:pt>
                <c:pt idx="1">
                  <c:v>New investors in 2023</c:v>
                </c:pt>
              </c:strCache>
            </c:strRef>
          </c:cat>
          <c:val>
            <c:numRef>
              <c:f>Лист1!$C$12:$C$13</c:f>
              <c:numCache>
                <c:formatCode>0%</c:formatCode>
                <c:ptCount val="2"/>
                <c:pt idx="0">
                  <c:v>0.68181818181818177</c:v>
                </c:pt>
                <c:pt idx="1">
                  <c:v>0.31818181818181818</c:v>
                </c:pt>
              </c:numCache>
            </c:numRef>
          </c:val>
          <c:extLst>
            <c:ext xmlns:c16="http://schemas.microsoft.com/office/drawing/2014/chart" uri="{C3380CC4-5D6E-409C-BE32-E72D297353CC}">
              <c16:uniqueId val="{00000004-875D-5A43-91BF-40E1079B979F}"/>
            </c:ext>
          </c:extLst>
        </c:ser>
        <c:dLbls>
          <c:showLegendKey val="0"/>
          <c:showVal val="0"/>
          <c:showCatName val="0"/>
          <c:showSerName val="0"/>
          <c:showPercent val="0"/>
          <c:showBubbleSize val="0"/>
          <c:showLeaderLines val="1"/>
        </c:dLbls>
      </c:pie3D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rgbClr val="002060"/>
              </a:solidFill>
              <a:latin typeface="Montserrat SemiBold" pitchFamily="2" charset="77"/>
              <a:ea typeface="+mn-ea"/>
              <a:cs typeface="+mn-cs"/>
            </a:defRPr>
          </a:pPr>
          <a:endParaRPr lang="en-BG"/>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BG"/>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ontserrat SemiBold" pitchFamily="2" charset="77"/>
                <a:ea typeface="+mn-ea"/>
                <a:cs typeface="+mn-cs"/>
              </a:defRPr>
            </a:pPr>
            <a:r>
              <a:rPr lang="de-DE" sz="1400" b="1" i="0" u="none" strike="noStrike" kern="1200" spc="0" baseline="0" dirty="0">
                <a:solidFill>
                  <a:srgbClr val="002060"/>
                </a:solidFill>
                <a:latin typeface="Montserrat SemiBold" pitchFamily="2" charset="77"/>
              </a:rPr>
              <a:t>Top 10 Companies </a:t>
            </a:r>
            <a:r>
              <a:rPr lang="de-DE" sz="1400" b="1" i="0" u="none" strike="noStrike" kern="1200" spc="0" baseline="0" dirty="0" err="1">
                <a:solidFill>
                  <a:srgbClr val="002060"/>
                </a:solidFill>
                <a:latin typeface="Montserrat SemiBold" pitchFamily="2" charset="77"/>
              </a:rPr>
              <a:t>by</a:t>
            </a:r>
            <a:r>
              <a:rPr lang="de-DE" sz="1400" b="1" i="0" u="none" strike="noStrike" kern="1200" spc="0" baseline="0" dirty="0">
                <a:solidFill>
                  <a:srgbClr val="002060"/>
                </a:solidFill>
                <a:latin typeface="Montserrat SemiBold" pitchFamily="2" charset="77"/>
              </a:rPr>
              <a:t> </a:t>
            </a:r>
            <a:r>
              <a:rPr lang="de-DE" sz="1400" b="1" i="0" u="none" strike="noStrike" kern="1200" spc="0" baseline="0" dirty="0" err="1">
                <a:solidFill>
                  <a:srgbClr val="002060"/>
                </a:solidFill>
                <a:latin typeface="Montserrat SemiBold" pitchFamily="2" charset="77"/>
              </a:rPr>
              <a:t>Turnover</a:t>
            </a:r>
            <a:endParaRPr lang="de-DE" sz="1400" b="1" i="0" u="none" strike="noStrike" kern="1200" spc="0" baseline="0" dirty="0">
              <a:solidFill>
                <a:srgbClr val="002060"/>
              </a:solidFill>
              <a:latin typeface="Montserrat SemiBold" pitchFamily="2" charset="77"/>
            </a:endParaRPr>
          </a:p>
        </c:rich>
      </c:tx>
      <c:layout>
        <c:manualLayout>
          <c:xMode val="edge"/>
          <c:yMode val="edge"/>
          <c:x val="0.26932091009939224"/>
          <c:y val="1.346764927484131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ontserrat SemiBold" pitchFamily="2" charset="77"/>
              <a:ea typeface="+mn-ea"/>
              <a:cs typeface="+mn-cs"/>
            </a:defRPr>
          </a:pPr>
          <a:endParaRPr lang="en-BG"/>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12137125520698465"/>
          <c:y val="0.16328018850662421"/>
          <c:w val="0.73086690899325768"/>
          <c:h val="0.6247503513573488"/>
        </c:manualLayout>
      </c:layout>
      <c:pie3DChart>
        <c:varyColors val="1"/>
        <c:ser>
          <c:idx val="0"/>
          <c:order val="0"/>
          <c:dPt>
            <c:idx val="0"/>
            <c:bubble3D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1-6051-9944-B2E8-C20E1416E1B1}"/>
              </c:ext>
            </c:extLst>
          </c:dPt>
          <c:dPt>
            <c:idx val="1"/>
            <c:bubble3D val="0"/>
            <c:spPr>
              <a:solidFill>
                <a:schemeClr val="accent2"/>
              </a:solidFill>
              <a:ln w="25400">
                <a:solidFill>
                  <a:schemeClr val="lt1"/>
                </a:solidFill>
              </a:ln>
              <a:effectLst/>
              <a:sp3d contourW="25400">
                <a:contourClr>
                  <a:schemeClr val="lt1"/>
                </a:contourClr>
              </a:sp3d>
            </c:spPr>
            <c:extLst>
              <c:ext xmlns:c16="http://schemas.microsoft.com/office/drawing/2014/chart" uri="{C3380CC4-5D6E-409C-BE32-E72D297353CC}">
                <c16:uniqueId val="{00000003-6051-9944-B2E8-C20E1416E1B1}"/>
              </c:ext>
            </c:extLst>
          </c:dPt>
          <c:dPt>
            <c:idx val="2"/>
            <c:bubble3D val="0"/>
            <c:spPr>
              <a:solidFill>
                <a:schemeClr val="accent3"/>
              </a:solidFill>
              <a:ln w="25400">
                <a:solidFill>
                  <a:schemeClr val="lt1"/>
                </a:solidFill>
              </a:ln>
              <a:effectLst/>
              <a:sp3d contourW="25400">
                <a:contourClr>
                  <a:schemeClr val="lt1"/>
                </a:contourClr>
              </a:sp3d>
            </c:spPr>
            <c:extLst>
              <c:ext xmlns:c16="http://schemas.microsoft.com/office/drawing/2014/chart" uri="{C3380CC4-5D6E-409C-BE32-E72D297353CC}">
                <c16:uniqueId val="{00000005-6051-9944-B2E8-C20E1416E1B1}"/>
              </c:ext>
            </c:extLst>
          </c:dPt>
          <c:dPt>
            <c:idx val="3"/>
            <c:bubble3D val="0"/>
            <c:spPr>
              <a:solidFill>
                <a:schemeClr val="accent4"/>
              </a:solidFill>
              <a:ln w="25400">
                <a:solidFill>
                  <a:schemeClr val="lt1"/>
                </a:solidFill>
              </a:ln>
              <a:effectLst/>
              <a:sp3d contourW="25400">
                <a:contourClr>
                  <a:schemeClr val="lt1"/>
                </a:contourClr>
              </a:sp3d>
            </c:spPr>
            <c:extLst>
              <c:ext xmlns:c16="http://schemas.microsoft.com/office/drawing/2014/chart" uri="{C3380CC4-5D6E-409C-BE32-E72D297353CC}">
                <c16:uniqueId val="{00000007-6051-9944-B2E8-C20E1416E1B1}"/>
              </c:ext>
            </c:extLst>
          </c:dPt>
          <c:dPt>
            <c:idx val="4"/>
            <c:bubble3D val="0"/>
            <c:spPr>
              <a:solidFill>
                <a:schemeClr val="accent5"/>
              </a:solidFill>
              <a:ln w="25400">
                <a:solidFill>
                  <a:schemeClr val="lt1"/>
                </a:solidFill>
              </a:ln>
              <a:effectLst/>
              <a:sp3d contourW="25400">
                <a:contourClr>
                  <a:schemeClr val="lt1"/>
                </a:contourClr>
              </a:sp3d>
            </c:spPr>
            <c:extLst>
              <c:ext xmlns:c16="http://schemas.microsoft.com/office/drawing/2014/chart" uri="{C3380CC4-5D6E-409C-BE32-E72D297353CC}">
                <c16:uniqueId val="{00000009-6051-9944-B2E8-C20E1416E1B1}"/>
              </c:ext>
            </c:extLst>
          </c:dPt>
          <c:dPt>
            <c:idx val="5"/>
            <c:bubble3D val="0"/>
            <c:spPr>
              <a:solidFill>
                <a:schemeClr val="accent6"/>
              </a:solidFill>
              <a:ln w="25400">
                <a:solidFill>
                  <a:schemeClr val="lt1"/>
                </a:solidFill>
              </a:ln>
              <a:effectLst/>
              <a:sp3d contourW="25400">
                <a:contourClr>
                  <a:schemeClr val="lt1"/>
                </a:contourClr>
              </a:sp3d>
            </c:spPr>
            <c:extLst>
              <c:ext xmlns:c16="http://schemas.microsoft.com/office/drawing/2014/chart" uri="{C3380CC4-5D6E-409C-BE32-E72D297353CC}">
                <c16:uniqueId val="{0000000B-6051-9944-B2E8-C20E1416E1B1}"/>
              </c:ext>
            </c:extLst>
          </c:dPt>
          <c:dPt>
            <c:idx val="6"/>
            <c:bubble3D val="0"/>
            <c:spPr>
              <a:solidFill>
                <a:schemeClr val="accent1">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D-6051-9944-B2E8-C20E1416E1B1}"/>
              </c:ext>
            </c:extLst>
          </c:dPt>
          <c:dPt>
            <c:idx val="7"/>
            <c:bubble3D val="0"/>
            <c:spPr>
              <a:solidFill>
                <a:schemeClr val="accent2">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F-6051-9944-B2E8-C20E1416E1B1}"/>
              </c:ext>
            </c:extLst>
          </c:dPt>
          <c:dPt>
            <c:idx val="8"/>
            <c:bubble3D val="0"/>
            <c:spPr>
              <a:solidFill>
                <a:schemeClr val="accent3">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11-6051-9944-B2E8-C20E1416E1B1}"/>
              </c:ext>
            </c:extLst>
          </c:dPt>
          <c:dPt>
            <c:idx val="9"/>
            <c:bubble3D val="0"/>
            <c:spPr>
              <a:solidFill>
                <a:schemeClr val="accent4">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13-6051-9944-B2E8-C20E1416E1B1}"/>
              </c:ext>
            </c:extLst>
          </c:dPt>
          <c:dPt>
            <c:idx val="10"/>
            <c:bubble3D val="0"/>
            <c:spPr>
              <a:solidFill>
                <a:schemeClr val="accent5">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15-6051-9944-B2E8-C20E1416E1B1}"/>
              </c:ext>
            </c:extLst>
          </c:dPt>
          <c:dLbls>
            <c:dLbl>
              <c:idx val="0"/>
              <c:layout>
                <c:manualLayout>
                  <c:x val="-4.0600893219650087E-3"/>
                  <c:y val="2.1574973031283712E-2"/>
                </c:manualLayout>
              </c:layout>
              <c:tx>
                <c:rich>
                  <a:bodyPr rot="0" spcFirstLastPara="1" vertOverflow="ellipsis" vert="horz" wrap="square" lIns="38100" tIns="19050" rIns="38100" bIns="19050" anchor="ctr" anchorCtr="1">
                    <a:noAutofit/>
                  </a:bodyPr>
                  <a:lstStyle/>
                  <a:p>
                    <a:pPr>
                      <a:defRPr sz="900" b="0" i="0" u="none" strike="noStrike" kern="1200" baseline="0">
                        <a:solidFill>
                          <a:srgbClr val="002060"/>
                        </a:solidFill>
                        <a:latin typeface="Montserrat" pitchFamily="2" charset="77"/>
                        <a:ea typeface="+mn-ea"/>
                        <a:cs typeface="+mn-cs"/>
                      </a:defRPr>
                    </a:pPr>
                    <a:fld id="{F22103D5-7C60-4A5C-ADF1-62F807E3FB74}" type="CATEGORYNAME">
                      <a:rPr lang="en-US" b="1" smtClean="0">
                        <a:latin typeface="Montserrat" pitchFamily="2" charset="77"/>
                      </a:rPr>
                      <a:pPr>
                        <a:defRPr>
                          <a:solidFill>
                            <a:srgbClr val="002060"/>
                          </a:solidFill>
                          <a:latin typeface="Montserrat" pitchFamily="2" charset="77"/>
                        </a:defRPr>
                      </a:pPr>
                      <a:t>[CATEGORY NAME]</a:t>
                    </a:fld>
                    <a:endParaRPr lang="en-US" b="1" dirty="0">
                      <a:latin typeface="Montserrat" pitchFamily="2" charset="77"/>
                    </a:endParaRPr>
                  </a:p>
                  <a:p>
                    <a:pPr>
                      <a:defRPr>
                        <a:solidFill>
                          <a:srgbClr val="002060"/>
                        </a:solidFill>
                        <a:latin typeface="Montserrat" pitchFamily="2" charset="77"/>
                      </a:defRPr>
                    </a:pPr>
                    <a:r>
                      <a:rPr lang="en-US" baseline="0" dirty="0">
                        <a:latin typeface="Montserrat" pitchFamily="2" charset="77"/>
                      </a:rPr>
                      <a:t> </a:t>
                    </a:r>
                    <a:fld id="{5B25170E-53E1-4054-B7E9-AE35C8D9790A}" type="VALUE">
                      <a:rPr lang="en-US" baseline="0">
                        <a:latin typeface="Montserrat" pitchFamily="2" charset="77"/>
                      </a:rPr>
                      <a:pPr>
                        <a:defRPr>
                          <a:solidFill>
                            <a:srgbClr val="002060"/>
                          </a:solidFill>
                          <a:latin typeface="Montserrat" pitchFamily="2" charset="77"/>
                        </a:defRPr>
                      </a:pPr>
                      <a:t>[VALUE]</a:t>
                    </a:fld>
                    <a:endParaRPr lang="en-US" baseline="0" dirty="0">
                      <a:latin typeface="Montserrat" pitchFamily="2" charset="77"/>
                    </a:endParaRPr>
                  </a:p>
                </c:rich>
              </c:tx>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rgbClr val="002060"/>
                      </a:solidFill>
                      <a:latin typeface="Montserrat" pitchFamily="2" charset="77"/>
                      <a:ea typeface="+mn-ea"/>
                      <a:cs typeface="+mn-cs"/>
                    </a:defRPr>
                  </a:pPr>
                  <a:endParaRPr lang="en-BG"/>
                </a:p>
              </c:txPr>
              <c:dLblPos val="bestFit"/>
              <c:showLegendKey val="0"/>
              <c:showVal val="1"/>
              <c:showCatName val="1"/>
              <c:showSerName val="0"/>
              <c:showPercent val="0"/>
              <c:showBubbleSize val="0"/>
              <c:extLst>
                <c:ext xmlns:c15="http://schemas.microsoft.com/office/drawing/2012/chart" uri="{CE6537A1-D6FC-4f65-9D91-7224C49458BB}">
                  <c15:layout>
                    <c:manualLayout>
                      <c:w val="0.21648396264717823"/>
                      <c:h val="0.11855447680690399"/>
                    </c:manualLayout>
                  </c15:layout>
                  <c15:dlblFieldTable/>
                  <c15:showDataLabelsRange val="0"/>
                </c:ext>
                <c:ext xmlns:c16="http://schemas.microsoft.com/office/drawing/2014/chart" uri="{C3380CC4-5D6E-409C-BE32-E72D297353CC}">
                  <c16:uniqueId val="{00000001-6051-9944-B2E8-C20E1416E1B1}"/>
                </c:ext>
              </c:extLst>
            </c:dLbl>
            <c:dLbl>
              <c:idx val="1"/>
              <c:tx>
                <c:rich>
                  <a:bodyPr/>
                  <a:lstStyle/>
                  <a:p>
                    <a:fld id="{B36A176F-8676-4DB2-AE49-E0BA654A0555}" type="CATEGORYNAME">
                      <a:rPr lang="en-US" b="1" smtClean="0"/>
                      <a:pPr/>
                      <a:t>[CATEGORY NAME]</a:t>
                    </a:fld>
                    <a:endParaRPr lang="en-US" b="1" dirty="0"/>
                  </a:p>
                  <a:p>
                    <a:r>
                      <a:rPr lang="en-US" baseline="0" dirty="0"/>
                      <a:t> </a:t>
                    </a:r>
                    <a:fld id="{BE329EE1-C18A-4A17-9CB3-7EF31D4EA50B}" type="VALUE">
                      <a:rPr lang="en-US" baseline="0"/>
                      <a:pPr/>
                      <a:t>[VALUE]</a:t>
                    </a:fld>
                    <a:endParaRPr lang="en-US" baseline="0" dirty="0"/>
                  </a:p>
                </c:rich>
              </c:tx>
              <c:dLblPos val="outEnd"/>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6051-9944-B2E8-C20E1416E1B1}"/>
                </c:ext>
              </c:extLst>
            </c:dLbl>
            <c:dLbl>
              <c:idx val="2"/>
              <c:layout>
                <c:manualLayout>
                  <c:x val="-1.6240357287860482E-2"/>
                  <c:y val="9.3436965907630856E-2"/>
                </c:manualLayout>
              </c:layout>
              <c:tx>
                <c:rich>
                  <a:bodyPr/>
                  <a:lstStyle/>
                  <a:p>
                    <a:fld id="{38CCEC44-EA7D-41F7-BAA4-CCFE80CC6868}" type="CATEGORYNAME">
                      <a:rPr lang="en-US" b="1" smtClean="0"/>
                      <a:pPr/>
                      <a:t>[CATEGORY NAME]</a:t>
                    </a:fld>
                    <a:endParaRPr lang="en-US" b="1" dirty="0"/>
                  </a:p>
                  <a:p>
                    <a:r>
                      <a:rPr lang="en-US" baseline="0" dirty="0"/>
                      <a:t> </a:t>
                    </a:r>
                    <a:fld id="{DD75C1DC-42F9-4872-8E12-4507DEEBB235}" type="VALUE">
                      <a:rPr lang="en-US" baseline="0"/>
                      <a:pPr/>
                      <a:t>[VALUE]</a:t>
                    </a:fld>
                    <a:endParaRPr lang="en-US" baseline="0" dirty="0"/>
                  </a:p>
                </c:rich>
              </c:tx>
              <c:dLblPos val="bestFit"/>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6051-9944-B2E8-C20E1416E1B1}"/>
                </c:ext>
              </c:extLst>
            </c:dLbl>
            <c:dLbl>
              <c:idx val="3"/>
              <c:layout>
                <c:manualLayout>
                  <c:x val="2.8420625253755435E-2"/>
                  <c:y val="9.3934073292559012E-2"/>
                </c:manualLayout>
              </c:layout>
              <c:tx>
                <c:rich>
                  <a:bodyPr/>
                  <a:lstStyle/>
                  <a:p>
                    <a:fld id="{82CD3A45-644B-4868-92CE-E7FCD38751FA}" type="CATEGORYNAME">
                      <a:rPr lang="en-US" b="1" smtClean="0"/>
                      <a:pPr/>
                      <a:t>[CATEGORY NAME]</a:t>
                    </a:fld>
                    <a:endParaRPr lang="en-US" b="1" baseline="0" dirty="0"/>
                  </a:p>
                  <a:p>
                    <a:fld id="{231147F6-9EE7-4386-8EFB-41F115963CC5}" type="VALUE">
                      <a:rPr lang="en-US" baseline="0" smtClean="0"/>
                      <a:pPr/>
                      <a:t>[VALUE]</a:t>
                    </a:fld>
                    <a:endParaRPr lang="en-BG"/>
                  </a:p>
                </c:rich>
              </c:tx>
              <c:dLblPos val="bestFit"/>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6051-9944-B2E8-C20E1416E1B1}"/>
                </c:ext>
              </c:extLst>
            </c:dLbl>
            <c:dLbl>
              <c:idx val="4"/>
              <c:layout>
                <c:manualLayout>
                  <c:x val="0.15631343889565572"/>
                  <c:y val="0.1539268806864412"/>
                </c:manualLayout>
              </c:layout>
              <c:tx>
                <c:rich>
                  <a:bodyPr/>
                  <a:lstStyle/>
                  <a:p>
                    <a:fld id="{78EF547F-DCC8-45EE-978B-0AE91DF2E892}" type="CATEGORYNAME">
                      <a:rPr lang="en-US" b="1" smtClean="0"/>
                      <a:pPr/>
                      <a:t>[CATEGORY NAME]</a:t>
                    </a:fld>
                    <a:endParaRPr lang="en-US" b="1" baseline="0" dirty="0"/>
                  </a:p>
                  <a:p>
                    <a:fld id="{E71D3516-4D08-4C44-9D06-D8FF85CEF6A9}" type="VALUE">
                      <a:rPr lang="en-US" baseline="0" smtClean="0"/>
                      <a:pPr/>
                      <a:t>[VALUE]</a:t>
                    </a:fld>
                    <a:endParaRPr lang="en-BG"/>
                  </a:p>
                </c:rich>
              </c:tx>
              <c:dLblPos val="bestFit"/>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6051-9944-B2E8-C20E1416E1B1}"/>
                </c:ext>
              </c:extLst>
            </c:dLbl>
            <c:dLbl>
              <c:idx val="5"/>
              <c:layout>
                <c:manualLayout>
                  <c:x val="4.0600893219650833E-3"/>
                  <c:y val="8.1356258832598172E-2"/>
                </c:manualLayout>
              </c:layout>
              <c:tx>
                <c:rich>
                  <a:bodyPr/>
                  <a:lstStyle/>
                  <a:p>
                    <a:fld id="{B61FA323-8F0B-4B2A-8B01-F87E79498D3D}" type="CATEGORYNAME">
                      <a:rPr lang="en-US" b="1" smtClean="0"/>
                      <a:pPr/>
                      <a:t>[CATEGORY NAME]</a:t>
                    </a:fld>
                    <a:endParaRPr lang="en-US" b="1" baseline="0" dirty="0"/>
                  </a:p>
                  <a:p>
                    <a:r>
                      <a:rPr lang="en-US" baseline="0" dirty="0"/>
                      <a:t> </a:t>
                    </a:r>
                    <a:fld id="{EF6D1B56-134A-4E64-A6EC-58AC9167E7E9}" type="VALUE">
                      <a:rPr lang="en-US" baseline="0"/>
                      <a:pPr/>
                      <a:t>[VALUE]</a:t>
                    </a:fld>
                    <a:endParaRPr lang="en-US" baseline="0" dirty="0"/>
                  </a:p>
                </c:rich>
              </c:tx>
              <c:dLblPos val="bestFit"/>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6051-9944-B2E8-C20E1416E1B1}"/>
                </c:ext>
              </c:extLst>
            </c:dLbl>
            <c:dLbl>
              <c:idx val="6"/>
              <c:layout>
                <c:manualLayout>
                  <c:x val="1.2180267965895174E-2"/>
                  <c:y val="6.3826349659932807E-2"/>
                </c:manualLayout>
              </c:layout>
              <c:tx>
                <c:rich>
                  <a:bodyPr/>
                  <a:lstStyle/>
                  <a:p>
                    <a:fld id="{FD3110CB-BA85-423A-A05F-87678AAFB720}" type="CATEGORYNAME">
                      <a:rPr lang="en-US" b="1" smtClean="0"/>
                      <a:pPr/>
                      <a:t>[CATEGORY NAME]</a:t>
                    </a:fld>
                    <a:endParaRPr lang="en-US" b="1" dirty="0"/>
                  </a:p>
                  <a:p>
                    <a:r>
                      <a:rPr lang="en-US" baseline="0" dirty="0"/>
                      <a:t> </a:t>
                    </a:r>
                    <a:fld id="{B57150DA-4572-44CA-9BC1-B66AF7154DC3}" type="VALUE">
                      <a:rPr lang="en-US" baseline="0"/>
                      <a:pPr/>
                      <a:t>[VALUE]</a:t>
                    </a:fld>
                    <a:endParaRPr lang="en-US" baseline="0" dirty="0"/>
                  </a:p>
                </c:rich>
              </c:tx>
              <c:dLblPos val="bestFit"/>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6051-9944-B2E8-C20E1416E1B1}"/>
                </c:ext>
              </c:extLst>
            </c:dLbl>
            <c:dLbl>
              <c:idx val="7"/>
              <c:layout>
                <c:manualLayout>
                  <c:x val="0"/>
                  <c:y val="7.9839387840115864E-2"/>
                </c:manualLayout>
              </c:layout>
              <c:tx>
                <c:rich>
                  <a:bodyPr/>
                  <a:lstStyle/>
                  <a:p>
                    <a:fld id="{E5FAC7B6-89AE-4694-BB7C-9858A2BA74DF}" type="CATEGORYNAME">
                      <a:rPr lang="en-US" b="1" smtClean="0"/>
                      <a:pPr/>
                      <a:t>[CATEGORY NAME]</a:t>
                    </a:fld>
                    <a:endParaRPr lang="en-US" b="1" baseline="0" dirty="0"/>
                  </a:p>
                  <a:p>
                    <a:fld id="{468983D0-C685-4587-9968-1440F01BD91C}" type="VALUE">
                      <a:rPr lang="en-US" baseline="0" smtClean="0"/>
                      <a:pPr/>
                      <a:t>[VALUE]</a:t>
                    </a:fld>
                    <a:endParaRPr lang="en-BG"/>
                  </a:p>
                </c:rich>
              </c:tx>
              <c:dLblPos val="bestFit"/>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6051-9944-B2E8-C20E1416E1B1}"/>
                </c:ext>
              </c:extLst>
            </c:dLbl>
            <c:dLbl>
              <c:idx val="8"/>
              <c:layout>
                <c:manualLayout>
                  <c:x val="-0.12992285830288267"/>
                  <c:y val="5.0454331330953318E-2"/>
                </c:manualLayout>
              </c:layout>
              <c:tx>
                <c:rich>
                  <a:bodyPr/>
                  <a:lstStyle/>
                  <a:p>
                    <a:fld id="{6400F5BF-DCDA-433B-8D4D-C73EEB646004}" type="CATEGORYNAME">
                      <a:rPr lang="en-US" b="1" smtClean="0"/>
                      <a:pPr/>
                      <a:t>[CATEGORY NAME]</a:t>
                    </a:fld>
                    <a:endParaRPr lang="en-US" b="1" baseline="0" dirty="0"/>
                  </a:p>
                  <a:p>
                    <a:fld id="{14C72332-5F42-48B8-95BA-A6E5D4664CAE}" type="VALUE">
                      <a:rPr lang="en-US" baseline="0" smtClean="0"/>
                      <a:pPr/>
                      <a:t>[VALUE]</a:t>
                    </a:fld>
                    <a:endParaRPr lang="en-BG"/>
                  </a:p>
                </c:rich>
              </c:tx>
              <c:dLblPos val="bestFit"/>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6051-9944-B2E8-C20E1416E1B1}"/>
                </c:ext>
              </c:extLst>
            </c:dLbl>
            <c:dLbl>
              <c:idx val="9"/>
              <c:layout>
                <c:manualLayout>
                  <c:x val="-4.4660982541615914E-2"/>
                  <c:y val="1.8541156500986915E-2"/>
                </c:manualLayout>
              </c:layout>
              <c:tx>
                <c:rich>
                  <a:bodyPr/>
                  <a:lstStyle/>
                  <a:p>
                    <a:fld id="{8479616D-697E-45EA-94C1-4FF1E5C11AF1}" type="CATEGORYNAME">
                      <a:rPr lang="en-US" b="1" smtClean="0"/>
                      <a:pPr/>
                      <a:t>[CATEGORY NAME]</a:t>
                    </a:fld>
                    <a:r>
                      <a:rPr lang="en-US" baseline="0" dirty="0"/>
                      <a:t> </a:t>
                    </a:r>
                  </a:p>
                  <a:p>
                    <a:fld id="{591DCA76-BDFC-4EF5-BDCC-4D4718FC31F7}" type="VALUE">
                      <a:rPr lang="en-US" baseline="0" smtClean="0"/>
                      <a:pPr/>
                      <a:t>[VALUE]</a:t>
                    </a:fld>
                    <a:endParaRPr lang="en-BG"/>
                  </a:p>
                </c:rich>
              </c:tx>
              <c:dLblPos val="bestFit"/>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6051-9944-B2E8-C20E1416E1B1}"/>
                </c:ext>
              </c:extLst>
            </c:dLbl>
            <c:dLbl>
              <c:idx val="10"/>
              <c:layout>
                <c:manualLayout>
                  <c:x val="0.17458384084449857"/>
                  <c:y val="4.6745774901114638E-2"/>
                </c:manualLayout>
              </c:layout>
              <c:tx>
                <c:rich>
                  <a:bodyPr/>
                  <a:lstStyle/>
                  <a:p>
                    <a:fld id="{B17FDD6E-8056-4C3F-A070-2C5245EA771A}" type="CATEGORYNAME">
                      <a:rPr lang="en-US" smtClean="0">
                        <a:solidFill>
                          <a:schemeClr val="bg1"/>
                        </a:solidFill>
                      </a:rPr>
                      <a:pPr/>
                      <a:t>[CATEGORY NAME]</a:t>
                    </a:fld>
                    <a:endParaRPr lang="en-US" dirty="0">
                      <a:solidFill>
                        <a:schemeClr val="bg1"/>
                      </a:solidFill>
                    </a:endParaRPr>
                  </a:p>
                  <a:p>
                    <a:fld id="{7E1DEA9F-D8DF-4522-8999-B94122E21A05}" type="VALUE">
                      <a:rPr lang="en-US" baseline="0" smtClean="0">
                        <a:solidFill>
                          <a:schemeClr val="bg1"/>
                        </a:solidFill>
                      </a:rPr>
                      <a:pPr/>
                      <a:t>[VALUE]</a:t>
                    </a:fld>
                    <a:endParaRPr lang="en-BG"/>
                  </a:p>
                </c:rich>
              </c:tx>
              <c:dLblPos val="bestFit"/>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5-6051-9944-B2E8-C20E1416E1B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02060"/>
                    </a:solidFill>
                    <a:latin typeface="Montserrat" pitchFamily="2" charset="77"/>
                    <a:ea typeface="+mn-ea"/>
                    <a:cs typeface="+mn-cs"/>
                  </a:defRPr>
                </a:pPr>
                <a:endParaRPr lang="en-BG"/>
              </a:p>
            </c:txPr>
            <c:dLblPos val="outEnd"/>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B$267:$B$277</c:f>
              <c:strCache>
                <c:ptCount val="11"/>
                <c:pt idx="0">
                  <c:v>Volkswagen AG</c:v>
                </c:pt>
                <c:pt idx="1">
                  <c:v>Sanofi S.A.</c:v>
                </c:pt>
                <c:pt idx="2">
                  <c:v>Amazon.com Inc.</c:v>
                </c:pt>
                <c:pt idx="3">
                  <c:v>Deutsche Boerse Commodities GmbH</c:v>
                </c:pt>
                <c:pt idx="4">
                  <c:v>Pfizer Inc.</c:v>
                </c:pt>
                <c:pt idx="5">
                  <c:v>Porsche Automobil Holding SE</c:v>
                </c:pt>
                <c:pt idx="6">
                  <c:v>Mercedes-Benz Group AG</c:v>
                </c:pt>
                <c:pt idx="7">
                  <c:v>Novo-Nordisk AS</c:v>
                </c:pt>
                <c:pt idx="8">
                  <c:v>Apple Inc.</c:v>
                </c:pt>
                <c:pt idx="9">
                  <c:v>Siemens AG</c:v>
                </c:pt>
                <c:pt idx="10">
                  <c:v>Others </c:v>
                </c:pt>
              </c:strCache>
            </c:strRef>
          </c:cat>
          <c:val>
            <c:numRef>
              <c:f>Sheet1!$C$267:$C$277</c:f>
              <c:numCache>
                <c:formatCode>0.00%</c:formatCode>
                <c:ptCount val="11"/>
                <c:pt idx="0">
                  <c:v>0.14167564318583747</c:v>
                </c:pt>
                <c:pt idx="1">
                  <c:v>0.11367138238112973</c:v>
                </c:pt>
                <c:pt idx="2">
                  <c:v>7.7398032624040977E-2</c:v>
                </c:pt>
                <c:pt idx="3">
                  <c:v>6.4681934019658313E-2</c:v>
                </c:pt>
                <c:pt idx="4">
                  <c:v>4.4204672000892745E-2</c:v>
                </c:pt>
                <c:pt idx="5">
                  <c:v>4.1655796243333043E-2</c:v>
                </c:pt>
                <c:pt idx="6">
                  <c:v>4.0988762578864579E-2</c:v>
                </c:pt>
                <c:pt idx="7">
                  <c:v>4.0473333081257459E-2</c:v>
                </c:pt>
                <c:pt idx="8">
                  <c:v>3.9680372249422252E-2</c:v>
                </c:pt>
                <c:pt idx="9">
                  <c:v>3.9336198901471699E-2</c:v>
                </c:pt>
                <c:pt idx="10">
                  <c:v>0.35620000000000002</c:v>
                </c:pt>
              </c:numCache>
            </c:numRef>
          </c:val>
          <c:extLst>
            <c:ext xmlns:c16="http://schemas.microsoft.com/office/drawing/2014/chart" uri="{C3380CC4-5D6E-409C-BE32-E72D297353CC}">
              <c16:uniqueId val="{00000016-6051-9944-B2E8-C20E1416E1B1}"/>
            </c:ext>
          </c:extLst>
        </c:ser>
        <c:dLbls>
          <c:showLegendKey val="0"/>
          <c:showVal val="0"/>
          <c:showCatName val="0"/>
          <c:showSerName val="0"/>
          <c:showPercent val="0"/>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BG"/>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GB"/>
  <c:roundedCorners val="0"/>
  <c:style val="2"/>
  <c:chart>
    <c:title>
      <c:tx>
        <c:rich>
          <a:bodyPr rot="0"/>
          <a:lstStyle/>
          <a:p>
            <a:pPr>
              <a:defRPr sz="3200" b="1" i="0" u="none" strike="noStrike">
                <a:solidFill>
                  <a:srgbClr val="535353"/>
                </a:solidFill>
                <a:latin typeface="Uniform"/>
              </a:defRPr>
            </a:pPr>
            <a:r>
              <a:rPr lang="sl-SI" sz="3200" b="1" i="0" u="none" strike="noStrike" dirty="0">
                <a:solidFill>
                  <a:srgbClr val="535353"/>
                </a:solidFill>
                <a:latin typeface="Uniform"/>
              </a:rPr>
              <a:t>Price share </a:t>
            </a:r>
            <a:r>
              <a:rPr lang="en-US" sz="3200" b="1" i="0" u="none" strike="noStrike" dirty="0">
                <a:solidFill>
                  <a:srgbClr val="535353"/>
                </a:solidFill>
                <a:latin typeface="Uniform"/>
              </a:rPr>
              <a:t>of Shelly Group AD </a:t>
            </a:r>
            <a:r>
              <a:rPr lang="sl-SI" sz="3200" b="1" i="0" u="none" strike="noStrike" dirty="0">
                <a:solidFill>
                  <a:srgbClr val="535353"/>
                </a:solidFill>
                <a:latin typeface="Uniform"/>
              </a:rPr>
              <a:t>in BGN</a:t>
            </a:r>
            <a:r>
              <a:rPr lang="en-US" sz="3200" b="1" i="0" u="none" strike="noStrike" dirty="0">
                <a:solidFill>
                  <a:srgbClr val="535353"/>
                </a:solidFill>
                <a:latin typeface="Uniform"/>
              </a:rPr>
              <a:t>*</a:t>
            </a:r>
            <a:r>
              <a:rPr lang="sl-SI" sz="3200" b="1" i="0" u="none" strike="noStrike" dirty="0">
                <a:solidFill>
                  <a:srgbClr val="535353"/>
                </a:solidFill>
                <a:latin typeface="Uniform"/>
              </a:rPr>
              <a:t> </a:t>
            </a:r>
          </a:p>
        </c:rich>
      </c:tx>
      <c:layout>
        <c:manualLayout>
          <c:xMode val="edge"/>
          <c:yMode val="edge"/>
          <c:x val="0.40465400000000001"/>
          <c:y val="0"/>
          <c:w val="0.190693"/>
          <c:h val="5.7306000000000003E-2"/>
        </c:manualLayout>
      </c:layout>
      <c:overlay val="1"/>
      <c:spPr>
        <a:noFill/>
        <a:effectLst/>
      </c:spPr>
    </c:title>
    <c:autoTitleDeleted val="0"/>
    <c:plotArea>
      <c:layout>
        <c:manualLayout>
          <c:layoutTarget val="inner"/>
          <c:xMode val="edge"/>
          <c:yMode val="edge"/>
          <c:x val="4.5789722207480808E-2"/>
          <c:y val="6.5438149076888941E-2"/>
          <c:w val="0.95369899999999996"/>
          <c:h val="0.90675099999999997"/>
        </c:manualLayout>
      </c:layout>
      <c:lineChart>
        <c:grouping val="standard"/>
        <c:varyColors val="0"/>
        <c:ser>
          <c:idx val="0"/>
          <c:order val="0"/>
          <c:tx>
            <c:strRef>
              <c:f>Sheet1!$B$1</c:f>
              <c:strCache>
                <c:ptCount val="1"/>
                <c:pt idx="0">
                  <c:v>Price in BGN </c:v>
                </c:pt>
              </c:strCache>
            </c:strRef>
          </c:tx>
          <c:spPr>
            <a:ln w="31750" cap="rnd">
              <a:solidFill>
                <a:schemeClr val="accent1"/>
              </a:solidFill>
              <a:prstDash val="solid"/>
              <a:round/>
            </a:ln>
            <a:effectLst/>
          </c:spPr>
          <c:marker>
            <c:symbol val="none"/>
          </c:marker>
          <c:dLbls>
            <c:numFmt formatCode="#,##0.0" sourceLinked="0"/>
            <c:spPr>
              <a:noFill/>
              <a:ln>
                <a:noFill/>
              </a:ln>
              <a:effectLst/>
            </c:spPr>
            <c:txPr>
              <a:bodyPr/>
              <a:lstStyle/>
              <a:p>
                <a:pPr>
                  <a:defRPr sz="1400" b="1" i="0" u="none" strike="noStrike">
                    <a:solidFill>
                      <a:srgbClr val="5C5C5C"/>
                    </a:solidFill>
                    <a:latin typeface="Uniform"/>
                  </a:defRPr>
                </a:pPr>
                <a:endParaRPr lang="en-BG"/>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3</c:f>
              <c:strCache>
                <c:ptCount val="22"/>
                <c:pt idx="0">
                  <c:v>9/1/21</c:v>
                </c:pt>
                <c:pt idx="1">
                  <c:v>11/1/21</c:v>
                </c:pt>
                <c:pt idx="2">
                  <c:v>11/22/21</c:v>
                </c:pt>
                <c:pt idx="3">
                  <c:v>12/1/21</c:v>
                </c:pt>
                <c:pt idx="4">
                  <c:v>1/4/22</c:v>
                </c:pt>
                <c:pt idx="5">
                  <c:v>2/1/22</c:v>
                </c:pt>
                <c:pt idx="6">
                  <c:v>3/1/22</c:v>
                </c:pt>
                <c:pt idx="7">
                  <c:v>6/1/22</c:v>
                </c:pt>
                <c:pt idx="8">
                  <c:v>8/1/22</c:v>
                </c:pt>
                <c:pt idx="9">
                  <c:v>9/1/22</c:v>
                </c:pt>
                <c:pt idx="10">
                  <c:v>10/3/22</c:v>
                </c:pt>
                <c:pt idx="11">
                  <c:v>11/1/22</c:v>
                </c:pt>
                <c:pt idx="12">
                  <c:v>12/1/22</c:v>
                </c:pt>
                <c:pt idx="13">
                  <c:v>2/1/23</c:v>
                </c:pt>
                <c:pt idx="14">
                  <c:v>2/2/23</c:v>
                </c:pt>
                <c:pt idx="15">
                  <c:v>6/1/23</c:v>
                </c:pt>
                <c:pt idx="16">
                  <c:v>7/3/23</c:v>
                </c:pt>
                <c:pt idx="17">
                  <c:v>8/1/23</c:v>
                </c:pt>
                <c:pt idx="18">
                  <c:v>9/1/23</c:v>
                </c:pt>
                <c:pt idx="19">
                  <c:v>10/2/23</c:v>
                </c:pt>
                <c:pt idx="20">
                  <c:v>1/31/24</c:v>
                </c:pt>
                <c:pt idx="21">
                  <c:v>3/25/24</c:v>
                </c:pt>
              </c:strCache>
            </c:strRef>
          </c:cat>
          <c:val>
            <c:numRef>
              <c:f>Sheet1!$B$2:$B$23</c:f>
              <c:numCache>
                <c:formatCode>General</c:formatCode>
                <c:ptCount val="22"/>
                <c:pt idx="0">
                  <c:v>17.7</c:v>
                </c:pt>
                <c:pt idx="1">
                  <c:v>20.399999999999999</c:v>
                </c:pt>
                <c:pt idx="2">
                  <c:v>27.4</c:v>
                </c:pt>
                <c:pt idx="3">
                  <c:v>24.4</c:v>
                </c:pt>
                <c:pt idx="4">
                  <c:v>24.8</c:v>
                </c:pt>
                <c:pt idx="5">
                  <c:v>19.7</c:v>
                </c:pt>
                <c:pt idx="6">
                  <c:v>19</c:v>
                </c:pt>
                <c:pt idx="7">
                  <c:v>18.5</c:v>
                </c:pt>
                <c:pt idx="8">
                  <c:v>17.899999999999999</c:v>
                </c:pt>
                <c:pt idx="9">
                  <c:v>18.600000000000001</c:v>
                </c:pt>
                <c:pt idx="10">
                  <c:v>16.100000000000001</c:v>
                </c:pt>
                <c:pt idx="11">
                  <c:v>18.600000000000001</c:v>
                </c:pt>
                <c:pt idx="12">
                  <c:v>20.399999999999999</c:v>
                </c:pt>
                <c:pt idx="13">
                  <c:v>21.1</c:v>
                </c:pt>
                <c:pt idx="14">
                  <c:v>21.4</c:v>
                </c:pt>
                <c:pt idx="15">
                  <c:v>27.7</c:v>
                </c:pt>
                <c:pt idx="16">
                  <c:v>26.4</c:v>
                </c:pt>
                <c:pt idx="17">
                  <c:v>30.2</c:v>
                </c:pt>
                <c:pt idx="18">
                  <c:v>46.4</c:v>
                </c:pt>
                <c:pt idx="19">
                  <c:v>43</c:v>
                </c:pt>
                <c:pt idx="20">
                  <c:v>58.8</c:v>
                </c:pt>
                <c:pt idx="21">
                  <c:v>66.8</c:v>
                </c:pt>
              </c:numCache>
            </c:numRef>
          </c:val>
          <c:smooth val="0"/>
          <c:extLst>
            <c:ext xmlns:c16="http://schemas.microsoft.com/office/drawing/2014/chart" uri="{C3380CC4-5D6E-409C-BE32-E72D297353CC}">
              <c16:uniqueId val="{00000000-E5FF-4327-8F18-967F5DCBC4C8}"/>
            </c:ext>
          </c:extLst>
        </c:ser>
        <c:dLbls>
          <c:showLegendKey val="0"/>
          <c:showVal val="0"/>
          <c:showCatName val="0"/>
          <c:showSerName val="0"/>
          <c:showPercent val="0"/>
          <c:showBubbleSize val="0"/>
        </c:dLbls>
        <c:smooth val="0"/>
        <c:axId val="2094734552"/>
        <c:axId val="2094734553"/>
      </c:lineChart>
      <c:catAx>
        <c:axId val="2094734552"/>
        <c:scaling>
          <c:orientation val="minMax"/>
        </c:scaling>
        <c:delete val="0"/>
        <c:axPos val="b"/>
        <c:numFmt formatCode="General" sourceLinked="0"/>
        <c:majorTickMark val="none"/>
        <c:minorTickMark val="none"/>
        <c:tickLblPos val="low"/>
        <c:spPr>
          <a:ln w="12700" cap="flat">
            <a:solidFill>
              <a:srgbClr val="F2F2F2"/>
            </a:solidFill>
            <a:prstDash val="solid"/>
            <a:round/>
          </a:ln>
        </c:spPr>
        <c:txPr>
          <a:bodyPr rot="0"/>
          <a:lstStyle/>
          <a:p>
            <a:pPr>
              <a:defRPr sz="1400" b="1" i="0" u="none" strike="noStrike">
                <a:solidFill>
                  <a:srgbClr val="A7A7A7"/>
                </a:solidFill>
                <a:latin typeface="Uniform"/>
              </a:defRPr>
            </a:pPr>
            <a:endParaRPr lang="en-BG"/>
          </a:p>
        </c:txPr>
        <c:crossAx val="2094734553"/>
        <c:crosses val="autoZero"/>
        <c:auto val="1"/>
        <c:lblAlgn val="ctr"/>
        <c:lblOffset val="100"/>
        <c:noMultiLvlLbl val="1"/>
      </c:catAx>
      <c:valAx>
        <c:axId val="2094734553"/>
        <c:scaling>
          <c:orientation val="minMax"/>
        </c:scaling>
        <c:delete val="0"/>
        <c:axPos val="l"/>
        <c:majorGridlines>
          <c:spPr>
            <a:ln w="12700" cap="flat">
              <a:solidFill>
                <a:srgbClr val="F2F2F2"/>
              </a:solidFill>
              <a:prstDash val="solid"/>
              <a:round/>
            </a:ln>
          </c:spPr>
        </c:majorGridlines>
        <c:numFmt formatCode="0.0" sourceLinked="0"/>
        <c:majorTickMark val="none"/>
        <c:minorTickMark val="none"/>
        <c:tickLblPos val="nextTo"/>
        <c:spPr>
          <a:ln w="12700" cap="flat">
            <a:noFill/>
            <a:prstDash val="solid"/>
            <a:round/>
          </a:ln>
        </c:spPr>
        <c:txPr>
          <a:bodyPr rot="0"/>
          <a:lstStyle/>
          <a:p>
            <a:pPr>
              <a:defRPr sz="2400" b="1" i="0" u="none" strike="noStrike">
                <a:solidFill>
                  <a:srgbClr val="4594D1"/>
                </a:solidFill>
                <a:latin typeface="Uniform"/>
              </a:defRPr>
            </a:pPr>
            <a:endParaRPr lang="en-BG"/>
          </a:p>
        </c:txPr>
        <c:crossAx val="2094734552"/>
        <c:crosses val="autoZero"/>
        <c:crossBetween val="between"/>
        <c:majorUnit val="17.5"/>
        <c:minorUnit val="8.75"/>
      </c:valAx>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10.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13.bin"/></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18.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drawings/drawing1.xml><?xml version="1.0" encoding="utf-8"?>
<c:userShapes xmlns:c="http://schemas.openxmlformats.org/drawingml/2006/chart">
  <cdr:relSizeAnchor xmlns:cdr="http://schemas.openxmlformats.org/drawingml/2006/chartDrawing">
    <cdr:from>
      <cdr:x>0.7486</cdr:x>
      <cdr:y>0.13733</cdr:y>
    </cdr:from>
    <cdr:to>
      <cdr:x>0.96963</cdr:x>
      <cdr:y>0.88192</cdr:y>
    </cdr:to>
    <cdr:sp macro="" textlink="">
      <cdr:nvSpPr>
        <cdr:cNvPr id="2" name="Rectangle 1"/>
        <cdr:cNvSpPr/>
      </cdr:nvSpPr>
      <cdr:spPr>
        <a:xfrm xmlns:a="http://schemas.openxmlformats.org/drawingml/2006/main">
          <a:off x="3521583" y="537453"/>
          <a:ext cx="1039751" cy="2914056"/>
        </a:xfrm>
        <a:prstGeom xmlns:a="http://schemas.openxmlformats.org/drawingml/2006/main" prst="rect">
          <a:avLst/>
        </a:prstGeom>
        <a:solidFill xmlns:a="http://schemas.openxmlformats.org/drawingml/2006/main">
          <a:schemeClr val="accent1">
            <a:alpha val="25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endParaRPr lang="bg-BG" sz="1100"/>
        </a:p>
      </cdr:txBody>
    </cdr:sp>
  </cdr:relSizeAnchor>
  <cdr:relSizeAnchor xmlns:cdr="http://schemas.openxmlformats.org/drawingml/2006/chartDrawing">
    <cdr:from>
      <cdr:x>0.76434</cdr:x>
      <cdr:y>0.11916</cdr:y>
    </cdr:from>
    <cdr:to>
      <cdr:x>0.98311</cdr:x>
      <cdr:y>0.22777</cdr:y>
    </cdr:to>
    <cdr:sp macro="" textlink="">
      <cdr:nvSpPr>
        <cdr:cNvPr id="4" name="TextBox 1"/>
        <cdr:cNvSpPr txBox="1"/>
      </cdr:nvSpPr>
      <cdr:spPr>
        <a:xfrm xmlns:a="http://schemas.openxmlformats.org/drawingml/2006/main">
          <a:off x="3595598" y="466340"/>
          <a:ext cx="1029166" cy="42505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900" b="1" dirty="0"/>
            <a:t>Last 12 months,</a:t>
          </a:r>
        </a:p>
        <a:p xmlns:a="http://schemas.openxmlformats.org/drawingml/2006/main">
          <a:r>
            <a:rPr lang="en-US" sz="900" b="1" dirty="0">
              <a:solidFill>
                <a:srgbClr val="00B050"/>
              </a:solidFill>
            </a:rPr>
            <a:t>+32,20 %</a:t>
          </a:r>
          <a:endParaRPr lang="en-US" sz="900" dirty="0"/>
        </a:p>
      </cdr:txBody>
    </cdr:sp>
  </cdr:relSizeAnchor>
  <cdr:relSizeAnchor xmlns:cdr="http://schemas.openxmlformats.org/drawingml/2006/chartDrawing">
    <cdr:from>
      <cdr:x>0.0916</cdr:x>
      <cdr:y>0.00156</cdr:y>
    </cdr:from>
    <cdr:to>
      <cdr:x>0.95076</cdr:x>
      <cdr:y>0.06831</cdr:y>
    </cdr:to>
    <cdr:sp macro="" textlink="">
      <cdr:nvSpPr>
        <cdr:cNvPr id="5" name="TextBox 4">
          <a:extLst xmlns:a="http://schemas.openxmlformats.org/drawingml/2006/main">
            <a:ext uri="{FF2B5EF4-FFF2-40B4-BE49-F238E27FC236}">
              <a16:creationId xmlns:a16="http://schemas.microsoft.com/office/drawing/2014/main" id="{F387469C-80E8-C64B-B585-5927C31B7BF3}"/>
            </a:ext>
          </a:extLst>
        </cdr:cNvPr>
        <cdr:cNvSpPr txBox="1"/>
      </cdr:nvSpPr>
      <cdr:spPr>
        <a:xfrm xmlns:a="http://schemas.openxmlformats.org/drawingml/2006/main">
          <a:off x="430912" y="6096"/>
          <a:ext cx="4041648" cy="26124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GB" b="1" dirty="0">
              <a:solidFill>
                <a:srgbClr val="002060"/>
              </a:solidFill>
              <a:latin typeface="Montserrat SemiBold" pitchFamily="2" charset="77"/>
            </a:rPr>
            <a:t>SOFIX Performance for the period </a:t>
          </a:r>
          <a:r>
            <a:rPr lang="bg-BG" b="1" dirty="0">
              <a:solidFill>
                <a:srgbClr val="002060"/>
              </a:solidFill>
              <a:latin typeface="Montserrat SemiBold" pitchFamily="2" charset="77"/>
            </a:rPr>
            <a:t>(</a:t>
          </a:r>
          <a:r>
            <a:rPr lang="en-GB" b="1" dirty="0">
              <a:solidFill>
                <a:srgbClr val="002060"/>
              </a:solidFill>
              <a:latin typeface="Montserrat SemiBold" pitchFamily="2" charset="77"/>
            </a:rPr>
            <a:t>Q1’ 2020 - Q1’ 2024) </a:t>
          </a:r>
          <a:endParaRPr lang="bg-BG" sz="11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lang="bg-BG"/>
          </a:p>
        </p:txBody>
      </p:sp>
      <p:sp>
        <p:nvSpPr>
          <p:cNvPr id="3" name="Date Placeholder 2"/>
          <p:cNvSpPr>
            <a:spLocks noGrp="1"/>
          </p:cNvSpPr>
          <p:nvPr>
            <p:ph type="dt" idx="1"/>
          </p:nvPr>
        </p:nvSpPr>
        <p:spPr>
          <a:xfrm>
            <a:off x="3855838" y="0"/>
            <a:ext cx="2949787" cy="498693"/>
          </a:xfrm>
          <a:prstGeom prst="rect">
            <a:avLst/>
          </a:prstGeom>
        </p:spPr>
        <p:txBody>
          <a:bodyPr vert="horz" lIns="91440" tIns="45720" rIns="91440" bIns="45720" rtlCol="0"/>
          <a:lstStyle>
            <a:lvl1pPr algn="r">
              <a:defRPr sz="1200"/>
            </a:lvl1pPr>
          </a:lstStyle>
          <a:p>
            <a:fld id="{E1BD3553-A6BB-439C-B84F-AFDDBE29FCBA}" type="datetimeFigureOut">
              <a:rPr lang="bg-BG" smtClean="0"/>
              <a:t>10.04.24 г.</a:t>
            </a:fld>
            <a:endParaRPr lang="bg-BG"/>
          </a:p>
        </p:txBody>
      </p:sp>
      <p:sp>
        <p:nvSpPr>
          <p:cNvPr id="4" name="Slide Image Placeholder 3"/>
          <p:cNvSpPr>
            <a:spLocks noGrp="1" noRot="1" noChangeAspect="1"/>
          </p:cNvSpPr>
          <p:nvPr>
            <p:ph type="sldImg" idx="2"/>
          </p:nvPr>
        </p:nvSpPr>
        <p:spPr>
          <a:xfrm>
            <a:off x="422275" y="1243013"/>
            <a:ext cx="5962650" cy="3354387"/>
          </a:xfrm>
          <a:prstGeom prst="rect">
            <a:avLst/>
          </a:prstGeom>
          <a:noFill/>
          <a:ln w="12700">
            <a:solidFill>
              <a:prstClr val="black"/>
            </a:solidFill>
          </a:ln>
        </p:spPr>
        <p:txBody>
          <a:bodyPr vert="horz" lIns="91440" tIns="45720" rIns="91440" bIns="45720" rtlCol="0" anchor="ctr"/>
          <a:lstStyle/>
          <a:p>
            <a:endParaRPr lang="bg-BG"/>
          </a:p>
        </p:txBody>
      </p:sp>
      <p:sp>
        <p:nvSpPr>
          <p:cNvPr id="5" name="Notes Placeholder 4"/>
          <p:cNvSpPr>
            <a:spLocks noGrp="1"/>
          </p:cNvSpPr>
          <p:nvPr>
            <p:ph type="body" sz="quarter" idx="3"/>
          </p:nvPr>
        </p:nvSpPr>
        <p:spPr>
          <a:xfrm>
            <a:off x="680720" y="4783307"/>
            <a:ext cx="5445760" cy="3913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g-BG"/>
          </a:p>
        </p:txBody>
      </p:sp>
      <p:sp>
        <p:nvSpPr>
          <p:cNvPr id="6" name="Footer Placeholder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vl1pPr>
          </a:lstStyle>
          <a:p>
            <a:endParaRPr lang="bg-BG"/>
          </a:p>
        </p:txBody>
      </p:sp>
      <p:sp>
        <p:nvSpPr>
          <p:cNvPr id="7" name="Slide Number Placeholder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vl1pPr>
          </a:lstStyle>
          <a:p>
            <a:fld id="{06B8AB13-8915-4782-ABAF-C0A135DA80CF}" type="slidenum">
              <a:rPr lang="bg-BG" smtClean="0"/>
              <a:t>‹#›</a:t>
            </a:fld>
            <a:endParaRPr lang="bg-BG"/>
          </a:p>
        </p:txBody>
      </p:sp>
    </p:spTree>
    <p:extLst>
      <p:ext uri="{BB962C8B-B14F-4D97-AF65-F5344CB8AC3E}">
        <p14:creationId xmlns:p14="http://schemas.microsoft.com/office/powerpoint/2010/main" val="34704873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74E617-5DF4-4250-9481-E4FA7BBD5FBB}" type="slidenum">
              <a:rPr lang="en-GB" smtClean="0"/>
              <a:pPr/>
              <a:t>6</a:t>
            </a:fld>
            <a:endParaRPr lang="en-GB" dirty="0"/>
          </a:p>
        </p:txBody>
      </p:sp>
    </p:spTree>
    <p:extLst>
      <p:ext uri="{BB962C8B-B14F-4D97-AF65-F5344CB8AC3E}">
        <p14:creationId xmlns:p14="http://schemas.microsoft.com/office/powerpoint/2010/main" val="19703622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74E617-5DF4-4250-9481-E4FA7BBD5FBB}" type="slidenum">
              <a:rPr lang="en-GB" smtClean="0"/>
              <a:pPr/>
              <a:t>17</a:t>
            </a:fld>
            <a:endParaRPr lang="en-GB" dirty="0"/>
          </a:p>
        </p:txBody>
      </p:sp>
    </p:spTree>
    <p:extLst>
      <p:ext uri="{BB962C8B-B14F-4D97-AF65-F5344CB8AC3E}">
        <p14:creationId xmlns:p14="http://schemas.microsoft.com/office/powerpoint/2010/main" val="25677251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74E617-5DF4-4250-9481-E4FA7BBD5FBB}" type="slidenum">
              <a:rPr lang="en-GB" smtClean="0"/>
              <a:pPr/>
              <a:t>18</a:t>
            </a:fld>
            <a:endParaRPr lang="en-GB" dirty="0"/>
          </a:p>
        </p:txBody>
      </p:sp>
    </p:spTree>
    <p:extLst>
      <p:ext uri="{BB962C8B-B14F-4D97-AF65-F5344CB8AC3E}">
        <p14:creationId xmlns:p14="http://schemas.microsoft.com/office/powerpoint/2010/main" val="39951459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74E617-5DF4-4250-9481-E4FA7BBD5FBB}" type="slidenum">
              <a:rPr lang="en-GB" smtClean="0"/>
              <a:pPr/>
              <a:t>19</a:t>
            </a:fld>
            <a:endParaRPr lang="en-GB" dirty="0"/>
          </a:p>
        </p:txBody>
      </p:sp>
    </p:spTree>
    <p:extLst>
      <p:ext uri="{BB962C8B-B14F-4D97-AF65-F5344CB8AC3E}">
        <p14:creationId xmlns:p14="http://schemas.microsoft.com/office/powerpoint/2010/main" val="13433469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1016000"/>
            <a:ext cx="5853113" cy="3294063"/>
          </a:xfrm>
        </p:spPr>
      </p:sp>
      <p:sp>
        <p:nvSpPr>
          <p:cNvPr id="3" name="Notizenplatzhalter 2"/>
          <p:cNvSpPr>
            <a:spLocks noGrp="1"/>
          </p:cNvSpPr>
          <p:nvPr>
            <p:ph type="body" idx="1"/>
          </p:nvPr>
        </p:nvSpPr>
        <p:spPr/>
        <p:txBody>
          <a:bodyPr/>
          <a:lstStyle/>
          <a:p>
            <a:endParaRPr lang="en-US" dirty="0"/>
          </a:p>
        </p:txBody>
      </p:sp>
      <p:sp>
        <p:nvSpPr>
          <p:cNvPr id="8" name="Datumsplatzhalter 7">
            <a:extLst>
              <a:ext uri="{FF2B5EF4-FFF2-40B4-BE49-F238E27FC236}">
                <a16:creationId xmlns:a16="http://schemas.microsoft.com/office/drawing/2014/main" id="{41E94E21-4E89-422A-BAB1-898D33DDA015}"/>
              </a:ext>
            </a:extLst>
          </p:cNvPr>
          <p:cNvSpPr>
            <a:spLocks noGrp="1"/>
          </p:cNvSpPr>
          <p:nvPr>
            <p:ph type="dt" sz="quarter"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15BDF2-9266-4E83-9C42-C58337EEDB8B}" type="datetime1">
              <a:rPr kumimoji="0" lang="en-US" sz="1000" b="0" i="0" u="none" strike="noStrike" kern="1200" cap="none" spc="0" normalizeH="0" baseline="0" noProof="0">
                <a:ln>
                  <a:noFill/>
                </a:ln>
                <a:solidFill>
                  <a:srgbClr val="666666"/>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0/24</a:t>
            </a:fld>
            <a:endParaRPr kumimoji="0" lang="en-US" sz="1000" b="0" i="0" u="none" strike="noStrike" kern="1200" cap="none" spc="0" normalizeH="0" baseline="0" noProof="0" dirty="0">
              <a:ln>
                <a:noFill/>
              </a:ln>
              <a:solidFill>
                <a:srgbClr val="666666"/>
              </a:solidFill>
              <a:effectLst/>
              <a:uLnTx/>
              <a:uFillTx/>
              <a:latin typeface="Arial"/>
              <a:ea typeface="+mn-ea"/>
              <a:cs typeface="+mn-cs"/>
            </a:endParaRPr>
          </a:p>
        </p:txBody>
      </p:sp>
      <p:sp>
        <p:nvSpPr>
          <p:cNvPr id="9" name="Fußzeilenplatzhalter 8">
            <a:extLst>
              <a:ext uri="{FF2B5EF4-FFF2-40B4-BE49-F238E27FC236}">
                <a16:creationId xmlns:a16="http://schemas.microsoft.com/office/drawing/2014/main" id="{7308269B-31AD-492B-A885-EBECC6199A61}"/>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66666"/>
                </a:solidFill>
                <a:effectLst/>
                <a:uLnTx/>
                <a:uFillTx/>
                <a:latin typeface="Arial"/>
                <a:ea typeface="+mn-ea"/>
                <a:cs typeface="+mn-cs"/>
              </a:rPr>
              <a:t>Title</a:t>
            </a:r>
          </a:p>
        </p:txBody>
      </p:sp>
      <p:sp>
        <p:nvSpPr>
          <p:cNvPr id="10" name="Foliennummernplatzhalter 9">
            <a:extLst>
              <a:ext uri="{FF2B5EF4-FFF2-40B4-BE49-F238E27FC236}">
                <a16:creationId xmlns:a16="http://schemas.microsoft.com/office/drawing/2014/main" id="{568581C7-0721-4E00-B25C-BF29391E316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89DB8B-FD84-473E-8D2A-AD8FDE25B74C}" type="slidenum">
              <a:rPr kumimoji="0" lang="en-US" sz="1000" b="0" i="0" u="none" strike="noStrike" kern="1200" cap="none" spc="0" normalizeH="0" baseline="0" noProof="0">
                <a:ln>
                  <a:noFill/>
                </a:ln>
                <a:solidFill>
                  <a:srgbClr val="666666"/>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000" b="0" i="0" u="none" strike="noStrike" kern="1200" cap="none" spc="0" normalizeH="0" baseline="0" noProof="0" dirty="0">
              <a:ln>
                <a:noFill/>
              </a:ln>
              <a:solidFill>
                <a:srgbClr val="666666"/>
              </a:solidFill>
              <a:effectLst/>
              <a:uLnTx/>
              <a:uFillTx/>
              <a:latin typeface="Arial"/>
              <a:ea typeface="+mn-ea"/>
              <a:cs typeface="+mn-cs"/>
            </a:endParaRPr>
          </a:p>
        </p:txBody>
      </p:sp>
      <p:sp>
        <p:nvSpPr>
          <p:cNvPr id="11" name="Kopfzeilenplatzhalter 10">
            <a:extLst>
              <a:ext uri="{FF2B5EF4-FFF2-40B4-BE49-F238E27FC236}">
                <a16:creationId xmlns:a16="http://schemas.microsoft.com/office/drawing/2014/main" id="{8CA79E49-E281-46EB-AF37-4DB468C0FF98}"/>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66666"/>
                </a:solidFill>
                <a:effectLst/>
                <a:uLnTx/>
                <a:uFillTx/>
                <a:latin typeface="Arial"/>
                <a:ea typeface="+mn-ea"/>
                <a:cs typeface="+mn-cs"/>
              </a:rPr>
              <a:t>Deutsche Börse Group</a:t>
            </a:r>
          </a:p>
        </p:txBody>
      </p:sp>
    </p:spTree>
    <p:extLst>
      <p:ext uri="{BB962C8B-B14F-4D97-AF65-F5344CB8AC3E}">
        <p14:creationId xmlns:p14="http://schemas.microsoft.com/office/powerpoint/2010/main" val="25435637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4AC649-8BE0-4A9E-8D4C-86593153667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16324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33BEA3-C3D8-4718-B684-856C871BE66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59048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3550" y="1016000"/>
            <a:ext cx="5853113" cy="3294063"/>
          </a:xfrm>
        </p:spPr>
      </p:sp>
      <p:sp>
        <p:nvSpPr>
          <p:cNvPr id="3" name="Notes Placeholder 2"/>
          <p:cNvSpPr>
            <a:spLocks noGrp="1"/>
          </p:cNvSpPr>
          <p:nvPr>
            <p:ph type="body" idx="1"/>
          </p:nvPr>
        </p:nvSpPr>
        <p:spPr/>
        <p:txBody>
          <a:bodyPr/>
          <a:lstStyle/>
          <a:p>
            <a:endParaRPr lang="en-US" dirty="0"/>
          </a:p>
        </p:txBody>
      </p:sp>
      <p:sp>
        <p:nvSpPr>
          <p:cNvPr id="8" name="Datumsplatzhalter 7">
            <a:extLst>
              <a:ext uri="{FF2B5EF4-FFF2-40B4-BE49-F238E27FC236}">
                <a16:creationId xmlns:a16="http://schemas.microsoft.com/office/drawing/2014/main" id="{01F786D6-35A6-4048-A225-745B87BB8987}"/>
              </a:ext>
            </a:extLst>
          </p:cNvPr>
          <p:cNvSpPr>
            <a:spLocks noGrp="1"/>
          </p:cNvSpPr>
          <p:nvPr>
            <p:ph type="dt" sz="quarter"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36A725-E0A6-4C08-8A8C-0D379AD9D0A4}"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0/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ußzeilenplatzhalter 8">
            <a:extLst>
              <a:ext uri="{FF2B5EF4-FFF2-40B4-BE49-F238E27FC236}">
                <a16:creationId xmlns:a16="http://schemas.microsoft.com/office/drawing/2014/main" id="{A7D5D571-3BE1-4EFD-A3AA-26194E185F99}"/>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Title</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oliennummernplatzhalter 9">
            <a:extLst>
              <a:ext uri="{FF2B5EF4-FFF2-40B4-BE49-F238E27FC236}">
                <a16:creationId xmlns:a16="http://schemas.microsoft.com/office/drawing/2014/main" id="{9851ABA7-FAD5-4062-B70D-8CB3FFFF594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89DB8B-FD84-473E-8D2A-AD8FDE25B7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Kopfzeilenplatzhalter 10">
            <a:extLst>
              <a:ext uri="{FF2B5EF4-FFF2-40B4-BE49-F238E27FC236}">
                <a16:creationId xmlns:a16="http://schemas.microsoft.com/office/drawing/2014/main" id="{5FFA9067-50B0-4B71-95A6-C66E493C6BDD}"/>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Deutsche Börse Group</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11153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3550" y="1016000"/>
            <a:ext cx="5853113" cy="3294063"/>
          </a:xfrm>
        </p:spPr>
      </p:sp>
      <p:sp>
        <p:nvSpPr>
          <p:cNvPr id="3" name="Notes Placeholder 2"/>
          <p:cNvSpPr>
            <a:spLocks noGrp="1"/>
          </p:cNvSpPr>
          <p:nvPr>
            <p:ph type="body" idx="1"/>
          </p:nvPr>
        </p:nvSpPr>
        <p:spPr/>
        <p:txBody>
          <a:bodyPr/>
          <a:lstStyle/>
          <a:p>
            <a:endParaRPr lang="en-US" dirty="0"/>
          </a:p>
        </p:txBody>
      </p:sp>
      <p:sp>
        <p:nvSpPr>
          <p:cNvPr id="8" name="Datumsplatzhalter 7">
            <a:extLst>
              <a:ext uri="{FF2B5EF4-FFF2-40B4-BE49-F238E27FC236}">
                <a16:creationId xmlns:a16="http://schemas.microsoft.com/office/drawing/2014/main" id="{01F786D6-35A6-4048-A225-745B87BB8987}"/>
              </a:ext>
            </a:extLst>
          </p:cNvPr>
          <p:cNvSpPr>
            <a:spLocks noGrp="1"/>
          </p:cNvSpPr>
          <p:nvPr>
            <p:ph type="dt" sz="quarter"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36A725-E0A6-4C08-8A8C-0D379AD9D0A4}"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0/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ußzeilenplatzhalter 8">
            <a:extLst>
              <a:ext uri="{FF2B5EF4-FFF2-40B4-BE49-F238E27FC236}">
                <a16:creationId xmlns:a16="http://schemas.microsoft.com/office/drawing/2014/main" id="{A7D5D571-3BE1-4EFD-A3AA-26194E185F99}"/>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Title</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oliennummernplatzhalter 9">
            <a:extLst>
              <a:ext uri="{FF2B5EF4-FFF2-40B4-BE49-F238E27FC236}">
                <a16:creationId xmlns:a16="http://schemas.microsoft.com/office/drawing/2014/main" id="{9851ABA7-FAD5-4062-B70D-8CB3FFFF594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89DB8B-FD84-473E-8D2A-AD8FDE25B7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Kopfzeilenplatzhalter 10">
            <a:extLst>
              <a:ext uri="{FF2B5EF4-FFF2-40B4-BE49-F238E27FC236}">
                <a16:creationId xmlns:a16="http://schemas.microsoft.com/office/drawing/2014/main" id="{5FFA9067-50B0-4B71-95A6-C66E493C6BDD}"/>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Deutsche Börse Group</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12078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3550" y="1016000"/>
            <a:ext cx="5853113" cy="3294063"/>
          </a:xfrm>
        </p:spPr>
      </p:sp>
      <p:sp>
        <p:nvSpPr>
          <p:cNvPr id="3" name="Notes Placeholder 2"/>
          <p:cNvSpPr>
            <a:spLocks noGrp="1"/>
          </p:cNvSpPr>
          <p:nvPr>
            <p:ph type="body" idx="1"/>
          </p:nvPr>
        </p:nvSpPr>
        <p:spPr/>
        <p:txBody>
          <a:bodyPr/>
          <a:lstStyle/>
          <a:p>
            <a:endParaRPr lang="en-US" dirty="0"/>
          </a:p>
        </p:txBody>
      </p:sp>
      <p:sp>
        <p:nvSpPr>
          <p:cNvPr id="8" name="Datumsplatzhalter 7">
            <a:extLst>
              <a:ext uri="{FF2B5EF4-FFF2-40B4-BE49-F238E27FC236}">
                <a16:creationId xmlns:a16="http://schemas.microsoft.com/office/drawing/2014/main" id="{01F786D6-35A6-4048-A225-745B87BB8987}"/>
              </a:ext>
            </a:extLst>
          </p:cNvPr>
          <p:cNvSpPr>
            <a:spLocks noGrp="1"/>
          </p:cNvSpPr>
          <p:nvPr>
            <p:ph type="dt" sz="quarter"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36A725-E0A6-4C08-8A8C-0D379AD9D0A4}"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0/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ußzeilenplatzhalter 8">
            <a:extLst>
              <a:ext uri="{FF2B5EF4-FFF2-40B4-BE49-F238E27FC236}">
                <a16:creationId xmlns:a16="http://schemas.microsoft.com/office/drawing/2014/main" id="{A7D5D571-3BE1-4EFD-A3AA-26194E185F99}"/>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Title</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oliennummernplatzhalter 9">
            <a:extLst>
              <a:ext uri="{FF2B5EF4-FFF2-40B4-BE49-F238E27FC236}">
                <a16:creationId xmlns:a16="http://schemas.microsoft.com/office/drawing/2014/main" id="{9851ABA7-FAD5-4062-B70D-8CB3FFFF594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89DB8B-FD84-473E-8D2A-AD8FDE25B7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Kopfzeilenplatzhalter 10">
            <a:extLst>
              <a:ext uri="{FF2B5EF4-FFF2-40B4-BE49-F238E27FC236}">
                <a16:creationId xmlns:a16="http://schemas.microsoft.com/office/drawing/2014/main" id="{5FFA9067-50B0-4B71-95A6-C66E493C6BDD}"/>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Deutsche Börse Group</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15938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3550" y="1016000"/>
            <a:ext cx="5853113" cy="3294063"/>
          </a:xfrm>
        </p:spPr>
      </p:sp>
      <p:sp>
        <p:nvSpPr>
          <p:cNvPr id="3" name="Notes Placeholder 2"/>
          <p:cNvSpPr>
            <a:spLocks noGrp="1"/>
          </p:cNvSpPr>
          <p:nvPr>
            <p:ph type="body" idx="1"/>
          </p:nvPr>
        </p:nvSpPr>
        <p:spPr/>
        <p:txBody>
          <a:bodyPr/>
          <a:lstStyle/>
          <a:p>
            <a:endParaRPr lang="en-US" dirty="0"/>
          </a:p>
        </p:txBody>
      </p:sp>
      <p:sp>
        <p:nvSpPr>
          <p:cNvPr id="8" name="Datumsplatzhalter 7">
            <a:extLst>
              <a:ext uri="{FF2B5EF4-FFF2-40B4-BE49-F238E27FC236}">
                <a16:creationId xmlns:a16="http://schemas.microsoft.com/office/drawing/2014/main" id="{01F786D6-35A6-4048-A225-745B87BB8987}"/>
              </a:ext>
            </a:extLst>
          </p:cNvPr>
          <p:cNvSpPr>
            <a:spLocks noGrp="1"/>
          </p:cNvSpPr>
          <p:nvPr>
            <p:ph type="dt" sz="quarter"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36A725-E0A6-4C08-8A8C-0D379AD9D0A4}"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0/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ußzeilenplatzhalter 8">
            <a:extLst>
              <a:ext uri="{FF2B5EF4-FFF2-40B4-BE49-F238E27FC236}">
                <a16:creationId xmlns:a16="http://schemas.microsoft.com/office/drawing/2014/main" id="{A7D5D571-3BE1-4EFD-A3AA-26194E185F99}"/>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Title</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oliennummernplatzhalter 9">
            <a:extLst>
              <a:ext uri="{FF2B5EF4-FFF2-40B4-BE49-F238E27FC236}">
                <a16:creationId xmlns:a16="http://schemas.microsoft.com/office/drawing/2014/main" id="{9851ABA7-FAD5-4062-B70D-8CB3FFFF594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89DB8B-FD84-473E-8D2A-AD8FDE25B7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Kopfzeilenplatzhalter 10">
            <a:extLst>
              <a:ext uri="{FF2B5EF4-FFF2-40B4-BE49-F238E27FC236}">
                <a16:creationId xmlns:a16="http://schemas.microsoft.com/office/drawing/2014/main" id="{5FFA9067-50B0-4B71-95A6-C66E493C6BDD}"/>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Deutsche Börse Group</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9962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74E617-5DF4-4250-9481-E4FA7BBD5FBB}" type="slidenum">
              <a:rPr lang="en-GB" smtClean="0"/>
              <a:pPr/>
              <a:t>7</a:t>
            </a:fld>
            <a:endParaRPr lang="en-GB" dirty="0"/>
          </a:p>
        </p:txBody>
      </p:sp>
    </p:spTree>
    <p:extLst>
      <p:ext uri="{BB962C8B-B14F-4D97-AF65-F5344CB8AC3E}">
        <p14:creationId xmlns:p14="http://schemas.microsoft.com/office/powerpoint/2010/main" val="36791219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3550" y="1016000"/>
            <a:ext cx="5853113" cy="3294063"/>
          </a:xfrm>
        </p:spPr>
      </p:sp>
      <p:sp>
        <p:nvSpPr>
          <p:cNvPr id="3" name="Notes Placeholder 2"/>
          <p:cNvSpPr>
            <a:spLocks noGrp="1"/>
          </p:cNvSpPr>
          <p:nvPr>
            <p:ph type="body" idx="1"/>
          </p:nvPr>
        </p:nvSpPr>
        <p:spPr/>
        <p:txBody>
          <a:bodyPr/>
          <a:lstStyle/>
          <a:p>
            <a:endParaRPr lang="en-US" dirty="0"/>
          </a:p>
        </p:txBody>
      </p:sp>
      <p:sp>
        <p:nvSpPr>
          <p:cNvPr id="8" name="Datumsplatzhalter 7">
            <a:extLst>
              <a:ext uri="{FF2B5EF4-FFF2-40B4-BE49-F238E27FC236}">
                <a16:creationId xmlns:a16="http://schemas.microsoft.com/office/drawing/2014/main" id="{01F786D6-35A6-4048-A225-745B87BB8987}"/>
              </a:ext>
            </a:extLst>
          </p:cNvPr>
          <p:cNvSpPr>
            <a:spLocks noGrp="1"/>
          </p:cNvSpPr>
          <p:nvPr>
            <p:ph type="dt" sz="quarter"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36A725-E0A6-4C08-8A8C-0D379AD9D0A4}"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0/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ußzeilenplatzhalter 8">
            <a:extLst>
              <a:ext uri="{FF2B5EF4-FFF2-40B4-BE49-F238E27FC236}">
                <a16:creationId xmlns:a16="http://schemas.microsoft.com/office/drawing/2014/main" id="{A7D5D571-3BE1-4EFD-A3AA-26194E185F99}"/>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Title</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oliennummernplatzhalter 9">
            <a:extLst>
              <a:ext uri="{FF2B5EF4-FFF2-40B4-BE49-F238E27FC236}">
                <a16:creationId xmlns:a16="http://schemas.microsoft.com/office/drawing/2014/main" id="{9851ABA7-FAD5-4062-B70D-8CB3FFFF594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89DB8B-FD84-473E-8D2A-AD8FDE25B7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Kopfzeilenplatzhalter 10">
            <a:extLst>
              <a:ext uri="{FF2B5EF4-FFF2-40B4-BE49-F238E27FC236}">
                <a16:creationId xmlns:a16="http://schemas.microsoft.com/office/drawing/2014/main" id="{5FFA9067-50B0-4B71-95A6-C66E493C6BDD}"/>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Deutsche Börse Group</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03078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dirty="0"/>
          </a:p>
        </p:txBody>
      </p:sp>
      <p:sp>
        <p:nvSpPr>
          <p:cNvPr id="4" name="Slide Number Placeholder 3"/>
          <p:cNvSpPr>
            <a:spLocks noGrp="1"/>
          </p:cNvSpPr>
          <p:nvPr>
            <p:ph type="sldNum" sz="quarter" idx="10"/>
          </p:nvPr>
        </p:nvSpPr>
        <p:spPr/>
        <p:txBody>
          <a:bodyPr/>
          <a:lstStyle/>
          <a:p>
            <a:fld id="{A04BFAC4-41CC-4697-8E57-8F0562C12F28}" type="slidenum">
              <a:rPr lang="bg-BG" smtClean="0"/>
              <a:t>68</a:t>
            </a:fld>
            <a:endParaRPr lang="bg-BG"/>
          </a:p>
        </p:txBody>
      </p:sp>
    </p:spTree>
    <p:extLst>
      <p:ext uri="{BB962C8B-B14F-4D97-AF65-F5344CB8AC3E}">
        <p14:creationId xmlns:p14="http://schemas.microsoft.com/office/powerpoint/2010/main" val="14078479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74E617-5DF4-4250-9481-E4FA7BBD5FBB}" type="slidenum">
              <a:rPr lang="en-GB" smtClean="0"/>
              <a:pPr/>
              <a:t>9</a:t>
            </a:fld>
            <a:endParaRPr lang="en-GB" dirty="0"/>
          </a:p>
        </p:txBody>
      </p:sp>
    </p:spTree>
    <p:extLst>
      <p:ext uri="{BB962C8B-B14F-4D97-AF65-F5344CB8AC3E}">
        <p14:creationId xmlns:p14="http://schemas.microsoft.com/office/powerpoint/2010/main" val="8094537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74E617-5DF4-4250-9481-E4FA7BBD5FBB}" type="slidenum">
              <a:rPr lang="en-GB" smtClean="0"/>
              <a:pPr/>
              <a:t>10</a:t>
            </a:fld>
            <a:endParaRPr lang="en-GB" dirty="0"/>
          </a:p>
        </p:txBody>
      </p:sp>
    </p:spTree>
    <p:extLst>
      <p:ext uri="{BB962C8B-B14F-4D97-AF65-F5344CB8AC3E}">
        <p14:creationId xmlns:p14="http://schemas.microsoft.com/office/powerpoint/2010/main" val="2851598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74E617-5DF4-4250-9481-E4FA7BBD5FBB}" type="slidenum">
              <a:rPr lang="en-GB" smtClean="0"/>
              <a:pPr/>
              <a:t>11</a:t>
            </a:fld>
            <a:endParaRPr lang="en-GB" dirty="0"/>
          </a:p>
        </p:txBody>
      </p:sp>
    </p:spTree>
    <p:extLst>
      <p:ext uri="{BB962C8B-B14F-4D97-AF65-F5344CB8AC3E}">
        <p14:creationId xmlns:p14="http://schemas.microsoft.com/office/powerpoint/2010/main" val="1259065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74E617-5DF4-4250-9481-E4FA7BBD5FBB}" type="slidenum">
              <a:rPr lang="en-GB" smtClean="0"/>
              <a:pPr/>
              <a:t>12</a:t>
            </a:fld>
            <a:endParaRPr lang="en-GB" dirty="0"/>
          </a:p>
        </p:txBody>
      </p:sp>
    </p:spTree>
    <p:extLst>
      <p:ext uri="{BB962C8B-B14F-4D97-AF65-F5344CB8AC3E}">
        <p14:creationId xmlns:p14="http://schemas.microsoft.com/office/powerpoint/2010/main" val="4562437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74E617-5DF4-4250-9481-E4FA7BBD5FBB}" type="slidenum">
              <a:rPr lang="en-GB" smtClean="0"/>
              <a:pPr/>
              <a:t>13</a:t>
            </a:fld>
            <a:endParaRPr lang="en-GB" dirty="0"/>
          </a:p>
        </p:txBody>
      </p:sp>
    </p:spTree>
    <p:extLst>
      <p:ext uri="{BB962C8B-B14F-4D97-AF65-F5344CB8AC3E}">
        <p14:creationId xmlns:p14="http://schemas.microsoft.com/office/powerpoint/2010/main" val="36141186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74E617-5DF4-4250-9481-E4FA7BBD5FBB}" type="slidenum">
              <a:rPr lang="en-GB" smtClean="0"/>
              <a:pPr/>
              <a:t>14</a:t>
            </a:fld>
            <a:endParaRPr lang="en-GB" dirty="0"/>
          </a:p>
        </p:txBody>
      </p:sp>
    </p:spTree>
    <p:extLst>
      <p:ext uri="{BB962C8B-B14F-4D97-AF65-F5344CB8AC3E}">
        <p14:creationId xmlns:p14="http://schemas.microsoft.com/office/powerpoint/2010/main" val="10363852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74E617-5DF4-4250-9481-E4FA7BBD5FBB}" type="slidenum">
              <a:rPr lang="en-GB" smtClean="0"/>
              <a:pPr/>
              <a:t>16</a:t>
            </a:fld>
            <a:endParaRPr lang="en-GB" dirty="0"/>
          </a:p>
        </p:txBody>
      </p:sp>
    </p:spTree>
    <p:extLst>
      <p:ext uri="{BB962C8B-B14F-4D97-AF65-F5344CB8AC3E}">
        <p14:creationId xmlns:p14="http://schemas.microsoft.com/office/powerpoint/2010/main" val="29891841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0.sv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9.png"/><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sv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0.sv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13.emf"/><Relationship Id="rId4" Type="http://schemas.openxmlformats.org/officeDocument/2006/relationships/oleObject" Target="../embeddings/oleObject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7.sv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6.png"/><Relationship Id="rId5" Type="http://schemas.openxmlformats.org/officeDocument/2006/relationships/image" Target="../media/image13.emf"/><Relationship Id="rId4" Type="http://schemas.openxmlformats.org/officeDocument/2006/relationships/oleObject" Target="../embeddings/oleObject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7.svg"/><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16.png"/><Relationship Id="rId5" Type="http://schemas.openxmlformats.org/officeDocument/2006/relationships/image" Target="../media/image13.emf"/><Relationship Id="rId4" Type="http://schemas.openxmlformats.org/officeDocument/2006/relationships/oleObject" Target="../embeddings/oleObject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13.emf"/><Relationship Id="rId4" Type="http://schemas.openxmlformats.org/officeDocument/2006/relationships/oleObject" Target="../embeddings/oleObject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13.emf"/><Relationship Id="rId4" Type="http://schemas.openxmlformats.org/officeDocument/2006/relationships/oleObject" Target="../embeddings/oleObject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13.emf"/><Relationship Id="rId4" Type="http://schemas.openxmlformats.org/officeDocument/2006/relationships/oleObject" Target="../embeddings/oleObject10.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13.emf"/><Relationship Id="rId4" Type="http://schemas.openxmlformats.org/officeDocument/2006/relationships/oleObject" Target="../embeddings/oleObject1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2.vml"/><Relationship Id="rId5" Type="http://schemas.openxmlformats.org/officeDocument/2006/relationships/image" Target="../media/image13.emf"/><Relationship Id="rId4" Type="http://schemas.openxmlformats.org/officeDocument/2006/relationships/oleObject" Target="../embeddings/oleObject1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3.vml"/><Relationship Id="rId5" Type="http://schemas.openxmlformats.org/officeDocument/2006/relationships/image" Target="../media/image13.emf"/><Relationship Id="rId4" Type="http://schemas.openxmlformats.org/officeDocument/2006/relationships/oleObject" Target="../embeddings/oleObject1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4.vml"/><Relationship Id="rId5" Type="http://schemas.openxmlformats.org/officeDocument/2006/relationships/image" Target="../media/image13.emf"/><Relationship Id="rId4" Type="http://schemas.openxmlformats.org/officeDocument/2006/relationships/oleObject" Target="../embeddings/oleObject1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5.vml"/><Relationship Id="rId5" Type="http://schemas.openxmlformats.org/officeDocument/2006/relationships/image" Target="../media/image13.emf"/><Relationship Id="rId4" Type="http://schemas.openxmlformats.org/officeDocument/2006/relationships/oleObject" Target="../embeddings/oleObject1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6.vml"/><Relationship Id="rId5" Type="http://schemas.openxmlformats.org/officeDocument/2006/relationships/image" Target="../media/image13.emf"/><Relationship Id="rId4" Type="http://schemas.openxmlformats.org/officeDocument/2006/relationships/oleObject" Target="../embeddings/oleObject1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7.vml"/><Relationship Id="rId5" Type="http://schemas.openxmlformats.org/officeDocument/2006/relationships/image" Target="../media/image13.emf"/><Relationship Id="rId4" Type="http://schemas.openxmlformats.org/officeDocument/2006/relationships/oleObject" Target="../embeddings/oleObject1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18.vml"/><Relationship Id="rId5" Type="http://schemas.openxmlformats.org/officeDocument/2006/relationships/image" Target="../media/image13.emf"/><Relationship Id="rId4" Type="http://schemas.openxmlformats.org/officeDocument/2006/relationships/oleObject" Target="../embeddings/oleObject1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19.vml"/><Relationship Id="rId5" Type="http://schemas.openxmlformats.org/officeDocument/2006/relationships/image" Target="../media/image13.emf"/><Relationship Id="rId4" Type="http://schemas.openxmlformats.org/officeDocument/2006/relationships/oleObject" Target="../embeddings/oleObject1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vmlDrawing" Target="../drawings/vmlDrawing20.vml"/><Relationship Id="rId5" Type="http://schemas.openxmlformats.org/officeDocument/2006/relationships/image" Target="../media/image13.emf"/><Relationship Id="rId4" Type="http://schemas.openxmlformats.org/officeDocument/2006/relationships/oleObject" Target="../embeddings/oleObject20.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vmlDrawing" Target="../drawings/vmlDrawing21.vml"/><Relationship Id="rId5" Type="http://schemas.openxmlformats.org/officeDocument/2006/relationships/image" Target="../media/image13.emf"/><Relationship Id="rId4" Type="http://schemas.openxmlformats.org/officeDocument/2006/relationships/oleObject" Target="../embeddings/oleObject2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2.vml"/><Relationship Id="rId5" Type="http://schemas.openxmlformats.org/officeDocument/2006/relationships/image" Target="../media/image13.emf"/><Relationship Id="rId4" Type="http://schemas.openxmlformats.org/officeDocument/2006/relationships/oleObject" Target="../embeddings/oleObject2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3.vml"/><Relationship Id="rId5" Type="http://schemas.openxmlformats.org/officeDocument/2006/relationships/image" Target="../media/image13.emf"/><Relationship Id="rId4" Type="http://schemas.openxmlformats.org/officeDocument/2006/relationships/oleObject" Target="../embeddings/oleObject2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4.vml"/><Relationship Id="rId5" Type="http://schemas.openxmlformats.org/officeDocument/2006/relationships/image" Target="../media/image13.emf"/><Relationship Id="rId4" Type="http://schemas.openxmlformats.org/officeDocument/2006/relationships/oleObject" Target="../embeddings/oleObject24.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5.vml"/><Relationship Id="rId5" Type="http://schemas.openxmlformats.org/officeDocument/2006/relationships/image" Target="../media/image13.emf"/><Relationship Id="rId4" Type="http://schemas.openxmlformats.org/officeDocument/2006/relationships/oleObject" Target="../embeddings/oleObject2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6.vml"/><Relationship Id="rId5" Type="http://schemas.openxmlformats.org/officeDocument/2006/relationships/image" Target="../media/image13.emf"/><Relationship Id="rId4" Type="http://schemas.openxmlformats.org/officeDocument/2006/relationships/oleObject" Target="../embeddings/oleObject26.bin"/></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9.xml"/><Relationship Id="rId1" Type="http://schemas.openxmlformats.org/officeDocument/2006/relationships/vmlDrawing" Target="../drawings/vmlDrawing27.vml"/><Relationship Id="rId6" Type="http://schemas.openxmlformats.org/officeDocument/2006/relationships/image" Target="../media/image18.emf"/><Relationship Id="rId5" Type="http://schemas.openxmlformats.org/officeDocument/2006/relationships/image" Target="../media/image13.emf"/><Relationship Id="rId4" Type="http://schemas.openxmlformats.org/officeDocument/2006/relationships/oleObject" Target="../embeddings/oleObject27.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svg"/><Relationship Id="rId2" Type="http://schemas.openxmlformats.org/officeDocument/2006/relationships/tags" Target="../tags/tag30.xml"/><Relationship Id="rId1" Type="http://schemas.openxmlformats.org/officeDocument/2006/relationships/vmlDrawing" Target="../drawings/vmlDrawing28.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28.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31.xml"/><Relationship Id="rId1" Type="http://schemas.openxmlformats.org/officeDocument/2006/relationships/vmlDrawing" Target="../drawings/vmlDrawing29.vml"/><Relationship Id="rId6" Type="http://schemas.openxmlformats.org/officeDocument/2006/relationships/image" Target="../media/image18.emf"/><Relationship Id="rId5" Type="http://schemas.openxmlformats.org/officeDocument/2006/relationships/image" Target="../media/image13.emf"/><Relationship Id="rId4" Type="http://schemas.openxmlformats.org/officeDocument/2006/relationships/oleObject" Target="../embeddings/oleObject29.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svg"/><Relationship Id="rId2" Type="http://schemas.openxmlformats.org/officeDocument/2006/relationships/tags" Target="../tags/tag32.xml"/><Relationship Id="rId1" Type="http://schemas.openxmlformats.org/officeDocument/2006/relationships/vmlDrawing" Target="../drawings/vmlDrawing30.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30.bin"/></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33.xml"/><Relationship Id="rId1" Type="http://schemas.openxmlformats.org/officeDocument/2006/relationships/vmlDrawing" Target="../drawings/vmlDrawing31.vml"/><Relationship Id="rId6" Type="http://schemas.openxmlformats.org/officeDocument/2006/relationships/image" Target="../media/image18.emf"/><Relationship Id="rId5" Type="http://schemas.openxmlformats.org/officeDocument/2006/relationships/image" Target="../media/image13.emf"/><Relationship Id="rId4" Type="http://schemas.openxmlformats.org/officeDocument/2006/relationships/oleObject" Target="../embeddings/oleObject31.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2.vml"/><Relationship Id="rId5" Type="http://schemas.openxmlformats.org/officeDocument/2006/relationships/image" Target="../media/image13.emf"/><Relationship Id="rId4" Type="http://schemas.openxmlformats.org/officeDocument/2006/relationships/oleObject" Target="../embeddings/oleObject32.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3.vml"/><Relationship Id="rId5" Type="http://schemas.openxmlformats.org/officeDocument/2006/relationships/image" Target="../media/image13.emf"/><Relationship Id="rId4" Type="http://schemas.openxmlformats.org/officeDocument/2006/relationships/oleObject" Target="../embeddings/oleObject33.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4.vml"/><Relationship Id="rId5" Type="http://schemas.openxmlformats.org/officeDocument/2006/relationships/image" Target="../media/image13.emf"/><Relationship Id="rId4" Type="http://schemas.openxmlformats.org/officeDocument/2006/relationships/oleObject" Target="../embeddings/oleObject34.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5.vml"/><Relationship Id="rId5" Type="http://schemas.openxmlformats.org/officeDocument/2006/relationships/image" Target="../media/image19.emf"/><Relationship Id="rId4" Type="http://schemas.openxmlformats.org/officeDocument/2006/relationships/oleObject" Target="../embeddings/oleObject35.bin"/></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36.vml"/><Relationship Id="rId5" Type="http://schemas.openxmlformats.org/officeDocument/2006/relationships/image" Target="../media/image13.emf"/><Relationship Id="rId4" Type="http://schemas.openxmlformats.org/officeDocument/2006/relationships/oleObject" Target="../embeddings/oleObject36.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37.vml"/><Relationship Id="rId5" Type="http://schemas.openxmlformats.org/officeDocument/2006/relationships/image" Target="../media/image20.emf"/><Relationship Id="rId4" Type="http://schemas.openxmlformats.org/officeDocument/2006/relationships/oleObject" Target="../embeddings/oleObject37.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38.vml"/><Relationship Id="rId6" Type="http://schemas.openxmlformats.org/officeDocument/2006/relationships/image" Target="../media/image18.emf"/><Relationship Id="rId5" Type="http://schemas.openxmlformats.org/officeDocument/2006/relationships/image" Target="../media/image13.emf"/><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0.svg"/><Relationship Id="rId2" Type="http://schemas.openxmlformats.org/officeDocument/2006/relationships/tags" Target="../tags/tag44.xml"/><Relationship Id="rId1" Type="http://schemas.openxmlformats.org/officeDocument/2006/relationships/vmlDrawing" Target="../drawings/vmlDrawing40.vml"/><Relationship Id="rId6" Type="http://schemas.openxmlformats.org/officeDocument/2006/relationships/image" Target="../media/image9.png"/><Relationship Id="rId5" Type="http://schemas.openxmlformats.org/officeDocument/2006/relationships/image" Target="../media/image13.emf"/><Relationship Id="rId4" Type="http://schemas.openxmlformats.org/officeDocument/2006/relationships/oleObject" Target="../embeddings/oleObject40.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5.svg"/><Relationship Id="rId2" Type="http://schemas.openxmlformats.org/officeDocument/2006/relationships/tags" Target="../tags/tag45.xml"/><Relationship Id="rId1" Type="http://schemas.openxmlformats.org/officeDocument/2006/relationships/vmlDrawing" Target="../drawings/vmlDrawing41.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41.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0.svg"/><Relationship Id="rId2" Type="http://schemas.openxmlformats.org/officeDocument/2006/relationships/tags" Target="../tags/tag46.xml"/><Relationship Id="rId1" Type="http://schemas.openxmlformats.org/officeDocument/2006/relationships/vmlDrawing" Target="../drawings/vmlDrawing42.vml"/><Relationship Id="rId6" Type="http://schemas.openxmlformats.org/officeDocument/2006/relationships/image" Target="../media/image9.png"/><Relationship Id="rId5" Type="http://schemas.openxmlformats.org/officeDocument/2006/relationships/image" Target="../media/image13.emf"/><Relationship Id="rId4" Type="http://schemas.openxmlformats.org/officeDocument/2006/relationships/oleObject" Target="../embeddings/oleObject42.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7.svg"/><Relationship Id="rId2" Type="http://schemas.openxmlformats.org/officeDocument/2006/relationships/tags" Target="../tags/tag47.xml"/><Relationship Id="rId1" Type="http://schemas.openxmlformats.org/officeDocument/2006/relationships/vmlDrawing" Target="../drawings/vmlDrawing43.vml"/><Relationship Id="rId6" Type="http://schemas.openxmlformats.org/officeDocument/2006/relationships/image" Target="../media/image16.png"/><Relationship Id="rId5" Type="http://schemas.openxmlformats.org/officeDocument/2006/relationships/image" Target="../media/image13.emf"/><Relationship Id="rId4" Type="http://schemas.openxmlformats.org/officeDocument/2006/relationships/oleObject" Target="../embeddings/oleObject43.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7.svg"/><Relationship Id="rId2" Type="http://schemas.openxmlformats.org/officeDocument/2006/relationships/tags" Target="../tags/tag48.xml"/><Relationship Id="rId1" Type="http://schemas.openxmlformats.org/officeDocument/2006/relationships/vmlDrawing" Target="../drawings/vmlDrawing44.vml"/><Relationship Id="rId6" Type="http://schemas.openxmlformats.org/officeDocument/2006/relationships/image" Target="../media/image16.png"/><Relationship Id="rId5" Type="http://schemas.openxmlformats.org/officeDocument/2006/relationships/image" Target="../media/image13.emf"/><Relationship Id="rId4" Type="http://schemas.openxmlformats.org/officeDocument/2006/relationships/oleObject" Target="../embeddings/oleObject44.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vmlDrawing" Target="../drawings/vmlDrawing45.vml"/><Relationship Id="rId5" Type="http://schemas.openxmlformats.org/officeDocument/2006/relationships/image" Target="../media/image13.emf"/><Relationship Id="rId4" Type="http://schemas.openxmlformats.org/officeDocument/2006/relationships/oleObject" Target="../embeddings/oleObject45.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vmlDrawing" Target="../drawings/vmlDrawing46.vml"/><Relationship Id="rId5" Type="http://schemas.openxmlformats.org/officeDocument/2006/relationships/image" Target="../media/image13.emf"/><Relationship Id="rId4" Type="http://schemas.openxmlformats.org/officeDocument/2006/relationships/oleObject" Target="../embeddings/oleObject46.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vmlDrawing" Target="../drawings/vmlDrawing47.vml"/><Relationship Id="rId5" Type="http://schemas.openxmlformats.org/officeDocument/2006/relationships/image" Target="../media/image13.emf"/><Relationship Id="rId4" Type="http://schemas.openxmlformats.org/officeDocument/2006/relationships/oleObject" Target="../embeddings/oleObject47.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vmlDrawing" Target="../drawings/vmlDrawing48.vml"/><Relationship Id="rId5" Type="http://schemas.openxmlformats.org/officeDocument/2006/relationships/image" Target="../media/image13.emf"/><Relationship Id="rId4" Type="http://schemas.openxmlformats.org/officeDocument/2006/relationships/oleObject" Target="../embeddings/oleObject48.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49.vml"/><Relationship Id="rId5" Type="http://schemas.openxmlformats.org/officeDocument/2006/relationships/image" Target="../media/image13.emf"/><Relationship Id="rId4" Type="http://schemas.openxmlformats.org/officeDocument/2006/relationships/oleObject" Target="../embeddings/oleObject49.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vmlDrawing" Target="../drawings/vmlDrawing50.vml"/><Relationship Id="rId5" Type="http://schemas.openxmlformats.org/officeDocument/2006/relationships/image" Target="../media/image13.emf"/><Relationship Id="rId4" Type="http://schemas.openxmlformats.org/officeDocument/2006/relationships/oleObject" Target="../embeddings/oleObject50.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vmlDrawing" Target="../drawings/vmlDrawing51.vml"/><Relationship Id="rId5" Type="http://schemas.openxmlformats.org/officeDocument/2006/relationships/image" Target="../media/image13.emf"/><Relationship Id="rId4" Type="http://schemas.openxmlformats.org/officeDocument/2006/relationships/oleObject" Target="../embeddings/oleObject51.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vmlDrawing" Target="../drawings/vmlDrawing52.vml"/><Relationship Id="rId5" Type="http://schemas.openxmlformats.org/officeDocument/2006/relationships/image" Target="../media/image13.emf"/><Relationship Id="rId4" Type="http://schemas.openxmlformats.org/officeDocument/2006/relationships/oleObject" Target="../embeddings/oleObject52.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vmlDrawing" Target="../drawings/vmlDrawing53.vml"/><Relationship Id="rId5" Type="http://schemas.openxmlformats.org/officeDocument/2006/relationships/image" Target="../media/image13.emf"/><Relationship Id="rId4" Type="http://schemas.openxmlformats.org/officeDocument/2006/relationships/oleObject" Target="../embeddings/oleObject53.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xml"/><Relationship Id="rId1" Type="http://schemas.openxmlformats.org/officeDocument/2006/relationships/vmlDrawing" Target="../drawings/vmlDrawing54.vml"/><Relationship Id="rId5" Type="http://schemas.openxmlformats.org/officeDocument/2006/relationships/image" Target="../media/image13.emf"/><Relationship Id="rId4" Type="http://schemas.openxmlformats.org/officeDocument/2006/relationships/oleObject" Target="../embeddings/oleObject54.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9.xml"/><Relationship Id="rId1" Type="http://schemas.openxmlformats.org/officeDocument/2006/relationships/vmlDrawing" Target="../drawings/vmlDrawing55.vml"/><Relationship Id="rId5" Type="http://schemas.openxmlformats.org/officeDocument/2006/relationships/image" Target="../media/image13.emf"/><Relationship Id="rId4" Type="http://schemas.openxmlformats.org/officeDocument/2006/relationships/oleObject" Target="../embeddings/oleObject55.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0.xml"/><Relationship Id="rId1" Type="http://schemas.openxmlformats.org/officeDocument/2006/relationships/vmlDrawing" Target="../drawings/vmlDrawing56.vml"/><Relationship Id="rId5" Type="http://schemas.openxmlformats.org/officeDocument/2006/relationships/image" Target="../media/image13.emf"/><Relationship Id="rId4" Type="http://schemas.openxmlformats.org/officeDocument/2006/relationships/oleObject" Target="../embeddings/oleObject56.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1.xml"/><Relationship Id="rId1" Type="http://schemas.openxmlformats.org/officeDocument/2006/relationships/vmlDrawing" Target="../drawings/vmlDrawing57.vml"/><Relationship Id="rId5" Type="http://schemas.openxmlformats.org/officeDocument/2006/relationships/image" Target="../media/image13.emf"/><Relationship Id="rId4" Type="http://schemas.openxmlformats.org/officeDocument/2006/relationships/oleObject" Target="../embeddings/oleObject57.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2.xml"/><Relationship Id="rId1" Type="http://schemas.openxmlformats.org/officeDocument/2006/relationships/vmlDrawing" Target="../drawings/vmlDrawing58.vml"/><Relationship Id="rId5" Type="http://schemas.openxmlformats.org/officeDocument/2006/relationships/image" Target="../media/image13.emf"/><Relationship Id="rId4" Type="http://schemas.openxmlformats.org/officeDocument/2006/relationships/oleObject" Target="../embeddings/oleObject58.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3.xml"/><Relationship Id="rId1" Type="http://schemas.openxmlformats.org/officeDocument/2006/relationships/vmlDrawing" Target="../drawings/vmlDrawing59.vml"/><Relationship Id="rId5" Type="http://schemas.openxmlformats.org/officeDocument/2006/relationships/image" Target="../media/image13.emf"/><Relationship Id="rId4" Type="http://schemas.openxmlformats.org/officeDocument/2006/relationships/oleObject" Target="../embeddings/oleObject59.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4.xml"/><Relationship Id="rId1" Type="http://schemas.openxmlformats.org/officeDocument/2006/relationships/vmlDrawing" Target="../drawings/vmlDrawing60.vml"/><Relationship Id="rId5" Type="http://schemas.openxmlformats.org/officeDocument/2006/relationships/image" Target="../media/image13.emf"/><Relationship Id="rId4" Type="http://schemas.openxmlformats.org/officeDocument/2006/relationships/oleObject" Target="../embeddings/oleObject60.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5.xml"/><Relationship Id="rId1" Type="http://schemas.openxmlformats.org/officeDocument/2006/relationships/vmlDrawing" Target="../drawings/vmlDrawing61.vml"/><Relationship Id="rId5" Type="http://schemas.openxmlformats.org/officeDocument/2006/relationships/image" Target="../media/image13.emf"/><Relationship Id="rId4" Type="http://schemas.openxmlformats.org/officeDocument/2006/relationships/oleObject" Target="../embeddings/oleObject61.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6.xml"/><Relationship Id="rId1" Type="http://schemas.openxmlformats.org/officeDocument/2006/relationships/vmlDrawing" Target="../drawings/vmlDrawing62.vml"/><Relationship Id="rId5" Type="http://schemas.openxmlformats.org/officeDocument/2006/relationships/image" Target="../media/image13.emf"/><Relationship Id="rId4" Type="http://schemas.openxmlformats.org/officeDocument/2006/relationships/oleObject" Target="../embeddings/oleObject62.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7.xml"/><Relationship Id="rId1" Type="http://schemas.openxmlformats.org/officeDocument/2006/relationships/vmlDrawing" Target="../drawings/vmlDrawing63.vml"/><Relationship Id="rId5" Type="http://schemas.openxmlformats.org/officeDocument/2006/relationships/image" Target="../media/image13.emf"/><Relationship Id="rId4" Type="http://schemas.openxmlformats.org/officeDocument/2006/relationships/oleObject" Target="../embeddings/oleObject63.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8.xml"/><Relationship Id="rId1" Type="http://schemas.openxmlformats.org/officeDocument/2006/relationships/vmlDrawing" Target="../drawings/vmlDrawing64.vml"/><Relationship Id="rId5" Type="http://schemas.openxmlformats.org/officeDocument/2006/relationships/image" Target="../media/image13.emf"/><Relationship Id="rId4" Type="http://schemas.openxmlformats.org/officeDocument/2006/relationships/oleObject" Target="../embeddings/oleObject64.bin"/></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69.xml"/><Relationship Id="rId1" Type="http://schemas.openxmlformats.org/officeDocument/2006/relationships/vmlDrawing" Target="../drawings/vmlDrawing65.vml"/><Relationship Id="rId6" Type="http://schemas.openxmlformats.org/officeDocument/2006/relationships/image" Target="../media/image18.emf"/><Relationship Id="rId5" Type="http://schemas.openxmlformats.org/officeDocument/2006/relationships/image" Target="../media/image13.emf"/><Relationship Id="rId4" Type="http://schemas.openxmlformats.org/officeDocument/2006/relationships/oleObject" Target="../embeddings/oleObject65.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5.svg"/><Relationship Id="rId2" Type="http://schemas.openxmlformats.org/officeDocument/2006/relationships/tags" Target="../tags/tag70.xml"/><Relationship Id="rId1" Type="http://schemas.openxmlformats.org/officeDocument/2006/relationships/vmlDrawing" Target="../drawings/vmlDrawing66.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66.bin"/></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71.xml"/><Relationship Id="rId1" Type="http://schemas.openxmlformats.org/officeDocument/2006/relationships/vmlDrawing" Target="../drawings/vmlDrawing67.vml"/><Relationship Id="rId6" Type="http://schemas.openxmlformats.org/officeDocument/2006/relationships/image" Target="../media/image18.emf"/><Relationship Id="rId5" Type="http://schemas.openxmlformats.org/officeDocument/2006/relationships/image" Target="../media/image13.emf"/><Relationship Id="rId4" Type="http://schemas.openxmlformats.org/officeDocument/2006/relationships/oleObject" Target="../embeddings/oleObject67.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5.svg"/><Relationship Id="rId2" Type="http://schemas.openxmlformats.org/officeDocument/2006/relationships/tags" Target="../tags/tag72.xml"/><Relationship Id="rId1" Type="http://schemas.openxmlformats.org/officeDocument/2006/relationships/vmlDrawing" Target="../drawings/vmlDrawing68.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68.bin"/></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73.xml"/><Relationship Id="rId1" Type="http://schemas.openxmlformats.org/officeDocument/2006/relationships/vmlDrawing" Target="../drawings/vmlDrawing69.vml"/><Relationship Id="rId6" Type="http://schemas.openxmlformats.org/officeDocument/2006/relationships/image" Target="../media/image18.emf"/><Relationship Id="rId5" Type="http://schemas.openxmlformats.org/officeDocument/2006/relationships/image" Target="../media/image13.emf"/><Relationship Id="rId4" Type="http://schemas.openxmlformats.org/officeDocument/2006/relationships/oleObject" Target="../embeddings/oleObject69.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4.xml"/><Relationship Id="rId1" Type="http://schemas.openxmlformats.org/officeDocument/2006/relationships/vmlDrawing" Target="../drawings/vmlDrawing70.vml"/><Relationship Id="rId5" Type="http://schemas.openxmlformats.org/officeDocument/2006/relationships/image" Target="../media/image13.emf"/><Relationship Id="rId4" Type="http://schemas.openxmlformats.org/officeDocument/2006/relationships/oleObject" Target="../embeddings/oleObject70.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5.xml"/><Relationship Id="rId1" Type="http://schemas.openxmlformats.org/officeDocument/2006/relationships/vmlDrawing" Target="../drawings/vmlDrawing71.vml"/><Relationship Id="rId5" Type="http://schemas.openxmlformats.org/officeDocument/2006/relationships/image" Target="../media/image13.emf"/><Relationship Id="rId4" Type="http://schemas.openxmlformats.org/officeDocument/2006/relationships/oleObject" Target="../embeddings/oleObject71.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6.xml"/><Relationship Id="rId1" Type="http://schemas.openxmlformats.org/officeDocument/2006/relationships/vmlDrawing" Target="../drawings/vmlDrawing72.vml"/><Relationship Id="rId5" Type="http://schemas.openxmlformats.org/officeDocument/2006/relationships/image" Target="../media/image13.emf"/><Relationship Id="rId4" Type="http://schemas.openxmlformats.org/officeDocument/2006/relationships/oleObject" Target="../embeddings/oleObject72.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6CF48193-30F2-9244-A177-E1AD23D45D9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306" y="-25336"/>
            <a:ext cx="12290612" cy="6908672"/>
          </a:xfrm>
          <a:prstGeom prst="rect">
            <a:avLst/>
          </a:prstGeom>
        </p:spPr>
      </p:pic>
      <p:sp>
        <p:nvSpPr>
          <p:cNvPr id="2" name="Title 1">
            <a:extLst>
              <a:ext uri="{FF2B5EF4-FFF2-40B4-BE49-F238E27FC236}">
                <a16:creationId xmlns:a16="http://schemas.microsoft.com/office/drawing/2014/main" id="{2D8CC757-B419-4B51-8CB0-E63C423B836A}"/>
              </a:ext>
            </a:extLst>
          </p:cNvPr>
          <p:cNvSpPr>
            <a:spLocks noGrp="1"/>
          </p:cNvSpPr>
          <p:nvPr>
            <p:ph type="ctrTitle"/>
          </p:nvPr>
        </p:nvSpPr>
        <p:spPr>
          <a:xfrm>
            <a:off x="1524000" y="2168129"/>
            <a:ext cx="9144000" cy="1394913"/>
          </a:xfrm>
        </p:spPr>
        <p:txBody>
          <a:bodyPr anchor="b">
            <a:normAutofit/>
          </a:bodyPr>
          <a:lstStyle>
            <a:lvl1pPr algn="ctr">
              <a:defRPr sz="6600"/>
            </a:lvl1pPr>
          </a:lstStyle>
          <a:p>
            <a:r>
              <a:rPr lang="en-US" dirty="0"/>
              <a:t>Click to edit Master title style</a:t>
            </a:r>
            <a:endParaRPr lang="bg-BG" dirty="0"/>
          </a:p>
        </p:txBody>
      </p:sp>
      <p:sp>
        <p:nvSpPr>
          <p:cNvPr id="3" name="Subtitle 2">
            <a:extLst>
              <a:ext uri="{FF2B5EF4-FFF2-40B4-BE49-F238E27FC236}">
                <a16:creationId xmlns:a16="http://schemas.microsoft.com/office/drawing/2014/main" id="{E38C660D-C368-45A1-85D0-D216A5FA7BD1}"/>
              </a:ext>
            </a:extLst>
          </p:cNvPr>
          <p:cNvSpPr>
            <a:spLocks noGrp="1"/>
          </p:cNvSpPr>
          <p:nvPr>
            <p:ph type="subTitle" idx="1"/>
          </p:nvPr>
        </p:nvSpPr>
        <p:spPr>
          <a:xfrm>
            <a:off x="1524000" y="3800819"/>
            <a:ext cx="9144000" cy="1655762"/>
          </a:xfrm>
        </p:spPr>
        <p:txBody>
          <a:bodyPr/>
          <a:lstStyle>
            <a:lvl1pPr marL="0" indent="0" algn="ctr">
              <a:buNone/>
              <a:defRPr sz="2400">
                <a:solidFill>
                  <a:schemeClr val="accent6">
                    <a:lumMod val="60000"/>
                    <a:lumOff val="4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bg-BG" dirty="0"/>
          </a:p>
        </p:txBody>
      </p:sp>
      <p:sp>
        <p:nvSpPr>
          <p:cNvPr id="4" name="Date Placeholder 3">
            <a:extLst>
              <a:ext uri="{FF2B5EF4-FFF2-40B4-BE49-F238E27FC236}">
                <a16:creationId xmlns:a16="http://schemas.microsoft.com/office/drawing/2014/main" id="{CE3AC137-A195-4CBD-96D8-2F28B0CC262D}"/>
              </a:ext>
            </a:extLst>
          </p:cNvPr>
          <p:cNvSpPr>
            <a:spLocks noGrp="1"/>
          </p:cNvSpPr>
          <p:nvPr>
            <p:ph type="dt" sz="half" idx="10"/>
          </p:nvPr>
        </p:nvSpPr>
        <p:spPr>
          <a:xfrm>
            <a:off x="838200" y="6230844"/>
            <a:ext cx="2743200" cy="365125"/>
          </a:xfrm>
        </p:spPr>
        <p:txBody>
          <a:bodyPr/>
          <a:lstStyle>
            <a:lvl1pPr>
              <a:defRPr>
                <a:solidFill>
                  <a:schemeClr val="bg1"/>
                </a:solidFill>
              </a:defRPr>
            </a:lvl1pPr>
          </a:lstStyle>
          <a:p>
            <a:fld id="{4742D07F-AA84-406A-9332-1464FA876A41}" type="datetimeFigureOut">
              <a:rPr lang="bg-BG" smtClean="0"/>
              <a:pPr/>
              <a:t>10.04.24 г.</a:t>
            </a:fld>
            <a:endParaRPr lang="bg-BG" dirty="0"/>
          </a:p>
        </p:txBody>
      </p:sp>
      <p:sp>
        <p:nvSpPr>
          <p:cNvPr id="5" name="Footer Placeholder 4">
            <a:extLst>
              <a:ext uri="{FF2B5EF4-FFF2-40B4-BE49-F238E27FC236}">
                <a16:creationId xmlns:a16="http://schemas.microsoft.com/office/drawing/2014/main" id="{AFEDF20E-6435-4930-B00B-BC4ED51C42D1}"/>
              </a:ext>
            </a:extLst>
          </p:cNvPr>
          <p:cNvSpPr>
            <a:spLocks noGrp="1"/>
          </p:cNvSpPr>
          <p:nvPr>
            <p:ph type="ftr" sz="quarter" idx="11"/>
          </p:nvPr>
        </p:nvSpPr>
        <p:spPr>
          <a:xfrm>
            <a:off x="4038600" y="6230844"/>
            <a:ext cx="4114800" cy="365125"/>
          </a:xfrm>
        </p:spPr>
        <p:txBody>
          <a:bodyPr/>
          <a:lstStyle>
            <a:lvl1pPr>
              <a:defRPr>
                <a:solidFill>
                  <a:schemeClr val="bg1"/>
                </a:solidFill>
              </a:defRPr>
            </a:lvl1pPr>
          </a:lstStyle>
          <a:p>
            <a:endParaRPr lang="bg-BG"/>
          </a:p>
        </p:txBody>
      </p:sp>
      <p:sp>
        <p:nvSpPr>
          <p:cNvPr id="6" name="Slide Number Placeholder 5">
            <a:extLst>
              <a:ext uri="{FF2B5EF4-FFF2-40B4-BE49-F238E27FC236}">
                <a16:creationId xmlns:a16="http://schemas.microsoft.com/office/drawing/2014/main" id="{604480C3-49DA-4263-B941-81044869AD32}"/>
              </a:ext>
            </a:extLst>
          </p:cNvPr>
          <p:cNvSpPr>
            <a:spLocks noGrp="1"/>
          </p:cNvSpPr>
          <p:nvPr>
            <p:ph type="sldNum" sz="quarter" idx="12"/>
          </p:nvPr>
        </p:nvSpPr>
        <p:spPr>
          <a:xfrm>
            <a:off x="8610600" y="6230844"/>
            <a:ext cx="2743200" cy="365125"/>
          </a:xfrm>
        </p:spPr>
        <p:txBody>
          <a:bodyPr/>
          <a:lstStyle>
            <a:lvl1pPr>
              <a:defRPr>
                <a:solidFill>
                  <a:schemeClr val="bg1"/>
                </a:solidFill>
              </a:defRPr>
            </a:lvl1pPr>
          </a:lstStyle>
          <a:p>
            <a:fld id="{1ECF27F8-A54A-4E9B-946E-1DA717B6015E}" type="slidenum">
              <a:rPr lang="bg-BG" smtClean="0"/>
              <a:pPr/>
              <a:t>‹#›</a:t>
            </a:fld>
            <a:endParaRPr lang="bg-BG"/>
          </a:p>
        </p:txBody>
      </p:sp>
      <p:pic>
        <p:nvPicPr>
          <p:cNvPr id="13" name="Graphic 12">
            <a:extLst>
              <a:ext uri="{FF2B5EF4-FFF2-40B4-BE49-F238E27FC236}">
                <a16:creationId xmlns:a16="http://schemas.microsoft.com/office/drawing/2014/main" id="{BDF60640-A5FF-4E20-8023-3A1D4CD37AA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00269" y="-28575"/>
            <a:ext cx="2059804" cy="798310"/>
          </a:xfrm>
          <a:prstGeom prst="rect">
            <a:avLst/>
          </a:prstGeom>
        </p:spPr>
      </p:pic>
    </p:spTree>
    <p:extLst>
      <p:ext uri="{BB962C8B-B14F-4D97-AF65-F5344CB8AC3E}">
        <p14:creationId xmlns:p14="http://schemas.microsoft.com/office/powerpoint/2010/main" val="598475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CA865D-B45A-46A2-89CC-C44B925A30C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bg-BG"/>
          </a:p>
        </p:txBody>
      </p:sp>
      <p:sp>
        <p:nvSpPr>
          <p:cNvPr id="3" name="Content Placeholder 2">
            <a:extLst>
              <a:ext uri="{FF2B5EF4-FFF2-40B4-BE49-F238E27FC236}">
                <a16:creationId xmlns:a16="http://schemas.microsoft.com/office/drawing/2014/main" id="{4E3F12CB-B65D-4530-BFB9-2D5616A0DDD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g-BG"/>
          </a:p>
        </p:txBody>
      </p:sp>
      <p:sp>
        <p:nvSpPr>
          <p:cNvPr id="4" name="Text Placeholder 3">
            <a:extLst>
              <a:ext uri="{FF2B5EF4-FFF2-40B4-BE49-F238E27FC236}">
                <a16:creationId xmlns:a16="http://schemas.microsoft.com/office/drawing/2014/main" id="{DCFE471D-EC4A-4BE5-A677-DB310F3067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0C31350-23BE-45EE-99DA-2A0332822A3F}"/>
              </a:ext>
            </a:extLst>
          </p:cNvPr>
          <p:cNvSpPr>
            <a:spLocks noGrp="1"/>
          </p:cNvSpPr>
          <p:nvPr>
            <p:ph type="dt" sz="half" idx="10"/>
          </p:nvPr>
        </p:nvSpPr>
        <p:spPr/>
        <p:txBody>
          <a:bodyPr/>
          <a:lstStyle/>
          <a:p>
            <a:fld id="{4742D07F-AA84-406A-9332-1464FA876A41}" type="datetimeFigureOut">
              <a:rPr lang="bg-BG" smtClean="0"/>
              <a:t>10.04.24 г.</a:t>
            </a:fld>
            <a:endParaRPr lang="bg-BG"/>
          </a:p>
        </p:txBody>
      </p:sp>
      <p:sp>
        <p:nvSpPr>
          <p:cNvPr id="6" name="Footer Placeholder 5">
            <a:extLst>
              <a:ext uri="{FF2B5EF4-FFF2-40B4-BE49-F238E27FC236}">
                <a16:creationId xmlns:a16="http://schemas.microsoft.com/office/drawing/2014/main" id="{5EDAD942-FDB3-4B7F-B0EB-B3BC035D3E34}"/>
              </a:ext>
            </a:extLst>
          </p:cNvPr>
          <p:cNvSpPr>
            <a:spLocks noGrp="1"/>
          </p:cNvSpPr>
          <p:nvPr>
            <p:ph type="ftr" sz="quarter" idx="11"/>
          </p:nvPr>
        </p:nvSpPr>
        <p:spPr/>
        <p:txBody>
          <a:bodyPr/>
          <a:lstStyle/>
          <a:p>
            <a:endParaRPr lang="bg-BG"/>
          </a:p>
        </p:txBody>
      </p:sp>
      <p:sp>
        <p:nvSpPr>
          <p:cNvPr id="7" name="Slide Number Placeholder 6">
            <a:extLst>
              <a:ext uri="{FF2B5EF4-FFF2-40B4-BE49-F238E27FC236}">
                <a16:creationId xmlns:a16="http://schemas.microsoft.com/office/drawing/2014/main" id="{C6EF7D66-ED2F-4F93-A34C-EC98BC4CB6E5}"/>
              </a:ext>
            </a:extLst>
          </p:cNvPr>
          <p:cNvSpPr>
            <a:spLocks noGrp="1"/>
          </p:cNvSpPr>
          <p:nvPr>
            <p:ph type="sldNum" sz="quarter" idx="12"/>
          </p:nvPr>
        </p:nvSpPr>
        <p:spPr/>
        <p:txBody>
          <a:bodyPr/>
          <a:lstStyle/>
          <a:p>
            <a:fld id="{1ECF27F8-A54A-4E9B-946E-1DA717B6015E}" type="slidenum">
              <a:rPr lang="bg-BG" smtClean="0"/>
              <a:t>‹#›</a:t>
            </a:fld>
            <a:endParaRPr lang="bg-BG"/>
          </a:p>
        </p:txBody>
      </p:sp>
    </p:spTree>
    <p:extLst>
      <p:ext uri="{BB962C8B-B14F-4D97-AF65-F5344CB8AC3E}">
        <p14:creationId xmlns:p14="http://schemas.microsoft.com/office/powerpoint/2010/main" val="18827432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05153A-3E6A-4896-BFC0-620B8AA37B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bg-BG"/>
          </a:p>
        </p:txBody>
      </p:sp>
      <p:sp>
        <p:nvSpPr>
          <p:cNvPr id="3" name="Picture Placeholder 2">
            <a:extLst>
              <a:ext uri="{FF2B5EF4-FFF2-40B4-BE49-F238E27FC236}">
                <a16:creationId xmlns:a16="http://schemas.microsoft.com/office/drawing/2014/main" id="{CBAFF534-B201-4174-B63C-247ABA8FD0A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bg-BG"/>
          </a:p>
        </p:txBody>
      </p:sp>
      <p:sp>
        <p:nvSpPr>
          <p:cNvPr id="4" name="Text Placeholder 3">
            <a:extLst>
              <a:ext uri="{FF2B5EF4-FFF2-40B4-BE49-F238E27FC236}">
                <a16:creationId xmlns:a16="http://schemas.microsoft.com/office/drawing/2014/main" id="{3AFC260A-F9D8-4C43-9A17-CC603BF54D9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8A7313B-CBE0-4B51-8856-83825A90C4A7}"/>
              </a:ext>
            </a:extLst>
          </p:cNvPr>
          <p:cNvSpPr>
            <a:spLocks noGrp="1"/>
          </p:cNvSpPr>
          <p:nvPr>
            <p:ph type="dt" sz="half" idx="10"/>
          </p:nvPr>
        </p:nvSpPr>
        <p:spPr/>
        <p:txBody>
          <a:bodyPr/>
          <a:lstStyle/>
          <a:p>
            <a:fld id="{4742D07F-AA84-406A-9332-1464FA876A41}" type="datetimeFigureOut">
              <a:rPr lang="bg-BG" smtClean="0"/>
              <a:t>10.04.24 г.</a:t>
            </a:fld>
            <a:endParaRPr lang="bg-BG"/>
          </a:p>
        </p:txBody>
      </p:sp>
      <p:sp>
        <p:nvSpPr>
          <p:cNvPr id="6" name="Footer Placeholder 5">
            <a:extLst>
              <a:ext uri="{FF2B5EF4-FFF2-40B4-BE49-F238E27FC236}">
                <a16:creationId xmlns:a16="http://schemas.microsoft.com/office/drawing/2014/main" id="{6D43AEE5-FDD0-4334-A203-F2F4A7D6FC87}"/>
              </a:ext>
            </a:extLst>
          </p:cNvPr>
          <p:cNvSpPr>
            <a:spLocks noGrp="1"/>
          </p:cNvSpPr>
          <p:nvPr>
            <p:ph type="ftr" sz="quarter" idx="11"/>
          </p:nvPr>
        </p:nvSpPr>
        <p:spPr/>
        <p:txBody>
          <a:bodyPr/>
          <a:lstStyle/>
          <a:p>
            <a:endParaRPr lang="bg-BG"/>
          </a:p>
        </p:txBody>
      </p:sp>
      <p:sp>
        <p:nvSpPr>
          <p:cNvPr id="7" name="Slide Number Placeholder 6">
            <a:extLst>
              <a:ext uri="{FF2B5EF4-FFF2-40B4-BE49-F238E27FC236}">
                <a16:creationId xmlns:a16="http://schemas.microsoft.com/office/drawing/2014/main" id="{5602FDA5-518B-4893-8E37-497ABCFF9B8D}"/>
              </a:ext>
            </a:extLst>
          </p:cNvPr>
          <p:cNvSpPr>
            <a:spLocks noGrp="1"/>
          </p:cNvSpPr>
          <p:nvPr>
            <p:ph type="sldNum" sz="quarter" idx="12"/>
          </p:nvPr>
        </p:nvSpPr>
        <p:spPr/>
        <p:txBody>
          <a:bodyPr/>
          <a:lstStyle/>
          <a:p>
            <a:fld id="{1ECF27F8-A54A-4E9B-946E-1DA717B6015E}" type="slidenum">
              <a:rPr lang="bg-BG" smtClean="0"/>
              <a:t>‹#›</a:t>
            </a:fld>
            <a:endParaRPr lang="bg-BG"/>
          </a:p>
        </p:txBody>
      </p:sp>
    </p:spTree>
    <p:extLst>
      <p:ext uri="{BB962C8B-B14F-4D97-AF65-F5344CB8AC3E}">
        <p14:creationId xmlns:p14="http://schemas.microsoft.com/office/powerpoint/2010/main" val="38510822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3A0B6-9638-4F64-8423-955F01B72341}"/>
              </a:ext>
            </a:extLst>
          </p:cNvPr>
          <p:cNvSpPr>
            <a:spLocks noGrp="1"/>
          </p:cNvSpPr>
          <p:nvPr>
            <p:ph type="title"/>
          </p:nvPr>
        </p:nvSpPr>
        <p:spPr/>
        <p:txBody>
          <a:bodyPr/>
          <a:lstStyle/>
          <a:p>
            <a:r>
              <a:rPr lang="en-US"/>
              <a:t>Click to edit Master title style</a:t>
            </a:r>
            <a:endParaRPr lang="bg-BG"/>
          </a:p>
        </p:txBody>
      </p:sp>
      <p:sp>
        <p:nvSpPr>
          <p:cNvPr id="3" name="Vertical Text Placeholder 2">
            <a:extLst>
              <a:ext uri="{FF2B5EF4-FFF2-40B4-BE49-F238E27FC236}">
                <a16:creationId xmlns:a16="http://schemas.microsoft.com/office/drawing/2014/main" id="{0F40CB36-D5EF-49E7-81B3-93E4B0EED89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g-BG"/>
          </a:p>
        </p:txBody>
      </p:sp>
      <p:sp>
        <p:nvSpPr>
          <p:cNvPr id="4" name="Date Placeholder 3">
            <a:extLst>
              <a:ext uri="{FF2B5EF4-FFF2-40B4-BE49-F238E27FC236}">
                <a16:creationId xmlns:a16="http://schemas.microsoft.com/office/drawing/2014/main" id="{7FCE1C88-9FDC-4D92-9B1D-403AF5E5C5AC}"/>
              </a:ext>
            </a:extLst>
          </p:cNvPr>
          <p:cNvSpPr>
            <a:spLocks noGrp="1"/>
          </p:cNvSpPr>
          <p:nvPr>
            <p:ph type="dt" sz="half" idx="10"/>
          </p:nvPr>
        </p:nvSpPr>
        <p:spPr/>
        <p:txBody>
          <a:bodyPr/>
          <a:lstStyle/>
          <a:p>
            <a:fld id="{4742D07F-AA84-406A-9332-1464FA876A41}" type="datetimeFigureOut">
              <a:rPr lang="bg-BG" smtClean="0"/>
              <a:t>10.04.24 г.</a:t>
            </a:fld>
            <a:endParaRPr lang="bg-BG"/>
          </a:p>
        </p:txBody>
      </p:sp>
      <p:sp>
        <p:nvSpPr>
          <p:cNvPr id="5" name="Footer Placeholder 4">
            <a:extLst>
              <a:ext uri="{FF2B5EF4-FFF2-40B4-BE49-F238E27FC236}">
                <a16:creationId xmlns:a16="http://schemas.microsoft.com/office/drawing/2014/main" id="{AEE91FF6-02A5-4027-A1D7-A13F4F75E026}"/>
              </a:ext>
            </a:extLst>
          </p:cNvPr>
          <p:cNvSpPr>
            <a:spLocks noGrp="1"/>
          </p:cNvSpPr>
          <p:nvPr>
            <p:ph type="ftr" sz="quarter" idx="11"/>
          </p:nvPr>
        </p:nvSpPr>
        <p:spPr/>
        <p:txBody>
          <a:bodyPr/>
          <a:lstStyle/>
          <a:p>
            <a:endParaRPr lang="bg-BG"/>
          </a:p>
        </p:txBody>
      </p:sp>
      <p:sp>
        <p:nvSpPr>
          <p:cNvPr id="6" name="Slide Number Placeholder 5">
            <a:extLst>
              <a:ext uri="{FF2B5EF4-FFF2-40B4-BE49-F238E27FC236}">
                <a16:creationId xmlns:a16="http://schemas.microsoft.com/office/drawing/2014/main" id="{28787D56-FAC5-4C2D-9C90-1C49D5ED18A5}"/>
              </a:ext>
            </a:extLst>
          </p:cNvPr>
          <p:cNvSpPr>
            <a:spLocks noGrp="1"/>
          </p:cNvSpPr>
          <p:nvPr>
            <p:ph type="sldNum" sz="quarter" idx="12"/>
          </p:nvPr>
        </p:nvSpPr>
        <p:spPr/>
        <p:txBody>
          <a:bodyPr/>
          <a:lstStyle/>
          <a:p>
            <a:fld id="{1ECF27F8-A54A-4E9B-946E-1DA717B6015E}" type="slidenum">
              <a:rPr lang="bg-BG" smtClean="0"/>
              <a:t>‹#›</a:t>
            </a:fld>
            <a:endParaRPr lang="bg-BG"/>
          </a:p>
        </p:txBody>
      </p:sp>
    </p:spTree>
    <p:extLst>
      <p:ext uri="{BB962C8B-B14F-4D97-AF65-F5344CB8AC3E}">
        <p14:creationId xmlns:p14="http://schemas.microsoft.com/office/powerpoint/2010/main" val="34457017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2A6540A-71B6-437E-A927-56CB1E395A6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bg-BG"/>
          </a:p>
        </p:txBody>
      </p:sp>
      <p:sp>
        <p:nvSpPr>
          <p:cNvPr id="3" name="Vertical Text Placeholder 2">
            <a:extLst>
              <a:ext uri="{FF2B5EF4-FFF2-40B4-BE49-F238E27FC236}">
                <a16:creationId xmlns:a16="http://schemas.microsoft.com/office/drawing/2014/main" id="{A2B70E1B-688F-44D5-BDC8-2E8D74DA8C6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g-BG"/>
          </a:p>
        </p:txBody>
      </p:sp>
      <p:sp>
        <p:nvSpPr>
          <p:cNvPr id="4" name="Date Placeholder 3">
            <a:extLst>
              <a:ext uri="{FF2B5EF4-FFF2-40B4-BE49-F238E27FC236}">
                <a16:creationId xmlns:a16="http://schemas.microsoft.com/office/drawing/2014/main" id="{8503C494-6A46-4AE4-89B4-D3D7EB61918B}"/>
              </a:ext>
            </a:extLst>
          </p:cNvPr>
          <p:cNvSpPr>
            <a:spLocks noGrp="1"/>
          </p:cNvSpPr>
          <p:nvPr>
            <p:ph type="dt" sz="half" idx="10"/>
          </p:nvPr>
        </p:nvSpPr>
        <p:spPr/>
        <p:txBody>
          <a:bodyPr/>
          <a:lstStyle/>
          <a:p>
            <a:fld id="{4742D07F-AA84-406A-9332-1464FA876A41}" type="datetimeFigureOut">
              <a:rPr lang="bg-BG" smtClean="0"/>
              <a:t>10.04.24 г.</a:t>
            </a:fld>
            <a:endParaRPr lang="bg-BG"/>
          </a:p>
        </p:txBody>
      </p:sp>
      <p:sp>
        <p:nvSpPr>
          <p:cNvPr id="5" name="Footer Placeholder 4">
            <a:extLst>
              <a:ext uri="{FF2B5EF4-FFF2-40B4-BE49-F238E27FC236}">
                <a16:creationId xmlns:a16="http://schemas.microsoft.com/office/drawing/2014/main" id="{3CA7E363-5E41-4912-9650-C5A79A20AB21}"/>
              </a:ext>
            </a:extLst>
          </p:cNvPr>
          <p:cNvSpPr>
            <a:spLocks noGrp="1"/>
          </p:cNvSpPr>
          <p:nvPr>
            <p:ph type="ftr" sz="quarter" idx="11"/>
          </p:nvPr>
        </p:nvSpPr>
        <p:spPr/>
        <p:txBody>
          <a:bodyPr/>
          <a:lstStyle/>
          <a:p>
            <a:endParaRPr lang="bg-BG"/>
          </a:p>
        </p:txBody>
      </p:sp>
      <p:sp>
        <p:nvSpPr>
          <p:cNvPr id="6" name="Slide Number Placeholder 5">
            <a:extLst>
              <a:ext uri="{FF2B5EF4-FFF2-40B4-BE49-F238E27FC236}">
                <a16:creationId xmlns:a16="http://schemas.microsoft.com/office/drawing/2014/main" id="{CD8CB282-1EC0-4B7D-9CF6-0DD958D59629}"/>
              </a:ext>
            </a:extLst>
          </p:cNvPr>
          <p:cNvSpPr>
            <a:spLocks noGrp="1"/>
          </p:cNvSpPr>
          <p:nvPr>
            <p:ph type="sldNum" sz="quarter" idx="12"/>
          </p:nvPr>
        </p:nvSpPr>
        <p:spPr/>
        <p:txBody>
          <a:bodyPr/>
          <a:lstStyle/>
          <a:p>
            <a:fld id="{1ECF27F8-A54A-4E9B-946E-1DA717B6015E}" type="slidenum">
              <a:rPr lang="bg-BG" smtClean="0"/>
              <a:t>‹#›</a:t>
            </a:fld>
            <a:endParaRPr lang="bg-BG"/>
          </a:p>
        </p:txBody>
      </p:sp>
    </p:spTree>
    <p:extLst>
      <p:ext uri="{BB962C8B-B14F-4D97-AF65-F5344CB8AC3E}">
        <p14:creationId xmlns:p14="http://schemas.microsoft.com/office/powerpoint/2010/main" val="30789879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grpSp>
        <p:nvGrpSpPr>
          <p:cNvPr id="17" name="bg object 17"/>
          <p:cNvGrpSpPr/>
          <p:nvPr/>
        </p:nvGrpSpPr>
        <p:grpSpPr>
          <a:xfrm>
            <a:off x="-1" y="3406614"/>
            <a:ext cx="12174396" cy="3453072"/>
            <a:chOff x="0" y="0"/>
            <a:chExt cx="24348790" cy="6906142"/>
          </a:xfrm>
        </p:grpSpPr>
        <p:sp>
          <p:nvSpPr>
            <p:cNvPr id="15" name="Shape"/>
            <p:cNvSpPr/>
            <p:nvPr/>
          </p:nvSpPr>
          <p:spPr>
            <a:xfrm>
              <a:off x="-1" y="-1"/>
              <a:ext cx="4489831" cy="6647826"/>
            </a:xfrm>
            <a:custGeom>
              <a:avLst/>
              <a:gdLst/>
              <a:ahLst/>
              <a:cxnLst>
                <a:cxn ang="0">
                  <a:pos x="wd2" y="hd2"/>
                </a:cxn>
                <a:cxn ang="5400000">
                  <a:pos x="wd2" y="hd2"/>
                </a:cxn>
                <a:cxn ang="10800000">
                  <a:pos x="wd2" y="hd2"/>
                </a:cxn>
                <a:cxn ang="16200000">
                  <a:pos x="wd2" y="hd2"/>
                </a:cxn>
              </a:cxnLst>
              <a:rect l="0" t="0" r="r" b="b"/>
              <a:pathLst>
                <a:path w="21600" h="21600" extrusionOk="0">
                  <a:moveTo>
                    <a:pt x="21600" y="3393"/>
                  </a:moveTo>
                  <a:lnTo>
                    <a:pt x="21414" y="2699"/>
                  </a:lnTo>
                  <a:lnTo>
                    <a:pt x="20979" y="2082"/>
                  </a:lnTo>
                  <a:lnTo>
                    <a:pt x="20296" y="1536"/>
                  </a:lnTo>
                  <a:lnTo>
                    <a:pt x="19364" y="1068"/>
                  </a:lnTo>
                  <a:lnTo>
                    <a:pt x="18182" y="671"/>
                  </a:lnTo>
                  <a:lnTo>
                    <a:pt x="17171" y="431"/>
                  </a:lnTo>
                  <a:lnTo>
                    <a:pt x="16099" y="242"/>
                  </a:lnTo>
                  <a:lnTo>
                    <a:pt x="14961" y="109"/>
                  </a:lnTo>
                  <a:lnTo>
                    <a:pt x="13759" y="26"/>
                  </a:lnTo>
                  <a:lnTo>
                    <a:pt x="12497" y="0"/>
                  </a:lnTo>
                  <a:lnTo>
                    <a:pt x="8796" y="0"/>
                  </a:lnTo>
                  <a:lnTo>
                    <a:pt x="8796" y="6"/>
                  </a:lnTo>
                  <a:lnTo>
                    <a:pt x="7273" y="46"/>
                  </a:lnTo>
                  <a:lnTo>
                    <a:pt x="5838" y="122"/>
                  </a:lnTo>
                  <a:lnTo>
                    <a:pt x="4498" y="234"/>
                  </a:lnTo>
                  <a:lnTo>
                    <a:pt x="3250" y="385"/>
                  </a:lnTo>
                  <a:lnTo>
                    <a:pt x="2093" y="570"/>
                  </a:lnTo>
                  <a:lnTo>
                    <a:pt x="1032" y="793"/>
                  </a:lnTo>
                  <a:lnTo>
                    <a:pt x="60" y="1052"/>
                  </a:lnTo>
                  <a:lnTo>
                    <a:pt x="0" y="1073"/>
                  </a:lnTo>
                  <a:lnTo>
                    <a:pt x="0" y="21600"/>
                  </a:lnTo>
                  <a:lnTo>
                    <a:pt x="800" y="21401"/>
                  </a:lnTo>
                  <a:lnTo>
                    <a:pt x="1760" y="21130"/>
                  </a:lnTo>
                  <a:lnTo>
                    <a:pt x="2872" y="20760"/>
                  </a:lnTo>
                  <a:lnTo>
                    <a:pt x="3888" y="20362"/>
                  </a:lnTo>
                  <a:lnTo>
                    <a:pt x="4808" y="19933"/>
                  </a:lnTo>
                  <a:lnTo>
                    <a:pt x="5630" y="19476"/>
                  </a:lnTo>
                  <a:lnTo>
                    <a:pt x="6355" y="18987"/>
                  </a:lnTo>
                  <a:lnTo>
                    <a:pt x="6984" y="18471"/>
                  </a:lnTo>
                  <a:lnTo>
                    <a:pt x="7515" y="17924"/>
                  </a:lnTo>
                  <a:lnTo>
                    <a:pt x="7953" y="17348"/>
                  </a:lnTo>
                  <a:lnTo>
                    <a:pt x="8288" y="16742"/>
                  </a:lnTo>
                  <a:lnTo>
                    <a:pt x="8531" y="16107"/>
                  </a:lnTo>
                  <a:lnTo>
                    <a:pt x="8678" y="15444"/>
                  </a:lnTo>
                  <a:lnTo>
                    <a:pt x="8726" y="14747"/>
                  </a:lnTo>
                  <a:lnTo>
                    <a:pt x="8692" y="14227"/>
                  </a:lnTo>
                  <a:lnTo>
                    <a:pt x="8435" y="13045"/>
                  </a:lnTo>
                  <a:lnTo>
                    <a:pt x="8209" y="12382"/>
                  </a:lnTo>
                  <a:lnTo>
                    <a:pt x="7921" y="11671"/>
                  </a:lnTo>
                  <a:lnTo>
                    <a:pt x="7569" y="10912"/>
                  </a:lnTo>
                  <a:lnTo>
                    <a:pt x="7151" y="10105"/>
                  </a:lnTo>
                  <a:lnTo>
                    <a:pt x="6668" y="9254"/>
                  </a:lnTo>
                  <a:lnTo>
                    <a:pt x="6039" y="8152"/>
                  </a:lnTo>
                  <a:lnTo>
                    <a:pt x="5525" y="7191"/>
                  </a:lnTo>
                  <a:lnTo>
                    <a:pt x="5125" y="6369"/>
                  </a:lnTo>
                  <a:lnTo>
                    <a:pt x="4839" y="5685"/>
                  </a:lnTo>
                  <a:lnTo>
                    <a:pt x="4667" y="5141"/>
                  </a:lnTo>
                  <a:lnTo>
                    <a:pt x="4611" y="4735"/>
                  </a:lnTo>
                  <a:lnTo>
                    <a:pt x="4749" y="4026"/>
                  </a:lnTo>
                  <a:lnTo>
                    <a:pt x="5170" y="3473"/>
                  </a:lnTo>
                  <a:lnTo>
                    <a:pt x="5867" y="3079"/>
                  </a:lnTo>
                  <a:lnTo>
                    <a:pt x="6846" y="2842"/>
                  </a:lnTo>
                  <a:lnTo>
                    <a:pt x="8105" y="2764"/>
                  </a:lnTo>
                  <a:lnTo>
                    <a:pt x="9626" y="2755"/>
                  </a:lnTo>
                  <a:lnTo>
                    <a:pt x="13285" y="2755"/>
                  </a:lnTo>
                  <a:lnTo>
                    <a:pt x="10533" y="6457"/>
                  </a:lnTo>
                  <a:lnTo>
                    <a:pt x="18972" y="6457"/>
                  </a:lnTo>
                  <a:lnTo>
                    <a:pt x="19960" y="5944"/>
                  </a:lnTo>
                  <a:lnTo>
                    <a:pt x="20717" y="5382"/>
                  </a:lnTo>
                  <a:lnTo>
                    <a:pt x="21242" y="4768"/>
                  </a:lnTo>
                  <a:lnTo>
                    <a:pt x="21535" y="4104"/>
                  </a:lnTo>
                  <a:lnTo>
                    <a:pt x="21600" y="3393"/>
                  </a:lnTo>
                  <a:close/>
                </a:path>
              </a:pathLst>
            </a:custGeom>
            <a:solidFill>
              <a:srgbClr val="F7F7F7"/>
            </a:solidFill>
            <a:ln w="12700" cap="flat">
              <a:noFill/>
              <a:miter lim="400000"/>
            </a:ln>
            <a:effectLst/>
          </p:spPr>
          <p:txBody>
            <a:bodyPr wrap="square" lIns="55452" tIns="55452" rIns="55452" bIns="55452" numCol="1" anchor="t">
              <a:noAutofit/>
            </a:bodyPr>
            <a:lstStyle/>
            <a:p>
              <a:pPr>
                <a:defRPr>
                  <a:latin typeface="Calibri"/>
                  <a:ea typeface="Calibri"/>
                  <a:cs typeface="Calibri"/>
                  <a:sym typeface="Calibri"/>
                </a:defRPr>
              </a:pPr>
              <a:endParaRPr sz="900"/>
            </a:p>
          </p:txBody>
        </p:sp>
        <p:sp>
          <p:nvSpPr>
            <p:cNvPr id="16" name="Shape"/>
            <p:cNvSpPr/>
            <p:nvPr/>
          </p:nvSpPr>
          <p:spPr>
            <a:xfrm>
              <a:off x="3127744" y="714019"/>
              <a:ext cx="21221047" cy="6192124"/>
            </a:xfrm>
            <a:custGeom>
              <a:avLst/>
              <a:gdLst/>
              <a:ahLst/>
              <a:cxnLst>
                <a:cxn ang="0">
                  <a:pos x="wd2" y="hd2"/>
                </a:cxn>
                <a:cxn ang="5400000">
                  <a:pos x="wd2" y="hd2"/>
                </a:cxn>
                <a:cxn ang="10800000">
                  <a:pos x="wd2" y="hd2"/>
                </a:cxn>
                <a:cxn ang="16200000">
                  <a:pos x="wd2" y="hd2"/>
                </a:cxn>
              </a:cxnLst>
              <a:rect l="0" t="0" r="r" b="b"/>
              <a:pathLst>
                <a:path w="21600" h="21600" extrusionOk="0">
                  <a:moveTo>
                    <a:pt x="21600" y="9885"/>
                  </a:moveTo>
                  <a:lnTo>
                    <a:pt x="20207" y="9885"/>
                  </a:lnTo>
                  <a:lnTo>
                    <a:pt x="19323" y="18252"/>
                  </a:lnTo>
                  <a:lnTo>
                    <a:pt x="19279" y="18956"/>
                  </a:lnTo>
                  <a:lnTo>
                    <a:pt x="17797" y="18956"/>
                  </a:lnTo>
                  <a:lnTo>
                    <a:pt x="19764" y="61"/>
                  </a:lnTo>
                  <a:lnTo>
                    <a:pt x="17897" y="61"/>
                  </a:lnTo>
                  <a:lnTo>
                    <a:pt x="15941" y="18956"/>
                  </a:lnTo>
                  <a:lnTo>
                    <a:pt x="14293" y="18956"/>
                  </a:lnTo>
                  <a:lnTo>
                    <a:pt x="16259" y="61"/>
                  </a:lnTo>
                  <a:lnTo>
                    <a:pt x="14393" y="61"/>
                  </a:lnTo>
                  <a:lnTo>
                    <a:pt x="12434" y="18993"/>
                  </a:lnTo>
                  <a:lnTo>
                    <a:pt x="12432" y="19024"/>
                  </a:lnTo>
                  <a:lnTo>
                    <a:pt x="12429" y="19058"/>
                  </a:lnTo>
                  <a:lnTo>
                    <a:pt x="9477" y="19058"/>
                  </a:lnTo>
                  <a:lnTo>
                    <a:pt x="9182" y="18969"/>
                  </a:lnTo>
                  <a:lnTo>
                    <a:pt x="8972" y="18700"/>
                  </a:lnTo>
                  <a:lnTo>
                    <a:pt x="8846" y="18252"/>
                  </a:lnTo>
                  <a:lnTo>
                    <a:pt x="8804" y="17624"/>
                  </a:lnTo>
                  <a:lnTo>
                    <a:pt x="8806" y="17468"/>
                  </a:lnTo>
                  <a:lnTo>
                    <a:pt x="8813" y="17305"/>
                  </a:lnTo>
                  <a:lnTo>
                    <a:pt x="8824" y="17133"/>
                  </a:lnTo>
                  <a:lnTo>
                    <a:pt x="8840" y="16951"/>
                  </a:lnTo>
                  <a:lnTo>
                    <a:pt x="9264" y="12679"/>
                  </a:lnTo>
                  <a:lnTo>
                    <a:pt x="10390" y="12679"/>
                  </a:lnTo>
                  <a:lnTo>
                    <a:pt x="9714" y="19058"/>
                  </a:lnTo>
                  <a:lnTo>
                    <a:pt x="10510" y="18013"/>
                  </a:lnTo>
                  <a:lnTo>
                    <a:pt x="10963" y="17397"/>
                  </a:lnTo>
                  <a:lnTo>
                    <a:pt x="11240" y="16969"/>
                  </a:lnTo>
                  <a:lnTo>
                    <a:pt x="11509" y="16490"/>
                  </a:lnTo>
                  <a:lnTo>
                    <a:pt x="11717" y="16007"/>
                  </a:lnTo>
                  <a:lnTo>
                    <a:pt x="11872" y="15434"/>
                  </a:lnTo>
                  <a:lnTo>
                    <a:pt x="11975" y="14785"/>
                  </a:lnTo>
                  <a:lnTo>
                    <a:pt x="12031" y="14079"/>
                  </a:lnTo>
                  <a:lnTo>
                    <a:pt x="12042" y="13334"/>
                  </a:lnTo>
                  <a:lnTo>
                    <a:pt x="12008" y="12679"/>
                  </a:lnTo>
                  <a:lnTo>
                    <a:pt x="11916" y="11983"/>
                  </a:lnTo>
                  <a:lnTo>
                    <a:pt x="11778" y="11425"/>
                  </a:lnTo>
                  <a:lnTo>
                    <a:pt x="11589" y="10939"/>
                  </a:lnTo>
                  <a:lnTo>
                    <a:pt x="11350" y="10534"/>
                  </a:lnTo>
                  <a:lnTo>
                    <a:pt x="11144" y="10285"/>
                  </a:lnTo>
                  <a:lnTo>
                    <a:pt x="10926" y="10090"/>
                  </a:lnTo>
                  <a:lnTo>
                    <a:pt x="10695" y="9953"/>
                  </a:lnTo>
                  <a:lnTo>
                    <a:pt x="10451" y="9869"/>
                  </a:lnTo>
                  <a:lnTo>
                    <a:pt x="10195" y="9840"/>
                  </a:lnTo>
                  <a:lnTo>
                    <a:pt x="9446" y="9840"/>
                  </a:lnTo>
                  <a:lnTo>
                    <a:pt x="9195" y="9867"/>
                  </a:lnTo>
                  <a:lnTo>
                    <a:pt x="8953" y="9943"/>
                  </a:lnTo>
                  <a:lnTo>
                    <a:pt x="8720" y="10072"/>
                  </a:lnTo>
                  <a:lnTo>
                    <a:pt x="8496" y="10250"/>
                  </a:lnTo>
                  <a:lnTo>
                    <a:pt x="8281" y="10479"/>
                  </a:lnTo>
                  <a:lnTo>
                    <a:pt x="8074" y="10759"/>
                  </a:lnTo>
                  <a:lnTo>
                    <a:pt x="7876" y="11091"/>
                  </a:lnTo>
                  <a:lnTo>
                    <a:pt x="7686" y="11474"/>
                  </a:lnTo>
                  <a:lnTo>
                    <a:pt x="7485" y="11969"/>
                  </a:lnTo>
                  <a:lnTo>
                    <a:pt x="7311" y="12511"/>
                  </a:lnTo>
                  <a:lnTo>
                    <a:pt x="7163" y="13097"/>
                  </a:lnTo>
                  <a:lnTo>
                    <a:pt x="7043" y="13729"/>
                  </a:lnTo>
                  <a:lnTo>
                    <a:pt x="6949" y="14404"/>
                  </a:lnTo>
                  <a:lnTo>
                    <a:pt x="6881" y="15125"/>
                  </a:lnTo>
                  <a:lnTo>
                    <a:pt x="6841" y="15890"/>
                  </a:lnTo>
                  <a:lnTo>
                    <a:pt x="6828" y="16701"/>
                  </a:lnTo>
                  <a:lnTo>
                    <a:pt x="6839" y="17358"/>
                  </a:lnTo>
                  <a:lnTo>
                    <a:pt x="6871" y="17970"/>
                  </a:lnTo>
                  <a:lnTo>
                    <a:pt x="6925" y="18537"/>
                  </a:lnTo>
                  <a:lnTo>
                    <a:pt x="7000" y="19058"/>
                  </a:lnTo>
                  <a:lnTo>
                    <a:pt x="5221" y="19058"/>
                  </a:lnTo>
                  <a:lnTo>
                    <a:pt x="5606" y="15285"/>
                  </a:lnTo>
                  <a:lnTo>
                    <a:pt x="5808" y="13301"/>
                  </a:lnTo>
                  <a:lnTo>
                    <a:pt x="5859" y="12818"/>
                  </a:lnTo>
                  <a:lnTo>
                    <a:pt x="5912" y="12280"/>
                  </a:lnTo>
                  <a:lnTo>
                    <a:pt x="5953" y="11766"/>
                  </a:lnTo>
                  <a:lnTo>
                    <a:pt x="5969" y="11357"/>
                  </a:lnTo>
                  <a:lnTo>
                    <a:pt x="5910" y="10616"/>
                  </a:lnTo>
                  <a:lnTo>
                    <a:pt x="5754" y="10162"/>
                  </a:lnTo>
                  <a:lnTo>
                    <a:pt x="5535" y="9933"/>
                  </a:lnTo>
                  <a:lnTo>
                    <a:pt x="5281" y="9869"/>
                  </a:lnTo>
                  <a:lnTo>
                    <a:pt x="5028" y="9916"/>
                  </a:lnTo>
                  <a:lnTo>
                    <a:pt x="4783" y="10059"/>
                  </a:lnTo>
                  <a:lnTo>
                    <a:pt x="4547" y="10299"/>
                  </a:lnTo>
                  <a:lnTo>
                    <a:pt x="4320" y="10632"/>
                  </a:lnTo>
                  <a:lnTo>
                    <a:pt x="4103" y="11062"/>
                  </a:lnTo>
                  <a:lnTo>
                    <a:pt x="3895" y="11588"/>
                  </a:lnTo>
                  <a:lnTo>
                    <a:pt x="2489" y="15549"/>
                  </a:lnTo>
                  <a:lnTo>
                    <a:pt x="4109" y="0"/>
                  </a:lnTo>
                  <a:lnTo>
                    <a:pt x="2246" y="0"/>
                  </a:lnTo>
                  <a:lnTo>
                    <a:pt x="0" y="21600"/>
                  </a:lnTo>
                  <a:lnTo>
                    <a:pt x="1442" y="21600"/>
                  </a:lnTo>
                  <a:lnTo>
                    <a:pt x="1617" y="21287"/>
                  </a:lnTo>
                  <a:lnTo>
                    <a:pt x="1800" y="20815"/>
                  </a:lnTo>
                  <a:lnTo>
                    <a:pt x="3667" y="15549"/>
                  </a:lnTo>
                  <a:lnTo>
                    <a:pt x="3761" y="15285"/>
                  </a:lnTo>
                  <a:lnTo>
                    <a:pt x="3388" y="19058"/>
                  </a:lnTo>
                  <a:lnTo>
                    <a:pt x="3330" y="19814"/>
                  </a:lnTo>
                  <a:lnTo>
                    <a:pt x="3311" y="20442"/>
                  </a:lnTo>
                  <a:lnTo>
                    <a:pt x="3348" y="21079"/>
                  </a:lnTo>
                  <a:lnTo>
                    <a:pt x="3457" y="21533"/>
                  </a:lnTo>
                  <a:lnTo>
                    <a:pt x="3502" y="21600"/>
                  </a:lnTo>
                  <a:lnTo>
                    <a:pt x="15684" y="21600"/>
                  </a:lnTo>
                  <a:lnTo>
                    <a:pt x="15731" y="21549"/>
                  </a:lnTo>
                  <a:lnTo>
                    <a:pt x="15900" y="21306"/>
                  </a:lnTo>
                  <a:lnTo>
                    <a:pt x="15995" y="21138"/>
                  </a:lnTo>
                  <a:lnTo>
                    <a:pt x="16105" y="21447"/>
                  </a:lnTo>
                  <a:lnTo>
                    <a:pt x="16206" y="21600"/>
                  </a:lnTo>
                  <a:lnTo>
                    <a:pt x="19177" y="21600"/>
                  </a:lnTo>
                  <a:lnTo>
                    <a:pt x="19236" y="21543"/>
                  </a:lnTo>
                  <a:lnTo>
                    <a:pt x="19405" y="21306"/>
                  </a:lnTo>
                  <a:lnTo>
                    <a:pt x="19499" y="21138"/>
                  </a:lnTo>
                  <a:lnTo>
                    <a:pt x="19504" y="21128"/>
                  </a:lnTo>
                  <a:lnTo>
                    <a:pt x="19626" y="21441"/>
                  </a:lnTo>
                  <a:lnTo>
                    <a:pt x="19722" y="21600"/>
                  </a:lnTo>
                  <a:lnTo>
                    <a:pt x="21600" y="21600"/>
                  </a:lnTo>
                  <a:lnTo>
                    <a:pt x="21600" y="18956"/>
                  </a:lnTo>
                  <a:lnTo>
                    <a:pt x="21168" y="18956"/>
                  </a:lnTo>
                  <a:lnTo>
                    <a:pt x="21600" y="14841"/>
                  </a:lnTo>
                  <a:lnTo>
                    <a:pt x="21600" y="9885"/>
                  </a:lnTo>
                  <a:close/>
                </a:path>
              </a:pathLst>
            </a:custGeom>
            <a:solidFill>
              <a:srgbClr val="F7F7F7"/>
            </a:solidFill>
            <a:ln w="12700" cap="flat">
              <a:noFill/>
              <a:miter lim="400000"/>
            </a:ln>
            <a:effectLst/>
          </p:spPr>
          <p:txBody>
            <a:bodyPr wrap="square" lIns="55452" tIns="55452" rIns="55452" bIns="55452" numCol="1" anchor="t">
              <a:noAutofit/>
            </a:bodyPr>
            <a:lstStyle/>
            <a:p>
              <a:pPr>
                <a:defRPr>
                  <a:latin typeface="Calibri"/>
                  <a:ea typeface="Calibri"/>
                  <a:cs typeface="Calibri"/>
                  <a:sym typeface="Calibri"/>
                </a:defRPr>
              </a:pPr>
              <a:endParaRPr sz="900"/>
            </a:p>
          </p:txBody>
        </p:sp>
      </p:grpSp>
      <p:sp>
        <p:nvSpPr>
          <p:cNvPr id="18" name="Title Text"/>
          <p:cNvSpPr txBox="1">
            <a:spLocks noGrp="1"/>
          </p:cNvSpPr>
          <p:nvPr>
            <p:ph type="title"/>
          </p:nvPr>
        </p:nvSpPr>
        <p:spPr>
          <a:xfrm>
            <a:off x="6815989" y="2178526"/>
            <a:ext cx="2561245" cy="906506"/>
          </a:xfrm>
          <a:prstGeom prst="rect">
            <a:avLst/>
          </a:prstGeom>
        </p:spPr>
        <p:txBody>
          <a:bodyPr/>
          <a:lstStyle/>
          <a:p>
            <a:r>
              <a:t>Title Text</a:t>
            </a:r>
          </a:p>
        </p:txBody>
      </p:sp>
      <p:sp>
        <p:nvSpPr>
          <p:cNvPr id="19" name="Body Level One…"/>
          <p:cNvSpPr txBox="1">
            <a:spLocks noGrp="1"/>
          </p:cNvSpPr>
          <p:nvPr>
            <p:ph type="body" sz="quarter" idx="1"/>
          </p:nvPr>
        </p:nvSpPr>
        <p:spPr>
          <a:xfrm>
            <a:off x="1828800" y="3842434"/>
            <a:ext cx="8534400" cy="1714621"/>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292615741"/>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x">
  <p:cSld name="Title Only">
    <p:spTree>
      <p:nvGrpSpPr>
        <p:cNvPr id="1" name=""/>
        <p:cNvGrpSpPr/>
        <p:nvPr/>
      </p:nvGrpSpPr>
      <p:grpSpPr>
        <a:xfrm>
          <a:off x="0" y="0"/>
          <a:ext cx="0" cy="0"/>
          <a:chOff x="0" y="0"/>
          <a:chExt cx="0" cy="0"/>
        </a:xfrm>
      </p:grpSpPr>
      <p:grpSp>
        <p:nvGrpSpPr>
          <p:cNvPr id="38" name="bg object 17"/>
          <p:cNvGrpSpPr/>
          <p:nvPr/>
        </p:nvGrpSpPr>
        <p:grpSpPr>
          <a:xfrm>
            <a:off x="-1" y="3406614"/>
            <a:ext cx="12174396" cy="3453072"/>
            <a:chOff x="0" y="0"/>
            <a:chExt cx="24348790" cy="6906142"/>
          </a:xfrm>
        </p:grpSpPr>
        <p:sp>
          <p:nvSpPr>
            <p:cNvPr id="36" name="Shape"/>
            <p:cNvSpPr/>
            <p:nvPr/>
          </p:nvSpPr>
          <p:spPr>
            <a:xfrm>
              <a:off x="-1" y="-1"/>
              <a:ext cx="4489831" cy="6647826"/>
            </a:xfrm>
            <a:custGeom>
              <a:avLst/>
              <a:gdLst/>
              <a:ahLst/>
              <a:cxnLst>
                <a:cxn ang="0">
                  <a:pos x="wd2" y="hd2"/>
                </a:cxn>
                <a:cxn ang="5400000">
                  <a:pos x="wd2" y="hd2"/>
                </a:cxn>
                <a:cxn ang="10800000">
                  <a:pos x="wd2" y="hd2"/>
                </a:cxn>
                <a:cxn ang="16200000">
                  <a:pos x="wd2" y="hd2"/>
                </a:cxn>
              </a:cxnLst>
              <a:rect l="0" t="0" r="r" b="b"/>
              <a:pathLst>
                <a:path w="21600" h="21600" extrusionOk="0">
                  <a:moveTo>
                    <a:pt x="21600" y="3393"/>
                  </a:moveTo>
                  <a:lnTo>
                    <a:pt x="21414" y="2699"/>
                  </a:lnTo>
                  <a:lnTo>
                    <a:pt x="20979" y="2082"/>
                  </a:lnTo>
                  <a:lnTo>
                    <a:pt x="20296" y="1536"/>
                  </a:lnTo>
                  <a:lnTo>
                    <a:pt x="19364" y="1068"/>
                  </a:lnTo>
                  <a:lnTo>
                    <a:pt x="18182" y="671"/>
                  </a:lnTo>
                  <a:lnTo>
                    <a:pt x="17171" y="431"/>
                  </a:lnTo>
                  <a:lnTo>
                    <a:pt x="16099" y="242"/>
                  </a:lnTo>
                  <a:lnTo>
                    <a:pt x="14961" y="109"/>
                  </a:lnTo>
                  <a:lnTo>
                    <a:pt x="13759" y="26"/>
                  </a:lnTo>
                  <a:lnTo>
                    <a:pt x="12497" y="0"/>
                  </a:lnTo>
                  <a:lnTo>
                    <a:pt x="8796" y="0"/>
                  </a:lnTo>
                  <a:lnTo>
                    <a:pt x="8796" y="6"/>
                  </a:lnTo>
                  <a:lnTo>
                    <a:pt x="7273" y="46"/>
                  </a:lnTo>
                  <a:lnTo>
                    <a:pt x="5838" y="122"/>
                  </a:lnTo>
                  <a:lnTo>
                    <a:pt x="4498" y="234"/>
                  </a:lnTo>
                  <a:lnTo>
                    <a:pt x="3250" y="385"/>
                  </a:lnTo>
                  <a:lnTo>
                    <a:pt x="2093" y="570"/>
                  </a:lnTo>
                  <a:lnTo>
                    <a:pt x="1032" y="793"/>
                  </a:lnTo>
                  <a:lnTo>
                    <a:pt x="60" y="1052"/>
                  </a:lnTo>
                  <a:lnTo>
                    <a:pt x="0" y="1073"/>
                  </a:lnTo>
                  <a:lnTo>
                    <a:pt x="0" y="21600"/>
                  </a:lnTo>
                  <a:lnTo>
                    <a:pt x="800" y="21401"/>
                  </a:lnTo>
                  <a:lnTo>
                    <a:pt x="1760" y="21130"/>
                  </a:lnTo>
                  <a:lnTo>
                    <a:pt x="2872" y="20760"/>
                  </a:lnTo>
                  <a:lnTo>
                    <a:pt x="3888" y="20362"/>
                  </a:lnTo>
                  <a:lnTo>
                    <a:pt x="4808" y="19933"/>
                  </a:lnTo>
                  <a:lnTo>
                    <a:pt x="5630" y="19476"/>
                  </a:lnTo>
                  <a:lnTo>
                    <a:pt x="6355" y="18987"/>
                  </a:lnTo>
                  <a:lnTo>
                    <a:pt x="6984" y="18471"/>
                  </a:lnTo>
                  <a:lnTo>
                    <a:pt x="7515" y="17924"/>
                  </a:lnTo>
                  <a:lnTo>
                    <a:pt x="7953" y="17348"/>
                  </a:lnTo>
                  <a:lnTo>
                    <a:pt x="8288" y="16742"/>
                  </a:lnTo>
                  <a:lnTo>
                    <a:pt x="8531" y="16107"/>
                  </a:lnTo>
                  <a:lnTo>
                    <a:pt x="8678" y="15444"/>
                  </a:lnTo>
                  <a:lnTo>
                    <a:pt x="8726" y="14747"/>
                  </a:lnTo>
                  <a:lnTo>
                    <a:pt x="8692" y="14227"/>
                  </a:lnTo>
                  <a:lnTo>
                    <a:pt x="8435" y="13045"/>
                  </a:lnTo>
                  <a:lnTo>
                    <a:pt x="8209" y="12382"/>
                  </a:lnTo>
                  <a:lnTo>
                    <a:pt x="7921" y="11671"/>
                  </a:lnTo>
                  <a:lnTo>
                    <a:pt x="7569" y="10912"/>
                  </a:lnTo>
                  <a:lnTo>
                    <a:pt x="7151" y="10105"/>
                  </a:lnTo>
                  <a:lnTo>
                    <a:pt x="6668" y="9254"/>
                  </a:lnTo>
                  <a:lnTo>
                    <a:pt x="6039" y="8152"/>
                  </a:lnTo>
                  <a:lnTo>
                    <a:pt x="5525" y="7191"/>
                  </a:lnTo>
                  <a:lnTo>
                    <a:pt x="5125" y="6369"/>
                  </a:lnTo>
                  <a:lnTo>
                    <a:pt x="4839" y="5685"/>
                  </a:lnTo>
                  <a:lnTo>
                    <a:pt x="4667" y="5141"/>
                  </a:lnTo>
                  <a:lnTo>
                    <a:pt x="4611" y="4735"/>
                  </a:lnTo>
                  <a:lnTo>
                    <a:pt x="4749" y="4026"/>
                  </a:lnTo>
                  <a:lnTo>
                    <a:pt x="5170" y="3473"/>
                  </a:lnTo>
                  <a:lnTo>
                    <a:pt x="5867" y="3079"/>
                  </a:lnTo>
                  <a:lnTo>
                    <a:pt x="6846" y="2842"/>
                  </a:lnTo>
                  <a:lnTo>
                    <a:pt x="8105" y="2764"/>
                  </a:lnTo>
                  <a:lnTo>
                    <a:pt x="9626" y="2755"/>
                  </a:lnTo>
                  <a:lnTo>
                    <a:pt x="13285" y="2755"/>
                  </a:lnTo>
                  <a:lnTo>
                    <a:pt x="10533" y="6457"/>
                  </a:lnTo>
                  <a:lnTo>
                    <a:pt x="18972" y="6457"/>
                  </a:lnTo>
                  <a:lnTo>
                    <a:pt x="19960" y="5944"/>
                  </a:lnTo>
                  <a:lnTo>
                    <a:pt x="20717" y="5382"/>
                  </a:lnTo>
                  <a:lnTo>
                    <a:pt x="21242" y="4768"/>
                  </a:lnTo>
                  <a:lnTo>
                    <a:pt x="21535" y="4104"/>
                  </a:lnTo>
                  <a:lnTo>
                    <a:pt x="21600" y="3393"/>
                  </a:lnTo>
                  <a:close/>
                </a:path>
              </a:pathLst>
            </a:custGeom>
            <a:solidFill>
              <a:srgbClr val="F7F7F7"/>
            </a:solidFill>
            <a:ln w="12700" cap="flat">
              <a:noFill/>
              <a:miter lim="400000"/>
            </a:ln>
            <a:effectLst/>
          </p:spPr>
          <p:txBody>
            <a:bodyPr wrap="square" lIns="55452" tIns="55452" rIns="55452" bIns="55452" numCol="1" anchor="t">
              <a:noAutofit/>
            </a:bodyPr>
            <a:lstStyle/>
            <a:p>
              <a:pPr>
                <a:defRPr>
                  <a:latin typeface="Calibri"/>
                  <a:ea typeface="Calibri"/>
                  <a:cs typeface="Calibri"/>
                  <a:sym typeface="Calibri"/>
                </a:defRPr>
              </a:pPr>
              <a:endParaRPr sz="900"/>
            </a:p>
          </p:txBody>
        </p:sp>
        <p:sp>
          <p:nvSpPr>
            <p:cNvPr id="37" name="Shape"/>
            <p:cNvSpPr/>
            <p:nvPr/>
          </p:nvSpPr>
          <p:spPr>
            <a:xfrm>
              <a:off x="3127744" y="714019"/>
              <a:ext cx="21221047" cy="6192124"/>
            </a:xfrm>
            <a:custGeom>
              <a:avLst/>
              <a:gdLst/>
              <a:ahLst/>
              <a:cxnLst>
                <a:cxn ang="0">
                  <a:pos x="wd2" y="hd2"/>
                </a:cxn>
                <a:cxn ang="5400000">
                  <a:pos x="wd2" y="hd2"/>
                </a:cxn>
                <a:cxn ang="10800000">
                  <a:pos x="wd2" y="hd2"/>
                </a:cxn>
                <a:cxn ang="16200000">
                  <a:pos x="wd2" y="hd2"/>
                </a:cxn>
              </a:cxnLst>
              <a:rect l="0" t="0" r="r" b="b"/>
              <a:pathLst>
                <a:path w="21600" h="21600" extrusionOk="0">
                  <a:moveTo>
                    <a:pt x="21600" y="9885"/>
                  </a:moveTo>
                  <a:lnTo>
                    <a:pt x="20207" y="9885"/>
                  </a:lnTo>
                  <a:lnTo>
                    <a:pt x="19323" y="18252"/>
                  </a:lnTo>
                  <a:lnTo>
                    <a:pt x="19279" y="18956"/>
                  </a:lnTo>
                  <a:lnTo>
                    <a:pt x="17797" y="18956"/>
                  </a:lnTo>
                  <a:lnTo>
                    <a:pt x="19764" y="61"/>
                  </a:lnTo>
                  <a:lnTo>
                    <a:pt x="17897" y="61"/>
                  </a:lnTo>
                  <a:lnTo>
                    <a:pt x="15941" y="18956"/>
                  </a:lnTo>
                  <a:lnTo>
                    <a:pt x="14293" y="18956"/>
                  </a:lnTo>
                  <a:lnTo>
                    <a:pt x="16259" y="61"/>
                  </a:lnTo>
                  <a:lnTo>
                    <a:pt x="14393" y="61"/>
                  </a:lnTo>
                  <a:lnTo>
                    <a:pt x="12434" y="18993"/>
                  </a:lnTo>
                  <a:lnTo>
                    <a:pt x="12432" y="19024"/>
                  </a:lnTo>
                  <a:lnTo>
                    <a:pt x="12429" y="19058"/>
                  </a:lnTo>
                  <a:lnTo>
                    <a:pt x="9477" y="19058"/>
                  </a:lnTo>
                  <a:lnTo>
                    <a:pt x="9182" y="18969"/>
                  </a:lnTo>
                  <a:lnTo>
                    <a:pt x="8972" y="18700"/>
                  </a:lnTo>
                  <a:lnTo>
                    <a:pt x="8846" y="18252"/>
                  </a:lnTo>
                  <a:lnTo>
                    <a:pt x="8804" y="17624"/>
                  </a:lnTo>
                  <a:lnTo>
                    <a:pt x="8806" y="17468"/>
                  </a:lnTo>
                  <a:lnTo>
                    <a:pt x="8813" y="17305"/>
                  </a:lnTo>
                  <a:lnTo>
                    <a:pt x="8824" y="17133"/>
                  </a:lnTo>
                  <a:lnTo>
                    <a:pt x="8840" y="16951"/>
                  </a:lnTo>
                  <a:lnTo>
                    <a:pt x="9264" y="12679"/>
                  </a:lnTo>
                  <a:lnTo>
                    <a:pt x="10390" y="12679"/>
                  </a:lnTo>
                  <a:lnTo>
                    <a:pt x="9714" y="19058"/>
                  </a:lnTo>
                  <a:lnTo>
                    <a:pt x="10510" y="18013"/>
                  </a:lnTo>
                  <a:lnTo>
                    <a:pt x="10963" y="17397"/>
                  </a:lnTo>
                  <a:lnTo>
                    <a:pt x="11240" y="16969"/>
                  </a:lnTo>
                  <a:lnTo>
                    <a:pt x="11509" y="16490"/>
                  </a:lnTo>
                  <a:lnTo>
                    <a:pt x="11717" y="16007"/>
                  </a:lnTo>
                  <a:lnTo>
                    <a:pt x="11872" y="15434"/>
                  </a:lnTo>
                  <a:lnTo>
                    <a:pt x="11975" y="14785"/>
                  </a:lnTo>
                  <a:lnTo>
                    <a:pt x="12031" y="14079"/>
                  </a:lnTo>
                  <a:lnTo>
                    <a:pt x="12042" y="13334"/>
                  </a:lnTo>
                  <a:lnTo>
                    <a:pt x="12008" y="12679"/>
                  </a:lnTo>
                  <a:lnTo>
                    <a:pt x="11916" y="11983"/>
                  </a:lnTo>
                  <a:lnTo>
                    <a:pt x="11778" y="11425"/>
                  </a:lnTo>
                  <a:lnTo>
                    <a:pt x="11589" y="10939"/>
                  </a:lnTo>
                  <a:lnTo>
                    <a:pt x="11350" y="10534"/>
                  </a:lnTo>
                  <a:lnTo>
                    <a:pt x="11144" y="10285"/>
                  </a:lnTo>
                  <a:lnTo>
                    <a:pt x="10926" y="10090"/>
                  </a:lnTo>
                  <a:lnTo>
                    <a:pt x="10695" y="9953"/>
                  </a:lnTo>
                  <a:lnTo>
                    <a:pt x="10451" y="9869"/>
                  </a:lnTo>
                  <a:lnTo>
                    <a:pt x="10195" y="9840"/>
                  </a:lnTo>
                  <a:lnTo>
                    <a:pt x="9446" y="9840"/>
                  </a:lnTo>
                  <a:lnTo>
                    <a:pt x="9195" y="9867"/>
                  </a:lnTo>
                  <a:lnTo>
                    <a:pt x="8953" y="9943"/>
                  </a:lnTo>
                  <a:lnTo>
                    <a:pt x="8720" y="10072"/>
                  </a:lnTo>
                  <a:lnTo>
                    <a:pt x="8496" y="10250"/>
                  </a:lnTo>
                  <a:lnTo>
                    <a:pt x="8281" y="10479"/>
                  </a:lnTo>
                  <a:lnTo>
                    <a:pt x="8074" y="10759"/>
                  </a:lnTo>
                  <a:lnTo>
                    <a:pt x="7876" y="11091"/>
                  </a:lnTo>
                  <a:lnTo>
                    <a:pt x="7686" y="11474"/>
                  </a:lnTo>
                  <a:lnTo>
                    <a:pt x="7485" y="11969"/>
                  </a:lnTo>
                  <a:lnTo>
                    <a:pt x="7311" y="12511"/>
                  </a:lnTo>
                  <a:lnTo>
                    <a:pt x="7163" y="13097"/>
                  </a:lnTo>
                  <a:lnTo>
                    <a:pt x="7043" y="13729"/>
                  </a:lnTo>
                  <a:lnTo>
                    <a:pt x="6949" y="14404"/>
                  </a:lnTo>
                  <a:lnTo>
                    <a:pt x="6881" y="15125"/>
                  </a:lnTo>
                  <a:lnTo>
                    <a:pt x="6841" y="15890"/>
                  </a:lnTo>
                  <a:lnTo>
                    <a:pt x="6828" y="16701"/>
                  </a:lnTo>
                  <a:lnTo>
                    <a:pt x="6839" y="17358"/>
                  </a:lnTo>
                  <a:lnTo>
                    <a:pt x="6871" y="17970"/>
                  </a:lnTo>
                  <a:lnTo>
                    <a:pt x="6925" y="18537"/>
                  </a:lnTo>
                  <a:lnTo>
                    <a:pt x="7000" y="19058"/>
                  </a:lnTo>
                  <a:lnTo>
                    <a:pt x="5221" y="19058"/>
                  </a:lnTo>
                  <a:lnTo>
                    <a:pt x="5606" y="15285"/>
                  </a:lnTo>
                  <a:lnTo>
                    <a:pt x="5808" y="13301"/>
                  </a:lnTo>
                  <a:lnTo>
                    <a:pt x="5859" y="12818"/>
                  </a:lnTo>
                  <a:lnTo>
                    <a:pt x="5912" y="12280"/>
                  </a:lnTo>
                  <a:lnTo>
                    <a:pt x="5953" y="11766"/>
                  </a:lnTo>
                  <a:lnTo>
                    <a:pt x="5969" y="11357"/>
                  </a:lnTo>
                  <a:lnTo>
                    <a:pt x="5910" y="10616"/>
                  </a:lnTo>
                  <a:lnTo>
                    <a:pt x="5754" y="10162"/>
                  </a:lnTo>
                  <a:lnTo>
                    <a:pt x="5535" y="9933"/>
                  </a:lnTo>
                  <a:lnTo>
                    <a:pt x="5281" y="9869"/>
                  </a:lnTo>
                  <a:lnTo>
                    <a:pt x="5028" y="9916"/>
                  </a:lnTo>
                  <a:lnTo>
                    <a:pt x="4783" y="10059"/>
                  </a:lnTo>
                  <a:lnTo>
                    <a:pt x="4547" y="10299"/>
                  </a:lnTo>
                  <a:lnTo>
                    <a:pt x="4320" y="10632"/>
                  </a:lnTo>
                  <a:lnTo>
                    <a:pt x="4103" y="11062"/>
                  </a:lnTo>
                  <a:lnTo>
                    <a:pt x="3895" y="11588"/>
                  </a:lnTo>
                  <a:lnTo>
                    <a:pt x="2489" y="15549"/>
                  </a:lnTo>
                  <a:lnTo>
                    <a:pt x="4109" y="0"/>
                  </a:lnTo>
                  <a:lnTo>
                    <a:pt x="2246" y="0"/>
                  </a:lnTo>
                  <a:lnTo>
                    <a:pt x="0" y="21600"/>
                  </a:lnTo>
                  <a:lnTo>
                    <a:pt x="1442" y="21600"/>
                  </a:lnTo>
                  <a:lnTo>
                    <a:pt x="1617" y="21287"/>
                  </a:lnTo>
                  <a:lnTo>
                    <a:pt x="1800" y="20815"/>
                  </a:lnTo>
                  <a:lnTo>
                    <a:pt x="3667" y="15549"/>
                  </a:lnTo>
                  <a:lnTo>
                    <a:pt x="3761" y="15285"/>
                  </a:lnTo>
                  <a:lnTo>
                    <a:pt x="3388" y="19058"/>
                  </a:lnTo>
                  <a:lnTo>
                    <a:pt x="3330" y="19814"/>
                  </a:lnTo>
                  <a:lnTo>
                    <a:pt x="3311" y="20442"/>
                  </a:lnTo>
                  <a:lnTo>
                    <a:pt x="3348" y="21079"/>
                  </a:lnTo>
                  <a:lnTo>
                    <a:pt x="3457" y="21533"/>
                  </a:lnTo>
                  <a:lnTo>
                    <a:pt x="3502" y="21600"/>
                  </a:lnTo>
                  <a:lnTo>
                    <a:pt x="15684" y="21600"/>
                  </a:lnTo>
                  <a:lnTo>
                    <a:pt x="15731" y="21549"/>
                  </a:lnTo>
                  <a:lnTo>
                    <a:pt x="15900" y="21306"/>
                  </a:lnTo>
                  <a:lnTo>
                    <a:pt x="15995" y="21138"/>
                  </a:lnTo>
                  <a:lnTo>
                    <a:pt x="16105" y="21447"/>
                  </a:lnTo>
                  <a:lnTo>
                    <a:pt x="16206" y="21600"/>
                  </a:lnTo>
                  <a:lnTo>
                    <a:pt x="19177" y="21600"/>
                  </a:lnTo>
                  <a:lnTo>
                    <a:pt x="19236" y="21543"/>
                  </a:lnTo>
                  <a:lnTo>
                    <a:pt x="19405" y="21306"/>
                  </a:lnTo>
                  <a:lnTo>
                    <a:pt x="19499" y="21138"/>
                  </a:lnTo>
                  <a:lnTo>
                    <a:pt x="19504" y="21128"/>
                  </a:lnTo>
                  <a:lnTo>
                    <a:pt x="19626" y="21441"/>
                  </a:lnTo>
                  <a:lnTo>
                    <a:pt x="19722" y="21600"/>
                  </a:lnTo>
                  <a:lnTo>
                    <a:pt x="21600" y="21600"/>
                  </a:lnTo>
                  <a:lnTo>
                    <a:pt x="21600" y="18956"/>
                  </a:lnTo>
                  <a:lnTo>
                    <a:pt x="21168" y="18956"/>
                  </a:lnTo>
                  <a:lnTo>
                    <a:pt x="21600" y="14841"/>
                  </a:lnTo>
                  <a:lnTo>
                    <a:pt x="21600" y="9885"/>
                  </a:lnTo>
                  <a:close/>
                </a:path>
              </a:pathLst>
            </a:custGeom>
            <a:solidFill>
              <a:srgbClr val="F7F7F7"/>
            </a:solidFill>
            <a:ln w="12700" cap="flat">
              <a:noFill/>
              <a:miter lim="400000"/>
            </a:ln>
            <a:effectLst/>
          </p:spPr>
          <p:txBody>
            <a:bodyPr wrap="square" lIns="55452" tIns="55452" rIns="55452" bIns="55452" numCol="1" anchor="t">
              <a:noAutofit/>
            </a:bodyPr>
            <a:lstStyle/>
            <a:p>
              <a:pPr>
                <a:defRPr>
                  <a:latin typeface="Calibri"/>
                  <a:ea typeface="Calibri"/>
                  <a:cs typeface="Calibri"/>
                  <a:sym typeface="Calibri"/>
                </a:defRPr>
              </a:pPr>
              <a:endParaRPr sz="900"/>
            </a:p>
          </p:txBody>
        </p:sp>
      </p:grpSp>
      <p:sp>
        <p:nvSpPr>
          <p:cNvPr id="39" name="Title Text"/>
          <p:cNvSpPr txBox="1">
            <a:spLocks noGrp="1"/>
          </p:cNvSpPr>
          <p:nvPr>
            <p:ph type="title"/>
          </p:nvPr>
        </p:nvSpPr>
        <p:spPr>
          <a:prstGeom prst="rect">
            <a:avLst/>
          </a:prstGeom>
        </p:spPr>
        <p:txBody>
          <a:bodyPr/>
          <a:lstStyle/>
          <a:p>
            <a:r>
              <a:t>Title Text</a:t>
            </a:r>
          </a:p>
        </p:txBody>
      </p:sp>
      <p:sp>
        <p:nvSpPr>
          <p:cNvPr id="4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439652736"/>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x">
  <p:cSld name="Blank">
    <p:spTree>
      <p:nvGrpSpPr>
        <p:cNvPr id="1" name=""/>
        <p:cNvGrpSpPr/>
        <p:nvPr/>
      </p:nvGrpSpPr>
      <p:grpSpPr>
        <a:xfrm>
          <a:off x="0" y="0"/>
          <a:ext cx="0" cy="0"/>
          <a:chOff x="0" y="0"/>
          <a:chExt cx="0" cy="0"/>
        </a:xfrm>
      </p:grpSpPr>
      <p:grpSp>
        <p:nvGrpSpPr>
          <p:cNvPr id="49" name="bg object 17"/>
          <p:cNvGrpSpPr/>
          <p:nvPr/>
        </p:nvGrpSpPr>
        <p:grpSpPr>
          <a:xfrm>
            <a:off x="-1" y="3406614"/>
            <a:ext cx="12174396" cy="3453072"/>
            <a:chOff x="0" y="0"/>
            <a:chExt cx="24348790" cy="6906142"/>
          </a:xfrm>
        </p:grpSpPr>
        <p:sp>
          <p:nvSpPr>
            <p:cNvPr id="47" name="Shape"/>
            <p:cNvSpPr/>
            <p:nvPr/>
          </p:nvSpPr>
          <p:spPr>
            <a:xfrm>
              <a:off x="-1" y="-1"/>
              <a:ext cx="4489831" cy="6647826"/>
            </a:xfrm>
            <a:custGeom>
              <a:avLst/>
              <a:gdLst/>
              <a:ahLst/>
              <a:cxnLst>
                <a:cxn ang="0">
                  <a:pos x="wd2" y="hd2"/>
                </a:cxn>
                <a:cxn ang="5400000">
                  <a:pos x="wd2" y="hd2"/>
                </a:cxn>
                <a:cxn ang="10800000">
                  <a:pos x="wd2" y="hd2"/>
                </a:cxn>
                <a:cxn ang="16200000">
                  <a:pos x="wd2" y="hd2"/>
                </a:cxn>
              </a:cxnLst>
              <a:rect l="0" t="0" r="r" b="b"/>
              <a:pathLst>
                <a:path w="21600" h="21600" extrusionOk="0">
                  <a:moveTo>
                    <a:pt x="21600" y="3393"/>
                  </a:moveTo>
                  <a:lnTo>
                    <a:pt x="21414" y="2699"/>
                  </a:lnTo>
                  <a:lnTo>
                    <a:pt x="20979" y="2082"/>
                  </a:lnTo>
                  <a:lnTo>
                    <a:pt x="20296" y="1536"/>
                  </a:lnTo>
                  <a:lnTo>
                    <a:pt x="19364" y="1068"/>
                  </a:lnTo>
                  <a:lnTo>
                    <a:pt x="18182" y="671"/>
                  </a:lnTo>
                  <a:lnTo>
                    <a:pt x="17171" y="431"/>
                  </a:lnTo>
                  <a:lnTo>
                    <a:pt x="16099" y="242"/>
                  </a:lnTo>
                  <a:lnTo>
                    <a:pt x="14961" y="109"/>
                  </a:lnTo>
                  <a:lnTo>
                    <a:pt x="13759" y="26"/>
                  </a:lnTo>
                  <a:lnTo>
                    <a:pt x="12497" y="0"/>
                  </a:lnTo>
                  <a:lnTo>
                    <a:pt x="8796" y="0"/>
                  </a:lnTo>
                  <a:lnTo>
                    <a:pt x="8796" y="6"/>
                  </a:lnTo>
                  <a:lnTo>
                    <a:pt x="7273" y="46"/>
                  </a:lnTo>
                  <a:lnTo>
                    <a:pt x="5838" y="122"/>
                  </a:lnTo>
                  <a:lnTo>
                    <a:pt x="4498" y="234"/>
                  </a:lnTo>
                  <a:lnTo>
                    <a:pt x="3250" y="385"/>
                  </a:lnTo>
                  <a:lnTo>
                    <a:pt x="2093" y="570"/>
                  </a:lnTo>
                  <a:lnTo>
                    <a:pt x="1032" y="793"/>
                  </a:lnTo>
                  <a:lnTo>
                    <a:pt x="60" y="1052"/>
                  </a:lnTo>
                  <a:lnTo>
                    <a:pt x="0" y="1073"/>
                  </a:lnTo>
                  <a:lnTo>
                    <a:pt x="0" y="21600"/>
                  </a:lnTo>
                  <a:lnTo>
                    <a:pt x="800" y="21401"/>
                  </a:lnTo>
                  <a:lnTo>
                    <a:pt x="1760" y="21130"/>
                  </a:lnTo>
                  <a:lnTo>
                    <a:pt x="2872" y="20760"/>
                  </a:lnTo>
                  <a:lnTo>
                    <a:pt x="3888" y="20362"/>
                  </a:lnTo>
                  <a:lnTo>
                    <a:pt x="4808" y="19933"/>
                  </a:lnTo>
                  <a:lnTo>
                    <a:pt x="5630" y="19476"/>
                  </a:lnTo>
                  <a:lnTo>
                    <a:pt x="6355" y="18987"/>
                  </a:lnTo>
                  <a:lnTo>
                    <a:pt x="6984" y="18471"/>
                  </a:lnTo>
                  <a:lnTo>
                    <a:pt x="7515" y="17924"/>
                  </a:lnTo>
                  <a:lnTo>
                    <a:pt x="7953" y="17348"/>
                  </a:lnTo>
                  <a:lnTo>
                    <a:pt x="8288" y="16742"/>
                  </a:lnTo>
                  <a:lnTo>
                    <a:pt x="8531" y="16107"/>
                  </a:lnTo>
                  <a:lnTo>
                    <a:pt x="8678" y="15444"/>
                  </a:lnTo>
                  <a:lnTo>
                    <a:pt x="8726" y="14747"/>
                  </a:lnTo>
                  <a:lnTo>
                    <a:pt x="8692" y="14227"/>
                  </a:lnTo>
                  <a:lnTo>
                    <a:pt x="8435" y="13045"/>
                  </a:lnTo>
                  <a:lnTo>
                    <a:pt x="8209" y="12382"/>
                  </a:lnTo>
                  <a:lnTo>
                    <a:pt x="7921" y="11671"/>
                  </a:lnTo>
                  <a:lnTo>
                    <a:pt x="7569" y="10912"/>
                  </a:lnTo>
                  <a:lnTo>
                    <a:pt x="7151" y="10105"/>
                  </a:lnTo>
                  <a:lnTo>
                    <a:pt x="6668" y="9254"/>
                  </a:lnTo>
                  <a:lnTo>
                    <a:pt x="6039" y="8152"/>
                  </a:lnTo>
                  <a:lnTo>
                    <a:pt x="5525" y="7191"/>
                  </a:lnTo>
                  <a:lnTo>
                    <a:pt x="5125" y="6369"/>
                  </a:lnTo>
                  <a:lnTo>
                    <a:pt x="4839" y="5685"/>
                  </a:lnTo>
                  <a:lnTo>
                    <a:pt x="4667" y="5141"/>
                  </a:lnTo>
                  <a:lnTo>
                    <a:pt x="4611" y="4735"/>
                  </a:lnTo>
                  <a:lnTo>
                    <a:pt x="4749" y="4026"/>
                  </a:lnTo>
                  <a:lnTo>
                    <a:pt x="5170" y="3473"/>
                  </a:lnTo>
                  <a:lnTo>
                    <a:pt x="5867" y="3079"/>
                  </a:lnTo>
                  <a:lnTo>
                    <a:pt x="6846" y="2842"/>
                  </a:lnTo>
                  <a:lnTo>
                    <a:pt x="8105" y="2764"/>
                  </a:lnTo>
                  <a:lnTo>
                    <a:pt x="9626" y="2755"/>
                  </a:lnTo>
                  <a:lnTo>
                    <a:pt x="13285" y="2755"/>
                  </a:lnTo>
                  <a:lnTo>
                    <a:pt x="10533" y="6457"/>
                  </a:lnTo>
                  <a:lnTo>
                    <a:pt x="18972" y="6457"/>
                  </a:lnTo>
                  <a:lnTo>
                    <a:pt x="19960" y="5944"/>
                  </a:lnTo>
                  <a:lnTo>
                    <a:pt x="20717" y="5382"/>
                  </a:lnTo>
                  <a:lnTo>
                    <a:pt x="21242" y="4768"/>
                  </a:lnTo>
                  <a:lnTo>
                    <a:pt x="21535" y="4104"/>
                  </a:lnTo>
                  <a:lnTo>
                    <a:pt x="21600" y="3393"/>
                  </a:lnTo>
                  <a:close/>
                </a:path>
              </a:pathLst>
            </a:custGeom>
            <a:solidFill>
              <a:srgbClr val="F7F7F7"/>
            </a:solidFill>
            <a:ln w="12700" cap="flat">
              <a:noFill/>
              <a:miter lim="400000"/>
            </a:ln>
            <a:effectLst/>
          </p:spPr>
          <p:txBody>
            <a:bodyPr wrap="square" lIns="55452" tIns="55452" rIns="55452" bIns="55452" numCol="1" anchor="t">
              <a:noAutofit/>
            </a:bodyPr>
            <a:lstStyle/>
            <a:p>
              <a:pPr>
                <a:defRPr>
                  <a:latin typeface="Calibri"/>
                  <a:ea typeface="Calibri"/>
                  <a:cs typeface="Calibri"/>
                  <a:sym typeface="Calibri"/>
                </a:defRPr>
              </a:pPr>
              <a:endParaRPr sz="900"/>
            </a:p>
          </p:txBody>
        </p:sp>
        <p:sp>
          <p:nvSpPr>
            <p:cNvPr id="48" name="Shape"/>
            <p:cNvSpPr/>
            <p:nvPr/>
          </p:nvSpPr>
          <p:spPr>
            <a:xfrm>
              <a:off x="3127744" y="714019"/>
              <a:ext cx="21221047" cy="6192124"/>
            </a:xfrm>
            <a:custGeom>
              <a:avLst/>
              <a:gdLst/>
              <a:ahLst/>
              <a:cxnLst>
                <a:cxn ang="0">
                  <a:pos x="wd2" y="hd2"/>
                </a:cxn>
                <a:cxn ang="5400000">
                  <a:pos x="wd2" y="hd2"/>
                </a:cxn>
                <a:cxn ang="10800000">
                  <a:pos x="wd2" y="hd2"/>
                </a:cxn>
                <a:cxn ang="16200000">
                  <a:pos x="wd2" y="hd2"/>
                </a:cxn>
              </a:cxnLst>
              <a:rect l="0" t="0" r="r" b="b"/>
              <a:pathLst>
                <a:path w="21600" h="21600" extrusionOk="0">
                  <a:moveTo>
                    <a:pt x="21600" y="9885"/>
                  </a:moveTo>
                  <a:lnTo>
                    <a:pt x="20207" y="9885"/>
                  </a:lnTo>
                  <a:lnTo>
                    <a:pt x="19323" y="18252"/>
                  </a:lnTo>
                  <a:lnTo>
                    <a:pt x="19279" y="18956"/>
                  </a:lnTo>
                  <a:lnTo>
                    <a:pt x="17797" y="18956"/>
                  </a:lnTo>
                  <a:lnTo>
                    <a:pt x="19764" y="61"/>
                  </a:lnTo>
                  <a:lnTo>
                    <a:pt x="17897" y="61"/>
                  </a:lnTo>
                  <a:lnTo>
                    <a:pt x="15941" y="18956"/>
                  </a:lnTo>
                  <a:lnTo>
                    <a:pt x="14293" y="18956"/>
                  </a:lnTo>
                  <a:lnTo>
                    <a:pt x="16259" y="61"/>
                  </a:lnTo>
                  <a:lnTo>
                    <a:pt x="14393" y="61"/>
                  </a:lnTo>
                  <a:lnTo>
                    <a:pt x="12434" y="18993"/>
                  </a:lnTo>
                  <a:lnTo>
                    <a:pt x="12432" y="19024"/>
                  </a:lnTo>
                  <a:lnTo>
                    <a:pt x="12429" y="19058"/>
                  </a:lnTo>
                  <a:lnTo>
                    <a:pt x="9477" y="19058"/>
                  </a:lnTo>
                  <a:lnTo>
                    <a:pt x="9182" y="18969"/>
                  </a:lnTo>
                  <a:lnTo>
                    <a:pt x="8972" y="18700"/>
                  </a:lnTo>
                  <a:lnTo>
                    <a:pt x="8846" y="18252"/>
                  </a:lnTo>
                  <a:lnTo>
                    <a:pt x="8804" y="17624"/>
                  </a:lnTo>
                  <a:lnTo>
                    <a:pt x="8806" y="17468"/>
                  </a:lnTo>
                  <a:lnTo>
                    <a:pt x="8813" y="17305"/>
                  </a:lnTo>
                  <a:lnTo>
                    <a:pt x="8824" y="17133"/>
                  </a:lnTo>
                  <a:lnTo>
                    <a:pt x="8840" y="16951"/>
                  </a:lnTo>
                  <a:lnTo>
                    <a:pt x="9264" y="12679"/>
                  </a:lnTo>
                  <a:lnTo>
                    <a:pt x="10390" y="12679"/>
                  </a:lnTo>
                  <a:lnTo>
                    <a:pt x="9714" y="19058"/>
                  </a:lnTo>
                  <a:lnTo>
                    <a:pt x="10510" y="18013"/>
                  </a:lnTo>
                  <a:lnTo>
                    <a:pt x="10963" y="17397"/>
                  </a:lnTo>
                  <a:lnTo>
                    <a:pt x="11240" y="16969"/>
                  </a:lnTo>
                  <a:lnTo>
                    <a:pt x="11509" y="16490"/>
                  </a:lnTo>
                  <a:lnTo>
                    <a:pt x="11717" y="16007"/>
                  </a:lnTo>
                  <a:lnTo>
                    <a:pt x="11872" y="15434"/>
                  </a:lnTo>
                  <a:lnTo>
                    <a:pt x="11975" y="14785"/>
                  </a:lnTo>
                  <a:lnTo>
                    <a:pt x="12031" y="14079"/>
                  </a:lnTo>
                  <a:lnTo>
                    <a:pt x="12042" y="13334"/>
                  </a:lnTo>
                  <a:lnTo>
                    <a:pt x="12008" y="12679"/>
                  </a:lnTo>
                  <a:lnTo>
                    <a:pt x="11916" y="11983"/>
                  </a:lnTo>
                  <a:lnTo>
                    <a:pt x="11778" y="11425"/>
                  </a:lnTo>
                  <a:lnTo>
                    <a:pt x="11589" y="10939"/>
                  </a:lnTo>
                  <a:lnTo>
                    <a:pt x="11350" y="10534"/>
                  </a:lnTo>
                  <a:lnTo>
                    <a:pt x="11144" y="10285"/>
                  </a:lnTo>
                  <a:lnTo>
                    <a:pt x="10926" y="10090"/>
                  </a:lnTo>
                  <a:lnTo>
                    <a:pt x="10695" y="9953"/>
                  </a:lnTo>
                  <a:lnTo>
                    <a:pt x="10451" y="9869"/>
                  </a:lnTo>
                  <a:lnTo>
                    <a:pt x="10195" y="9840"/>
                  </a:lnTo>
                  <a:lnTo>
                    <a:pt x="9446" y="9840"/>
                  </a:lnTo>
                  <a:lnTo>
                    <a:pt x="9195" y="9867"/>
                  </a:lnTo>
                  <a:lnTo>
                    <a:pt x="8953" y="9943"/>
                  </a:lnTo>
                  <a:lnTo>
                    <a:pt x="8720" y="10072"/>
                  </a:lnTo>
                  <a:lnTo>
                    <a:pt x="8496" y="10250"/>
                  </a:lnTo>
                  <a:lnTo>
                    <a:pt x="8281" y="10479"/>
                  </a:lnTo>
                  <a:lnTo>
                    <a:pt x="8074" y="10759"/>
                  </a:lnTo>
                  <a:lnTo>
                    <a:pt x="7876" y="11091"/>
                  </a:lnTo>
                  <a:lnTo>
                    <a:pt x="7686" y="11474"/>
                  </a:lnTo>
                  <a:lnTo>
                    <a:pt x="7485" y="11969"/>
                  </a:lnTo>
                  <a:lnTo>
                    <a:pt x="7311" y="12511"/>
                  </a:lnTo>
                  <a:lnTo>
                    <a:pt x="7163" y="13097"/>
                  </a:lnTo>
                  <a:lnTo>
                    <a:pt x="7043" y="13729"/>
                  </a:lnTo>
                  <a:lnTo>
                    <a:pt x="6949" y="14404"/>
                  </a:lnTo>
                  <a:lnTo>
                    <a:pt x="6881" y="15125"/>
                  </a:lnTo>
                  <a:lnTo>
                    <a:pt x="6841" y="15890"/>
                  </a:lnTo>
                  <a:lnTo>
                    <a:pt x="6828" y="16701"/>
                  </a:lnTo>
                  <a:lnTo>
                    <a:pt x="6839" y="17358"/>
                  </a:lnTo>
                  <a:lnTo>
                    <a:pt x="6871" y="17970"/>
                  </a:lnTo>
                  <a:lnTo>
                    <a:pt x="6925" y="18537"/>
                  </a:lnTo>
                  <a:lnTo>
                    <a:pt x="7000" y="19058"/>
                  </a:lnTo>
                  <a:lnTo>
                    <a:pt x="5221" y="19058"/>
                  </a:lnTo>
                  <a:lnTo>
                    <a:pt x="5606" y="15285"/>
                  </a:lnTo>
                  <a:lnTo>
                    <a:pt x="5808" y="13301"/>
                  </a:lnTo>
                  <a:lnTo>
                    <a:pt x="5859" y="12818"/>
                  </a:lnTo>
                  <a:lnTo>
                    <a:pt x="5912" y="12280"/>
                  </a:lnTo>
                  <a:lnTo>
                    <a:pt x="5953" y="11766"/>
                  </a:lnTo>
                  <a:lnTo>
                    <a:pt x="5969" y="11357"/>
                  </a:lnTo>
                  <a:lnTo>
                    <a:pt x="5910" y="10616"/>
                  </a:lnTo>
                  <a:lnTo>
                    <a:pt x="5754" y="10162"/>
                  </a:lnTo>
                  <a:lnTo>
                    <a:pt x="5535" y="9933"/>
                  </a:lnTo>
                  <a:lnTo>
                    <a:pt x="5281" y="9869"/>
                  </a:lnTo>
                  <a:lnTo>
                    <a:pt x="5028" y="9916"/>
                  </a:lnTo>
                  <a:lnTo>
                    <a:pt x="4783" y="10059"/>
                  </a:lnTo>
                  <a:lnTo>
                    <a:pt x="4547" y="10299"/>
                  </a:lnTo>
                  <a:lnTo>
                    <a:pt x="4320" y="10632"/>
                  </a:lnTo>
                  <a:lnTo>
                    <a:pt x="4103" y="11062"/>
                  </a:lnTo>
                  <a:lnTo>
                    <a:pt x="3895" y="11588"/>
                  </a:lnTo>
                  <a:lnTo>
                    <a:pt x="2489" y="15549"/>
                  </a:lnTo>
                  <a:lnTo>
                    <a:pt x="4109" y="0"/>
                  </a:lnTo>
                  <a:lnTo>
                    <a:pt x="2246" y="0"/>
                  </a:lnTo>
                  <a:lnTo>
                    <a:pt x="0" y="21600"/>
                  </a:lnTo>
                  <a:lnTo>
                    <a:pt x="1442" y="21600"/>
                  </a:lnTo>
                  <a:lnTo>
                    <a:pt x="1617" y="21287"/>
                  </a:lnTo>
                  <a:lnTo>
                    <a:pt x="1800" y="20815"/>
                  </a:lnTo>
                  <a:lnTo>
                    <a:pt x="3667" y="15549"/>
                  </a:lnTo>
                  <a:lnTo>
                    <a:pt x="3761" y="15285"/>
                  </a:lnTo>
                  <a:lnTo>
                    <a:pt x="3388" y="19058"/>
                  </a:lnTo>
                  <a:lnTo>
                    <a:pt x="3330" y="19814"/>
                  </a:lnTo>
                  <a:lnTo>
                    <a:pt x="3311" y="20442"/>
                  </a:lnTo>
                  <a:lnTo>
                    <a:pt x="3348" y="21079"/>
                  </a:lnTo>
                  <a:lnTo>
                    <a:pt x="3457" y="21533"/>
                  </a:lnTo>
                  <a:lnTo>
                    <a:pt x="3502" y="21600"/>
                  </a:lnTo>
                  <a:lnTo>
                    <a:pt x="15684" y="21600"/>
                  </a:lnTo>
                  <a:lnTo>
                    <a:pt x="15731" y="21549"/>
                  </a:lnTo>
                  <a:lnTo>
                    <a:pt x="15900" y="21306"/>
                  </a:lnTo>
                  <a:lnTo>
                    <a:pt x="15995" y="21138"/>
                  </a:lnTo>
                  <a:lnTo>
                    <a:pt x="16105" y="21447"/>
                  </a:lnTo>
                  <a:lnTo>
                    <a:pt x="16206" y="21600"/>
                  </a:lnTo>
                  <a:lnTo>
                    <a:pt x="19177" y="21600"/>
                  </a:lnTo>
                  <a:lnTo>
                    <a:pt x="19236" y="21543"/>
                  </a:lnTo>
                  <a:lnTo>
                    <a:pt x="19405" y="21306"/>
                  </a:lnTo>
                  <a:lnTo>
                    <a:pt x="19499" y="21138"/>
                  </a:lnTo>
                  <a:lnTo>
                    <a:pt x="19504" y="21128"/>
                  </a:lnTo>
                  <a:lnTo>
                    <a:pt x="19626" y="21441"/>
                  </a:lnTo>
                  <a:lnTo>
                    <a:pt x="19722" y="21600"/>
                  </a:lnTo>
                  <a:lnTo>
                    <a:pt x="21600" y="21600"/>
                  </a:lnTo>
                  <a:lnTo>
                    <a:pt x="21600" y="18956"/>
                  </a:lnTo>
                  <a:lnTo>
                    <a:pt x="21168" y="18956"/>
                  </a:lnTo>
                  <a:lnTo>
                    <a:pt x="21600" y="14841"/>
                  </a:lnTo>
                  <a:lnTo>
                    <a:pt x="21600" y="9885"/>
                  </a:lnTo>
                  <a:close/>
                </a:path>
              </a:pathLst>
            </a:custGeom>
            <a:solidFill>
              <a:srgbClr val="F7F7F7"/>
            </a:solidFill>
            <a:ln w="12700" cap="flat">
              <a:noFill/>
              <a:miter lim="400000"/>
            </a:ln>
            <a:effectLst/>
          </p:spPr>
          <p:txBody>
            <a:bodyPr wrap="square" lIns="55452" tIns="55452" rIns="55452" bIns="55452" numCol="1" anchor="t">
              <a:noAutofit/>
            </a:bodyPr>
            <a:lstStyle/>
            <a:p>
              <a:pPr>
                <a:defRPr>
                  <a:latin typeface="Calibri"/>
                  <a:ea typeface="Calibri"/>
                  <a:cs typeface="Calibri"/>
                  <a:sym typeface="Calibri"/>
                </a:defRPr>
              </a:pPr>
              <a:endParaRPr sz="900"/>
            </a:p>
          </p:txBody>
        </p:sp>
      </p:grpSp>
      <p:sp>
        <p:nvSpPr>
          <p:cNvPr id="5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369190561"/>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x">
  <p:cSld name="Blank 0">
    <p:spTree>
      <p:nvGrpSpPr>
        <p:cNvPr id="1" name=""/>
        <p:cNvGrpSpPr/>
        <p:nvPr/>
      </p:nvGrpSpPr>
      <p:grpSpPr>
        <a:xfrm>
          <a:off x="0" y="0"/>
          <a:ext cx="0" cy="0"/>
          <a:chOff x="0" y="0"/>
          <a:chExt cx="0" cy="0"/>
        </a:xfrm>
      </p:grpSpPr>
      <p:sp>
        <p:nvSpPr>
          <p:cNvPr id="5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157828999"/>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Intro | Outro">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4BEAD5F2-747E-41AF-BC6A-51FD86687F5B}"/>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2856000" y="2908276"/>
            <a:ext cx="6480000" cy="1041449"/>
          </a:xfrm>
          <a:prstGeom prst="rect">
            <a:avLst/>
          </a:prstGeom>
        </p:spPr>
      </p:pic>
    </p:spTree>
    <p:extLst>
      <p:ext uri="{BB962C8B-B14F-4D97-AF65-F5344CB8AC3E}">
        <p14:creationId xmlns:p14="http://schemas.microsoft.com/office/powerpoint/2010/main" val="30837877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pening slide">
    <p:spTree>
      <p:nvGrpSpPr>
        <p:cNvPr id="1" name=""/>
        <p:cNvGrpSpPr/>
        <p:nvPr/>
      </p:nvGrpSpPr>
      <p:grpSpPr>
        <a:xfrm>
          <a:off x="0" y="0"/>
          <a:ext cx="0" cy="0"/>
          <a:chOff x="0" y="0"/>
          <a:chExt cx="0" cy="0"/>
        </a:xfrm>
      </p:grpSpPr>
      <p:pic>
        <p:nvPicPr>
          <p:cNvPr id="7" name="Picture 6" descr="Diagram&#10;&#10;Description automatically generated">
            <a:extLst>
              <a:ext uri="{FF2B5EF4-FFF2-40B4-BE49-F238E27FC236}">
                <a16:creationId xmlns:a16="http://schemas.microsoft.com/office/drawing/2014/main" id="{DC8A75DB-D345-07EA-A0B4-41E2B779914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Content Placeholder 8">
            <a:extLst>
              <a:ext uri="{FF2B5EF4-FFF2-40B4-BE49-F238E27FC236}">
                <a16:creationId xmlns:a16="http://schemas.microsoft.com/office/drawing/2014/main" id="{F74AF41B-9091-F4CB-A623-2062FFB2713B}"/>
              </a:ext>
            </a:extLst>
          </p:cNvPr>
          <p:cNvSpPr>
            <a:spLocks noGrp="1"/>
          </p:cNvSpPr>
          <p:nvPr>
            <p:ph sz="quarter" idx="10" hasCustomPrompt="1"/>
          </p:nvPr>
        </p:nvSpPr>
        <p:spPr>
          <a:xfrm>
            <a:off x="666751" y="5216070"/>
            <a:ext cx="1885131" cy="281103"/>
          </a:xfrm>
        </p:spPr>
        <p:txBody>
          <a:bodyPr wrap="none" anchor="ctr">
            <a:spAutoFit/>
          </a:bodyPr>
          <a:lstStyle>
            <a:lvl1pPr>
              <a:defRPr sz="1800">
                <a:solidFill>
                  <a:schemeClr val="bg1"/>
                </a:solidFill>
              </a:defRPr>
            </a:lvl1pPr>
          </a:lstStyle>
          <a:p>
            <a:pPr lvl="0"/>
            <a:r>
              <a:rPr lang="en-US"/>
              <a:t>Add location, Date</a:t>
            </a:r>
            <a:endParaRPr lang="en-GB"/>
          </a:p>
        </p:txBody>
      </p:sp>
    </p:spTree>
    <p:extLst>
      <p:ext uri="{BB962C8B-B14F-4D97-AF65-F5344CB8AC3E}">
        <p14:creationId xmlns:p14="http://schemas.microsoft.com/office/powerpoint/2010/main" val="24710902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bg>
      <p:bgPr>
        <a:solidFill>
          <a:srgbClr val="050533"/>
        </a:solidFill>
        <a:effectLst/>
      </p:bgPr>
    </p:bg>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E746D179-ED11-BF4B-9871-1AEFBAC025B1}"/>
              </a:ext>
            </a:extLst>
          </p:cNvPr>
          <p:cNvPicPr>
            <a:picLocks noChangeAspect="1"/>
          </p:cNvPicPr>
          <p:nvPr userDrawn="1"/>
        </p:nvPicPr>
        <p:blipFill>
          <a:blip r:embed="rId2">
            <a:alphaModFix amt="27000"/>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306" y="-25336"/>
            <a:ext cx="12290612" cy="6908672"/>
          </a:xfrm>
          <a:prstGeom prst="rect">
            <a:avLst/>
          </a:prstGeom>
        </p:spPr>
      </p:pic>
      <p:sp>
        <p:nvSpPr>
          <p:cNvPr id="2" name="Title 1">
            <a:extLst>
              <a:ext uri="{FF2B5EF4-FFF2-40B4-BE49-F238E27FC236}">
                <a16:creationId xmlns:a16="http://schemas.microsoft.com/office/drawing/2014/main" id="{2D8CC757-B419-4B51-8CB0-E63C423B836A}"/>
              </a:ext>
            </a:extLst>
          </p:cNvPr>
          <p:cNvSpPr>
            <a:spLocks noGrp="1"/>
          </p:cNvSpPr>
          <p:nvPr>
            <p:ph type="ctrTitle"/>
          </p:nvPr>
        </p:nvSpPr>
        <p:spPr>
          <a:xfrm>
            <a:off x="1524000" y="1122363"/>
            <a:ext cx="9144000" cy="2387600"/>
          </a:xfrm>
        </p:spPr>
        <p:txBody>
          <a:bodyPr anchor="b"/>
          <a:lstStyle>
            <a:lvl1pPr algn="ctr">
              <a:defRPr sz="6000">
                <a:solidFill>
                  <a:schemeClr val="bg1"/>
                </a:solidFill>
              </a:defRPr>
            </a:lvl1pPr>
          </a:lstStyle>
          <a:p>
            <a:r>
              <a:rPr lang="en-US" dirty="0"/>
              <a:t>Click to edit Master title style</a:t>
            </a:r>
            <a:endParaRPr lang="bg-BG" dirty="0"/>
          </a:p>
        </p:txBody>
      </p:sp>
      <p:sp>
        <p:nvSpPr>
          <p:cNvPr id="3" name="Subtitle 2">
            <a:extLst>
              <a:ext uri="{FF2B5EF4-FFF2-40B4-BE49-F238E27FC236}">
                <a16:creationId xmlns:a16="http://schemas.microsoft.com/office/drawing/2014/main" id="{E38C660D-C368-45A1-85D0-D216A5FA7BD1}"/>
              </a:ext>
            </a:extLst>
          </p:cNvPr>
          <p:cNvSpPr>
            <a:spLocks noGrp="1"/>
          </p:cNvSpPr>
          <p:nvPr>
            <p:ph type="subTitle" idx="1"/>
          </p:nvPr>
        </p:nvSpPr>
        <p:spPr>
          <a:xfrm>
            <a:off x="1524000" y="3602038"/>
            <a:ext cx="9144000" cy="1655762"/>
          </a:xfrm>
        </p:spPr>
        <p:txBody>
          <a:bodyPr/>
          <a:lstStyle>
            <a:lvl1pPr marL="0" indent="0" algn="ctr">
              <a:buNone/>
              <a:defRPr sz="2400">
                <a:solidFill>
                  <a:schemeClr val="accent6">
                    <a:lumMod val="60000"/>
                    <a:lumOff val="4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bg-BG" dirty="0"/>
          </a:p>
        </p:txBody>
      </p:sp>
      <p:sp>
        <p:nvSpPr>
          <p:cNvPr id="4" name="Date Placeholder 3">
            <a:extLst>
              <a:ext uri="{FF2B5EF4-FFF2-40B4-BE49-F238E27FC236}">
                <a16:creationId xmlns:a16="http://schemas.microsoft.com/office/drawing/2014/main" id="{CE3AC137-A195-4CBD-96D8-2F28B0CC262D}"/>
              </a:ext>
            </a:extLst>
          </p:cNvPr>
          <p:cNvSpPr>
            <a:spLocks noGrp="1"/>
          </p:cNvSpPr>
          <p:nvPr>
            <p:ph type="dt" sz="half" idx="10"/>
          </p:nvPr>
        </p:nvSpPr>
        <p:spPr/>
        <p:txBody>
          <a:bodyPr/>
          <a:lstStyle/>
          <a:p>
            <a:fld id="{4742D07F-AA84-406A-9332-1464FA876A41}" type="datetimeFigureOut">
              <a:rPr lang="bg-BG" smtClean="0"/>
              <a:t>10.04.24 г.</a:t>
            </a:fld>
            <a:endParaRPr lang="bg-BG"/>
          </a:p>
        </p:txBody>
      </p:sp>
      <p:sp>
        <p:nvSpPr>
          <p:cNvPr id="5" name="Footer Placeholder 4">
            <a:extLst>
              <a:ext uri="{FF2B5EF4-FFF2-40B4-BE49-F238E27FC236}">
                <a16:creationId xmlns:a16="http://schemas.microsoft.com/office/drawing/2014/main" id="{AFEDF20E-6435-4930-B00B-BC4ED51C42D1}"/>
              </a:ext>
            </a:extLst>
          </p:cNvPr>
          <p:cNvSpPr>
            <a:spLocks noGrp="1"/>
          </p:cNvSpPr>
          <p:nvPr>
            <p:ph type="ftr" sz="quarter" idx="11"/>
          </p:nvPr>
        </p:nvSpPr>
        <p:spPr/>
        <p:txBody>
          <a:bodyPr/>
          <a:lstStyle/>
          <a:p>
            <a:endParaRPr lang="bg-BG"/>
          </a:p>
        </p:txBody>
      </p:sp>
      <p:sp>
        <p:nvSpPr>
          <p:cNvPr id="6" name="Slide Number Placeholder 5">
            <a:extLst>
              <a:ext uri="{FF2B5EF4-FFF2-40B4-BE49-F238E27FC236}">
                <a16:creationId xmlns:a16="http://schemas.microsoft.com/office/drawing/2014/main" id="{604480C3-49DA-4263-B941-81044869AD32}"/>
              </a:ext>
            </a:extLst>
          </p:cNvPr>
          <p:cNvSpPr>
            <a:spLocks noGrp="1"/>
          </p:cNvSpPr>
          <p:nvPr>
            <p:ph type="sldNum" sz="quarter" idx="12"/>
          </p:nvPr>
        </p:nvSpPr>
        <p:spPr/>
        <p:txBody>
          <a:bodyPr/>
          <a:lstStyle/>
          <a:p>
            <a:fld id="{1ECF27F8-A54A-4E9B-946E-1DA717B6015E}" type="slidenum">
              <a:rPr lang="bg-BG" smtClean="0"/>
              <a:t>‹#›</a:t>
            </a:fld>
            <a:endParaRPr lang="bg-BG"/>
          </a:p>
        </p:txBody>
      </p:sp>
      <p:grpSp>
        <p:nvGrpSpPr>
          <p:cNvPr id="22" name="Graphic 7">
            <a:extLst>
              <a:ext uri="{FF2B5EF4-FFF2-40B4-BE49-F238E27FC236}">
                <a16:creationId xmlns:a16="http://schemas.microsoft.com/office/drawing/2014/main" id="{DF9FC095-9033-2B4D-8BFC-51CFE67390A3}"/>
              </a:ext>
            </a:extLst>
          </p:cNvPr>
          <p:cNvGrpSpPr/>
          <p:nvPr userDrawn="1"/>
        </p:nvGrpSpPr>
        <p:grpSpPr>
          <a:xfrm>
            <a:off x="353506" y="249365"/>
            <a:ext cx="2223613" cy="332079"/>
            <a:chOff x="1971869" y="-1936820"/>
            <a:chExt cx="11281025" cy="1684734"/>
          </a:xfrm>
          <a:solidFill>
            <a:schemeClr val="bg1"/>
          </a:solidFill>
        </p:grpSpPr>
        <p:sp>
          <p:nvSpPr>
            <p:cNvPr id="23" name="Freeform 22">
              <a:extLst>
                <a:ext uri="{FF2B5EF4-FFF2-40B4-BE49-F238E27FC236}">
                  <a16:creationId xmlns:a16="http://schemas.microsoft.com/office/drawing/2014/main" id="{54CEB41F-993C-D84F-9FE7-0C04ECF7D424}"/>
                </a:ext>
              </a:extLst>
            </p:cNvPr>
            <p:cNvSpPr/>
            <p:nvPr/>
          </p:nvSpPr>
          <p:spPr>
            <a:xfrm>
              <a:off x="1971869" y="-1913287"/>
              <a:ext cx="293312" cy="1637952"/>
            </a:xfrm>
            <a:custGeom>
              <a:avLst/>
              <a:gdLst>
                <a:gd name="connsiteX0" fmla="*/ 0 w 293312"/>
                <a:gd name="connsiteY0" fmla="*/ 1637858 h 1637952"/>
                <a:gd name="connsiteX1" fmla="*/ 0 w 293312"/>
                <a:gd name="connsiteY1" fmla="*/ 0 h 1637952"/>
                <a:gd name="connsiteX2" fmla="*/ 293313 w 293312"/>
                <a:gd name="connsiteY2" fmla="*/ 0 h 1637952"/>
                <a:gd name="connsiteX3" fmla="*/ 293313 w 293312"/>
                <a:gd name="connsiteY3" fmla="*/ 1637953 h 1637952"/>
                <a:gd name="connsiteX4" fmla="*/ 0 w 293312"/>
                <a:gd name="connsiteY4" fmla="*/ 1637953 h 1637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312" h="1637952">
                  <a:moveTo>
                    <a:pt x="0" y="1637858"/>
                  </a:moveTo>
                  <a:lnTo>
                    <a:pt x="0" y="0"/>
                  </a:lnTo>
                  <a:lnTo>
                    <a:pt x="293313" y="0"/>
                  </a:lnTo>
                  <a:lnTo>
                    <a:pt x="293313" y="1637953"/>
                  </a:lnTo>
                  <a:lnTo>
                    <a:pt x="0" y="1637953"/>
                  </a:lnTo>
                  <a:close/>
                </a:path>
              </a:pathLst>
            </a:custGeom>
            <a:grpFill/>
            <a:ln w="0" cap="flat">
              <a:noFill/>
              <a:prstDash val="solid"/>
              <a:miter/>
            </a:ln>
          </p:spPr>
          <p:txBody>
            <a:bodyPr rtlCol="0" anchor="ctr"/>
            <a:lstStyle/>
            <a:p>
              <a:endParaRPr lang="en-BG"/>
            </a:p>
          </p:txBody>
        </p:sp>
        <p:sp>
          <p:nvSpPr>
            <p:cNvPr id="24" name="Freeform 23">
              <a:extLst>
                <a:ext uri="{FF2B5EF4-FFF2-40B4-BE49-F238E27FC236}">
                  <a16:creationId xmlns:a16="http://schemas.microsoft.com/office/drawing/2014/main" id="{A3ABE94C-B684-0941-8AEA-677CEB9FB514}"/>
                </a:ext>
              </a:extLst>
            </p:cNvPr>
            <p:cNvSpPr/>
            <p:nvPr/>
          </p:nvSpPr>
          <p:spPr>
            <a:xfrm>
              <a:off x="2527278" y="-1913287"/>
              <a:ext cx="919909" cy="1637952"/>
            </a:xfrm>
            <a:custGeom>
              <a:avLst/>
              <a:gdLst>
                <a:gd name="connsiteX0" fmla="*/ 0 w 919909"/>
                <a:gd name="connsiteY0" fmla="*/ 1637858 h 1637952"/>
                <a:gd name="connsiteX1" fmla="*/ 0 w 919909"/>
                <a:gd name="connsiteY1" fmla="*/ 0 h 1637952"/>
                <a:gd name="connsiteX2" fmla="*/ 363738 w 919909"/>
                <a:gd name="connsiteY2" fmla="*/ 0 h 1637952"/>
                <a:gd name="connsiteX3" fmla="*/ 657051 w 919909"/>
                <a:gd name="connsiteY3" fmla="*/ 964021 h 1637952"/>
                <a:gd name="connsiteX4" fmla="*/ 657051 w 919909"/>
                <a:gd name="connsiteY4" fmla="*/ 0 h 1637952"/>
                <a:gd name="connsiteX5" fmla="*/ 919910 w 919909"/>
                <a:gd name="connsiteY5" fmla="*/ 0 h 1637952"/>
                <a:gd name="connsiteX6" fmla="*/ 919910 w 919909"/>
                <a:gd name="connsiteY6" fmla="*/ 1637953 h 1637952"/>
                <a:gd name="connsiteX7" fmla="*/ 624218 w 919909"/>
                <a:gd name="connsiteY7" fmla="*/ 1637953 h 1637952"/>
                <a:gd name="connsiteX8" fmla="*/ 262859 w 919909"/>
                <a:gd name="connsiteY8" fmla="*/ 456342 h 1637952"/>
                <a:gd name="connsiteX9" fmla="*/ 262859 w 919909"/>
                <a:gd name="connsiteY9" fmla="*/ 1637953 h 1637952"/>
                <a:gd name="connsiteX10" fmla="*/ 0 w 919909"/>
                <a:gd name="connsiteY10" fmla="*/ 1637953 h 16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9909" h="1637952">
                  <a:moveTo>
                    <a:pt x="0" y="1637858"/>
                  </a:moveTo>
                  <a:lnTo>
                    <a:pt x="0" y="0"/>
                  </a:lnTo>
                  <a:lnTo>
                    <a:pt x="363738" y="0"/>
                  </a:lnTo>
                  <a:lnTo>
                    <a:pt x="657051" y="964021"/>
                  </a:lnTo>
                  <a:lnTo>
                    <a:pt x="657051" y="0"/>
                  </a:lnTo>
                  <a:lnTo>
                    <a:pt x="919910" y="0"/>
                  </a:lnTo>
                  <a:lnTo>
                    <a:pt x="919910" y="1637953"/>
                  </a:lnTo>
                  <a:lnTo>
                    <a:pt x="624218" y="1637953"/>
                  </a:lnTo>
                  <a:lnTo>
                    <a:pt x="262859" y="456342"/>
                  </a:lnTo>
                  <a:lnTo>
                    <a:pt x="262859" y="1637953"/>
                  </a:lnTo>
                  <a:lnTo>
                    <a:pt x="0" y="1637953"/>
                  </a:lnTo>
                  <a:close/>
                </a:path>
              </a:pathLst>
            </a:custGeom>
            <a:grpFill/>
            <a:ln w="0" cap="flat">
              <a:noFill/>
              <a:prstDash val="solid"/>
              <a:miter/>
            </a:ln>
          </p:spPr>
          <p:txBody>
            <a:bodyPr rtlCol="0" anchor="ctr"/>
            <a:lstStyle/>
            <a:p>
              <a:endParaRPr lang="en-BG"/>
            </a:p>
          </p:txBody>
        </p:sp>
        <p:sp>
          <p:nvSpPr>
            <p:cNvPr id="25" name="Freeform 24">
              <a:extLst>
                <a:ext uri="{FF2B5EF4-FFF2-40B4-BE49-F238E27FC236}">
                  <a16:creationId xmlns:a16="http://schemas.microsoft.com/office/drawing/2014/main" id="{4A3DBBDD-B088-1249-BD4B-06864FA6B8AC}"/>
                </a:ext>
              </a:extLst>
            </p:cNvPr>
            <p:cNvSpPr/>
            <p:nvPr/>
          </p:nvSpPr>
          <p:spPr>
            <a:xfrm>
              <a:off x="3668838" y="-1913287"/>
              <a:ext cx="955122" cy="1635580"/>
            </a:xfrm>
            <a:custGeom>
              <a:avLst/>
              <a:gdLst>
                <a:gd name="connsiteX0" fmla="*/ 283891 w 955122"/>
                <a:gd name="connsiteY0" fmla="*/ 1635485 h 1635580"/>
                <a:gd name="connsiteX1" fmla="*/ 0 w 955122"/>
                <a:gd name="connsiteY1" fmla="*/ 0 h 1635580"/>
                <a:gd name="connsiteX2" fmla="*/ 297976 w 955122"/>
                <a:gd name="connsiteY2" fmla="*/ 0 h 1635580"/>
                <a:gd name="connsiteX3" fmla="*/ 488030 w 955122"/>
                <a:gd name="connsiteY3" fmla="*/ 1272898 h 1635580"/>
                <a:gd name="connsiteX4" fmla="*/ 680558 w 955122"/>
                <a:gd name="connsiteY4" fmla="*/ 0 h 1635580"/>
                <a:gd name="connsiteX5" fmla="*/ 955122 w 955122"/>
                <a:gd name="connsiteY5" fmla="*/ 0 h 1635580"/>
                <a:gd name="connsiteX6" fmla="*/ 671136 w 955122"/>
                <a:gd name="connsiteY6" fmla="*/ 1635580 h 1635580"/>
                <a:gd name="connsiteX7" fmla="*/ 283891 w 955122"/>
                <a:gd name="connsiteY7" fmla="*/ 1635580 h 1635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5122" h="1635580">
                  <a:moveTo>
                    <a:pt x="283891" y="1635485"/>
                  </a:moveTo>
                  <a:lnTo>
                    <a:pt x="0" y="0"/>
                  </a:lnTo>
                  <a:lnTo>
                    <a:pt x="297976" y="0"/>
                  </a:lnTo>
                  <a:lnTo>
                    <a:pt x="488030" y="1272898"/>
                  </a:lnTo>
                  <a:lnTo>
                    <a:pt x="680558" y="0"/>
                  </a:lnTo>
                  <a:lnTo>
                    <a:pt x="955122" y="0"/>
                  </a:lnTo>
                  <a:lnTo>
                    <a:pt x="671136" y="1635580"/>
                  </a:lnTo>
                  <a:lnTo>
                    <a:pt x="283891" y="1635580"/>
                  </a:lnTo>
                  <a:close/>
                </a:path>
              </a:pathLst>
            </a:custGeom>
            <a:grpFill/>
            <a:ln w="0" cap="flat">
              <a:noFill/>
              <a:prstDash val="solid"/>
              <a:miter/>
            </a:ln>
          </p:spPr>
          <p:txBody>
            <a:bodyPr rtlCol="0" anchor="ctr"/>
            <a:lstStyle/>
            <a:p>
              <a:endParaRPr lang="en-BG"/>
            </a:p>
          </p:txBody>
        </p:sp>
        <p:sp>
          <p:nvSpPr>
            <p:cNvPr id="26" name="Freeform 25">
              <a:extLst>
                <a:ext uri="{FF2B5EF4-FFF2-40B4-BE49-F238E27FC236}">
                  <a16:creationId xmlns:a16="http://schemas.microsoft.com/office/drawing/2014/main" id="{A850AE90-2FFF-CD4B-8813-B3B744027F10}"/>
                </a:ext>
              </a:extLst>
            </p:cNvPr>
            <p:cNvSpPr/>
            <p:nvPr/>
          </p:nvSpPr>
          <p:spPr>
            <a:xfrm>
              <a:off x="4844373" y="-1913287"/>
              <a:ext cx="800186" cy="1637952"/>
            </a:xfrm>
            <a:custGeom>
              <a:avLst/>
              <a:gdLst>
                <a:gd name="connsiteX0" fmla="*/ 0 w 800186"/>
                <a:gd name="connsiteY0" fmla="*/ 1637858 h 1637952"/>
                <a:gd name="connsiteX1" fmla="*/ 0 w 800186"/>
                <a:gd name="connsiteY1" fmla="*/ 0 h 1637952"/>
                <a:gd name="connsiteX2" fmla="*/ 800186 w 800186"/>
                <a:gd name="connsiteY2" fmla="*/ 0 h 1637952"/>
                <a:gd name="connsiteX3" fmla="*/ 800186 w 800186"/>
                <a:gd name="connsiteY3" fmla="*/ 259723 h 1637952"/>
                <a:gd name="connsiteX4" fmla="*/ 293313 w 800186"/>
                <a:gd name="connsiteY4" fmla="*/ 259723 h 1637952"/>
                <a:gd name="connsiteX5" fmla="*/ 293313 w 800186"/>
                <a:gd name="connsiteY5" fmla="*/ 664538 h 1637952"/>
                <a:gd name="connsiteX6" fmla="*/ 696927 w 800186"/>
                <a:gd name="connsiteY6" fmla="*/ 664538 h 1637952"/>
                <a:gd name="connsiteX7" fmla="*/ 696927 w 800186"/>
                <a:gd name="connsiteY7" fmla="*/ 924260 h 1637952"/>
                <a:gd name="connsiteX8" fmla="*/ 293313 w 800186"/>
                <a:gd name="connsiteY8" fmla="*/ 924260 h 1637952"/>
                <a:gd name="connsiteX9" fmla="*/ 293313 w 800186"/>
                <a:gd name="connsiteY9" fmla="*/ 1378230 h 1637952"/>
                <a:gd name="connsiteX10" fmla="*/ 800186 w 800186"/>
                <a:gd name="connsiteY10" fmla="*/ 1378230 h 1637952"/>
                <a:gd name="connsiteX11" fmla="*/ 800186 w 800186"/>
                <a:gd name="connsiteY11" fmla="*/ 1637953 h 1637952"/>
                <a:gd name="connsiteX12" fmla="*/ 0 w 800186"/>
                <a:gd name="connsiteY12" fmla="*/ 1637953 h 16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0186" h="1637952">
                  <a:moveTo>
                    <a:pt x="0" y="1637858"/>
                  </a:moveTo>
                  <a:lnTo>
                    <a:pt x="0" y="0"/>
                  </a:lnTo>
                  <a:lnTo>
                    <a:pt x="800186" y="0"/>
                  </a:lnTo>
                  <a:lnTo>
                    <a:pt x="800186" y="259723"/>
                  </a:lnTo>
                  <a:lnTo>
                    <a:pt x="293313" y="259723"/>
                  </a:lnTo>
                  <a:lnTo>
                    <a:pt x="293313" y="664538"/>
                  </a:lnTo>
                  <a:lnTo>
                    <a:pt x="696927" y="664538"/>
                  </a:lnTo>
                  <a:lnTo>
                    <a:pt x="696927" y="924260"/>
                  </a:lnTo>
                  <a:lnTo>
                    <a:pt x="293313" y="924260"/>
                  </a:lnTo>
                  <a:lnTo>
                    <a:pt x="293313" y="1378230"/>
                  </a:lnTo>
                  <a:lnTo>
                    <a:pt x="800186" y="1378230"/>
                  </a:lnTo>
                  <a:lnTo>
                    <a:pt x="800186" y="1637953"/>
                  </a:lnTo>
                  <a:lnTo>
                    <a:pt x="0" y="1637953"/>
                  </a:lnTo>
                  <a:close/>
                </a:path>
              </a:pathLst>
            </a:custGeom>
            <a:grpFill/>
            <a:ln w="0" cap="flat">
              <a:noFill/>
              <a:prstDash val="solid"/>
              <a:miter/>
            </a:ln>
          </p:spPr>
          <p:txBody>
            <a:bodyPr rtlCol="0" anchor="ctr"/>
            <a:lstStyle/>
            <a:p>
              <a:endParaRPr lang="en-BG"/>
            </a:p>
          </p:txBody>
        </p:sp>
        <p:sp>
          <p:nvSpPr>
            <p:cNvPr id="27" name="Freeform 26">
              <a:extLst>
                <a:ext uri="{FF2B5EF4-FFF2-40B4-BE49-F238E27FC236}">
                  <a16:creationId xmlns:a16="http://schemas.microsoft.com/office/drawing/2014/main" id="{C88DBA77-07DE-4940-9F03-936417415A69}"/>
                </a:ext>
              </a:extLst>
            </p:cNvPr>
            <p:cNvSpPr/>
            <p:nvPr/>
          </p:nvSpPr>
          <p:spPr>
            <a:xfrm>
              <a:off x="5846414" y="-1936820"/>
              <a:ext cx="875465" cy="1684640"/>
            </a:xfrm>
            <a:custGeom>
              <a:avLst/>
              <a:gdLst>
                <a:gd name="connsiteX0" fmla="*/ 0 w 875465"/>
                <a:gd name="connsiteY0" fmla="*/ 1254299 h 1684640"/>
                <a:gd name="connsiteX1" fmla="*/ 0 w 875465"/>
                <a:gd name="connsiteY1" fmla="*/ 1170034 h 1684640"/>
                <a:gd name="connsiteX2" fmla="*/ 276944 w 875465"/>
                <a:gd name="connsiteY2" fmla="*/ 1170034 h 1684640"/>
                <a:gd name="connsiteX3" fmla="*/ 276944 w 875465"/>
                <a:gd name="connsiteY3" fmla="*/ 1263599 h 1684640"/>
                <a:gd name="connsiteX4" fmla="*/ 429501 w 875465"/>
                <a:gd name="connsiteY4" fmla="*/ 1429757 h 1684640"/>
                <a:gd name="connsiteX5" fmla="*/ 582057 w 875465"/>
                <a:gd name="connsiteY5" fmla="*/ 1261226 h 1684640"/>
                <a:gd name="connsiteX6" fmla="*/ 530475 w 875465"/>
                <a:gd name="connsiteY6" fmla="*/ 1099813 h 1684640"/>
                <a:gd name="connsiteX7" fmla="*/ 331000 w 875465"/>
                <a:gd name="connsiteY7" fmla="*/ 936027 h 1684640"/>
                <a:gd name="connsiteX8" fmla="*/ 4854 w 875465"/>
                <a:gd name="connsiteY8" fmla="*/ 425881 h 1684640"/>
                <a:gd name="connsiteX9" fmla="*/ 439018 w 875465"/>
                <a:gd name="connsiteY9" fmla="*/ 0 h 1684640"/>
                <a:gd name="connsiteX10" fmla="*/ 863760 w 875465"/>
                <a:gd name="connsiteY10" fmla="*/ 430531 h 1684640"/>
                <a:gd name="connsiteX11" fmla="*/ 863760 w 875465"/>
                <a:gd name="connsiteY11" fmla="*/ 488985 h 1684640"/>
                <a:gd name="connsiteX12" fmla="*/ 586911 w 875465"/>
                <a:gd name="connsiteY12" fmla="*/ 488985 h 1684640"/>
                <a:gd name="connsiteX13" fmla="*/ 586911 w 875465"/>
                <a:gd name="connsiteY13" fmla="*/ 423509 h 1684640"/>
                <a:gd name="connsiteX14" fmla="*/ 441397 w 875465"/>
                <a:gd name="connsiteY14" fmla="*/ 255073 h 1684640"/>
                <a:gd name="connsiteX15" fmla="*/ 295882 w 875465"/>
                <a:gd name="connsiteY15" fmla="*/ 416487 h 1684640"/>
                <a:gd name="connsiteX16" fmla="*/ 347464 w 875465"/>
                <a:gd name="connsiteY16" fmla="*/ 566228 h 1684640"/>
                <a:gd name="connsiteX17" fmla="*/ 551603 w 875465"/>
                <a:gd name="connsiteY17" fmla="*/ 725364 h 1684640"/>
                <a:gd name="connsiteX18" fmla="*/ 805040 w 875465"/>
                <a:gd name="connsiteY18" fmla="*/ 961648 h 1684640"/>
                <a:gd name="connsiteX19" fmla="*/ 875465 w 875465"/>
                <a:gd name="connsiteY19" fmla="*/ 1247087 h 1684640"/>
                <a:gd name="connsiteX20" fmla="*/ 431975 w 875465"/>
                <a:gd name="connsiteY20" fmla="*/ 1684640 h 1684640"/>
                <a:gd name="connsiteX21" fmla="*/ 191 w 875465"/>
                <a:gd name="connsiteY21" fmla="*/ 1254109 h 1684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75465" h="1684640">
                  <a:moveTo>
                    <a:pt x="0" y="1254299"/>
                  </a:moveTo>
                  <a:lnTo>
                    <a:pt x="0" y="1170034"/>
                  </a:lnTo>
                  <a:lnTo>
                    <a:pt x="276944" y="1170034"/>
                  </a:lnTo>
                  <a:lnTo>
                    <a:pt x="276944" y="1263599"/>
                  </a:lnTo>
                  <a:cubicBezTo>
                    <a:pt x="276944" y="1373580"/>
                    <a:pt x="328526" y="1429757"/>
                    <a:pt x="429501" y="1429757"/>
                  </a:cubicBezTo>
                  <a:cubicBezTo>
                    <a:pt x="523338" y="1429757"/>
                    <a:pt x="582057" y="1373580"/>
                    <a:pt x="582057" y="1261226"/>
                  </a:cubicBezTo>
                  <a:cubicBezTo>
                    <a:pt x="582057" y="1193378"/>
                    <a:pt x="565593" y="1139573"/>
                    <a:pt x="530475" y="1099813"/>
                  </a:cubicBezTo>
                  <a:cubicBezTo>
                    <a:pt x="497642" y="1057680"/>
                    <a:pt x="431880" y="1003876"/>
                    <a:pt x="331000" y="936027"/>
                  </a:cubicBezTo>
                  <a:cubicBezTo>
                    <a:pt x="86985" y="776891"/>
                    <a:pt x="4854" y="638821"/>
                    <a:pt x="4854" y="425881"/>
                  </a:cubicBezTo>
                  <a:cubicBezTo>
                    <a:pt x="4854" y="161508"/>
                    <a:pt x="159695" y="0"/>
                    <a:pt x="439018" y="0"/>
                  </a:cubicBezTo>
                  <a:cubicBezTo>
                    <a:pt x="718340" y="0"/>
                    <a:pt x="863760" y="159136"/>
                    <a:pt x="863760" y="430531"/>
                  </a:cubicBezTo>
                  <a:lnTo>
                    <a:pt x="863760" y="488985"/>
                  </a:lnTo>
                  <a:lnTo>
                    <a:pt x="586911" y="488985"/>
                  </a:lnTo>
                  <a:lnTo>
                    <a:pt x="586911" y="423509"/>
                  </a:lnTo>
                  <a:cubicBezTo>
                    <a:pt x="586911" y="311155"/>
                    <a:pt x="537613" y="255073"/>
                    <a:pt x="441397" y="255073"/>
                  </a:cubicBezTo>
                  <a:cubicBezTo>
                    <a:pt x="345180" y="255073"/>
                    <a:pt x="295882" y="308878"/>
                    <a:pt x="295882" y="416487"/>
                  </a:cubicBezTo>
                  <a:cubicBezTo>
                    <a:pt x="295882" y="474941"/>
                    <a:pt x="312347" y="526468"/>
                    <a:pt x="347464" y="566228"/>
                  </a:cubicBezTo>
                  <a:cubicBezTo>
                    <a:pt x="382582" y="605988"/>
                    <a:pt x="450723" y="659793"/>
                    <a:pt x="551603" y="725364"/>
                  </a:cubicBezTo>
                  <a:cubicBezTo>
                    <a:pt x="675990" y="804885"/>
                    <a:pt x="760501" y="884500"/>
                    <a:pt x="805040" y="961648"/>
                  </a:cubicBezTo>
                  <a:cubicBezTo>
                    <a:pt x="851959" y="1038891"/>
                    <a:pt x="875465" y="1134829"/>
                    <a:pt x="875465" y="1247087"/>
                  </a:cubicBezTo>
                  <a:cubicBezTo>
                    <a:pt x="875465" y="1520854"/>
                    <a:pt x="715866" y="1684640"/>
                    <a:pt x="431975" y="1684640"/>
                  </a:cubicBezTo>
                  <a:cubicBezTo>
                    <a:pt x="148084" y="1684640"/>
                    <a:pt x="191" y="1523227"/>
                    <a:pt x="191" y="1254109"/>
                  </a:cubicBezTo>
                  <a:close/>
                </a:path>
              </a:pathLst>
            </a:custGeom>
            <a:grpFill/>
            <a:ln w="0" cap="flat">
              <a:noFill/>
              <a:prstDash val="solid"/>
              <a:miter/>
            </a:ln>
          </p:spPr>
          <p:txBody>
            <a:bodyPr rtlCol="0" anchor="ctr"/>
            <a:lstStyle/>
            <a:p>
              <a:endParaRPr lang="en-BG"/>
            </a:p>
          </p:txBody>
        </p:sp>
        <p:sp>
          <p:nvSpPr>
            <p:cNvPr id="28" name="Freeform 27">
              <a:extLst>
                <a:ext uri="{FF2B5EF4-FFF2-40B4-BE49-F238E27FC236}">
                  <a16:creationId xmlns:a16="http://schemas.microsoft.com/office/drawing/2014/main" id="{14529C03-01E7-8340-A604-97FF8C37BFCC}"/>
                </a:ext>
              </a:extLst>
            </p:cNvPr>
            <p:cNvSpPr/>
            <p:nvPr/>
          </p:nvSpPr>
          <p:spPr>
            <a:xfrm>
              <a:off x="6908317" y="-1913287"/>
              <a:ext cx="905824" cy="1637952"/>
            </a:xfrm>
            <a:custGeom>
              <a:avLst/>
              <a:gdLst>
                <a:gd name="connsiteX0" fmla="*/ 305114 w 905824"/>
                <a:gd name="connsiteY0" fmla="*/ 1637858 h 1637952"/>
                <a:gd name="connsiteX1" fmla="*/ 305114 w 905824"/>
                <a:gd name="connsiteY1" fmla="*/ 259723 h 1637952"/>
                <a:gd name="connsiteX2" fmla="*/ 0 w 905824"/>
                <a:gd name="connsiteY2" fmla="*/ 259723 h 1637952"/>
                <a:gd name="connsiteX3" fmla="*/ 0 w 905824"/>
                <a:gd name="connsiteY3" fmla="*/ 0 h 1637952"/>
                <a:gd name="connsiteX4" fmla="*/ 905824 w 905824"/>
                <a:gd name="connsiteY4" fmla="*/ 0 h 1637952"/>
                <a:gd name="connsiteX5" fmla="*/ 905824 w 905824"/>
                <a:gd name="connsiteY5" fmla="*/ 259723 h 1637952"/>
                <a:gd name="connsiteX6" fmla="*/ 598427 w 905824"/>
                <a:gd name="connsiteY6" fmla="*/ 259723 h 1637952"/>
                <a:gd name="connsiteX7" fmla="*/ 598427 w 905824"/>
                <a:gd name="connsiteY7" fmla="*/ 1637953 h 1637952"/>
                <a:gd name="connsiteX8" fmla="*/ 305114 w 905824"/>
                <a:gd name="connsiteY8" fmla="*/ 1637953 h 16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5824" h="1637952">
                  <a:moveTo>
                    <a:pt x="305114" y="1637858"/>
                  </a:moveTo>
                  <a:lnTo>
                    <a:pt x="305114" y="259723"/>
                  </a:lnTo>
                  <a:lnTo>
                    <a:pt x="0" y="259723"/>
                  </a:lnTo>
                  <a:lnTo>
                    <a:pt x="0" y="0"/>
                  </a:lnTo>
                  <a:lnTo>
                    <a:pt x="905824" y="0"/>
                  </a:lnTo>
                  <a:lnTo>
                    <a:pt x="905824" y="259723"/>
                  </a:lnTo>
                  <a:lnTo>
                    <a:pt x="598427" y="259723"/>
                  </a:lnTo>
                  <a:lnTo>
                    <a:pt x="598427" y="1637953"/>
                  </a:lnTo>
                  <a:lnTo>
                    <a:pt x="305114" y="1637953"/>
                  </a:lnTo>
                  <a:close/>
                </a:path>
              </a:pathLst>
            </a:custGeom>
            <a:grpFill/>
            <a:ln w="0" cap="flat">
              <a:noFill/>
              <a:prstDash val="solid"/>
              <a:miter/>
            </a:ln>
          </p:spPr>
          <p:txBody>
            <a:bodyPr rtlCol="0" anchor="ctr"/>
            <a:lstStyle/>
            <a:p>
              <a:endParaRPr lang="en-BG"/>
            </a:p>
          </p:txBody>
        </p:sp>
        <p:sp>
          <p:nvSpPr>
            <p:cNvPr id="29" name="Freeform 28">
              <a:extLst>
                <a:ext uri="{FF2B5EF4-FFF2-40B4-BE49-F238E27FC236}">
                  <a16:creationId xmlns:a16="http://schemas.microsoft.com/office/drawing/2014/main" id="{030AAB4F-5226-7B4E-BF12-90669F8B18AA}"/>
                </a:ext>
              </a:extLst>
            </p:cNvPr>
            <p:cNvSpPr/>
            <p:nvPr/>
          </p:nvSpPr>
          <p:spPr>
            <a:xfrm>
              <a:off x="8018756" y="-1936726"/>
              <a:ext cx="889360" cy="1684640"/>
            </a:xfrm>
            <a:custGeom>
              <a:avLst/>
              <a:gdLst>
                <a:gd name="connsiteX0" fmla="*/ 0 w 889360"/>
                <a:gd name="connsiteY0" fmla="*/ 1242437 h 1684640"/>
                <a:gd name="connsiteX1" fmla="*/ 0 w 889360"/>
                <a:gd name="connsiteY1" fmla="*/ 442203 h 1684640"/>
                <a:gd name="connsiteX2" fmla="*/ 443490 w 889360"/>
                <a:gd name="connsiteY2" fmla="*/ 0 h 1684640"/>
                <a:gd name="connsiteX3" fmla="*/ 889360 w 889360"/>
                <a:gd name="connsiteY3" fmla="*/ 442203 h 1684640"/>
                <a:gd name="connsiteX4" fmla="*/ 889360 w 889360"/>
                <a:gd name="connsiteY4" fmla="*/ 1242437 h 1684640"/>
                <a:gd name="connsiteX5" fmla="*/ 443490 w 889360"/>
                <a:gd name="connsiteY5" fmla="*/ 1684640 h 1684640"/>
                <a:gd name="connsiteX6" fmla="*/ 0 w 889360"/>
                <a:gd name="connsiteY6" fmla="*/ 1242437 h 1684640"/>
                <a:gd name="connsiteX7" fmla="*/ 596047 w 889360"/>
                <a:gd name="connsiteY7" fmla="*/ 1256482 h 1684640"/>
                <a:gd name="connsiteX8" fmla="*/ 596047 w 889360"/>
                <a:gd name="connsiteY8" fmla="*/ 428253 h 1684640"/>
                <a:gd name="connsiteX9" fmla="*/ 443490 w 889360"/>
                <a:gd name="connsiteY9" fmla="*/ 259723 h 1684640"/>
                <a:gd name="connsiteX10" fmla="*/ 293313 w 889360"/>
                <a:gd name="connsiteY10" fmla="*/ 428253 h 1684640"/>
                <a:gd name="connsiteX11" fmla="*/ 293313 w 889360"/>
                <a:gd name="connsiteY11" fmla="*/ 1256577 h 1684640"/>
                <a:gd name="connsiteX12" fmla="*/ 443490 w 889360"/>
                <a:gd name="connsiteY12" fmla="*/ 1425107 h 1684640"/>
                <a:gd name="connsiteX13" fmla="*/ 596047 w 889360"/>
                <a:gd name="connsiteY13" fmla="*/ 1256577 h 1684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9360" h="1684640">
                  <a:moveTo>
                    <a:pt x="0" y="1242437"/>
                  </a:moveTo>
                  <a:lnTo>
                    <a:pt x="0" y="442203"/>
                  </a:lnTo>
                  <a:cubicBezTo>
                    <a:pt x="0" y="161413"/>
                    <a:pt x="159600" y="0"/>
                    <a:pt x="443490" y="0"/>
                  </a:cubicBezTo>
                  <a:cubicBezTo>
                    <a:pt x="727381" y="0"/>
                    <a:pt x="889360" y="161413"/>
                    <a:pt x="889360" y="442203"/>
                  </a:cubicBezTo>
                  <a:lnTo>
                    <a:pt x="889360" y="1242437"/>
                  </a:lnTo>
                  <a:cubicBezTo>
                    <a:pt x="889360" y="1523227"/>
                    <a:pt x="732140" y="1684640"/>
                    <a:pt x="443490" y="1684640"/>
                  </a:cubicBezTo>
                  <a:cubicBezTo>
                    <a:pt x="154841" y="1684640"/>
                    <a:pt x="0" y="1523227"/>
                    <a:pt x="0" y="1242437"/>
                  </a:cubicBezTo>
                  <a:close/>
                  <a:moveTo>
                    <a:pt x="596047" y="1256482"/>
                  </a:moveTo>
                  <a:lnTo>
                    <a:pt x="596047" y="428253"/>
                  </a:lnTo>
                  <a:cubicBezTo>
                    <a:pt x="596047" y="315900"/>
                    <a:pt x="544466" y="259723"/>
                    <a:pt x="443490" y="259723"/>
                  </a:cubicBezTo>
                  <a:cubicBezTo>
                    <a:pt x="342515" y="259723"/>
                    <a:pt x="293313" y="315900"/>
                    <a:pt x="293313" y="428253"/>
                  </a:cubicBezTo>
                  <a:lnTo>
                    <a:pt x="293313" y="1256577"/>
                  </a:lnTo>
                  <a:cubicBezTo>
                    <a:pt x="293313" y="1368930"/>
                    <a:pt x="342611" y="1425107"/>
                    <a:pt x="443490" y="1425107"/>
                  </a:cubicBezTo>
                  <a:cubicBezTo>
                    <a:pt x="544370" y="1425107"/>
                    <a:pt x="596047" y="1368930"/>
                    <a:pt x="596047" y="1256577"/>
                  </a:cubicBezTo>
                  <a:close/>
                </a:path>
              </a:pathLst>
            </a:custGeom>
            <a:grpFill/>
            <a:ln w="0" cap="flat">
              <a:noFill/>
              <a:prstDash val="solid"/>
              <a:miter/>
            </a:ln>
          </p:spPr>
          <p:txBody>
            <a:bodyPr rtlCol="0" anchor="ctr"/>
            <a:lstStyle/>
            <a:p>
              <a:endParaRPr lang="en-BG"/>
            </a:p>
          </p:txBody>
        </p:sp>
        <p:sp>
          <p:nvSpPr>
            <p:cNvPr id="30" name="Freeform 29">
              <a:extLst>
                <a:ext uri="{FF2B5EF4-FFF2-40B4-BE49-F238E27FC236}">
                  <a16:creationId xmlns:a16="http://schemas.microsoft.com/office/drawing/2014/main" id="{36DF04CB-A0C5-814B-A813-6B8ACA2BFA93}"/>
                </a:ext>
              </a:extLst>
            </p:cNvPr>
            <p:cNvSpPr/>
            <p:nvPr/>
          </p:nvSpPr>
          <p:spPr>
            <a:xfrm>
              <a:off x="9156604" y="-1913287"/>
              <a:ext cx="903540" cy="1637952"/>
            </a:xfrm>
            <a:custGeom>
              <a:avLst/>
              <a:gdLst>
                <a:gd name="connsiteX0" fmla="*/ 0 w 903540"/>
                <a:gd name="connsiteY0" fmla="*/ 1637858 h 1637952"/>
                <a:gd name="connsiteX1" fmla="*/ 0 w 903540"/>
                <a:gd name="connsiteY1" fmla="*/ 0 h 1637952"/>
                <a:gd name="connsiteX2" fmla="*/ 434164 w 903540"/>
                <a:gd name="connsiteY2" fmla="*/ 0 h 1637952"/>
                <a:gd name="connsiteX3" fmla="*/ 868328 w 903540"/>
                <a:gd name="connsiteY3" fmla="*/ 395420 h 1637952"/>
                <a:gd name="connsiteX4" fmla="*/ 868328 w 903540"/>
                <a:gd name="connsiteY4" fmla="*/ 477313 h 1637952"/>
                <a:gd name="connsiteX5" fmla="*/ 678274 w 903540"/>
                <a:gd name="connsiteY5" fmla="*/ 807257 h 1637952"/>
                <a:gd name="connsiteX6" fmla="*/ 678274 w 903540"/>
                <a:gd name="connsiteY6" fmla="*/ 814279 h 1637952"/>
                <a:gd name="connsiteX7" fmla="*/ 870707 w 903540"/>
                <a:gd name="connsiteY7" fmla="*/ 1183983 h 1637952"/>
                <a:gd name="connsiteX8" fmla="*/ 870707 w 903540"/>
                <a:gd name="connsiteY8" fmla="*/ 1425012 h 1637952"/>
                <a:gd name="connsiteX9" fmla="*/ 903540 w 903540"/>
                <a:gd name="connsiteY9" fmla="*/ 1637953 h 1637952"/>
                <a:gd name="connsiteX10" fmla="*/ 605469 w 903540"/>
                <a:gd name="connsiteY10" fmla="*/ 1637953 h 1637952"/>
                <a:gd name="connsiteX11" fmla="*/ 579678 w 903540"/>
                <a:gd name="connsiteY11" fmla="*/ 1422640 h 1637952"/>
                <a:gd name="connsiteX12" fmla="*/ 579678 w 903540"/>
                <a:gd name="connsiteY12" fmla="*/ 1165289 h 1637952"/>
                <a:gd name="connsiteX13" fmla="*/ 394288 w 903540"/>
                <a:gd name="connsiteY13" fmla="*/ 959371 h 1637952"/>
                <a:gd name="connsiteX14" fmla="*/ 293408 w 903540"/>
                <a:gd name="connsiteY14" fmla="*/ 959371 h 1637952"/>
                <a:gd name="connsiteX15" fmla="*/ 293408 w 903540"/>
                <a:gd name="connsiteY15" fmla="*/ 1637953 h 1637952"/>
                <a:gd name="connsiteX16" fmla="*/ 95 w 903540"/>
                <a:gd name="connsiteY16" fmla="*/ 1637953 h 1637952"/>
                <a:gd name="connsiteX17" fmla="*/ 293313 w 903540"/>
                <a:gd name="connsiteY17" fmla="*/ 699553 h 1637952"/>
                <a:gd name="connsiteX18" fmla="*/ 401235 w 903540"/>
                <a:gd name="connsiteY18" fmla="*/ 699553 h 1637952"/>
                <a:gd name="connsiteX19" fmla="*/ 574919 w 903540"/>
                <a:gd name="connsiteY19" fmla="*/ 521723 h 1637952"/>
                <a:gd name="connsiteX20" fmla="*/ 574919 w 903540"/>
                <a:gd name="connsiteY20" fmla="*/ 425786 h 1637952"/>
                <a:gd name="connsiteX21" fmla="*/ 429405 w 903540"/>
                <a:gd name="connsiteY21" fmla="*/ 259628 h 1637952"/>
                <a:gd name="connsiteX22" fmla="*/ 293313 w 903540"/>
                <a:gd name="connsiteY22" fmla="*/ 259628 h 1637952"/>
                <a:gd name="connsiteX23" fmla="*/ 293313 w 903540"/>
                <a:gd name="connsiteY23" fmla="*/ 699553 h 16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03540" h="1637952">
                  <a:moveTo>
                    <a:pt x="0" y="1637858"/>
                  </a:moveTo>
                  <a:lnTo>
                    <a:pt x="0" y="0"/>
                  </a:lnTo>
                  <a:lnTo>
                    <a:pt x="434164" y="0"/>
                  </a:lnTo>
                  <a:cubicBezTo>
                    <a:pt x="732140" y="0"/>
                    <a:pt x="868328" y="126398"/>
                    <a:pt x="868328" y="395420"/>
                  </a:cubicBezTo>
                  <a:lnTo>
                    <a:pt x="868328" y="477313"/>
                  </a:lnTo>
                  <a:cubicBezTo>
                    <a:pt x="868328" y="648121"/>
                    <a:pt x="804945" y="758102"/>
                    <a:pt x="678274" y="807257"/>
                  </a:cubicBezTo>
                  <a:lnTo>
                    <a:pt x="678274" y="814279"/>
                  </a:lnTo>
                  <a:cubicBezTo>
                    <a:pt x="807324" y="851667"/>
                    <a:pt x="870707" y="975693"/>
                    <a:pt x="870707" y="1183983"/>
                  </a:cubicBezTo>
                  <a:lnTo>
                    <a:pt x="870707" y="1425012"/>
                  </a:lnTo>
                  <a:cubicBezTo>
                    <a:pt x="870707" y="1516299"/>
                    <a:pt x="882412" y="1586425"/>
                    <a:pt x="903540" y="1637953"/>
                  </a:cubicBezTo>
                  <a:lnTo>
                    <a:pt x="605469" y="1637953"/>
                  </a:lnTo>
                  <a:cubicBezTo>
                    <a:pt x="589005" y="1591170"/>
                    <a:pt x="579678" y="1518577"/>
                    <a:pt x="579678" y="1422640"/>
                  </a:cubicBezTo>
                  <a:lnTo>
                    <a:pt x="579678" y="1165289"/>
                  </a:lnTo>
                  <a:cubicBezTo>
                    <a:pt x="579678" y="1013175"/>
                    <a:pt x="532759" y="959371"/>
                    <a:pt x="394288" y="959371"/>
                  </a:cubicBezTo>
                  <a:lnTo>
                    <a:pt x="293408" y="959371"/>
                  </a:lnTo>
                  <a:lnTo>
                    <a:pt x="293408" y="1637953"/>
                  </a:lnTo>
                  <a:lnTo>
                    <a:pt x="95" y="1637953"/>
                  </a:lnTo>
                  <a:close/>
                  <a:moveTo>
                    <a:pt x="293313" y="699553"/>
                  </a:moveTo>
                  <a:lnTo>
                    <a:pt x="401235" y="699553"/>
                  </a:lnTo>
                  <a:cubicBezTo>
                    <a:pt x="520958" y="699553"/>
                    <a:pt x="574919" y="645749"/>
                    <a:pt x="574919" y="521723"/>
                  </a:cubicBezTo>
                  <a:lnTo>
                    <a:pt x="574919" y="425786"/>
                  </a:lnTo>
                  <a:cubicBezTo>
                    <a:pt x="574919" y="315805"/>
                    <a:pt x="525622" y="259628"/>
                    <a:pt x="429405" y="259628"/>
                  </a:cubicBezTo>
                  <a:lnTo>
                    <a:pt x="293313" y="259628"/>
                  </a:lnTo>
                  <a:lnTo>
                    <a:pt x="293313" y="699553"/>
                  </a:lnTo>
                  <a:close/>
                </a:path>
              </a:pathLst>
            </a:custGeom>
            <a:grpFill/>
            <a:ln w="0" cap="flat">
              <a:noFill/>
              <a:prstDash val="solid"/>
              <a:miter/>
            </a:ln>
          </p:spPr>
          <p:txBody>
            <a:bodyPr rtlCol="0" anchor="ctr"/>
            <a:lstStyle/>
            <a:p>
              <a:endParaRPr lang="en-BG"/>
            </a:p>
          </p:txBody>
        </p:sp>
        <p:sp>
          <p:nvSpPr>
            <p:cNvPr id="31" name="Freeform 30">
              <a:extLst>
                <a:ext uri="{FF2B5EF4-FFF2-40B4-BE49-F238E27FC236}">
                  <a16:creationId xmlns:a16="http://schemas.microsoft.com/office/drawing/2014/main" id="{9AC5DD68-9D95-644E-8556-88EBC25EEB60}"/>
                </a:ext>
              </a:extLst>
            </p:cNvPr>
            <p:cNvSpPr/>
            <p:nvPr/>
          </p:nvSpPr>
          <p:spPr>
            <a:xfrm>
              <a:off x="10305872" y="-1913287"/>
              <a:ext cx="821313" cy="1637857"/>
            </a:xfrm>
            <a:custGeom>
              <a:avLst/>
              <a:gdLst>
                <a:gd name="connsiteX0" fmla="*/ 0 w 821313"/>
                <a:gd name="connsiteY0" fmla="*/ 1637858 h 1637857"/>
                <a:gd name="connsiteX1" fmla="*/ 0 w 821313"/>
                <a:gd name="connsiteY1" fmla="*/ 0 h 1637857"/>
                <a:gd name="connsiteX2" fmla="*/ 410657 w 821313"/>
                <a:gd name="connsiteY2" fmla="*/ 0 h 1637857"/>
                <a:gd name="connsiteX3" fmla="*/ 821314 w 821313"/>
                <a:gd name="connsiteY3" fmla="*/ 418859 h 1637857"/>
                <a:gd name="connsiteX4" fmla="*/ 821314 w 821313"/>
                <a:gd name="connsiteY4" fmla="*/ 1216721 h 1637857"/>
                <a:gd name="connsiteX5" fmla="*/ 410657 w 821313"/>
                <a:gd name="connsiteY5" fmla="*/ 1637858 h 1637857"/>
                <a:gd name="connsiteX6" fmla="*/ 0 w 821313"/>
                <a:gd name="connsiteY6" fmla="*/ 1637858 h 1637857"/>
                <a:gd name="connsiteX7" fmla="*/ 150177 w 821313"/>
                <a:gd name="connsiteY7" fmla="*/ 1504533 h 1637857"/>
                <a:gd name="connsiteX8" fmla="*/ 405993 w 821313"/>
                <a:gd name="connsiteY8" fmla="*/ 1504533 h 1637857"/>
                <a:gd name="connsiteX9" fmla="*/ 671136 w 821313"/>
                <a:gd name="connsiteY9" fmla="*/ 1221371 h 1637857"/>
                <a:gd name="connsiteX10" fmla="*/ 671136 w 821313"/>
                <a:gd name="connsiteY10" fmla="*/ 414114 h 1637857"/>
                <a:gd name="connsiteX11" fmla="*/ 405993 w 821313"/>
                <a:gd name="connsiteY11" fmla="*/ 133325 h 1637857"/>
                <a:gd name="connsiteX12" fmla="*/ 150177 w 821313"/>
                <a:gd name="connsiteY12" fmla="*/ 133325 h 1637857"/>
                <a:gd name="connsiteX13" fmla="*/ 150177 w 821313"/>
                <a:gd name="connsiteY13" fmla="*/ 1504438 h 1637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21313" h="1637857">
                  <a:moveTo>
                    <a:pt x="0" y="1637858"/>
                  </a:moveTo>
                  <a:lnTo>
                    <a:pt x="0" y="0"/>
                  </a:lnTo>
                  <a:lnTo>
                    <a:pt x="410657" y="0"/>
                  </a:lnTo>
                  <a:cubicBezTo>
                    <a:pt x="689885" y="0"/>
                    <a:pt x="821314" y="135697"/>
                    <a:pt x="821314" y="418859"/>
                  </a:cubicBezTo>
                  <a:lnTo>
                    <a:pt x="821314" y="1216721"/>
                  </a:lnTo>
                  <a:cubicBezTo>
                    <a:pt x="821314" y="1504533"/>
                    <a:pt x="689885" y="1637858"/>
                    <a:pt x="410657" y="1637858"/>
                  </a:cubicBezTo>
                  <a:lnTo>
                    <a:pt x="0" y="1637858"/>
                  </a:lnTo>
                  <a:close/>
                  <a:moveTo>
                    <a:pt x="150177" y="1504533"/>
                  </a:moveTo>
                  <a:lnTo>
                    <a:pt x="405993" y="1504533"/>
                  </a:lnTo>
                  <a:cubicBezTo>
                    <a:pt x="593763" y="1504533"/>
                    <a:pt x="671136" y="1420267"/>
                    <a:pt x="671136" y="1221371"/>
                  </a:cubicBezTo>
                  <a:lnTo>
                    <a:pt x="671136" y="414114"/>
                  </a:lnTo>
                  <a:cubicBezTo>
                    <a:pt x="671136" y="215218"/>
                    <a:pt x="593668" y="133325"/>
                    <a:pt x="405993" y="133325"/>
                  </a:cubicBezTo>
                  <a:lnTo>
                    <a:pt x="150177" y="133325"/>
                  </a:lnTo>
                  <a:lnTo>
                    <a:pt x="150177" y="1504438"/>
                  </a:lnTo>
                  <a:close/>
                </a:path>
              </a:pathLst>
            </a:custGeom>
            <a:grpFill/>
            <a:ln w="0" cap="flat">
              <a:noFill/>
              <a:prstDash val="solid"/>
              <a:miter/>
            </a:ln>
          </p:spPr>
          <p:txBody>
            <a:bodyPr rtlCol="0" anchor="ctr"/>
            <a:lstStyle/>
            <a:p>
              <a:endParaRPr lang="en-BG"/>
            </a:p>
          </p:txBody>
        </p:sp>
        <p:sp>
          <p:nvSpPr>
            <p:cNvPr id="32" name="Freeform 31">
              <a:extLst>
                <a:ext uri="{FF2B5EF4-FFF2-40B4-BE49-F238E27FC236}">
                  <a16:creationId xmlns:a16="http://schemas.microsoft.com/office/drawing/2014/main" id="{B2A31583-BDD2-844A-80F1-FA4A3BAFBF57}"/>
                </a:ext>
              </a:extLst>
            </p:cNvPr>
            <p:cNvSpPr/>
            <p:nvPr/>
          </p:nvSpPr>
          <p:spPr>
            <a:xfrm>
              <a:off x="11350168" y="-1913287"/>
              <a:ext cx="943226" cy="1637952"/>
            </a:xfrm>
            <a:custGeom>
              <a:avLst/>
              <a:gdLst>
                <a:gd name="connsiteX0" fmla="*/ 790765 w 943226"/>
                <a:gd name="connsiteY0" fmla="*/ 1637858 h 1637952"/>
                <a:gd name="connsiteX1" fmla="*/ 708633 w 943226"/>
                <a:gd name="connsiteY1" fmla="*/ 1275176 h 1637952"/>
                <a:gd name="connsiteX2" fmla="*/ 222887 w 943226"/>
                <a:gd name="connsiteY2" fmla="*/ 1275176 h 1637952"/>
                <a:gd name="connsiteX3" fmla="*/ 143135 w 943226"/>
                <a:gd name="connsiteY3" fmla="*/ 1637858 h 1637952"/>
                <a:gd name="connsiteX4" fmla="*/ 0 w 943226"/>
                <a:gd name="connsiteY4" fmla="*/ 1637858 h 1637952"/>
                <a:gd name="connsiteX5" fmla="*/ 368307 w 943226"/>
                <a:gd name="connsiteY5" fmla="*/ 0 h 1637952"/>
                <a:gd name="connsiteX6" fmla="*/ 570161 w 943226"/>
                <a:gd name="connsiteY6" fmla="*/ 0 h 1637952"/>
                <a:gd name="connsiteX7" fmla="*/ 943227 w 943226"/>
                <a:gd name="connsiteY7" fmla="*/ 1637953 h 1637952"/>
                <a:gd name="connsiteX8" fmla="*/ 790669 w 943226"/>
                <a:gd name="connsiteY8" fmla="*/ 1637953 h 1637952"/>
                <a:gd name="connsiteX9" fmla="*/ 251058 w 943226"/>
                <a:gd name="connsiteY9" fmla="*/ 1144128 h 1637952"/>
                <a:gd name="connsiteX10" fmla="*/ 680463 w 943226"/>
                <a:gd name="connsiteY10" fmla="*/ 1144128 h 1637952"/>
                <a:gd name="connsiteX11" fmla="*/ 462239 w 943226"/>
                <a:gd name="connsiteY11" fmla="*/ 180107 h 1637952"/>
                <a:gd name="connsiteX12" fmla="*/ 251058 w 943226"/>
                <a:gd name="connsiteY12" fmla="*/ 1144128 h 16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3226" h="1637952">
                  <a:moveTo>
                    <a:pt x="790765" y="1637858"/>
                  </a:moveTo>
                  <a:lnTo>
                    <a:pt x="708633" y="1275176"/>
                  </a:lnTo>
                  <a:lnTo>
                    <a:pt x="222887" y="1275176"/>
                  </a:lnTo>
                  <a:lnTo>
                    <a:pt x="143135" y="1637858"/>
                  </a:lnTo>
                  <a:lnTo>
                    <a:pt x="0" y="1637858"/>
                  </a:lnTo>
                  <a:lnTo>
                    <a:pt x="368307" y="0"/>
                  </a:lnTo>
                  <a:lnTo>
                    <a:pt x="570161" y="0"/>
                  </a:lnTo>
                  <a:lnTo>
                    <a:pt x="943227" y="1637953"/>
                  </a:lnTo>
                  <a:lnTo>
                    <a:pt x="790669" y="1637953"/>
                  </a:lnTo>
                  <a:close/>
                  <a:moveTo>
                    <a:pt x="251058" y="1144128"/>
                  </a:moveTo>
                  <a:lnTo>
                    <a:pt x="680463" y="1144128"/>
                  </a:lnTo>
                  <a:lnTo>
                    <a:pt x="462239" y="180107"/>
                  </a:lnTo>
                  <a:lnTo>
                    <a:pt x="251058" y="1144128"/>
                  </a:lnTo>
                  <a:close/>
                </a:path>
              </a:pathLst>
            </a:custGeom>
            <a:grpFill/>
            <a:ln w="0" cap="flat">
              <a:noFill/>
              <a:prstDash val="solid"/>
              <a:miter/>
            </a:ln>
          </p:spPr>
          <p:txBody>
            <a:bodyPr rtlCol="0" anchor="ctr"/>
            <a:lstStyle/>
            <a:p>
              <a:endParaRPr lang="en-BG"/>
            </a:p>
          </p:txBody>
        </p:sp>
        <p:sp>
          <p:nvSpPr>
            <p:cNvPr id="33" name="Freeform 32">
              <a:extLst>
                <a:ext uri="{FF2B5EF4-FFF2-40B4-BE49-F238E27FC236}">
                  <a16:creationId xmlns:a16="http://schemas.microsoft.com/office/drawing/2014/main" id="{E084DDAC-7FB6-1548-8252-8D7C8ECB01FD}"/>
                </a:ext>
              </a:extLst>
            </p:cNvPr>
            <p:cNvSpPr/>
            <p:nvPr/>
          </p:nvSpPr>
          <p:spPr>
            <a:xfrm>
              <a:off x="12321279" y="-1913382"/>
              <a:ext cx="931615" cy="1637952"/>
            </a:xfrm>
            <a:custGeom>
              <a:avLst/>
              <a:gdLst>
                <a:gd name="connsiteX0" fmla="*/ 389530 w 931615"/>
                <a:gd name="connsiteY0" fmla="*/ 1637953 h 1637952"/>
                <a:gd name="connsiteX1" fmla="*/ 389530 w 931615"/>
                <a:gd name="connsiteY1" fmla="*/ 910216 h 1637952"/>
                <a:gd name="connsiteX2" fmla="*/ 0 w 931615"/>
                <a:gd name="connsiteY2" fmla="*/ 0 h 1637952"/>
                <a:gd name="connsiteX3" fmla="*/ 161884 w 931615"/>
                <a:gd name="connsiteY3" fmla="*/ 0 h 1637952"/>
                <a:gd name="connsiteX4" fmla="*/ 471661 w 931615"/>
                <a:gd name="connsiteY4" fmla="*/ 727736 h 1637952"/>
                <a:gd name="connsiteX5" fmla="*/ 781438 w 931615"/>
                <a:gd name="connsiteY5" fmla="*/ 0 h 1637952"/>
                <a:gd name="connsiteX6" fmla="*/ 931616 w 931615"/>
                <a:gd name="connsiteY6" fmla="*/ 0 h 1637952"/>
                <a:gd name="connsiteX7" fmla="*/ 542087 w 931615"/>
                <a:gd name="connsiteY7" fmla="*/ 910216 h 1637952"/>
                <a:gd name="connsiteX8" fmla="*/ 542087 w 931615"/>
                <a:gd name="connsiteY8" fmla="*/ 1637953 h 1637952"/>
                <a:gd name="connsiteX9" fmla="*/ 389530 w 931615"/>
                <a:gd name="connsiteY9" fmla="*/ 1637953 h 16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1615" h="1637952">
                  <a:moveTo>
                    <a:pt x="389530" y="1637953"/>
                  </a:moveTo>
                  <a:lnTo>
                    <a:pt x="389530" y="910216"/>
                  </a:lnTo>
                  <a:lnTo>
                    <a:pt x="0" y="0"/>
                  </a:lnTo>
                  <a:lnTo>
                    <a:pt x="161884" y="0"/>
                  </a:lnTo>
                  <a:lnTo>
                    <a:pt x="471661" y="727736"/>
                  </a:lnTo>
                  <a:lnTo>
                    <a:pt x="781438" y="0"/>
                  </a:lnTo>
                  <a:lnTo>
                    <a:pt x="931616" y="0"/>
                  </a:lnTo>
                  <a:lnTo>
                    <a:pt x="542087" y="910216"/>
                  </a:lnTo>
                  <a:lnTo>
                    <a:pt x="542087" y="1637953"/>
                  </a:lnTo>
                  <a:lnTo>
                    <a:pt x="389530" y="1637953"/>
                  </a:lnTo>
                  <a:close/>
                </a:path>
              </a:pathLst>
            </a:custGeom>
            <a:grpFill/>
            <a:ln w="0" cap="flat">
              <a:noFill/>
              <a:prstDash val="solid"/>
              <a:miter/>
            </a:ln>
          </p:spPr>
          <p:txBody>
            <a:bodyPr rtlCol="0" anchor="ctr"/>
            <a:lstStyle/>
            <a:p>
              <a:endParaRPr lang="en-BG"/>
            </a:p>
          </p:txBody>
        </p:sp>
      </p:grpSp>
    </p:spTree>
    <p:extLst>
      <p:ext uri="{BB962C8B-B14F-4D97-AF65-F5344CB8AC3E}">
        <p14:creationId xmlns:p14="http://schemas.microsoft.com/office/powerpoint/2010/main" val="32977495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8" name="Grafik 23" descr="Ein Bild, das Weg, Szene, Straße, Autobahn enthält.&#10;&#10;Automatisch generierte Beschreibung">
            <a:extLst>
              <a:ext uri="{FF2B5EF4-FFF2-40B4-BE49-F238E27FC236}">
                <a16:creationId xmlns:a16="http://schemas.microsoft.com/office/drawing/2014/main" id="{D36B55B5-6FB4-3EAF-A6CD-C940BAE18F6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noFill/>
        </p:spPr>
      </p:pic>
      <p:sp>
        <p:nvSpPr>
          <p:cNvPr id="13" name="Untertitel 2">
            <a:extLst>
              <a:ext uri="{FF2B5EF4-FFF2-40B4-BE49-F238E27FC236}">
                <a16:creationId xmlns:a16="http://schemas.microsoft.com/office/drawing/2014/main" id="{3686F197-5147-62D2-8F03-AB3C3E503956}"/>
              </a:ext>
            </a:extLst>
          </p:cNvPr>
          <p:cNvSpPr>
            <a:spLocks noGrp="1"/>
          </p:cNvSpPr>
          <p:nvPr>
            <p:ph type="subTitle" idx="1" hasCustomPrompt="1"/>
          </p:nvPr>
        </p:nvSpPr>
        <p:spPr bwMode="gray">
          <a:xfrm>
            <a:off x="1197864" y="3111756"/>
            <a:ext cx="5401233" cy="307777"/>
          </a:xfrm>
        </p:spPr>
        <p:txBody>
          <a:bodyPr anchor="t" anchorCtr="0">
            <a:spAutoFit/>
          </a:bodyPr>
          <a:lstStyle>
            <a:lvl1pPr marL="0" indent="0" algn="l">
              <a:lnSpc>
                <a:spcPct val="100000"/>
              </a:lnSpc>
              <a:spcBef>
                <a:spcPts val="0"/>
              </a:spcBef>
              <a:spcAft>
                <a:spcPts val="0"/>
              </a:spcAft>
              <a:buNone/>
              <a:defRPr sz="2000">
                <a:solidFill>
                  <a:schemeClr val="bg1"/>
                </a:solidFill>
                <a:latin typeface="+mn-lt"/>
                <a:cs typeface="Abadi MT Condensed Extra Bold"/>
              </a:defRPr>
            </a:lvl1pPr>
            <a:lvl2pPr marL="0" indent="0" algn="l">
              <a:spcAft>
                <a:spcPts val="0"/>
              </a:spcAft>
              <a:buNone/>
              <a:defRPr sz="2400">
                <a:solidFill>
                  <a:schemeClr val="tx1"/>
                </a:solidFill>
              </a:defRPr>
            </a:lvl2pPr>
            <a:lvl3pPr marL="0" indent="0" algn="l">
              <a:spcAft>
                <a:spcPts val="0"/>
              </a:spcAft>
              <a:buNone/>
              <a:defRPr sz="2400">
                <a:solidFill>
                  <a:schemeClr val="tx1"/>
                </a:solidFill>
              </a:defRPr>
            </a:lvl3pPr>
            <a:lvl4pPr marL="0" indent="0" algn="l">
              <a:spcAft>
                <a:spcPts val="0"/>
              </a:spcAft>
              <a:buNone/>
              <a:defRPr sz="2400">
                <a:solidFill>
                  <a:schemeClr val="tx1"/>
                </a:solidFill>
              </a:defRPr>
            </a:lvl4pPr>
            <a:lvl5pPr marL="0" indent="0" algn="l">
              <a:spcAft>
                <a:spcPts val="0"/>
              </a:spcAft>
              <a:buNone/>
              <a:defRPr sz="2400">
                <a:solidFill>
                  <a:schemeClr val="tx1"/>
                </a:solidFill>
              </a:defRPr>
            </a:lvl5pPr>
            <a:lvl6pPr marL="0" indent="0" algn="l">
              <a:spcAft>
                <a:spcPts val="0"/>
              </a:spcAft>
              <a:buNone/>
              <a:defRPr sz="2400">
                <a:solidFill>
                  <a:schemeClr val="tx1"/>
                </a:solidFill>
              </a:defRPr>
            </a:lvl6pPr>
            <a:lvl7pPr marL="0" indent="0" algn="l">
              <a:spcAft>
                <a:spcPts val="0"/>
              </a:spcAft>
              <a:buNone/>
              <a:defRPr sz="2400">
                <a:solidFill>
                  <a:schemeClr val="tx1"/>
                </a:solidFill>
              </a:defRPr>
            </a:lvl7pPr>
            <a:lvl8pPr marL="0" indent="0" algn="l">
              <a:spcAft>
                <a:spcPts val="0"/>
              </a:spcAft>
              <a:buNone/>
              <a:defRPr sz="2400">
                <a:solidFill>
                  <a:schemeClr val="tx1"/>
                </a:solidFill>
              </a:defRPr>
            </a:lvl8pPr>
            <a:lvl9pPr marL="0" indent="0" algn="l">
              <a:spcAft>
                <a:spcPts val="0"/>
              </a:spcAft>
              <a:buNone/>
              <a:defRPr sz="2400">
                <a:solidFill>
                  <a:schemeClr val="tx1"/>
                </a:solidFill>
              </a:defRPr>
            </a:lvl9pPr>
          </a:lstStyle>
          <a:p>
            <a:pPr lvl="0"/>
            <a:r>
              <a:rPr lang="en-GB" noProof="0"/>
              <a:t>Speaker and title</a:t>
            </a:r>
          </a:p>
        </p:txBody>
      </p:sp>
      <p:sp>
        <p:nvSpPr>
          <p:cNvPr id="16" name="Titel 1">
            <a:extLst>
              <a:ext uri="{FF2B5EF4-FFF2-40B4-BE49-F238E27FC236}">
                <a16:creationId xmlns:a16="http://schemas.microsoft.com/office/drawing/2014/main" id="{54A6D88C-C0A5-1186-0D05-32B83321D0A6}"/>
              </a:ext>
            </a:extLst>
          </p:cNvPr>
          <p:cNvSpPr>
            <a:spLocks noGrp="1"/>
          </p:cNvSpPr>
          <p:nvPr>
            <p:ph type="ctrTitle" hasCustomPrompt="1"/>
          </p:nvPr>
        </p:nvSpPr>
        <p:spPr bwMode="gray">
          <a:xfrm>
            <a:off x="1197864" y="1354352"/>
            <a:ext cx="7272896" cy="1512168"/>
          </a:xfrm>
        </p:spPr>
        <p:txBody>
          <a:bodyPr vert="horz" anchor="t" anchorCtr="0"/>
          <a:lstStyle>
            <a:lvl1pPr algn="l">
              <a:lnSpc>
                <a:spcPct val="100000"/>
              </a:lnSpc>
              <a:spcBef>
                <a:spcPts val="0"/>
              </a:spcBef>
              <a:defRPr sz="3200" b="0">
                <a:solidFill>
                  <a:schemeClr val="bg1"/>
                </a:solidFill>
              </a:defRPr>
            </a:lvl1pPr>
          </a:lstStyle>
          <a:p>
            <a:r>
              <a:rPr lang="en-GB" noProof="0"/>
              <a:t>Panel</a:t>
            </a:r>
            <a:br>
              <a:rPr lang="en-GB" noProof="0"/>
            </a:br>
            <a:r>
              <a:rPr lang="en-GB" noProof="0"/>
              <a:t>Type</a:t>
            </a:r>
          </a:p>
        </p:txBody>
      </p:sp>
    </p:spTree>
    <p:extLst>
      <p:ext uri="{BB962C8B-B14F-4D97-AF65-F5344CB8AC3E}">
        <p14:creationId xmlns:p14="http://schemas.microsoft.com/office/powerpoint/2010/main" val="13190932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Whit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B02C6AB-5E2F-4DB1-87F5-C644FB7D30BD}"/>
              </a:ext>
            </a:extLst>
          </p:cNvPr>
          <p:cNvGraphicFramePr>
            <a:graphicFrameLocks noChangeAspect="1"/>
          </p:cNvGraphicFramePr>
          <p:nvPr>
            <p:custDataLst>
              <p:tags r:id="rId2"/>
            </p:custDataLst>
            <p:extLst>
              <p:ext uri="{D42A27DB-BD31-4B8C-83A1-F6EECF244321}">
                <p14:modId xmlns:p14="http://schemas.microsoft.com/office/powerpoint/2010/main" val="2510649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CB02C6AB-5E2F-4DB1-87F5-C644FB7D30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1">
            <a:extLst>
              <a:ext uri="{FF2B5EF4-FFF2-40B4-BE49-F238E27FC236}">
                <a16:creationId xmlns:a16="http://schemas.microsoft.com/office/drawing/2014/main" id="{482BD4D3-EEE4-42E0-84FC-23D0304F84E2}"/>
              </a:ext>
            </a:extLst>
          </p:cNvPr>
          <p:cNvSpPr>
            <a:spLocks noGrp="1"/>
          </p:cNvSpPr>
          <p:nvPr>
            <p:ph type="ctrTitle" hasCustomPrompt="1"/>
          </p:nvPr>
        </p:nvSpPr>
        <p:spPr bwMode="gray">
          <a:xfrm>
            <a:off x="590345" y="1354352"/>
            <a:ext cx="7272896" cy="1512168"/>
          </a:xfrm>
        </p:spPr>
        <p:txBody>
          <a:bodyPr vert="horz" anchor="t" anchorCtr="0"/>
          <a:lstStyle>
            <a:lvl1pPr algn="l">
              <a:lnSpc>
                <a:spcPct val="100000"/>
              </a:lnSpc>
              <a:spcBef>
                <a:spcPts val="0"/>
              </a:spcBef>
              <a:defRPr sz="4300" b="1">
                <a:solidFill>
                  <a:schemeClr val="accent1"/>
                </a:solidFill>
              </a:defRPr>
            </a:lvl1pPr>
          </a:lstStyle>
          <a:p>
            <a:r>
              <a:rPr lang="en-GB" noProof="0"/>
              <a:t>Presentation </a:t>
            </a:r>
            <a:br>
              <a:rPr lang="en-GB" noProof="0"/>
            </a:br>
            <a:r>
              <a:rPr lang="en-GB" noProof="0"/>
              <a:t>Title</a:t>
            </a:r>
          </a:p>
        </p:txBody>
      </p:sp>
      <p:sp>
        <p:nvSpPr>
          <p:cNvPr id="7" name="Untertitel 2">
            <a:extLst>
              <a:ext uri="{FF2B5EF4-FFF2-40B4-BE49-F238E27FC236}">
                <a16:creationId xmlns:a16="http://schemas.microsoft.com/office/drawing/2014/main" id="{BA55727A-F2D0-4A34-9818-669BAB31EDE2}"/>
              </a:ext>
            </a:extLst>
          </p:cNvPr>
          <p:cNvSpPr>
            <a:spLocks noGrp="1"/>
          </p:cNvSpPr>
          <p:nvPr>
            <p:ph type="subTitle" idx="1" hasCustomPrompt="1"/>
          </p:nvPr>
        </p:nvSpPr>
        <p:spPr bwMode="gray">
          <a:xfrm>
            <a:off x="590345" y="3111756"/>
            <a:ext cx="5401233" cy="720080"/>
          </a:xfrm>
        </p:spPr>
        <p:txBody>
          <a:bodyPr anchor="t" anchorCtr="0"/>
          <a:lstStyle>
            <a:lvl1pPr marL="0" indent="0" algn="l">
              <a:lnSpc>
                <a:spcPct val="100000"/>
              </a:lnSpc>
              <a:spcBef>
                <a:spcPts val="0"/>
              </a:spcBef>
              <a:spcAft>
                <a:spcPts val="0"/>
              </a:spcAft>
              <a:buNone/>
              <a:defRPr sz="2400">
                <a:solidFill>
                  <a:schemeClr val="tx1"/>
                </a:solidFill>
                <a:latin typeface="+mn-lt"/>
                <a:cs typeface="Abadi MT Condensed Extra Bold"/>
              </a:defRPr>
            </a:lvl1pPr>
            <a:lvl2pPr marL="0" indent="0" algn="l">
              <a:spcAft>
                <a:spcPts val="0"/>
              </a:spcAft>
              <a:buNone/>
              <a:defRPr sz="2400">
                <a:solidFill>
                  <a:schemeClr val="tx1"/>
                </a:solidFill>
              </a:defRPr>
            </a:lvl2pPr>
            <a:lvl3pPr marL="0" indent="0" algn="l">
              <a:spcAft>
                <a:spcPts val="0"/>
              </a:spcAft>
              <a:buNone/>
              <a:defRPr sz="2400">
                <a:solidFill>
                  <a:schemeClr val="tx1"/>
                </a:solidFill>
              </a:defRPr>
            </a:lvl3pPr>
            <a:lvl4pPr marL="0" indent="0" algn="l">
              <a:spcAft>
                <a:spcPts val="0"/>
              </a:spcAft>
              <a:buNone/>
              <a:defRPr sz="2400">
                <a:solidFill>
                  <a:schemeClr val="tx1"/>
                </a:solidFill>
              </a:defRPr>
            </a:lvl4pPr>
            <a:lvl5pPr marL="0" indent="0" algn="l">
              <a:spcAft>
                <a:spcPts val="0"/>
              </a:spcAft>
              <a:buNone/>
              <a:defRPr sz="2400">
                <a:solidFill>
                  <a:schemeClr val="tx1"/>
                </a:solidFill>
              </a:defRPr>
            </a:lvl5pPr>
            <a:lvl6pPr marL="0" indent="0" algn="l">
              <a:spcAft>
                <a:spcPts val="0"/>
              </a:spcAft>
              <a:buNone/>
              <a:defRPr sz="2400">
                <a:solidFill>
                  <a:schemeClr val="tx1"/>
                </a:solidFill>
              </a:defRPr>
            </a:lvl6pPr>
            <a:lvl7pPr marL="0" indent="0" algn="l">
              <a:spcAft>
                <a:spcPts val="0"/>
              </a:spcAft>
              <a:buNone/>
              <a:defRPr sz="2400">
                <a:solidFill>
                  <a:schemeClr val="tx1"/>
                </a:solidFill>
              </a:defRPr>
            </a:lvl7pPr>
            <a:lvl8pPr marL="0" indent="0" algn="l">
              <a:spcAft>
                <a:spcPts val="0"/>
              </a:spcAft>
              <a:buNone/>
              <a:defRPr sz="2400">
                <a:solidFill>
                  <a:schemeClr val="tx1"/>
                </a:solidFill>
              </a:defRPr>
            </a:lvl8pPr>
            <a:lvl9pPr marL="0" indent="0" algn="l">
              <a:spcAft>
                <a:spcPts val="0"/>
              </a:spcAft>
              <a:buNone/>
              <a:defRPr sz="2400">
                <a:solidFill>
                  <a:schemeClr val="tx1"/>
                </a:solidFill>
              </a:defRPr>
            </a:lvl9pPr>
          </a:lstStyle>
          <a:p>
            <a:pPr lvl="0"/>
            <a:r>
              <a:rPr lang="en-GB" noProof="0"/>
              <a:t>Subtitle</a:t>
            </a:r>
          </a:p>
        </p:txBody>
      </p:sp>
      <p:sp>
        <p:nvSpPr>
          <p:cNvPr id="9" name="Datumsplatzhalter 24">
            <a:extLst>
              <a:ext uri="{FF2B5EF4-FFF2-40B4-BE49-F238E27FC236}">
                <a16:creationId xmlns:a16="http://schemas.microsoft.com/office/drawing/2014/main" id="{16F11FE9-AEA9-4575-AD7C-CD162460E44F}"/>
              </a:ext>
            </a:extLst>
          </p:cNvPr>
          <p:cNvSpPr>
            <a:spLocks noGrp="1"/>
          </p:cNvSpPr>
          <p:nvPr>
            <p:ph type="dt" sz="half" idx="10"/>
          </p:nvPr>
        </p:nvSpPr>
        <p:spPr bwMode="gray">
          <a:xfrm>
            <a:off x="602879" y="3933056"/>
            <a:ext cx="3529571" cy="576064"/>
          </a:xfrm>
        </p:spPr>
        <p:txBody>
          <a:bodyPr anchor="t">
            <a:noAutofit/>
          </a:bodyPr>
          <a:lstStyle>
            <a:lvl1pPr marL="0" algn="l">
              <a:lnSpc>
                <a:spcPct val="100000"/>
              </a:lnSpc>
              <a:defRPr sz="1400">
                <a:solidFill>
                  <a:schemeClr val="tx1"/>
                </a:solidFill>
              </a:defRPr>
            </a:lvl1pPr>
            <a:lvl2pPr marL="0">
              <a:lnSpc>
                <a:spcPct val="100000"/>
              </a:lnSpc>
              <a:defRPr sz="1400"/>
            </a:lvl2pPr>
            <a:lvl3pPr marL="0">
              <a:lnSpc>
                <a:spcPct val="100000"/>
              </a:lnSpc>
              <a:defRPr sz="1400"/>
            </a:lvl3pPr>
            <a:lvl4pPr marL="0">
              <a:lnSpc>
                <a:spcPct val="100000"/>
              </a:lnSpc>
              <a:defRPr sz="1400"/>
            </a:lvl4pPr>
            <a:lvl5pPr marL="0">
              <a:lnSpc>
                <a:spcPct val="100000"/>
              </a:lnSpc>
              <a:defRPr sz="1400"/>
            </a:lvl5pPr>
            <a:lvl6pPr marL="0">
              <a:lnSpc>
                <a:spcPct val="100000"/>
              </a:lnSpc>
              <a:defRPr sz="1400"/>
            </a:lvl6pPr>
            <a:lvl7pPr marL="0">
              <a:lnSpc>
                <a:spcPct val="100000"/>
              </a:lnSpc>
              <a:defRPr sz="1400"/>
            </a:lvl7pPr>
            <a:lvl8pPr marL="0">
              <a:lnSpc>
                <a:spcPct val="100000"/>
              </a:lnSpc>
              <a:defRPr sz="1400"/>
            </a:lvl8pPr>
            <a:lvl9pPr marL="0">
              <a:lnSpc>
                <a:spcPct val="100000"/>
              </a:lnSpc>
              <a:defRPr sz="1400"/>
            </a:lvl9pPr>
          </a:lstStyle>
          <a:p>
            <a:endParaRPr lang="en-US"/>
          </a:p>
        </p:txBody>
      </p:sp>
      <p:pic>
        <p:nvPicPr>
          <p:cNvPr id="11" name="Grafik 10">
            <a:extLst>
              <a:ext uri="{FF2B5EF4-FFF2-40B4-BE49-F238E27FC236}">
                <a16:creationId xmlns:a16="http://schemas.microsoft.com/office/drawing/2014/main" id="{BAAA93AF-3754-4C5B-BDE5-012E1B1632F3}"/>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bwMode="gray">
          <a:xfrm>
            <a:off x="587388" y="5787300"/>
            <a:ext cx="2127958" cy="342000"/>
          </a:xfrm>
          <a:prstGeom prst="rect">
            <a:avLst/>
          </a:prstGeom>
        </p:spPr>
      </p:pic>
    </p:spTree>
    <p:extLst>
      <p:ext uri="{BB962C8B-B14F-4D97-AF65-F5344CB8AC3E}">
        <p14:creationId xmlns:p14="http://schemas.microsoft.com/office/powerpoint/2010/main" val="2058457453"/>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 Teal">
    <p:bg>
      <p:bgPr>
        <a:solidFill>
          <a:schemeClr val="accent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DB1F12-780B-4457-92FE-697C82B26135}"/>
              </a:ext>
            </a:extLst>
          </p:cNvPr>
          <p:cNvGraphicFramePr>
            <a:graphicFrameLocks noChangeAspect="1"/>
          </p:cNvGraphicFramePr>
          <p:nvPr>
            <p:custDataLst>
              <p:tags r:id="rId2"/>
            </p:custDataLst>
            <p:extLst>
              <p:ext uri="{D42A27DB-BD31-4B8C-83A1-F6EECF244321}">
                <p14:modId xmlns:p14="http://schemas.microsoft.com/office/powerpoint/2010/main" val="1871991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79DB1F12-780B-4457-92FE-697C82B261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1">
            <a:extLst>
              <a:ext uri="{FF2B5EF4-FFF2-40B4-BE49-F238E27FC236}">
                <a16:creationId xmlns:a16="http://schemas.microsoft.com/office/drawing/2014/main" id="{ED78BDF4-D19E-42DE-B03D-842CAB4E0EFA}"/>
              </a:ext>
            </a:extLst>
          </p:cNvPr>
          <p:cNvSpPr>
            <a:spLocks noGrp="1"/>
          </p:cNvSpPr>
          <p:nvPr>
            <p:ph type="ctrTitle" hasCustomPrompt="1"/>
          </p:nvPr>
        </p:nvSpPr>
        <p:spPr bwMode="gray">
          <a:xfrm>
            <a:off x="590318" y="1340768"/>
            <a:ext cx="7272896" cy="1512168"/>
          </a:xfrm>
        </p:spPr>
        <p:txBody>
          <a:bodyPr vert="horz" anchor="t" anchorCtr="0"/>
          <a:lstStyle>
            <a:lvl1pPr algn="l">
              <a:lnSpc>
                <a:spcPct val="100000"/>
              </a:lnSpc>
              <a:spcBef>
                <a:spcPts val="0"/>
              </a:spcBef>
              <a:defRPr sz="4300" b="1">
                <a:solidFill>
                  <a:schemeClr val="tx1"/>
                </a:solidFill>
              </a:defRPr>
            </a:lvl1pPr>
          </a:lstStyle>
          <a:p>
            <a:r>
              <a:rPr lang="en-GB" noProof="0"/>
              <a:t>Presentation </a:t>
            </a:r>
            <a:br>
              <a:rPr lang="en-GB" noProof="0"/>
            </a:br>
            <a:r>
              <a:rPr lang="en-GB" noProof="0"/>
              <a:t>Title</a:t>
            </a:r>
          </a:p>
        </p:txBody>
      </p:sp>
      <p:sp>
        <p:nvSpPr>
          <p:cNvPr id="8" name="Untertitel 2">
            <a:extLst>
              <a:ext uri="{FF2B5EF4-FFF2-40B4-BE49-F238E27FC236}">
                <a16:creationId xmlns:a16="http://schemas.microsoft.com/office/drawing/2014/main" id="{B0255F2F-02B4-4535-B2A0-1D1446A0ADD6}"/>
              </a:ext>
            </a:extLst>
          </p:cNvPr>
          <p:cNvSpPr>
            <a:spLocks noGrp="1"/>
          </p:cNvSpPr>
          <p:nvPr>
            <p:ph type="subTitle" idx="1" hasCustomPrompt="1"/>
          </p:nvPr>
        </p:nvSpPr>
        <p:spPr bwMode="gray">
          <a:xfrm>
            <a:off x="590318" y="3098172"/>
            <a:ext cx="5401233" cy="720080"/>
          </a:xfrm>
        </p:spPr>
        <p:txBody>
          <a:bodyPr anchor="t" anchorCtr="0"/>
          <a:lstStyle>
            <a:lvl1pPr marL="0" indent="0" algn="l">
              <a:lnSpc>
                <a:spcPct val="100000"/>
              </a:lnSpc>
              <a:spcBef>
                <a:spcPts val="0"/>
              </a:spcBef>
              <a:spcAft>
                <a:spcPts val="0"/>
              </a:spcAft>
              <a:buNone/>
              <a:defRPr sz="2400">
                <a:solidFill>
                  <a:schemeClr val="tx1"/>
                </a:solidFill>
                <a:latin typeface="+mn-lt"/>
                <a:cs typeface="Abadi MT Condensed Extra Bold"/>
              </a:defRPr>
            </a:lvl1pPr>
            <a:lvl2pPr marL="0" indent="0" algn="l">
              <a:spcAft>
                <a:spcPts val="0"/>
              </a:spcAft>
              <a:buNone/>
              <a:defRPr sz="2400"/>
            </a:lvl2pPr>
            <a:lvl3pPr marL="0" indent="0" algn="l">
              <a:spcAft>
                <a:spcPts val="0"/>
              </a:spcAft>
              <a:buNone/>
              <a:defRPr sz="2400"/>
            </a:lvl3pPr>
            <a:lvl4pPr marL="0" indent="0" algn="l">
              <a:spcAft>
                <a:spcPts val="0"/>
              </a:spcAft>
              <a:buNone/>
              <a:defRPr sz="2400"/>
            </a:lvl4pPr>
            <a:lvl5pPr marL="0" indent="0" algn="l">
              <a:spcAft>
                <a:spcPts val="0"/>
              </a:spcAft>
              <a:buNone/>
              <a:defRPr sz="2400"/>
            </a:lvl5pPr>
            <a:lvl6pPr marL="0" indent="0" algn="l">
              <a:spcAft>
                <a:spcPts val="0"/>
              </a:spcAft>
              <a:buNone/>
              <a:defRPr sz="2400"/>
            </a:lvl6pPr>
            <a:lvl7pPr marL="0" indent="0" algn="l">
              <a:spcAft>
                <a:spcPts val="0"/>
              </a:spcAft>
              <a:buNone/>
              <a:defRPr sz="2400"/>
            </a:lvl7pPr>
            <a:lvl8pPr marL="0" indent="0" algn="l">
              <a:spcAft>
                <a:spcPts val="0"/>
              </a:spcAft>
              <a:buNone/>
              <a:defRPr sz="2400"/>
            </a:lvl8pPr>
            <a:lvl9pPr marL="0" indent="0" algn="l">
              <a:spcAft>
                <a:spcPts val="0"/>
              </a:spcAft>
              <a:buNone/>
              <a:defRPr sz="2400"/>
            </a:lvl9pPr>
          </a:lstStyle>
          <a:p>
            <a:r>
              <a:rPr lang="en-GB" noProof="0"/>
              <a:t>Subtitle</a:t>
            </a:r>
          </a:p>
        </p:txBody>
      </p:sp>
      <p:sp>
        <p:nvSpPr>
          <p:cNvPr id="9" name="Datumsplatzhalter 24">
            <a:extLst>
              <a:ext uri="{FF2B5EF4-FFF2-40B4-BE49-F238E27FC236}">
                <a16:creationId xmlns:a16="http://schemas.microsoft.com/office/drawing/2014/main" id="{80D1C763-2B8F-441F-9A03-9467E1680469}"/>
              </a:ext>
            </a:extLst>
          </p:cNvPr>
          <p:cNvSpPr>
            <a:spLocks noGrp="1"/>
          </p:cNvSpPr>
          <p:nvPr>
            <p:ph type="dt" sz="half" idx="10"/>
          </p:nvPr>
        </p:nvSpPr>
        <p:spPr bwMode="gray">
          <a:xfrm>
            <a:off x="602852" y="3919472"/>
            <a:ext cx="3529571" cy="589648"/>
          </a:xfrm>
        </p:spPr>
        <p:txBody>
          <a:bodyPr anchor="t"/>
          <a:lstStyle>
            <a:lvl1pPr marL="0" algn="l">
              <a:lnSpc>
                <a:spcPct val="100000"/>
              </a:lnSpc>
              <a:defRPr sz="1400">
                <a:solidFill>
                  <a:schemeClr val="tx1"/>
                </a:solidFill>
              </a:defRPr>
            </a:lvl1pPr>
            <a:lvl2pPr marL="0">
              <a:lnSpc>
                <a:spcPct val="100000"/>
              </a:lnSpc>
              <a:defRPr sz="1400"/>
            </a:lvl2pPr>
            <a:lvl3pPr marL="0">
              <a:lnSpc>
                <a:spcPct val="100000"/>
              </a:lnSpc>
              <a:defRPr sz="1400"/>
            </a:lvl3pPr>
            <a:lvl4pPr marL="0">
              <a:lnSpc>
                <a:spcPct val="100000"/>
              </a:lnSpc>
              <a:defRPr sz="1400"/>
            </a:lvl4pPr>
            <a:lvl5pPr marL="0">
              <a:lnSpc>
                <a:spcPct val="100000"/>
              </a:lnSpc>
              <a:defRPr sz="1400"/>
            </a:lvl5pPr>
            <a:lvl6pPr marL="0">
              <a:lnSpc>
                <a:spcPct val="100000"/>
              </a:lnSpc>
              <a:defRPr sz="1400"/>
            </a:lvl6pPr>
            <a:lvl7pPr marL="0">
              <a:lnSpc>
                <a:spcPct val="100000"/>
              </a:lnSpc>
              <a:defRPr sz="1400"/>
            </a:lvl7pPr>
            <a:lvl8pPr marL="0">
              <a:lnSpc>
                <a:spcPct val="100000"/>
              </a:lnSpc>
              <a:defRPr sz="1400"/>
            </a:lvl8pPr>
            <a:lvl9pPr marL="0">
              <a:lnSpc>
                <a:spcPct val="100000"/>
              </a:lnSpc>
              <a:defRPr sz="1400"/>
            </a:lvl9pPr>
          </a:lstStyle>
          <a:p>
            <a:endParaRPr lang="en-US"/>
          </a:p>
        </p:txBody>
      </p:sp>
      <p:pic>
        <p:nvPicPr>
          <p:cNvPr id="11" name="Grafik 10">
            <a:extLst>
              <a:ext uri="{FF2B5EF4-FFF2-40B4-BE49-F238E27FC236}">
                <a16:creationId xmlns:a16="http://schemas.microsoft.com/office/drawing/2014/main" id="{C31D9EF6-C0B2-4932-9F2F-7EBCEF7B3161}"/>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bwMode="gray">
          <a:xfrm>
            <a:off x="587388" y="5787300"/>
            <a:ext cx="2127958" cy="342000"/>
          </a:xfrm>
          <a:prstGeom prst="rect">
            <a:avLst/>
          </a:prstGeom>
        </p:spPr>
      </p:pic>
    </p:spTree>
    <p:extLst>
      <p:ext uri="{BB962C8B-B14F-4D97-AF65-F5344CB8AC3E}">
        <p14:creationId xmlns:p14="http://schemas.microsoft.com/office/powerpoint/2010/main" val="119494188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 Grey">
    <p:bg>
      <p:bgPr>
        <a:solidFill>
          <a:schemeClr val="bg2"/>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4EF0DCB-8CD4-4133-91C8-7785BC331A6B}"/>
              </a:ext>
            </a:extLst>
          </p:cNvPr>
          <p:cNvGraphicFramePr>
            <a:graphicFrameLocks noChangeAspect="1"/>
          </p:cNvGraphicFramePr>
          <p:nvPr>
            <p:custDataLst>
              <p:tags r:id="rId2"/>
            </p:custDataLst>
            <p:extLst>
              <p:ext uri="{D42A27DB-BD31-4B8C-83A1-F6EECF244321}">
                <p14:modId xmlns:p14="http://schemas.microsoft.com/office/powerpoint/2010/main" val="3429312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44EF0DCB-8CD4-4133-91C8-7785BC331A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1">
            <a:extLst>
              <a:ext uri="{FF2B5EF4-FFF2-40B4-BE49-F238E27FC236}">
                <a16:creationId xmlns:a16="http://schemas.microsoft.com/office/drawing/2014/main" id="{100FA83C-1D22-4C72-9931-4F272EE70A97}"/>
              </a:ext>
            </a:extLst>
          </p:cNvPr>
          <p:cNvSpPr>
            <a:spLocks noGrp="1"/>
          </p:cNvSpPr>
          <p:nvPr>
            <p:ph type="ctrTitle" hasCustomPrompt="1"/>
          </p:nvPr>
        </p:nvSpPr>
        <p:spPr bwMode="gray">
          <a:xfrm>
            <a:off x="590345" y="1340768"/>
            <a:ext cx="7272896" cy="1512168"/>
          </a:xfrm>
        </p:spPr>
        <p:txBody>
          <a:bodyPr vert="horz" anchor="t" anchorCtr="0"/>
          <a:lstStyle>
            <a:lvl1pPr algn="l">
              <a:lnSpc>
                <a:spcPct val="100000"/>
              </a:lnSpc>
              <a:spcBef>
                <a:spcPts val="0"/>
              </a:spcBef>
              <a:defRPr sz="4300" b="1">
                <a:solidFill>
                  <a:schemeClr val="accent1"/>
                </a:solidFill>
              </a:defRPr>
            </a:lvl1pPr>
          </a:lstStyle>
          <a:p>
            <a:r>
              <a:rPr lang="en-GB" noProof="0"/>
              <a:t>Presentation </a:t>
            </a:r>
            <a:br>
              <a:rPr lang="en-GB" noProof="0"/>
            </a:br>
            <a:r>
              <a:rPr lang="en-GB" noProof="0"/>
              <a:t>Title</a:t>
            </a:r>
          </a:p>
        </p:txBody>
      </p:sp>
      <p:sp>
        <p:nvSpPr>
          <p:cNvPr id="7" name="Untertitel 2">
            <a:extLst>
              <a:ext uri="{FF2B5EF4-FFF2-40B4-BE49-F238E27FC236}">
                <a16:creationId xmlns:a16="http://schemas.microsoft.com/office/drawing/2014/main" id="{D165CAAA-142D-476B-8DC8-74F66B553347}"/>
              </a:ext>
            </a:extLst>
          </p:cNvPr>
          <p:cNvSpPr>
            <a:spLocks noGrp="1"/>
          </p:cNvSpPr>
          <p:nvPr>
            <p:ph type="subTitle" idx="1" hasCustomPrompt="1"/>
          </p:nvPr>
        </p:nvSpPr>
        <p:spPr bwMode="gray">
          <a:xfrm>
            <a:off x="590345" y="3098172"/>
            <a:ext cx="5401233" cy="720080"/>
          </a:xfrm>
        </p:spPr>
        <p:txBody>
          <a:bodyPr anchor="t" anchorCtr="0"/>
          <a:lstStyle>
            <a:lvl1pPr marL="0" indent="0" algn="l">
              <a:lnSpc>
                <a:spcPct val="100000"/>
              </a:lnSpc>
              <a:spcBef>
                <a:spcPts val="0"/>
              </a:spcBef>
              <a:spcAft>
                <a:spcPts val="0"/>
              </a:spcAft>
              <a:buNone/>
              <a:defRPr sz="2400">
                <a:solidFill>
                  <a:schemeClr val="tx1"/>
                </a:solidFill>
                <a:latin typeface="+mn-lt"/>
                <a:cs typeface="Abadi MT Condensed Extra Bold"/>
              </a:defRPr>
            </a:lvl1pPr>
            <a:lvl2pPr marL="0" indent="0" algn="l">
              <a:spcAft>
                <a:spcPts val="0"/>
              </a:spcAft>
              <a:buNone/>
              <a:defRPr sz="2400"/>
            </a:lvl2pPr>
            <a:lvl3pPr marL="0" indent="0" algn="l">
              <a:spcAft>
                <a:spcPts val="0"/>
              </a:spcAft>
              <a:buNone/>
              <a:defRPr sz="2400"/>
            </a:lvl3pPr>
            <a:lvl4pPr marL="0" indent="0" algn="l">
              <a:spcAft>
                <a:spcPts val="0"/>
              </a:spcAft>
              <a:buNone/>
              <a:defRPr sz="2400"/>
            </a:lvl4pPr>
            <a:lvl5pPr marL="0" indent="0" algn="l">
              <a:spcAft>
                <a:spcPts val="0"/>
              </a:spcAft>
              <a:buNone/>
              <a:defRPr sz="2400"/>
            </a:lvl5pPr>
            <a:lvl6pPr marL="0" indent="0" algn="l">
              <a:spcAft>
                <a:spcPts val="0"/>
              </a:spcAft>
              <a:buNone/>
              <a:defRPr sz="2400"/>
            </a:lvl6pPr>
            <a:lvl7pPr marL="0" indent="0" algn="l">
              <a:spcAft>
                <a:spcPts val="0"/>
              </a:spcAft>
              <a:buNone/>
              <a:defRPr sz="2400"/>
            </a:lvl7pPr>
            <a:lvl8pPr marL="0" indent="0" algn="l">
              <a:spcAft>
                <a:spcPts val="0"/>
              </a:spcAft>
              <a:buNone/>
              <a:defRPr sz="2400"/>
            </a:lvl8pPr>
            <a:lvl9pPr marL="0" indent="0" algn="l">
              <a:spcAft>
                <a:spcPts val="0"/>
              </a:spcAft>
              <a:buNone/>
              <a:defRPr sz="2400"/>
            </a:lvl9pPr>
          </a:lstStyle>
          <a:p>
            <a:r>
              <a:rPr lang="en-GB" noProof="0"/>
              <a:t>Subtitle</a:t>
            </a:r>
          </a:p>
        </p:txBody>
      </p:sp>
      <p:sp>
        <p:nvSpPr>
          <p:cNvPr id="8" name="Datumsplatzhalter 24">
            <a:extLst>
              <a:ext uri="{FF2B5EF4-FFF2-40B4-BE49-F238E27FC236}">
                <a16:creationId xmlns:a16="http://schemas.microsoft.com/office/drawing/2014/main" id="{8C240F6A-1488-4B7E-8E07-B209A45FFB71}"/>
              </a:ext>
            </a:extLst>
          </p:cNvPr>
          <p:cNvSpPr>
            <a:spLocks noGrp="1"/>
          </p:cNvSpPr>
          <p:nvPr>
            <p:ph type="dt" sz="half" idx="10"/>
          </p:nvPr>
        </p:nvSpPr>
        <p:spPr bwMode="gray">
          <a:xfrm>
            <a:off x="602879" y="3919472"/>
            <a:ext cx="3529571" cy="589648"/>
          </a:xfrm>
        </p:spPr>
        <p:txBody>
          <a:bodyPr anchor="t"/>
          <a:lstStyle>
            <a:lvl1pPr marL="0" algn="l">
              <a:lnSpc>
                <a:spcPct val="100000"/>
              </a:lnSpc>
              <a:defRPr sz="1400">
                <a:solidFill>
                  <a:schemeClr val="tx1"/>
                </a:solidFill>
              </a:defRPr>
            </a:lvl1pPr>
            <a:lvl2pPr marL="0">
              <a:lnSpc>
                <a:spcPct val="100000"/>
              </a:lnSpc>
              <a:defRPr sz="1400"/>
            </a:lvl2pPr>
            <a:lvl3pPr marL="0">
              <a:lnSpc>
                <a:spcPct val="100000"/>
              </a:lnSpc>
              <a:defRPr sz="1400"/>
            </a:lvl3pPr>
            <a:lvl4pPr marL="0">
              <a:lnSpc>
                <a:spcPct val="100000"/>
              </a:lnSpc>
              <a:defRPr sz="1400"/>
            </a:lvl4pPr>
            <a:lvl5pPr marL="0">
              <a:lnSpc>
                <a:spcPct val="100000"/>
              </a:lnSpc>
              <a:defRPr sz="1400"/>
            </a:lvl5pPr>
            <a:lvl6pPr marL="0">
              <a:lnSpc>
                <a:spcPct val="100000"/>
              </a:lnSpc>
              <a:defRPr sz="1400"/>
            </a:lvl6pPr>
            <a:lvl7pPr marL="0">
              <a:lnSpc>
                <a:spcPct val="100000"/>
              </a:lnSpc>
              <a:defRPr sz="1400"/>
            </a:lvl7pPr>
            <a:lvl8pPr marL="0">
              <a:lnSpc>
                <a:spcPct val="100000"/>
              </a:lnSpc>
              <a:defRPr sz="1400"/>
            </a:lvl8pPr>
            <a:lvl9pPr marL="0">
              <a:lnSpc>
                <a:spcPct val="100000"/>
              </a:lnSpc>
              <a:defRPr sz="1400"/>
            </a:lvl9pPr>
          </a:lstStyle>
          <a:p>
            <a:endParaRPr lang="en-US"/>
          </a:p>
        </p:txBody>
      </p:sp>
      <p:pic>
        <p:nvPicPr>
          <p:cNvPr id="10" name="Grafik 9">
            <a:extLst>
              <a:ext uri="{FF2B5EF4-FFF2-40B4-BE49-F238E27FC236}">
                <a16:creationId xmlns:a16="http://schemas.microsoft.com/office/drawing/2014/main" id="{4A7B63CB-3FB4-49B7-AFCE-C1F42A53893E}"/>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bwMode="gray">
          <a:xfrm>
            <a:off x="587388" y="5787300"/>
            <a:ext cx="2127958" cy="342000"/>
          </a:xfrm>
          <a:prstGeom prst="rect">
            <a:avLst/>
          </a:prstGeom>
        </p:spPr>
      </p:pic>
    </p:spTree>
    <p:extLst>
      <p:ext uri="{BB962C8B-B14F-4D97-AF65-F5344CB8AC3E}">
        <p14:creationId xmlns:p14="http://schemas.microsoft.com/office/powerpoint/2010/main" val="499103200"/>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left | Pictur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699DFD9-25B7-4BE0-9032-02051080271D}"/>
              </a:ext>
            </a:extLst>
          </p:cNvPr>
          <p:cNvGraphicFramePr>
            <a:graphicFrameLocks noChangeAspect="1"/>
          </p:cNvGraphicFramePr>
          <p:nvPr>
            <p:custDataLst>
              <p:tags r:id="rId2"/>
            </p:custDataLst>
            <p:extLst>
              <p:ext uri="{D42A27DB-BD31-4B8C-83A1-F6EECF244321}">
                <p14:modId xmlns:p14="http://schemas.microsoft.com/office/powerpoint/2010/main" val="3080473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 imgW="359" imgH="358" progId="TCLayout.ActiveDocument.1">
                  <p:embed/>
                </p:oleObj>
              </mc:Choice>
              <mc:Fallback>
                <p:oleObj name="think-cell Slide" r:id="rId4" imgW="359" imgH="358" progId="TCLayout.ActiveDocument.1">
                  <p:embed/>
                  <p:pic>
                    <p:nvPicPr>
                      <p:cNvPr id="3" name="Objekt 2" hidden="1">
                        <a:extLst>
                          <a:ext uri="{FF2B5EF4-FFF2-40B4-BE49-F238E27FC236}">
                            <a16:creationId xmlns:a16="http://schemas.microsoft.com/office/drawing/2014/main" id="{5699DFD9-25B7-4BE0-9032-0205108027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icture Placeholder 3">
            <a:extLst>
              <a:ext uri="{FF2B5EF4-FFF2-40B4-BE49-F238E27FC236}">
                <a16:creationId xmlns:a16="http://schemas.microsoft.com/office/drawing/2014/main" id="{A43C8737-CA51-4148-81DC-F9C80508A1B3}"/>
              </a:ext>
            </a:extLst>
          </p:cNvPr>
          <p:cNvSpPr>
            <a:spLocks noGrp="1"/>
          </p:cNvSpPr>
          <p:nvPr>
            <p:ph type="pic" sz="quarter" idx="13" hasCustomPrompt="1"/>
          </p:nvPr>
        </p:nvSpPr>
        <p:spPr bwMode="gray">
          <a:xfrm>
            <a:off x="0" y="0"/>
            <a:ext cx="12192000" cy="6858000"/>
          </a:xfrm>
          <a:solidFill>
            <a:schemeClr val="bg2"/>
          </a:solidFill>
        </p:spPr>
        <p:txBody>
          <a:bodyPr lIns="6912000" tIns="0" rIns="1368000" anchor="ctr" anchorCtr="0"/>
          <a:lstStyle>
            <a:lvl1pPr>
              <a:defRPr sz="1200">
                <a:solidFill>
                  <a:schemeClr val="accent4"/>
                </a:solidFill>
              </a:defRPr>
            </a:lvl1pPr>
            <a:lvl2pPr marL="0" indent="0">
              <a:buFontTx/>
              <a:buNone/>
              <a:defRPr sz="1200"/>
            </a:lvl2pPr>
            <a:lvl3pPr marL="0" indent="0">
              <a:buFontTx/>
              <a:buNone/>
              <a:defRPr sz="1200"/>
            </a:lvl3pPr>
            <a:lvl4pPr marL="0" indent="0">
              <a:buFontTx/>
              <a:buNone/>
              <a:tabLst/>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GB"/>
              <a:t> </a:t>
            </a:r>
          </a:p>
        </p:txBody>
      </p:sp>
      <p:sp>
        <p:nvSpPr>
          <p:cNvPr id="11" name="Textplatzhalter 5">
            <a:extLst>
              <a:ext uri="{FF2B5EF4-FFF2-40B4-BE49-F238E27FC236}">
                <a16:creationId xmlns:a16="http://schemas.microsoft.com/office/drawing/2014/main" id="{F63CF737-36F6-441D-B92C-EC5D22B3B1A9}"/>
              </a:ext>
            </a:extLst>
          </p:cNvPr>
          <p:cNvSpPr>
            <a:spLocks noGrp="1"/>
          </p:cNvSpPr>
          <p:nvPr>
            <p:ph type="body" sz="quarter" idx="14" hasCustomPrompt="1"/>
          </p:nvPr>
        </p:nvSpPr>
        <p:spPr bwMode="gray">
          <a:xfrm>
            <a:off x="587388" y="5787300"/>
            <a:ext cx="2127600" cy="342000"/>
          </a:xfrm>
          <a:prstGeom prst="rect">
            <a:avLst/>
          </a:prstGeom>
          <a:blipFill dpi="0" rotWithShape="1">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a:blipFill>
        </p:spPr>
        <p:txBody>
          <a:bodyPr/>
          <a:lstStyle>
            <a:lvl1pPr marL="0" indent="0">
              <a:buNone/>
              <a:defRPr sz="800">
                <a:solidFill>
                  <a:schemeClr val="bg1"/>
                </a:solidFill>
              </a:defRPr>
            </a:lvl1pPr>
          </a:lstStyle>
          <a:p>
            <a:pPr lvl="0"/>
            <a:r>
              <a:rPr lang="en-GB" noProof="0"/>
              <a:t> </a:t>
            </a:r>
          </a:p>
        </p:txBody>
      </p:sp>
      <p:sp>
        <p:nvSpPr>
          <p:cNvPr id="8" name="Titel 1">
            <a:extLst>
              <a:ext uri="{FF2B5EF4-FFF2-40B4-BE49-F238E27FC236}">
                <a16:creationId xmlns:a16="http://schemas.microsoft.com/office/drawing/2014/main" id="{0B56861E-14AD-46E2-ABEF-F27C36285006}"/>
              </a:ext>
            </a:extLst>
          </p:cNvPr>
          <p:cNvSpPr>
            <a:spLocks noGrp="1"/>
          </p:cNvSpPr>
          <p:nvPr>
            <p:ph type="ctrTitle" hasCustomPrompt="1"/>
          </p:nvPr>
        </p:nvSpPr>
        <p:spPr bwMode="gray">
          <a:xfrm>
            <a:off x="590949" y="1340768"/>
            <a:ext cx="7272896" cy="1512168"/>
          </a:xfrm>
        </p:spPr>
        <p:txBody>
          <a:bodyPr vert="horz" anchor="t" anchorCtr="0"/>
          <a:lstStyle>
            <a:lvl1pPr algn="l">
              <a:lnSpc>
                <a:spcPct val="100000"/>
              </a:lnSpc>
              <a:spcBef>
                <a:spcPts val="0"/>
              </a:spcBef>
              <a:defRPr sz="4300" b="1">
                <a:solidFill>
                  <a:schemeClr val="accent1"/>
                </a:solidFill>
              </a:defRPr>
            </a:lvl1pPr>
          </a:lstStyle>
          <a:p>
            <a:r>
              <a:rPr lang="en-GB" noProof="0"/>
              <a:t>Presentation </a:t>
            </a:r>
            <a:br>
              <a:rPr lang="en-GB" noProof="0"/>
            </a:br>
            <a:r>
              <a:rPr lang="en-GB" noProof="0"/>
              <a:t>Title</a:t>
            </a:r>
          </a:p>
        </p:txBody>
      </p:sp>
      <p:sp>
        <p:nvSpPr>
          <p:cNvPr id="9" name="Untertitel 2">
            <a:extLst>
              <a:ext uri="{FF2B5EF4-FFF2-40B4-BE49-F238E27FC236}">
                <a16:creationId xmlns:a16="http://schemas.microsoft.com/office/drawing/2014/main" id="{E6AD8C72-018C-4BD6-A7A6-5999612434AA}"/>
              </a:ext>
            </a:extLst>
          </p:cNvPr>
          <p:cNvSpPr>
            <a:spLocks noGrp="1"/>
          </p:cNvSpPr>
          <p:nvPr>
            <p:ph type="subTitle" idx="1" hasCustomPrompt="1"/>
          </p:nvPr>
        </p:nvSpPr>
        <p:spPr bwMode="gray">
          <a:xfrm>
            <a:off x="590949" y="3098172"/>
            <a:ext cx="5401233" cy="720080"/>
          </a:xfrm>
        </p:spPr>
        <p:txBody>
          <a:bodyPr anchor="t" anchorCtr="0"/>
          <a:lstStyle>
            <a:lvl1pPr marL="0" indent="0" algn="l">
              <a:lnSpc>
                <a:spcPct val="100000"/>
              </a:lnSpc>
              <a:spcBef>
                <a:spcPts val="0"/>
              </a:spcBef>
              <a:spcAft>
                <a:spcPts val="0"/>
              </a:spcAft>
              <a:buNone/>
              <a:defRPr sz="2400">
                <a:solidFill>
                  <a:schemeClr val="tx1"/>
                </a:solidFill>
                <a:latin typeface="+mn-lt"/>
                <a:cs typeface="Abadi MT Condensed Extra Bold"/>
              </a:defRPr>
            </a:lvl1pPr>
            <a:lvl2pPr marL="0" indent="0" algn="l">
              <a:spcAft>
                <a:spcPts val="0"/>
              </a:spcAft>
              <a:buNone/>
              <a:defRPr sz="2400"/>
            </a:lvl2pPr>
            <a:lvl3pPr marL="0" indent="0" algn="l">
              <a:spcAft>
                <a:spcPts val="0"/>
              </a:spcAft>
              <a:buNone/>
              <a:defRPr sz="2400"/>
            </a:lvl3pPr>
            <a:lvl4pPr marL="0" indent="0" algn="l">
              <a:spcAft>
                <a:spcPts val="0"/>
              </a:spcAft>
              <a:buNone/>
              <a:defRPr sz="2400"/>
            </a:lvl4pPr>
            <a:lvl5pPr marL="0" indent="0" algn="l">
              <a:spcAft>
                <a:spcPts val="0"/>
              </a:spcAft>
              <a:buNone/>
              <a:defRPr sz="2400"/>
            </a:lvl5pPr>
            <a:lvl6pPr marL="0" indent="0" algn="l">
              <a:spcAft>
                <a:spcPts val="0"/>
              </a:spcAft>
              <a:buNone/>
              <a:defRPr sz="2400"/>
            </a:lvl6pPr>
            <a:lvl7pPr marL="0" indent="0" algn="l">
              <a:spcAft>
                <a:spcPts val="0"/>
              </a:spcAft>
              <a:buNone/>
              <a:defRPr sz="2400"/>
            </a:lvl7pPr>
            <a:lvl8pPr marL="0" indent="0" algn="l">
              <a:spcAft>
                <a:spcPts val="0"/>
              </a:spcAft>
              <a:buNone/>
              <a:defRPr sz="2400"/>
            </a:lvl8pPr>
            <a:lvl9pPr marL="0" indent="0" algn="l">
              <a:spcAft>
                <a:spcPts val="0"/>
              </a:spcAft>
              <a:buNone/>
              <a:defRPr sz="2400"/>
            </a:lvl9pPr>
          </a:lstStyle>
          <a:p>
            <a:r>
              <a:rPr lang="en-GB" noProof="0"/>
              <a:t>Subtitle</a:t>
            </a:r>
          </a:p>
        </p:txBody>
      </p:sp>
      <p:sp>
        <p:nvSpPr>
          <p:cNvPr id="10" name="Datumsplatzhalter 24">
            <a:extLst>
              <a:ext uri="{FF2B5EF4-FFF2-40B4-BE49-F238E27FC236}">
                <a16:creationId xmlns:a16="http://schemas.microsoft.com/office/drawing/2014/main" id="{8D360B2C-CC91-4F38-A3C3-C91528777F0B}"/>
              </a:ext>
            </a:extLst>
          </p:cNvPr>
          <p:cNvSpPr>
            <a:spLocks noGrp="1"/>
          </p:cNvSpPr>
          <p:nvPr>
            <p:ph type="dt" sz="half" idx="10"/>
          </p:nvPr>
        </p:nvSpPr>
        <p:spPr bwMode="gray">
          <a:xfrm>
            <a:off x="603483" y="3919472"/>
            <a:ext cx="3529571" cy="697660"/>
          </a:xfrm>
        </p:spPr>
        <p:txBody>
          <a:bodyPr anchor="t"/>
          <a:lstStyle>
            <a:lvl1pPr marL="0" algn="l">
              <a:lnSpc>
                <a:spcPct val="100000"/>
              </a:lnSpc>
              <a:defRPr sz="1400">
                <a:solidFill>
                  <a:schemeClr val="tx1"/>
                </a:solidFill>
              </a:defRPr>
            </a:lvl1pPr>
            <a:lvl2pPr marL="0">
              <a:lnSpc>
                <a:spcPct val="100000"/>
              </a:lnSpc>
              <a:defRPr sz="1400"/>
            </a:lvl2pPr>
            <a:lvl3pPr marL="0">
              <a:lnSpc>
                <a:spcPct val="100000"/>
              </a:lnSpc>
              <a:defRPr sz="1400"/>
            </a:lvl3pPr>
            <a:lvl4pPr marL="0">
              <a:lnSpc>
                <a:spcPct val="100000"/>
              </a:lnSpc>
              <a:defRPr sz="1400"/>
            </a:lvl4pPr>
            <a:lvl5pPr marL="0">
              <a:lnSpc>
                <a:spcPct val="100000"/>
              </a:lnSpc>
              <a:defRPr sz="1400"/>
            </a:lvl5pPr>
            <a:lvl6pPr marL="0">
              <a:lnSpc>
                <a:spcPct val="100000"/>
              </a:lnSpc>
              <a:defRPr sz="1400"/>
            </a:lvl6pPr>
            <a:lvl7pPr marL="0">
              <a:lnSpc>
                <a:spcPct val="100000"/>
              </a:lnSpc>
              <a:defRPr sz="1400"/>
            </a:lvl7pPr>
            <a:lvl8pPr marL="0">
              <a:lnSpc>
                <a:spcPct val="100000"/>
              </a:lnSpc>
              <a:defRPr sz="1400"/>
            </a:lvl8pPr>
            <a:lvl9pPr marL="0">
              <a:lnSpc>
                <a:spcPct val="100000"/>
              </a:lnSpc>
              <a:defRPr sz="1400"/>
            </a:lvl9pPr>
          </a:lstStyle>
          <a:p>
            <a:endParaRPr lang="en-US"/>
          </a:p>
        </p:txBody>
      </p:sp>
    </p:spTree>
    <p:extLst>
      <p:ext uri="{BB962C8B-B14F-4D97-AF65-F5344CB8AC3E}">
        <p14:creationId xmlns:p14="http://schemas.microsoft.com/office/powerpoint/2010/main" val="1719286437"/>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right | Pictur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91AE47F-1AB7-4157-9796-935829F0CF76}"/>
              </a:ext>
            </a:extLst>
          </p:cNvPr>
          <p:cNvGraphicFramePr>
            <a:graphicFrameLocks noChangeAspect="1"/>
          </p:cNvGraphicFramePr>
          <p:nvPr>
            <p:custDataLst>
              <p:tags r:id="rId2"/>
            </p:custDataLst>
            <p:extLst>
              <p:ext uri="{D42A27DB-BD31-4B8C-83A1-F6EECF244321}">
                <p14:modId xmlns:p14="http://schemas.microsoft.com/office/powerpoint/2010/main" val="3647997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4" imgW="359" imgH="358" progId="TCLayout.ActiveDocument.1">
                  <p:embed/>
                </p:oleObj>
              </mc:Choice>
              <mc:Fallback>
                <p:oleObj name="think-cell Slide" r:id="rId4" imgW="359" imgH="358" progId="TCLayout.ActiveDocument.1">
                  <p:embed/>
                  <p:pic>
                    <p:nvPicPr>
                      <p:cNvPr id="3" name="Objekt 2" hidden="1">
                        <a:extLst>
                          <a:ext uri="{FF2B5EF4-FFF2-40B4-BE49-F238E27FC236}">
                            <a16:creationId xmlns:a16="http://schemas.microsoft.com/office/drawing/2014/main" id="{291AE47F-1AB7-4157-9796-935829F0CF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icture Placeholder 3">
            <a:extLst>
              <a:ext uri="{FF2B5EF4-FFF2-40B4-BE49-F238E27FC236}">
                <a16:creationId xmlns:a16="http://schemas.microsoft.com/office/drawing/2014/main" id="{A43C8737-CA51-4148-81DC-F9C80508A1B3}"/>
              </a:ext>
            </a:extLst>
          </p:cNvPr>
          <p:cNvSpPr>
            <a:spLocks noGrp="1"/>
          </p:cNvSpPr>
          <p:nvPr>
            <p:ph type="pic" sz="quarter" idx="13" hasCustomPrompt="1"/>
          </p:nvPr>
        </p:nvSpPr>
        <p:spPr bwMode="gray">
          <a:xfrm>
            <a:off x="0" y="0"/>
            <a:ext cx="12192000" cy="6858000"/>
          </a:xfrm>
          <a:solidFill>
            <a:schemeClr val="bg2"/>
          </a:solidFill>
        </p:spPr>
        <p:txBody>
          <a:bodyPr lIns="3168000" tIns="0" rIns="1368000" anchor="ctr" anchorCtr="0"/>
          <a:lstStyle>
            <a:lvl1pPr algn="l">
              <a:defRPr sz="1200">
                <a:solidFill>
                  <a:schemeClr val="accent4"/>
                </a:solidFill>
              </a:defRPr>
            </a:lvl1pPr>
            <a:lvl2pPr marL="0" indent="0">
              <a:buFontTx/>
              <a:buNone/>
              <a:defRPr sz="1200"/>
            </a:lvl2pPr>
            <a:lvl3pPr marL="0" indent="0">
              <a:buFontTx/>
              <a:buNone/>
              <a:defRPr sz="1200"/>
            </a:lvl3pPr>
            <a:lvl4pPr marL="0" indent="0">
              <a:buFontTx/>
              <a:buNone/>
              <a:tabLst/>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GB" noProof="0"/>
              <a:t> </a:t>
            </a:r>
          </a:p>
        </p:txBody>
      </p:sp>
      <p:sp>
        <p:nvSpPr>
          <p:cNvPr id="11" name="Textplatzhalter 5">
            <a:extLst>
              <a:ext uri="{FF2B5EF4-FFF2-40B4-BE49-F238E27FC236}">
                <a16:creationId xmlns:a16="http://schemas.microsoft.com/office/drawing/2014/main" id="{F63CF737-36F6-441D-B92C-EC5D22B3B1A9}"/>
              </a:ext>
            </a:extLst>
          </p:cNvPr>
          <p:cNvSpPr>
            <a:spLocks noGrp="1"/>
          </p:cNvSpPr>
          <p:nvPr>
            <p:ph type="body" sz="quarter" idx="14" hasCustomPrompt="1"/>
          </p:nvPr>
        </p:nvSpPr>
        <p:spPr bwMode="gray">
          <a:xfrm>
            <a:off x="6108534" y="5787300"/>
            <a:ext cx="2127600" cy="342000"/>
          </a:xfrm>
          <a:prstGeom prst="rect">
            <a:avLst/>
          </a:prstGeom>
          <a:blipFill dpi="0" rotWithShape="1">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a:blipFill>
        </p:spPr>
        <p:txBody>
          <a:bodyPr/>
          <a:lstStyle>
            <a:lvl1pPr marL="0" indent="0">
              <a:buNone/>
              <a:defRPr sz="800">
                <a:solidFill>
                  <a:schemeClr val="bg1"/>
                </a:solidFill>
              </a:defRPr>
            </a:lvl1pPr>
          </a:lstStyle>
          <a:p>
            <a:pPr lvl="0"/>
            <a:r>
              <a:rPr lang="en-GB" noProof="0"/>
              <a:t> </a:t>
            </a:r>
          </a:p>
        </p:txBody>
      </p:sp>
      <p:sp>
        <p:nvSpPr>
          <p:cNvPr id="9" name="Titel 1">
            <a:extLst>
              <a:ext uri="{FF2B5EF4-FFF2-40B4-BE49-F238E27FC236}">
                <a16:creationId xmlns:a16="http://schemas.microsoft.com/office/drawing/2014/main" id="{FF39224A-A56A-43F5-BAFF-53A0170232C7}"/>
              </a:ext>
            </a:extLst>
          </p:cNvPr>
          <p:cNvSpPr>
            <a:spLocks noGrp="1"/>
          </p:cNvSpPr>
          <p:nvPr>
            <p:ph type="ctrTitle" hasCustomPrompt="1"/>
          </p:nvPr>
        </p:nvSpPr>
        <p:spPr bwMode="gray">
          <a:xfrm>
            <a:off x="6096000" y="1340768"/>
            <a:ext cx="5508625" cy="1512168"/>
          </a:xfrm>
        </p:spPr>
        <p:txBody>
          <a:bodyPr vert="horz" anchor="t" anchorCtr="0"/>
          <a:lstStyle>
            <a:lvl1pPr algn="l">
              <a:lnSpc>
                <a:spcPct val="100000"/>
              </a:lnSpc>
              <a:spcBef>
                <a:spcPts val="0"/>
              </a:spcBef>
              <a:defRPr sz="4300" b="1">
                <a:solidFill>
                  <a:schemeClr val="accent1"/>
                </a:solidFill>
              </a:defRPr>
            </a:lvl1pPr>
          </a:lstStyle>
          <a:p>
            <a:r>
              <a:rPr lang="en-GB" noProof="0"/>
              <a:t>Presentation </a:t>
            </a:r>
            <a:br>
              <a:rPr lang="en-GB" noProof="0"/>
            </a:br>
            <a:r>
              <a:rPr lang="en-GB" noProof="0"/>
              <a:t>Title</a:t>
            </a:r>
          </a:p>
        </p:txBody>
      </p:sp>
      <p:sp>
        <p:nvSpPr>
          <p:cNvPr id="10" name="Untertitel 2">
            <a:extLst>
              <a:ext uri="{FF2B5EF4-FFF2-40B4-BE49-F238E27FC236}">
                <a16:creationId xmlns:a16="http://schemas.microsoft.com/office/drawing/2014/main" id="{D115BE72-B330-4170-AF5B-0ABD75C4C44C}"/>
              </a:ext>
            </a:extLst>
          </p:cNvPr>
          <p:cNvSpPr>
            <a:spLocks noGrp="1"/>
          </p:cNvSpPr>
          <p:nvPr>
            <p:ph type="subTitle" idx="1" hasCustomPrompt="1"/>
          </p:nvPr>
        </p:nvSpPr>
        <p:spPr bwMode="gray">
          <a:xfrm>
            <a:off x="6096000" y="3098172"/>
            <a:ext cx="5508625" cy="720080"/>
          </a:xfrm>
        </p:spPr>
        <p:txBody>
          <a:bodyPr anchor="t" anchorCtr="0"/>
          <a:lstStyle>
            <a:lvl1pPr marL="0" indent="0" algn="l">
              <a:lnSpc>
                <a:spcPct val="100000"/>
              </a:lnSpc>
              <a:spcBef>
                <a:spcPts val="0"/>
              </a:spcBef>
              <a:spcAft>
                <a:spcPts val="0"/>
              </a:spcAft>
              <a:buNone/>
              <a:defRPr sz="2400">
                <a:solidFill>
                  <a:schemeClr val="tx1"/>
                </a:solidFill>
                <a:latin typeface="+mn-lt"/>
                <a:cs typeface="Abadi MT Condensed Extra Bold"/>
              </a:defRPr>
            </a:lvl1pPr>
            <a:lvl2pPr marL="0" indent="0" algn="l">
              <a:spcAft>
                <a:spcPts val="0"/>
              </a:spcAft>
              <a:buNone/>
              <a:defRPr sz="2400"/>
            </a:lvl2pPr>
            <a:lvl3pPr marL="0" indent="0" algn="l">
              <a:spcAft>
                <a:spcPts val="0"/>
              </a:spcAft>
              <a:buNone/>
              <a:defRPr sz="2400"/>
            </a:lvl3pPr>
            <a:lvl4pPr marL="0" indent="0" algn="l">
              <a:spcAft>
                <a:spcPts val="0"/>
              </a:spcAft>
              <a:buNone/>
              <a:defRPr sz="2400"/>
            </a:lvl4pPr>
            <a:lvl5pPr marL="0" indent="0" algn="l">
              <a:spcAft>
                <a:spcPts val="0"/>
              </a:spcAft>
              <a:buNone/>
              <a:defRPr sz="2400"/>
            </a:lvl5pPr>
            <a:lvl6pPr marL="0" indent="0" algn="l">
              <a:spcAft>
                <a:spcPts val="0"/>
              </a:spcAft>
              <a:buNone/>
              <a:defRPr sz="2400"/>
            </a:lvl6pPr>
            <a:lvl7pPr marL="0" indent="0" algn="l">
              <a:spcAft>
                <a:spcPts val="0"/>
              </a:spcAft>
              <a:buNone/>
              <a:defRPr sz="2400"/>
            </a:lvl7pPr>
            <a:lvl8pPr marL="0" indent="0" algn="l">
              <a:spcAft>
                <a:spcPts val="0"/>
              </a:spcAft>
              <a:buNone/>
              <a:defRPr sz="2400"/>
            </a:lvl8pPr>
            <a:lvl9pPr marL="0" indent="0" algn="l">
              <a:spcAft>
                <a:spcPts val="0"/>
              </a:spcAft>
              <a:buNone/>
              <a:defRPr sz="2400"/>
            </a:lvl9pPr>
          </a:lstStyle>
          <a:p>
            <a:r>
              <a:rPr lang="en-GB" noProof="0"/>
              <a:t>Subtitle</a:t>
            </a:r>
          </a:p>
        </p:txBody>
      </p:sp>
      <p:sp>
        <p:nvSpPr>
          <p:cNvPr id="12" name="Datumsplatzhalter 24">
            <a:extLst>
              <a:ext uri="{FF2B5EF4-FFF2-40B4-BE49-F238E27FC236}">
                <a16:creationId xmlns:a16="http://schemas.microsoft.com/office/drawing/2014/main" id="{AA24ACD6-0C7C-4440-8465-8DCFBE4F1464}"/>
              </a:ext>
            </a:extLst>
          </p:cNvPr>
          <p:cNvSpPr>
            <a:spLocks noGrp="1"/>
          </p:cNvSpPr>
          <p:nvPr>
            <p:ph type="dt" sz="half" idx="10"/>
          </p:nvPr>
        </p:nvSpPr>
        <p:spPr bwMode="gray">
          <a:xfrm>
            <a:off x="6108534" y="3919472"/>
            <a:ext cx="3529571" cy="625652"/>
          </a:xfrm>
        </p:spPr>
        <p:txBody>
          <a:bodyPr anchor="t"/>
          <a:lstStyle>
            <a:lvl1pPr marL="0" algn="l">
              <a:lnSpc>
                <a:spcPct val="100000"/>
              </a:lnSpc>
              <a:defRPr sz="1400">
                <a:solidFill>
                  <a:schemeClr val="tx1"/>
                </a:solidFill>
              </a:defRPr>
            </a:lvl1pPr>
            <a:lvl2pPr marL="0">
              <a:lnSpc>
                <a:spcPct val="100000"/>
              </a:lnSpc>
              <a:defRPr sz="1400"/>
            </a:lvl2pPr>
            <a:lvl3pPr marL="0">
              <a:lnSpc>
                <a:spcPct val="100000"/>
              </a:lnSpc>
              <a:defRPr sz="1400"/>
            </a:lvl3pPr>
            <a:lvl4pPr marL="0">
              <a:lnSpc>
                <a:spcPct val="100000"/>
              </a:lnSpc>
              <a:defRPr sz="1400"/>
            </a:lvl4pPr>
            <a:lvl5pPr marL="0">
              <a:lnSpc>
                <a:spcPct val="100000"/>
              </a:lnSpc>
              <a:defRPr sz="1400"/>
            </a:lvl5pPr>
            <a:lvl6pPr marL="0">
              <a:lnSpc>
                <a:spcPct val="100000"/>
              </a:lnSpc>
              <a:defRPr sz="1400"/>
            </a:lvl6pPr>
            <a:lvl7pPr marL="0">
              <a:lnSpc>
                <a:spcPct val="100000"/>
              </a:lnSpc>
              <a:defRPr sz="1400"/>
            </a:lvl7pPr>
            <a:lvl8pPr marL="0">
              <a:lnSpc>
                <a:spcPct val="100000"/>
              </a:lnSpc>
              <a:defRPr sz="1400"/>
            </a:lvl8pPr>
            <a:lvl9pPr marL="0">
              <a:lnSpc>
                <a:spcPct val="100000"/>
              </a:lnSpc>
              <a:defRPr sz="1400"/>
            </a:lvl9pPr>
          </a:lstStyle>
          <a:p>
            <a:endParaRPr lang="en-US"/>
          </a:p>
        </p:txBody>
      </p:sp>
    </p:spTree>
    <p:extLst>
      <p:ext uri="{BB962C8B-B14F-4D97-AF65-F5344CB8AC3E}">
        <p14:creationId xmlns:p14="http://schemas.microsoft.com/office/powerpoint/2010/main" val="3601406956"/>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Divider | Teal">
    <p:bg>
      <p:bgPr>
        <a:solidFill>
          <a:schemeClr val="accent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1D23C85-731B-4E5C-8084-B011A3177A15}"/>
              </a:ext>
            </a:extLst>
          </p:cNvPr>
          <p:cNvGraphicFramePr>
            <a:graphicFrameLocks noChangeAspect="1"/>
          </p:cNvGraphicFramePr>
          <p:nvPr>
            <p:custDataLst>
              <p:tags r:id="rId2"/>
            </p:custDataLst>
            <p:extLst>
              <p:ext uri="{D42A27DB-BD31-4B8C-83A1-F6EECF244321}">
                <p14:modId xmlns:p14="http://schemas.microsoft.com/office/powerpoint/2010/main" val="3776627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4" imgW="359" imgH="358" progId="TCLayout.ActiveDocument.1">
                  <p:embed/>
                </p:oleObj>
              </mc:Choice>
              <mc:Fallback>
                <p:oleObj name="think-cell Slide" r:id="rId4" imgW="359" imgH="358" progId="TCLayout.ActiveDocument.1">
                  <p:embed/>
                  <p:pic>
                    <p:nvPicPr>
                      <p:cNvPr id="3" name="Objekt 2" hidden="1">
                        <a:extLst>
                          <a:ext uri="{FF2B5EF4-FFF2-40B4-BE49-F238E27FC236}">
                            <a16:creationId xmlns:a16="http://schemas.microsoft.com/office/drawing/2014/main" id="{B1D23C85-731B-4E5C-8084-B011A3177A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CA7CC918-2B9B-4962-B282-A1B2E4A33588}"/>
              </a:ext>
            </a:extLst>
          </p:cNvPr>
          <p:cNvSpPr>
            <a:spLocks noGrp="1"/>
          </p:cNvSpPr>
          <p:nvPr>
            <p:ph type="dt" sz="half" idx="10"/>
          </p:nvPr>
        </p:nvSpPr>
        <p:spPr bwMode="gray">
          <a:xfrm>
            <a:off x="9221773" y="6381352"/>
            <a:ext cx="2382839" cy="216000"/>
          </a:xfrm>
        </p:spPr>
        <p:txBody>
          <a:bodyPr/>
          <a:lstStyle>
            <a:lvl1pPr>
              <a:defRPr>
                <a:solidFill>
                  <a:schemeClr val="tx1"/>
                </a:solidFill>
              </a:defRPr>
            </a:lvl1pPr>
          </a:lstStyle>
          <a:p>
            <a:endParaRPr lang="en-US"/>
          </a:p>
        </p:txBody>
      </p:sp>
      <p:sp>
        <p:nvSpPr>
          <p:cNvPr id="5" name="Fußzeilenplatzhalter 4">
            <a:extLst>
              <a:ext uri="{FF2B5EF4-FFF2-40B4-BE49-F238E27FC236}">
                <a16:creationId xmlns:a16="http://schemas.microsoft.com/office/drawing/2014/main" id="{C30876D4-6CA0-4B4D-9189-1A1F7EB04354}"/>
              </a:ext>
            </a:extLst>
          </p:cNvPr>
          <p:cNvSpPr>
            <a:spLocks noGrp="1"/>
          </p:cNvSpPr>
          <p:nvPr>
            <p:ph type="ftr" sz="quarter" idx="11"/>
          </p:nvPr>
        </p:nvSpPr>
        <p:spPr bwMode="gray">
          <a:xfrm>
            <a:off x="587388" y="6381352"/>
            <a:ext cx="1928413" cy="138499"/>
          </a:xfrm>
        </p:spPr>
        <p:txBody>
          <a:bodyPr/>
          <a:lstStyle>
            <a:lvl1pPr>
              <a:defRPr>
                <a:solidFill>
                  <a:schemeClr val="tx1"/>
                </a:solidFill>
              </a:defRPr>
            </a:lvl1pPr>
          </a:lstStyle>
          <a:p>
            <a:endParaRPr lang="en-US"/>
          </a:p>
        </p:txBody>
      </p:sp>
      <p:sp>
        <p:nvSpPr>
          <p:cNvPr id="6" name="Foliennummernplatzhalter 5">
            <a:extLst>
              <a:ext uri="{FF2B5EF4-FFF2-40B4-BE49-F238E27FC236}">
                <a16:creationId xmlns:a16="http://schemas.microsoft.com/office/drawing/2014/main" id="{5FF790DC-3392-42D2-A3F7-B3176518987D}"/>
              </a:ext>
            </a:extLst>
          </p:cNvPr>
          <p:cNvSpPr>
            <a:spLocks noGrp="1"/>
          </p:cNvSpPr>
          <p:nvPr>
            <p:ph type="sldNum" sz="quarter" idx="12"/>
          </p:nvPr>
        </p:nvSpPr>
        <p:spPr bwMode="gray"/>
        <p:txBody>
          <a:bodyPr/>
          <a:lstStyle>
            <a:lvl1pPr>
              <a:defRPr>
                <a:solidFill>
                  <a:schemeClr val="tx1"/>
                </a:solidFill>
              </a:defRPr>
            </a:lvl1pPr>
          </a:lstStyle>
          <a:p>
            <a:fld id="{BFCA3128-5B09-47E5-B47D-6F0CB7A5DE9F}" type="slidenum">
              <a:rPr lang="en-US"/>
              <a:t>‹#›</a:t>
            </a:fld>
            <a:endParaRPr lang="en-US"/>
          </a:p>
        </p:txBody>
      </p:sp>
      <p:sp>
        <p:nvSpPr>
          <p:cNvPr id="7" name="Titel 1">
            <a:extLst>
              <a:ext uri="{FF2B5EF4-FFF2-40B4-BE49-F238E27FC236}">
                <a16:creationId xmlns:a16="http://schemas.microsoft.com/office/drawing/2014/main" id="{A1C149DD-8B9F-499F-9F9D-D3C010AB0753}"/>
              </a:ext>
            </a:extLst>
          </p:cNvPr>
          <p:cNvSpPr>
            <a:spLocks noGrp="1"/>
          </p:cNvSpPr>
          <p:nvPr>
            <p:ph type="title" hasCustomPrompt="1"/>
          </p:nvPr>
        </p:nvSpPr>
        <p:spPr bwMode="gray">
          <a:xfrm>
            <a:off x="587388" y="1917008"/>
            <a:ext cx="7776430" cy="1584000"/>
          </a:xfrm>
        </p:spPr>
        <p:txBody>
          <a:bodyPr vert="horz"/>
          <a:lstStyle>
            <a:lvl1pPr>
              <a:lnSpc>
                <a:spcPct val="100000"/>
              </a:lnSpc>
              <a:defRPr sz="3800" b="1">
                <a:solidFill>
                  <a:schemeClr val="tx1"/>
                </a:solidFill>
              </a:defRPr>
            </a:lvl1pPr>
          </a:lstStyle>
          <a:p>
            <a:r>
              <a:rPr lang="en-GB" noProof="0"/>
              <a:t>1 Click to edit Master title style</a:t>
            </a:r>
          </a:p>
        </p:txBody>
      </p:sp>
    </p:spTree>
    <p:extLst>
      <p:ext uri="{BB962C8B-B14F-4D97-AF65-F5344CB8AC3E}">
        <p14:creationId xmlns:p14="http://schemas.microsoft.com/office/powerpoint/2010/main" val="144673065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Divider | Blue">
    <p:bg>
      <p:bgPr>
        <a:solidFill>
          <a:schemeClr val="accent4"/>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1D23C85-731B-4E5C-8084-B011A3177A15}"/>
              </a:ext>
            </a:extLst>
          </p:cNvPr>
          <p:cNvGraphicFramePr>
            <a:graphicFrameLocks noChangeAspect="1"/>
          </p:cNvGraphicFramePr>
          <p:nvPr>
            <p:custDataLst>
              <p:tags r:id="rId2"/>
            </p:custDataLst>
            <p:extLst>
              <p:ext uri="{D42A27DB-BD31-4B8C-83A1-F6EECF244321}">
                <p14:modId xmlns:p14="http://schemas.microsoft.com/office/powerpoint/2010/main" val="1369835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4" imgW="359" imgH="358" progId="TCLayout.ActiveDocument.1">
                  <p:embed/>
                </p:oleObj>
              </mc:Choice>
              <mc:Fallback>
                <p:oleObj name="think-cell Slide" r:id="rId4" imgW="359" imgH="358" progId="TCLayout.ActiveDocument.1">
                  <p:embed/>
                  <p:pic>
                    <p:nvPicPr>
                      <p:cNvPr id="3" name="Objekt 2" hidden="1">
                        <a:extLst>
                          <a:ext uri="{FF2B5EF4-FFF2-40B4-BE49-F238E27FC236}">
                            <a16:creationId xmlns:a16="http://schemas.microsoft.com/office/drawing/2014/main" id="{B1D23C85-731B-4E5C-8084-B011A3177A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CA7CC918-2B9B-4962-B282-A1B2E4A33588}"/>
              </a:ext>
            </a:extLst>
          </p:cNvPr>
          <p:cNvSpPr>
            <a:spLocks noGrp="1"/>
          </p:cNvSpPr>
          <p:nvPr>
            <p:ph type="dt" sz="half" idx="10"/>
          </p:nvPr>
        </p:nvSpPr>
        <p:spPr bwMode="gray">
          <a:xfrm>
            <a:off x="9221773" y="6381352"/>
            <a:ext cx="2382839" cy="216000"/>
          </a:xfrm>
        </p:spPr>
        <p:txBody>
          <a:bodyPr/>
          <a:lstStyle>
            <a:lvl1pPr>
              <a:defRPr>
                <a:solidFill>
                  <a:schemeClr val="tx1"/>
                </a:solidFill>
              </a:defRPr>
            </a:lvl1pPr>
          </a:lstStyle>
          <a:p>
            <a:endParaRPr lang="en-US"/>
          </a:p>
        </p:txBody>
      </p:sp>
      <p:sp>
        <p:nvSpPr>
          <p:cNvPr id="5" name="Fußzeilenplatzhalter 4">
            <a:extLst>
              <a:ext uri="{FF2B5EF4-FFF2-40B4-BE49-F238E27FC236}">
                <a16:creationId xmlns:a16="http://schemas.microsoft.com/office/drawing/2014/main" id="{C30876D4-6CA0-4B4D-9189-1A1F7EB04354}"/>
              </a:ext>
            </a:extLst>
          </p:cNvPr>
          <p:cNvSpPr>
            <a:spLocks noGrp="1"/>
          </p:cNvSpPr>
          <p:nvPr>
            <p:ph type="ftr" sz="quarter" idx="11"/>
          </p:nvPr>
        </p:nvSpPr>
        <p:spPr bwMode="gray">
          <a:xfrm>
            <a:off x="587388" y="6381352"/>
            <a:ext cx="1928413" cy="138499"/>
          </a:xfrm>
        </p:spPr>
        <p:txBody>
          <a:bodyPr/>
          <a:lstStyle>
            <a:lvl1pPr>
              <a:defRPr>
                <a:solidFill>
                  <a:schemeClr val="tx1"/>
                </a:solidFill>
              </a:defRPr>
            </a:lvl1pPr>
          </a:lstStyle>
          <a:p>
            <a:endParaRPr lang="en-US"/>
          </a:p>
        </p:txBody>
      </p:sp>
      <p:sp>
        <p:nvSpPr>
          <p:cNvPr id="6" name="Foliennummernplatzhalter 5">
            <a:extLst>
              <a:ext uri="{FF2B5EF4-FFF2-40B4-BE49-F238E27FC236}">
                <a16:creationId xmlns:a16="http://schemas.microsoft.com/office/drawing/2014/main" id="{5FF790DC-3392-42D2-A3F7-B3176518987D}"/>
              </a:ext>
            </a:extLst>
          </p:cNvPr>
          <p:cNvSpPr>
            <a:spLocks noGrp="1"/>
          </p:cNvSpPr>
          <p:nvPr>
            <p:ph type="sldNum" sz="quarter" idx="12"/>
          </p:nvPr>
        </p:nvSpPr>
        <p:spPr bwMode="gray"/>
        <p:txBody>
          <a:bodyPr/>
          <a:lstStyle>
            <a:lvl1pPr>
              <a:defRPr>
                <a:solidFill>
                  <a:schemeClr val="tx1"/>
                </a:solidFill>
              </a:defRPr>
            </a:lvl1pPr>
          </a:lstStyle>
          <a:p>
            <a:fld id="{BFCA3128-5B09-47E5-B47D-6F0CB7A5DE9F}" type="slidenum">
              <a:rPr lang="en-US"/>
              <a:t>‹#›</a:t>
            </a:fld>
            <a:endParaRPr lang="en-US"/>
          </a:p>
        </p:txBody>
      </p:sp>
      <p:sp>
        <p:nvSpPr>
          <p:cNvPr id="7" name="Titel 1">
            <a:extLst>
              <a:ext uri="{FF2B5EF4-FFF2-40B4-BE49-F238E27FC236}">
                <a16:creationId xmlns:a16="http://schemas.microsoft.com/office/drawing/2014/main" id="{A1C149DD-8B9F-499F-9F9D-D3C010AB0753}"/>
              </a:ext>
            </a:extLst>
          </p:cNvPr>
          <p:cNvSpPr>
            <a:spLocks noGrp="1"/>
          </p:cNvSpPr>
          <p:nvPr>
            <p:ph type="title" hasCustomPrompt="1"/>
          </p:nvPr>
        </p:nvSpPr>
        <p:spPr bwMode="gray">
          <a:xfrm>
            <a:off x="587388" y="1916832"/>
            <a:ext cx="7776430" cy="1584000"/>
          </a:xfrm>
        </p:spPr>
        <p:txBody>
          <a:bodyPr vert="horz"/>
          <a:lstStyle>
            <a:lvl1pPr>
              <a:lnSpc>
                <a:spcPct val="100000"/>
              </a:lnSpc>
              <a:defRPr sz="3800" b="1">
                <a:solidFill>
                  <a:schemeClr val="tx1"/>
                </a:solidFill>
              </a:defRPr>
            </a:lvl1pPr>
          </a:lstStyle>
          <a:p>
            <a:r>
              <a:rPr lang="en-GB" noProof="0"/>
              <a:t>1 Click to edit Master title style</a:t>
            </a:r>
          </a:p>
        </p:txBody>
      </p:sp>
    </p:spTree>
    <p:extLst>
      <p:ext uri="{BB962C8B-B14F-4D97-AF65-F5344CB8AC3E}">
        <p14:creationId xmlns:p14="http://schemas.microsoft.com/office/powerpoint/2010/main" val="309791842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ivider | Violette">
    <p:bg>
      <p:bgPr>
        <a:solidFill>
          <a:srgbClr val="5F3799"/>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1D23C85-731B-4E5C-8084-B011A3177A15}"/>
              </a:ext>
            </a:extLst>
          </p:cNvPr>
          <p:cNvGraphicFramePr>
            <a:graphicFrameLocks noChangeAspect="1"/>
          </p:cNvGraphicFramePr>
          <p:nvPr>
            <p:custDataLst>
              <p:tags r:id="rId2"/>
            </p:custDataLst>
            <p:extLst>
              <p:ext uri="{D42A27DB-BD31-4B8C-83A1-F6EECF244321}">
                <p14:modId xmlns:p14="http://schemas.microsoft.com/office/powerpoint/2010/main" val="2010752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4" imgW="359" imgH="358" progId="TCLayout.ActiveDocument.1">
                  <p:embed/>
                </p:oleObj>
              </mc:Choice>
              <mc:Fallback>
                <p:oleObj name="think-cell Slide" r:id="rId4" imgW="359" imgH="358" progId="TCLayout.ActiveDocument.1">
                  <p:embed/>
                  <p:pic>
                    <p:nvPicPr>
                      <p:cNvPr id="3" name="Objekt 2" hidden="1">
                        <a:extLst>
                          <a:ext uri="{FF2B5EF4-FFF2-40B4-BE49-F238E27FC236}">
                            <a16:creationId xmlns:a16="http://schemas.microsoft.com/office/drawing/2014/main" id="{B1D23C85-731B-4E5C-8084-B011A3177A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CA7CC918-2B9B-4962-B282-A1B2E4A33588}"/>
              </a:ext>
            </a:extLst>
          </p:cNvPr>
          <p:cNvSpPr>
            <a:spLocks noGrp="1"/>
          </p:cNvSpPr>
          <p:nvPr>
            <p:ph type="dt" sz="half" idx="10"/>
          </p:nvPr>
        </p:nvSpPr>
        <p:spPr bwMode="gray">
          <a:xfrm>
            <a:off x="9221773" y="6381352"/>
            <a:ext cx="2382839" cy="216000"/>
          </a:xfrm>
        </p:spPr>
        <p:txBody>
          <a:bodyPr/>
          <a:lstStyle>
            <a:lvl1pPr>
              <a:defRPr>
                <a:solidFill>
                  <a:schemeClr val="tx1"/>
                </a:solidFill>
              </a:defRPr>
            </a:lvl1pPr>
          </a:lstStyle>
          <a:p>
            <a:endParaRPr lang="en-US"/>
          </a:p>
        </p:txBody>
      </p:sp>
      <p:sp>
        <p:nvSpPr>
          <p:cNvPr id="5" name="Fußzeilenplatzhalter 4">
            <a:extLst>
              <a:ext uri="{FF2B5EF4-FFF2-40B4-BE49-F238E27FC236}">
                <a16:creationId xmlns:a16="http://schemas.microsoft.com/office/drawing/2014/main" id="{C30876D4-6CA0-4B4D-9189-1A1F7EB04354}"/>
              </a:ext>
            </a:extLst>
          </p:cNvPr>
          <p:cNvSpPr>
            <a:spLocks noGrp="1"/>
          </p:cNvSpPr>
          <p:nvPr>
            <p:ph type="ftr" sz="quarter" idx="11"/>
          </p:nvPr>
        </p:nvSpPr>
        <p:spPr bwMode="gray">
          <a:xfrm>
            <a:off x="587388" y="6381352"/>
            <a:ext cx="1928413" cy="138499"/>
          </a:xfrm>
        </p:spPr>
        <p:txBody>
          <a:bodyPr/>
          <a:lstStyle>
            <a:lvl1pPr>
              <a:defRPr>
                <a:solidFill>
                  <a:schemeClr val="tx1"/>
                </a:solidFill>
              </a:defRPr>
            </a:lvl1pPr>
          </a:lstStyle>
          <a:p>
            <a:endParaRPr lang="en-US"/>
          </a:p>
        </p:txBody>
      </p:sp>
      <p:sp>
        <p:nvSpPr>
          <p:cNvPr id="6" name="Foliennummernplatzhalter 5">
            <a:extLst>
              <a:ext uri="{FF2B5EF4-FFF2-40B4-BE49-F238E27FC236}">
                <a16:creationId xmlns:a16="http://schemas.microsoft.com/office/drawing/2014/main" id="{5FF790DC-3392-42D2-A3F7-B3176518987D}"/>
              </a:ext>
            </a:extLst>
          </p:cNvPr>
          <p:cNvSpPr>
            <a:spLocks noGrp="1"/>
          </p:cNvSpPr>
          <p:nvPr>
            <p:ph type="sldNum" sz="quarter" idx="12"/>
          </p:nvPr>
        </p:nvSpPr>
        <p:spPr bwMode="gray"/>
        <p:txBody>
          <a:bodyPr/>
          <a:lstStyle>
            <a:lvl1pPr>
              <a:defRPr>
                <a:solidFill>
                  <a:schemeClr val="tx1"/>
                </a:solidFill>
              </a:defRPr>
            </a:lvl1pPr>
          </a:lstStyle>
          <a:p>
            <a:fld id="{BFCA3128-5B09-47E5-B47D-6F0CB7A5DE9F}" type="slidenum">
              <a:rPr lang="en-US"/>
              <a:t>‹#›</a:t>
            </a:fld>
            <a:endParaRPr lang="en-US"/>
          </a:p>
        </p:txBody>
      </p:sp>
      <p:sp>
        <p:nvSpPr>
          <p:cNvPr id="7" name="Titel 1">
            <a:extLst>
              <a:ext uri="{FF2B5EF4-FFF2-40B4-BE49-F238E27FC236}">
                <a16:creationId xmlns:a16="http://schemas.microsoft.com/office/drawing/2014/main" id="{A1C149DD-8B9F-499F-9F9D-D3C010AB0753}"/>
              </a:ext>
            </a:extLst>
          </p:cNvPr>
          <p:cNvSpPr>
            <a:spLocks noGrp="1"/>
          </p:cNvSpPr>
          <p:nvPr>
            <p:ph type="title" hasCustomPrompt="1"/>
          </p:nvPr>
        </p:nvSpPr>
        <p:spPr bwMode="gray">
          <a:xfrm>
            <a:off x="587388" y="1916832"/>
            <a:ext cx="7776430" cy="1584000"/>
          </a:xfrm>
        </p:spPr>
        <p:txBody>
          <a:bodyPr vert="horz"/>
          <a:lstStyle>
            <a:lvl1pPr>
              <a:lnSpc>
                <a:spcPct val="100000"/>
              </a:lnSpc>
              <a:defRPr sz="3800" b="1">
                <a:solidFill>
                  <a:schemeClr val="tx1"/>
                </a:solidFill>
              </a:defRPr>
            </a:lvl1pPr>
          </a:lstStyle>
          <a:p>
            <a:r>
              <a:rPr lang="en-GB" noProof="0"/>
              <a:t>1 Click to edit Master title style</a:t>
            </a:r>
          </a:p>
        </p:txBody>
      </p:sp>
    </p:spTree>
    <p:extLst>
      <p:ext uri="{BB962C8B-B14F-4D97-AF65-F5344CB8AC3E}">
        <p14:creationId xmlns:p14="http://schemas.microsoft.com/office/powerpoint/2010/main" val="94363166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Divider | Green">
    <p:bg>
      <p:bgPr>
        <a:solidFill>
          <a:schemeClr val="accent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1D23C85-731B-4E5C-8084-B011A3177A15}"/>
              </a:ext>
            </a:extLst>
          </p:cNvPr>
          <p:cNvGraphicFramePr>
            <a:graphicFrameLocks noChangeAspect="1"/>
          </p:cNvGraphicFramePr>
          <p:nvPr>
            <p:custDataLst>
              <p:tags r:id="rId2"/>
            </p:custDataLst>
            <p:extLst>
              <p:ext uri="{D42A27DB-BD31-4B8C-83A1-F6EECF244321}">
                <p14:modId xmlns:p14="http://schemas.microsoft.com/office/powerpoint/2010/main" val="353852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4" imgW="359" imgH="358" progId="TCLayout.ActiveDocument.1">
                  <p:embed/>
                </p:oleObj>
              </mc:Choice>
              <mc:Fallback>
                <p:oleObj name="think-cell Slide" r:id="rId4" imgW="359" imgH="358" progId="TCLayout.ActiveDocument.1">
                  <p:embed/>
                  <p:pic>
                    <p:nvPicPr>
                      <p:cNvPr id="3" name="Objekt 2" hidden="1">
                        <a:extLst>
                          <a:ext uri="{FF2B5EF4-FFF2-40B4-BE49-F238E27FC236}">
                            <a16:creationId xmlns:a16="http://schemas.microsoft.com/office/drawing/2014/main" id="{B1D23C85-731B-4E5C-8084-B011A3177A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CA7CC918-2B9B-4962-B282-A1B2E4A33588}"/>
              </a:ext>
            </a:extLst>
          </p:cNvPr>
          <p:cNvSpPr>
            <a:spLocks noGrp="1"/>
          </p:cNvSpPr>
          <p:nvPr>
            <p:ph type="dt" sz="half" idx="10"/>
          </p:nvPr>
        </p:nvSpPr>
        <p:spPr bwMode="gray">
          <a:xfrm>
            <a:off x="9221773" y="6381352"/>
            <a:ext cx="2382839" cy="216000"/>
          </a:xfrm>
        </p:spPr>
        <p:txBody>
          <a:bodyPr/>
          <a:lstStyle>
            <a:lvl1pPr>
              <a:defRPr>
                <a:solidFill>
                  <a:schemeClr val="tx1"/>
                </a:solidFill>
              </a:defRPr>
            </a:lvl1pPr>
          </a:lstStyle>
          <a:p>
            <a:endParaRPr lang="en-US"/>
          </a:p>
        </p:txBody>
      </p:sp>
      <p:sp>
        <p:nvSpPr>
          <p:cNvPr id="5" name="Fußzeilenplatzhalter 4">
            <a:extLst>
              <a:ext uri="{FF2B5EF4-FFF2-40B4-BE49-F238E27FC236}">
                <a16:creationId xmlns:a16="http://schemas.microsoft.com/office/drawing/2014/main" id="{C30876D4-6CA0-4B4D-9189-1A1F7EB04354}"/>
              </a:ext>
            </a:extLst>
          </p:cNvPr>
          <p:cNvSpPr>
            <a:spLocks noGrp="1"/>
          </p:cNvSpPr>
          <p:nvPr>
            <p:ph type="ftr" sz="quarter" idx="11"/>
          </p:nvPr>
        </p:nvSpPr>
        <p:spPr bwMode="gray">
          <a:xfrm>
            <a:off x="587388" y="6381352"/>
            <a:ext cx="1928413" cy="138499"/>
          </a:xfrm>
        </p:spPr>
        <p:txBody>
          <a:bodyPr/>
          <a:lstStyle>
            <a:lvl1pPr>
              <a:defRPr>
                <a:solidFill>
                  <a:schemeClr val="tx1"/>
                </a:solidFill>
              </a:defRPr>
            </a:lvl1pPr>
          </a:lstStyle>
          <a:p>
            <a:endParaRPr lang="en-US"/>
          </a:p>
        </p:txBody>
      </p:sp>
      <p:sp>
        <p:nvSpPr>
          <p:cNvPr id="6" name="Foliennummernplatzhalter 5">
            <a:extLst>
              <a:ext uri="{FF2B5EF4-FFF2-40B4-BE49-F238E27FC236}">
                <a16:creationId xmlns:a16="http://schemas.microsoft.com/office/drawing/2014/main" id="{5FF790DC-3392-42D2-A3F7-B3176518987D}"/>
              </a:ext>
            </a:extLst>
          </p:cNvPr>
          <p:cNvSpPr>
            <a:spLocks noGrp="1"/>
          </p:cNvSpPr>
          <p:nvPr>
            <p:ph type="sldNum" sz="quarter" idx="12"/>
          </p:nvPr>
        </p:nvSpPr>
        <p:spPr bwMode="gray"/>
        <p:txBody>
          <a:bodyPr/>
          <a:lstStyle>
            <a:lvl1pPr>
              <a:defRPr>
                <a:solidFill>
                  <a:schemeClr val="tx1"/>
                </a:solidFill>
              </a:defRPr>
            </a:lvl1pPr>
          </a:lstStyle>
          <a:p>
            <a:fld id="{BFCA3128-5B09-47E5-B47D-6F0CB7A5DE9F}" type="slidenum">
              <a:rPr lang="en-US"/>
              <a:t>‹#›</a:t>
            </a:fld>
            <a:endParaRPr lang="en-US"/>
          </a:p>
        </p:txBody>
      </p:sp>
      <p:sp>
        <p:nvSpPr>
          <p:cNvPr id="7" name="Titel 1">
            <a:extLst>
              <a:ext uri="{FF2B5EF4-FFF2-40B4-BE49-F238E27FC236}">
                <a16:creationId xmlns:a16="http://schemas.microsoft.com/office/drawing/2014/main" id="{A1C149DD-8B9F-499F-9F9D-D3C010AB0753}"/>
              </a:ext>
            </a:extLst>
          </p:cNvPr>
          <p:cNvSpPr>
            <a:spLocks noGrp="1"/>
          </p:cNvSpPr>
          <p:nvPr>
            <p:ph type="title" hasCustomPrompt="1"/>
          </p:nvPr>
        </p:nvSpPr>
        <p:spPr bwMode="gray">
          <a:xfrm>
            <a:off x="587388" y="1916832"/>
            <a:ext cx="7776430" cy="1584000"/>
          </a:xfrm>
        </p:spPr>
        <p:txBody>
          <a:bodyPr vert="horz"/>
          <a:lstStyle>
            <a:lvl1pPr>
              <a:lnSpc>
                <a:spcPct val="100000"/>
              </a:lnSpc>
              <a:defRPr sz="3800" b="1">
                <a:solidFill>
                  <a:schemeClr val="tx1"/>
                </a:solidFill>
              </a:defRPr>
            </a:lvl1pPr>
          </a:lstStyle>
          <a:p>
            <a:r>
              <a:rPr lang="en-GB" noProof="0"/>
              <a:t>1 Click to edit Master title style</a:t>
            </a:r>
          </a:p>
        </p:txBody>
      </p:sp>
    </p:spTree>
    <p:extLst>
      <p:ext uri="{BB962C8B-B14F-4D97-AF65-F5344CB8AC3E}">
        <p14:creationId xmlns:p14="http://schemas.microsoft.com/office/powerpoint/2010/main" val="313971366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DD5459-070F-4070-B0B6-2D994C63F624}"/>
              </a:ext>
            </a:extLst>
          </p:cNvPr>
          <p:cNvSpPr>
            <a:spLocks noGrp="1"/>
          </p:cNvSpPr>
          <p:nvPr>
            <p:ph type="title"/>
          </p:nvPr>
        </p:nvSpPr>
        <p:spPr>
          <a:xfrm>
            <a:off x="600269" y="1397091"/>
            <a:ext cx="10515600" cy="1325563"/>
          </a:xfrm>
        </p:spPr>
        <p:txBody>
          <a:bodyPr/>
          <a:lstStyle/>
          <a:p>
            <a:r>
              <a:rPr lang="en-US" dirty="0"/>
              <a:t>Click to edit Master title style</a:t>
            </a:r>
            <a:endParaRPr lang="bg-BG" dirty="0"/>
          </a:p>
        </p:txBody>
      </p:sp>
      <p:sp>
        <p:nvSpPr>
          <p:cNvPr id="3" name="Content Placeholder 2">
            <a:extLst>
              <a:ext uri="{FF2B5EF4-FFF2-40B4-BE49-F238E27FC236}">
                <a16:creationId xmlns:a16="http://schemas.microsoft.com/office/drawing/2014/main" id="{4D4CCA39-BA20-49A4-AD31-C6C88FC0B576}"/>
              </a:ext>
            </a:extLst>
          </p:cNvPr>
          <p:cNvSpPr>
            <a:spLocks noGrp="1"/>
          </p:cNvSpPr>
          <p:nvPr>
            <p:ph idx="1"/>
          </p:nvPr>
        </p:nvSpPr>
        <p:spPr>
          <a:xfrm>
            <a:off x="600269" y="2857591"/>
            <a:ext cx="10515600" cy="243286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bg-BG" dirty="0"/>
          </a:p>
        </p:txBody>
      </p:sp>
      <p:sp>
        <p:nvSpPr>
          <p:cNvPr id="4" name="Date Placeholder 3">
            <a:extLst>
              <a:ext uri="{FF2B5EF4-FFF2-40B4-BE49-F238E27FC236}">
                <a16:creationId xmlns:a16="http://schemas.microsoft.com/office/drawing/2014/main" id="{60EADFBF-9A55-4502-AB1D-066F0920447F}"/>
              </a:ext>
            </a:extLst>
          </p:cNvPr>
          <p:cNvSpPr>
            <a:spLocks noGrp="1"/>
          </p:cNvSpPr>
          <p:nvPr>
            <p:ph type="dt" sz="half" idx="10"/>
          </p:nvPr>
        </p:nvSpPr>
        <p:spPr>
          <a:xfrm>
            <a:off x="600269" y="6012087"/>
            <a:ext cx="2743200" cy="365125"/>
          </a:xfrm>
        </p:spPr>
        <p:txBody>
          <a:bodyPr/>
          <a:lstStyle/>
          <a:p>
            <a:fld id="{4742D07F-AA84-406A-9332-1464FA876A41}" type="datetimeFigureOut">
              <a:rPr lang="bg-BG" smtClean="0"/>
              <a:t>10.04.24 г.</a:t>
            </a:fld>
            <a:endParaRPr lang="bg-BG"/>
          </a:p>
        </p:txBody>
      </p:sp>
      <p:sp>
        <p:nvSpPr>
          <p:cNvPr id="5" name="Footer Placeholder 4">
            <a:extLst>
              <a:ext uri="{FF2B5EF4-FFF2-40B4-BE49-F238E27FC236}">
                <a16:creationId xmlns:a16="http://schemas.microsoft.com/office/drawing/2014/main" id="{E7E9930E-BBF7-44A6-B84B-6791E60EE181}"/>
              </a:ext>
            </a:extLst>
          </p:cNvPr>
          <p:cNvSpPr>
            <a:spLocks noGrp="1"/>
          </p:cNvSpPr>
          <p:nvPr>
            <p:ph type="ftr" sz="quarter" idx="11"/>
          </p:nvPr>
        </p:nvSpPr>
        <p:spPr>
          <a:xfrm>
            <a:off x="4038600" y="6012088"/>
            <a:ext cx="4114800" cy="365125"/>
          </a:xfrm>
        </p:spPr>
        <p:txBody>
          <a:bodyPr/>
          <a:lstStyle/>
          <a:p>
            <a:endParaRPr lang="bg-BG"/>
          </a:p>
        </p:txBody>
      </p:sp>
      <p:sp>
        <p:nvSpPr>
          <p:cNvPr id="6" name="Slide Number Placeholder 5">
            <a:extLst>
              <a:ext uri="{FF2B5EF4-FFF2-40B4-BE49-F238E27FC236}">
                <a16:creationId xmlns:a16="http://schemas.microsoft.com/office/drawing/2014/main" id="{03619240-7B0A-4B89-95DF-B0D01BBC88AD}"/>
              </a:ext>
            </a:extLst>
          </p:cNvPr>
          <p:cNvSpPr>
            <a:spLocks noGrp="1"/>
          </p:cNvSpPr>
          <p:nvPr>
            <p:ph type="sldNum" sz="quarter" idx="12"/>
          </p:nvPr>
        </p:nvSpPr>
        <p:spPr>
          <a:xfrm>
            <a:off x="8848531" y="6012089"/>
            <a:ext cx="2743200" cy="365125"/>
          </a:xfrm>
        </p:spPr>
        <p:txBody>
          <a:bodyPr/>
          <a:lstStyle/>
          <a:p>
            <a:fld id="{1ECF27F8-A54A-4E9B-946E-1DA717B6015E}" type="slidenum">
              <a:rPr lang="bg-BG" smtClean="0"/>
              <a:t>‹#›</a:t>
            </a:fld>
            <a:endParaRPr lang="bg-BG"/>
          </a:p>
        </p:txBody>
      </p:sp>
      <p:grpSp>
        <p:nvGrpSpPr>
          <p:cNvPr id="10" name="Graphic 7">
            <a:extLst>
              <a:ext uri="{FF2B5EF4-FFF2-40B4-BE49-F238E27FC236}">
                <a16:creationId xmlns:a16="http://schemas.microsoft.com/office/drawing/2014/main" id="{0F009127-0650-FE47-AB99-BD53D417B745}"/>
              </a:ext>
            </a:extLst>
          </p:cNvPr>
          <p:cNvGrpSpPr/>
          <p:nvPr/>
        </p:nvGrpSpPr>
        <p:grpSpPr>
          <a:xfrm>
            <a:off x="353506" y="249365"/>
            <a:ext cx="2223613" cy="332079"/>
            <a:chOff x="1971869" y="-1936820"/>
            <a:chExt cx="11281025" cy="1684734"/>
          </a:xfrm>
          <a:solidFill>
            <a:schemeClr val="accent1"/>
          </a:solidFill>
        </p:grpSpPr>
        <p:sp>
          <p:nvSpPr>
            <p:cNvPr id="11" name="Freeform 10">
              <a:extLst>
                <a:ext uri="{FF2B5EF4-FFF2-40B4-BE49-F238E27FC236}">
                  <a16:creationId xmlns:a16="http://schemas.microsoft.com/office/drawing/2014/main" id="{BA5B32E8-20A7-524F-84E2-E5B889048CE6}"/>
                </a:ext>
              </a:extLst>
            </p:cNvPr>
            <p:cNvSpPr/>
            <p:nvPr/>
          </p:nvSpPr>
          <p:spPr>
            <a:xfrm>
              <a:off x="1971869" y="-1913287"/>
              <a:ext cx="293312" cy="1637952"/>
            </a:xfrm>
            <a:custGeom>
              <a:avLst/>
              <a:gdLst>
                <a:gd name="connsiteX0" fmla="*/ 0 w 293312"/>
                <a:gd name="connsiteY0" fmla="*/ 1637858 h 1637952"/>
                <a:gd name="connsiteX1" fmla="*/ 0 w 293312"/>
                <a:gd name="connsiteY1" fmla="*/ 0 h 1637952"/>
                <a:gd name="connsiteX2" fmla="*/ 293313 w 293312"/>
                <a:gd name="connsiteY2" fmla="*/ 0 h 1637952"/>
                <a:gd name="connsiteX3" fmla="*/ 293313 w 293312"/>
                <a:gd name="connsiteY3" fmla="*/ 1637953 h 1637952"/>
                <a:gd name="connsiteX4" fmla="*/ 0 w 293312"/>
                <a:gd name="connsiteY4" fmla="*/ 1637953 h 1637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312" h="1637952">
                  <a:moveTo>
                    <a:pt x="0" y="1637858"/>
                  </a:moveTo>
                  <a:lnTo>
                    <a:pt x="0" y="0"/>
                  </a:lnTo>
                  <a:lnTo>
                    <a:pt x="293313" y="0"/>
                  </a:lnTo>
                  <a:lnTo>
                    <a:pt x="293313" y="1637953"/>
                  </a:lnTo>
                  <a:lnTo>
                    <a:pt x="0" y="1637953"/>
                  </a:lnTo>
                  <a:close/>
                </a:path>
              </a:pathLst>
            </a:custGeom>
            <a:grpFill/>
            <a:ln w="0" cap="flat">
              <a:noFill/>
              <a:prstDash val="solid"/>
              <a:miter/>
            </a:ln>
          </p:spPr>
          <p:txBody>
            <a:bodyPr rtlCol="0" anchor="ctr"/>
            <a:lstStyle/>
            <a:p>
              <a:endParaRPr lang="en-BG"/>
            </a:p>
          </p:txBody>
        </p:sp>
        <p:sp>
          <p:nvSpPr>
            <p:cNvPr id="12" name="Freeform 11">
              <a:extLst>
                <a:ext uri="{FF2B5EF4-FFF2-40B4-BE49-F238E27FC236}">
                  <a16:creationId xmlns:a16="http://schemas.microsoft.com/office/drawing/2014/main" id="{425F9514-2B46-F944-8DC0-DE8A3A8D8451}"/>
                </a:ext>
              </a:extLst>
            </p:cNvPr>
            <p:cNvSpPr/>
            <p:nvPr/>
          </p:nvSpPr>
          <p:spPr>
            <a:xfrm>
              <a:off x="2527278" y="-1913287"/>
              <a:ext cx="919909" cy="1637952"/>
            </a:xfrm>
            <a:custGeom>
              <a:avLst/>
              <a:gdLst>
                <a:gd name="connsiteX0" fmla="*/ 0 w 919909"/>
                <a:gd name="connsiteY0" fmla="*/ 1637858 h 1637952"/>
                <a:gd name="connsiteX1" fmla="*/ 0 w 919909"/>
                <a:gd name="connsiteY1" fmla="*/ 0 h 1637952"/>
                <a:gd name="connsiteX2" fmla="*/ 363738 w 919909"/>
                <a:gd name="connsiteY2" fmla="*/ 0 h 1637952"/>
                <a:gd name="connsiteX3" fmla="*/ 657051 w 919909"/>
                <a:gd name="connsiteY3" fmla="*/ 964021 h 1637952"/>
                <a:gd name="connsiteX4" fmla="*/ 657051 w 919909"/>
                <a:gd name="connsiteY4" fmla="*/ 0 h 1637952"/>
                <a:gd name="connsiteX5" fmla="*/ 919910 w 919909"/>
                <a:gd name="connsiteY5" fmla="*/ 0 h 1637952"/>
                <a:gd name="connsiteX6" fmla="*/ 919910 w 919909"/>
                <a:gd name="connsiteY6" fmla="*/ 1637953 h 1637952"/>
                <a:gd name="connsiteX7" fmla="*/ 624218 w 919909"/>
                <a:gd name="connsiteY7" fmla="*/ 1637953 h 1637952"/>
                <a:gd name="connsiteX8" fmla="*/ 262859 w 919909"/>
                <a:gd name="connsiteY8" fmla="*/ 456342 h 1637952"/>
                <a:gd name="connsiteX9" fmla="*/ 262859 w 919909"/>
                <a:gd name="connsiteY9" fmla="*/ 1637953 h 1637952"/>
                <a:gd name="connsiteX10" fmla="*/ 0 w 919909"/>
                <a:gd name="connsiteY10" fmla="*/ 1637953 h 16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9909" h="1637952">
                  <a:moveTo>
                    <a:pt x="0" y="1637858"/>
                  </a:moveTo>
                  <a:lnTo>
                    <a:pt x="0" y="0"/>
                  </a:lnTo>
                  <a:lnTo>
                    <a:pt x="363738" y="0"/>
                  </a:lnTo>
                  <a:lnTo>
                    <a:pt x="657051" y="964021"/>
                  </a:lnTo>
                  <a:lnTo>
                    <a:pt x="657051" y="0"/>
                  </a:lnTo>
                  <a:lnTo>
                    <a:pt x="919910" y="0"/>
                  </a:lnTo>
                  <a:lnTo>
                    <a:pt x="919910" y="1637953"/>
                  </a:lnTo>
                  <a:lnTo>
                    <a:pt x="624218" y="1637953"/>
                  </a:lnTo>
                  <a:lnTo>
                    <a:pt x="262859" y="456342"/>
                  </a:lnTo>
                  <a:lnTo>
                    <a:pt x="262859" y="1637953"/>
                  </a:lnTo>
                  <a:lnTo>
                    <a:pt x="0" y="1637953"/>
                  </a:lnTo>
                  <a:close/>
                </a:path>
              </a:pathLst>
            </a:custGeom>
            <a:grpFill/>
            <a:ln w="0" cap="flat">
              <a:noFill/>
              <a:prstDash val="solid"/>
              <a:miter/>
            </a:ln>
          </p:spPr>
          <p:txBody>
            <a:bodyPr rtlCol="0" anchor="ctr"/>
            <a:lstStyle/>
            <a:p>
              <a:endParaRPr lang="en-BG"/>
            </a:p>
          </p:txBody>
        </p:sp>
        <p:sp>
          <p:nvSpPr>
            <p:cNvPr id="13" name="Freeform 12">
              <a:extLst>
                <a:ext uri="{FF2B5EF4-FFF2-40B4-BE49-F238E27FC236}">
                  <a16:creationId xmlns:a16="http://schemas.microsoft.com/office/drawing/2014/main" id="{E153F4DB-09EB-584E-BBFD-8FCC2C6659C9}"/>
                </a:ext>
              </a:extLst>
            </p:cNvPr>
            <p:cNvSpPr/>
            <p:nvPr/>
          </p:nvSpPr>
          <p:spPr>
            <a:xfrm>
              <a:off x="3668838" y="-1913287"/>
              <a:ext cx="955122" cy="1635580"/>
            </a:xfrm>
            <a:custGeom>
              <a:avLst/>
              <a:gdLst>
                <a:gd name="connsiteX0" fmla="*/ 283891 w 955122"/>
                <a:gd name="connsiteY0" fmla="*/ 1635485 h 1635580"/>
                <a:gd name="connsiteX1" fmla="*/ 0 w 955122"/>
                <a:gd name="connsiteY1" fmla="*/ 0 h 1635580"/>
                <a:gd name="connsiteX2" fmla="*/ 297976 w 955122"/>
                <a:gd name="connsiteY2" fmla="*/ 0 h 1635580"/>
                <a:gd name="connsiteX3" fmla="*/ 488030 w 955122"/>
                <a:gd name="connsiteY3" fmla="*/ 1272898 h 1635580"/>
                <a:gd name="connsiteX4" fmla="*/ 680558 w 955122"/>
                <a:gd name="connsiteY4" fmla="*/ 0 h 1635580"/>
                <a:gd name="connsiteX5" fmla="*/ 955122 w 955122"/>
                <a:gd name="connsiteY5" fmla="*/ 0 h 1635580"/>
                <a:gd name="connsiteX6" fmla="*/ 671136 w 955122"/>
                <a:gd name="connsiteY6" fmla="*/ 1635580 h 1635580"/>
                <a:gd name="connsiteX7" fmla="*/ 283891 w 955122"/>
                <a:gd name="connsiteY7" fmla="*/ 1635580 h 1635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5122" h="1635580">
                  <a:moveTo>
                    <a:pt x="283891" y="1635485"/>
                  </a:moveTo>
                  <a:lnTo>
                    <a:pt x="0" y="0"/>
                  </a:lnTo>
                  <a:lnTo>
                    <a:pt x="297976" y="0"/>
                  </a:lnTo>
                  <a:lnTo>
                    <a:pt x="488030" y="1272898"/>
                  </a:lnTo>
                  <a:lnTo>
                    <a:pt x="680558" y="0"/>
                  </a:lnTo>
                  <a:lnTo>
                    <a:pt x="955122" y="0"/>
                  </a:lnTo>
                  <a:lnTo>
                    <a:pt x="671136" y="1635580"/>
                  </a:lnTo>
                  <a:lnTo>
                    <a:pt x="283891" y="1635580"/>
                  </a:lnTo>
                  <a:close/>
                </a:path>
              </a:pathLst>
            </a:custGeom>
            <a:grpFill/>
            <a:ln w="0" cap="flat">
              <a:noFill/>
              <a:prstDash val="solid"/>
              <a:miter/>
            </a:ln>
          </p:spPr>
          <p:txBody>
            <a:bodyPr rtlCol="0" anchor="ctr"/>
            <a:lstStyle/>
            <a:p>
              <a:endParaRPr lang="en-BG"/>
            </a:p>
          </p:txBody>
        </p:sp>
        <p:sp>
          <p:nvSpPr>
            <p:cNvPr id="14" name="Freeform 13">
              <a:extLst>
                <a:ext uri="{FF2B5EF4-FFF2-40B4-BE49-F238E27FC236}">
                  <a16:creationId xmlns:a16="http://schemas.microsoft.com/office/drawing/2014/main" id="{006CEC4E-1747-C345-BDA2-B02FB5AA1A36}"/>
                </a:ext>
              </a:extLst>
            </p:cNvPr>
            <p:cNvSpPr/>
            <p:nvPr/>
          </p:nvSpPr>
          <p:spPr>
            <a:xfrm>
              <a:off x="4844373" y="-1913287"/>
              <a:ext cx="800186" cy="1637952"/>
            </a:xfrm>
            <a:custGeom>
              <a:avLst/>
              <a:gdLst>
                <a:gd name="connsiteX0" fmla="*/ 0 w 800186"/>
                <a:gd name="connsiteY0" fmla="*/ 1637858 h 1637952"/>
                <a:gd name="connsiteX1" fmla="*/ 0 w 800186"/>
                <a:gd name="connsiteY1" fmla="*/ 0 h 1637952"/>
                <a:gd name="connsiteX2" fmla="*/ 800186 w 800186"/>
                <a:gd name="connsiteY2" fmla="*/ 0 h 1637952"/>
                <a:gd name="connsiteX3" fmla="*/ 800186 w 800186"/>
                <a:gd name="connsiteY3" fmla="*/ 259723 h 1637952"/>
                <a:gd name="connsiteX4" fmla="*/ 293313 w 800186"/>
                <a:gd name="connsiteY4" fmla="*/ 259723 h 1637952"/>
                <a:gd name="connsiteX5" fmla="*/ 293313 w 800186"/>
                <a:gd name="connsiteY5" fmla="*/ 664538 h 1637952"/>
                <a:gd name="connsiteX6" fmla="*/ 696927 w 800186"/>
                <a:gd name="connsiteY6" fmla="*/ 664538 h 1637952"/>
                <a:gd name="connsiteX7" fmla="*/ 696927 w 800186"/>
                <a:gd name="connsiteY7" fmla="*/ 924260 h 1637952"/>
                <a:gd name="connsiteX8" fmla="*/ 293313 w 800186"/>
                <a:gd name="connsiteY8" fmla="*/ 924260 h 1637952"/>
                <a:gd name="connsiteX9" fmla="*/ 293313 w 800186"/>
                <a:gd name="connsiteY9" fmla="*/ 1378230 h 1637952"/>
                <a:gd name="connsiteX10" fmla="*/ 800186 w 800186"/>
                <a:gd name="connsiteY10" fmla="*/ 1378230 h 1637952"/>
                <a:gd name="connsiteX11" fmla="*/ 800186 w 800186"/>
                <a:gd name="connsiteY11" fmla="*/ 1637953 h 1637952"/>
                <a:gd name="connsiteX12" fmla="*/ 0 w 800186"/>
                <a:gd name="connsiteY12" fmla="*/ 1637953 h 16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0186" h="1637952">
                  <a:moveTo>
                    <a:pt x="0" y="1637858"/>
                  </a:moveTo>
                  <a:lnTo>
                    <a:pt x="0" y="0"/>
                  </a:lnTo>
                  <a:lnTo>
                    <a:pt x="800186" y="0"/>
                  </a:lnTo>
                  <a:lnTo>
                    <a:pt x="800186" y="259723"/>
                  </a:lnTo>
                  <a:lnTo>
                    <a:pt x="293313" y="259723"/>
                  </a:lnTo>
                  <a:lnTo>
                    <a:pt x="293313" y="664538"/>
                  </a:lnTo>
                  <a:lnTo>
                    <a:pt x="696927" y="664538"/>
                  </a:lnTo>
                  <a:lnTo>
                    <a:pt x="696927" y="924260"/>
                  </a:lnTo>
                  <a:lnTo>
                    <a:pt x="293313" y="924260"/>
                  </a:lnTo>
                  <a:lnTo>
                    <a:pt x="293313" y="1378230"/>
                  </a:lnTo>
                  <a:lnTo>
                    <a:pt x="800186" y="1378230"/>
                  </a:lnTo>
                  <a:lnTo>
                    <a:pt x="800186" y="1637953"/>
                  </a:lnTo>
                  <a:lnTo>
                    <a:pt x="0" y="1637953"/>
                  </a:lnTo>
                  <a:close/>
                </a:path>
              </a:pathLst>
            </a:custGeom>
            <a:grpFill/>
            <a:ln w="0" cap="flat">
              <a:noFill/>
              <a:prstDash val="solid"/>
              <a:miter/>
            </a:ln>
          </p:spPr>
          <p:txBody>
            <a:bodyPr rtlCol="0" anchor="ctr"/>
            <a:lstStyle/>
            <a:p>
              <a:endParaRPr lang="en-BG"/>
            </a:p>
          </p:txBody>
        </p:sp>
        <p:sp>
          <p:nvSpPr>
            <p:cNvPr id="15" name="Freeform 14">
              <a:extLst>
                <a:ext uri="{FF2B5EF4-FFF2-40B4-BE49-F238E27FC236}">
                  <a16:creationId xmlns:a16="http://schemas.microsoft.com/office/drawing/2014/main" id="{BE5E1652-6EB4-0644-A1E0-FB0F1E202E09}"/>
                </a:ext>
              </a:extLst>
            </p:cNvPr>
            <p:cNvSpPr/>
            <p:nvPr/>
          </p:nvSpPr>
          <p:spPr>
            <a:xfrm>
              <a:off x="5846414" y="-1936820"/>
              <a:ext cx="875465" cy="1684640"/>
            </a:xfrm>
            <a:custGeom>
              <a:avLst/>
              <a:gdLst>
                <a:gd name="connsiteX0" fmla="*/ 0 w 875465"/>
                <a:gd name="connsiteY0" fmla="*/ 1254299 h 1684640"/>
                <a:gd name="connsiteX1" fmla="*/ 0 w 875465"/>
                <a:gd name="connsiteY1" fmla="*/ 1170034 h 1684640"/>
                <a:gd name="connsiteX2" fmla="*/ 276944 w 875465"/>
                <a:gd name="connsiteY2" fmla="*/ 1170034 h 1684640"/>
                <a:gd name="connsiteX3" fmla="*/ 276944 w 875465"/>
                <a:gd name="connsiteY3" fmla="*/ 1263599 h 1684640"/>
                <a:gd name="connsiteX4" fmla="*/ 429501 w 875465"/>
                <a:gd name="connsiteY4" fmla="*/ 1429757 h 1684640"/>
                <a:gd name="connsiteX5" fmla="*/ 582057 w 875465"/>
                <a:gd name="connsiteY5" fmla="*/ 1261226 h 1684640"/>
                <a:gd name="connsiteX6" fmla="*/ 530475 w 875465"/>
                <a:gd name="connsiteY6" fmla="*/ 1099813 h 1684640"/>
                <a:gd name="connsiteX7" fmla="*/ 331000 w 875465"/>
                <a:gd name="connsiteY7" fmla="*/ 936027 h 1684640"/>
                <a:gd name="connsiteX8" fmla="*/ 4854 w 875465"/>
                <a:gd name="connsiteY8" fmla="*/ 425881 h 1684640"/>
                <a:gd name="connsiteX9" fmla="*/ 439018 w 875465"/>
                <a:gd name="connsiteY9" fmla="*/ 0 h 1684640"/>
                <a:gd name="connsiteX10" fmla="*/ 863760 w 875465"/>
                <a:gd name="connsiteY10" fmla="*/ 430531 h 1684640"/>
                <a:gd name="connsiteX11" fmla="*/ 863760 w 875465"/>
                <a:gd name="connsiteY11" fmla="*/ 488985 h 1684640"/>
                <a:gd name="connsiteX12" fmla="*/ 586911 w 875465"/>
                <a:gd name="connsiteY12" fmla="*/ 488985 h 1684640"/>
                <a:gd name="connsiteX13" fmla="*/ 586911 w 875465"/>
                <a:gd name="connsiteY13" fmla="*/ 423509 h 1684640"/>
                <a:gd name="connsiteX14" fmla="*/ 441397 w 875465"/>
                <a:gd name="connsiteY14" fmla="*/ 255073 h 1684640"/>
                <a:gd name="connsiteX15" fmla="*/ 295882 w 875465"/>
                <a:gd name="connsiteY15" fmla="*/ 416487 h 1684640"/>
                <a:gd name="connsiteX16" fmla="*/ 347464 w 875465"/>
                <a:gd name="connsiteY16" fmla="*/ 566228 h 1684640"/>
                <a:gd name="connsiteX17" fmla="*/ 551603 w 875465"/>
                <a:gd name="connsiteY17" fmla="*/ 725364 h 1684640"/>
                <a:gd name="connsiteX18" fmla="*/ 805040 w 875465"/>
                <a:gd name="connsiteY18" fmla="*/ 961648 h 1684640"/>
                <a:gd name="connsiteX19" fmla="*/ 875465 w 875465"/>
                <a:gd name="connsiteY19" fmla="*/ 1247087 h 1684640"/>
                <a:gd name="connsiteX20" fmla="*/ 431975 w 875465"/>
                <a:gd name="connsiteY20" fmla="*/ 1684640 h 1684640"/>
                <a:gd name="connsiteX21" fmla="*/ 191 w 875465"/>
                <a:gd name="connsiteY21" fmla="*/ 1254109 h 1684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75465" h="1684640">
                  <a:moveTo>
                    <a:pt x="0" y="1254299"/>
                  </a:moveTo>
                  <a:lnTo>
                    <a:pt x="0" y="1170034"/>
                  </a:lnTo>
                  <a:lnTo>
                    <a:pt x="276944" y="1170034"/>
                  </a:lnTo>
                  <a:lnTo>
                    <a:pt x="276944" y="1263599"/>
                  </a:lnTo>
                  <a:cubicBezTo>
                    <a:pt x="276944" y="1373580"/>
                    <a:pt x="328526" y="1429757"/>
                    <a:pt x="429501" y="1429757"/>
                  </a:cubicBezTo>
                  <a:cubicBezTo>
                    <a:pt x="523338" y="1429757"/>
                    <a:pt x="582057" y="1373580"/>
                    <a:pt x="582057" y="1261226"/>
                  </a:cubicBezTo>
                  <a:cubicBezTo>
                    <a:pt x="582057" y="1193378"/>
                    <a:pt x="565593" y="1139573"/>
                    <a:pt x="530475" y="1099813"/>
                  </a:cubicBezTo>
                  <a:cubicBezTo>
                    <a:pt x="497642" y="1057680"/>
                    <a:pt x="431880" y="1003876"/>
                    <a:pt x="331000" y="936027"/>
                  </a:cubicBezTo>
                  <a:cubicBezTo>
                    <a:pt x="86985" y="776891"/>
                    <a:pt x="4854" y="638821"/>
                    <a:pt x="4854" y="425881"/>
                  </a:cubicBezTo>
                  <a:cubicBezTo>
                    <a:pt x="4854" y="161508"/>
                    <a:pt x="159695" y="0"/>
                    <a:pt x="439018" y="0"/>
                  </a:cubicBezTo>
                  <a:cubicBezTo>
                    <a:pt x="718340" y="0"/>
                    <a:pt x="863760" y="159136"/>
                    <a:pt x="863760" y="430531"/>
                  </a:cubicBezTo>
                  <a:lnTo>
                    <a:pt x="863760" y="488985"/>
                  </a:lnTo>
                  <a:lnTo>
                    <a:pt x="586911" y="488985"/>
                  </a:lnTo>
                  <a:lnTo>
                    <a:pt x="586911" y="423509"/>
                  </a:lnTo>
                  <a:cubicBezTo>
                    <a:pt x="586911" y="311155"/>
                    <a:pt x="537613" y="255073"/>
                    <a:pt x="441397" y="255073"/>
                  </a:cubicBezTo>
                  <a:cubicBezTo>
                    <a:pt x="345180" y="255073"/>
                    <a:pt x="295882" y="308878"/>
                    <a:pt x="295882" y="416487"/>
                  </a:cubicBezTo>
                  <a:cubicBezTo>
                    <a:pt x="295882" y="474941"/>
                    <a:pt x="312347" y="526468"/>
                    <a:pt x="347464" y="566228"/>
                  </a:cubicBezTo>
                  <a:cubicBezTo>
                    <a:pt x="382582" y="605988"/>
                    <a:pt x="450723" y="659793"/>
                    <a:pt x="551603" y="725364"/>
                  </a:cubicBezTo>
                  <a:cubicBezTo>
                    <a:pt x="675990" y="804885"/>
                    <a:pt x="760501" y="884500"/>
                    <a:pt x="805040" y="961648"/>
                  </a:cubicBezTo>
                  <a:cubicBezTo>
                    <a:pt x="851959" y="1038891"/>
                    <a:pt x="875465" y="1134829"/>
                    <a:pt x="875465" y="1247087"/>
                  </a:cubicBezTo>
                  <a:cubicBezTo>
                    <a:pt x="875465" y="1520854"/>
                    <a:pt x="715866" y="1684640"/>
                    <a:pt x="431975" y="1684640"/>
                  </a:cubicBezTo>
                  <a:cubicBezTo>
                    <a:pt x="148084" y="1684640"/>
                    <a:pt x="191" y="1523227"/>
                    <a:pt x="191" y="1254109"/>
                  </a:cubicBezTo>
                  <a:close/>
                </a:path>
              </a:pathLst>
            </a:custGeom>
            <a:grpFill/>
            <a:ln w="0" cap="flat">
              <a:noFill/>
              <a:prstDash val="solid"/>
              <a:miter/>
            </a:ln>
          </p:spPr>
          <p:txBody>
            <a:bodyPr rtlCol="0" anchor="ctr"/>
            <a:lstStyle/>
            <a:p>
              <a:endParaRPr lang="en-BG"/>
            </a:p>
          </p:txBody>
        </p:sp>
        <p:sp>
          <p:nvSpPr>
            <p:cNvPr id="16" name="Freeform 15">
              <a:extLst>
                <a:ext uri="{FF2B5EF4-FFF2-40B4-BE49-F238E27FC236}">
                  <a16:creationId xmlns:a16="http://schemas.microsoft.com/office/drawing/2014/main" id="{283F1A55-ECAA-A14A-8E2C-F3071ACBCC21}"/>
                </a:ext>
              </a:extLst>
            </p:cNvPr>
            <p:cNvSpPr/>
            <p:nvPr/>
          </p:nvSpPr>
          <p:spPr>
            <a:xfrm>
              <a:off x="6908317" y="-1913287"/>
              <a:ext cx="905824" cy="1637952"/>
            </a:xfrm>
            <a:custGeom>
              <a:avLst/>
              <a:gdLst>
                <a:gd name="connsiteX0" fmla="*/ 305114 w 905824"/>
                <a:gd name="connsiteY0" fmla="*/ 1637858 h 1637952"/>
                <a:gd name="connsiteX1" fmla="*/ 305114 w 905824"/>
                <a:gd name="connsiteY1" fmla="*/ 259723 h 1637952"/>
                <a:gd name="connsiteX2" fmla="*/ 0 w 905824"/>
                <a:gd name="connsiteY2" fmla="*/ 259723 h 1637952"/>
                <a:gd name="connsiteX3" fmla="*/ 0 w 905824"/>
                <a:gd name="connsiteY3" fmla="*/ 0 h 1637952"/>
                <a:gd name="connsiteX4" fmla="*/ 905824 w 905824"/>
                <a:gd name="connsiteY4" fmla="*/ 0 h 1637952"/>
                <a:gd name="connsiteX5" fmla="*/ 905824 w 905824"/>
                <a:gd name="connsiteY5" fmla="*/ 259723 h 1637952"/>
                <a:gd name="connsiteX6" fmla="*/ 598427 w 905824"/>
                <a:gd name="connsiteY6" fmla="*/ 259723 h 1637952"/>
                <a:gd name="connsiteX7" fmla="*/ 598427 w 905824"/>
                <a:gd name="connsiteY7" fmla="*/ 1637953 h 1637952"/>
                <a:gd name="connsiteX8" fmla="*/ 305114 w 905824"/>
                <a:gd name="connsiteY8" fmla="*/ 1637953 h 16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5824" h="1637952">
                  <a:moveTo>
                    <a:pt x="305114" y="1637858"/>
                  </a:moveTo>
                  <a:lnTo>
                    <a:pt x="305114" y="259723"/>
                  </a:lnTo>
                  <a:lnTo>
                    <a:pt x="0" y="259723"/>
                  </a:lnTo>
                  <a:lnTo>
                    <a:pt x="0" y="0"/>
                  </a:lnTo>
                  <a:lnTo>
                    <a:pt x="905824" y="0"/>
                  </a:lnTo>
                  <a:lnTo>
                    <a:pt x="905824" y="259723"/>
                  </a:lnTo>
                  <a:lnTo>
                    <a:pt x="598427" y="259723"/>
                  </a:lnTo>
                  <a:lnTo>
                    <a:pt x="598427" y="1637953"/>
                  </a:lnTo>
                  <a:lnTo>
                    <a:pt x="305114" y="1637953"/>
                  </a:lnTo>
                  <a:close/>
                </a:path>
              </a:pathLst>
            </a:custGeom>
            <a:grpFill/>
            <a:ln w="0" cap="flat">
              <a:noFill/>
              <a:prstDash val="solid"/>
              <a:miter/>
            </a:ln>
          </p:spPr>
          <p:txBody>
            <a:bodyPr rtlCol="0" anchor="ctr"/>
            <a:lstStyle/>
            <a:p>
              <a:endParaRPr lang="en-BG"/>
            </a:p>
          </p:txBody>
        </p:sp>
        <p:sp>
          <p:nvSpPr>
            <p:cNvPr id="17" name="Freeform 16">
              <a:extLst>
                <a:ext uri="{FF2B5EF4-FFF2-40B4-BE49-F238E27FC236}">
                  <a16:creationId xmlns:a16="http://schemas.microsoft.com/office/drawing/2014/main" id="{E6CAA749-4AA2-DE49-A29B-3A38BBE78A2F}"/>
                </a:ext>
              </a:extLst>
            </p:cNvPr>
            <p:cNvSpPr/>
            <p:nvPr/>
          </p:nvSpPr>
          <p:spPr>
            <a:xfrm>
              <a:off x="8018756" y="-1936726"/>
              <a:ext cx="889360" cy="1684640"/>
            </a:xfrm>
            <a:custGeom>
              <a:avLst/>
              <a:gdLst>
                <a:gd name="connsiteX0" fmla="*/ 0 w 889360"/>
                <a:gd name="connsiteY0" fmla="*/ 1242437 h 1684640"/>
                <a:gd name="connsiteX1" fmla="*/ 0 w 889360"/>
                <a:gd name="connsiteY1" fmla="*/ 442203 h 1684640"/>
                <a:gd name="connsiteX2" fmla="*/ 443490 w 889360"/>
                <a:gd name="connsiteY2" fmla="*/ 0 h 1684640"/>
                <a:gd name="connsiteX3" fmla="*/ 889360 w 889360"/>
                <a:gd name="connsiteY3" fmla="*/ 442203 h 1684640"/>
                <a:gd name="connsiteX4" fmla="*/ 889360 w 889360"/>
                <a:gd name="connsiteY4" fmla="*/ 1242437 h 1684640"/>
                <a:gd name="connsiteX5" fmla="*/ 443490 w 889360"/>
                <a:gd name="connsiteY5" fmla="*/ 1684640 h 1684640"/>
                <a:gd name="connsiteX6" fmla="*/ 0 w 889360"/>
                <a:gd name="connsiteY6" fmla="*/ 1242437 h 1684640"/>
                <a:gd name="connsiteX7" fmla="*/ 596047 w 889360"/>
                <a:gd name="connsiteY7" fmla="*/ 1256482 h 1684640"/>
                <a:gd name="connsiteX8" fmla="*/ 596047 w 889360"/>
                <a:gd name="connsiteY8" fmla="*/ 428253 h 1684640"/>
                <a:gd name="connsiteX9" fmla="*/ 443490 w 889360"/>
                <a:gd name="connsiteY9" fmla="*/ 259723 h 1684640"/>
                <a:gd name="connsiteX10" fmla="*/ 293313 w 889360"/>
                <a:gd name="connsiteY10" fmla="*/ 428253 h 1684640"/>
                <a:gd name="connsiteX11" fmla="*/ 293313 w 889360"/>
                <a:gd name="connsiteY11" fmla="*/ 1256577 h 1684640"/>
                <a:gd name="connsiteX12" fmla="*/ 443490 w 889360"/>
                <a:gd name="connsiteY12" fmla="*/ 1425107 h 1684640"/>
                <a:gd name="connsiteX13" fmla="*/ 596047 w 889360"/>
                <a:gd name="connsiteY13" fmla="*/ 1256577 h 1684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9360" h="1684640">
                  <a:moveTo>
                    <a:pt x="0" y="1242437"/>
                  </a:moveTo>
                  <a:lnTo>
                    <a:pt x="0" y="442203"/>
                  </a:lnTo>
                  <a:cubicBezTo>
                    <a:pt x="0" y="161413"/>
                    <a:pt x="159600" y="0"/>
                    <a:pt x="443490" y="0"/>
                  </a:cubicBezTo>
                  <a:cubicBezTo>
                    <a:pt x="727381" y="0"/>
                    <a:pt x="889360" y="161413"/>
                    <a:pt x="889360" y="442203"/>
                  </a:cubicBezTo>
                  <a:lnTo>
                    <a:pt x="889360" y="1242437"/>
                  </a:lnTo>
                  <a:cubicBezTo>
                    <a:pt x="889360" y="1523227"/>
                    <a:pt x="732140" y="1684640"/>
                    <a:pt x="443490" y="1684640"/>
                  </a:cubicBezTo>
                  <a:cubicBezTo>
                    <a:pt x="154841" y="1684640"/>
                    <a:pt x="0" y="1523227"/>
                    <a:pt x="0" y="1242437"/>
                  </a:cubicBezTo>
                  <a:close/>
                  <a:moveTo>
                    <a:pt x="596047" y="1256482"/>
                  </a:moveTo>
                  <a:lnTo>
                    <a:pt x="596047" y="428253"/>
                  </a:lnTo>
                  <a:cubicBezTo>
                    <a:pt x="596047" y="315900"/>
                    <a:pt x="544466" y="259723"/>
                    <a:pt x="443490" y="259723"/>
                  </a:cubicBezTo>
                  <a:cubicBezTo>
                    <a:pt x="342515" y="259723"/>
                    <a:pt x="293313" y="315900"/>
                    <a:pt x="293313" y="428253"/>
                  </a:cubicBezTo>
                  <a:lnTo>
                    <a:pt x="293313" y="1256577"/>
                  </a:lnTo>
                  <a:cubicBezTo>
                    <a:pt x="293313" y="1368930"/>
                    <a:pt x="342611" y="1425107"/>
                    <a:pt x="443490" y="1425107"/>
                  </a:cubicBezTo>
                  <a:cubicBezTo>
                    <a:pt x="544370" y="1425107"/>
                    <a:pt x="596047" y="1368930"/>
                    <a:pt x="596047" y="1256577"/>
                  </a:cubicBezTo>
                  <a:close/>
                </a:path>
              </a:pathLst>
            </a:custGeom>
            <a:grpFill/>
            <a:ln w="0" cap="flat">
              <a:noFill/>
              <a:prstDash val="solid"/>
              <a:miter/>
            </a:ln>
          </p:spPr>
          <p:txBody>
            <a:bodyPr rtlCol="0" anchor="ctr"/>
            <a:lstStyle/>
            <a:p>
              <a:endParaRPr lang="en-BG"/>
            </a:p>
          </p:txBody>
        </p:sp>
        <p:sp>
          <p:nvSpPr>
            <p:cNvPr id="18" name="Freeform 17">
              <a:extLst>
                <a:ext uri="{FF2B5EF4-FFF2-40B4-BE49-F238E27FC236}">
                  <a16:creationId xmlns:a16="http://schemas.microsoft.com/office/drawing/2014/main" id="{5C0B612D-5091-C84F-A960-8113DB4F7137}"/>
                </a:ext>
              </a:extLst>
            </p:cNvPr>
            <p:cNvSpPr/>
            <p:nvPr/>
          </p:nvSpPr>
          <p:spPr>
            <a:xfrm>
              <a:off x="9156604" y="-1913287"/>
              <a:ext cx="903540" cy="1637952"/>
            </a:xfrm>
            <a:custGeom>
              <a:avLst/>
              <a:gdLst>
                <a:gd name="connsiteX0" fmla="*/ 0 w 903540"/>
                <a:gd name="connsiteY0" fmla="*/ 1637858 h 1637952"/>
                <a:gd name="connsiteX1" fmla="*/ 0 w 903540"/>
                <a:gd name="connsiteY1" fmla="*/ 0 h 1637952"/>
                <a:gd name="connsiteX2" fmla="*/ 434164 w 903540"/>
                <a:gd name="connsiteY2" fmla="*/ 0 h 1637952"/>
                <a:gd name="connsiteX3" fmla="*/ 868328 w 903540"/>
                <a:gd name="connsiteY3" fmla="*/ 395420 h 1637952"/>
                <a:gd name="connsiteX4" fmla="*/ 868328 w 903540"/>
                <a:gd name="connsiteY4" fmla="*/ 477313 h 1637952"/>
                <a:gd name="connsiteX5" fmla="*/ 678274 w 903540"/>
                <a:gd name="connsiteY5" fmla="*/ 807257 h 1637952"/>
                <a:gd name="connsiteX6" fmla="*/ 678274 w 903540"/>
                <a:gd name="connsiteY6" fmla="*/ 814279 h 1637952"/>
                <a:gd name="connsiteX7" fmla="*/ 870707 w 903540"/>
                <a:gd name="connsiteY7" fmla="*/ 1183983 h 1637952"/>
                <a:gd name="connsiteX8" fmla="*/ 870707 w 903540"/>
                <a:gd name="connsiteY8" fmla="*/ 1425012 h 1637952"/>
                <a:gd name="connsiteX9" fmla="*/ 903540 w 903540"/>
                <a:gd name="connsiteY9" fmla="*/ 1637953 h 1637952"/>
                <a:gd name="connsiteX10" fmla="*/ 605469 w 903540"/>
                <a:gd name="connsiteY10" fmla="*/ 1637953 h 1637952"/>
                <a:gd name="connsiteX11" fmla="*/ 579678 w 903540"/>
                <a:gd name="connsiteY11" fmla="*/ 1422640 h 1637952"/>
                <a:gd name="connsiteX12" fmla="*/ 579678 w 903540"/>
                <a:gd name="connsiteY12" fmla="*/ 1165289 h 1637952"/>
                <a:gd name="connsiteX13" fmla="*/ 394288 w 903540"/>
                <a:gd name="connsiteY13" fmla="*/ 959371 h 1637952"/>
                <a:gd name="connsiteX14" fmla="*/ 293408 w 903540"/>
                <a:gd name="connsiteY14" fmla="*/ 959371 h 1637952"/>
                <a:gd name="connsiteX15" fmla="*/ 293408 w 903540"/>
                <a:gd name="connsiteY15" fmla="*/ 1637953 h 1637952"/>
                <a:gd name="connsiteX16" fmla="*/ 95 w 903540"/>
                <a:gd name="connsiteY16" fmla="*/ 1637953 h 1637952"/>
                <a:gd name="connsiteX17" fmla="*/ 293313 w 903540"/>
                <a:gd name="connsiteY17" fmla="*/ 699553 h 1637952"/>
                <a:gd name="connsiteX18" fmla="*/ 401235 w 903540"/>
                <a:gd name="connsiteY18" fmla="*/ 699553 h 1637952"/>
                <a:gd name="connsiteX19" fmla="*/ 574919 w 903540"/>
                <a:gd name="connsiteY19" fmla="*/ 521723 h 1637952"/>
                <a:gd name="connsiteX20" fmla="*/ 574919 w 903540"/>
                <a:gd name="connsiteY20" fmla="*/ 425786 h 1637952"/>
                <a:gd name="connsiteX21" fmla="*/ 429405 w 903540"/>
                <a:gd name="connsiteY21" fmla="*/ 259628 h 1637952"/>
                <a:gd name="connsiteX22" fmla="*/ 293313 w 903540"/>
                <a:gd name="connsiteY22" fmla="*/ 259628 h 1637952"/>
                <a:gd name="connsiteX23" fmla="*/ 293313 w 903540"/>
                <a:gd name="connsiteY23" fmla="*/ 699553 h 16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03540" h="1637952">
                  <a:moveTo>
                    <a:pt x="0" y="1637858"/>
                  </a:moveTo>
                  <a:lnTo>
                    <a:pt x="0" y="0"/>
                  </a:lnTo>
                  <a:lnTo>
                    <a:pt x="434164" y="0"/>
                  </a:lnTo>
                  <a:cubicBezTo>
                    <a:pt x="732140" y="0"/>
                    <a:pt x="868328" y="126398"/>
                    <a:pt x="868328" y="395420"/>
                  </a:cubicBezTo>
                  <a:lnTo>
                    <a:pt x="868328" y="477313"/>
                  </a:lnTo>
                  <a:cubicBezTo>
                    <a:pt x="868328" y="648121"/>
                    <a:pt x="804945" y="758102"/>
                    <a:pt x="678274" y="807257"/>
                  </a:cubicBezTo>
                  <a:lnTo>
                    <a:pt x="678274" y="814279"/>
                  </a:lnTo>
                  <a:cubicBezTo>
                    <a:pt x="807324" y="851667"/>
                    <a:pt x="870707" y="975693"/>
                    <a:pt x="870707" y="1183983"/>
                  </a:cubicBezTo>
                  <a:lnTo>
                    <a:pt x="870707" y="1425012"/>
                  </a:lnTo>
                  <a:cubicBezTo>
                    <a:pt x="870707" y="1516299"/>
                    <a:pt x="882412" y="1586425"/>
                    <a:pt x="903540" y="1637953"/>
                  </a:cubicBezTo>
                  <a:lnTo>
                    <a:pt x="605469" y="1637953"/>
                  </a:lnTo>
                  <a:cubicBezTo>
                    <a:pt x="589005" y="1591170"/>
                    <a:pt x="579678" y="1518577"/>
                    <a:pt x="579678" y="1422640"/>
                  </a:cubicBezTo>
                  <a:lnTo>
                    <a:pt x="579678" y="1165289"/>
                  </a:lnTo>
                  <a:cubicBezTo>
                    <a:pt x="579678" y="1013175"/>
                    <a:pt x="532759" y="959371"/>
                    <a:pt x="394288" y="959371"/>
                  </a:cubicBezTo>
                  <a:lnTo>
                    <a:pt x="293408" y="959371"/>
                  </a:lnTo>
                  <a:lnTo>
                    <a:pt x="293408" y="1637953"/>
                  </a:lnTo>
                  <a:lnTo>
                    <a:pt x="95" y="1637953"/>
                  </a:lnTo>
                  <a:close/>
                  <a:moveTo>
                    <a:pt x="293313" y="699553"/>
                  </a:moveTo>
                  <a:lnTo>
                    <a:pt x="401235" y="699553"/>
                  </a:lnTo>
                  <a:cubicBezTo>
                    <a:pt x="520958" y="699553"/>
                    <a:pt x="574919" y="645749"/>
                    <a:pt x="574919" y="521723"/>
                  </a:cubicBezTo>
                  <a:lnTo>
                    <a:pt x="574919" y="425786"/>
                  </a:lnTo>
                  <a:cubicBezTo>
                    <a:pt x="574919" y="315805"/>
                    <a:pt x="525622" y="259628"/>
                    <a:pt x="429405" y="259628"/>
                  </a:cubicBezTo>
                  <a:lnTo>
                    <a:pt x="293313" y="259628"/>
                  </a:lnTo>
                  <a:lnTo>
                    <a:pt x="293313" y="699553"/>
                  </a:lnTo>
                  <a:close/>
                </a:path>
              </a:pathLst>
            </a:custGeom>
            <a:grpFill/>
            <a:ln w="0" cap="flat">
              <a:noFill/>
              <a:prstDash val="solid"/>
              <a:miter/>
            </a:ln>
          </p:spPr>
          <p:txBody>
            <a:bodyPr rtlCol="0" anchor="ctr"/>
            <a:lstStyle/>
            <a:p>
              <a:endParaRPr lang="en-BG"/>
            </a:p>
          </p:txBody>
        </p:sp>
        <p:sp>
          <p:nvSpPr>
            <p:cNvPr id="19" name="Freeform 18">
              <a:extLst>
                <a:ext uri="{FF2B5EF4-FFF2-40B4-BE49-F238E27FC236}">
                  <a16:creationId xmlns:a16="http://schemas.microsoft.com/office/drawing/2014/main" id="{2720EBB6-0C39-F143-90AC-6B4405CE1AA4}"/>
                </a:ext>
              </a:extLst>
            </p:cNvPr>
            <p:cNvSpPr/>
            <p:nvPr/>
          </p:nvSpPr>
          <p:spPr>
            <a:xfrm>
              <a:off x="10305872" y="-1913287"/>
              <a:ext cx="821313" cy="1637857"/>
            </a:xfrm>
            <a:custGeom>
              <a:avLst/>
              <a:gdLst>
                <a:gd name="connsiteX0" fmla="*/ 0 w 821313"/>
                <a:gd name="connsiteY0" fmla="*/ 1637858 h 1637857"/>
                <a:gd name="connsiteX1" fmla="*/ 0 w 821313"/>
                <a:gd name="connsiteY1" fmla="*/ 0 h 1637857"/>
                <a:gd name="connsiteX2" fmla="*/ 410657 w 821313"/>
                <a:gd name="connsiteY2" fmla="*/ 0 h 1637857"/>
                <a:gd name="connsiteX3" fmla="*/ 821314 w 821313"/>
                <a:gd name="connsiteY3" fmla="*/ 418859 h 1637857"/>
                <a:gd name="connsiteX4" fmla="*/ 821314 w 821313"/>
                <a:gd name="connsiteY4" fmla="*/ 1216721 h 1637857"/>
                <a:gd name="connsiteX5" fmla="*/ 410657 w 821313"/>
                <a:gd name="connsiteY5" fmla="*/ 1637858 h 1637857"/>
                <a:gd name="connsiteX6" fmla="*/ 0 w 821313"/>
                <a:gd name="connsiteY6" fmla="*/ 1637858 h 1637857"/>
                <a:gd name="connsiteX7" fmla="*/ 150177 w 821313"/>
                <a:gd name="connsiteY7" fmla="*/ 1504533 h 1637857"/>
                <a:gd name="connsiteX8" fmla="*/ 405993 w 821313"/>
                <a:gd name="connsiteY8" fmla="*/ 1504533 h 1637857"/>
                <a:gd name="connsiteX9" fmla="*/ 671136 w 821313"/>
                <a:gd name="connsiteY9" fmla="*/ 1221371 h 1637857"/>
                <a:gd name="connsiteX10" fmla="*/ 671136 w 821313"/>
                <a:gd name="connsiteY10" fmla="*/ 414114 h 1637857"/>
                <a:gd name="connsiteX11" fmla="*/ 405993 w 821313"/>
                <a:gd name="connsiteY11" fmla="*/ 133325 h 1637857"/>
                <a:gd name="connsiteX12" fmla="*/ 150177 w 821313"/>
                <a:gd name="connsiteY12" fmla="*/ 133325 h 1637857"/>
                <a:gd name="connsiteX13" fmla="*/ 150177 w 821313"/>
                <a:gd name="connsiteY13" fmla="*/ 1504438 h 1637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21313" h="1637857">
                  <a:moveTo>
                    <a:pt x="0" y="1637858"/>
                  </a:moveTo>
                  <a:lnTo>
                    <a:pt x="0" y="0"/>
                  </a:lnTo>
                  <a:lnTo>
                    <a:pt x="410657" y="0"/>
                  </a:lnTo>
                  <a:cubicBezTo>
                    <a:pt x="689885" y="0"/>
                    <a:pt x="821314" y="135697"/>
                    <a:pt x="821314" y="418859"/>
                  </a:cubicBezTo>
                  <a:lnTo>
                    <a:pt x="821314" y="1216721"/>
                  </a:lnTo>
                  <a:cubicBezTo>
                    <a:pt x="821314" y="1504533"/>
                    <a:pt x="689885" y="1637858"/>
                    <a:pt x="410657" y="1637858"/>
                  </a:cubicBezTo>
                  <a:lnTo>
                    <a:pt x="0" y="1637858"/>
                  </a:lnTo>
                  <a:close/>
                  <a:moveTo>
                    <a:pt x="150177" y="1504533"/>
                  </a:moveTo>
                  <a:lnTo>
                    <a:pt x="405993" y="1504533"/>
                  </a:lnTo>
                  <a:cubicBezTo>
                    <a:pt x="593763" y="1504533"/>
                    <a:pt x="671136" y="1420267"/>
                    <a:pt x="671136" y="1221371"/>
                  </a:cubicBezTo>
                  <a:lnTo>
                    <a:pt x="671136" y="414114"/>
                  </a:lnTo>
                  <a:cubicBezTo>
                    <a:pt x="671136" y="215218"/>
                    <a:pt x="593668" y="133325"/>
                    <a:pt x="405993" y="133325"/>
                  </a:cubicBezTo>
                  <a:lnTo>
                    <a:pt x="150177" y="133325"/>
                  </a:lnTo>
                  <a:lnTo>
                    <a:pt x="150177" y="1504438"/>
                  </a:lnTo>
                  <a:close/>
                </a:path>
              </a:pathLst>
            </a:custGeom>
            <a:grpFill/>
            <a:ln w="0" cap="flat">
              <a:noFill/>
              <a:prstDash val="solid"/>
              <a:miter/>
            </a:ln>
          </p:spPr>
          <p:txBody>
            <a:bodyPr rtlCol="0" anchor="ctr"/>
            <a:lstStyle/>
            <a:p>
              <a:endParaRPr lang="en-BG"/>
            </a:p>
          </p:txBody>
        </p:sp>
        <p:sp>
          <p:nvSpPr>
            <p:cNvPr id="20" name="Freeform 19">
              <a:extLst>
                <a:ext uri="{FF2B5EF4-FFF2-40B4-BE49-F238E27FC236}">
                  <a16:creationId xmlns:a16="http://schemas.microsoft.com/office/drawing/2014/main" id="{A5AD9300-FC00-DA4A-BC05-8A569AEBD3FE}"/>
                </a:ext>
              </a:extLst>
            </p:cNvPr>
            <p:cNvSpPr/>
            <p:nvPr/>
          </p:nvSpPr>
          <p:spPr>
            <a:xfrm>
              <a:off x="11350168" y="-1913287"/>
              <a:ext cx="943226" cy="1637952"/>
            </a:xfrm>
            <a:custGeom>
              <a:avLst/>
              <a:gdLst>
                <a:gd name="connsiteX0" fmla="*/ 790765 w 943226"/>
                <a:gd name="connsiteY0" fmla="*/ 1637858 h 1637952"/>
                <a:gd name="connsiteX1" fmla="*/ 708633 w 943226"/>
                <a:gd name="connsiteY1" fmla="*/ 1275176 h 1637952"/>
                <a:gd name="connsiteX2" fmla="*/ 222887 w 943226"/>
                <a:gd name="connsiteY2" fmla="*/ 1275176 h 1637952"/>
                <a:gd name="connsiteX3" fmla="*/ 143135 w 943226"/>
                <a:gd name="connsiteY3" fmla="*/ 1637858 h 1637952"/>
                <a:gd name="connsiteX4" fmla="*/ 0 w 943226"/>
                <a:gd name="connsiteY4" fmla="*/ 1637858 h 1637952"/>
                <a:gd name="connsiteX5" fmla="*/ 368307 w 943226"/>
                <a:gd name="connsiteY5" fmla="*/ 0 h 1637952"/>
                <a:gd name="connsiteX6" fmla="*/ 570161 w 943226"/>
                <a:gd name="connsiteY6" fmla="*/ 0 h 1637952"/>
                <a:gd name="connsiteX7" fmla="*/ 943227 w 943226"/>
                <a:gd name="connsiteY7" fmla="*/ 1637953 h 1637952"/>
                <a:gd name="connsiteX8" fmla="*/ 790669 w 943226"/>
                <a:gd name="connsiteY8" fmla="*/ 1637953 h 1637952"/>
                <a:gd name="connsiteX9" fmla="*/ 251058 w 943226"/>
                <a:gd name="connsiteY9" fmla="*/ 1144128 h 1637952"/>
                <a:gd name="connsiteX10" fmla="*/ 680463 w 943226"/>
                <a:gd name="connsiteY10" fmla="*/ 1144128 h 1637952"/>
                <a:gd name="connsiteX11" fmla="*/ 462239 w 943226"/>
                <a:gd name="connsiteY11" fmla="*/ 180107 h 1637952"/>
                <a:gd name="connsiteX12" fmla="*/ 251058 w 943226"/>
                <a:gd name="connsiteY12" fmla="*/ 1144128 h 16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3226" h="1637952">
                  <a:moveTo>
                    <a:pt x="790765" y="1637858"/>
                  </a:moveTo>
                  <a:lnTo>
                    <a:pt x="708633" y="1275176"/>
                  </a:lnTo>
                  <a:lnTo>
                    <a:pt x="222887" y="1275176"/>
                  </a:lnTo>
                  <a:lnTo>
                    <a:pt x="143135" y="1637858"/>
                  </a:lnTo>
                  <a:lnTo>
                    <a:pt x="0" y="1637858"/>
                  </a:lnTo>
                  <a:lnTo>
                    <a:pt x="368307" y="0"/>
                  </a:lnTo>
                  <a:lnTo>
                    <a:pt x="570161" y="0"/>
                  </a:lnTo>
                  <a:lnTo>
                    <a:pt x="943227" y="1637953"/>
                  </a:lnTo>
                  <a:lnTo>
                    <a:pt x="790669" y="1637953"/>
                  </a:lnTo>
                  <a:close/>
                  <a:moveTo>
                    <a:pt x="251058" y="1144128"/>
                  </a:moveTo>
                  <a:lnTo>
                    <a:pt x="680463" y="1144128"/>
                  </a:lnTo>
                  <a:lnTo>
                    <a:pt x="462239" y="180107"/>
                  </a:lnTo>
                  <a:lnTo>
                    <a:pt x="251058" y="1144128"/>
                  </a:lnTo>
                  <a:close/>
                </a:path>
              </a:pathLst>
            </a:custGeom>
            <a:grpFill/>
            <a:ln w="0" cap="flat">
              <a:noFill/>
              <a:prstDash val="solid"/>
              <a:miter/>
            </a:ln>
          </p:spPr>
          <p:txBody>
            <a:bodyPr rtlCol="0" anchor="ctr"/>
            <a:lstStyle/>
            <a:p>
              <a:endParaRPr lang="en-BG"/>
            </a:p>
          </p:txBody>
        </p:sp>
        <p:sp>
          <p:nvSpPr>
            <p:cNvPr id="21" name="Freeform 20">
              <a:extLst>
                <a:ext uri="{FF2B5EF4-FFF2-40B4-BE49-F238E27FC236}">
                  <a16:creationId xmlns:a16="http://schemas.microsoft.com/office/drawing/2014/main" id="{A9335052-38FB-1247-B22E-3A2BE0AFA2FC}"/>
                </a:ext>
              </a:extLst>
            </p:cNvPr>
            <p:cNvSpPr/>
            <p:nvPr/>
          </p:nvSpPr>
          <p:spPr>
            <a:xfrm>
              <a:off x="12321279" y="-1913382"/>
              <a:ext cx="931615" cy="1637952"/>
            </a:xfrm>
            <a:custGeom>
              <a:avLst/>
              <a:gdLst>
                <a:gd name="connsiteX0" fmla="*/ 389530 w 931615"/>
                <a:gd name="connsiteY0" fmla="*/ 1637953 h 1637952"/>
                <a:gd name="connsiteX1" fmla="*/ 389530 w 931615"/>
                <a:gd name="connsiteY1" fmla="*/ 910216 h 1637952"/>
                <a:gd name="connsiteX2" fmla="*/ 0 w 931615"/>
                <a:gd name="connsiteY2" fmla="*/ 0 h 1637952"/>
                <a:gd name="connsiteX3" fmla="*/ 161884 w 931615"/>
                <a:gd name="connsiteY3" fmla="*/ 0 h 1637952"/>
                <a:gd name="connsiteX4" fmla="*/ 471661 w 931615"/>
                <a:gd name="connsiteY4" fmla="*/ 727736 h 1637952"/>
                <a:gd name="connsiteX5" fmla="*/ 781438 w 931615"/>
                <a:gd name="connsiteY5" fmla="*/ 0 h 1637952"/>
                <a:gd name="connsiteX6" fmla="*/ 931616 w 931615"/>
                <a:gd name="connsiteY6" fmla="*/ 0 h 1637952"/>
                <a:gd name="connsiteX7" fmla="*/ 542087 w 931615"/>
                <a:gd name="connsiteY7" fmla="*/ 910216 h 1637952"/>
                <a:gd name="connsiteX8" fmla="*/ 542087 w 931615"/>
                <a:gd name="connsiteY8" fmla="*/ 1637953 h 1637952"/>
                <a:gd name="connsiteX9" fmla="*/ 389530 w 931615"/>
                <a:gd name="connsiteY9" fmla="*/ 1637953 h 16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1615" h="1637952">
                  <a:moveTo>
                    <a:pt x="389530" y="1637953"/>
                  </a:moveTo>
                  <a:lnTo>
                    <a:pt x="389530" y="910216"/>
                  </a:lnTo>
                  <a:lnTo>
                    <a:pt x="0" y="0"/>
                  </a:lnTo>
                  <a:lnTo>
                    <a:pt x="161884" y="0"/>
                  </a:lnTo>
                  <a:lnTo>
                    <a:pt x="471661" y="727736"/>
                  </a:lnTo>
                  <a:lnTo>
                    <a:pt x="781438" y="0"/>
                  </a:lnTo>
                  <a:lnTo>
                    <a:pt x="931616" y="0"/>
                  </a:lnTo>
                  <a:lnTo>
                    <a:pt x="542087" y="910216"/>
                  </a:lnTo>
                  <a:lnTo>
                    <a:pt x="542087" y="1637953"/>
                  </a:lnTo>
                  <a:lnTo>
                    <a:pt x="389530" y="1637953"/>
                  </a:lnTo>
                  <a:close/>
                </a:path>
              </a:pathLst>
            </a:custGeom>
            <a:grpFill/>
            <a:ln w="0" cap="flat">
              <a:noFill/>
              <a:prstDash val="solid"/>
              <a:miter/>
            </a:ln>
          </p:spPr>
          <p:txBody>
            <a:bodyPr rtlCol="0" anchor="ctr"/>
            <a:lstStyle/>
            <a:p>
              <a:endParaRPr lang="en-BG"/>
            </a:p>
          </p:txBody>
        </p:sp>
      </p:grpSp>
    </p:spTree>
    <p:extLst>
      <p:ext uri="{BB962C8B-B14F-4D97-AF65-F5344CB8AC3E}">
        <p14:creationId xmlns:p14="http://schemas.microsoft.com/office/powerpoint/2010/main" val="270898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ivider | Whi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B81342F-81E0-41A9-B071-A30AB3139636}"/>
              </a:ext>
            </a:extLst>
          </p:cNvPr>
          <p:cNvGraphicFramePr>
            <a:graphicFrameLocks noChangeAspect="1"/>
          </p:cNvGraphicFramePr>
          <p:nvPr>
            <p:custDataLst>
              <p:tags r:id="rId2"/>
            </p:custDataLst>
            <p:extLst>
              <p:ext uri="{D42A27DB-BD31-4B8C-83A1-F6EECF244321}">
                <p14:modId xmlns:p14="http://schemas.microsoft.com/office/powerpoint/2010/main" val="3792560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4" imgW="359" imgH="358" progId="TCLayout.ActiveDocument.1">
                  <p:embed/>
                </p:oleObj>
              </mc:Choice>
              <mc:Fallback>
                <p:oleObj name="think-cell Slide" r:id="rId4" imgW="359" imgH="358" progId="TCLayout.ActiveDocument.1">
                  <p:embed/>
                  <p:pic>
                    <p:nvPicPr>
                      <p:cNvPr id="3" name="Objekt 2" hidden="1">
                        <a:extLst>
                          <a:ext uri="{FF2B5EF4-FFF2-40B4-BE49-F238E27FC236}">
                            <a16:creationId xmlns:a16="http://schemas.microsoft.com/office/drawing/2014/main" id="{FB81342F-81E0-41A9-B071-A30AB31396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871FE0EF-965B-46CD-A9F1-81016612E545}"/>
              </a:ext>
            </a:extLst>
          </p:cNvPr>
          <p:cNvSpPr>
            <a:spLocks noGrp="1"/>
          </p:cNvSpPr>
          <p:nvPr>
            <p:ph type="dt" sz="half" idx="10"/>
          </p:nvPr>
        </p:nvSpPr>
        <p:spPr bwMode="gray">
          <a:xfrm>
            <a:off x="9221773" y="6381352"/>
            <a:ext cx="2382839" cy="216000"/>
          </a:xfrm>
        </p:spPr>
        <p:txBody>
          <a:bodyPr/>
          <a:lstStyle>
            <a:lvl1pPr>
              <a:defRPr>
                <a:solidFill>
                  <a:schemeClr val="tx1"/>
                </a:solidFill>
              </a:defRPr>
            </a:lvl1pPr>
          </a:lstStyle>
          <a:p>
            <a:endParaRPr lang="en-US"/>
          </a:p>
        </p:txBody>
      </p:sp>
      <p:sp>
        <p:nvSpPr>
          <p:cNvPr id="5" name="Fußzeilenplatzhalter 4">
            <a:extLst>
              <a:ext uri="{FF2B5EF4-FFF2-40B4-BE49-F238E27FC236}">
                <a16:creationId xmlns:a16="http://schemas.microsoft.com/office/drawing/2014/main" id="{D5E1539D-5854-4F90-8453-6AD85C1D4836}"/>
              </a:ext>
            </a:extLst>
          </p:cNvPr>
          <p:cNvSpPr>
            <a:spLocks noGrp="1"/>
          </p:cNvSpPr>
          <p:nvPr>
            <p:ph type="ftr" sz="quarter" idx="11"/>
          </p:nvPr>
        </p:nvSpPr>
        <p:spPr bwMode="gray">
          <a:xfrm>
            <a:off x="587388" y="6381352"/>
            <a:ext cx="1928413" cy="138499"/>
          </a:xfrm>
        </p:spPr>
        <p:txBody>
          <a:bodyPr/>
          <a:lstStyle>
            <a:lvl1pPr>
              <a:defRPr>
                <a:solidFill>
                  <a:schemeClr val="tx1"/>
                </a:solidFill>
              </a:defRPr>
            </a:lvl1pPr>
          </a:lstStyle>
          <a:p>
            <a:endParaRPr lang="en-US"/>
          </a:p>
        </p:txBody>
      </p:sp>
      <p:sp>
        <p:nvSpPr>
          <p:cNvPr id="6" name="Foliennummernplatzhalter 5">
            <a:extLst>
              <a:ext uri="{FF2B5EF4-FFF2-40B4-BE49-F238E27FC236}">
                <a16:creationId xmlns:a16="http://schemas.microsoft.com/office/drawing/2014/main" id="{5110A4C5-9961-4FD8-BE55-7E0CE44D4552}"/>
              </a:ext>
            </a:extLst>
          </p:cNvPr>
          <p:cNvSpPr>
            <a:spLocks noGrp="1"/>
          </p:cNvSpPr>
          <p:nvPr>
            <p:ph type="sldNum" sz="quarter" idx="12"/>
          </p:nvPr>
        </p:nvSpPr>
        <p:spPr bwMode="gray"/>
        <p:txBody>
          <a:bodyPr/>
          <a:lstStyle>
            <a:lvl1pPr>
              <a:defRPr>
                <a:solidFill>
                  <a:schemeClr val="tx1"/>
                </a:solidFill>
              </a:defRPr>
            </a:lvl1pPr>
          </a:lstStyle>
          <a:p>
            <a:fld id="{BFCA3128-5B09-47E5-B47D-6F0CB7A5DE9F}" type="slidenum">
              <a:rPr lang="en-US"/>
              <a:t>‹#›</a:t>
            </a:fld>
            <a:endParaRPr lang="en-US"/>
          </a:p>
        </p:txBody>
      </p:sp>
      <p:sp>
        <p:nvSpPr>
          <p:cNvPr id="7" name="Titel 1">
            <a:extLst>
              <a:ext uri="{FF2B5EF4-FFF2-40B4-BE49-F238E27FC236}">
                <a16:creationId xmlns:a16="http://schemas.microsoft.com/office/drawing/2014/main" id="{382AB920-CA5E-4FE8-A308-D92107FA9408}"/>
              </a:ext>
            </a:extLst>
          </p:cNvPr>
          <p:cNvSpPr>
            <a:spLocks noGrp="1"/>
          </p:cNvSpPr>
          <p:nvPr>
            <p:ph type="title" hasCustomPrompt="1"/>
          </p:nvPr>
        </p:nvSpPr>
        <p:spPr bwMode="gray">
          <a:xfrm>
            <a:off x="587388" y="1916832"/>
            <a:ext cx="7776430" cy="1584000"/>
          </a:xfrm>
        </p:spPr>
        <p:txBody>
          <a:bodyPr vert="horz"/>
          <a:lstStyle>
            <a:lvl1pPr>
              <a:lnSpc>
                <a:spcPct val="100000"/>
              </a:lnSpc>
              <a:defRPr sz="3800" b="1">
                <a:solidFill>
                  <a:schemeClr val="accent1"/>
                </a:solidFill>
              </a:defRPr>
            </a:lvl1pPr>
          </a:lstStyle>
          <a:p>
            <a:r>
              <a:rPr lang="en-GB" noProof="0"/>
              <a:t>1 Click to edit Master title style</a:t>
            </a:r>
          </a:p>
        </p:txBody>
      </p:sp>
    </p:spTree>
    <p:extLst>
      <p:ext uri="{BB962C8B-B14F-4D97-AF65-F5344CB8AC3E}">
        <p14:creationId xmlns:p14="http://schemas.microsoft.com/office/powerpoint/2010/main" val="3840806890"/>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ivider | Pictur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D1D5118-986B-4635-9D6B-8CA6D3F14321}"/>
              </a:ext>
            </a:extLst>
          </p:cNvPr>
          <p:cNvGraphicFramePr>
            <a:graphicFrameLocks noChangeAspect="1"/>
          </p:cNvGraphicFramePr>
          <p:nvPr>
            <p:custDataLst>
              <p:tags r:id="rId2"/>
            </p:custDataLst>
            <p:extLst>
              <p:ext uri="{D42A27DB-BD31-4B8C-83A1-F6EECF244321}">
                <p14:modId xmlns:p14="http://schemas.microsoft.com/office/powerpoint/2010/main" val="1055262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0D1D5118-986B-4635-9D6B-8CA6D3F143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icture Placeholder 3">
            <a:extLst>
              <a:ext uri="{FF2B5EF4-FFF2-40B4-BE49-F238E27FC236}">
                <a16:creationId xmlns:a16="http://schemas.microsoft.com/office/drawing/2014/main" id="{611C4D44-4894-4762-BD1D-9C1B67849548}"/>
              </a:ext>
            </a:extLst>
          </p:cNvPr>
          <p:cNvSpPr>
            <a:spLocks noGrp="1"/>
          </p:cNvSpPr>
          <p:nvPr>
            <p:ph type="pic" sz="quarter" idx="13" hasCustomPrompt="1"/>
          </p:nvPr>
        </p:nvSpPr>
        <p:spPr bwMode="gray">
          <a:xfrm>
            <a:off x="0" y="0"/>
            <a:ext cx="4115780" cy="6858000"/>
          </a:xfrm>
          <a:solidFill>
            <a:schemeClr val="bg2"/>
          </a:solidFill>
        </p:spPr>
        <p:txBody>
          <a:bodyPr lIns="6912000" tIns="0" rIns="1368000" anchor="ctr" anchorCtr="0"/>
          <a:lstStyle>
            <a:lvl1pPr>
              <a:defRPr sz="1200">
                <a:solidFill>
                  <a:schemeClr val="accent4"/>
                </a:solidFill>
              </a:defRPr>
            </a:lvl1pPr>
            <a:lvl2pPr marL="0" indent="0">
              <a:buFontTx/>
              <a:buNone/>
              <a:defRPr sz="1200"/>
            </a:lvl2pPr>
            <a:lvl3pPr marL="0" indent="0">
              <a:buFontTx/>
              <a:buNone/>
              <a:defRPr sz="1200"/>
            </a:lvl3pPr>
            <a:lvl4pPr marL="0" indent="0">
              <a:buFontTx/>
              <a:buNone/>
              <a:tabLst/>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GB" noProof="0"/>
              <a:t> </a:t>
            </a:r>
          </a:p>
        </p:txBody>
      </p:sp>
      <p:sp>
        <p:nvSpPr>
          <p:cNvPr id="8" name="Titel 11">
            <a:extLst>
              <a:ext uri="{FF2B5EF4-FFF2-40B4-BE49-F238E27FC236}">
                <a16:creationId xmlns:a16="http://schemas.microsoft.com/office/drawing/2014/main" id="{3060036C-2095-4A53-9B7E-38866F624F3A}"/>
              </a:ext>
            </a:extLst>
          </p:cNvPr>
          <p:cNvSpPr>
            <a:spLocks noGrp="1"/>
          </p:cNvSpPr>
          <p:nvPr>
            <p:ph type="title" hasCustomPrompt="1"/>
          </p:nvPr>
        </p:nvSpPr>
        <p:spPr bwMode="gray">
          <a:xfrm>
            <a:off x="6059996" y="1917303"/>
            <a:ext cx="4428274" cy="1476164"/>
          </a:xfrm>
          <a:noFill/>
        </p:spPr>
        <p:txBody>
          <a:bodyPr vert="horz" wrap="square" lIns="0" tIns="0" rIns="0" bIns="0" anchor="t" anchorCtr="0">
            <a:noAutofit/>
          </a:bodyPr>
          <a:lstStyle>
            <a:lvl1pPr>
              <a:lnSpc>
                <a:spcPct val="90000"/>
              </a:lnSpc>
              <a:tabLst/>
              <a:defRPr sz="3800">
                <a:solidFill>
                  <a:schemeClr val="accent1"/>
                </a:solidFill>
              </a:defRPr>
            </a:lvl1pPr>
          </a:lstStyle>
          <a:p>
            <a:r>
              <a:rPr lang="en-GB" noProof="0"/>
              <a:t>Name </a:t>
            </a:r>
            <a:br>
              <a:rPr lang="en-GB" noProof="0"/>
            </a:br>
            <a:r>
              <a:rPr lang="en-GB" noProof="0"/>
              <a:t>of Chapter</a:t>
            </a:r>
          </a:p>
        </p:txBody>
      </p:sp>
      <p:sp>
        <p:nvSpPr>
          <p:cNvPr id="6" name="Datumsplatzhalter 5">
            <a:extLst>
              <a:ext uri="{FF2B5EF4-FFF2-40B4-BE49-F238E27FC236}">
                <a16:creationId xmlns:a16="http://schemas.microsoft.com/office/drawing/2014/main" id="{9BA87372-FAB3-4917-AC66-D5A5B55434B7}"/>
              </a:ext>
            </a:extLst>
          </p:cNvPr>
          <p:cNvSpPr>
            <a:spLocks noGrp="1"/>
          </p:cNvSpPr>
          <p:nvPr>
            <p:ph type="dt" sz="half" idx="14"/>
          </p:nvPr>
        </p:nvSpPr>
        <p:spPr bwMode="gray">
          <a:xfrm>
            <a:off x="9221773" y="6381352"/>
            <a:ext cx="2382839" cy="216000"/>
          </a:xfrm>
        </p:spPr>
        <p:txBody>
          <a:bodyPr/>
          <a:lstStyle>
            <a:lvl1pPr>
              <a:defRPr>
                <a:solidFill>
                  <a:schemeClr val="tx1"/>
                </a:solidFill>
              </a:defRPr>
            </a:lvl1pPr>
          </a:lstStyle>
          <a:p>
            <a:endParaRPr lang="en-US"/>
          </a:p>
        </p:txBody>
      </p:sp>
      <p:sp>
        <p:nvSpPr>
          <p:cNvPr id="7" name="Fußzeilenplatzhalter 6">
            <a:extLst>
              <a:ext uri="{FF2B5EF4-FFF2-40B4-BE49-F238E27FC236}">
                <a16:creationId xmlns:a16="http://schemas.microsoft.com/office/drawing/2014/main" id="{A760EB93-619B-49A7-AE25-B651A7260278}"/>
              </a:ext>
            </a:extLst>
          </p:cNvPr>
          <p:cNvSpPr>
            <a:spLocks noGrp="1"/>
          </p:cNvSpPr>
          <p:nvPr>
            <p:ph type="ftr" sz="quarter" idx="15"/>
          </p:nvPr>
        </p:nvSpPr>
        <p:spPr bwMode="gray">
          <a:xfrm>
            <a:off x="587388" y="6381352"/>
            <a:ext cx="1928413" cy="138499"/>
          </a:xfrm>
        </p:spPr>
        <p:txBody>
          <a:bodyPr/>
          <a:lstStyle>
            <a:lvl1pPr>
              <a:defRPr>
                <a:solidFill>
                  <a:schemeClr val="tx1"/>
                </a:solidFill>
              </a:defRPr>
            </a:lvl1pPr>
          </a:lstStyle>
          <a:p>
            <a:endParaRPr lang="en-US"/>
          </a:p>
        </p:txBody>
      </p:sp>
      <p:sp>
        <p:nvSpPr>
          <p:cNvPr id="9" name="Foliennummernplatzhalter 8">
            <a:extLst>
              <a:ext uri="{FF2B5EF4-FFF2-40B4-BE49-F238E27FC236}">
                <a16:creationId xmlns:a16="http://schemas.microsoft.com/office/drawing/2014/main" id="{4030CD8D-F6FC-4FF8-BEB4-E0243D166396}"/>
              </a:ext>
            </a:extLst>
          </p:cNvPr>
          <p:cNvSpPr>
            <a:spLocks noGrp="1"/>
          </p:cNvSpPr>
          <p:nvPr>
            <p:ph type="sldNum" sz="quarter" idx="16"/>
          </p:nvPr>
        </p:nvSpPr>
        <p:spPr bwMode="gray"/>
        <p:txBody>
          <a:bodyPr/>
          <a:lstStyle>
            <a:lvl1pPr>
              <a:defRPr>
                <a:solidFill>
                  <a:schemeClr val="tx1"/>
                </a:solidFill>
              </a:defRPr>
            </a:lvl1pPr>
          </a:lstStyle>
          <a:p>
            <a:fld id="{BFCA3128-5B09-47E5-B47D-6F0CB7A5DE9F}" type="slidenum">
              <a:rPr lang="en-US"/>
              <a:t>‹#›</a:t>
            </a:fld>
            <a:endParaRPr lang="en-US"/>
          </a:p>
        </p:txBody>
      </p:sp>
      <p:sp>
        <p:nvSpPr>
          <p:cNvPr id="5" name="Textplatzhalter 4">
            <a:extLst>
              <a:ext uri="{FF2B5EF4-FFF2-40B4-BE49-F238E27FC236}">
                <a16:creationId xmlns:a16="http://schemas.microsoft.com/office/drawing/2014/main" id="{5D6531A4-970B-4521-9DFA-314EA33AB868}"/>
              </a:ext>
            </a:extLst>
          </p:cNvPr>
          <p:cNvSpPr>
            <a:spLocks noGrp="1"/>
          </p:cNvSpPr>
          <p:nvPr>
            <p:ph type="body" sz="quarter" idx="17" hasCustomPrompt="1"/>
          </p:nvPr>
        </p:nvSpPr>
        <p:spPr bwMode="gray">
          <a:xfrm>
            <a:off x="5051884" y="1556792"/>
            <a:ext cx="863600" cy="1836737"/>
          </a:xfrm>
        </p:spPr>
        <p:txBody>
          <a:bodyPr tIns="108000"/>
          <a:lstStyle>
            <a:lvl1pPr marL="0" indent="0">
              <a:buFont typeface="Arial" panose="020B0604020202020204" pitchFamily="34" charset="0"/>
              <a:buNone/>
              <a:defRPr sz="9500" b="1">
                <a:solidFill>
                  <a:schemeClr val="accent1"/>
                </a:solidFill>
              </a:defRPr>
            </a:lvl1pPr>
            <a:lvl2pPr marL="0" indent="0">
              <a:buNone/>
              <a:defRPr sz="10000" b="1">
                <a:solidFill>
                  <a:schemeClr val="accent1"/>
                </a:solidFill>
              </a:defRPr>
            </a:lvl2pPr>
            <a:lvl3pPr marL="216000" indent="0">
              <a:buNone/>
              <a:defRPr sz="10000" b="1">
                <a:solidFill>
                  <a:schemeClr val="accent1"/>
                </a:solidFill>
              </a:defRPr>
            </a:lvl3pPr>
            <a:lvl4pPr marL="432000" indent="0">
              <a:buNone/>
              <a:defRPr sz="10000" b="1">
                <a:solidFill>
                  <a:schemeClr val="accent1"/>
                </a:solidFill>
              </a:defRPr>
            </a:lvl4pPr>
            <a:lvl5pPr marL="648000" indent="0">
              <a:buNone/>
              <a:defRPr sz="10000" b="1">
                <a:solidFill>
                  <a:schemeClr val="accent1"/>
                </a:solidFill>
              </a:defRPr>
            </a:lvl5pPr>
            <a:lvl6pPr marL="648000" indent="0">
              <a:buNone/>
              <a:defRPr sz="10000" b="1">
                <a:solidFill>
                  <a:schemeClr val="accent1"/>
                </a:solidFill>
              </a:defRPr>
            </a:lvl6pPr>
            <a:lvl7pPr marL="648000" indent="0">
              <a:buNone/>
              <a:defRPr sz="10000" b="1">
                <a:solidFill>
                  <a:schemeClr val="accent1"/>
                </a:solidFill>
              </a:defRPr>
            </a:lvl7pPr>
            <a:lvl8pPr marL="648000" indent="0">
              <a:buNone/>
              <a:defRPr sz="10000" b="1">
                <a:solidFill>
                  <a:schemeClr val="accent1"/>
                </a:solidFill>
              </a:defRPr>
            </a:lvl8pPr>
            <a:lvl9pPr marL="648000" indent="0">
              <a:buNone/>
              <a:defRPr sz="10000" b="1">
                <a:solidFill>
                  <a:schemeClr val="accent1"/>
                </a:solidFill>
              </a:defRPr>
            </a:lvl9pPr>
          </a:lstStyle>
          <a:p>
            <a:pPr lvl="0"/>
            <a:r>
              <a:rPr lang="en-GB"/>
              <a:t>X</a:t>
            </a:r>
          </a:p>
        </p:txBody>
      </p:sp>
    </p:spTree>
    <p:extLst>
      <p:ext uri="{BB962C8B-B14F-4D97-AF65-F5344CB8AC3E}">
        <p14:creationId xmlns:p14="http://schemas.microsoft.com/office/powerpoint/2010/main" val="1140156040"/>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ivider | Picture Bi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D1D5118-986B-4635-9D6B-8CA6D3F14321}"/>
              </a:ext>
            </a:extLst>
          </p:cNvPr>
          <p:cNvGraphicFramePr>
            <a:graphicFrameLocks noChangeAspect="1"/>
          </p:cNvGraphicFramePr>
          <p:nvPr>
            <p:custDataLst>
              <p:tags r:id="rId2"/>
            </p:custDataLst>
            <p:extLst>
              <p:ext uri="{D42A27DB-BD31-4B8C-83A1-F6EECF244321}">
                <p14:modId xmlns:p14="http://schemas.microsoft.com/office/powerpoint/2010/main" val="2149737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0D1D5118-986B-4635-9D6B-8CA6D3F143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icture Placeholder 3">
            <a:extLst>
              <a:ext uri="{FF2B5EF4-FFF2-40B4-BE49-F238E27FC236}">
                <a16:creationId xmlns:a16="http://schemas.microsoft.com/office/drawing/2014/main" id="{611C4D44-4894-4762-BD1D-9C1B67849548}"/>
              </a:ext>
            </a:extLst>
          </p:cNvPr>
          <p:cNvSpPr>
            <a:spLocks noGrp="1"/>
          </p:cNvSpPr>
          <p:nvPr>
            <p:ph type="pic" sz="quarter" idx="13" hasCustomPrompt="1"/>
          </p:nvPr>
        </p:nvSpPr>
        <p:spPr bwMode="gray">
          <a:xfrm>
            <a:off x="0" y="0"/>
            <a:ext cx="12192000" cy="6858000"/>
          </a:xfrm>
          <a:solidFill>
            <a:schemeClr val="bg2"/>
          </a:solidFill>
        </p:spPr>
        <p:txBody>
          <a:bodyPr lIns="6912000" tIns="0" rIns="1368000" anchor="ctr" anchorCtr="0"/>
          <a:lstStyle>
            <a:lvl1pPr>
              <a:defRPr sz="1200">
                <a:solidFill>
                  <a:schemeClr val="accent4"/>
                </a:solidFill>
              </a:defRPr>
            </a:lvl1pPr>
            <a:lvl2pPr marL="0" indent="0">
              <a:buFontTx/>
              <a:buNone/>
              <a:defRPr sz="1200"/>
            </a:lvl2pPr>
            <a:lvl3pPr marL="0" indent="0">
              <a:buFontTx/>
              <a:buNone/>
              <a:defRPr sz="1200"/>
            </a:lvl3pPr>
            <a:lvl4pPr marL="0" indent="0">
              <a:buFontTx/>
              <a:buNone/>
              <a:tabLst/>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GB" noProof="0"/>
              <a:t> </a:t>
            </a:r>
          </a:p>
        </p:txBody>
      </p:sp>
      <p:sp>
        <p:nvSpPr>
          <p:cNvPr id="8" name="Titel 11">
            <a:extLst>
              <a:ext uri="{FF2B5EF4-FFF2-40B4-BE49-F238E27FC236}">
                <a16:creationId xmlns:a16="http://schemas.microsoft.com/office/drawing/2014/main" id="{3060036C-2095-4A53-9B7E-38866F624F3A}"/>
              </a:ext>
            </a:extLst>
          </p:cNvPr>
          <p:cNvSpPr>
            <a:spLocks noGrp="1"/>
          </p:cNvSpPr>
          <p:nvPr>
            <p:ph type="title" hasCustomPrompt="1"/>
          </p:nvPr>
        </p:nvSpPr>
        <p:spPr bwMode="gray">
          <a:xfrm>
            <a:off x="587375" y="1916113"/>
            <a:ext cx="7524849" cy="1332867"/>
          </a:xfrm>
          <a:noFill/>
        </p:spPr>
        <p:txBody>
          <a:bodyPr vert="horz" wrap="square" lIns="0" tIns="0" rIns="0" bIns="0" anchor="t" anchorCtr="0">
            <a:noAutofit/>
          </a:bodyPr>
          <a:lstStyle>
            <a:lvl1pPr>
              <a:lnSpc>
                <a:spcPct val="90000"/>
              </a:lnSpc>
              <a:tabLst/>
              <a:defRPr sz="3800">
                <a:solidFill>
                  <a:schemeClr val="accent1"/>
                </a:solidFill>
              </a:defRPr>
            </a:lvl1pPr>
          </a:lstStyle>
          <a:p>
            <a:r>
              <a:rPr lang="en-GB" noProof="0"/>
              <a:t>1 Name of Chapter</a:t>
            </a:r>
          </a:p>
        </p:txBody>
      </p:sp>
      <p:sp>
        <p:nvSpPr>
          <p:cNvPr id="6" name="Datumsplatzhalter 5">
            <a:extLst>
              <a:ext uri="{FF2B5EF4-FFF2-40B4-BE49-F238E27FC236}">
                <a16:creationId xmlns:a16="http://schemas.microsoft.com/office/drawing/2014/main" id="{9BA87372-FAB3-4917-AC66-D5A5B55434B7}"/>
              </a:ext>
            </a:extLst>
          </p:cNvPr>
          <p:cNvSpPr>
            <a:spLocks noGrp="1"/>
          </p:cNvSpPr>
          <p:nvPr>
            <p:ph type="dt" sz="half" idx="14"/>
          </p:nvPr>
        </p:nvSpPr>
        <p:spPr bwMode="gray">
          <a:xfrm>
            <a:off x="9221773" y="6381352"/>
            <a:ext cx="2382839" cy="216000"/>
          </a:xfrm>
        </p:spPr>
        <p:txBody>
          <a:bodyPr/>
          <a:lstStyle>
            <a:lvl1pPr>
              <a:defRPr>
                <a:solidFill>
                  <a:schemeClr val="tx1"/>
                </a:solidFill>
              </a:defRPr>
            </a:lvl1pPr>
          </a:lstStyle>
          <a:p>
            <a:endParaRPr lang="en-US"/>
          </a:p>
        </p:txBody>
      </p:sp>
      <p:sp>
        <p:nvSpPr>
          <p:cNvPr id="7" name="Fußzeilenplatzhalter 6">
            <a:extLst>
              <a:ext uri="{FF2B5EF4-FFF2-40B4-BE49-F238E27FC236}">
                <a16:creationId xmlns:a16="http://schemas.microsoft.com/office/drawing/2014/main" id="{A760EB93-619B-49A7-AE25-B651A7260278}"/>
              </a:ext>
            </a:extLst>
          </p:cNvPr>
          <p:cNvSpPr>
            <a:spLocks noGrp="1"/>
          </p:cNvSpPr>
          <p:nvPr>
            <p:ph type="ftr" sz="quarter" idx="15"/>
          </p:nvPr>
        </p:nvSpPr>
        <p:spPr bwMode="gray">
          <a:xfrm>
            <a:off x="587388" y="6381352"/>
            <a:ext cx="1928413" cy="138499"/>
          </a:xfrm>
        </p:spPr>
        <p:txBody>
          <a:bodyPr/>
          <a:lstStyle>
            <a:lvl1pPr>
              <a:defRPr>
                <a:solidFill>
                  <a:schemeClr val="tx1"/>
                </a:solidFill>
              </a:defRPr>
            </a:lvl1pPr>
          </a:lstStyle>
          <a:p>
            <a:endParaRPr lang="en-US"/>
          </a:p>
        </p:txBody>
      </p:sp>
      <p:sp>
        <p:nvSpPr>
          <p:cNvPr id="9" name="Foliennummernplatzhalter 8">
            <a:extLst>
              <a:ext uri="{FF2B5EF4-FFF2-40B4-BE49-F238E27FC236}">
                <a16:creationId xmlns:a16="http://schemas.microsoft.com/office/drawing/2014/main" id="{4030CD8D-F6FC-4FF8-BEB4-E0243D166396}"/>
              </a:ext>
            </a:extLst>
          </p:cNvPr>
          <p:cNvSpPr>
            <a:spLocks noGrp="1"/>
          </p:cNvSpPr>
          <p:nvPr>
            <p:ph type="sldNum" sz="quarter" idx="16"/>
          </p:nvPr>
        </p:nvSpPr>
        <p:spPr bwMode="gray"/>
        <p:txBody>
          <a:bodyPr/>
          <a:lstStyle>
            <a:lvl1pPr>
              <a:defRPr>
                <a:solidFill>
                  <a:schemeClr val="tx1"/>
                </a:solidFill>
              </a:defRPr>
            </a:lvl1pPr>
          </a:lstStyle>
          <a:p>
            <a:fld id="{BFCA3128-5B09-47E5-B47D-6F0CB7A5DE9F}" type="slidenum">
              <a:rPr lang="en-US"/>
              <a:t>‹#›</a:t>
            </a:fld>
            <a:endParaRPr lang="en-US"/>
          </a:p>
        </p:txBody>
      </p:sp>
    </p:spTree>
    <p:extLst>
      <p:ext uri="{BB962C8B-B14F-4D97-AF65-F5344CB8AC3E}">
        <p14:creationId xmlns:p14="http://schemas.microsoft.com/office/powerpoint/2010/main" val="2165922559"/>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ivider | Picture Big | teal">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D1D5118-986B-4635-9D6B-8CA6D3F14321}"/>
              </a:ext>
            </a:extLst>
          </p:cNvPr>
          <p:cNvGraphicFramePr>
            <a:graphicFrameLocks noChangeAspect="1"/>
          </p:cNvGraphicFramePr>
          <p:nvPr>
            <p:custDataLst>
              <p:tags r:id="rId2"/>
            </p:custDataLst>
            <p:extLst>
              <p:ext uri="{D42A27DB-BD31-4B8C-83A1-F6EECF244321}">
                <p14:modId xmlns:p14="http://schemas.microsoft.com/office/powerpoint/2010/main" val="37968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0D1D5118-986B-4635-9D6B-8CA6D3F143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icture Placeholder 3">
            <a:extLst>
              <a:ext uri="{FF2B5EF4-FFF2-40B4-BE49-F238E27FC236}">
                <a16:creationId xmlns:a16="http://schemas.microsoft.com/office/drawing/2014/main" id="{611C4D44-4894-4762-BD1D-9C1B67849548}"/>
              </a:ext>
            </a:extLst>
          </p:cNvPr>
          <p:cNvSpPr>
            <a:spLocks noGrp="1"/>
          </p:cNvSpPr>
          <p:nvPr>
            <p:ph type="pic" sz="quarter" idx="13" hasCustomPrompt="1"/>
          </p:nvPr>
        </p:nvSpPr>
        <p:spPr bwMode="gray">
          <a:xfrm>
            <a:off x="0" y="0"/>
            <a:ext cx="12192000" cy="6858000"/>
          </a:xfrm>
          <a:solidFill>
            <a:schemeClr val="bg2"/>
          </a:solidFill>
        </p:spPr>
        <p:txBody>
          <a:bodyPr lIns="6912000" tIns="0" rIns="1368000" anchor="ctr" anchorCtr="0"/>
          <a:lstStyle>
            <a:lvl1pPr>
              <a:defRPr sz="1200">
                <a:solidFill>
                  <a:schemeClr val="accent4"/>
                </a:solidFill>
              </a:defRPr>
            </a:lvl1pPr>
            <a:lvl2pPr marL="0" indent="0">
              <a:buFontTx/>
              <a:buNone/>
              <a:defRPr sz="1200"/>
            </a:lvl2pPr>
            <a:lvl3pPr marL="0" indent="0">
              <a:buFontTx/>
              <a:buNone/>
              <a:defRPr sz="1200"/>
            </a:lvl3pPr>
            <a:lvl4pPr marL="0" indent="0">
              <a:buFontTx/>
              <a:buNone/>
              <a:tabLst/>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GB" noProof="0"/>
              <a:t> </a:t>
            </a:r>
          </a:p>
        </p:txBody>
      </p:sp>
      <p:sp>
        <p:nvSpPr>
          <p:cNvPr id="8" name="Titel 11">
            <a:extLst>
              <a:ext uri="{FF2B5EF4-FFF2-40B4-BE49-F238E27FC236}">
                <a16:creationId xmlns:a16="http://schemas.microsoft.com/office/drawing/2014/main" id="{3060036C-2095-4A53-9B7E-38866F624F3A}"/>
              </a:ext>
            </a:extLst>
          </p:cNvPr>
          <p:cNvSpPr>
            <a:spLocks noGrp="1"/>
          </p:cNvSpPr>
          <p:nvPr>
            <p:ph type="title" hasCustomPrompt="1"/>
          </p:nvPr>
        </p:nvSpPr>
        <p:spPr bwMode="gray">
          <a:xfrm>
            <a:off x="0" y="0"/>
            <a:ext cx="12191999" cy="6858000"/>
          </a:xfrm>
          <a:solidFill>
            <a:schemeClr val="accent1">
              <a:alpha val="60000"/>
            </a:schemeClr>
          </a:solidFill>
        </p:spPr>
        <p:txBody>
          <a:bodyPr vert="horz" wrap="square" lIns="576000" tIns="1908000" rIns="720000" bIns="0" anchor="t" anchorCtr="0">
            <a:noAutofit/>
          </a:bodyPr>
          <a:lstStyle>
            <a:lvl1pPr>
              <a:lnSpc>
                <a:spcPct val="90000"/>
              </a:lnSpc>
              <a:tabLst/>
              <a:defRPr sz="3800">
                <a:solidFill>
                  <a:schemeClr val="bg1"/>
                </a:solidFill>
              </a:defRPr>
            </a:lvl1pPr>
          </a:lstStyle>
          <a:p>
            <a:r>
              <a:rPr lang="en-GB" noProof="0"/>
              <a:t>1 Name of Chapter</a:t>
            </a:r>
          </a:p>
        </p:txBody>
      </p:sp>
      <p:sp>
        <p:nvSpPr>
          <p:cNvPr id="6" name="Datumsplatzhalter 5">
            <a:extLst>
              <a:ext uri="{FF2B5EF4-FFF2-40B4-BE49-F238E27FC236}">
                <a16:creationId xmlns:a16="http://schemas.microsoft.com/office/drawing/2014/main" id="{9BA87372-FAB3-4917-AC66-D5A5B55434B7}"/>
              </a:ext>
            </a:extLst>
          </p:cNvPr>
          <p:cNvSpPr>
            <a:spLocks noGrp="1"/>
          </p:cNvSpPr>
          <p:nvPr>
            <p:ph type="dt" sz="half" idx="14"/>
          </p:nvPr>
        </p:nvSpPr>
        <p:spPr bwMode="gray">
          <a:xfrm>
            <a:off x="9221773" y="6381352"/>
            <a:ext cx="2382839" cy="216000"/>
          </a:xfrm>
        </p:spPr>
        <p:txBody>
          <a:bodyPr/>
          <a:lstStyle>
            <a:lvl1pPr>
              <a:defRPr>
                <a:solidFill>
                  <a:schemeClr val="bg1"/>
                </a:solidFill>
              </a:defRPr>
            </a:lvl1pPr>
          </a:lstStyle>
          <a:p>
            <a:endParaRPr lang="en-US"/>
          </a:p>
        </p:txBody>
      </p:sp>
      <p:sp>
        <p:nvSpPr>
          <p:cNvPr id="7" name="Fußzeilenplatzhalter 6">
            <a:extLst>
              <a:ext uri="{FF2B5EF4-FFF2-40B4-BE49-F238E27FC236}">
                <a16:creationId xmlns:a16="http://schemas.microsoft.com/office/drawing/2014/main" id="{A760EB93-619B-49A7-AE25-B651A7260278}"/>
              </a:ext>
            </a:extLst>
          </p:cNvPr>
          <p:cNvSpPr>
            <a:spLocks noGrp="1"/>
          </p:cNvSpPr>
          <p:nvPr>
            <p:ph type="ftr" sz="quarter" idx="15"/>
          </p:nvPr>
        </p:nvSpPr>
        <p:spPr bwMode="gray">
          <a:xfrm>
            <a:off x="587388" y="6381352"/>
            <a:ext cx="1928413" cy="138499"/>
          </a:xfrm>
        </p:spPr>
        <p:txBody>
          <a:bodyPr/>
          <a:lstStyle>
            <a:lvl1pPr>
              <a:defRPr>
                <a:solidFill>
                  <a:schemeClr val="bg1"/>
                </a:solidFill>
              </a:defRPr>
            </a:lvl1pPr>
          </a:lstStyle>
          <a:p>
            <a:endParaRPr lang="en-US"/>
          </a:p>
        </p:txBody>
      </p:sp>
      <p:sp>
        <p:nvSpPr>
          <p:cNvPr id="9" name="Foliennummernplatzhalter 8">
            <a:extLst>
              <a:ext uri="{FF2B5EF4-FFF2-40B4-BE49-F238E27FC236}">
                <a16:creationId xmlns:a16="http://schemas.microsoft.com/office/drawing/2014/main" id="{4030CD8D-F6FC-4FF8-BEB4-E0243D166396}"/>
              </a:ext>
            </a:extLst>
          </p:cNvPr>
          <p:cNvSpPr>
            <a:spLocks noGrp="1"/>
          </p:cNvSpPr>
          <p:nvPr>
            <p:ph type="sldNum" sz="quarter" idx="16"/>
          </p:nvPr>
        </p:nvSpPr>
        <p:spPr bwMode="gray"/>
        <p:txBody>
          <a:bodyPr/>
          <a:lstStyle>
            <a:lvl1pPr>
              <a:defRPr>
                <a:solidFill>
                  <a:schemeClr val="bg1"/>
                </a:solidFill>
              </a:defRPr>
            </a:lvl1pPr>
          </a:lstStyle>
          <a:p>
            <a:fld id="{BFCA3128-5B09-47E5-B47D-6F0CB7A5DE9F}" type="slidenum">
              <a:rPr lang="en-US"/>
              <a:t>‹#›</a:t>
            </a:fld>
            <a:endParaRPr lang="en-US"/>
          </a:p>
        </p:txBody>
      </p:sp>
    </p:spTree>
    <p:extLst>
      <p:ext uri="{BB962C8B-B14F-4D97-AF65-F5344CB8AC3E}">
        <p14:creationId xmlns:p14="http://schemas.microsoft.com/office/powerpoint/2010/main" val="4289032244"/>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ivider | Picture Big | Whit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D1D5118-986B-4635-9D6B-8CA6D3F14321}"/>
              </a:ext>
            </a:extLst>
          </p:cNvPr>
          <p:cNvGraphicFramePr>
            <a:graphicFrameLocks noChangeAspect="1"/>
          </p:cNvGraphicFramePr>
          <p:nvPr>
            <p:custDataLst>
              <p:tags r:id="rId2"/>
            </p:custDataLst>
            <p:extLst>
              <p:ext uri="{D42A27DB-BD31-4B8C-83A1-F6EECF244321}">
                <p14:modId xmlns:p14="http://schemas.microsoft.com/office/powerpoint/2010/main" val="3474024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0D1D5118-986B-4635-9D6B-8CA6D3F143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icture Placeholder 3">
            <a:extLst>
              <a:ext uri="{FF2B5EF4-FFF2-40B4-BE49-F238E27FC236}">
                <a16:creationId xmlns:a16="http://schemas.microsoft.com/office/drawing/2014/main" id="{611C4D44-4894-4762-BD1D-9C1B67849548}"/>
              </a:ext>
            </a:extLst>
          </p:cNvPr>
          <p:cNvSpPr>
            <a:spLocks noGrp="1"/>
          </p:cNvSpPr>
          <p:nvPr>
            <p:ph type="pic" sz="quarter" idx="13" hasCustomPrompt="1"/>
          </p:nvPr>
        </p:nvSpPr>
        <p:spPr bwMode="gray">
          <a:xfrm>
            <a:off x="0" y="0"/>
            <a:ext cx="12192000" cy="6858000"/>
          </a:xfrm>
          <a:solidFill>
            <a:schemeClr val="bg2"/>
          </a:solidFill>
        </p:spPr>
        <p:txBody>
          <a:bodyPr lIns="6912000" tIns="0" rIns="1368000" anchor="ctr" anchorCtr="0"/>
          <a:lstStyle>
            <a:lvl1pPr>
              <a:defRPr sz="1200">
                <a:solidFill>
                  <a:schemeClr val="accent4"/>
                </a:solidFill>
              </a:defRPr>
            </a:lvl1pPr>
            <a:lvl2pPr marL="0" indent="0">
              <a:buFontTx/>
              <a:buNone/>
              <a:defRPr sz="1200"/>
            </a:lvl2pPr>
            <a:lvl3pPr marL="0" indent="0">
              <a:buFontTx/>
              <a:buNone/>
              <a:defRPr sz="1200"/>
            </a:lvl3pPr>
            <a:lvl4pPr marL="0" indent="0">
              <a:buFontTx/>
              <a:buNone/>
              <a:tabLst/>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GB" noProof="0"/>
              <a:t> </a:t>
            </a:r>
          </a:p>
        </p:txBody>
      </p:sp>
      <p:sp>
        <p:nvSpPr>
          <p:cNvPr id="8" name="Titel 11">
            <a:extLst>
              <a:ext uri="{FF2B5EF4-FFF2-40B4-BE49-F238E27FC236}">
                <a16:creationId xmlns:a16="http://schemas.microsoft.com/office/drawing/2014/main" id="{3060036C-2095-4A53-9B7E-38866F624F3A}"/>
              </a:ext>
            </a:extLst>
          </p:cNvPr>
          <p:cNvSpPr>
            <a:spLocks noGrp="1"/>
          </p:cNvSpPr>
          <p:nvPr>
            <p:ph type="title" hasCustomPrompt="1"/>
          </p:nvPr>
        </p:nvSpPr>
        <p:spPr bwMode="gray">
          <a:xfrm>
            <a:off x="0" y="0"/>
            <a:ext cx="12191999" cy="6858000"/>
          </a:xfrm>
          <a:solidFill>
            <a:schemeClr val="bg1">
              <a:alpha val="80000"/>
            </a:schemeClr>
          </a:solidFill>
        </p:spPr>
        <p:txBody>
          <a:bodyPr vert="horz" wrap="square" lIns="576000" tIns="1908000" rIns="720000" bIns="0" anchor="t" anchorCtr="0">
            <a:noAutofit/>
          </a:bodyPr>
          <a:lstStyle>
            <a:lvl1pPr>
              <a:lnSpc>
                <a:spcPct val="90000"/>
              </a:lnSpc>
              <a:tabLst/>
              <a:defRPr sz="3800">
                <a:solidFill>
                  <a:schemeClr val="accent1"/>
                </a:solidFill>
              </a:defRPr>
            </a:lvl1pPr>
          </a:lstStyle>
          <a:p>
            <a:r>
              <a:rPr lang="en-GB" noProof="0"/>
              <a:t>1 Name of Chapter</a:t>
            </a:r>
          </a:p>
        </p:txBody>
      </p:sp>
      <p:sp>
        <p:nvSpPr>
          <p:cNvPr id="6" name="Datumsplatzhalter 5">
            <a:extLst>
              <a:ext uri="{FF2B5EF4-FFF2-40B4-BE49-F238E27FC236}">
                <a16:creationId xmlns:a16="http://schemas.microsoft.com/office/drawing/2014/main" id="{9BA87372-FAB3-4917-AC66-D5A5B55434B7}"/>
              </a:ext>
            </a:extLst>
          </p:cNvPr>
          <p:cNvSpPr>
            <a:spLocks noGrp="1"/>
          </p:cNvSpPr>
          <p:nvPr>
            <p:ph type="dt" sz="half" idx="14"/>
          </p:nvPr>
        </p:nvSpPr>
        <p:spPr bwMode="gray">
          <a:xfrm>
            <a:off x="9221773" y="6381352"/>
            <a:ext cx="2382839" cy="216000"/>
          </a:xfrm>
        </p:spPr>
        <p:txBody>
          <a:bodyPr/>
          <a:lstStyle>
            <a:lvl1pPr>
              <a:defRPr>
                <a:solidFill>
                  <a:schemeClr val="tx1"/>
                </a:solidFill>
              </a:defRPr>
            </a:lvl1pPr>
          </a:lstStyle>
          <a:p>
            <a:endParaRPr lang="en-US"/>
          </a:p>
        </p:txBody>
      </p:sp>
      <p:sp>
        <p:nvSpPr>
          <p:cNvPr id="7" name="Fußzeilenplatzhalter 6">
            <a:extLst>
              <a:ext uri="{FF2B5EF4-FFF2-40B4-BE49-F238E27FC236}">
                <a16:creationId xmlns:a16="http://schemas.microsoft.com/office/drawing/2014/main" id="{A760EB93-619B-49A7-AE25-B651A7260278}"/>
              </a:ext>
            </a:extLst>
          </p:cNvPr>
          <p:cNvSpPr>
            <a:spLocks noGrp="1"/>
          </p:cNvSpPr>
          <p:nvPr>
            <p:ph type="ftr" sz="quarter" idx="15"/>
          </p:nvPr>
        </p:nvSpPr>
        <p:spPr bwMode="gray">
          <a:xfrm>
            <a:off x="587388" y="6381352"/>
            <a:ext cx="1928413" cy="138499"/>
          </a:xfrm>
        </p:spPr>
        <p:txBody>
          <a:bodyPr/>
          <a:lstStyle>
            <a:lvl1pPr>
              <a:defRPr>
                <a:solidFill>
                  <a:schemeClr val="tx1"/>
                </a:solidFill>
              </a:defRPr>
            </a:lvl1pPr>
          </a:lstStyle>
          <a:p>
            <a:endParaRPr lang="en-US"/>
          </a:p>
        </p:txBody>
      </p:sp>
      <p:sp>
        <p:nvSpPr>
          <p:cNvPr id="9" name="Foliennummernplatzhalter 8">
            <a:extLst>
              <a:ext uri="{FF2B5EF4-FFF2-40B4-BE49-F238E27FC236}">
                <a16:creationId xmlns:a16="http://schemas.microsoft.com/office/drawing/2014/main" id="{4030CD8D-F6FC-4FF8-BEB4-E0243D166396}"/>
              </a:ext>
            </a:extLst>
          </p:cNvPr>
          <p:cNvSpPr>
            <a:spLocks noGrp="1"/>
          </p:cNvSpPr>
          <p:nvPr>
            <p:ph type="sldNum" sz="quarter" idx="16"/>
          </p:nvPr>
        </p:nvSpPr>
        <p:spPr bwMode="gray"/>
        <p:txBody>
          <a:bodyPr/>
          <a:lstStyle>
            <a:lvl1pPr>
              <a:defRPr>
                <a:solidFill>
                  <a:schemeClr val="tx1"/>
                </a:solidFill>
              </a:defRPr>
            </a:lvl1pPr>
          </a:lstStyle>
          <a:p>
            <a:fld id="{BFCA3128-5B09-47E5-B47D-6F0CB7A5DE9F}" type="slidenum">
              <a:rPr lang="en-US"/>
              <a:t>‹#›</a:t>
            </a:fld>
            <a:endParaRPr lang="en-US"/>
          </a:p>
        </p:txBody>
      </p:sp>
    </p:spTree>
    <p:extLst>
      <p:ext uri="{BB962C8B-B14F-4D97-AF65-F5344CB8AC3E}">
        <p14:creationId xmlns:p14="http://schemas.microsoft.com/office/powerpoint/2010/main" val="5842036"/>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FB6B354-D26F-4CA3-8423-CEC7A748C450}"/>
              </a:ext>
            </a:extLst>
          </p:cNvPr>
          <p:cNvGraphicFramePr>
            <a:graphicFrameLocks noChangeAspect="1"/>
          </p:cNvGraphicFramePr>
          <p:nvPr>
            <p:custDataLst>
              <p:tags r:id="rId2"/>
            </p:custDataLst>
            <p:extLst>
              <p:ext uri="{D42A27DB-BD31-4B8C-83A1-F6EECF244321}">
                <p14:modId xmlns:p14="http://schemas.microsoft.com/office/powerpoint/2010/main" val="1217163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3FB6B354-D26F-4CA3-8423-CEC7A748C4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vert="horz"/>
          <a:lstStyle/>
          <a:p>
            <a:r>
              <a:rPr lang="en-GB" noProof="0"/>
              <a:t>Click to add title</a:t>
            </a:r>
          </a:p>
        </p:txBody>
      </p:sp>
      <p:sp>
        <p:nvSpPr>
          <p:cNvPr id="5" name="Content Placeholder 1">
            <a:extLst>
              <a:ext uri="{FF2B5EF4-FFF2-40B4-BE49-F238E27FC236}">
                <a16:creationId xmlns:a16="http://schemas.microsoft.com/office/drawing/2014/main" id="{E60B3DF5-A017-44F8-B089-C048DCA50147}"/>
              </a:ext>
            </a:extLst>
          </p:cNvPr>
          <p:cNvSpPr>
            <a:spLocks noGrp="1"/>
          </p:cNvSpPr>
          <p:nvPr>
            <p:ph sz="quarter" idx="13" hasCustomPrompt="1"/>
          </p:nvPr>
        </p:nvSpPr>
        <p:spPr bwMode="gray">
          <a:xfrm>
            <a:off x="587376" y="1916113"/>
            <a:ext cx="11017250" cy="4213225"/>
          </a:xfrm>
        </p:spPr>
        <p:txBody>
          <a:bodyPr/>
          <a:lstStyle>
            <a:lvl2pPr>
              <a:defRPr/>
            </a:lvl2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 name="Datumsplatzhalter 2">
            <a:extLst>
              <a:ext uri="{FF2B5EF4-FFF2-40B4-BE49-F238E27FC236}">
                <a16:creationId xmlns:a16="http://schemas.microsoft.com/office/drawing/2014/main" id="{B2B3D16E-414A-4060-BC94-84535C0165F6}"/>
              </a:ext>
            </a:extLst>
          </p:cNvPr>
          <p:cNvSpPr>
            <a:spLocks noGrp="1"/>
          </p:cNvSpPr>
          <p:nvPr>
            <p:ph type="dt" sz="half" idx="14"/>
          </p:nvPr>
        </p:nvSpPr>
        <p:spPr bwMode="gray"/>
        <p:txBody>
          <a:bodyPr/>
          <a:lstStyle/>
          <a:p>
            <a:endParaRPr lang="en-US"/>
          </a:p>
        </p:txBody>
      </p:sp>
      <p:sp>
        <p:nvSpPr>
          <p:cNvPr id="9" name="Fußzeilenplatzhalter 8">
            <a:extLst>
              <a:ext uri="{FF2B5EF4-FFF2-40B4-BE49-F238E27FC236}">
                <a16:creationId xmlns:a16="http://schemas.microsoft.com/office/drawing/2014/main" id="{3CC806EC-DFB2-43BD-A821-744770D5D3AC}"/>
              </a:ext>
            </a:extLst>
          </p:cNvPr>
          <p:cNvSpPr>
            <a:spLocks noGrp="1"/>
          </p:cNvSpPr>
          <p:nvPr>
            <p:ph type="ftr" sz="quarter" idx="15"/>
          </p:nvPr>
        </p:nvSpPr>
        <p:spPr bwMode="gray"/>
        <p:txBody>
          <a:bodyPr/>
          <a:lstStyle/>
          <a:p>
            <a:endParaRPr lang="en-US"/>
          </a:p>
        </p:txBody>
      </p:sp>
      <p:sp>
        <p:nvSpPr>
          <p:cNvPr id="10" name="Foliennummernplatzhalter 9">
            <a:extLst>
              <a:ext uri="{FF2B5EF4-FFF2-40B4-BE49-F238E27FC236}">
                <a16:creationId xmlns:a16="http://schemas.microsoft.com/office/drawing/2014/main" id="{60D78AD3-49B2-42FE-A559-BEA23650DF02}"/>
              </a:ext>
            </a:extLst>
          </p:cNvPr>
          <p:cNvSpPr>
            <a:spLocks noGrp="1"/>
          </p:cNvSpPr>
          <p:nvPr>
            <p:ph type="sldNum" sz="quarter" idx="16"/>
          </p:nvPr>
        </p:nvSpPr>
        <p:spPr bwMode="gray"/>
        <p:txBody>
          <a:bodyPr/>
          <a:lstStyle/>
          <a:p>
            <a:fld id="{BFCA3128-5B09-47E5-B47D-6F0CB7A5DE9F}" type="slidenum">
              <a:rPr lang="en-US"/>
              <a:t>‹#›</a:t>
            </a:fld>
            <a:endParaRPr lang="en-US"/>
          </a:p>
        </p:txBody>
      </p:sp>
    </p:spTree>
    <p:extLst>
      <p:ext uri="{BB962C8B-B14F-4D97-AF65-F5344CB8AC3E}">
        <p14:creationId xmlns:p14="http://schemas.microsoft.com/office/powerpoint/2010/main" val="213353017"/>
      </p:ext>
    </p:extLst>
  </p:cSld>
  <p:clrMapOvr>
    <a:masterClrMapping/>
  </p:clrMapOvr>
  <p:extLst>
    <p:ext uri="{DCECCB84-F9BA-43D5-87BE-67443E8EF086}">
      <p15:sldGuideLst xmlns:p15="http://schemas.microsoft.com/office/powerpoint/2012/main">
        <p15:guide id="1" orient="horz" pos="1071">
          <p15:clr>
            <a:srgbClr val="F26B43"/>
          </p15:clr>
        </p15:guide>
        <p15:guide id="2" pos="7310">
          <p15:clr>
            <a:srgbClr val="F26B43"/>
          </p15:clr>
        </p15:guide>
        <p15:guide id="3" pos="370">
          <p15:clr>
            <a:srgbClr val="F26B43"/>
          </p15:clr>
        </p15:guide>
        <p15:guide id="6" orient="horz" pos="232">
          <p15:clr>
            <a:srgbClr val="F26B43"/>
          </p15:clr>
        </p15:guide>
        <p15:guide id="8" orient="horz" pos="935">
          <p15:clr>
            <a:srgbClr val="F26B43"/>
          </p15:clr>
        </p15:guide>
        <p15:guide id="9" orient="horz" pos="3861">
          <p15:clr>
            <a:srgbClr val="F26B43"/>
          </p15:clr>
        </p15:guide>
        <p15:guide id="10" orient="horz" pos="1207">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0300226-7C90-44B8-96E6-83685D5EEA0A}"/>
              </a:ext>
            </a:extLst>
          </p:cNvPr>
          <p:cNvGraphicFramePr>
            <a:graphicFrameLocks noChangeAspect="1"/>
          </p:cNvGraphicFramePr>
          <p:nvPr>
            <p:custDataLst>
              <p:tags r:id="rId2"/>
            </p:custDataLst>
            <p:extLst>
              <p:ext uri="{D42A27DB-BD31-4B8C-83A1-F6EECF244321}">
                <p14:modId xmlns:p14="http://schemas.microsoft.com/office/powerpoint/2010/main" val="2018794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10300226-7C90-44B8-96E6-83685D5EEA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vert="horz"/>
          <a:lstStyle/>
          <a:p>
            <a:r>
              <a:rPr lang="en-GB" noProof="0"/>
              <a:t>Click to add title</a:t>
            </a:r>
          </a:p>
        </p:txBody>
      </p:sp>
      <p:sp>
        <p:nvSpPr>
          <p:cNvPr id="13" name="Content Placeholder 1">
            <a:extLst>
              <a:ext uri="{FF2B5EF4-FFF2-40B4-BE49-F238E27FC236}">
                <a16:creationId xmlns:a16="http://schemas.microsoft.com/office/drawing/2014/main" id="{19A81872-AC37-45B0-9928-42A9B241C552}"/>
              </a:ext>
            </a:extLst>
          </p:cNvPr>
          <p:cNvSpPr>
            <a:spLocks noGrp="1"/>
          </p:cNvSpPr>
          <p:nvPr>
            <p:ph sz="quarter" idx="16" hasCustomPrompt="1"/>
          </p:nvPr>
        </p:nvSpPr>
        <p:spPr bwMode="gray">
          <a:xfrm>
            <a:off x="587374" y="1916583"/>
            <a:ext cx="5400675" cy="4213226"/>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5" name="Content Placeholder 2">
            <a:extLst>
              <a:ext uri="{FF2B5EF4-FFF2-40B4-BE49-F238E27FC236}">
                <a16:creationId xmlns:a16="http://schemas.microsoft.com/office/drawing/2014/main" id="{6A1F12F7-2CA6-4D25-8661-804DEF3F8346}"/>
              </a:ext>
            </a:extLst>
          </p:cNvPr>
          <p:cNvSpPr>
            <a:spLocks noGrp="1"/>
          </p:cNvSpPr>
          <p:nvPr>
            <p:ph sz="quarter" idx="17" hasCustomPrompt="1"/>
          </p:nvPr>
        </p:nvSpPr>
        <p:spPr bwMode="gray">
          <a:xfrm>
            <a:off x="6203950" y="1916112"/>
            <a:ext cx="5400675" cy="4213225"/>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 name="Datumsplatzhalter 2">
            <a:extLst>
              <a:ext uri="{FF2B5EF4-FFF2-40B4-BE49-F238E27FC236}">
                <a16:creationId xmlns:a16="http://schemas.microsoft.com/office/drawing/2014/main" id="{E6357D8E-21FB-46CE-89F1-5BD166A76C7B}"/>
              </a:ext>
            </a:extLst>
          </p:cNvPr>
          <p:cNvSpPr>
            <a:spLocks noGrp="1"/>
          </p:cNvSpPr>
          <p:nvPr>
            <p:ph type="dt" sz="half" idx="18"/>
          </p:nvPr>
        </p:nvSpPr>
        <p:spPr bwMode="gray"/>
        <p:txBody>
          <a:bodyPr/>
          <a:lstStyle/>
          <a:p>
            <a:endParaRPr lang="en-US"/>
          </a:p>
        </p:txBody>
      </p:sp>
      <p:sp>
        <p:nvSpPr>
          <p:cNvPr id="5" name="Fußzeilenplatzhalter 4">
            <a:extLst>
              <a:ext uri="{FF2B5EF4-FFF2-40B4-BE49-F238E27FC236}">
                <a16:creationId xmlns:a16="http://schemas.microsoft.com/office/drawing/2014/main" id="{FB7B2E10-70D1-43FD-A041-B83D11899FDF}"/>
              </a:ext>
            </a:extLst>
          </p:cNvPr>
          <p:cNvSpPr>
            <a:spLocks noGrp="1"/>
          </p:cNvSpPr>
          <p:nvPr>
            <p:ph type="ftr" sz="quarter" idx="19"/>
          </p:nvPr>
        </p:nvSpPr>
        <p:spPr bwMode="gray"/>
        <p:txBody>
          <a:bodyPr/>
          <a:lstStyle/>
          <a:p>
            <a:endParaRPr lang="en-US"/>
          </a:p>
        </p:txBody>
      </p:sp>
      <p:sp>
        <p:nvSpPr>
          <p:cNvPr id="6" name="Foliennummernplatzhalter 5">
            <a:extLst>
              <a:ext uri="{FF2B5EF4-FFF2-40B4-BE49-F238E27FC236}">
                <a16:creationId xmlns:a16="http://schemas.microsoft.com/office/drawing/2014/main" id="{4AA86162-C255-4010-8EC8-46ECEDD644D9}"/>
              </a:ext>
            </a:extLst>
          </p:cNvPr>
          <p:cNvSpPr>
            <a:spLocks noGrp="1"/>
          </p:cNvSpPr>
          <p:nvPr>
            <p:ph type="sldNum" sz="quarter" idx="20"/>
          </p:nvPr>
        </p:nvSpPr>
        <p:spPr bwMode="gray"/>
        <p:txBody>
          <a:bodyPr/>
          <a:lstStyle/>
          <a:p>
            <a:fld id="{BFCA3128-5B09-47E5-B47D-6F0CB7A5DE9F}" type="slidenum">
              <a:rPr lang="en-US"/>
              <a:t>‹#›</a:t>
            </a:fld>
            <a:endParaRPr lang="en-US"/>
          </a:p>
        </p:txBody>
      </p:sp>
    </p:spTree>
    <p:extLst>
      <p:ext uri="{BB962C8B-B14F-4D97-AF65-F5344CB8AC3E}">
        <p14:creationId xmlns:p14="http://schemas.microsoft.com/office/powerpoint/2010/main" val="3397439427"/>
      </p:ext>
    </p:extLst>
  </p:cSld>
  <p:clrMapOvr>
    <a:masterClrMapping/>
  </p:clrMapOvr>
  <p:extLst>
    <p:ext uri="{DCECCB84-F9BA-43D5-87BE-67443E8EF086}">
      <p15:sldGuideLst xmlns:p15="http://schemas.microsoft.com/office/powerpoint/2012/main">
        <p15:guide id="1" pos="3772">
          <p15:clr>
            <a:srgbClr val="F26B43"/>
          </p15:clr>
        </p15:guide>
        <p15:guide id="2" pos="3908">
          <p15:clr>
            <a:srgbClr val="F26B43"/>
          </p15:clr>
        </p15:guide>
        <p15:guide id="3" pos="370">
          <p15:clr>
            <a:srgbClr val="F26B43"/>
          </p15:clr>
        </p15:guide>
        <p15:guide id="4" pos="7310">
          <p15:clr>
            <a:srgbClr val="F26B43"/>
          </p15:clr>
        </p15:guide>
        <p15:guide id="5" orient="horz" pos="1071">
          <p15:clr>
            <a:srgbClr val="F26B43"/>
          </p15:clr>
        </p15:guide>
        <p15:guide id="6" orient="horz" pos="3861">
          <p15:clr>
            <a:srgbClr val="F26B43"/>
          </p15:clr>
        </p15:guide>
        <p15:guide id="7" orient="horz" pos="1207">
          <p15:clr>
            <a:srgbClr val="F26B43"/>
          </p15:clr>
        </p15:guide>
        <p15:guide id="8" orient="horz" pos="232">
          <p15:clr>
            <a:srgbClr val="F26B43"/>
          </p15:clr>
        </p15:guide>
        <p15:guide id="9" orient="horz" pos="935">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FC76ECB-32CB-400C-8363-6129F9AFE888}"/>
              </a:ext>
            </a:extLst>
          </p:cNvPr>
          <p:cNvGraphicFramePr>
            <a:graphicFrameLocks noChangeAspect="1"/>
          </p:cNvGraphicFramePr>
          <p:nvPr>
            <p:custDataLst>
              <p:tags r:id="rId2"/>
            </p:custDataLst>
            <p:extLst>
              <p:ext uri="{D42A27DB-BD31-4B8C-83A1-F6EECF244321}">
                <p14:modId xmlns:p14="http://schemas.microsoft.com/office/powerpoint/2010/main" val="3039559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5FC76ECB-32CB-400C-8363-6129F9AFE8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vert="horz"/>
          <a:lstStyle/>
          <a:p>
            <a:r>
              <a:rPr lang="en-GB" noProof="0"/>
              <a:t>Click to add title</a:t>
            </a:r>
          </a:p>
        </p:txBody>
      </p:sp>
      <p:sp>
        <p:nvSpPr>
          <p:cNvPr id="12" name="Content Placeholder 1">
            <a:extLst>
              <a:ext uri="{FF2B5EF4-FFF2-40B4-BE49-F238E27FC236}">
                <a16:creationId xmlns:a16="http://schemas.microsoft.com/office/drawing/2014/main" id="{16AD052E-8012-4835-9892-599D5CAFCC84}"/>
              </a:ext>
            </a:extLst>
          </p:cNvPr>
          <p:cNvSpPr>
            <a:spLocks noGrp="1"/>
          </p:cNvSpPr>
          <p:nvPr>
            <p:ph sz="quarter" idx="18" hasCustomPrompt="1"/>
          </p:nvPr>
        </p:nvSpPr>
        <p:spPr bwMode="gray">
          <a:xfrm>
            <a:off x="587374" y="1916584"/>
            <a:ext cx="3529014" cy="4213225"/>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4"/>
            <a:endParaRPr lang="en-GB" noProof="0"/>
          </a:p>
        </p:txBody>
      </p:sp>
      <p:sp>
        <p:nvSpPr>
          <p:cNvPr id="5" name="Content Placeholder 3">
            <a:extLst>
              <a:ext uri="{FF2B5EF4-FFF2-40B4-BE49-F238E27FC236}">
                <a16:creationId xmlns:a16="http://schemas.microsoft.com/office/drawing/2014/main" id="{C4E953B2-D72D-4578-939D-BC8A4FF7FE17}"/>
              </a:ext>
            </a:extLst>
          </p:cNvPr>
          <p:cNvSpPr>
            <a:spLocks noGrp="1"/>
          </p:cNvSpPr>
          <p:nvPr>
            <p:ph sz="quarter" idx="20" hasCustomPrompt="1"/>
          </p:nvPr>
        </p:nvSpPr>
        <p:spPr bwMode="gray">
          <a:xfrm>
            <a:off x="8075613" y="1916113"/>
            <a:ext cx="3528999" cy="4213225"/>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4"/>
            <a:endParaRPr lang="en-GB" noProof="0"/>
          </a:p>
        </p:txBody>
      </p:sp>
      <p:sp>
        <p:nvSpPr>
          <p:cNvPr id="11" name="Content Placeholder 1">
            <a:extLst>
              <a:ext uri="{FF2B5EF4-FFF2-40B4-BE49-F238E27FC236}">
                <a16:creationId xmlns:a16="http://schemas.microsoft.com/office/drawing/2014/main" id="{8F94276C-FF43-433B-8FDC-C87F7B8A3A3E}"/>
              </a:ext>
            </a:extLst>
          </p:cNvPr>
          <p:cNvSpPr>
            <a:spLocks noGrp="1"/>
          </p:cNvSpPr>
          <p:nvPr>
            <p:ph sz="quarter" idx="24" hasCustomPrompt="1"/>
          </p:nvPr>
        </p:nvSpPr>
        <p:spPr bwMode="gray">
          <a:xfrm>
            <a:off x="4332289" y="1916584"/>
            <a:ext cx="3527424" cy="4213225"/>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4"/>
            <a:endParaRPr lang="en-GB" noProof="0"/>
          </a:p>
        </p:txBody>
      </p:sp>
      <p:sp>
        <p:nvSpPr>
          <p:cNvPr id="3" name="Datumsplatzhalter 2">
            <a:extLst>
              <a:ext uri="{FF2B5EF4-FFF2-40B4-BE49-F238E27FC236}">
                <a16:creationId xmlns:a16="http://schemas.microsoft.com/office/drawing/2014/main" id="{A6A35E5A-B454-4B24-A414-65722C43591D}"/>
              </a:ext>
            </a:extLst>
          </p:cNvPr>
          <p:cNvSpPr>
            <a:spLocks noGrp="1"/>
          </p:cNvSpPr>
          <p:nvPr>
            <p:ph type="dt" sz="half" idx="25"/>
          </p:nvPr>
        </p:nvSpPr>
        <p:spPr bwMode="gray"/>
        <p:txBody>
          <a:bodyPr/>
          <a:lstStyle/>
          <a:p>
            <a:endParaRPr lang="en-US"/>
          </a:p>
        </p:txBody>
      </p:sp>
      <p:sp>
        <p:nvSpPr>
          <p:cNvPr id="9" name="Fußzeilenplatzhalter 8">
            <a:extLst>
              <a:ext uri="{FF2B5EF4-FFF2-40B4-BE49-F238E27FC236}">
                <a16:creationId xmlns:a16="http://schemas.microsoft.com/office/drawing/2014/main" id="{B82906B0-826B-4802-AB57-FEA612A14A5A}"/>
              </a:ext>
            </a:extLst>
          </p:cNvPr>
          <p:cNvSpPr>
            <a:spLocks noGrp="1"/>
          </p:cNvSpPr>
          <p:nvPr>
            <p:ph type="ftr" sz="quarter" idx="26"/>
          </p:nvPr>
        </p:nvSpPr>
        <p:spPr bwMode="gray"/>
        <p:txBody>
          <a:bodyPr/>
          <a:lstStyle/>
          <a:p>
            <a:endParaRPr lang="en-US"/>
          </a:p>
        </p:txBody>
      </p:sp>
      <p:sp>
        <p:nvSpPr>
          <p:cNvPr id="10" name="Foliennummernplatzhalter 9">
            <a:extLst>
              <a:ext uri="{FF2B5EF4-FFF2-40B4-BE49-F238E27FC236}">
                <a16:creationId xmlns:a16="http://schemas.microsoft.com/office/drawing/2014/main" id="{D1429482-32B6-41C3-8AAB-6B1D238FF0EC}"/>
              </a:ext>
            </a:extLst>
          </p:cNvPr>
          <p:cNvSpPr>
            <a:spLocks noGrp="1"/>
          </p:cNvSpPr>
          <p:nvPr>
            <p:ph type="sldNum" sz="quarter" idx="27"/>
          </p:nvPr>
        </p:nvSpPr>
        <p:spPr bwMode="gray"/>
        <p:txBody>
          <a:bodyPr/>
          <a:lstStyle/>
          <a:p>
            <a:fld id="{BFCA3128-5B09-47E5-B47D-6F0CB7A5DE9F}" type="slidenum">
              <a:rPr lang="en-US"/>
              <a:t>‹#›</a:t>
            </a:fld>
            <a:endParaRPr lang="en-US"/>
          </a:p>
        </p:txBody>
      </p:sp>
    </p:spTree>
    <p:extLst>
      <p:ext uri="{BB962C8B-B14F-4D97-AF65-F5344CB8AC3E}">
        <p14:creationId xmlns:p14="http://schemas.microsoft.com/office/powerpoint/2010/main" val="811774655"/>
      </p:ext>
    </p:extLst>
  </p:cSld>
  <p:clrMapOvr>
    <a:masterClrMapping/>
  </p:clrMapOvr>
  <p:extLst>
    <p:ext uri="{DCECCB84-F9BA-43D5-87BE-67443E8EF086}">
      <p15:sldGuideLst xmlns:p15="http://schemas.microsoft.com/office/powerpoint/2012/main">
        <p15:guide id="1" pos="2729">
          <p15:clr>
            <a:srgbClr val="F26B43"/>
          </p15:clr>
        </p15:guide>
        <p15:guide id="2" pos="2593">
          <p15:clr>
            <a:srgbClr val="F26B43"/>
          </p15:clr>
        </p15:guide>
        <p15:guide id="3" pos="4951">
          <p15:clr>
            <a:srgbClr val="F26B43"/>
          </p15:clr>
        </p15:guide>
        <p15:guide id="4" pos="5087">
          <p15:clr>
            <a:srgbClr val="F26B43"/>
          </p15:clr>
        </p15:guide>
        <p15:guide id="5" orient="horz" pos="1071">
          <p15:clr>
            <a:srgbClr val="F26B43"/>
          </p15:clr>
        </p15:guide>
        <p15:guide id="6" orient="horz" pos="3861">
          <p15:clr>
            <a:srgbClr val="F26B43"/>
          </p15:clr>
        </p15:guide>
        <p15:guide id="7" pos="370">
          <p15:clr>
            <a:srgbClr val="F26B43"/>
          </p15:clr>
        </p15:guide>
        <p15:guide id="8" pos="7310">
          <p15:clr>
            <a:srgbClr val="F26B43"/>
          </p15:clr>
        </p15:guide>
        <p15:guide id="9" orient="horz" pos="232">
          <p15:clr>
            <a:srgbClr val="F26B43"/>
          </p15:clr>
        </p15:guide>
        <p15:guide id="10" orient="horz" pos="935">
          <p15:clr>
            <a:srgbClr val="F26B43"/>
          </p15:clr>
        </p15:guide>
        <p15:guide id="11" orient="horz" pos="1207">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wo Contents | Column whit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F84DD7F-8245-4225-A5F6-BF8C447654E5}"/>
              </a:ext>
            </a:extLst>
          </p:cNvPr>
          <p:cNvGraphicFramePr>
            <a:graphicFrameLocks noChangeAspect="1"/>
          </p:cNvGraphicFramePr>
          <p:nvPr>
            <p:custDataLst>
              <p:tags r:id="rId2"/>
            </p:custDataLst>
            <p:extLst>
              <p:ext uri="{D42A27DB-BD31-4B8C-83A1-F6EECF244321}">
                <p14:modId xmlns:p14="http://schemas.microsoft.com/office/powerpoint/2010/main" val="173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1F84DD7F-8245-4225-A5F6-BF8C447654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vert="horz"/>
          <a:lstStyle/>
          <a:p>
            <a:r>
              <a:rPr lang="en-GB" noProof="0"/>
              <a:t>Click to add title</a:t>
            </a:r>
          </a:p>
        </p:txBody>
      </p:sp>
      <p:sp>
        <p:nvSpPr>
          <p:cNvPr id="13" name="Content Placeholder 1">
            <a:extLst>
              <a:ext uri="{FF2B5EF4-FFF2-40B4-BE49-F238E27FC236}">
                <a16:creationId xmlns:a16="http://schemas.microsoft.com/office/drawing/2014/main" id="{19A81872-AC37-45B0-9928-42A9B241C552}"/>
              </a:ext>
            </a:extLst>
          </p:cNvPr>
          <p:cNvSpPr>
            <a:spLocks noGrp="1"/>
          </p:cNvSpPr>
          <p:nvPr>
            <p:ph sz="quarter" idx="16" hasCustomPrompt="1"/>
          </p:nvPr>
        </p:nvSpPr>
        <p:spPr bwMode="gray">
          <a:xfrm>
            <a:off x="587374" y="1916135"/>
            <a:ext cx="7272339" cy="4213673"/>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5" name="Content Placeholder 2">
            <a:extLst>
              <a:ext uri="{FF2B5EF4-FFF2-40B4-BE49-F238E27FC236}">
                <a16:creationId xmlns:a16="http://schemas.microsoft.com/office/drawing/2014/main" id="{6A1F12F7-2CA6-4D25-8661-804DEF3F8346}"/>
              </a:ext>
            </a:extLst>
          </p:cNvPr>
          <p:cNvSpPr>
            <a:spLocks noGrp="1"/>
          </p:cNvSpPr>
          <p:nvPr>
            <p:ph sz="quarter" idx="17" hasCustomPrompt="1"/>
          </p:nvPr>
        </p:nvSpPr>
        <p:spPr bwMode="gray">
          <a:xfrm>
            <a:off x="8075613" y="1916113"/>
            <a:ext cx="3529013" cy="4213225"/>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 name="Datumsplatzhalter 2">
            <a:extLst>
              <a:ext uri="{FF2B5EF4-FFF2-40B4-BE49-F238E27FC236}">
                <a16:creationId xmlns:a16="http://schemas.microsoft.com/office/drawing/2014/main" id="{D59DD4D7-0D19-421E-95FA-60AF3A91A66E}"/>
              </a:ext>
            </a:extLst>
          </p:cNvPr>
          <p:cNvSpPr>
            <a:spLocks noGrp="1"/>
          </p:cNvSpPr>
          <p:nvPr>
            <p:ph type="dt" sz="half" idx="18"/>
          </p:nvPr>
        </p:nvSpPr>
        <p:spPr bwMode="gray"/>
        <p:txBody>
          <a:bodyPr/>
          <a:lstStyle/>
          <a:p>
            <a:endParaRPr lang="en-US"/>
          </a:p>
        </p:txBody>
      </p:sp>
      <p:sp>
        <p:nvSpPr>
          <p:cNvPr id="8" name="Fußzeilenplatzhalter 7">
            <a:extLst>
              <a:ext uri="{FF2B5EF4-FFF2-40B4-BE49-F238E27FC236}">
                <a16:creationId xmlns:a16="http://schemas.microsoft.com/office/drawing/2014/main" id="{902F730E-C741-4B65-965C-F46E4A0A2467}"/>
              </a:ext>
            </a:extLst>
          </p:cNvPr>
          <p:cNvSpPr>
            <a:spLocks noGrp="1"/>
          </p:cNvSpPr>
          <p:nvPr>
            <p:ph type="ftr" sz="quarter" idx="19"/>
          </p:nvPr>
        </p:nvSpPr>
        <p:spPr bwMode="gray"/>
        <p:txBody>
          <a:bodyPr/>
          <a:lstStyle/>
          <a:p>
            <a:endParaRPr lang="en-US"/>
          </a:p>
        </p:txBody>
      </p:sp>
      <p:sp>
        <p:nvSpPr>
          <p:cNvPr id="9" name="Foliennummernplatzhalter 8">
            <a:extLst>
              <a:ext uri="{FF2B5EF4-FFF2-40B4-BE49-F238E27FC236}">
                <a16:creationId xmlns:a16="http://schemas.microsoft.com/office/drawing/2014/main" id="{D56921DE-D845-44F9-9623-17C052284DF0}"/>
              </a:ext>
            </a:extLst>
          </p:cNvPr>
          <p:cNvSpPr>
            <a:spLocks noGrp="1"/>
          </p:cNvSpPr>
          <p:nvPr>
            <p:ph type="sldNum" sz="quarter" idx="20"/>
          </p:nvPr>
        </p:nvSpPr>
        <p:spPr bwMode="gray"/>
        <p:txBody>
          <a:bodyPr/>
          <a:lstStyle/>
          <a:p>
            <a:fld id="{BFCA3128-5B09-47E5-B47D-6F0CB7A5DE9F}" type="slidenum">
              <a:rPr lang="en-US"/>
              <a:t>‹#›</a:t>
            </a:fld>
            <a:endParaRPr lang="en-US"/>
          </a:p>
        </p:txBody>
      </p:sp>
    </p:spTree>
    <p:extLst>
      <p:ext uri="{BB962C8B-B14F-4D97-AF65-F5344CB8AC3E}">
        <p14:creationId xmlns:p14="http://schemas.microsoft.com/office/powerpoint/2010/main" val="1130709443"/>
      </p:ext>
    </p:extLst>
  </p:cSld>
  <p:clrMapOvr>
    <a:masterClrMapping/>
  </p:clrMapOvr>
  <p:extLst>
    <p:ext uri="{DCECCB84-F9BA-43D5-87BE-67443E8EF086}">
      <p15:sldGuideLst xmlns:p15="http://schemas.microsoft.com/office/powerpoint/2012/main">
        <p15:guide id="1" pos="4951">
          <p15:clr>
            <a:srgbClr val="F26B43"/>
          </p15:clr>
        </p15:guide>
        <p15:guide id="2" pos="5087">
          <p15:clr>
            <a:srgbClr val="F26B43"/>
          </p15:clr>
        </p15:guide>
        <p15:guide id="3" pos="370">
          <p15:clr>
            <a:srgbClr val="F26B43"/>
          </p15:clr>
        </p15:guide>
        <p15:guide id="4" pos="7310">
          <p15:clr>
            <a:srgbClr val="F26B43"/>
          </p15:clr>
        </p15:guide>
        <p15:guide id="5" orient="horz" pos="1071">
          <p15:clr>
            <a:srgbClr val="F26B43"/>
          </p15:clr>
        </p15:guide>
        <p15:guide id="6" orient="horz" pos="3861">
          <p15:clr>
            <a:srgbClr val="F26B43"/>
          </p15:clr>
        </p15:guide>
        <p15:guide id="7" orient="horz" pos="1207">
          <p15:clr>
            <a:srgbClr val="F26B43"/>
          </p15:clr>
        </p15:guide>
        <p15:guide id="8" orient="horz" pos="935">
          <p15:clr>
            <a:srgbClr val="F26B43"/>
          </p15:clr>
        </p15:guide>
        <p15:guide id="9" orient="horz" pos="232">
          <p15:clr>
            <a:srgbClr val="F26B43"/>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wo Contents | Column Colour">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CDC50B4-0C64-47DB-B420-DEDF024B76F1}"/>
              </a:ext>
            </a:extLst>
          </p:cNvPr>
          <p:cNvGraphicFramePr>
            <a:graphicFrameLocks noChangeAspect="1"/>
          </p:cNvGraphicFramePr>
          <p:nvPr>
            <p:custDataLst>
              <p:tags r:id="rId2"/>
            </p:custDataLst>
            <p:extLst>
              <p:ext uri="{D42A27DB-BD31-4B8C-83A1-F6EECF244321}">
                <p14:modId xmlns:p14="http://schemas.microsoft.com/office/powerpoint/2010/main" val="3336702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ACDC50B4-0C64-47DB-B420-DEDF024B76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2">
            <a:extLst>
              <a:ext uri="{FF2B5EF4-FFF2-40B4-BE49-F238E27FC236}">
                <a16:creationId xmlns:a16="http://schemas.microsoft.com/office/drawing/2014/main" id="{D2FF34E1-4C9D-48A7-8A09-EA237A0DDBCB}"/>
              </a:ext>
            </a:extLst>
          </p:cNvPr>
          <p:cNvSpPr>
            <a:spLocks noGrp="1"/>
          </p:cNvSpPr>
          <p:nvPr>
            <p:ph sz="quarter" idx="17" hasCustomPrompt="1"/>
          </p:nvPr>
        </p:nvSpPr>
        <p:spPr bwMode="gray">
          <a:xfrm>
            <a:off x="8075613" y="0"/>
            <a:ext cx="4116387" cy="6858000"/>
          </a:xfrm>
          <a:solidFill>
            <a:schemeClr val="accent1"/>
          </a:solidFill>
        </p:spPr>
        <p:txBody>
          <a:bodyPr lIns="432000" tIns="1908000" rIns="576000" bIns="720000"/>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4"/>
            <a:endParaRPr lang="en-GB" noProof="0"/>
          </a:p>
        </p:txBody>
      </p:sp>
      <p:sp>
        <p:nvSpPr>
          <p:cNvPr id="13" name="Content Placeholder 1">
            <a:extLst>
              <a:ext uri="{FF2B5EF4-FFF2-40B4-BE49-F238E27FC236}">
                <a16:creationId xmlns:a16="http://schemas.microsoft.com/office/drawing/2014/main" id="{19A81872-AC37-45B0-9928-42A9B241C552}"/>
              </a:ext>
            </a:extLst>
          </p:cNvPr>
          <p:cNvSpPr>
            <a:spLocks noGrp="1"/>
          </p:cNvSpPr>
          <p:nvPr>
            <p:ph sz="quarter" idx="16" hasCustomPrompt="1"/>
          </p:nvPr>
        </p:nvSpPr>
        <p:spPr bwMode="gray">
          <a:xfrm>
            <a:off x="587374" y="1916113"/>
            <a:ext cx="7272339" cy="4213225"/>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endParaRPr lang="en-GB" noProof="0"/>
          </a:p>
        </p:txBody>
      </p:sp>
      <p:sp>
        <p:nvSpPr>
          <p:cNvPr id="2" name="Titel 1">
            <a:extLst>
              <a:ext uri="{FF2B5EF4-FFF2-40B4-BE49-F238E27FC236}">
                <a16:creationId xmlns:a16="http://schemas.microsoft.com/office/drawing/2014/main" id="{43F969D1-31B2-4F3F-AFBC-AF9E2DF37EEA}"/>
              </a:ext>
            </a:extLst>
          </p:cNvPr>
          <p:cNvSpPr>
            <a:spLocks noGrp="1"/>
          </p:cNvSpPr>
          <p:nvPr>
            <p:ph type="title" hasCustomPrompt="1"/>
          </p:nvPr>
        </p:nvSpPr>
        <p:spPr bwMode="gray">
          <a:xfrm>
            <a:off x="587374" y="368300"/>
            <a:ext cx="7272339" cy="934900"/>
          </a:xfrm>
        </p:spPr>
        <p:txBody>
          <a:bodyPr vert="horz"/>
          <a:lstStyle/>
          <a:p>
            <a:r>
              <a:rPr lang="en-GB" noProof="0"/>
              <a:t>Click to add title</a:t>
            </a:r>
          </a:p>
        </p:txBody>
      </p:sp>
      <p:sp>
        <p:nvSpPr>
          <p:cNvPr id="3" name="Datumsplatzhalter 2">
            <a:extLst>
              <a:ext uri="{FF2B5EF4-FFF2-40B4-BE49-F238E27FC236}">
                <a16:creationId xmlns:a16="http://schemas.microsoft.com/office/drawing/2014/main" id="{E276DC46-35EB-4742-AF70-57DA17417F62}"/>
              </a:ext>
            </a:extLst>
          </p:cNvPr>
          <p:cNvSpPr>
            <a:spLocks noGrp="1"/>
          </p:cNvSpPr>
          <p:nvPr>
            <p:ph type="dt" sz="half" idx="18"/>
          </p:nvPr>
        </p:nvSpPr>
        <p:spPr bwMode="gray"/>
        <p:txBody>
          <a:bodyPr/>
          <a:lstStyle>
            <a:lvl1pPr>
              <a:defRPr>
                <a:solidFill>
                  <a:schemeClr val="bg1"/>
                </a:solidFill>
              </a:defRPr>
            </a:lvl1pPr>
          </a:lstStyle>
          <a:p>
            <a:endParaRPr lang="en-US"/>
          </a:p>
        </p:txBody>
      </p:sp>
      <p:sp>
        <p:nvSpPr>
          <p:cNvPr id="9" name="Fußzeilenplatzhalter 8">
            <a:extLst>
              <a:ext uri="{FF2B5EF4-FFF2-40B4-BE49-F238E27FC236}">
                <a16:creationId xmlns:a16="http://schemas.microsoft.com/office/drawing/2014/main" id="{19B94CCB-B95C-4F1D-933A-60112A98F588}"/>
              </a:ext>
            </a:extLst>
          </p:cNvPr>
          <p:cNvSpPr>
            <a:spLocks noGrp="1"/>
          </p:cNvSpPr>
          <p:nvPr>
            <p:ph type="ftr" sz="quarter" idx="19"/>
          </p:nvPr>
        </p:nvSpPr>
        <p:spPr bwMode="gray"/>
        <p:txBody>
          <a:bodyPr/>
          <a:lstStyle/>
          <a:p>
            <a:endParaRPr lang="en-US"/>
          </a:p>
        </p:txBody>
      </p:sp>
      <p:sp>
        <p:nvSpPr>
          <p:cNvPr id="10" name="Foliennummernplatzhalter 9">
            <a:extLst>
              <a:ext uri="{FF2B5EF4-FFF2-40B4-BE49-F238E27FC236}">
                <a16:creationId xmlns:a16="http://schemas.microsoft.com/office/drawing/2014/main" id="{887F8E3E-FF89-4EBD-A40A-79BA67A4C6B1}"/>
              </a:ext>
            </a:extLst>
          </p:cNvPr>
          <p:cNvSpPr>
            <a:spLocks noGrp="1"/>
          </p:cNvSpPr>
          <p:nvPr>
            <p:ph type="sldNum" sz="quarter" idx="20"/>
          </p:nvPr>
        </p:nvSpPr>
        <p:spPr bwMode="gray"/>
        <p:txBody>
          <a:bodyPr/>
          <a:lstStyle/>
          <a:p>
            <a:fld id="{BFCA3128-5B09-47E5-B47D-6F0CB7A5DE9F}" type="slidenum">
              <a:rPr lang="en-US"/>
              <a:t>‹#›</a:t>
            </a:fld>
            <a:endParaRPr lang="en-US"/>
          </a:p>
        </p:txBody>
      </p:sp>
    </p:spTree>
    <p:extLst>
      <p:ext uri="{BB962C8B-B14F-4D97-AF65-F5344CB8AC3E}">
        <p14:creationId xmlns:p14="http://schemas.microsoft.com/office/powerpoint/2010/main" val="3397424726"/>
      </p:ext>
    </p:extLst>
  </p:cSld>
  <p:clrMapOvr>
    <a:masterClrMapping/>
  </p:clrMapOvr>
  <p:extLst>
    <p:ext uri="{DCECCB84-F9BA-43D5-87BE-67443E8EF086}">
      <p15:sldGuideLst xmlns:p15="http://schemas.microsoft.com/office/powerpoint/2012/main">
        <p15:guide id="1" pos="4951">
          <p15:clr>
            <a:srgbClr val="F26B43"/>
          </p15:clr>
        </p15:guide>
        <p15:guide id="2" pos="5087">
          <p15:clr>
            <a:srgbClr val="F26B43"/>
          </p15:clr>
        </p15:guide>
        <p15:guide id="3" pos="370">
          <p15:clr>
            <a:srgbClr val="F26B43"/>
          </p15:clr>
        </p15:guide>
        <p15:guide id="4" orient="horz" pos="1071">
          <p15:clr>
            <a:srgbClr val="F26B43"/>
          </p15:clr>
        </p15:guide>
        <p15:guide id="5" orient="horz" pos="3861">
          <p15:clr>
            <a:srgbClr val="F26B43"/>
          </p15:clr>
        </p15:guide>
        <p15:guide id="6" pos="7310">
          <p15:clr>
            <a:srgbClr val="F26B43"/>
          </p15:clr>
        </p15:guide>
        <p15:guide id="7" orient="horz" pos="1207">
          <p15:clr>
            <a:srgbClr val="F26B43"/>
          </p15:clr>
        </p15:guide>
        <p15:guide id="8" orient="horz" pos="935">
          <p15:clr>
            <a:srgbClr val="F26B43"/>
          </p15:clr>
        </p15:guide>
        <p15:guide id="9" orient="horz" pos="232">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DD5459-070F-4070-B0B6-2D994C63F624}"/>
              </a:ext>
            </a:extLst>
          </p:cNvPr>
          <p:cNvSpPr>
            <a:spLocks noGrp="1"/>
          </p:cNvSpPr>
          <p:nvPr>
            <p:ph type="title"/>
          </p:nvPr>
        </p:nvSpPr>
        <p:spPr>
          <a:xfrm>
            <a:off x="600269" y="1397091"/>
            <a:ext cx="10515600" cy="1325563"/>
          </a:xfrm>
        </p:spPr>
        <p:txBody>
          <a:bodyPr/>
          <a:lstStyle/>
          <a:p>
            <a:r>
              <a:rPr lang="en-US"/>
              <a:t>Click to edit Master title style</a:t>
            </a:r>
            <a:endParaRPr lang="bg-BG"/>
          </a:p>
        </p:txBody>
      </p:sp>
      <p:sp>
        <p:nvSpPr>
          <p:cNvPr id="3" name="Content Placeholder 2">
            <a:extLst>
              <a:ext uri="{FF2B5EF4-FFF2-40B4-BE49-F238E27FC236}">
                <a16:creationId xmlns:a16="http://schemas.microsoft.com/office/drawing/2014/main" id="{4D4CCA39-BA20-49A4-AD31-C6C88FC0B576}"/>
              </a:ext>
            </a:extLst>
          </p:cNvPr>
          <p:cNvSpPr>
            <a:spLocks noGrp="1"/>
          </p:cNvSpPr>
          <p:nvPr>
            <p:ph idx="1"/>
          </p:nvPr>
        </p:nvSpPr>
        <p:spPr>
          <a:xfrm>
            <a:off x="600269" y="2857591"/>
            <a:ext cx="10515600" cy="24328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g-BG"/>
          </a:p>
        </p:txBody>
      </p:sp>
      <p:sp>
        <p:nvSpPr>
          <p:cNvPr id="4" name="Date Placeholder 3">
            <a:extLst>
              <a:ext uri="{FF2B5EF4-FFF2-40B4-BE49-F238E27FC236}">
                <a16:creationId xmlns:a16="http://schemas.microsoft.com/office/drawing/2014/main" id="{60EADFBF-9A55-4502-AB1D-066F0920447F}"/>
              </a:ext>
            </a:extLst>
          </p:cNvPr>
          <p:cNvSpPr>
            <a:spLocks noGrp="1"/>
          </p:cNvSpPr>
          <p:nvPr>
            <p:ph type="dt" sz="half" idx="10"/>
          </p:nvPr>
        </p:nvSpPr>
        <p:spPr>
          <a:xfrm>
            <a:off x="600269" y="6012087"/>
            <a:ext cx="2743200" cy="365125"/>
          </a:xfrm>
        </p:spPr>
        <p:txBody>
          <a:bodyPr/>
          <a:lstStyle/>
          <a:p>
            <a:fld id="{4742D07F-AA84-406A-9332-1464FA876A41}" type="datetimeFigureOut">
              <a:rPr lang="bg-BG" smtClean="0"/>
              <a:t>10.04.24 г.</a:t>
            </a:fld>
            <a:endParaRPr lang="bg-BG"/>
          </a:p>
        </p:txBody>
      </p:sp>
      <p:sp>
        <p:nvSpPr>
          <p:cNvPr id="5" name="Footer Placeholder 4">
            <a:extLst>
              <a:ext uri="{FF2B5EF4-FFF2-40B4-BE49-F238E27FC236}">
                <a16:creationId xmlns:a16="http://schemas.microsoft.com/office/drawing/2014/main" id="{E7E9930E-BBF7-44A6-B84B-6791E60EE181}"/>
              </a:ext>
            </a:extLst>
          </p:cNvPr>
          <p:cNvSpPr>
            <a:spLocks noGrp="1"/>
          </p:cNvSpPr>
          <p:nvPr>
            <p:ph type="ftr" sz="quarter" idx="11"/>
          </p:nvPr>
        </p:nvSpPr>
        <p:spPr>
          <a:xfrm>
            <a:off x="4038600" y="6012088"/>
            <a:ext cx="4114800" cy="365125"/>
          </a:xfrm>
        </p:spPr>
        <p:txBody>
          <a:bodyPr/>
          <a:lstStyle/>
          <a:p>
            <a:endParaRPr lang="bg-BG"/>
          </a:p>
        </p:txBody>
      </p:sp>
      <p:sp>
        <p:nvSpPr>
          <p:cNvPr id="6" name="Slide Number Placeholder 5">
            <a:extLst>
              <a:ext uri="{FF2B5EF4-FFF2-40B4-BE49-F238E27FC236}">
                <a16:creationId xmlns:a16="http://schemas.microsoft.com/office/drawing/2014/main" id="{03619240-7B0A-4B89-95DF-B0D01BBC88AD}"/>
              </a:ext>
            </a:extLst>
          </p:cNvPr>
          <p:cNvSpPr>
            <a:spLocks noGrp="1"/>
          </p:cNvSpPr>
          <p:nvPr>
            <p:ph type="sldNum" sz="quarter" idx="12"/>
          </p:nvPr>
        </p:nvSpPr>
        <p:spPr>
          <a:xfrm>
            <a:off x="8848531" y="6012089"/>
            <a:ext cx="2743200" cy="365125"/>
          </a:xfrm>
        </p:spPr>
        <p:txBody>
          <a:bodyPr/>
          <a:lstStyle/>
          <a:p>
            <a:fld id="{1ECF27F8-A54A-4E9B-946E-1DA717B6015E}" type="slidenum">
              <a:rPr lang="bg-BG" smtClean="0"/>
              <a:t>‹#›</a:t>
            </a:fld>
            <a:endParaRPr lang="bg-BG"/>
          </a:p>
        </p:txBody>
      </p:sp>
      <p:pic>
        <p:nvPicPr>
          <p:cNvPr id="8" name="Graphic 7">
            <a:extLst>
              <a:ext uri="{FF2B5EF4-FFF2-40B4-BE49-F238E27FC236}">
                <a16:creationId xmlns:a16="http://schemas.microsoft.com/office/drawing/2014/main" id="{51141E39-B71D-4842-BB7D-8ED70507C2B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29350" y="2752725"/>
            <a:ext cx="5962650" cy="4105275"/>
          </a:xfrm>
          <a:prstGeom prst="rect">
            <a:avLst/>
          </a:prstGeom>
        </p:spPr>
      </p:pic>
      <p:grpSp>
        <p:nvGrpSpPr>
          <p:cNvPr id="10" name="Graphic 7">
            <a:extLst>
              <a:ext uri="{FF2B5EF4-FFF2-40B4-BE49-F238E27FC236}">
                <a16:creationId xmlns:a16="http://schemas.microsoft.com/office/drawing/2014/main" id="{07B21CC7-8FB1-2147-B05C-B4533FDB82F2}"/>
              </a:ext>
            </a:extLst>
          </p:cNvPr>
          <p:cNvGrpSpPr/>
          <p:nvPr userDrawn="1"/>
        </p:nvGrpSpPr>
        <p:grpSpPr>
          <a:xfrm>
            <a:off x="353506" y="249365"/>
            <a:ext cx="2223613" cy="332079"/>
            <a:chOff x="1971869" y="-1936820"/>
            <a:chExt cx="11281025" cy="1684734"/>
          </a:xfrm>
          <a:solidFill>
            <a:srgbClr val="050533"/>
          </a:solidFill>
        </p:grpSpPr>
        <p:sp>
          <p:nvSpPr>
            <p:cNvPr id="11" name="Freeform 10">
              <a:extLst>
                <a:ext uri="{FF2B5EF4-FFF2-40B4-BE49-F238E27FC236}">
                  <a16:creationId xmlns:a16="http://schemas.microsoft.com/office/drawing/2014/main" id="{EACD3E54-1C4C-664A-8D26-F450D2D3B4B5}"/>
                </a:ext>
              </a:extLst>
            </p:cNvPr>
            <p:cNvSpPr/>
            <p:nvPr/>
          </p:nvSpPr>
          <p:spPr>
            <a:xfrm>
              <a:off x="1971869" y="-1913287"/>
              <a:ext cx="293312" cy="1637952"/>
            </a:xfrm>
            <a:custGeom>
              <a:avLst/>
              <a:gdLst>
                <a:gd name="connsiteX0" fmla="*/ 0 w 293312"/>
                <a:gd name="connsiteY0" fmla="*/ 1637858 h 1637952"/>
                <a:gd name="connsiteX1" fmla="*/ 0 w 293312"/>
                <a:gd name="connsiteY1" fmla="*/ 0 h 1637952"/>
                <a:gd name="connsiteX2" fmla="*/ 293313 w 293312"/>
                <a:gd name="connsiteY2" fmla="*/ 0 h 1637952"/>
                <a:gd name="connsiteX3" fmla="*/ 293313 w 293312"/>
                <a:gd name="connsiteY3" fmla="*/ 1637953 h 1637952"/>
                <a:gd name="connsiteX4" fmla="*/ 0 w 293312"/>
                <a:gd name="connsiteY4" fmla="*/ 1637953 h 1637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312" h="1637952">
                  <a:moveTo>
                    <a:pt x="0" y="1637858"/>
                  </a:moveTo>
                  <a:lnTo>
                    <a:pt x="0" y="0"/>
                  </a:lnTo>
                  <a:lnTo>
                    <a:pt x="293313" y="0"/>
                  </a:lnTo>
                  <a:lnTo>
                    <a:pt x="293313" y="1637953"/>
                  </a:lnTo>
                  <a:lnTo>
                    <a:pt x="0" y="1637953"/>
                  </a:lnTo>
                  <a:close/>
                </a:path>
              </a:pathLst>
            </a:custGeom>
            <a:grpFill/>
            <a:ln w="0" cap="flat">
              <a:noFill/>
              <a:prstDash val="solid"/>
              <a:miter/>
            </a:ln>
          </p:spPr>
          <p:txBody>
            <a:bodyPr rtlCol="0" anchor="ctr"/>
            <a:lstStyle/>
            <a:p>
              <a:endParaRPr lang="en-BG"/>
            </a:p>
          </p:txBody>
        </p:sp>
        <p:sp>
          <p:nvSpPr>
            <p:cNvPr id="12" name="Freeform 11">
              <a:extLst>
                <a:ext uri="{FF2B5EF4-FFF2-40B4-BE49-F238E27FC236}">
                  <a16:creationId xmlns:a16="http://schemas.microsoft.com/office/drawing/2014/main" id="{630FF0FA-5B9A-954C-8FF5-37DA3F266DC6}"/>
                </a:ext>
              </a:extLst>
            </p:cNvPr>
            <p:cNvSpPr/>
            <p:nvPr/>
          </p:nvSpPr>
          <p:spPr>
            <a:xfrm>
              <a:off x="2527278" y="-1913287"/>
              <a:ext cx="919909" cy="1637952"/>
            </a:xfrm>
            <a:custGeom>
              <a:avLst/>
              <a:gdLst>
                <a:gd name="connsiteX0" fmla="*/ 0 w 919909"/>
                <a:gd name="connsiteY0" fmla="*/ 1637858 h 1637952"/>
                <a:gd name="connsiteX1" fmla="*/ 0 w 919909"/>
                <a:gd name="connsiteY1" fmla="*/ 0 h 1637952"/>
                <a:gd name="connsiteX2" fmla="*/ 363738 w 919909"/>
                <a:gd name="connsiteY2" fmla="*/ 0 h 1637952"/>
                <a:gd name="connsiteX3" fmla="*/ 657051 w 919909"/>
                <a:gd name="connsiteY3" fmla="*/ 964021 h 1637952"/>
                <a:gd name="connsiteX4" fmla="*/ 657051 w 919909"/>
                <a:gd name="connsiteY4" fmla="*/ 0 h 1637952"/>
                <a:gd name="connsiteX5" fmla="*/ 919910 w 919909"/>
                <a:gd name="connsiteY5" fmla="*/ 0 h 1637952"/>
                <a:gd name="connsiteX6" fmla="*/ 919910 w 919909"/>
                <a:gd name="connsiteY6" fmla="*/ 1637953 h 1637952"/>
                <a:gd name="connsiteX7" fmla="*/ 624218 w 919909"/>
                <a:gd name="connsiteY7" fmla="*/ 1637953 h 1637952"/>
                <a:gd name="connsiteX8" fmla="*/ 262859 w 919909"/>
                <a:gd name="connsiteY8" fmla="*/ 456342 h 1637952"/>
                <a:gd name="connsiteX9" fmla="*/ 262859 w 919909"/>
                <a:gd name="connsiteY9" fmla="*/ 1637953 h 1637952"/>
                <a:gd name="connsiteX10" fmla="*/ 0 w 919909"/>
                <a:gd name="connsiteY10" fmla="*/ 1637953 h 16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9909" h="1637952">
                  <a:moveTo>
                    <a:pt x="0" y="1637858"/>
                  </a:moveTo>
                  <a:lnTo>
                    <a:pt x="0" y="0"/>
                  </a:lnTo>
                  <a:lnTo>
                    <a:pt x="363738" y="0"/>
                  </a:lnTo>
                  <a:lnTo>
                    <a:pt x="657051" y="964021"/>
                  </a:lnTo>
                  <a:lnTo>
                    <a:pt x="657051" y="0"/>
                  </a:lnTo>
                  <a:lnTo>
                    <a:pt x="919910" y="0"/>
                  </a:lnTo>
                  <a:lnTo>
                    <a:pt x="919910" y="1637953"/>
                  </a:lnTo>
                  <a:lnTo>
                    <a:pt x="624218" y="1637953"/>
                  </a:lnTo>
                  <a:lnTo>
                    <a:pt x="262859" y="456342"/>
                  </a:lnTo>
                  <a:lnTo>
                    <a:pt x="262859" y="1637953"/>
                  </a:lnTo>
                  <a:lnTo>
                    <a:pt x="0" y="1637953"/>
                  </a:lnTo>
                  <a:close/>
                </a:path>
              </a:pathLst>
            </a:custGeom>
            <a:grpFill/>
            <a:ln w="0" cap="flat">
              <a:noFill/>
              <a:prstDash val="solid"/>
              <a:miter/>
            </a:ln>
          </p:spPr>
          <p:txBody>
            <a:bodyPr rtlCol="0" anchor="ctr"/>
            <a:lstStyle/>
            <a:p>
              <a:endParaRPr lang="en-BG"/>
            </a:p>
          </p:txBody>
        </p:sp>
        <p:sp>
          <p:nvSpPr>
            <p:cNvPr id="13" name="Freeform 12">
              <a:extLst>
                <a:ext uri="{FF2B5EF4-FFF2-40B4-BE49-F238E27FC236}">
                  <a16:creationId xmlns:a16="http://schemas.microsoft.com/office/drawing/2014/main" id="{60E0DB7E-0018-3B49-BF6C-0212DF2BA81C}"/>
                </a:ext>
              </a:extLst>
            </p:cNvPr>
            <p:cNvSpPr/>
            <p:nvPr/>
          </p:nvSpPr>
          <p:spPr>
            <a:xfrm>
              <a:off x="3668838" y="-1913287"/>
              <a:ext cx="955122" cy="1635580"/>
            </a:xfrm>
            <a:custGeom>
              <a:avLst/>
              <a:gdLst>
                <a:gd name="connsiteX0" fmla="*/ 283891 w 955122"/>
                <a:gd name="connsiteY0" fmla="*/ 1635485 h 1635580"/>
                <a:gd name="connsiteX1" fmla="*/ 0 w 955122"/>
                <a:gd name="connsiteY1" fmla="*/ 0 h 1635580"/>
                <a:gd name="connsiteX2" fmla="*/ 297976 w 955122"/>
                <a:gd name="connsiteY2" fmla="*/ 0 h 1635580"/>
                <a:gd name="connsiteX3" fmla="*/ 488030 w 955122"/>
                <a:gd name="connsiteY3" fmla="*/ 1272898 h 1635580"/>
                <a:gd name="connsiteX4" fmla="*/ 680558 w 955122"/>
                <a:gd name="connsiteY4" fmla="*/ 0 h 1635580"/>
                <a:gd name="connsiteX5" fmla="*/ 955122 w 955122"/>
                <a:gd name="connsiteY5" fmla="*/ 0 h 1635580"/>
                <a:gd name="connsiteX6" fmla="*/ 671136 w 955122"/>
                <a:gd name="connsiteY6" fmla="*/ 1635580 h 1635580"/>
                <a:gd name="connsiteX7" fmla="*/ 283891 w 955122"/>
                <a:gd name="connsiteY7" fmla="*/ 1635580 h 1635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5122" h="1635580">
                  <a:moveTo>
                    <a:pt x="283891" y="1635485"/>
                  </a:moveTo>
                  <a:lnTo>
                    <a:pt x="0" y="0"/>
                  </a:lnTo>
                  <a:lnTo>
                    <a:pt x="297976" y="0"/>
                  </a:lnTo>
                  <a:lnTo>
                    <a:pt x="488030" y="1272898"/>
                  </a:lnTo>
                  <a:lnTo>
                    <a:pt x="680558" y="0"/>
                  </a:lnTo>
                  <a:lnTo>
                    <a:pt x="955122" y="0"/>
                  </a:lnTo>
                  <a:lnTo>
                    <a:pt x="671136" y="1635580"/>
                  </a:lnTo>
                  <a:lnTo>
                    <a:pt x="283891" y="1635580"/>
                  </a:lnTo>
                  <a:close/>
                </a:path>
              </a:pathLst>
            </a:custGeom>
            <a:grpFill/>
            <a:ln w="0" cap="flat">
              <a:noFill/>
              <a:prstDash val="solid"/>
              <a:miter/>
            </a:ln>
          </p:spPr>
          <p:txBody>
            <a:bodyPr rtlCol="0" anchor="ctr"/>
            <a:lstStyle/>
            <a:p>
              <a:endParaRPr lang="en-BG"/>
            </a:p>
          </p:txBody>
        </p:sp>
        <p:sp>
          <p:nvSpPr>
            <p:cNvPr id="14" name="Freeform 13">
              <a:extLst>
                <a:ext uri="{FF2B5EF4-FFF2-40B4-BE49-F238E27FC236}">
                  <a16:creationId xmlns:a16="http://schemas.microsoft.com/office/drawing/2014/main" id="{031EC26E-9E71-DA46-8002-3F6700FB7C42}"/>
                </a:ext>
              </a:extLst>
            </p:cNvPr>
            <p:cNvSpPr/>
            <p:nvPr/>
          </p:nvSpPr>
          <p:spPr>
            <a:xfrm>
              <a:off x="4844373" y="-1913287"/>
              <a:ext cx="800186" cy="1637952"/>
            </a:xfrm>
            <a:custGeom>
              <a:avLst/>
              <a:gdLst>
                <a:gd name="connsiteX0" fmla="*/ 0 w 800186"/>
                <a:gd name="connsiteY0" fmla="*/ 1637858 h 1637952"/>
                <a:gd name="connsiteX1" fmla="*/ 0 w 800186"/>
                <a:gd name="connsiteY1" fmla="*/ 0 h 1637952"/>
                <a:gd name="connsiteX2" fmla="*/ 800186 w 800186"/>
                <a:gd name="connsiteY2" fmla="*/ 0 h 1637952"/>
                <a:gd name="connsiteX3" fmla="*/ 800186 w 800186"/>
                <a:gd name="connsiteY3" fmla="*/ 259723 h 1637952"/>
                <a:gd name="connsiteX4" fmla="*/ 293313 w 800186"/>
                <a:gd name="connsiteY4" fmla="*/ 259723 h 1637952"/>
                <a:gd name="connsiteX5" fmla="*/ 293313 w 800186"/>
                <a:gd name="connsiteY5" fmla="*/ 664538 h 1637952"/>
                <a:gd name="connsiteX6" fmla="*/ 696927 w 800186"/>
                <a:gd name="connsiteY6" fmla="*/ 664538 h 1637952"/>
                <a:gd name="connsiteX7" fmla="*/ 696927 w 800186"/>
                <a:gd name="connsiteY7" fmla="*/ 924260 h 1637952"/>
                <a:gd name="connsiteX8" fmla="*/ 293313 w 800186"/>
                <a:gd name="connsiteY8" fmla="*/ 924260 h 1637952"/>
                <a:gd name="connsiteX9" fmla="*/ 293313 w 800186"/>
                <a:gd name="connsiteY9" fmla="*/ 1378230 h 1637952"/>
                <a:gd name="connsiteX10" fmla="*/ 800186 w 800186"/>
                <a:gd name="connsiteY10" fmla="*/ 1378230 h 1637952"/>
                <a:gd name="connsiteX11" fmla="*/ 800186 w 800186"/>
                <a:gd name="connsiteY11" fmla="*/ 1637953 h 1637952"/>
                <a:gd name="connsiteX12" fmla="*/ 0 w 800186"/>
                <a:gd name="connsiteY12" fmla="*/ 1637953 h 16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0186" h="1637952">
                  <a:moveTo>
                    <a:pt x="0" y="1637858"/>
                  </a:moveTo>
                  <a:lnTo>
                    <a:pt x="0" y="0"/>
                  </a:lnTo>
                  <a:lnTo>
                    <a:pt x="800186" y="0"/>
                  </a:lnTo>
                  <a:lnTo>
                    <a:pt x="800186" y="259723"/>
                  </a:lnTo>
                  <a:lnTo>
                    <a:pt x="293313" y="259723"/>
                  </a:lnTo>
                  <a:lnTo>
                    <a:pt x="293313" y="664538"/>
                  </a:lnTo>
                  <a:lnTo>
                    <a:pt x="696927" y="664538"/>
                  </a:lnTo>
                  <a:lnTo>
                    <a:pt x="696927" y="924260"/>
                  </a:lnTo>
                  <a:lnTo>
                    <a:pt x="293313" y="924260"/>
                  </a:lnTo>
                  <a:lnTo>
                    <a:pt x="293313" y="1378230"/>
                  </a:lnTo>
                  <a:lnTo>
                    <a:pt x="800186" y="1378230"/>
                  </a:lnTo>
                  <a:lnTo>
                    <a:pt x="800186" y="1637953"/>
                  </a:lnTo>
                  <a:lnTo>
                    <a:pt x="0" y="1637953"/>
                  </a:lnTo>
                  <a:close/>
                </a:path>
              </a:pathLst>
            </a:custGeom>
            <a:grpFill/>
            <a:ln w="0" cap="flat">
              <a:noFill/>
              <a:prstDash val="solid"/>
              <a:miter/>
            </a:ln>
          </p:spPr>
          <p:txBody>
            <a:bodyPr rtlCol="0" anchor="ctr"/>
            <a:lstStyle/>
            <a:p>
              <a:endParaRPr lang="en-BG"/>
            </a:p>
          </p:txBody>
        </p:sp>
        <p:sp>
          <p:nvSpPr>
            <p:cNvPr id="15" name="Freeform 14">
              <a:extLst>
                <a:ext uri="{FF2B5EF4-FFF2-40B4-BE49-F238E27FC236}">
                  <a16:creationId xmlns:a16="http://schemas.microsoft.com/office/drawing/2014/main" id="{0BCEED96-4DCC-5646-A11A-A099D410A3FF}"/>
                </a:ext>
              </a:extLst>
            </p:cNvPr>
            <p:cNvSpPr/>
            <p:nvPr/>
          </p:nvSpPr>
          <p:spPr>
            <a:xfrm>
              <a:off x="5846414" y="-1936820"/>
              <a:ext cx="875465" cy="1684640"/>
            </a:xfrm>
            <a:custGeom>
              <a:avLst/>
              <a:gdLst>
                <a:gd name="connsiteX0" fmla="*/ 0 w 875465"/>
                <a:gd name="connsiteY0" fmla="*/ 1254299 h 1684640"/>
                <a:gd name="connsiteX1" fmla="*/ 0 w 875465"/>
                <a:gd name="connsiteY1" fmla="*/ 1170034 h 1684640"/>
                <a:gd name="connsiteX2" fmla="*/ 276944 w 875465"/>
                <a:gd name="connsiteY2" fmla="*/ 1170034 h 1684640"/>
                <a:gd name="connsiteX3" fmla="*/ 276944 w 875465"/>
                <a:gd name="connsiteY3" fmla="*/ 1263599 h 1684640"/>
                <a:gd name="connsiteX4" fmla="*/ 429501 w 875465"/>
                <a:gd name="connsiteY4" fmla="*/ 1429757 h 1684640"/>
                <a:gd name="connsiteX5" fmla="*/ 582057 w 875465"/>
                <a:gd name="connsiteY5" fmla="*/ 1261226 h 1684640"/>
                <a:gd name="connsiteX6" fmla="*/ 530475 w 875465"/>
                <a:gd name="connsiteY6" fmla="*/ 1099813 h 1684640"/>
                <a:gd name="connsiteX7" fmla="*/ 331000 w 875465"/>
                <a:gd name="connsiteY7" fmla="*/ 936027 h 1684640"/>
                <a:gd name="connsiteX8" fmla="*/ 4854 w 875465"/>
                <a:gd name="connsiteY8" fmla="*/ 425881 h 1684640"/>
                <a:gd name="connsiteX9" fmla="*/ 439018 w 875465"/>
                <a:gd name="connsiteY9" fmla="*/ 0 h 1684640"/>
                <a:gd name="connsiteX10" fmla="*/ 863760 w 875465"/>
                <a:gd name="connsiteY10" fmla="*/ 430531 h 1684640"/>
                <a:gd name="connsiteX11" fmla="*/ 863760 w 875465"/>
                <a:gd name="connsiteY11" fmla="*/ 488985 h 1684640"/>
                <a:gd name="connsiteX12" fmla="*/ 586911 w 875465"/>
                <a:gd name="connsiteY12" fmla="*/ 488985 h 1684640"/>
                <a:gd name="connsiteX13" fmla="*/ 586911 w 875465"/>
                <a:gd name="connsiteY13" fmla="*/ 423509 h 1684640"/>
                <a:gd name="connsiteX14" fmla="*/ 441397 w 875465"/>
                <a:gd name="connsiteY14" fmla="*/ 255073 h 1684640"/>
                <a:gd name="connsiteX15" fmla="*/ 295882 w 875465"/>
                <a:gd name="connsiteY15" fmla="*/ 416487 h 1684640"/>
                <a:gd name="connsiteX16" fmla="*/ 347464 w 875465"/>
                <a:gd name="connsiteY16" fmla="*/ 566228 h 1684640"/>
                <a:gd name="connsiteX17" fmla="*/ 551603 w 875465"/>
                <a:gd name="connsiteY17" fmla="*/ 725364 h 1684640"/>
                <a:gd name="connsiteX18" fmla="*/ 805040 w 875465"/>
                <a:gd name="connsiteY18" fmla="*/ 961648 h 1684640"/>
                <a:gd name="connsiteX19" fmla="*/ 875465 w 875465"/>
                <a:gd name="connsiteY19" fmla="*/ 1247087 h 1684640"/>
                <a:gd name="connsiteX20" fmla="*/ 431975 w 875465"/>
                <a:gd name="connsiteY20" fmla="*/ 1684640 h 1684640"/>
                <a:gd name="connsiteX21" fmla="*/ 191 w 875465"/>
                <a:gd name="connsiteY21" fmla="*/ 1254109 h 1684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75465" h="1684640">
                  <a:moveTo>
                    <a:pt x="0" y="1254299"/>
                  </a:moveTo>
                  <a:lnTo>
                    <a:pt x="0" y="1170034"/>
                  </a:lnTo>
                  <a:lnTo>
                    <a:pt x="276944" y="1170034"/>
                  </a:lnTo>
                  <a:lnTo>
                    <a:pt x="276944" y="1263599"/>
                  </a:lnTo>
                  <a:cubicBezTo>
                    <a:pt x="276944" y="1373580"/>
                    <a:pt x="328526" y="1429757"/>
                    <a:pt x="429501" y="1429757"/>
                  </a:cubicBezTo>
                  <a:cubicBezTo>
                    <a:pt x="523338" y="1429757"/>
                    <a:pt x="582057" y="1373580"/>
                    <a:pt x="582057" y="1261226"/>
                  </a:cubicBezTo>
                  <a:cubicBezTo>
                    <a:pt x="582057" y="1193378"/>
                    <a:pt x="565593" y="1139573"/>
                    <a:pt x="530475" y="1099813"/>
                  </a:cubicBezTo>
                  <a:cubicBezTo>
                    <a:pt x="497642" y="1057680"/>
                    <a:pt x="431880" y="1003876"/>
                    <a:pt x="331000" y="936027"/>
                  </a:cubicBezTo>
                  <a:cubicBezTo>
                    <a:pt x="86985" y="776891"/>
                    <a:pt x="4854" y="638821"/>
                    <a:pt x="4854" y="425881"/>
                  </a:cubicBezTo>
                  <a:cubicBezTo>
                    <a:pt x="4854" y="161508"/>
                    <a:pt x="159695" y="0"/>
                    <a:pt x="439018" y="0"/>
                  </a:cubicBezTo>
                  <a:cubicBezTo>
                    <a:pt x="718340" y="0"/>
                    <a:pt x="863760" y="159136"/>
                    <a:pt x="863760" y="430531"/>
                  </a:cubicBezTo>
                  <a:lnTo>
                    <a:pt x="863760" y="488985"/>
                  </a:lnTo>
                  <a:lnTo>
                    <a:pt x="586911" y="488985"/>
                  </a:lnTo>
                  <a:lnTo>
                    <a:pt x="586911" y="423509"/>
                  </a:lnTo>
                  <a:cubicBezTo>
                    <a:pt x="586911" y="311155"/>
                    <a:pt x="537613" y="255073"/>
                    <a:pt x="441397" y="255073"/>
                  </a:cubicBezTo>
                  <a:cubicBezTo>
                    <a:pt x="345180" y="255073"/>
                    <a:pt x="295882" y="308878"/>
                    <a:pt x="295882" y="416487"/>
                  </a:cubicBezTo>
                  <a:cubicBezTo>
                    <a:pt x="295882" y="474941"/>
                    <a:pt x="312347" y="526468"/>
                    <a:pt x="347464" y="566228"/>
                  </a:cubicBezTo>
                  <a:cubicBezTo>
                    <a:pt x="382582" y="605988"/>
                    <a:pt x="450723" y="659793"/>
                    <a:pt x="551603" y="725364"/>
                  </a:cubicBezTo>
                  <a:cubicBezTo>
                    <a:pt x="675990" y="804885"/>
                    <a:pt x="760501" y="884500"/>
                    <a:pt x="805040" y="961648"/>
                  </a:cubicBezTo>
                  <a:cubicBezTo>
                    <a:pt x="851959" y="1038891"/>
                    <a:pt x="875465" y="1134829"/>
                    <a:pt x="875465" y="1247087"/>
                  </a:cubicBezTo>
                  <a:cubicBezTo>
                    <a:pt x="875465" y="1520854"/>
                    <a:pt x="715866" y="1684640"/>
                    <a:pt x="431975" y="1684640"/>
                  </a:cubicBezTo>
                  <a:cubicBezTo>
                    <a:pt x="148084" y="1684640"/>
                    <a:pt x="191" y="1523227"/>
                    <a:pt x="191" y="1254109"/>
                  </a:cubicBezTo>
                  <a:close/>
                </a:path>
              </a:pathLst>
            </a:custGeom>
            <a:grpFill/>
            <a:ln w="0" cap="flat">
              <a:noFill/>
              <a:prstDash val="solid"/>
              <a:miter/>
            </a:ln>
          </p:spPr>
          <p:txBody>
            <a:bodyPr rtlCol="0" anchor="ctr"/>
            <a:lstStyle/>
            <a:p>
              <a:endParaRPr lang="en-BG"/>
            </a:p>
          </p:txBody>
        </p:sp>
        <p:sp>
          <p:nvSpPr>
            <p:cNvPr id="16" name="Freeform 15">
              <a:extLst>
                <a:ext uri="{FF2B5EF4-FFF2-40B4-BE49-F238E27FC236}">
                  <a16:creationId xmlns:a16="http://schemas.microsoft.com/office/drawing/2014/main" id="{35DDFE33-4101-3342-809D-40E09A3D9A6F}"/>
                </a:ext>
              </a:extLst>
            </p:cNvPr>
            <p:cNvSpPr/>
            <p:nvPr/>
          </p:nvSpPr>
          <p:spPr>
            <a:xfrm>
              <a:off x="6908317" y="-1913287"/>
              <a:ext cx="905824" cy="1637952"/>
            </a:xfrm>
            <a:custGeom>
              <a:avLst/>
              <a:gdLst>
                <a:gd name="connsiteX0" fmla="*/ 305114 w 905824"/>
                <a:gd name="connsiteY0" fmla="*/ 1637858 h 1637952"/>
                <a:gd name="connsiteX1" fmla="*/ 305114 w 905824"/>
                <a:gd name="connsiteY1" fmla="*/ 259723 h 1637952"/>
                <a:gd name="connsiteX2" fmla="*/ 0 w 905824"/>
                <a:gd name="connsiteY2" fmla="*/ 259723 h 1637952"/>
                <a:gd name="connsiteX3" fmla="*/ 0 w 905824"/>
                <a:gd name="connsiteY3" fmla="*/ 0 h 1637952"/>
                <a:gd name="connsiteX4" fmla="*/ 905824 w 905824"/>
                <a:gd name="connsiteY4" fmla="*/ 0 h 1637952"/>
                <a:gd name="connsiteX5" fmla="*/ 905824 w 905824"/>
                <a:gd name="connsiteY5" fmla="*/ 259723 h 1637952"/>
                <a:gd name="connsiteX6" fmla="*/ 598427 w 905824"/>
                <a:gd name="connsiteY6" fmla="*/ 259723 h 1637952"/>
                <a:gd name="connsiteX7" fmla="*/ 598427 w 905824"/>
                <a:gd name="connsiteY7" fmla="*/ 1637953 h 1637952"/>
                <a:gd name="connsiteX8" fmla="*/ 305114 w 905824"/>
                <a:gd name="connsiteY8" fmla="*/ 1637953 h 16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5824" h="1637952">
                  <a:moveTo>
                    <a:pt x="305114" y="1637858"/>
                  </a:moveTo>
                  <a:lnTo>
                    <a:pt x="305114" y="259723"/>
                  </a:lnTo>
                  <a:lnTo>
                    <a:pt x="0" y="259723"/>
                  </a:lnTo>
                  <a:lnTo>
                    <a:pt x="0" y="0"/>
                  </a:lnTo>
                  <a:lnTo>
                    <a:pt x="905824" y="0"/>
                  </a:lnTo>
                  <a:lnTo>
                    <a:pt x="905824" y="259723"/>
                  </a:lnTo>
                  <a:lnTo>
                    <a:pt x="598427" y="259723"/>
                  </a:lnTo>
                  <a:lnTo>
                    <a:pt x="598427" y="1637953"/>
                  </a:lnTo>
                  <a:lnTo>
                    <a:pt x="305114" y="1637953"/>
                  </a:lnTo>
                  <a:close/>
                </a:path>
              </a:pathLst>
            </a:custGeom>
            <a:grpFill/>
            <a:ln w="0" cap="flat">
              <a:noFill/>
              <a:prstDash val="solid"/>
              <a:miter/>
            </a:ln>
          </p:spPr>
          <p:txBody>
            <a:bodyPr rtlCol="0" anchor="ctr"/>
            <a:lstStyle/>
            <a:p>
              <a:endParaRPr lang="en-BG"/>
            </a:p>
          </p:txBody>
        </p:sp>
        <p:sp>
          <p:nvSpPr>
            <p:cNvPr id="17" name="Freeform 16">
              <a:extLst>
                <a:ext uri="{FF2B5EF4-FFF2-40B4-BE49-F238E27FC236}">
                  <a16:creationId xmlns:a16="http://schemas.microsoft.com/office/drawing/2014/main" id="{8C93EEB9-863F-6449-931F-047C53764EFA}"/>
                </a:ext>
              </a:extLst>
            </p:cNvPr>
            <p:cNvSpPr/>
            <p:nvPr/>
          </p:nvSpPr>
          <p:spPr>
            <a:xfrm>
              <a:off x="8018756" y="-1936726"/>
              <a:ext cx="889360" cy="1684640"/>
            </a:xfrm>
            <a:custGeom>
              <a:avLst/>
              <a:gdLst>
                <a:gd name="connsiteX0" fmla="*/ 0 w 889360"/>
                <a:gd name="connsiteY0" fmla="*/ 1242437 h 1684640"/>
                <a:gd name="connsiteX1" fmla="*/ 0 w 889360"/>
                <a:gd name="connsiteY1" fmla="*/ 442203 h 1684640"/>
                <a:gd name="connsiteX2" fmla="*/ 443490 w 889360"/>
                <a:gd name="connsiteY2" fmla="*/ 0 h 1684640"/>
                <a:gd name="connsiteX3" fmla="*/ 889360 w 889360"/>
                <a:gd name="connsiteY3" fmla="*/ 442203 h 1684640"/>
                <a:gd name="connsiteX4" fmla="*/ 889360 w 889360"/>
                <a:gd name="connsiteY4" fmla="*/ 1242437 h 1684640"/>
                <a:gd name="connsiteX5" fmla="*/ 443490 w 889360"/>
                <a:gd name="connsiteY5" fmla="*/ 1684640 h 1684640"/>
                <a:gd name="connsiteX6" fmla="*/ 0 w 889360"/>
                <a:gd name="connsiteY6" fmla="*/ 1242437 h 1684640"/>
                <a:gd name="connsiteX7" fmla="*/ 596047 w 889360"/>
                <a:gd name="connsiteY7" fmla="*/ 1256482 h 1684640"/>
                <a:gd name="connsiteX8" fmla="*/ 596047 w 889360"/>
                <a:gd name="connsiteY8" fmla="*/ 428253 h 1684640"/>
                <a:gd name="connsiteX9" fmla="*/ 443490 w 889360"/>
                <a:gd name="connsiteY9" fmla="*/ 259723 h 1684640"/>
                <a:gd name="connsiteX10" fmla="*/ 293313 w 889360"/>
                <a:gd name="connsiteY10" fmla="*/ 428253 h 1684640"/>
                <a:gd name="connsiteX11" fmla="*/ 293313 w 889360"/>
                <a:gd name="connsiteY11" fmla="*/ 1256577 h 1684640"/>
                <a:gd name="connsiteX12" fmla="*/ 443490 w 889360"/>
                <a:gd name="connsiteY12" fmla="*/ 1425107 h 1684640"/>
                <a:gd name="connsiteX13" fmla="*/ 596047 w 889360"/>
                <a:gd name="connsiteY13" fmla="*/ 1256577 h 1684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9360" h="1684640">
                  <a:moveTo>
                    <a:pt x="0" y="1242437"/>
                  </a:moveTo>
                  <a:lnTo>
                    <a:pt x="0" y="442203"/>
                  </a:lnTo>
                  <a:cubicBezTo>
                    <a:pt x="0" y="161413"/>
                    <a:pt x="159600" y="0"/>
                    <a:pt x="443490" y="0"/>
                  </a:cubicBezTo>
                  <a:cubicBezTo>
                    <a:pt x="727381" y="0"/>
                    <a:pt x="889360" y="161413"/>
                    <a:pt x="889360" y="442203"/>
                  </a:cubicBezTo>
                  <a:lnTo>
                    <a:pt x="889360" y="1242437"/>
                  </a:lnTo>
                  <a:cubicBezTo>
                    <a:pt x="889360" y="1523227"/>
                    <a:pt x="732140" y="1684640"/>
                    <a:pt x="443490" y="1684640"/>
                  </a:cubicBezTo>
                  <a:cubicBezTo>
                    <a:pt x="154841" y="1684640"/>
                    <a:pt x="0" y="1523227"/>
                    <a:pt x="0" y="1242437"/>
                  </a:cubicBezTo>
                  <a:close/>
                  <a:moveTo>
                    <a:pt x="596047" y="1256482"/>
                  </a:moveTo>
                  <a:lnTo>
                    <a:pt x="596047" y="428253"/>
                  </a:lnTo>
                  <a:cubicBezTo>
                    <a:pt x="596047" y="315900"/>
                    <a:pt x="544466" y="259723"/>
                    <a:pt x="443490" y="259723"/>
                  </a:cubicBezTo>
                  <a:cubicBezTo>
                    <a:pt x="342515" y="259723"/>
                    <a:pt x="293313" y="315900"/>
                    <a:pt x="293313" y="428253"/>
                  </a:cubicBezTo>
                  <a:lnTo>
                    <a:pt x="293313" y="1256577"/>
                  </a:lnTo>
                  <a:cubicBezTo>
                    <a:pt x="293313" y="1368930"/>
                    <a:pt x="342611" y="1425107"/>
                    <a:pt x="443490" y="1425107"/>
                  </a:cubicBezTo>
                  <a:cubicBezTo>
                    <a:pt x="544370" y="1425107"/>
                    <a:pt x="596047" y="1368930"/>
                    <a:pt x="596047" y="1256577"/>
                  </a:cubicBezTo>
                  <a:close/>
                </a:path>
              </a:pathLst>
            </a:custGeom>
            <a:grpFill/>
            <a:ln w="0" cap="flat">
              <a:noFill/>
              <a:prstDash val="solid"/>
              <a:miter/>
            </a:ln>
          </p:spPr>
          <p:txBody>
            <a:bodyPr rtlCol="0" anchor="ctr"/>
            <a:lstStyle/>
            <a:p>
              <a:endParaRPr lang="en-BG"/>
            </a:p>
          </p:txBody>
        </p:sp>
        <p:sp>
          <p:nvSpPr>
            <p:cNvPr id="18" name="Freeform 17">
              <a:extLst>
                <a:ext uri="{FF2B5EF4-FFF2-40B4-BE49-F238E27FC236}">
                  <a16:creationId xmlns:a16="http://schemas.microsoft.com/office/drawing/2014/main" id="{50696A2D-077C-B44E-A7C7-B29DB86F30ED}"/>
                </a:ext>
              </a:extLst>
            </p:cNvPr>
            <p:cNvSpPr/>
            <p:nvPr/>
          </p:nvSpPr>
          <p:spPr>
            <a:xfrm>
              <a:off x="9156604" y="-1913287"/>
              <a:ext cx="903540" cy="1637952"/>
            </a:xfrm>
            <a:custGeom>
              <a:avLst/>
              <a:gdLst>
                <a:gd name="connsiteX0" fmla="*/ 0 w 903540"/>
                <a:gd name="connsiteY0" fmla="*/ 1637858 h 1637952"/>
                <a:gd name="connsiteX1" fmla="*/ 0 w 903540"/>
                <a:gd name="connsiteY1" fmla="*/ 0 h 1637952"/>
                <a:gd name="connsiteX2" fmla="*/ 434164 w 903540"/>
                <a:gd name="connsiteY2" fmla="*/ 0 h 1637952"/>
                <a:gd name="connsiteX3" fmla="*/ 868328 w 903540"/>
                <a:gd name="connsiteY3" fmla="*/ 395420 h 1637952"/>
                <a:gd name="connsiteX4" fmla="*/ 868328 w 903540"/>
                <a:gd name="connsiteY4" fmla="*/ 477313 h 1637952"/>
                <a:gd name="connsiteX5" fmla="*/ 678274 w 903540"/>
                <a:gd name="connsiteY5" fmla="*/ 807257 h 1637952"/>
                <a:gd name="connsiteX6" fmla="*/ 678274 w 903540"/>
                <a:gd name="connsiteY6" fmla="*/ 814279 h 1637952"/>
                <a:gd name="connsiteX7" fmla="*/ 870707 w 903540"/>
                <a:gd name="connsiteY7" fmla="*/ 1183983 h 1637952"/>
                <a:gd name="connsiteX8" fmla="*/ 870707 w 903540"/>
                <a:gd name="connsiteY8" fmla="*/ 1425012 h 1637952"/>
                <a:gd name="connsiteX9" fmla="*/ 903540 w 903540"/>
                <a:gd name="connsiteY9" fmla="*/ 1637953 h 1637952"/>
                <a:gd name="connsiteX10" fmla="*/ 605469 w 903540"/>
                <a:gd name="connsiteY10" fmla="*/ 1637953 h 1637952"/>
                <a:gd name="connsiteX11" fmla="*/ 579678 w 903540"/>
                <a:gd name="connsiteY11" fmla="*/ 1422640 h 1637952"/>
                <a:gd name="connsiteX12" fmla="*/ 579678 w 903540"/>
                <a:gd name="connsiteY12" fmla="*/ 1165289 h 1637952"/>
                <a:gd name="connsiteX13" fmla="*/ 394288 w 903540"/>
                <a:gd name="connsiteY13" fmla="*/ 959371 h 1637952"/>
                <a:gd name="connsiteX14" fmla="*/ 293408 w 903540"/>
                <a:gd name="connsiteY14" fmla="*/ 959371 h 1637952"/>
                <a:gd name="connsiteX15" fmla="*/ 293408 w 903540"/>
                <a:gd name="connsiteY15" fmla="*/ 1637953 h 1637952"/>
                <a:gd name="connsiteX16" fmla="*/ 95 w 903540"/>
                <a:gd name="connsiteY16" fmla="*/ 1637953 h 1637952"/>
                <a:gd name="connsiteX17" fmla="*/ 293313 w 903540"/>
                <a:gd name="connsiteY17" fmla="*/ 699553 h 1637952"/>
                <a:gd name="connsiteX18" fmla="*/ 401235 w 903540"/>
                <a:gd name="connsiteY18" fmla="*/ 699553 h 1637952"/>
                <a:gd name="connsiteX19" fmla="*/ 574919 w 903540"/>
                <a:gd name="connsiteY19" fmla="*/ 521723 h 1637952"/>
                <a:gd name="connsiteX20" fmla="*/ 574919 w 903540"/>
                <a:gd name="connsiteY20" fmla="*/ 425786 h 1637952"/>
                <a:gd name="connsiteX21" fmla="*/ 429405 w 903540"/>
                <a:gd name="connsiteY21" fmla="*/ 259628 h 1637952"/>
                <a:gd name="connsiteX22" fmla="*/ 293313 w 903540"/>
                <a:gd name="connsiteY22" fmla="*/ 259628 h 1637952"/>
                <a:gd name="connsiteX23" fmla="*/ 293313 w 903540"/>
                <a:gd name="connsiteY23" fmla="*/ 699553 h 16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03540" h="1637952">
                  <a:moveTo>
                    <a:pt x="0" y="1637858"/>
                  </a:moveTo>
                  <a:lnTo>
                    <a:pt x="0" y="0"/>
                  </a:lnTo>
                  <a:lnTo>
                    <a:pt x="434164" y="0"/>
                  </a:lnTo>
                  <a:cubicBezTo>
                    <a:pt x="732140" y="0"/>
                    <a:pt x="868328" y="126398"/>
                    <a:pt x="868328" y="395420"/>
                  </a:cubicBezTo>
                  <a:lnTo>
                    <a:pt x="868328" y="477313"/>
                  </a:lnTo>
                  <a:cubicBezTo>
                    <a:pt x="868328" y="648121"/>
                    <a:pt x="804945" y="758102"/>
                    <a:pt x="678274" y="807257"/>
                  </a:cubicBezTo>
                  <a:lnTo>
                    <a:pt x="678274" y="814279"/>
                  </a:lnTo>
                  <a:cubicBezTo>
                    <a:pt x="807324" y="851667"/>
                    <a:pt x="870707" y="975693"/>
                    <a:pt x="870707" y="1183983"/>
                  </a:cubicBezTo>
                  <a:lnTo>
                    <a:pt x="870707" y="1425012"/>
                  </a:lnTo>
                  <a:cubicBezTo>
                    <a:pt x="870707" y="1516299"/>
                    <a:pt x="882412" y="1586425"/>
                    <a:pt x="903540" y="1637953"/>
                  </a:cubicBezTo>
                  <a:lnTo>
                    <a:pt x="605469" y="1637953"/>
                  </a:lnTo>
                  <a:cubicBezTo>
                    <a:pt x="589005" y="1591170"/>
                    <a:pt x="579678" y="1518577"/>
                    <a:pt x="579678" y="1422640"/>
                  </a:cubicBezTo>
                  <a:lnTo>
                    <a:pt x="579678" y="1165289"/>
                  </a:lnTo>
                  <a:cubicBezTo>
                    <a:pt x="579678" y="1013175"/>
                    <a:pt x="532759" y="959371"/>
                    <a:pt x="394288" y="959371"/>
                  </a:cubicBezTo>
                  <a:lnTo>
                    <a:pt x="293408" y="959371"/>
                  </a:lnTo>
                  <a:lnTo>
                    <a:pt x="293408" y="1637953"/>
                  </a:lnTo>
                  <a:lnTo>
                    <a:pt x="95" y="1637953"/>
                  </a:lnTo>
                  <a:close/>
                  <a:moveTo>
                    <a:pt x="293313" y="699553"/>
                  </a:moveTo>
                  <a:lnTo>
                    <a:pt x="401235" y="699553"/>
                  </a:lnTo>
                  <a:cubicBezTo>
                    <a:pt x="520958" y="699553"/>
                    <a:pt x="574919" y="645749"/>
                    <a:pt x="574919" y="521723"/>
                  </a:cubicBezTo>
                  <a:lnTo>
                    <a:pt x="574919" y="425786"/>
                  </a:lnTo>
                  <a:cubicBezTo>
                    <a:pt x="574919" y="315805"/>
                    <a:pt x="525622" y="259628"/>
                    <a:pt x="429405" y="259628"/>
                  </a:cubicBezTo>
                  <a:lnTo>
                    <a:pt x="293313" y="259628"/>
                  </a:lnTo>
                  <a:lnTo>
                    <a:pt x="293313" y="699553"/>
                  </a:lnTo>
                  <a:close/>
                </a:path>
              </a:pathLst>
            </a:custGeom>
            <a:grpFill/>
            <a:ln w="0" cap="flat">
              <a:noFill/>
              <a:prstDash val="solid"/>
              <a:miter/>
            </a:ln>
          </p:spPr>
          <p:txBody>
            <a:bodyPr rtlCol="0" anchor="ctr"/>
            <a:lstStyle/>
            <a:p>
              <a:endParaRPr lang="en-BG"/>
            </a:p>
          </p:txBody>
        </p:sp>
        <p:sp>
          <p:nvSpPr>
            <p:cNvPr id="19" name="Freeform 18">
              <a:extLst>
                <a:ext uri="{FF2B5EF4-FFF2-40B4-BE49-F238E27FC236}">
                  <a16:creationId xmlns:a16="http://schemas.microsoft.com/office/drawing/2014/main" id="{87FDE03F-AB3C-904A-AD1D-93222058553E}"/>
                </a:ext>
              </a:extLst>
            </p:cNvPr>
            <p:cNvSpPr/>
            <p:nvPr/>
          </p:nvSpPr>
          <p:spPr>
            <a:xfrm>
              <a:off x="10305872" y="-1913287"/>
              <a:ext cx="821313" cy="1637857"/>
            </a:xfrm>
            <a:custGeom>
              <a:avLst/>
              <a:gdLst>
                <a:gd name="connsiteX0" fmla="*/ 0 w 821313"/>
                <a:gd name="connsiteY0" fmla="*/ 1637858 h 1637857"/>
                <a:gd name="connsiteX1" fmla="*/ 0 w 821313"/>
                <a:gd name="connsiteY1" fmla="*/ 0 h 1637857"/>
                <a:gd name="connsiteX2" fmla="*/ 410657 w 821313"/>
                <a:gd name="connsiteY2" fmla="*/ 0 h 1637857"/>
                <a:gd name="connsiteX3" fmla="*/ 821314 w 821313"/>
                <a:gd name="connsiteY3" fmla="*/ 418859 h 1637857"/>
                <a:gd name="connsiteX4" fmla="*/ 821314 w 821313"/>
                <a:gd name="connsiteY4" fmla="*/ 1216721 h 1637857"/>
                <a:gd name="connsiteX5" fmla="*/ 410657 w 821313"/>
                <a:gd name="connsiteY5" fmla="*/ 1637858 h 1637857"/>
                <a:gd name="connsiteX6" fmla="*/ 0 w 821313"/>
                <a:gd name="connsiteY6" fmla="*/ 1637858 h 1637857"/>
                <a:gd name="connsiteX7" fmla="*/ 150177 w 821313"/>
                <a:gd name="connsiteY7" fmla="*/ 1504533 h 1637857"/>
                <a:gd name="connsiteX8" fmla="*/ 405993 w 821313"/>
                <a:gd name="connsiteY8" fmla="*/ 1504533 h 1637857"/>
                <a:gd name="connsiteX9" fmla="*/ 671136 w 821313"/>
                <a:gd name="connsiteY9" fmla="*/ 1221371 h 1637857"/>
                <a:gd name="connsiteX10" fmla="*/ 671136 w 821313"/>
                <a:gd name="connsiteY10" fmla="*/ 414114 h 1637857"/>
                <a:gd name="connsiteX11" fmla="*/ 405993 w 821313"/>
                <a:gd name="connsiteY11" fmla="*/ 133325 h 1637857"/>
                <a:gd name="connsiteX12" fmla="*/ 150177 w 821313"/>
                <a:gd name="connsiteY12" fmla="*/ 133325 h 1637857"/>
                <a:gd name="connsiteX13" fmla="*/ 150177 w 821313"/>
                <a:gd name="connsiteY13" fmla="*/ 1504438 h 1637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21313" h="1637857">
                  <a:moveTo>
                    <a:pt x="0" y="1637858"/>
                  </a:moveTo>
                  <a:lnTo>
                    <a:pt x="0" y="0"/>
                  </a:lnTo>
                  <a:lnTo>
                    <a:pt x="410657" y="0"/>
                  </a:lnTo>
                  <a:cubicBezTo>
                    <a:pt x="689885" y="0"/>
                    <a:pt x="821314" y="135697"/>
                    <a:pt x="821314" y="418859"/>
                  </a:cubicBezTo>
                  <a:lnTo>
                    <a:pt x="821314" y="1216721"/>
                  </a:lnTo>
                  <a:cubicBezTo>
                    <a:pt x="821314" y="1504533"/>
                    <a:pt x="689885" y="1637858"/>
                    <a:pt x="410657" y="1637858"/>
                  </a:cubicBezTo>
                  <a:lnTo>
                    <a:pt x="0" y="1637858"/>
                  </a:lnTo>
                  <a:close/>
                  <a:moveTo>
                    <a:pt x="150177" y="1504533"/>
                  </a:moveTo>
                  <a:lnTo>
                    <a:pt x="405993" y="1504533"/>
                  </a:lnTo>
                  <a:cubicBezTo>
                    <a:pt x="593763" y="1504533"/>
                    <a:pt x="671136" y="1420267"/>
                    <a:pt x="671136" y="1221371"/>
                  </a:cubicBezTo>
                  <a:lnTo>
                    <a:pt x="671136" y="414114"/>
                  </a:lnTo>
                  <a:cubicBezTo>
                    <a:pt x="671136" y="215218"/>
                    <a:pt x="593668" y="133325"/>
                    <a:pt x="405993" y="133325"/>
                  </a:cubicBezTo>
                  <a:lnTo>
                    <a:pt x="150177" y="133325"/>
                  </a:lnTo>
                  <a:lnTo>
                    <a:pt x="150177" y="1504438"/>
                  </a:lnTo>
                  <a:close/>
                </a:path>
              </a:pathLst>
            </a:custGeom>
            <a:grpFill/>
            <a:ln w="0" cap="flat">
              <a:noFill/>
              <a:prstDash val="solid"/>
              <a:miter/>
            </a:ln>
          </p:spPr>
          <p:txBody>
            <a:bodyPr rtlCol="0" anchor="ctr"/>
            <a:lstStyle/>
            <a:p>
              <a:endParaRPr lang="en-BG"/>
            </a:p>
          </p:txBody>
        </p:sp>
        <p:sp>
          <p:nvSpPr>
            <p:cNvPr id="20" name="Freeform 19">
              <a:extLst>
                <a:ext uri="{FF2B5EF4-FFF2-40B4-BE49-F238E27FC236}">
                  <a16:creationId xmlns:a16="http://schemas.microsoft.com/office/drawing/2014/main" id="{9F983531-58D2-964A-B383-AAFC0E7F4E50}"/>
                </a:ext>
              </a:extLst>
            </p:cNvPr>
            <p:cNvSpPr/>
            <p:nvPr/>
          </p:nvSpPr>
          <p:spPr>
            <a:xfrm>
              <a:off x="11350168" y="-1913287"/>
              <a:ext cx="943226" cy="1637952"/>
            </a:xfrm>
            <a:custGeom>
              <a:avLst/>
              <a:gdLst>
                <a:gd name="connsiteX0" fmla="*/ 790765 w 943226"/>
                <a:gd name="connsiteY0" fmla="*/ 1637858 h 1637952"/>
                <a:gd name="connsiteX1" fmla="*/ 708633 w 943226"/>
                <a:gd name="connsiteY1" fmla="*/ 1275176 h 1637952"/>
                <a:gd name="connsiteX2" fmla="*/ 222887 w 943226"/>
                <a:gd name="connsiteY2" fmla="*/ 1275176 h 1637952"/>
                <a:gd name="connsiteX3" fmla="*/ 143135 w 943226"/>
                <a:gd name="connsiteY3" fmla="*/ 1637858 h 1637952"/>
                <a:gd name="connsiteX4" fmla="*/ 0 w 943226"/>
                <a:gd name="connsiteY4" fmla="*/ 1637858 h 1637952"/>
                <a:gd name="connsiteX5" fmla="*/ 368307 w 943226"/>
                <a:gd name="connsiteY5" fmla="*/ 0 h 1637952"/>
                <a:gd name="connsiteX6" fmla="*/ 570161 w 943226"/>
                <a:gd name="connsiteY6" fmla="*/ 0 h 1637952"/>
                <a:gd name="connsiteX7" fmla="*/ 943227 w 943226"/>
                <a:gd name="connsiteY7" fmla="*/ 1637953 h 1637952"/>
                <a:gd name="connsiteX8" fmla="*/ 790669 w 943226"/>
                <a:gd name="connsiteY8" fmla="*/ 1637953 h 1637952"/>
                <a:gd name="connsiteX9" fmla="*/ 251058 w 943226"/>
                <a:gd name="connsiteY9" fmla="*/ 1144128 h 1637952"/>
                <a:gd name="connsiteX10" fmla="*/ 680463 w 943226"/>
                <a:gd name="connsiteY10" fmla="*/ 1144128 h 1637952"/>
                <a:gd name="connsiteX11" fmla="*/ 462239 w 943226"/>
                <a:gd name="connsiteY11" fmla="*/ 180107 h 1637952"/>
                <a:gd name="connsiteX12" fmla="*/ 251058 w 943226"/>
                <a:gd name="connsiteY12" fmla="*/ 1144128 h 16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3226" h="1637952">
                  <a:moveTo>
                    <a:pt x="790765" y="1637858"/>
                  </a:moveTo>
                  <a:lnTo>
                    <a:pt x="708633" y="1275176"/>
                  </a:lnTo>
                  <a:lnTo>
                    <a:pt x="222887" y="1275176"/>
                  </a:lnTo>
                  <a:lnTo>
                    <a:pt x="143135" y="1637858"/>
                  </a:lnTo>
                  <a:lnTo>
                    <a:pt x="0" y="1637858"/>
                  </a:lnTo>
                  <a:lnTo>
                    <a:pt x="368307" y="0"/>
                  </a:lnTo>
                  <a:lnTo>
                    <a:pt x="570161" y="0"/>
                  </a:lnTo>
                  <a:lnTo>
                    <a:pt x="943227" y="1637953"/>
                  </a:lnTo>
                  <a:lnTo>
                    <a:pt x="790669" y="1637953"/>
                  </a:lnTo>
                  <a:close/>
                  <a:moveTo>
                    <a:pt x="251058" y="1144128"/>
                  </a:moveTo>
                  <a:lnTo>
                    <a:pt x="680463" y="1144128"/>
                  </a:lnTo>
                  <a:lnTo>
                    <a:pt x="462239" y="180107"/>
                  </a:lnTo>
                  <a:lnTo>
                    <a:pt x="251058" y="1144128"/>
                  </a:lnTo>
                  <a:close/>
                </a:path>
              </a:pathLst>
            </a:custGeom>
            <a:grpFill/>
            <a:ln w="0" cap="flat">
              <a:noFill/>
              <a:prstDash val="solid"/>
              <a:miter/>
            </a:ln>
          </p:spPr>
          <p:txBody>
            <a:bodyPr rtlCol="0" anchor="ctr"/>
            <a:lstStyle/>
            <a:p>
              <a:endParaRPr lang="en-BG"/>
            </a:p>
          </p:txBody>
        </p:sp>
        <p:sp>
          <p:nvSpPr>
            <p:cNvPr id="21" name="Freeform 20">
              <a:extLst>
                <a:ext uri="{FF2B5EF4-FFF2-40B4-BE49-F238E27FC236}">
                  <a16:creationId xmlns:a16="http://schemas.microsoft.com/office/drawing/2014/main" id="{F66D0400-C6A3-D748-BB2F-519D4B97EAE0}"/>
                </a:ext>
              </a:extLst>
            </p:cNvPr>
            <p:cNvSpPr/>
            <p:nvPr/>
          </p:nvSpPr>
          <p:spPr>
            <a:xfrm>
              <a:off x="12321279" y="-1913382"/>
              <a:ext cx="931615" cy="1637952"/>
            </a:xfrm>
            <a:custGeom>
              <a:avLst/>
              <a:gdLst>
                <a:gd name="connsiteX0" fmla="*/ 389530 w 931615"/>
                <a:gd name="connsiteY0" fmla="*/ 1637953 h 1637952"/>
                <a:gd name="connsiteX1" fmla="*/ 389530 w 931615"/>
                <a:gd name="connsiteY1" fmla="*/ 910216 h 1637952"/>
                <a:gd name="connsiteX2" fmla="*/ 0 w 931615"/>
                <a:gd name="connsiteY2" fmla="*/ 0 h 1637952"/>
                <a:gd name="connsiteX3" fmla="*/ 161884 w 931615"/>
                <a:gd name="connsiteY3" fmla="*/ 0 h 1637952"/>
                <a:gd name="connsiteX4" fmla="*/ 471661 w 931615"/>
                <a:gd name="connsiteY4" fmla="*/ 727736 h 1637952"/>
                <a:gd name="connsiteX5" fmla="*/ 781438 w 931615"/>
                <a:gd name="connsiteY5" fmla="*/ 0 h 1637952"/>
                <a:gd name="connsiteX6" fmla="*/ 931616 w 931615"/>
                <a:gd name="connsiteY6" fmla="*/ 0 h 1637952"/>
                <a:gd name="connsiteX7" fmla="*/ 542087 w 931615"/>
                <a:gd name="connsiteY7" fmla="*/ 910216 h 1637952"/>
                <a:gd name="connsiteX8" fmla="*/ 542087 w 931615"/>
                <a:gd name="connsiteY8" fmla="*/ 1637953 h 1637952"/>
                <a:gd name="connsiteX9" fmla="*/ 389530 w 931615"/>
                <a:gd name="connsiteY9" fmla="*/ 1637953 h 16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1615" h="1637952">
                  <a:moveTo>
                    <a:pt x="389530" y="1637953"/>
                  </a:moveTo>
                  <a:lnTo>
                    <a:pt x="389530" y="910216"/>
                  </a:lnTo>
                  <a:lnTo>
                    <a:pt x="0" y="0"/>
                  </a:lnTo>
                  <a:lnTo>
                    <a:pt x="161884" y="0"/>
                  </a:lnTo>
                  <a:lnTo>
                    <a:pt x="471661" y="727736"/>
                  </a:lnTo>
                  <a:lnTo>
                    <a:pt x="781438" y="0"/>
                  </a:lnTo>
                  <a:lnTo>
                    <a:pt x="931616" y="0"/>
                  </a:lnTo>
                  <a:lnTo>
                    <a:pt x="542087" y="910216"/>
                  </a:lnTo>
                  <a:lnTo>
                    <a:pt x="542087" y="1637953"/>
                  </a:lnTo>
                  <a:lnTo>
                    <a:pt x="389530" y="1637953"/>
                  </a:lnTo>
                  <a:close/>
                </a:path>
              </a:pathLst>
            </a:custGeom>
            <a:grpFill/>
            <a:ln w="0" cap="flat">
              <a:noFill/>
              <a:prstDash val="solid"/>
              <a:miter/>
            </a:ln>
          </p:spPr>
          <p:txBody>
            <a:bodyPr rtlCol="0" anchor="ctr"/>
            <a:lstStyle/>
            <a:p>
              <a:endParaRPr lang="en-BG"/>
            </a:p>
          </p:txBody>
        </p:sp>
      </p:grpSp>
    </p:spTree>
    <p:extLst>
      <p:ext uri="{BB962C8B-B14F-4D97-AF65-F5344CB8AC3E}">
        <p14:creationId xmlns:p14="http://schemas.microsoft.com/office/powerpoint/2010/main" val="20028687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One Content | Picture Column">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5A880A4-6C93-42E2-80BF-139D7F9AE76D}"/>
              </a:ext>
            </a:extLst>
          </p:cNvPr>
          <p:cNvGraphicFramePr>
            <a:graphicFrameLocks noChangeAspect="1"/>
          </p:cNvGraphicFramePr>
          <p:nvPr>
            <p:custDataLst>
              <p:tags r:id="rId2"/>
            </p:custDataLst>
            <p:extLst>
              <p:ext uri="{D42A27DB-BD31-4B8C-83A1-F6EECF244321}">
                <p14:modId xmlns:p14="http://schemas.microsoft.com/office/powerpoint/2010/main" val="3461556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A5A880A4-6C93-42E2-80BF-139D7F9AE7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344045C6-86A8-4B92-BAB9-D0AA8DAB9AE5}"/>
              </a:ext>
            </a:extLst>
          </p:cNvPr>
          <p:cNvSpPr>
            <a:spLocks noGrp="1"/>
          </p:cNvSpPr>
          <p:nvPr>
            <p:ph type="pic" sz="quarter" idx="17" hasCustomPrompt="1"/>
          </p:nvPr>
        </p:nvSpPr>
        <p:spPr bwMode="gray">
          <a:xfrm>
            <a:off x="8075613" y="0"/>
            <a:ext cx="4116387" cy="6858000"/>
          </a:xfrm>
          <a:solidFill>
            <a:schemeClr val="bg2"/>
          </a:solidFill>
        </p:spPr>
        <p:txBody>
          <a:bodyPr anchor="ctr" anchorCtr="0"/>
          <a:lstStyle>
            <a:lvl1pPr algn="ctr">
              <a:defRPr sz="1200">
                <a:solidFill>
                  <a:schemeClr val="accent4"/>
                </a:solidFill>
              </a:defRPr>
            </a:lvl1pPr>
          </a:lstStyle>
          <a:p>
            <a:r>
              <a:rPr lang="en-GB" noProof="0"/>
              <a:t> </a:t>
            </a:r>
          </a:p>
        </p:txBody>
      </p:sp>
      <p:sp>
        <p:nvSpPr>
          <p:cNvPr id="13" name="Content Placeholder 1">
            <a:extLst>
              <a:ext uri="{FF2B5EF4-FFF2-40B4-BE49-F238E27FC236}">
                <a16:creationId xmlns:a16="http://schemas.microsoft.com/office/drawing/2014/main" id="{19A81872-AC37-45B0-9928-42A9B241C552}"/>
              </a:ext>
            </a:extLst>
          </p:cNvPr>
          <p:cNvSpPr>
            <a:spLocks noGrp="1"/>
          </p:cNvSpPr>
          <p:nvPr>
            <p:ph sz="quarter" idx="16" hasCustomPrompt="1"/>
          </p:nvPr>
        </p:nvSpPr>
        <p:spPr bwMode="gray">
          <a:xfrm>
            <a:off x="587374" y="1916113"/>
            <a:ext cx="7272339" cy="4213225"/>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 name="Titel 2">
            <a:extLst>
              <a:ext uri="{FF2B5EF4-FFF2-40B4-BE49-F238E27FC236}">
                <a16:creationId xmlns:a16="http://schemas.microsoft.com/office/drawing/2014/main" id="{73384399-BA42-4866-93A0-2C69CB4D1E0D}"/>
              </a:ext>
            </a:extLst>
          </p:cNvPr>
          <p:cNvSpPr>
            <a:spLocks noGrp="1"/>
          </p:cNvSpPr>
          <p:nvPr>
            <p:ph type="title" hasCustomPrompt="1"/>
          </p:nvPr>
        </p:nvSpPr>
        <p:spPr bwMode="gray">
          <a:xfrm>
            <a:off x="587373" y="368300"/>
            <a:ext cx="7272339" cy="934900"/>
          </a:xfrm>
        </p:spPr>
        <p:txBody>
          <a:bodyPr vert="horz"/>
          <a:lstStyle/>
          <a:p>
            <a:r>
              <a:rPr lang="en-GB" noProof="0"/>
              <a:t>Click to add title</a:t>
            </a:r>
          </a:p>
        </p:txBody>
      </p:sp>
      <p:sp>
        <p:nvSpPr>
          <p:cNvPr id="2" name="Datumsplatzhalter 1">
            <a:extLst>
              <a:ext uri="{FF2B5EF4-FFF2-40B4-BE49-F238E27FC236}">
                <a16:creationId xmlns:a16="http://schemas.microsoft.com/office/drawing/2014/main" id="{CE3AA982-B24F-4198-A304-E82B1A09FC61}"/>
              </a:ext>
            </a:extLst>
          </p:cNvPr>
          <p:cNvSpPr>
            <a:spLocks noGrp="1"/>
          </p:cNvSpPr>
          <p:nvPr>
            <p:ph type="dt" sz="half" idx="18"/>
          </p:nvPr>
        </p:nvSpPr>
        <p:spPr bwMode="gray"/>
        <p:txBody>
          <a:bodyPr/>
          <a:lstStyle/>
          <a:p>
            <a:endParaRPr lang="en-US"/>
          </a:p>
        </p:txBody>
      </p:sp>
      <p:sp>
        <p:nvSpPr>
          <p:cNvPr id="9" name="Fußzeilenplatzhalter 8">
            <a:extLst>
              <a:ext uri="{FF2B5EF4-FFF2-40B4-BE49-F238E27FC236}">
                <a16:creationId xmlns:a16="http://schemas.microsoft.com/office/drawing/2014/main" id="{98EDCA2D-7A03-4D1F-AC41-8041AB9DE0C6}"/>
              </a:ext>
            </a:extLst>
          </p:cNvPr>
          <p:cNvSpPr>
            <a:spLocks noGrp="1"/>
          </p:cNvSpPr>
          <p:nvPr>
            <p:ph type="ftr" sz="quarter" idx="19"/>
          </p:nvPr>
        </p:nvSpPr>
        <p:spPr bwMode="gray"/>
        <p:txBody>
          <a:bodyPr/>
          <a:lstStyle/>
          <a:p>
            <a:endParaRPr lang="en-US"/>
          </a:p>
        </p:txBody>
      </p:sp>
      <p:sp>
        <p:nvSpPr>
          <p:cNvPr id="10" name="Foliennummernplatzhalter 9">
            <a:extLst>
              <a:ext uri="{FF2B5EF4-FFF2-40B4-BE49-F238E27FC236}">
                <a16:creationId xmlns:a16="http://schemas.microsoft.com/office/drawing/2014/main" id="{A1909576-B0AC-4BD4-88E0-4582B23DB7CB}"/>
              </a:ext>
            </a:extLst>
          </p:cNvPr>
          <p:cNvSpPr>
            <a:spLocks noGrp="1"/>
          </p:cNvSpPr>
          <p:nvPr>
            <p:ph type="sldNum" sz="quarter" idx="20"/>
          </p:nvPr>
        </p:nvSpPr>
        <p:spPr bwMode="gray"/>
        <p:txBody>
          <a:bodyPr/>
          <a:lstStyle/>
          <a:p>
            <a:fld id="{BFCA3128-5B09-47E5-B47D-6F0CB7A5DE9F}" type="slidenum">
              <a:rPr lang="en-US"/>
              <a:t>‹#›</a:t>
            </a:fld>
            <a:endParaRPr lang="en-US"/>
          </a:p>
        </p:txBody>
      </p:sp>
    </p:spTree>
    <p:extLst>
      <p:ext uri="{BB962C8B-B14F-4D97-AF65-F5344CB8AC3E}">
        <p14:creationId xmlns:p14="http://schemas.microsoft.com/office/powerpoint/2010/main" val="462353031"/>
      </p:ext>
    </p:extLst>
  </p:cSld>
  <p:clrMapOvr>
    <a:masterClrMapping/>
  </p:clrMapOvr>
  <p:extLst>
    <p:ext uri="{DCECCB84-F9BA-43D5-87BE-67443E8EF086}">
      <p15:sldGuideLst xmlns:p15="http://schemas.microsoft.com/office/powerpoint/2012/main">
        <p15:guide id="1" pos="4951">
          <p15:clr>
            <a:srgbClr val="F26B43"/>
          </p15:clr>
        </p15:guide>
        <p15:guide id="2" pos="5087">
          <p15:clr>
            <a:srgbClr val="F26B43"/>
          </p15:clr>
        </p15:guide>
        <p15:guide id="3" pos="370">
          <p15:clr>
            <a:srgbClr val="F26B43"/>
          </p15:clr>
        </p15:guide>
        <p15:guide id="4" orient="horz" pos="1071">
          <p15:clr>
            <a:srgbClr val="F26B43"/>
          </p15:clr>
        </p15:guide>
        <p15:guide id="5" orient="horz" pos="3861">
          <p15:clr>
            <a:srgbClr val="F26B43"/>
          </p15:clr>
        </p15:guide>
        <p15:guide id="6" orient="horz" pos="232">
          <p15:clr>
            <a:srgbClr val="F26B43"/>
          </p15:clr>
        </p15:guide>
        <p15:guide id="7" orient="horz" pos="935">
          <p15:clr>
            <a:srgbClr val="F26B43"/>
          </p15:clr>
        </p15:guide>
        <p15:guide id="8" orient="horz" pos="1207">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One Content | Pictur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AFDA513-AC20-4633-BE9A-97D3064B7E9C}"/>
              </a:ext>
            </a:extLst>
          </p:cNvPr>
          <p:cNvGraphicFramePr>
            <a:graphicFrameLocks noChangeAspect="1"/>
          </p:cNvGraphicFramePr>
          <p:nvPr>
            <p:custDataLst>
              <p:tags r:id="rId2"/>
            </p:custDataLst>
            <p:extLst>
              <p:ext uri="{D42A27DB-BD31-4B8C-83A1-F6EECF244321}">
                <p14:modId xmlns:p14="http://schemas.microsoft.com/office/powerpoint/2010/main" val="994292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4" imgW="359" imgH="358" progId="TCLayout.ActiveDocument.1">
                  <p:embed/>
                </p:oleObj>
              </mc:Choice>
              <mc:Fallback>
                <p:oleObj name="think-cell Slide" r:id="rId4" imgW="359" imgH="358" progId="TCLayout.ActiveDocument.1">
                  <p:embed/>
                  <p:pic>
                    <p:nvPicPr>
                      <p:cNvPr id="5" name="Objekt 4" hidden="1">
                        <a:extLst>
                          <a:ext uri="{FF2B5EF4-FFF2-40B4-BE49-F238E27FC236}">
                            <a16:creationId xmlns:a16="http://schemas.microsoft.com/office/drawing/2014/main" id="{BAFDA513-AC20-4633-BE9A-97D3064B7E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Content Placeholder 1">
            <a:extLst>
              <a:ext uri="{FF2B5EF4-FFF2-40B4-BE49-F238E27FC236}">
                <a16:creationId xmlns:a16="http://schemas.microsoft.com/office/drawing/2014/main" id="{19A81872-AC37-45B0-9928-42A9B241C552}"/>
              </a:ext>
            </a:extLst>
          </p:cNvPr>
          <p:cNvSpPr>
            <a:spLocks noGrp="1"/>
          </p:cNvSpPr>
          <p:nvPr>
            <p:ph sz="quarter" idx="16" hasCustomPrompt="1"/>
          </p:nvPr>
        </p:nvSpPr>
        <p:spPr bwMode="gray">
          <a:xfrm>
            <a:off x="587374" y="1916113"/>
            <a:ext cx="5400675" cy="4213225"/>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 name="Title 2">
            <a:extLst>
              <a:ext uri="{FF2B5EF4-FFF2-40B4-BE49-F238E27FC236}">
                <a16:creationId xmlns:a16="http://schemas.microsoft.com/office/drawing/2014/main" id="{2150FE60-A0D0-4740-B7C3-E22938FC1509}"/>
              </a:ext>
            </a:extLst>
          </p:cNvPr>
          <p:cNvSpPr>
            <a:spLocks noGrp="1"/>
          </p:cNvSpPr>
          <p:nvPr>
            <p:ph type="title" hasCustomPrompt="1"/>
          </p:nvPr>
        </p:nvSpPr>
        <p:spPr bwMode="gray">
          <a:xfrm>
            <a:off x="587375" y="368300"/>
            <a:ext cx="11017237" cy="934900"/>
          </a:xfrm>
        </p:spPr>
        <p:txBody>
          <a:bodyPr vert="horz"/>
          <a:lstStyle>
            <a:lvl1pPr>
              <a:defRPr/>
            </a:lvl1pPr>
          </a:lstStyle>
          <a:p>
            <a:r>
              <a:rPr lang="en-GB" noProof="0"/>
              <a:t>Click to add title</a:t>
            </a:r>
          </a:p>
        </p:txBody>
      </p:sp>
      <p:sp>
        <p:nvSpPr>
          <p:cNvPr id="9" name="Picture Placeholder 3">
            <a:extLst>
              <a:ext uri="{FF2B5EF4-FFF2-40B4-BE49-F238E27FC236}">
                <a16:creationId xmlns:a16="http://schemas.microsoft.com/office/drawing/2014/main" id="{B39C30A4-9318-46E9-96E1-CBF4EC87E7E4}"/>
              </a:ext>
            </a:extLst>
          </p:cNvPr>
          <p:cNvSpPr>
            <a:spLocks noGrp="1"/>
          </p:cNvSpPr>
          <p:nvPr>
            <p:ph type="pic" sz="quarter" idx="17" hasCustomPrompt="1"/>
          </p:nvPr>
        </p:nvSpPr>
        <p:spPr bwMode="gray">
          <a:xfrm>
            <a:off x="6203951" y="1916113"/>
            <a:ext cx="5988050" cy="4213226"/>
          </a:xfrm>
          <a:solidFill>
            <a:schemeClr val="bg2"/>
          </a:solidFill>
        </p:spPr>
        <p:txBody>
          <a:bodyPr anchor="ctr" anchorCtr="0"/>
          <a:lstStyle>
            <a:lvl1pPr algn="ctr">
              <a:defRPr sz="1200">
                <a:solidFill>
                  <a:schemeClr val="accent4"/>
                </a:solidFill>
              </a:defRPr>
            </a:lvl1pPr>
          </a:lstStyle>
          <a:p>
            <a:r>
              <a:rPr lang="en-GB" noProof="0"/>
              <a:t> </a:t>
            </a:r>
          </a:p>
        </p:txBody>
      </p:sp>
      <p:sp>
        <p:nvSpPr>
          <p:cNvPr id="2" name="Datumsplatzhalter 1">
            <a:extLst>
              <a:ext uri="{FF2B5EF4-FFF2-40B4-BE49-F238E27FC236}">
                <a16:creationId xmlns:a16="http://schemas.microsoft.com/office/drawing/2014/main" id="{71F43984-7774-45C0-A926-6AAA0374E149}"/>
              </a:ext>
            </a:extLst>
          </p:cNvPr>
          <p:cNvSpPr>
            <a:spLocks noGrp="1"/>
          </p:cNvSpPr>
          <p:nvPr>
            <p:ph type="dt" sz="half" idx="18"/>
          </p:nvPr>
        </p:nvSpPr>
        <p:spPr bwMode="gray"/>
        <p:txBody>
          <a:bodyPr/>
          <a:lstStyle/>
          <a:p>
            <a:endParaRPr lang="en-US"/>
          </a:p>
        </p:txBody>
      </p:sp>
      <p:sp>
        <p:nvSpPr>
          <p:cNvPr id="4" name="Fußzeilenplatzhalter 3">
            <a:extLst>
              <a:ext uri="{FF2B5EF4-FFF2-40B4-BE49-F238E27FC236}">
                <a16:creationId xmlns:a16="http://schemas.microsoft.com/office/drawing/2014/main" id="{0062B7F6-C6DC-421C-AE6F-F9828C5F2512}"/>
              </a:ext>
            </a:extLst>
          </p:cNvPr>
          <p:cNvSpPr>
            <a:spLocks noGrp="1"/>
          </p:cNvSpPr>
          <p:nvPr>
            <p:ph type="ftr" sz="quarter" idx="19"/>
          </p:nvPr>
        </p:nvSpPr>
        <p:spPr bwMode="gray"/>
        <p:txBody>
          <a:bodyPr/>
          <a:lstStyle/>
          <a:p>
            <a:endParaRPr lang="en-US"/>
          </a:p>
        </p:txBody>
      </p:sp>
      <p:sp>
        <p:nvSpPr>
          <p:cNvPr id="10" name="Foliennummernplatzhalter 9">
            <a:extLst>
              <a:ext uri="{FF2B5EF4-FFF2-40B4-BE49-F238E27FC236}">
                <a16:creationId xmlns:a16="http://schemas.microsoft.com/office/drawing/2014/main" id="{B0C7D72A-B2DE-4151-9132-6DE65EC9A236}"/>
              </a:ext>
            </a:extLst>
          </p:cNvPr>
          <p:cNvSpPr>
            <a:spLocks noGrp="1"/>
          </p:cNvSpPr>
          <p:nvPr>
            <p:ph type="sldNum" sz="quarter" idx="20"/>
          </p:nvPr>
        </p:nvSpPr>
        <p:spPr bwMode="gray"/>
        <p:txBody>
          <a:bodyPr/>
          <a:lstStyle/>
          <a:p>
            <a:fld id="{BFCA3128-5B09-47E5-B47D-6F0CB7A5DE9F}" type="slidenum">
              <a:rPr lang="en-US"/>
              <a:t>‹#›</a:t>
            </a:fld>
            <a:endParaRPr lang="en-US"/>
          </a:p>
        </p:txBody>
      </p:sp>
    </p:spTree>
    <p:extLst>
      <p:ext uri="{BB962C8B-B14F-4D97-AF65-F5344CB8AC3E}">
        <p14:creationId xmlns:p14="http://schemas.microsoft.com/office/powerpoint/2010/main" val="1858369180"/>
      </p:ext>
    </p:extLst>
  </p:cSld>
  <p:clrMapOvr>
    <a:masterClrMapping/>
  </p:clrMapOvr>
  <p:extLst>
    <p:ext uri="{DCECCB84-F9BA-43D5-87BE-67443E8EF086}">
      <p15:sldGuideLst xmlns:p15="http://schemas.microsoft.com/office/powerpoint/2012/main">
        <p15:guide id="1" pos="3772">
          <p15:clr>
            <a:srgbClr val="F26B43"/>
          </p15:clr>
        </p15:guide>
        <p15:guide id="2" pos="3908">
          <p15:clr>
            <a:srgbClr val="F26B43"/>
          </p15:clr>
        </p15:guide>
        <p15:guide id="9" orient="horz" pos="1071">
          <p15:clr>
            <a:srgbClr val="F26B43"/>
          </p15:clr>
        </p15:guide>
        <p15:guide id="10" pos="370">
          <p15:clr>
            <a:srgbClr val="F26B43"/>
          </p15:clr>
        </p15:guide>
        <p15:guide id="11" orient="horz" pos="3861">
          <p15:clr>
            <a:srgbClr val="F26B43"/>
          </p15:clr>
        </p15:guide>
        <p15:guide id="12" orient="horz" pos="1207">
          <p15:clr>
            <a:srgbClr val="F26B43"/>
          </p15:clr>
        </p15:guide>
        <p15:guide id="13" orient="horz" pos="935">
          <p15:clr>
            <a:srgbClr val="F26B43"/>
          </p15:clr>
        </p15:guide>
        <p15:guide id="14" orient="horz" pos="232">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E714025-380E-4F46-B9C8-59C7A765CEA5}"/>
              </a:ext>
            </a:extLst>
          </p:cNvPr>
          <p:cNvGraphicFramePr>
            <a:graphicFrameLocks noChangeAspect="1"/>
          </p:cNvGraphicFramePr>
          <p:nvPr>
            <p:custDataLst>
              <p:tags r:id="rId2"/>
            </p:custDataLst>
            <p:extLst>
              <p:ext uri="{D42A27DB-BD31-4B8C-83A1-F6EECF244321}">
                <p14:modId xmlns:p14="http://schemas.microsoft.com/office/powerpoint/2010/main" val="3817744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5E714025-380E-4F46-B9C8-59C7A765CE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vert="horz"/>
          <a:lstStyle/>
          <a:p>
            <a:r>
              <a:rPr lang="en-GB" noProof="0"/>
              <a:t>Click to add title</a:t>
            </a:r>
          </a:p>
        </p:txBody>
      </p:sp>
      <p:sp>
        <p:nvSpPr>
          <p:cNvPr id="3" name="Datumsplatzhalter 2">
            <a:extLst>
              <a:ext uri="{FF2B5EF4-FFF2-40B4-BE49-F238E27FC236}">
                <a16:creationId xmlns:a16="http://schemas.microsoft.com/office/drawing/2014/main" id="{0EE23947-AAD7-46F5-90B9-637E2F2B78B5}"/>
              </a:ext>
            </a:extLst>
          </p:cNvPr>
          <p:cNvSpPr>
            <a:spLocks noGrp="1"/>
          </p:cNvSpPr>
          <p:nvPr>
            <p:ph type="dt" sz="half" idx="10"/>
          </p:nvPr>
        </p:nvSpPr>
        <p:spPr bwMode="gray"/>
        <p:txBody>
          <a:bodyPr/>
          <a:lstStyle/>
          <a:p>
            <a:endParaRPr lang="en-US"/>
          </a:p>
        </p:txBody>
      </p:sp>
      <p:sp>
        <p:nvSpPr>
          <p:cNvPr id="8" name="Fußzeilenplatzhalter 7">
            <a:extLst>
              <a:ext uri="{FF2B5EF4-FFF2-40B4-BE49-F238E27FC236}">
                <a16:creationId xmlns:a16="http://schemas.microsoft.com/office/drawing/2014/main" id="{43478842-0AA7-46BF-800F-296796A0E746}"/>
              </a:ext>
            </a:extLst>
          </p:cNvPr>
          <p:cNvSpPr>
            <a:spLocks noGrp="1"/>
          </p:cNvSpPr>
          <p:nvPr>
            <p:ph type="ftr" sz="quarter" idx="11"/>
          </p:nvPr>
        </p:nvSpPr>
        <p:spPr bwMode="gray"/>
        <p:txBody>
          <a:bodyPr/>
          <a:lstStyle/>
          <a:p>
            <a:endParaRPr lang="en-US"/>
          </a:p>
        </p:txBody>
      </p:sp>
      <p:sp>
        <p:nvSpPr>
          <p:cNvPr id="9" name="Foliennummernplatzhalter 8">
            <a:extLst>
              <a:ext uri="{FF2B5EF4-FFF2-40B4-BE49-F238E27FC236}">
                <a16:creationId xmlns:a16="http://schemas.microsoft.com/office/drawing/2014/main" id="{E650C6F3-DAE8-4445-83E1-2FACDB9D19D7}"/>
              </a:ext>
            </a:extLst>
          </p:cNvPr>
          <p:cNvSpPr>
            <a:spLocks noGrp="1"/>
          </p:cNvSpPr>
          <p:nvPr>
            <p:ph type="sldNum" sz="quarter" idx="12"/>
          </p:nvPr>
        </p:nvSpPr>
        <p:spPr bwMode="gray"/>
        <p:txBody>
          <a:bodyPr/>
          <a:lstStyle/>
          <a:p>
            <a:fld id="{BFCA3128-5B09-47E5-B47D-6F0CB7A5DE9F}" type="slidenum">
              <a:rPr lang="en-US"/>
              <a:t>‹#›</a:t>
            </a:fld>
            <a:endParaRPr lang="en-US"/>
          </a:p>
        </p:txBody>
      </p:sp>
    </p:spTree>
    <p:extLst>
      <p:ext uri="{BB962C8B-B14F-4D97-AF65-F5344CB8AC3E}">
        <p14:creationId xmlns:p14="http://schemas.microsoft.com/office/powerpoint/2010/main" val="1034146390"/>
      </p:ext>
    </p:extLst>
  </p:cSld>
  <p:clrMapOvr>
    <a:masterClrMapping/>
  </p:clrMapOvr>
  <p:extLst>
    <p:ext uri="{DCECCB84-F9BA-43D5-87BE-67443E8EF086}">
      <p15:sldGuideLst xmlns:p15="http://schemas.microsoft.com/office/powerpoint/2012/main">
        <p15:guide id="4" pos="7310">
          <p15:clr>
            <a:srgbClr val="F26B43"/>
          </p15:clr>
        </p15:guide>
        <p15:guide id="7" pos="370">
          <p15:clr>
            <a:srgbClr val="F26B43"/>
          </p15:clr>
        </p15:guide>
        <p15:guide id="8" orient="horz" pos="1071">
          <p15:clr>
            <a:srgbClr val="F26B43"/>
          </p15:clr>
        </p15:guide>
        <p15:guide id="9" orient="horz" pos="3861">
          <p15:clr>
            <a:srgbClr val="F26B43"/>
          </p15:clr>
        </p15:guide>
        <p15:guide id="10" orient="horz" pos="232">
          <p15:clr>
            <a:srgbClr val="F26B43"/>
          </p15:clr>
        </p15:guide>
        <p15:guide id="11" orient="horz" pos="935">
          <p15:clr>
            <a:srgbClr val="F26B43"/>
          </p15:clr>
        </p15:guide>
        <p15:guide id="12" orient="horz" pos="1207">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Big Pictur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7CC6116-9810-4362-BD4E-99C7618CF42E}"/>
              </a:ext>
            </a:extLst>
          </p:cNvPr>
          <p:cNvGraphicFramePr>
            <a:graphicFrameLocks noChangeAspect="1"/>
          </p:cNvGraphicFramePr>
          <p:nvPr>
            <p:custDataLst>
              <p:tags r:id="rId2"/>
            </p:custDataLst>
            <p:extLst>
              <p:ext uri="{D42A27DB-BD31-4B8C-83A1-F6EECF244321}">
                <p14:modId xmlns:p14="http://schemas.microsoft.com/office/powerpoint/2010/main" val="2534782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4" imgW="359" imgH="358" progId="TCLayout.ActiveDocument.1">
                  <p:embed/>
                </p:oleObj>
              </mc:Choice>
              <mc:Fallback>
                <p:oleObj name="think-cell Slide" r:id="rId4" imgW="359" imgH="358" progId="TCLayout.ActiveDocument.1">
                  <p:embed/>
                  <p:pic>
                    <p:nvPicPr>
                      <p:cNvPr id="7" name="Objekt 6" hidden="1">
                        <a:extLst>
                          <a:ext uri="{FF2B5EF4-FFF2-40B4-BE49-F238E27FC236}">
                            <a16:creationId xmlns:a16="http://schemas.microsoft.com/office/drawing/2014/main" id="{27CC6116-9810-4362-BD4E-99C7618CF4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icture Placeholder 3">
            <a:extLst>
              <a:ext uri="{FF2B5EF4-FFF2-40B4-BE49-F238E27FC236}">
                <a16:creationId xmlns:a16="http://schemas.microsoft.com/office/drawing/2014/main" id="{611C4D44-4894-4762-BD1D-9C1B67849548}"/>
              </a:ext>
            </a:extLst>
          </p:cNvPr>
          <p:cNvSpPr>
            <a:spLocks noGrp="1"/>
          </p:cNvSpPr>
          <p:nvPr>
            <p:ph type="pic" sz="quarter" idx="13" hasCustomPrompt="1"/>
          </p:nvPr>
        </p:nvSpPr>
        <p:spPr bwMode="gray">
          <a:xfrm>
            <a:off x="0" y="0"/>
            <a:ext cx="12192000" cy="6858000"/>
          </a:xfrm>
          <a:solidFill>
            <a:schemeClr val="bg2"/>
          </a:solidFill>
        </p:spPr>
        <p:txBody>
          <a:bodyPr vert="horz" lIns="3168000" tIns="0" rIns="1368000" bIns="0" rtlCol="0" anchor="ctr" anchorCtr="0">
            <a:noAutofit/>
          </a:bodyPr>
          <a:lstStyle>
            <a:lvl1pPr>
              <a:defRPr lang="en-GB" sz="1200" dirty="0">
                <a:solidFill>
                  <a:schemeClr val="accent4"/>
                </a:solidFill>
              </a:defRPr>
            </a:lvl1pPr>
          </a:lstStyle>
          <a:p>
            <a:pPr lvl="0"/>
            <a:r>
              <a:rPr lang="en-GB" noProof="0"/>
              <a:t> </a:t>
            </a:r>
          </a:p>
        </p:txBody>
      </p:sp>
      <p:sp>
        <p:nvSpPr>
          <p:cNvPr id="8" name="Titel 11">
            <a:extLst>
              <a:ext uri="{FF2B5EF4-FFF2-40B4-BE49-F238E27FC236}">
                <a16:creationId xmlns:a16="http://schemas.microsoft.com/office/drawing/2014/main" id="{2C8BC260-CA5E-4073-978C-7294BED84C15}"/>
              </a:ext>
            </a:extLst>
          </p:cNvPr>
          <p:cNvSpPr>
            <a:spLocks noGrp="1"/>
          </p:cNvSpPr>
          <p:nvPr>
            <p:ph type="title" hasCustomPrompt="1"/>
          </p:nvPr>
        </p:nvSpPr>
        <p:spPr bwMode="gray">
          <a:xfrm>
            <a:off x="6275388" y="728663"/>
            <a:ext cx="5329237" cy="5400674"/>
          </a:xfrm>
          <a:noFill/>
        </p:spPr>
        <p:txBody>
          <a:bodyPr vert="horz" wrap="square" lIns="0" tIns="0" rIns="0" bIns="216000" anchor="b" anchorCtr="0">
            <a:normAutofit/>
          </a:bodyPr>
          <a:lstStyle>
            <a:lvl1pPr>
              <a:lnSpc>
                <a:spcPct val="90000"/>
              </a:lnSpc>
              <a:defRPr sz="6000" b="1">
                <a:solidFill>
                  <a:schemeClr val="accent1"/>
                </a:solidFill>
              </a:defRPr>
            </a:lvl1pPr>
          </a:lstStyle>
          <a:p>
            <a:r>
              <a:rPr lang="en-GB" noProof="0"/>
              <a:t>Optional title</a:t>
            </a:r>
          </a:p>
        </p:txBody>
      </p:sp>
      <p:sp>
        <p:nvSpPr>
          <p:cNvPr id="2" name="Datumsplatzhalter 1">
            <a:extLst>
              <a:ext uri="{FF2B5EF4-FFF2-40B4-BE49-F238E27FC236}">
                <a16:creationId xmlns:a16="http://schemas.microsoft.com/office/drawing/2014/main" id="{0B6D80FE-A777-4AD1-892A-139250F442DB}"/>
              </a:ext>
            </a:extLst>
          </p:cNvPr>
          <p:cNvSpPr>
            <a:spLocks noGrp="1"/>
          </p:cNvSpPr>
          <p:nvPr>
            <p:ph type="dt" sz="half" idx="14"/>
          </p:nvPr>
        </p:nvSpPr>
        <p:spPr bwMode="gray"/>
        <p:txBody>
          <a:bodyPr/>
          <a:lstStyle/>
          <a:p>
            <a:endParaRPr lang="en-US"/>
          </a:p>
        </p:txBody>
      </p:sp>
      <p:sp>
        <p:nvSpPr>
          <p:cNvPr id="9" name="Fußzeilenplatzhalter 8">
            <a:extLst>
              <a:ext uri="{FF2B5EF4-FFF2-40B4-BE49-F238E27FC236}">
                <a16:creationId xmlns:a16="http://schemas.microsoft.com/office/drawing/2014/main" id="{3A6D36F7-A7EA-46AC-A529-489224C4B2F9}"/>
              </a:ext>
            </a:extLst>
          </p:cNvPr>
          <p:cNvSpPr>
            <a:spLocks noGrp="1"/>
          </p:cNvSpPr>
          <p:nvPr>
            <p:ph type="ftr" sz="quarter" idx="15"/>
          </p:nvPr>
        </p:nvSpPr>
        <p:spPr bwMode="gray"/>
        <p:txBody>
          <a:bodyPr/>
          <a:lstStyle/>
          <a:p>
            <a:endParaRPr lang="en-US"/>
          </a:p>
        </p:txBody>
      </p:sp>
      <p:sp>
        <p:nvSpPr>
          <p:cNvPr id="10" name="Foliennummernplatzhalter 9">
            <a:extLst>
              <a:ext uri="{FF2B5EF4-FFF2-40B4-BE49-F238E27FC236}">
                <a16:creationId xmlns:a16="http://schemas.microsoft.com/office/drawing/2014/main" id="{4851886B-6BEF-490D-A7E5-50C121FE97CC}"/>
              </a:ext>
            </a:extLst>
          </p:cNvPr>
          <p:cNvSpPr>
            <a:spLocks noGrp="1"/>
          </p:cNvSpPr>
          <p:nvPr>
            <p:ph type="sldNum" sz="quarter" idx="16"/>
          </p:nvPr>
        </p:nvSpPr>
        <p:spPr bwMode="gray"/>
        <p:txBody>
          <a:bodyPr/>
          <a:lstStyle/>
          <a:p>
            <a:fld id="{BFCA3128-5B09-47E5-B47D-6F0CB7A5DE9F}" type="slidenum">
              <a:rPr lang="en-US"/>
              <a:t>‹#›</a:t>
            </a:fld>
            <a:endParaRPr lang="en-US"/>
          </a:p>
        </p:txBody>
      </p:sp>
    </p:spTree>
    <p:extLst>
      <p:ext uri="{BB962C8B-B14F-4D97-AF65-F5344CB8AC3E}">
        <p14:creationId xmlns:p14="http://schemas.microsoft.com/office/powerpoint/2010/main" val="1873859391"/>
      </p:ext>
    </p:extLst>
  </p:cSld>
  <p:clrMapOvr>
    <a:masterClrMapping/>
  </p:clrMapOvr>
  <p:extLst>
    <p:ext uri="{DCECCB84-F9BA-43D5-87BE-67443E8EF086}">
      <p15:sldGuideLst xmlns:p15="http://schemas.microsoft.com/office/powerpoint/2012/main">
        <p15:guide id="6" pos="3953">
          <p15:clr>
            <a:srgbClr val="F26B43"/>
          </p15:clr>
        </p15:guide>
        <p15:guide id="7" pos="7310">
          <p15:clr>
            <a:srgbClr val="F26B43"/>
          </p15:clr>
        </p15:guide>
        <p15:guide id="8" orient="horz" pos="459">
          <p15:clr>
            <a:srgbClr val="F26B43"/>
          </p15:clr>
        </p15:guide>
        <p15:guide id="9" orient="horz" pos="3861">
          <p15:clr>
            <a:srgbClr val="F26B43"/>
          </p15:clr>
        </p15:guide>
        <p15:guide id="10" pos="370">
          <p15:clr>
            <a:srgbClr val="F26B43"/>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Key Message | White">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1063BDC-03ED-4F78-83E8-01C904F27D75}"/>
              </a:ext>
            </a:extLst>
          </p:cNvPr>
          <p:cNvGraphicFramePr>
            <a:graphicFrameLocks noChangeAspect="1"/>
          </p:cNvGraphicFramePr>
          <p:nvPr>
            <p:custDataLst>
              <p:tags r:id="rId2"/>
            </p:custDataLst>
            <p:extLst>
              <p:ext uri="{D42A27DB-BD31-4B8C-83A1-F6EECF244321}">
                <p14:modId xmlns:p14="http://schemas.microsoft.com/office/powerpoint/2010/main" val="4131840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71063BDC-03ED-4F78-83E8-01C904F27D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A7ED93-264F-4FB5-815D-4481CAD4A5EA}"/>
              </a:ext>
            </a:extLst>
          </p:cNvPr>
          <p:cNvSpPr>
            <a:spLocks noGrp="1"/>
          </p:cNvSpPr>
          <p:nvPr>
            <p:ph type="title" hasCustomPrompt="1"/>
          </p:nvPr>
        </p:nvSpPr>
        <p:spPr bwMode="gray">
          <a:xfrm>
            <a:off x="587374" y="728662"/>
            <a:ext cx="11017251" cy="5400675"/>
          </a:xfrm>
        </p:spPr>
        <p:txBody>
          <a:bodyPr vert="horz" bIns="288000" anchor="ctr" anchorCtr="0"/>
          <a:lstStyle>
            <a:lvl1pPr algn="ctr">
              <a:lnSpc>
                <a:spcPct val="110000"/>
              </a:lnSpc>
              <a:defRPr sz="4300" b="1">
                <a:solidFill>
                  <a:schemeClr val="accent1"/>
                </a:solidFill>
              </a:defRPr>
            </a:lvl1pPr>
          </a:lstStyle>
          <a:p>
            <a:r>
              <a:rPr lang="en-GB" noProof="0"/>
              <a:t>Click to add a message</a:t>
            </a:r>
            <a:br>
              <a:rPr lang="en-GB" noProof="0"/>
            </a:br>
            <a:r>
              <a:rPr lang="en-GB" noProof="0"/>
              <a:t>or quote</a:t>
            </a:r>
          </a:p>
        </p:txBody>
      </p:sp>
      <p:sp>
        <p:nvSpPr>
          <p:cNvPr id="3" name="Datumsplatzhalter 2">
            <a:extLst>
              <a:ext uri="{FF2B5EF4-FFF2-40B4-BE49-F238E27FC236}">
                <a16:creationId xmlns:a16="http://schemas.microsoft.com/office/drawing/2014/main" id="{407D659B-F43A-4E9F-A3C8-5833F36C9AAA}"/>
              </a:ext>
            </a:extLst>
          </p:cNvPr>
          <p:cNvSpPr>
            <a:spLocks noGrp="1"/>
          </p:cNvSpPr>
          <p:nvPr>
            <p:ph type="dt" sz="half" idx="10"/>
          </p:nvPr>
        </p:nvSpPr>
        <p:spPr bwMode="gray"/>
        <p:txBody>
          <a:bodyPr/>
          <a:lstStyle/>
          <a:p>
            <a:endParaRPr lang="en-US"/>
          </a:p>
        </p:txBody>
      </p:sp>
      <p:sp>
        <p:nvSpPr>
          <p:cNvPr id="8" name="Fußzeilenplatzhalter 7">
            <a:extLst>
              <a:ext uri="{FF2B5EF4-FFF2-40B4-BE49-F238E27FC236}">
                <a16:creationId xmlns:a16="http://schemas.microsoft.com/office/drawing/2014/main" id="{AF0C786A-43CE-4C61-BF25-95DAC554F27C}"/>
              </a:ext>
            </a:extLst>
          </p:cNvPr>
          <p:cNvSpPr>
            <a:spLocks noGrp="1"/>
          </p:cNvSpPr>
          <p:nvPr>
            <p:ph type="ftr" sz="quarter" idx="11"/>
          </p:nvPr>
        </p:nvSpPr>
        <p:spPr bwMode="gray"/>
        <p:txBody>
          <a:bodyPr/>
          <a:lstStyle/>
          <a:p>
            <a:endParaRPr lang="en-US"/>
          </a:p>
        </p:txBody>
      </p:sp>
      <p:sp>
        <p:nvSpPr>
          <p:cNvPr id="9" name="Foliennummernplatzhalter 8">
            <a:extLst>
              <a:ext uri="{FF2B5EF4-FFF2-40B4-BE49-F238E27FC236}">
                <a16:creationId xmlns:a16="http://schemas.microsoft.com/office/drawing/2014/main" id="{64855801-DEF8-4EFB-A449-5F4B4FC3ED5A}"/>
              </a:ext>
            </a:extLst>
          </p:cNvPr>
          <p:cNvSpPr>
            <a:spLocks noGrp="1"/>
          </p:cNvSpPr>
          <p:nvPr>
            <p:ph type="sldNum" sz="quarter" idx="12"/>
          </p:nvPr>
        </p:nvSpPr>
        <p:spPr bwMode="gray"/>
        <p:txBody>
          <a:bodyPr/>
          <a:lstStyle/>
          <a:p>
            <a:fld id="{BFCA3128-5B09-47E5-B47D-6F0CB7A5DE9F}" type="slidenum">
              <a:rPr lang="en-US"/>
              <a:t>‹#›</a:t>
            </a:fld>
            <a:endParaRPr lang="en-US"/>
          </a:p>
        </p:txBody>
      </p:sp>
    </p:spTree>
    <p:extLst>
      <p:ext uri="{BB962C8B-B14F-4D97-AF65-F5344CB8AC3E}">
        <p14:creationId xmlns:p14="http://schemas.microsoft.com/office/powerpoint/2010/main" val="3085700908"/>
      </p:ext>
    </p:extLst>
  </p:cSld>
  <p:clrMapOvr>
    <a:masterClrMapping/>
  </p:clrMapOvr>
  <p:extLst>
    <p:ext uri="{DCECCB84-F9BA-43D5-87BE-67443E8EF086}">
      <p15:sldGuideLst xmlns:p15="http://schemas.microsoft.com/office/powerpoint/2012/main">
        <p15:guide id="1" orient="horz" pos="459">
          <p15:clr>
            <a:srgbClr val="F26B43"/>
          </p15:clr>
        </p15:guide>
        <p15:guide id="2" pos="7310">
          <p15:clr>
            <a:srgbClr val="F26B43"/>
          </p15:clr>
        </p15:guide>
        <p15:guide id="3" orient="horz" pos="3861">
          <p15:clr>
            <a:srgbClr val="F26B43"/>
          </p15:clr>
        </p15:guide>
        <p15:guide id="4" pos="370">
          <p15:clr>
            <a:srgbClr val="F26B43"/>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Key Message | Colour">
    <p:bg>
      <p:bgPr>
        <a:solidFill>
          <a:schemeClr val="accent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6C0DBF4-DE2C-43EB-A33F-9FB936CDDE99}"/>
              </a:ext>
            </a:extLst>
          </p:cNvPr>
          <p:cNvGraphicFramePr>
            <a:graphicFrameLocks noChangeAspect="1"/>
          </p:cNvGraphicFramePr>
          <p:nvPr>
            <p:custDataLst>
              <p:tags r:id="rId2"/>
            </p:custDataLst>
            <p:extLst>
              <p:ext uri="{D42A27DB-BD31-4B8C-83A1-F6EECF244321}">
                <p14:modId xmlns:p14="http://schemas.microsoft.com/office/powerpoint/2010/main" val="38890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E6C0DBF4-DE2C-43EB-A33F-9FB936CDD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A7ED93-264F-4FB5-815D-4481CAD4A5EA}"/>
              </a:ext>
            </a:extLst>
          </p:cNvPr>
          <p:cNvSpPr>
            <a:spLocks noGrp="1"/>
          </p:cNvSpPr>
          <p:nvPr>
            <p:ph type="title" hasCustomPrompt="1"/>
          </p:nvPr>
        </p:nvSpPr>
        <p:spPr bwMode="gray">
          <a:xfrm>
            <a:off x="587375" y="728663"/>
            <a:ext cx="11016574" cy="5400676"/>
          </a:xfrm>
        </p:spPr>
        <p:txBody>
          <a:bodyPr vert="horz" bIns="288000" anchor="ctr" anchorCtr="0"/>
          <a:lstStyle>
            <a:lvl1pPr algn="ctr">
              <a:lnSpc>
                <a:spcPct val="110000"/>
              </a:lnSpc>
              <a:defRPr sz="4300" b="1">
                <a:solidFill>
                  <a:schemeClr val="tx1"/>
                </a:solidFill>
              </a:defRPr>
            </a:lvl1pPr>
          </a:lstStyle>
          <a:p>
            <a:r>
              <a:rPr lang="en-GB" noProof="0"/>
              <a:t>Click to add a message</a:t>
            </a:r>
            <a:br>
              <a:rPr lang="en-GB" noProof="0"/>
            </a:br>
            <a:r>
              <a:rPr lang="en-GB" noProof="0"/>
              <a:t>or quote</a:t>
            </a:r>
          </a:p>
        </p:txBody>
      </p:sp>
      <p:sp>
        <p:nvSpPr>
          <p:cNvPr id="5" name="Datumsplatzhalter 4">
            <a:extLst>
              <a:ext uri="{FF2B5EF4-FFF2-40B4-BE49-F238E27FC236}">
                <a16:creationId xmlns:a16="http://schemas.microsoft.com/office/drawing/2014/main" id="{91A7AEFA-CB05-44E7-B101-8CF3592F395F}"/>
              </a:ext>
            </a:extLst>
          </p:cNvPr>
          <p:cNvSpPr>
            <a:spLocks noGrp="1"/>
          </p:cNvSpPr>
          <p:nvPr>
            <p:ph type="dt" sz="half" idx="10"/>
          </p:nvPr>
        </p:nvSpPr>
        <p:spPr bwMode="gray"/>
        <p:txBody>
          <a:bodyPr/>
          <a:lstStyle>
            <a:lvl1pPr>
              <a:defRPr>
                <a:solidFill>
                  <a:schemeClr val="tx1"/>
                </a:solidFill>
              </a:defRPr>
            </a:lvl1pPr>
          </a:lstStyle>
          <a:p>
            <a:endParaRPr lang="en-US"/>
          </a:p>
        </p:txBody>
      </p:sp>
      <p:sp>
        <p:nvSpPr>
          <p:cNvPr id="6" name="Fußzeilenplatzhalter 5">
            <a:extLst>
              <a:ext uri="{FF2B5EF4-FFF2-40B4-BE49-F238E27FC236}">
                <a16:creationId xmlns:a16="http://schemas.microsoft.com/office/drawing/2014/main" id="{81D7614F-6169-4EC0-B420-388BEA8019E3}"/>
              </a:ext>
            </a:extLst>
          </p:cNvPr>
          <p:cNvSpPr>
            <a:spLocks noGrp="1"/>
          </p:cNvSpPr>
          <p:nvPr>
            <p:ph type="ftr" sz="quarter" idx="11"/>
          </p:nvPr>
        </p:nvSpPr>
        <p:spPr bwMode="gray">
          <a:xfrm>
            <a:off x="587388" y="6381352"/>
            <a:ext cx="1928413" cy="138499"/>
          </a:xfrm>
        </p:spPr>
        <p:txBody>
          <a:bodyPr/>
          <a:lstStyle>
            <a:lvl1pPr>
              <a:defRPr>
                <a:solidFill>
                  <a:schemeClr val="tx1"/>
                </a:solidFill>
              </a:defRPr>
            </a:lvl1pPr>
          </a:lstStyle>
          <a:p>
            <a:endParaRPr lang="en-US"/>
          </a:p>
        </p:txBody>
      </p:sp>
      <p:sp>
        <p:nvSpPr>
          <p:cNvPr id="7" name="Foliennummernplatzhalter 6">
            <a:extLst>
              <a:ext uri="{FF2B5EF4-FFF2-40B4-BE49-F238E27FC236}">
                <a16:creationId xmlns:a16="http://schemas.microsoft.com/office/drawing/2014/main" id="{B5350518-4957-4979-8539-BEE27F47A292}"/>
              </a:ext>
            </a:extLst>
          </p:cNvPr>
          <p:cNvSpPr>
            <a:spLocks noGrp="1"/>
          </p:cNvSpPr>
          <p:nvPr>
            <p:ph type="sldNum" sz="quarter" idx="12"/>
          </p:nvPr>
        </p:nvSpPr>
        <p:spPr bwMode="gray"/>
        <p:txBody>
          <a:bodyPr/>
          <a:lstStyle>
            <a:lvl1pPr>
              <a:defRPr>
                <a:solidFill>
                  <a:schemeClr val="tx1"/>
                </a:solidFill>
              </a:defRPr>
            </a:lvl1pPr>
          </a:lstStyle>
          <a:p>
            <a:fld id="{BFCA3128-5B09-47E5-B47D-6F0CB7A5DE9F}" type="slidenum">
              <a:rPr lang="en-US"/>
              <a:t>‹#›</a:t>
            </a:fld>
            <a:endParaRPr lang="en-US"/>
          </a:p>
        </p:txBody>
      </p:sp>
    </p:spTree>
    <p:extLst>
      <p:ext uri="{BB962C8B-B14F-4D97-AF65-F5344CB8AC3E}">
        <p14:creationId xmlns:p14="http://schemas.microsoft.com/office/powerpoint/2010/main" val="55767717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459">
          <p15:clr>
            <a:srgbClr val="F26B43"/>
          </p15:clr>
        </p15:guide>
        <p15:guide id="2" pos="7310">
          <p15:clr>
            <a:srgbClr val="F26B43"/>
          </p15:clr>
        </p15:guide>
        <p15:guide id="3" pos="370">
          <p15:clr>
            <a:srgbClr val="F26B43"/>
          </p15:clr>
        </p15:guide>
        <p15:guide id="4" orient="horz" pos="3861">
          <p15:clr>
            <a:srgbClr val="F26B43"/>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Empty | White">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8A5FFD9-17C6-493E-AAEA-4723FB65E1D5}"/>
              </a:ext>
            </a:extLst>
          </p:cNvPr>
          <p:cNvSpPr>
            <a:spLocks noGrp="1"/>
          </p:cNvSpPr>
          <p:nvPr>
            <p:ph type="dt" sz="half" idx="10"/>
          </p:nvPr>
        </p:nvSpPr>
        <p:spPr bwMode="gray"/>
        <p:txBody>
          <a:bodyPr/>
          <a:lstStyle/>
          <a:p>
            <a:endParaRPr lang="en-US"/>
          </a:p>
        </p:txBody>
      </p:sp>
      <p:sp>
        <p:nvSpPr>
          <p:cNvPr id="3" name="Fußzeilenplatzhalter 2">
            <a:extLst>
              <a:ext uri="{FF2B5EF4-FFF2-40B4-BE49-F238E27FC236}">
                <a16:creationId xmlns:a16="http://schemas.microsoft.com/office/drawing/2014/main" id="{7F870DAA-DAFD-48D8-B55A-AD46661A4420}"/>
              </a:ext>
            </a:extLst>
          </p:cNvPr>
          <p:cNvSpPr>
            <a:spLocks noGrp="1"/>
          </p:cNvSpPr>
          <p:nvPr>
            <p:ph type="ftr" sz="quarter" idx="11"/>
          </p:nvPr>
        </p:nvSpPr>
        <p:spPr bwMode="gray"/>
        <p:txBody>
          <a:bodyPr/>
          <a:lstStyle/>
          <a:p>
            <a:endParaRPr lang="en-US"/>
          </a:p>
        </p:txBody>
      </p:sp>
      <p:sp>
        <p:nvSpPr>
          <p:cNvPr id="7" name="Foliennummernplatzhalter 6">
            <a:extLst>
              <a:ext uri="{FF2B5EF4-FFF2-40B4-BE49-F238E27FC236}">
                <a16:creationId xmlns:a16="http://schemas.microsoft.com/office/drawing/2014/main" id="{F4BA519A-AA8F-4796-A913-15BB2C423E3A}"/>
              </a:ext>
            </a:extLst>
          </p:cNvPr>
          <p:cNvSpPr>
            <a:spLocks noGrp="1"/>
          </p:cNvSpPr>
          <p:nvPr>
            <p:ph type="sldNum" sz="quarter" idx="12"/>
          </p:nvPr>
        </p:nvSpPr>
        <p:spPr bwMode="gray"/>
        <p:txBody>
          <a:bodyPr/>
          <a:lstStyle/>
          <a:p>
            <a:fld id="{BFCA3128-5B09-47E5-B47D-6F0CB7A5DE9F}" type="slidenum">
              <a:rPr lang="en-US"/>
              <a:t>‹#›</a:t>
            </a:fld>
            <a:endParaRPr lang="en-US"/>
          </a:p>
        </p:txBody>
      </p:sp>
    </p:spTree>
    <p:extLst>
      <p:ext uri="{BB962C8B-B14F-4D97-AF65-F5344CB8AC3E}">
        <p14:creationId xmlns:p14="http://schemas.microsoft.com/office/powerpoint/2010/main" val="3667036986"/>
      </p:ext>
    </p:extLst>
  </p:cSld>
  <p:clrMapOvr>
    <a:masterClrMapping/>
  </p:clrMapOvr>
  <p:extLst>
    <p:ext uri="{DCECCB84-F9BA-43D5-87BE-67443E8EF086}">
      <p15:sldGuideLst xmlns:p15="http://schemas.microsoft.com/office/powerpoint/2012/main">
        <p15:guide id="1" pos="370">
          <p15:clr>
            <a:srgbClr val="F26B43"/>
          </p15:clr>
        </p15:guide>
        <p15:guide id="10" pos="7310">
          <p15:clr>
            <a:srgbClr val="F26B43"/>
          </p15:clr>
        </p15:guide>
        <p15:guide id="11" orient="horz" pos="459">
          <p15:clr>
            <a:srgbClr val="F26B43"/>
          </p15:clr>
        </p15:guide>
        <p15:guide id="12" orient="horz" pos="3861">
          <p15:clr>
            <a:srgbClr val="F26B43"/>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Empty | Colour">
    <p:bg>
      <p:bgPr>
        <a:solidFill>
          <a:schemeClr val="accent1"/>
        </a:solidFill>
        <a:effectLst/>
      </p:bgPr>
    </p:bg>
    <p:spTree>
      <p:nvGrpSpPr>
        <p:cNvPr id="1" name=""/>
        <p:cNvGrpSpPr/>
        <p:nvPr/>
      </p:nvGrpSpPr>
      <p:grpSpPr>
        <a:xfrm>
          <a:off x="0" y="0"/>
          <a:ext cx="0" cy="0"/>
          <a:chOff x="0" y="0"/>
          <a:chExt cx="0" cy="0"/>
        </a:xfrm>
      </p:grpSpPr>
      <p:sp>
        <p:nvSpPr>
          <p:cNvPr id="13" name="Foliennummernplatzhalter 5">
            <a:extLst>
              <a:ext uri="{FF2B5EF4-FFF2-40B4-BE49-F238E27FC236}">
                <a16:creationId xmlns:a16="http://schemas.microsoft.com/office/drawing/2014/main" id="{8248E6FD-15AA-4B89-85F4-20B09D099B09}"/>
              </a:ext>
            </a:extLst>
          </p:cNvPr>
          <p:cNvSpPr>
            <a:spLocks noGrp="1"/>
          </p:cNvSpPr>
          <p:nvPr>
            <p:ph type="sldNum" sz="quarter" idx="4"/>
          </p:nvPr>
        </p:nvSpPr>
        <p:spPr bwMode="gray">
          <a:xfrm>
            <a:off x="5806768" y="6381328"/>
            <a:ext cx="576064" cy="216000"/>
          </a:xfrm>
          <a:prstGeom prst="rect">
            <a:avLst/>
          </a:prstGeom>
        </p:spPr>
        <p:txBody>
          <a:bodyPr vert="horz" wrap="square" lIns="0" tIns="0" rIns="0" bIns="0" rtlCol="0" anchor="t" anchorCtr="0">
            <a:noAutofit/>
          </a:bodyPr>
          <a:lstStyle>
            <a:lvl1pPr algn="ctr">
              <a:defRPr sz="900">
                <a:solidFill>
                  <a:schemeClr val="tx1"/>
                </a:solidFill>
              </a:defRPr>
            </a:lvl1pPr>
          </a:lstStyle>
          <a:p>
            <a:fld id="{BFCA3128-5B09-47E5-B47D-6F0CB7A5DE9F}" type="slidenum">
              <a:rPr lang="en-US"/>
              <a:t>‹#›</a:t>
            </a:fld>
            <a:endParaRPr lang="en-US"/>
          </a:p>
        </p:txBody>
      </p:sp>
      <p:sp>
        <p:nvSpPr>
          <p:cNvPr id="14" name="Datumsplatzhalter 2">
            <a:extLst>
              <a:ext uri="{FF2B5EF4-FFF2-40B4-BE49-F238E27FC236}">
                <a16:creationId xmlns:a16="http://schemas.microsoft.com/office/drawing/2014/main" id="{B8A9D196-A2C4-41EF-878D-B1B1BE7017D8}"/>
              </a:ext>
            </a:extLst>
          </p:cNvPr>
          <p:cNvSpPr>
            <a:spLocks noGrp="1"/>
          </p:cNvSpPr>
          <p:nvPr>
            <p:ph type="dt" sz="half" idx="2"/>
          </p:nvPr>
        </p:nvSpPr>
        <p:spPr bwMode="gray">
          <a:xfrm>
            <a:off x="8861425" y="6381328"/>
            <a:ext cx="2743200" cy="216000"/>
          </a:xfrm>
          <a:prstGeom prst="rect">
            <a:avLst/>
          </a:prstGeom>
        </p:spPr>
        <p:txBody>
          <a:bodyPr vert="horz" wrap="square" lIns="0" tIns="0" rIns="0" bIns="0" rtlCol="0" anchor="t" anchorCtr="0">
            <a:noAutofit/>
          </a:bodyPr>
          <a:lstStyle>
            <a:lvl1pPr algn="r">
              <a:defRPr lang="de-DE" sz="900">
                <a:solidFill>
                  <a:schemeClr val="tx1"/>
                </a:solidFill>
              </a:defRPr>
            </a:lvl1pPr>
          </a:lstStyle>
          <a:p>
            <a:endParaRPr lang="en-US"/>
          </a:p>
        </p:txBody>
      </p:sp>
      <p:sp>
        <p:nvSpPr>
          <p:cNvPr id="2" name="Fußzeilenplatzhalter 1">
            <a:extLst>
              <a:ext uri="{FF2B5EF4-FFF2-40B4-BE49-F238E27FC236}">
                <a16:creationId xmlns:a16="http://schemas.microsoft.com/office/drawing/2014/main" id="{1E81712C-DC15-434D-A1F9-92FFF06630DA}"/>
              </a:ext>
            </a:extLst>
          </p:cNvPr>
          <p:cNvSpPr>
            <a:spLocks noGrp="1"/>
          </p:cNvSpPr>
          <p:nvPr>
            <p:ph type="ftr" sz="quarter" idx="10"/>
          </p:nvPr>
        </p:nvSpPr>
        <p:spPr bwMode="gray">
          <a:xfrm>
            <a:off x="587388" y="6381352"/>
            <a:ext cx="1928413" cy="138499"/>
          </a:xfrm>
        </p:spPr>
        <p:txBody>
          <a:bodyPr/>
          <a:lstStyle>
            <a:lvl1pPr>
              <a:defRPr>
                <a:solidFill>
                  <a:schemeClr val="tx1"/>
                </a:solidFill>
              </a:defRPr>
            </a:lvl1pPr>
          </a:lstStyle>
          <a:p>
            <a:endParaRPr lang="en-US"/>
          </a:p>
        </p:txBody>
      </p:sp>
    </p:spTree>
    <p:extLst>
      <p:ext uri="{BB962C8B-B14F-4D97-AF65-F5344CB8AC3E}">
        <p14:creationId xmlns:p14="http://schemas.microsoft.com/office/powerpoint/2010/main" val="40056355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310">
          <p15:clr>
            <a:srgbClr val="F26B43"/>
          </p15:clr>
        </p15:guide>
        <p15:guide id="4" pos="370">
          <p15:clr>
            <a:srgbClr val="F26B43"/>
          </p15:clr>
        </p15:guide>
        <p15:guide id="5" orient="horz" pos="459">
          <p15:clr>
            <a:srgbClr val="F26B43"/>
          </p15:clr>
        </p15:guide>
        <p15:guide id="6" orient="horz" pos="3861">
          <p15:clr>
            <a:srgbClr val="F26B43"/>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One Contact | White">
    <p:bg>
      <p:bgPr>
        <a:solidFill>
          <a:schemeClr val="bg1"/>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BB3F522-8447-4E5E-A321-D191813F8F49}"/>
              </a:ext>
            </a:extLst>
          </p:cNvPr>
          <p:cNvGraphicFramePr>
            <a:graphicFrameLocks noChangeAspect="1"/>
          </p:cNvGraphicFramePr>
          <p:nvPr>
            <p:custDataLst>
              <p:tags r:id="rId2"/>
            </p:custDataLst>
            <p:extLst>
              <p:ext uri="{D42A27DB-BD31-4B8C-83A1-F6EECF244321}">
                <p14:modId xmlns:p14="http://schemas.microsoft.com/office/powerpoint/2010/main" val="4269645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4" imgW="359" imgH="358" progId="TCLayout.ActiveDocument.1">
                  <p:embed/>
                </p:oleObj>
              </mc:Choice>
              <mc:Fallback>
                <p:oleObj name="think-cell Slide" r:id="rId4" imgW="359" imgH="358" progId="TCLayout.ActiveDocument.1">
                  <p:embed/>
                  <p:pic>
                    <p:nvPicPr>
                      <p:cNvPr id="8" name="Objekt 7" hidden="1">
                        <a:extLst>
                          <a:ext uri="{FF2B5EF4-FFF2-40B4-BE49-F238E27FC236}">
                            <a16:creationId xmlns:a16="http://schemas.microsoft.com/office/drawing/2014/main" id="{ABB3F522-8447-4E5E-A321-D191813F8F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A7ED93-264F-4FB5-815D-4481CAD4A5EA}"/>
              </a:ext>
            </a:extLst>
          </p:cNvPr>
          <p:cNvSpPr>
            <a:spLocks noGrp="1"/>
          </p:cNvSpPr>
          <p:nvPr>
            <p:ph type="title" hasCustomPrompt="1"/>
          </p:nvPr>
        </p:nvSpPr>
        <p:spPr bwMode="gray">
          <a:xfrm>
            <a:off x="587822" y="728700"/>
            <a:ext cx="5400228" cy="720000"/>
          </a:xfrm>
        </p:spPr>
        <p:txBody>
          <a:bodyPr vert="horz" bIns="0" anchor="b" anchorCtr="0"/>
          <a:lstStyle>
            <a:lvl1pPr algn="l">
              <a:defRPr sz="4300">
                <a:solidFill>
                  <a:schemeClr val="accent1"/>
                </a:solidFill>
              </a:defRPr>
            </a:lvl1pPr>
          </a:lstStyle>
          <a:p>
            <a:r>
              <a:rPr lang="en-GB" noProof="0"/>
              <a:t>Thank you! </a:t>
            </a:r>
          </a:p>
        </p:txBody>
      </p:sp>
      <p:pic>
        <p:nvPicPr>
          <p:cNvPr id="3" name="Grafik 2">
            <a:extLst>
              <a:ext uri="{FF2B5EF4-FFF2-40B4-BE49-F238E27FC236}">
                <a16:creationId xmlns:a16="http://schemas.microsoft.com/office/drawing/2014/main" id="{2608446A-11B3-4DB8-BD2F-089747ACC3FD}"/>
              </a:ext>
            </a:extLst>
          </p:cNvPr>
          <p:cNvPicPr>
            <a:picLocks noChangeAspect="1"/>
          </p:cNvPicPr>
          <p:nvPr/>
        </p:nvPicPr>
        <p:blipFill>
          <a:blip r:embed="rId6" cstate="screen">
            <a:extLst>
              <a:ext uri="{28A0092B-C50C-407E-A947-70E740481C1C}">
                <a14:useLocalDpi xmlns:a14="http://schemas.microsoft.com/office/drawing/2010/main" val="0"/>
              </a:ext>
            </a:extLst>
          </a:blip>
          <a:srcRect/>
          <a:stretch/>
        </p:blipFill>
        <p:spPr bwMode="gray">
          <a:xfrm>
            <a:off x="587389" y="5625301"/>
            <a:ext cx="2743267" cy="503999"/>
          </a:xfrm>
          <a:prstGeom prst="rect">
            <a:avLst/>
          </a:prstGeom>
        </p:spPr>
      </p:pic>
      <p:sp>
        <p:nvSpPr>
          <p:cNvPr id="11" name="Text Placeholder 11">
            <a:extLst>
              <a:ext uri="{FF2B5EF4-FFF2-40B4-BE49-F238E27FC236}">
                <a16:creationId xmlns:a16="http://schemas.microsoft.com/office/drawing/2014/main" id="{70DB3614-7B90-4F5C-A1D3-A3493D9BE9D1}"/>
              </a:ext>
            </a:extLst>
          </p:cNvPr>
          <p:cNvSpPr>
            <a:spLocks noGrp="1"/>
          </p:cNvSpPr>
          <p:nvPr>
            <p:ph type="body" sz="quarter" idx="14" hasCustomPrompt="1"/>
          </p:nvPr>
        </p:nvSpPr>
        <p:spPr bwMode="gray">
          <a:xfrm>
            <a:off x="587388" y="1916113"/>
            <a:ext cx="5400662" cy="2989261"/>
          </a:xfrm>
        </p:spPr>
        <p:txBody>
          <a:bodyPr/>
          <a:lstStyle>
            <a:lvl1pPr>
              <a:spcAft>
                <a:spcPts val="0"/>
              </a:spcAft>
              <a:defRPr sz="1400" b="1">
                <a:solidFill>
                  <a:schemeClr val="tx1"/>
                </a:solidFill>
              </a:defRPr>
            </a:lvl1pPr>
            <a:lvl2pPr marL="0" indent="0">
              <a:spcAft>
                <a:spcPts val="1200"/>
              </a:spcAft>
              <a:buFontTx/>
              <a:buNone/>
              <a:tabLst>
                <a:tab pos="623888" algn="l"/>
              </a:tabLst>
              <a:defRPr sz="1400" b="0">
                <a:solidFill>
                  <a:schemeClr val="accent1"/>
                </a:solidFill>
              </a:defRPr>
            </a:lvl2pPr>
            <a:lvl3pPr marL="0" indent="0">
              <a:spcAft>
                <a:spcPts val="1200"/>
              </a:spcAft>
              <a:buFontTx/>
              <a:buNone/>
              <a:tabLst>
                <a:tab pos="623888" algn="l"/>
              </a:tabLst>
              <a:defRPr sz="1400">
                <a:solidFill>
                  <a:schemeClr val="tx1"/>
                </a:solidFill>
              </a:defRPr>
            </a:lvl3pPr>
            <a:lvl4pPr marL="0" indent="0">
              <a:spcAft>
                <a:spcPts val="1200"/>
              </a:spcAft>
              <a:buFontTx/>
              <a:buNone/>
              <a:tabLst>
                <a:tab pos="623888" algn="l"/>
              </a:tabLst>
              <a:defRPr sz="1400">
                <a:solidFill>
                  <a:schemeClr val="tx1"/>
                </a:solidFill>
              </a:defRPr>
            </a:lvl4pPr>
            <a:lvl5pPr marL="0" indent="0">
              <a:spcAft>
                <a:spcPts val="1200"/>
              </a:spcAft>
              <a:buFontTx/>
              <a:buNone/>
              <a:tabLst>
                <a:tab pos="623888" algn="l"/>
              </a:tabLst>
              <a:defRPr sz="1400">
                <a:solidFill>
                  <a:schemeClr val="tx1"/>
                </a:solidFill>
              </a:defRPr>
            </a:lvl5pPr>
            <a:lvl6pPr marL="0" indent="0">
              <a:spcAft>
                <a:spcPts val="1200"/>
              </a:spcAft>
              <a:buFontTx/>
              <a:buNone/>
              <a:tabLst>
                <a:tab pos="623888" algn="l"/>
              </a:tabLst>
              <a:defRPr sz="1400">
                <a:solidFill>
                  <a:schemeClr val="tx1"/>
                </a:solidFill>
              </a:defRPr>
            </a:lvl6pPr>
            <a:lvl7pPr marL="0" indent="0">
              <a:spcAft>
                <a:spcPts val="1200"/>
              </a:spcAft>
              <a:buFontTx/>
              <a:buNone/>
              <a:tabLst>
                <a:tab pos="623888" algn="l"/>
              </a:tabLst>
              <a:defRPr sz="1400">
                <a:solidFill>
                  <a:schemeClr val="tx1"/>
                </a:solidFill>
              </a:defRPr>
            </a:lvl7pPr>
            <a:lvl8pPr marL="0" indent="0">
              <a:spcAft>
                <a:spcPts val="1200"/>
              </a:spcAft>
              <a:buFontTx/>
              <a:buNone/>
              <a:tabLst>
                <a:tab pos="623888" algn="l"/>
              </a:tabLst>
              <a:defRPr sz="1400">
                <a:solidFill>
                  <a:schemeClr val="tx1"/>
                </a:solidFill>
              </a:defRPr>
            </a:lvl8pPr>
            <a:lvl9pPr marL="0" indent="0">
              <a:spcAft>
                <a:spcPts val="1200"/>
              </a:spcAft>
              <a:buFontTx/>
              <a:buNone/>
              <a:tabLst>
                <a:tab pos="623888" algn="l"/>
              </a:tabLst>
              <a:defRPr sz="14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pic>
        <p:nvPicPr>
          <p:cNvPr id="7" name="Grafik 6">
            <a:extLst>
              <a:ext uri="{FF2B5EF4-FFF2-40B4-BE49-F238E27FC236}">
                <a16:creationId xmlns:a16="http://schemas.microsoft.com/office/drawing/2014/main" id="{470456D1-6A5A-473E-89CD-A8F2AF0A0680}"/>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gray">
          <a:xfrm>
            <a:off x="587388" y="5787300"/>
            <a:ext cx="2127958" cy="342000"/>
          </a:xfrm>
          <a:prstGeom prst="rect">
            <a:avLst/>
          </a:prstGeom>
        </p:spPr>
      </p:pic>
    </p:spTree>
    <p:extLst>
      <p:ext uri="{BB962C8B-B14F-4D97-AF65-F5344CB8AC3E}">
        <p14:creationId xmlns:p14="http://schemas.microsoft.com/office/powerpoint/2010/main" val="1659762410"/>
      </p:ext>
    </p:extLst>
  </p:cSld>
  <p:clrMapOvr>
    <a:masterClrMapping/>
  </p:clrMapOvr>
  <p:extLst>
    <p:ext uri="{DCECCB84-F9BA-43D5-87BE-67443E8EF086}">
      <p15:sldGuideLst xmlns:p15="http://schemas.microsoft.com/office/powerpoint/2012/main">
        <p15:guide id="14" pos="370">
          <p15:clr>
            <a:srgbClr val="F26B43"/>
          </p15:clr>
        </p15:guide>
        <p15:guide id="15" orient="horz" pos="459">
          <p15:clr>
            <a:srgbClr val="F26B43"/>
          </p15:clr>
        </p15:guide>
        <p15:guide id="16" orient="horz" pos="3090">
          <p15:clr>
            <a:srgbClr val="A4A3A4"/>
          </p15:clr>
        </p15:guide>
        <p15:guide id="18" pos="7310">
          <p15:clr>
            <a:srgbClr val="F26B43"/>
          </p15:clr>
        </p15:guide>
        <p15:guide id="19" pos="3772">
          <p15:clr>
            <a:srgbClr val="F26B43"/>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One Contact | Colour">
    <p:bg>
      <p:bgPr>
        <a:solidFill>
          <a:schemeClr val="accent1"/>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74ED0C7-F172-403B-8CCF-4A59F17BE7E6}"/>
              </a:ext>
            </a:extLst>
          </p:cNvPr>
          <p:cNvGraphicFramePr>
            <a:graphicFrameLocks noChangeAspect="1"/>
          </p:cNvGraphicFramePr>
          <p:nvPr>
            <p:custDataLst>
              <p:tags r:id="rId2"/>
            </p:custDataLst>
            <p:extLst>
              <p:ext uri="{D42A27DB-BD31-4B8C-83A1-F6EECF244321}">
                <p14:modId xmlns:p14="http://schemas.microsoft.com/office/powerpoint/2010/main" val="2899031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4" imgW="359" imgH="358" progId="TCLayout.ActiveDocument.1">
                  <p:embed/>
                </p:oleObj>
              </mc:Choice>
              <mc:Fallback>
                <p:oleObj name="think-cell Slide" r:id="rId4" imgW="359" imgH="358" progId="TCLayout.ActiveDocument.1">
                  <p:embed/>
                  <p:pic>
                    <p:nvPicPr>
                      <p:cNvPr id="7" name="Objekt 6" hidden="1">
                        <a:extLst>
                          <a:ext uri="{FF2B5EF4-FFF2-40B4-BE49-F238E27FC236}">
                            <a16:creationId xmlns:a16="http://schemas.microsoft.com/office/drawing/2014/main" id="{374ED0C7-F172-403B-8CCF-4A59F17BE7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A7ED93-264F-4FB5-815D-4481CAD4A5EA}"/>
              </a:ext>
            </a:extLst>
          </p:cNvPr>
          <p:cNvSpPr>
            <a:spLocks noGrp="1"/>
          </p:cNvSpPr>
          <p:nvPr>
            <p:ph type="title" hasCustomPrompt="1"/>
          </p:nvPr>
        </p:nvSpPr>
        <p:spPr bwMode="gray">
          <a:xfrm>
            <a:off x="587822" y="720001"/>
            <a:ext cx="5400228" cy="720000"/>
          </a:xfrm>
        </p:spPr>
        <p:txBody>
          <a:bodyPr vert="horz" bIns="0" anchor="b" anchorCtr="0"/>
          <a:lstStyle>
            <a:lvl1pPr algn="l">
              <a:defRPr sz="4300">
                <a:solidFill>
                  <a:schemeClr val="tx1"/>
                </a:solidFill>
              </a:defRPr>
            </a:lvl1pPr>
          </a:lstStyle>
          <a:p>
            <a:r>
              <a:rPr lang="en-GB" noProof="0"/>
              <a:t>Thank you! </a:t>
            </a:r>
          </a:p>
        </p:txBody>
      </p:sp>
      <p:sp>
        <p:nvSpPr>
          <p:cNvPr id="12" name="Text Placeholder 11">
            <a:extLst>
              <a:ext uri="{FF2B5EF4-FFF2-40B4-BE49-F238E27FC236}">
                <a16:creationId xmlns:a16="http://schemas.microsoft.com/office/drawing/2014/main" id="{6B5F4F39-9BD2-4A66-B513-1788650F19BF}"/>
              </a:ext>
            </a:extLst>
          </p:cNvPr>
          <p:cNvSpPr>
            <a:spLocks noGrp="1"/>
          </p:cNvSpPr>
          <p:nvPr>
            <p:ph type="body" sz="quarter" idx="14" hasCustomPrompt="1"/>
          </p:nvPr>
        </p:nvSpPr>
        <p:spPr bwMode="gray">
          <a:xfrm>
            <a:off x="587388" y="1916113"/>
            <a:ext cx="5400662" cy="2989261"/>
          </a:xfrm>
        </p:spPr>
        <p:txBody>
          <a:bodyPr/>
          <a:lstStyle>
            <a:lvl1pPr>
              <a:spcAft>
                <a:spcPts val="0"/>
              </a:spcAft>
              <a:defRPr sz="1400" b="1">
                <a:solidFill>
                  <a:schemeClr val="tx1"/>
                </a:solidFill>
              </a:defRPr>
            </a:lvl1pPr>
            <a:lvl2pPr marL="0" indent="0">
              <a:spcAft>
                <a:spcPts val="1200"/>
              </a:spcAft>
              <a:buFontTx/>
              <a:buNone/>
              <a:tabLst>
                <a:tab pos="623888" algn="l"/>
              </a:tabLst>
              <a:defRPr sz="1400" b="0">
                <a:solidFill>
                  <a:schemeClr val="tx1"/>
                </a:solidFill>
              </a:defRPr>
            </a:lvl2pPr>
            <a:lvl3pPr marL="0" indent="0">
              <a:spcAft>
                <a:spcPts val="1200"/>
              </a:spcAft>
              <a:buFontTx/>
              <a:buNone/>
              <a:tabLst>
                <a:tab pos="623888" algn="l"/>
              </a:tabLst>
              <a:defRPr sz="1400">
                <a:solidFill>
                  <a:schemeClr val="tx1"/>
                </a:solidFill>
              </a:defRPr>
            </a:lvl3pPr>
            <a:lvl4pPr marL="0" indent="0">
              <a:spcAft>
                <a:spcPts val="1200"/>
              </a:spcAft>
              <a:buFontTx/>
              <a:buNone/>
              <a:tabLst>
                <a:tab pos="623888" algn="l"/>
              </a:tabLst>
              <a:defRPr sz="1400">
                <a:solidFill>
                  <a:schemeClr val="tx1"/>
                </a:solidFill>
              </a:defRPr>
            </a:lvl4pPr>
            <a:lvl5pPr marL="0" indent="0">
              <a:spcAft>
                <a:spcPts val="1200"/>
              </a:spcAft>
              <a:buFontTx/>
              <a:buNone/>
              <a:tabLst>
                <a:tab pos="623888" algn="l"/>
              </a:tabLst>
              <a:defRPr sz="1400">
                <a:solidFill>
                  <a:schemeClr val="tx1"/>
                </a:solidFill>
              </a:defRPr>
            </a:lvl5pPr>
            <a:lvl6pPr marL="0" indent="0">
              <a:spcAft>
                <a:spcPts val="1200"/>
              </a:spcAft>
              <a:buFontTx/>
              <a:buNone/>
              <a:tabLst>
                <a:tab pos="623888" algn="l"/>
              </a:tabLst>
              <a:defRPr sz="1400">
                <a:solidFill>
                  <a:schemeClr val="tx1"/>
                </a:solidFill>
              </a:defRPr>
            </a:lvl6pPr>
            <a:lvl7pPr marL="0" indent="0">
              <a:spcAft>
                <a:spcPts val="1200"/>
              </a:spcAft>
              <a:buFontTx/>
              <a:buNone/>
              <a:tabLst>
                <a:tab pos="623888" algn="l"/>
              </a:tabLst>
              <a:defRPr sz="1400">
                <a:solidFill>
                  <a:schemeClr val="tx1"/>
                </a:solidFill>
              </a:defRPr>
            </a:lvl7pPr>
            <a:lvl8pPr marL="0" indent="0">
              <a:spcAft>
                <a:spcPts val="1200"/>
              </a:spcAft>
              <a:buFontTx/>
              <a:buNone/>
              <a:tabLst>
                <a:tab pos="623888" algn="l"/>
              </a:tabLst>
              <a:defRPr sz="1400">
                <a:solidFill>
                  <a:schemeClr val="tx1"/>
                </a:solidFill>
              </a:defRPr>
            </a:lvl8pPr>
            <a:lvl9pPr marL="0" indent="0">
              <a:spcAft>
                <a:spcPts val="1200"/>
              </a:spcAft>
              <a:buFontTx/>
              <a:buNone/>
              <a:tabLst>
                <a:tab pos="623888" algn="l"/>
              </a:tabLst>
              <a:defRPr sz="14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pic>
        <p:nvPicPr>
          <p:cNvPr id="6" name="Grafik 5">
            <a:extLst>
              <a:ext uri="{FF2B5EF4-FFF2-40B4-BE49-F238E27FC236}">
                <a16:creationId xmlns:a16="http://schemas.microsoft.com/office/drawing/2014/main" id="{37E30FE6-34FE-44B0-991B-825BA39184E3}"/>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bwMode="gray">
          <a:xfrm>
            <a:off x="587388" y="5787300"/>
            <a:ext cx="2127958" cy="342000"/>
          </a:xfrm>
          <a:prstGeom prst="rect">
            <a:avLst/>
          </a:prstGeom>
        </p:spPr>
      </p:pic>
    </p:spTree>
    <p:extLst>
      <p:ext uri="{BB962C8B-B14F-4D97-AF65-F5344CB8AC3E}">
        <p14:creationId xmlns:p14="http://schemas.microsoft.com/office/powerpoint/2010/main" val="20369588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3772">
          <p15:clr>
            <a:srgbClr val="F26B43"/>
          </p15:clr>
        </p15:guide>
        <p15:guide id="14" pos="370">
          <p15:clr>
            <a:srgbClr val="F26B43"/>
          </p15:clr>
        </p15:guide>
        <p15:guide id="15" orient="horz" pos="459">
          <p15:clr>
            <a:srgbClr val="F26B43"/>
          </p15:clr>
        </p15:guide>
        <p15:guide id="16" orient="horz" pos="3090">
          <p15:clr>
            <a:srgbClr val="A4A3A4"/>
          </p15:clr>
        </p15:guide>
        <p15:guide id="18" pos="7310">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0820BA-CBEA-4525-B567-17F03127AA4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bg-BG"/>
          </a:p>
        </p:txBody>
      </p:sp>
      <p:sp>
        <p:nvSpPr>
          <p:cNvPr id="3" name="Text Placeholder 2">
            <a:extLst>
              <a:ext uri="{FF2B5EF4-FFF2-40B4-BE49-F238E27FC236}">
                <a16:creationId xmlns:a16="http://schemas.microsoft.com/office/drawing/2014/main" id="{63025512-9220-4695-95F1-4EB32EF0D1C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B301731-359A-41C2-9A78-6D8B1495C3E5}"/>
              </a:ext>
            </a:extLst>
          </p:cNvPr>
          <p:cNvSpPr>
            <a:spLocks noGrp="1"/>
          </p:cNvSpPr>
          <p:nvPr>
            <p:ph type="dt" sz="half" idx="10"/>
          </p:nvPr>
        </p:nvSpPr>
        <p:spPr/>
        <p:txBody>
          <a:bodyPr/>
          <a:lstStyle/>
          <a:p>
            <a:fld id="{4742D07F-AA84-406A-9332-1464FA876A41}" type="datetimeFigureOut">
              <a:rPr lang="bg-BG" smtClean="0"/>
              <a:t>10.04.24 г.</a:t>
            </a:fld>
            <a:endParaRPr lang="bg-BG"/>
          </a:p>
        </p:txBody>
      </p:sp>
      <p:sp>
        <p:nvSpPr>
          <p:cNvPr id="5" name="Footer Placeholder 4">
            <a:extLst>
              <a:ext uri="{FF2B5EF4-FFF2-40B4-BE49-F238E27FC236}">
                <a16:creationId xmlns:a16="http://schemas.microsoft.com/office/drawing/2014/main" id="{6C3C0AA1-D212-4030-BB1F-F8D969303A62}"/>
              </a:ext>
            </a:extLst>
          </p:cNvPr>
          <p:cNvSpPr>
            <a:spLocks noGrp="1"/>
          </p:cNvSpPr>
          <p:nvPr>
            <p:ph type="ftr" sz="quarter" idx="11"/>
          </p:nvPr>
        </p:nvSpPr>
        <p:spPr/>
        <p:txBody>
          <a:bodyPr/>
          <a:lstStyle/>
          <a:p>
            <a:endParaRPr lang="bg-BG"/>
          </a:p>
        </p:txBody>
      </p:sp>
      <p:sp>
        <p:nvSpPr>
          <p:cNvPr id="6" name="Slide Number Placeholder 5">
            <a:extLst>
              <a:ext uri="{FF2B5EF4-FFF2-40B4-BE49-F238E27FC236}">
                <a16:creationId xmlns:a16="http://schemas.microsoft.com/office/drawing/2014/main" id="{DFCB6FA9-3F3B-460D-BC63-149A2BAC4862}"/>
              </a:ext>
            </a:extLst>
          </p:cNvPr>
          <p:cNvSpPr>
            <a:spLocks noGrp="1"/>
          </p:cNvSpPr>
          <p:nvPr>
            <p:ph type="sldNum" sz="quarter" idx="12"/>
          </p:nvPr>
        </p:nvSpPr>
        <p:spPr/>
        <p:txBody>
          <a:bodyPr/>
          <a:lstStyle/>
          <a:p>
            <a:fld id="{1ECF27F8-A54A-4E9B-946E-1DA717B6015E}" type="slidenum">
              <a:rPr lang="bg-BG" smtClean="0"/>
              <a:t>‹#›</a:t>
            </a:fld>
            <a:endParaRPr lang="bg-BG"/>
          </a:p>
        </p:txBody>
      </p:sp>
      <p:grpSp>
        <p:nvGrpSpPr>
          <p:cNvPr id="7" name="Graphic 7">
            <a:extLst>
              <a:ext uri="{FF2B5EF4-FFF2-40B4-BE49-F238E27FC236}">
                <a16:creationId xmlns:a16="http://schemas.microsoft.com/office/drawing/2014/main" id="{352A7F28-F1F9-5F4C-92D4-0378E21B5BD4}"/>
              </a:ext>
            </a:extLst>
          </p:cNvPr>
          <p:cNvGrpSpPr/>
          <p:nvPr userDrawn="1"/>
        </p:nvGrpSpPr>
        <p:grpSpPr>
          <a:xfrm>
            <a:off x="353506" y="249365"/>
            <a:ext cx="2223613" cy="332079"/>
            <a:chOff x="1971869" y="-1936820"/>
            <a:chExt cx="11281025" cy="1684734"/>
          </a:xfrm>
          <a:solidFill>
            <a:srgbClr val="050533"/>
          </a:solidFill>
        </p:grpSpPr>
        <p:sp>
          <p:nvSpPr>
            <p:cNvPr id="8" name="Freeform 7">
              <a:extLst>
                <a:ext uri="{FF2B5EF4-FFF2-40B4-BE49-F238E27FC236}">
                  <a16:creationId xmlns:a16="http://schemas.microsoft.com/office/drawing/2014/main" id="{5B655295-6E14-1743-8902-881690EF606A}"/>
                </a:ext>
              </a:extLst>
            </p:cNvPr>
            <p:cNvSpPr/>
            <p:nvPr/>
          </p:nvSpPr>
          <p:spPr>
            <a:xfrm>
              <a:off x="1971869" y="-1913287"/>
              <a:ext cx="293312" cy="1637952"/>
            </a:xfrm>
            <a:custGeom>
              <a:avLst/>
              <a:gdLst>
                <a:gd name="connsiteX0" fmla="*/ 0 w 293312"/>
                <a:gd name="connsiteY0" fmla="*/ 1637858 h 1637952"/>
                <a:gd name="connsiteX1" fmla="*/ 0 w 293312"/>
                <a:gd name="connsiteY1" fmla="*/ 0 h 1637952"/>
                <a:gd name="connsiteX2" fmla="*/ 293313 w 293312"/>
                <a:gd name="connsiteY2" fmla="*/ 0 h 1637952"/>
                <a:gd name="connsiteX3" fmla="*/ 293313 w 293312"/>
                <a:gd name="connsiteY3" fmla="*/ 1637953 h 1637952"/>
                <a:gd name="connsiteX4" fmla="*/ 0 w 293312"/>
                <a:gd name="connsiteY4" fmla="*/ 1637953 h 1637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312" h="1637952">
                  <a:moveTo>
                    <a:pt x="0" y="1637858"/>
                  </a:moveTo>
                  <a:lnTo>
                    <a:pt x="0" y="0"/>
                  </a:lnTo>
                  <a:lnTo>
                    <a:pt x="293313" y="0"/>
                  </a:lnTo>
                  <a:lnTo>
                    <a:pt x="293313" y="1637953"/>
                  </a:lnTo>
                  <a:lnTo>
                    <a:pt x="0" y="1637953"/>
                  </a:lnTo>
                  <a:close/>
                </a:path>
              </a:pathLst>
            </a:custGeom>
            <a:grpFill/>
            <a:ln w="0" cap="flat">
              <a:noFill/>
              <a:prstDash val="solid"/>
              <a:miter/>
            </a:ln>
          </p:spPr>
          <p:txBody>
            <a:bodyPr rtlCol="0" anchor="ctr"/>
            <a:lstStyle/>
            <a:p>
              <a:endParaRPr lang="en-BG"/>
            </a:p>
          </p:txBody>
        </p:sp>
        <p:sp>
          <p:nvSpPr>
            <p:cNvPr id="9" name="Freeform 8">
              <a:extLst>
                <a:ext uri="{FF2B5EF4-FFF2-40B4-BE49-F238E27FC236}">
                  <a16:creationId xmlns:a16="http://schemas.microsoft.com/office/drawing/2014/main" id="{77A88552-986D-3E44-89E3-27D2A1CBEFCA}"/>
                </a:ext>
              </a:extLst>
            </p:cNvPr>
            <p:cNvSpPr/>
            <p:nvPr/>
          </p:nvSpPr>
          <p:spPr>
            <a:xfrm>
              <a:off x="2527278" y="-1913287"/>
              <a:ext cx="919909" cy="1637952"/>
            </a:xfrm>
            <a:custGeom>
              <a:avLst/>
              <a:gdLst>
                <a:gd name="connsiteX0" fmla="*/ 0 w 919909"/>
                <a:gd name="connsiteY0" fmla="*/ 1637858 h 1637952"/>
                <a:gd name="connsiteX1" fmla="*/ 0 w 919909"/>
                <a:gd name="connsiteY1" fmla="*/ 0 h 1637952"/>
                <a:gd name="connsiteX2" fmla="*/ 363738 w 919909"/>
                <a:gd name="connsiteY2" fmla="*/ 0 h 1637952"/>
                <a:gd name="connsiteX3" fmla="*/ 657051 w 919909"/>
                <a:gd name="connsiteY3" fmla="*/ 964021 h 1637952"/>
                <a:gd name="connsiteX4" fmla="*/ 657051 w 919909"/>
                <a:gd name="connsiteY4" fmla="*/ 0 h 1637952"/>
                <a:gd name="connsiteX5" fmla="*/ 919910 w 919909"/>
                <a:gd name="connsiteY5" fmla="*/ 0 h 1637952"/>
                <a:gd name="connsiteX6" fmla="*/ 919910 w 919909"/>
                <a:gd name="connsiteY6" fmla="*/ 1637953 h 1637952"/>
                <a:gd name="connsiteX7" fmla="*/ 624218 w 919909"/>
                <a:gd name="connsiteY7" fmla="*/ 1637953 h 1637952"/>
                <a:gd name="connsiteX8" fmla="*/ 262859 w 919909"/>
                <a:gd name="connsiteY8" fmla="*/ 456342 h 1637952"/>
                <a:gd name="connsiteX9" fmla="*/ 262859 w 919909"/>
                <a:gd name="connsiteY9" fmla="*/ 1637953 h 1637952"/>
                <a:gd name="connsiteX10" fmla="*/ 0 w 919909"/>
                <a:gd name="connsiteY10" fmla="*/ 1637953 h 16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9909" h="1637952">
                  <a:moveTo>
                    <a:pt x="0" y="1637858"/>
                  </a:moveTo>
                  <a:lnTo>
                    <a:pt x="0" y="0"/>
                  </a:lnTo>
                  <a:lnTo>
                    <a:pt x="363738" y="0"/>
                  </a:lnTo>
                  <a:lnTo>
                    <a:pt x="657051" y="964021"/>
                  </a:lnTo>
                  <a:lnTo>
                    <a:pt x="657051" y="0"/>
                  </a:lnTo>
                  <a:lnTo>
                    <a:pt x="919910" y="0"/>
                  </a:lnTo>
                  <a:lnTo>
                    <a:pt x="919910" y="1637953"/>
                  </a:lnTo>
                  <a:lnTo>
                    <a:pt x="624218" y="1637953"/>
                  </a:lnTo>
                  <a:lnTo>
                    <a:pt x="262859" y="456342"/>
                  </a:lnTo>
                  <a:lnTo>
                    <a:pt x="262859" y="1637953"/>
                  </a:lnTo>
                  <a:lnTo>
                    <a:pt x="0" y="1637953"/>
                  </a:lnTo>
                  <a:close/>
                </a:path>
              </a:pathLst>
            </a:custGeom>
            <a:grpFill/>
            <a:ln w="0" cap="flat">
              <a:noFill/>
              <a:prstDash val="solid"/>
              <a:miter/>
            </a:ln>
          </p:spPr>
          <p:txBody>
            <a:bodyPr rtlCol="0" anchor="ctr"/>
            <a:lstStyle/>
            <a:p>
              <a:endParaRPr lang="en-BG"/>
            </a:p>
          </p:txBody>
        </p:sp>
        <p:sp>
          <p:nvSpPr>
            <p:cNvPr id="10" name="Freeform 9">
              <a:extLst>
                <a:ext uri="{FF2B5EF4-FFF2-40B4-BE49-F238E27FC236}">
                  <a16:creationId xmlns:a16="http://schemas.microsoft.com/office/drawing/2014/main" id="{23542519-BE11-504F-A5D9-2ECE6C7F4DBA}"/>
                </a:ext>
              </a:extLst>
            </p:cNvPr>
            <p:cNvSpPr/>
            <p:nvPr/>
          </p:nvSpPr>
          <p:spPr>
            <a:xfrm>
              <a:off x="3668838" y="-1913287"/>
              <a:ext cx="955122" cy="1635580"/>
            </a:xfrm>
            <a:custGeom>
              <a:avLst/>
              <a:gdLst>
                <a:gd name="connsiteX0" fmla="*/ 283891 w 955122"/>
                <a:gd name="connsiteY0" fmla="*/ 1635485 h 1635580"/>
                <a:gd name="connsiteX1" fmla="*/ 0 w 955122"/>
                <a:gd name="connsiteY1" fmla="*/ 0 h 1635580"/>
                <a:gd name="connsiteX2" fmla="*/ 297976 w 955122"/>
                <a:gd name="connsiteY2" fmla="*/ 0 h 1635580"/>
                <a:gd name="connsiteX3" fmla="*/ 488030 w 955122"/>
                <a:gd name="connsiteY3" fmla="*/ 1272898 h 1635580"/>
                <a:gd name="connsiteX4" fmla="*/ 680558 w 955122"/>
                <a:gd name="connsiteY4" fmla="*/ 0 h 1635580"/>
                <a:gd name="connsiteX5" fmla="*/ 955122 w 955122"/>
                <a:gd name="connsiteY5" fmla="*/ 0 h 1635580"/>
                <a:gd name="connsiteX6" fmla="*/ 671136 w 955122"/>
                <a:gd name="connsiteY6" fmla="*/ 1635580 h 1635580"/>
                <a:gd name="connsiteX7" fmla="*/ 283891 w 955122"/>
                <a:gd name="connsiteY7" fmla="*/ 1635580 h 1635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5122" h="1635580">
                  <a:moveTo>
                    <a:pt x="283891" y="1635485"/>
                  </a:moveTo>
                  <a:lnTo>
                    <a:pt x="0" y="0"/>
                  </a:lnTo>
                  <a:lnTo>
                    <a:pt x="297976" y="0"/>
                  </a:lnTo>
                  <a:lnTo>
                    <a:pt x="488030" y="1272898"/>
                  </a:lnTo>
                  <a:lnTo>
                    <a:pt x="680558" y="0"/>
                  </a:lnTo>
                  <a:lnTo>
                    <a:pt x="955122" y="0"/>
                  </a:lnTo>
                  <a:lnTo>
                    <a:pt x="671136" y="1635580"/>
                  </a:lnTo>
                  <a:lnTo>
                    <a:pt x="283891" y="1635580"/>
                  </a:lnTo>
                  <a:close/>
                </a:path>
              </a:pathLst>
            </a:custGeom>
            <a:grpFill/>
            <a:ln w="0" cap="flat">
              <a:noFill/>
              <a:prstDash val="solid"/>
              <a:miter/>
            </a:ln>
          </p:spPr>
          <p:txBody>
            <a:bodyPr rtlCol="0" anchor="ctr"/>
            <a:lstStyle/>
            <a:p>
              <a:endParaRPr lang="en-BG"/>
            </a:p>
          </p:txBody>
        </p:sp>
        <p:sp>
          <p:nvSpPr>
            <p:cNvPr id="11" name="Freeform 10">
              <a:extLst>
                <a:ext uri="{FF2B5EF4-FFF2-40B4-BE49-F238E27FC236}">
                  <a16:creationId xmlns:a16="http://schemas.microsoft.com/office/drawing/2014/main" id="{675A3694-C858-4547-8935-8E064C5E25B3}"/>
                </a:ext>
              </a:extLst>
            </p:cNvPr>
            <p:cNvSpPr/>
            <p:nvPr/>
          </p:nvSpPr>
          <p:spPr>
            <a:xfrm>
              <a:off x="4844373" y="-1913287"/>
              <a:ext cx="800186" cy="1637952"/>
            </a:xfrm>
            <a:custGeom>
              <a:avLst/>
              <a:gdLst>
                <a:gd name="connsiteX0" fmla="*/ 0 w 800186"/>
                <a:gd name="connsiteY0" fmla="*/ 1637858 h 1637952"/>
                <a:gd name="connsiteX1" fmla="*/ 0 w 800186"/>
                <a:gd name="connsiteY1" fmla="*/ 0 h 1637952"/>
                <a:gd name="connsiteX2" fmla="*/ 800186 w 800186"/>
                <a:gd name="connsiteY2" fmla="*/ 0 h 1637952"/>
                <a:gd name="connsiteX3" fmla="*/ 800186 w 800186"/>
                <a:gd name="connsiteY3" fmla="*/ 259723 h 1637952"/>
                <a:gd name="connsiteX4" fmla="*/ 293313 w 800186"/>
                <a:gd name="connsiteY4" fmla="*/ 259723 h 1637952"/>
                <a:gd name="connsiteX5" fmla="*/ 293313 w 800186"/>
                <a:gd name="connsiteY5" fmla="*/ 664538 h 1637952"/>
                <a:gd name="connsiteX6" fmla="*/ 696927 w 800186"/>
                <a:gd name="connsiteY6" fmla="*/ 664538 h 1637952"/>
                <a:gd name="connsiteX7" fmla="*/ 696927 w 800186"/>
                <a:gd name="connsiteY7" fmla="*/ 924260 h 1637952"/>
                <a:gd name="connsiteX8" fmla="*/ 293313 w 800186"/>
                <a:gd name="connsiteY8" fmla="*/ 924260 h 1637952"/>
                <a:gd name="connsiteX9" fmla="*/ 293313 w 800186"/>
                <a:gd name="connsiteY9" fmla="*/ 1378230 h 1637952"/>
                <a:gd name="connsiteX10" fmla="*/ 800186 w 800186"/>
                <a:gd name="connsiteY10" fmla="*/ 1378230 h 1637952"/>
                <a:gd name="connsiteX11" fmla="*/ 800186 w 800186"/>
                <a:gd name="connsiteY11" fmla="*/ 1637953 h 1637952"/>
                <a:gd name="connsiteX12" fmla="*/ 0 w 800186"/>
                <a:gd name="connsiteY12" fmla="*/ 1637953 h 16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0186" h="1637952">
                  <a:moveTo>
                    <a:pt x="0" y="1637858"/>
                  </a:moveTo>
                  <a:lnTo>
                    <a:pt x="0" y="0"/>
                  </a:lnTo>
                  <a:lnTo>
                    <a:pt x="800186" y="0"/>
                  </a:lnTo>
                  <a:lnTo>
                    <a:pt x="800186" y="259723"/>
                  </a:lnTo>
                  <a:lnTo>
                    <a:pt x="293313" y="259723"/>
                  </a:lnTo>
                  <a:lnTo>
                    <a:pt x="293313" y="664538"/>
                  </a:lnTo>
                  <a:lnTo>
                    <a:pt x="696927" y="664538"/>
                  </a:lnTo>
                  <a:lnTo>
                    <a:pt x="696927" y="924260"/>
                  </a:lnTo>
                  <a:lnTo>
                    <a:pt x="293313" y="924260"/>
                  </a:lnTo>
                  <a:lnTo>
                    <a:pt x="293313" y="1378230"/>
                  </a:lnTo>
                  <a:lnTo>
                    <a:pt x="800186" y="1378230"/>
                  </a:lnTo>
                  <a:lnTo>
                    <a:pt x="800186" y="1637953"/>
                  </a:lnTo>
                  <a:lnTo>
                    <a:pt x="0" y="1637953"/>
                  </a:lnTo>
                  <a:close/>
                </a:path>
              </a:pathLst>
            </a:custGeom>
            <a:grpFill/>
            <a:ln w="0" cap="flat">
              <a:noFill/>
              <a:prstDash val="solid"/>
              <a:miter/>
            </a:ln>
          </p:spPr>
          <p:txBody>
            <a:bodyPr rtlCol="0" anchor="ctr"/>
            <a:lstStyle/>
            <a:p>
              <a:endParaRPr lang="en-BG"/>
            </a:p>
          </p:txBody>
        </p:sp>
        <p:sp>
          <p:nvSpPr>
            <p:cNvPr id="12" name="Freeform 11">
              <a:extLst>
                <a:ext uri="{FF2B5EF4-FFF2-40B4-BE49-F238E27FC236}">
                  <a16:creationId xmlns:a16="http://schemas.microsoft.com/office/drawing/2014/main" id="{74D206E7-CBE6-A14D-A7CD-E1898698927F}"/>
                </a:ext>
              </a:extLst>
            </p:cNvPr>
            <p:cNvSpPr/>
            <p:nvPr/>
          </p:nvSpPr>
          <p:spPr>
            <a:xfrm>
              <a:off x="5846414" y="-1936820"/>
              <a:ext cx="875465" cy="1684640"/>
            </a:xfrm>
            <a:custGeom>
              <a:avLst/>
              <a:gdLst>
                <a:gd name="connsiteX0" fmla="*/ 0 w 875465"/>
                <a:gd name="connsiteY0" fmla="*/ 1254299 h 1684640"/>
                <a:gd name="connsiteX1" fmla="*/ 0 w 875465"/>
                <a:gd name="connsiteY1" fmla="*/ 1170034 h 1684640"/>
                <a:gd name="connsiteX2" fmla="*/ 276944 w 875465"/>
                <a:gd name="connsiteY2" fmla="*/ 1170034 h 1684640"/>
                <a:gd name="connsiteX3" fmla="*/ 276944 w 875465"/>
                <a:gd name="connsiteY3" fmla="*/ 1263599 h 1684640"/>
                <a:gd name="connsiteX4" fmla="*/ 429501 w 875465"/>
                <a:gd name="connsiteY4" fmla="*/ 1429757 h 1684640"/>
                <a:gd name="connsiteX5" fmla="*/ 582057 w 875465"/>
                <a:gd name="connsiteY5" fmla="*/ 1261226 h 1684640"/>
                <a:gd name="connsiteX6" fmla="*/ 530475 w 875465"/>
                <a:gd name="connsiteY6" fmla="*/ 1099813 h 1684640"/>
                <a:gd name="connsiteX7" fmla="*/ 331000 w 875465"/>
                <a:gd name="connsiteY7" fmla="*/ 936027 h 1684640"/>
                <a:gd name="connsiteX8" fmla="*/ 4854 w 875465"/>
                <a:gd name="connsiteY8" fmla="*/ 425881 h 1684640"/>
                <a:gd name="connsiteX9" fmla="*/ 439018 w 875465"/>
                <a:gd name="connsiteY9" fmla="*/ 0 h 1684640"/>
                <a:gd name="connsiteX10" fmla="*/ 863760 w 875465"/>
                <a:gd name="connsiteY10" fmla="*/ 430531 h 1684640"/>
                <a:gd name="connsiteX11" fmla="*/ 863760 w 875465"/>
                <a:gd name="connsiteY11" fmla="*/ 488985 h 1684640"/>
                <a:gd name="connsiteX12" fmla="*/ 586911 w 875465"/>
                <a:gd name="connsiteY12" fmla="*/ 488985 h 1684640"/>
                <a:gd name="connsiteX13" fmla="*/ 586911 w 875465"/>
                <a:gd name="connsiteY13" fmla="*/ 423509 h 1684640"/>
                <a:gd name="connsiteX14" fmla="*/ 441397 w 875465"/>
                <a:gd name="connsiteY14" fmla="*/ 255073 h 1684640"/>
                <a:gd name="connsiteX15" fmla="*/ 295882 w 875465"/>
                <a:gd name="connsiteY15" fmla="*/ 416487 h 1684640"/>
                <a:gd name="connsiteX16" fmla="*/ 347464 w 875465"/>
                <a:gd name="connsiteY16" fmla="*/ 566228 h 1684640"/>
                <a:gd name="connsiteX17" fmla="*/ 551603 w 875465"/>
                <a:gd name="connsiteY17" fmla="*/ 725364 h 1684640"/>
                <a:gd name="connsiteX18" fmla="*/ 805040 w 875465"/>
                <a:gd name="connsiteY18" fmla="*/ 961648 h 1684640"/>
                <a:gd name="connsiteX19" fmla="*/ 875465 w 875465"/>
                <a:gd name="connsiteY19" fmla="*/ 1247087 h 1684640"/>
                <a:gd name="connsiteX20" fmla="*/ 431975 w 875465"/>
                <a:gd name="connsiteY20" fmla="*/ 1684640 h 1684640"/>
                <a:gd name="connsiteX21" fmla="*/ 191 w 875465"/>
                <a:gd name="connsiteY21" fmla="*/ 1254109 h 1684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75465" h="1684640">
                  <a:moveTo>
                    <a:pt x="0" y="1254299"/>
                  </a:moveTo>
                  <a:lnTo>
                    <a:pt x="0" y="1170034"/>
                  </a:lnTo>
                  <a:lnTo>
                    <a:pt x="276944" y="1170034"/>
                  </a:lnTo>
                  <a:lnTo>
                    <a:pt x="276944" y="1263599"/>
                  </a:lnTo>
                  <a:cubicBezTo>
                    <a:pt x="276944" y="1373580"/>
                    <a:pt x="328526" y="1429757"/>
                    <a:pt x="429501" y="1429757"/>
                  </a:cubicBezTo>
                  <a:cubicBezTo>
                    <a:pt x="523338" y="1429757"/>
                    <a:pt x="582057" y="1373580"/>
                    <a:pt x="582057" y="1261226"/>
                  </a:cubicBezTo>
                  <a:cubicBezTo>
                    <a:pt x="582057" y="1193378"/>
                    <a:pt x="565593" y="1139573"/>
                    <a:pt x="530475" y="1099813"/>
                  </a:cubicBezTo>
                  <a:cubicBezTo>
                    <a:pt x="497642" y="1057680"/>
                    <a:pt x="431880" y="1003876"/>
                    <a:pt x="331000" y="936027"/>
                  </a:cubicBezTo>
                  <a:cubicBezTo>
                    <a:pt x="86985" y="776891"/>
                    <a:pt x="4854" y="638821"/>
                    <a:pt x="4854" y="425881"/>
                  </a:cubicBezTo>
                  <a:cubicBezTo>
                    <a:pt x="4854" y="161508"/>
                    <a:pt x="159695" y="0"/>
                    <a:pt x="439018" y="0"/>
                  </a:cubicBezTo>
                  <a:cubicBezTo>
                    <a:pt x="718340" y="0"/>
                    <a:pt x="863760" y="159136"/>
                    <a:pt x="863760" y="430531"/>
                  </a:cubicBezTo>
                  <a:lnTo>
                    <a:pt x="863760" y="488985"/>
                  </a:lnTo>
                  <a:lnTo>
                    <a:pt x="586911" y="488985"/>
                  </a:lnTo>
                  <a:lnTo>
                    <a:pt x="586911" y="423509"/>
                  </a:lnTo>
                  <a:cubicBezTo>
                    <a:pt x="586911" y="311155"/>
                    <a:pt x="537613" y="255073"/>
                    <a:pt x="441397" y="255073"/>
                  </a:cubicBezTo>
                  <a:cubicBezTo>
                    <a:pt x="345180" y="255073"/>
                    <a:pt x="295882" y="308878"/>
                    <a:pt x="295882" y="416487"/>
                  </a:cubicBezTo>
                  <a:cubicBezTo>
                    <a:pt x="295882" y="474941"/>
                    <a:pt x="312347" y="526468"/>
                    <a:pt x="347464" y="566228"/>
                  </a:cubicBezTo>
                  <a:cubicBezTo>
                    <a:pt x="382582" y="605988"/>
                    <a:pt x="450723" y="659793"/>
                    <a:pt x="551603" y="725364"/>
                  </a:cubicBezTo>
                  <a:cubicBezTo>
                    <a:pt x="675990" y="804885"/>
                    <a:pt x="760501" y="884500"/>
                    <a:pt x="805040" y="961648"/>
                  </a:cubicBezTo>
                  <a:cubicBezTo>
                    <a:pt x="851959" y="1038891"/>
                    <a:pt x="875465" y="1134829"/>
                    <a:pt x="875465" y="1247087"/>
                  </a:cubicBezTo>
                  <a:cubicBezTo>
                    <a:pt x="875465" y="1520854"/>
                    <a:pt x="715866" y="1684640"/>
                    <a:pt x="431975" y="1684640"/>
                  </a:cubicBezTo>
                  <a:cubicBezTo>
                    <a:pt x="148084" y="1684640"/>
                    <a:pt x="191" y="1523227"/>
                    <a:pt x="191" y="1254109"/>
                  </a:cubicBezTo>
                  <a:close/>
                </a:path>
              </a:pathLst>
            </a:custGeom>
            <a:grpFill/>
            <a:ln w="0" cap="flat">
              <a:noFill/>
              <a:prstDash val="solid"/>
              <a:miter/>
            </a:ln>
          </p:spPr>
          <p:txBody>
            <a:bodyPr rtlCol="0" anchor="ctr"/>
            <a:lstStyle/>
            <a:p>
              <a:endParaRPr lang="en-BG"/>
            </a:p>
          </p:txBody>
        </p:sp>
        <p:sp>
          <p:nvSpPr>
            <p:cNvPr id="13" name="Freeform 12">
              <a:extLst>
                <a:ext uri="{FF2B5EF4-FFF2-40B4-BE49-F238E27FC236}">
                  <a16:creationId xmlns:a16="http://schemas.microsoft.com/office/drawing/2014/main" id="{E038B0E8-93DB-E341-AD64-771D83C9032C}"/>
                </a:ext>
              </a:extLst>
            </p:cNvPr>
            <p:cNvSpPr/>
            <p:nvPr/>
          </p:nvSpPr>
          <p:spPr>
            <a:xfrm>
              <a:off x="6908317" y="-1913287"/>
              <a:ext cx="905824" cy="1637952"/>
            </a:xfrm>
            <a:custGeom>
              <a:avLst/>
              <a:gdLst>
                <a:gd name="connsiteX0" fmla="*/ 305114 w 905824"/>
                <a:gd name="connsiteY0" fmla="*/ 1637858 h 1637952"/>
                <a:gd name="connsiteX1" fmla="*/ 305114 w 905824"/>
                <a:gd name="connsiteY1" fmla="*/ 259723 h 1637952"/>
                <a:gd name="connsiteX2" fmla="*/ 0 w 905824"/>
                <a:gd name="connsiteY2" fmla="*/ 259723 h 1637952"/>
                <a:gd name="connsiteX3" fmla="*/ 0 w 905824"/>
                <a:gd name="connsiteY3" fmla="*/ 0 h 1637952"/>
                <a:gd name="connsiteX4" fmla="*/ 905824 w 905824"/>
                <a:gd name="connsiteY4" fmla="*/ 0 h 1637952"/>
                <a:gd name="connsiteX5" fmla="*/ 905824 w 905824"/>
                <a:gd name="connsiteY5" fmla="*/ 259723 h 1637952"/>
                <a:gd name="connsiteX6" fmla="*/ 598427 w 905824"/>
                <a:gd name="connsiteY6" fmla="*/ 259723 h 1637952"/>
                <a:gd name="connsiteX7" fmla="*/ 598427 w 905824"/>
                <a:gd name="connsiteY7" fmla="*/ 1637953 h 1637952"/>
                <a:gd name="connsiteX8" fmla="*/ 305114 w 905824"/>
                <a:gd name="connsiteY8" fmla="*/ 1637953 h 16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5824" h="1637952">
                  <a:moveTo>
                    <a:pt x="305114" y="1637858"/>
                  </a:moveTo>
                  <a:lnTo>
                    <a:pt x="305114" y="259723"/>
                  </a:lnTo>
                  <a:lnTo>
                    <a:pt x="0" y="259723"/>
                  </a:lnTo>
                  <a:lnTo>
                    <a:pt x="0" y="0"/>
                  </a:lnTo>
                  <a:lnTo>
                    <a:pt x="905824" y="0"/>
                  </a:lnTo>
                  <a:lnTo>
                    <a:pt x="905824" y="259723"/>
                  </a:lnTo>
                  <a:lnTo>
                    <a:pt x="598427" y="259723"/>
                  </a:lnTo>
                  <a:lnTo>
                    <a:pt x="598427" y="1637953"/>
                  </a:lnTo>
                  <a:lnTo>
                    <a:pt x="305114" y="1637953"/>
                  </a:lnTo>
                  <a:close/>
                </a:path>
              </a:pathLst>
            </a:custGeom>
            <a:grpFill/>
            <a:ln w="0" cap="flat">
              <a:noFill/>
              <a:prstDash val="solid"/>
              <a:miter/>
            </a:ln>
          </p:spPr>
          <p:txBody>
            <a:bodyPr rtlCol="0" anchor="ctr"/>
            <a:lstStyle/>
            <a:p>
              <a:endParaRPr lang="en-BG"/>
            </a:p>
          </p:txBody>
        </p:sp>
        <p:sp>
          <p:nvSpPr>
            <p:cNvPr id="14" name="Freeform 13">
              <a:extLst>
                <a:ext uri="{FF2B5EF4-FFF2-40B4-BE49-F238E27FC236}">
                  <a16:creationId xmlns:a16="http://schemas.microsoft.com/office/drawing/2014/main" id="{9CBAF371-7379-3C49-B888-F80F8FEE4EC9}"/>
                </a:ext>
              </a:extLst>
            </p:cNvPr>
            <p:cNvSpPr/>
            <p:nvPr/>
          </p:nvSpPr>
          <p:spPr>
            <a:xfrm>
              <a:off x="8018756" y="-1936726"/>
              <a:ext cx="889360" cy="1684640"/>
            </a:xfrm>
            <a:custGeom>
              <a:avLst/>
              <a:gdLst>
                <a:gd name="connsiteX0" fmla="*/ 0 w 889360"/>
                <a:gd name="connsiteY0" fmla="*/ 1242437 h 1684640"/>
                <a:gd name="connsiteX1" fmla="*/ 0 w 889360"/>
                <a:gd name="connsiteY1" fmla="*/ 442203 h 1684640"/>
                <a:gd name="connsiteX2" fmla="*/ 443490 w 889360"/>
                <a:gd name="connsiteY2" fmla="*/ 0 h 1684640"/>
                <a:gd name="connsiteX3" fmla="*/ 889360 w 889360"/>
                <a:gd name="connsiteY3" fmla="*/ 442203 h 1684640"/>
                <a:gd name="connsiteX4" fmla="*/ 889360 w 889360"/>
                <a:gd name="connsiteY4" fmla="*/ 1242437 h 1684640"/>
                <a:gd name="connsiteX5" fmla="*/ 443490 w 889360"/>
                <a:gd name="connsiteY5" fmla="*/ 1684640 h 1684640"/>
                <a:gd name="connsiteX6" fmla="*/ 0 w 889360"/>
                <a:gd name="connsiteY6" fmla="*/ 1242437 h 1684640"/>
                <a:gd name="connsiteX7" fmla="*/ 596047 w 889360"/>
                <a:gd name="connsiteY7" fmla="*/ 1256482 h 1684640"/>
                <a:gd name="connsiteX8" fmla="*/ 596047 w 889360"/>
                <a:gd name="connsiteY8" fmla="*/ 428253 h 1684640"/>
                <a:gd name="connsiteX9" fmla="*/ 443490 w 889360"/>
                <a:gd name="connsiteY9" fmla="*/ 259723 h 1684640"/>
                <a:gd name="connsiteX10" fmla="*/ 293313 w 889360"/>
                <a:gd name="connsiteY10" fmla="*/ 428253 h 1684640"/>
                <a:gd name="connsiteX11" fmla="*/ 293313 w 889360"/>
                <a:gd name="connsiteY11" fmla="*/ 1256577 h 1684640"/>
                <a:gd name="connsiteX12" fmla="*/ 443490 w 889360"/>
                <a:gd name="connsiteY12" fmla="*/ 1425107 h 1684640"/>
                <a:gd name="connsiteX13" fmla="*/ 596047 w 889360"/>
                <a:gd name="connsiteY13" fmla="*/ 1256577 h 1684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9360" h="1684640">
                  <a:moveTo>
                    <a:pt x="0" y="1242437"/>
                  </a:moveTo>
                  <a:lnTo>
                    <a:pt x="0" y="442203"/>
                  </a:lnTo>
                  <a:cubicBezTo>
                    <a:pt x="0" y="161413"/>
                    <a:pt x="159600" y="0"/>
                    <a:pt x="443490" y="0"/>
                  </a:cubicBezTo>
                  <a:cubicBezTo>
                    <a:pt x="727381" y="0"/>
                    <a:pt x="889360" y="161413"/>
                    <a:pt x="889360" y="442203"/>
                  </a:cubicBezTo>
                  <a:lnTo>
                    <a:pt x="889360" y="1242437"/>
                  </a:lnTo>
                  <a:cubicBezTo>
                    <a:pt x="889360" y="1523227"/>
                    <a:pt x="732140" y="1684640"/>
                    <a:pt x="443490" y="1684640"/>
                  </a:cubicBezTo>
                  <a:cubicBezTo>
                    <a:pt x="154841" y="1684640"/>
                    <a:pt x="0" y="1523227"/>
                    <a:pt x="0" y="1242437"/>
                  </a:cubicBezTo>
                  <a:close/>
                  <a:moveTo>
                    <a:pt x="596047" y="1256482"/>
                  </a:moveTo>
                  <a:lnTo>
                    <a:pt x="596047" y="428253"/>
                  </a:lnTo>
                  <a:cubicBezTo>
                    <a:pt x="596047" y="315900"/>
                    <a:pt x="544466" y="259723"/>
                    <a:pt x="443490" y="259723"/>
                  </a:cubicBezTo>
                  <a:cubicBezTo>
                    <a:pt x="342515" y="259723"/>
                    <a:pt x="293313" y="315900"/>
                    <a:pt x="293313" y="428253"/>
                  </a:cubicBezTo>
                  <a:lnTo>
                    <a:pt x="293313" y="1256577"/>
                  </a:lnTo>
                  <a:cubicBezTo>
                    <a:pt x="293313" y="1368930"/>
                    <a:pt x="342611" y="1425107"/>
                    <a:pt x="443490" y="1425107"/>
                  </a:cubicBezTo>
                  <a:cubicBezTo>
                    <a:pt x="544370" y="1425107"/>
                    <a:pt x="596047" y="1368930"/>
                    <a:pt x="596047" y="1256577"/>
                  </a:cubicBezTo>
                  <a:close/>
                </a:path>
              </a:pathLst>
            </a:custGeom>
            <a:grpFill/>
            <a:ln w="0" cap="flat">
              <a:noFill/>
              <a:prstDash val="solid"/>
              <a:miter/>
            </a:ln>
          </p:spPr>
          <p:txBody>
            <a:bodyPr rtlCol="0" anchor="ctr"/>
            <a:lstStyle/>
            <a:p>
              <a:endParaRPr lang="en-BG"/>
            </a:p>
          </p:txBody>
        </p:sp>
        <p:sp>
          <p:nvSpPr>
            <p:cNvPr id="15" name="Freeform 14">
              <a:extLst>
                <a:ext uri="{FF2B5EF4-FFF2-40B4-BE49-F238E27FC236}">
                  <a16:creationId xmlns:a16="http://schemas.microsoft.com/office/drawing/2014/main" id="{BB6DA6F4-A58A-C043-AABC-54D28A664CB1}"/>
                </a:ext>
              </a:extLst>
            </p:cNvPr>
            <p:cNvSpPr/>
            <p:nvPr/>
          </p:nvSpPr>
          <p:spPr>
            <a:xfrm>
              <a:off x="9156604" y="-1913287"/>
              <a:ext cx="903540" cy="1637952"/>
            </a:xfrm>
            <a:custGeom>
              <a:avLst/>
              <a:gdLst>
                <a:gd name="connsiteX0" fmla="*/ 0 w 903540"/>
                <a:gd name="connsiteY0" fmla="*/ 1637858 h 1637952"/>
                <a:gd name="connsiteX1" fmla="*/ 0 w 903540"/>
                <a:gd name="connsiteY1" fmla="*/ 0 h 1637952"/>
                <a:gd name="connsiteX2" fmla="*/ 434164 w 903540"/>
                <a:gd name="connsiteY2" fmla="*/ 0 h 1637952"/>
                <a:gd name="connsiteX3" fmla="*/ 868328 w 903540"/>
                <a:gd name="connsiteY3" fmla="*/ 395420 h 1637952"/>
                <a:gd name="connsiteX4" fmla="*/ 868328 w 903540"/>
                <a:gd name="connsiteY4" fmla="*/ 477313 h 1637952"/>
                <a:gd name="connsiteX5" fmla="*/ 678274 w 903540"/>
                <a:gd name="connsiteY5" fmla="*/ 807257 h 1637952"/>
                <a:gd name="connsiteX6" fmla="*/ 678274 w 903540"/>
                <a:gd name="connsiteY6" fmla="*/ 814279 h 1637952"/>
                <a:gd name="connsiteX7" fmla="*/ 870707 w 903540"/>
                <a:gd name="connsiteY7" fmla="*/ 1183983 h 1637952"/>
                <a:gd name="connsiteX8" fmla="*/ 870707 w 903540"/>
                <a:gd name="connsiteY8" fmla="*/ 1425012 h 1637952"/>
                <a:gd name="connsiteX9" fmla="*/ 903540 w 903540"/>
                <a:gd name="connsiteY9" fmla="*/ 1637953 h 1637952"/>
                <a:gd name="connsiteX10" fmla="*/ 605469 w 903540"/>
                <a:gd name="connsiteY10" fmla="*/ 1637953 h 1637952"/>
                <a:gd name="connsiteX11" fmla="*/ 579678 w 903540"/>
                <a:gd name="connsiteY11" fmla="*/ 1422640 h 1637952"/>
                <a:gd name="connsiteX12" fmla="*/ 579678 w 903540"/>
                <a:gd name="connsiteY12" fmla="*/ 1165289 h 1637952"/>
                <a:gd name="connsiteX13" fmla="*/ 394288 w 903540"/>
                <a:gd name="connsiteY13" fmla="*/ 959371 h 1637952"/>
                <a:gd name="connsiteX14" fmla="*/ 293408 w 903540"/>
                <a:gd name="connsiteY14" fmla="*/ 959371 h 1637952"/>
                <a:gd name="connsiteX15" fmla="*/ 293408 w 903540"/>
                <a:gd name="connsiteY15" fmla="*/ 1637953 h 1637952"/>
                <a:gd name="connsiteX16" fmla="*/ 95 w 903540"/>
                <a:gd name="connsiteY16" fmla="*/ 1637953 h 1637952"/>
                <a:gd name="connsiteX17" fmla="*/ 293313 w 903540"/>
                <a:gd name="connsiteY17" fmla="*/ 699553 h 1637952"/>
                <a:gd name="connsiteX18" fmla="*/ 401235 w 903540"/>
                <a:gd name="connsiteY18" fmla="*/ 699553 h 1637952"/>
                <a:gd name="connsiteX19" fmla="*/ 574919 w 903540"/>
                <a:gd name="connsiteY19" fmla="*/ 521723 h 1637952"/>
                <a:gd name="connsiteX20" fmla="*/ 574919 w 903540"/>
                <a:gd name="connsiteY20" fmla="*/ 425786 h 1637952"/>
                <a:gd name="connsiteX21" fmla="*/ 429405 w 903540"/>
                <a:gd name="connsiteY21" fmla="*/ 259628 h 1637952"/>
                <a:gd name="connsiteX22" fmla="*/ 293313 w 903540"/>
                <a:gd name="connsiteY22" fmla="*/ 259628 h 1637952"/>
                <a:gd name="connsiteX23" fmla="*/ 293313 w 903540"/>
                <a:gd name="connsiteY23" fmla="*/ 699553 h 16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03540" h="1637952">
                  <a:moveTo>
                    <a:pt x="0" y="1637858"/>
                  </a:moveTo>
                  <a:lnTo>
                    <a:pt x="0" y="0"/>
                  </a:lnTo>
                  <a:lnTo>
                    <a:pt x="434164" y="0"/>
                  </a:lnTo>
                  <a:cubicBezTo>
                    <a:pt x="732140" y="0"/>
                    <a:pt x="868328" y="126398"/>
                    <a:pt x="868328" y="395420"/>
                  </a:cubicBezTo>
                  <a:lnTo>
                    <a:pt x="868328" y="477313"/>
                  </a:lnTo>
                  <a:cubicBezTo>
                    <a:pt x="868328" y="648121"/>
                    <a:pt x="804945" y="758102"/>
                    <a:pt x="678274" y="807257"/>
                  </a:cubicBezTo>
                  <a:lnTo>
                    <a:pt x="678274" y="814279"/>
                  </a:lnTo>
                  <a:cubicBezTo>
                    <a:pt x="807324" y="851667"/>
                    <a:pt x="870707" y="975693"/>
                    <a:pt x="870707" y="1183983"/>
                  </a:cubicBezTo>
                  <a:lnTo>
                    <a:pt x="870707" y="1425012"/>
                  </a:lnTo>
                  <a:cubicBezTo>
                    <a:pt x="870707" y="1516299"/>
                    <a:pt x="882412" y="1586425"/>
                    <a:pt x="903540" y="1637953"/>
                  </a:cubicBezTo>
                  <a:lnTo>
                    <a:pt x="605469" y="1637953"/>
                  </a:lnTo>
                  <a:cubicBezTo>
                    <a:pt x="589005" y="1591170"/>
                    <a:pt x="579678" y="1518577"/>
                    <a:pt x="579678" y="1422640"/>
                  </a:cubicBezTo>
                  <a:lnTo>
                    <a:pt x="579678" y="1165289"/>
                  </a:lnTo>
                  <a:cubicBezTo>
                    <a:pt x="579678" y="1013175"/>
                    <a:pt x="532759" y="959371"/>
                    <a:pt x="394288" y="959371"/>
                  </a:cubicBezTo>
                  <a:lnTo>
                    <a:pt x="293408" y="959371"/>
                  </a:lnTo>
                  <a:lnTo>
                    <a:pt x="293408" y="1637953"/>
                  </a:lnTo>
                  <a:lnTo>
                    <a:pt x="95" y="1637953"/>
                  </a:lnTo>
                  <a:close/>
                  <a:moveTo>
                    <a:pt x="293313" y="699553"/>
                  </a:moveTo>
                  <a:lnTo>
                    <a:pt x="401235" y="699553"/>
                  </a:lnTo>
                  <a:cubicBezTo>
                    <a:pt x="520958" y="699553"/>
                    <a:pt x="574919" y="645749"/>
                    <a:pt x="574919" y="521723"/>
                  </a:cubicBezTo>
                  <a:lnTo>
                    <a:pt x="574919" y="425786"/>
                  </a:lnTo>
                  <a:cubicBezTo>
                    <a:pt x="574919" y="315805"/>
                    <a:pt x="525622" y="259628"/>
                    <a:pt x="429405" y="259628"/>
                  </a:cubicBezTo>
                  <a:lnTo>
                    <a:pt x="293313" y="259628"/>
                  </a:lnTo>
                  <a:lnTo>
                    <a:pt x="293313" y="699553"/>
                  </a:lnTo>
                  <a:close/>
                </a:path>
              </a:pathLst>
            </a:custGeom>
            <a:grpFill/>
            <a:ln w="0" cap="flat">
              <a:noFill/>
              <a:prstDash val="solid"/>
              <a:miter/>
            </a:ln>
          </p:spPr>
          <p:txBody>
            <a:bodyPr rtlCol="0" anchor="ctr"/>
            <a:lstStyle/>
            <a:p>
              <a:endParaRPr lang="en-BG"/>
            </a:p>
          </p:txBody>
        </p:sp>
        <p:sp>
          <p:nvSpPr>
            <p:cNvPr id="16" name="Freeform 15">
              <a:extLst>
                <a:ext uri="{FF2B5EF4-FFF2-40B4-BE49-F238E27FC236}">
                  <a16:creationId xmlns:a16="http://schemas.microsoft.com/office/drawing/2014/main" id="{CD6C51DF-E9FF-C748-AAC0-0C3B77AD423D}"/>
                </a:ext>
              </a:extLst>
            </p:cNvPr>
            <p:cNvSpPr/>
            <p:nvPr/>
          </p:nvSpPr>
          <p:spPr>
            <a:xfrm>
              <a:off x="10305872" y="-1913287"/>
              <a:ext cx="821313" cy="1637857"/>
            </a:xfrm>
            <a:custGeom>
              <a:avLst/>
              <a:gdLst>
                <a:gd name="connsiteX0" fmla="*/ 0 w 821313"/>
                <a:gd name="connsiteY0" fmla="*/ 1637858 h 1637857"/>
                <a:gd name="connsiteX1" fmla="*/ 0 w 821313"/>
                <a:gd name="connsiteY1" fmla="*/ 0 h 1637857"/>
                <a:gd name="connsiteX2" fmla="*/ 410657 w 821313"/>
                <a:gd name="connsiteY2" fmla="*/ 0 h 1637857"/>
                <a:gd name="connsiteX3" fmla="*/ 821314 w 821313"/>
                <a:gd name="connsiteY3" fmla="*/ 418859 h 1637857"/>
                <a:gd name="connsiteX4" fmla="*/ 821314 w 821313"/>
                <a:gd name="connsiteY4" fmla="*/ 1216721 h 1637857"/>
                <a:gd name="connsiteX5" fmla="*/ 410657 w 821313"/>
                <a:gd name="connsiteY5" fmla="*/ 1637858 h 1637857"/>
                <a:gd name="connsiteX6" fmla="*/ 0 w 821313"/>
                <a:gd name="connsiteY6" fmla="*/ 1637858 h 1637857"/>
                <a:gd name="connsiteX7" fmla="*/ 150177 w 821313"/>
                <a:gd name="connsiteY7" fmla="*/ 1504533 h 1637857"/>
                <a:gd name="connsiteX8" fmla="*/ 405993 w 821313"/>
                <a:gd name="connsiteY8" fmla="*/ 1504533 h 1637857"/>
                <a:gd name="connsiteX9" fmla="*/ 671136 w 821313"/>
                <a:gd name="connsiteY9" fmla="*/ 1221371 h 1637857"/>
                <a:gd name="connsiteX10" fmla="*/ 671136 w 821313"/>
                <a:gd name="connsiteY10" fmla="*/ 414114 h 1637857"/>
                <a:gd name="connsiteX11" fmla="*/ 405993 w 821313"/>
                <a:gd name="connsiteY11" fmla="*/ 133325 h 1637857"/>
                <a:gd name="connsiteX12" fmla="*/ 150177 w 821313"/>
                <a:gd name="connsiteY12" fmla="*/ 133325 h 1637857"/>
                <a:gd name="connsiteX13" fmla="*/ 150177 w 821313"/>
                <a:gd name="connsiteY13" fmla="*/ 1504438 h 1637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21313" h="1637857">
                  <a:moveTo>
                    <a:pt x="0" y="1637858"/>
                  </a:moveTo>
                  <a:lnTo>
                    <a:pt x="0" y="0"/>
                  </a:lnTo>
                  <a:lnTo>
                    <a:pt x="410657" y="0"/>
                  </a:lnTo>
                  <a:cubicBezTo>
                    <a:pt x="689885" y="0"/>
                    <a:pt x="821314" y="135697"/>
                    <a:pt x="821314" y="418859"/>
                  </a:cubicBezTo>
                  <a:lnTo>
                    <a:pt x="821314" y="1216721"/>
                  </a:lnTo>
                  <a:cubicBezTo>
                    <a:pt x="821314" y="1504533"/>
                    <a:pt x="689885" y="1637858"/>
                    <a:pt x="410657" y="1637858"/>
                  </a:cubicBezTo>
                  <a:lnTo>
                    <a:pt x="0" y="1637858"/>
                  </a:lnTo>
                  <a:close/>
                  <a:moveTo>
                    <a:pt x="150177" y="1504533"/>
                  </a:moveTo>
                  <a:lnTo>
                    <a:pt x="405993" y="1504533"/>
                  </a:lnTo>
                  <a:cubicBezTo>
                    <a:pt x="593763" y="1504533"/>
                    <a:pt x="671136" y="1420267"/>
                    <a:pt x="671136" y="1221371"/>
                  </a:cubicBezTo>
                  <a:lnTo>
                    <a:pt x="671136" y="414114"/>
                  </a:lnTo>
                  <a:cubicBezTo>
                    <a:pt x="671136" y="215218"/>
                    <a:pt x="593668" y="133325"/>
                    <a:pt x="405993" y="133325"/>
                  </a:cubicBezTo>
                  <a:lnTo>
                    <a:pt x="150177" y="133325"/>
                  </a:lnTo>
                  <a:lnTo>
                    <a:pt x="150177" y="1504438"/>
                  </a:lnTo>
                  <a:close/>
                </a:path>
              </a:pathLst>
            </a:custGeom>
            <a:grpFill/>
            <a:ln w="0" cap="flat">
              <a:noFill/>
              <a:prstDash val="solid"/>
              <a:miter/>
            </a:ln>
          </p:spPr>
          <p:txBody>
            <a:bodyPr rtlCol="0" anchor="ctr"/>
            <a:lstStyle/>
            <a:p>
              <a:endParaRPr lang="en-BG"/>
            </a:p>
          </p:txBody>
        </p:sp>
        <p:sp>
          <p:nvSpPr>
            <p:cNvPr id="17" name="Freeform 16">
              <a:extLst>
                <a:ext uri="{FF2B5EF4-FFF2-40B4-BE49-F238E27FC236}">
                  <a16:creationId xmlns:a16="http://schemas.microsoft.com/office/drawing/2014/main" id="{95F45088-D5FA-D54D-B8DA-0A882ED76948}"/>
                </a:ext>
              </a:extLst>
            </p:cNvPr>
            <p:cNvSpPr/>
            <p:nvPr/>
          </p:nvSpPr>
          <p:spPr>
            <a:xfrm>
              <a:off x="11350168" y="-1913287"/>
              <a:ext cx="943226" cy="1637952"/>
            </a:xfrm>
            <a:custGeom>
              <a:avLst/>
              <a:gdLst>
                <a:gd name="connsiteX0" fmla="*/ 790765 w 943226"/>
                <a:gd name="connsiteY0" fmla="*/ 1637858 h 1637952"/>
                <a:gd name="connsiteX1" fmla="*/ 708633 w 943226"/>
                <a:gd name="connsiteY1" fmla="*/ 1275176 h 1637952"/>
                <a:gd name="connsiteX2" fmla="*/ 222887 w 943226"/>
                <a:gd name="connsiteY2" fmla="*/ 1275176 h 1637952"/>
                <a:gd name="connsiteX3" fmla="*/ 143135 w 943226"/>
                <a:gd name="connsiteY3" fmla="*/ 1637858 h 1637952"/>
                <a:gd name="connsiteX4" fmla="*/ 0 w 943226"/>
                <a:gd name="connsiteY4" fmla="*/ 1637858 h 1637952"/>
                <a:gd name="connsiteX5" fmla="*/ 368307 w 943226"/>
                <a:gd name="connsiteY5" fmla="*/ 0 h 1637952"/>
                <a:gd name="connsiteX6" fmla="*/ 570161 w 943226"/>
                <a:gd name="connsiteY6" fmla="*/ 0 h 1637952"/>
                <a:gd name="connsiteX7" fmla="*/ 943227 w 943226"/>
                <a:gd name="connsiteY7" fmla="*/ 1637953 h 1637952"/>
                <a:gd name="connsiteX8" fmla="*/ 790669 w 943226"/>
                <a:gd name="connsiteY8" fmla="*/ 1637953 h 1637952"/>
                <a:gd name="connsiteX9" fmla="*/ 251058 w 943226"/>
                <a:gd name="connsiteY9" fmla="*/ 1144128 h 1637952"/>
                <a:gd name="connsiteX10" fmla="*/ 680463 w 943226"/>
                <a:gd name="connsiteY10" fmla="*/ 1144128 h 1637952"/>
                <a:gd name="connsiteX11" fmla="*/ 462239 w 943226"/>
                <a:gd name="connsiteY11" fmla="*/ 180107 h 1637952"/>
                <a:gd name="connsiteX12" fmla="*/ 251058 w 943226"/>
                <a:gd name="connsiteY12" fmla="*/ 1144128 h 16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3226" h="1637952">
                  <a:moveTo>
                    <a:pt x="790765" y="1637858"/>
                  </a:moveTo>
                  <a:lnTo>
                    <a:pt x="708633" y="1275176"/>
                  </a:lnTo>
                  <a:lnTo>
                    <a:pt x="222887" y="1275176"/>
                  </a:lnTo>
                  <a:lnTo>
                    <a:pt x="143135" y="1637858"/>
                  </a:lnTo>
                  <a:lnTo>
                    <a:pt x="0" y="1637858"/>
                  </a:lnTo>
                  <a:lnTo>
                    <a:pt x="368307" y="0"/>
                  </a:lnTo>
                  <a:lnTo>
                    <a:pt x="570161" y="0"/>
                  </a:lnTo>
                  <a:lnTo>
                    <a:pt x="943227" y="1637953"/>
                  </a:lnTo>
                  <a:lnTo>
                    <a:pt x="790669" y="1637953"/>
                  </a:lnTo>
                  <a:close/>
                  <a:moveTo>
                    <a:pt x="251058" y="1144128"/>
                  </a:moveTo>
                  <a:lnTo>
                    <a:pt x="680463" y="1144128"/>
                  </a:lnTo>
                  <a:lnTo>
                    <a:pt x="462239" y="180107"/>
                  </a:lnTo>
                  <a:lnTo>
                    <a:pt x="251058" y="1144128"/>
                  </a:lnTo>
                  <a:close/>
                </a:path>
              </a:pathLst>
            </a:custGeom>
            <a:grpFill/>
            <a:ln w="0" cap="flat">
              <a:noFill/>
              <a:prstDash val="solid"/>
              <a:miter/>
            </a:ln>
          </p:spPr>
          <p:txBody>
            <a:bodyPr rtlCol="0" anchor="ctr"/>
            <a:lstStyle/>
            <a:p>
              <a:endParaRPr lang="en-BG"/>
            </a:p>
          </p:txBody>
        </p:sp>
        <p:sp>
          <p:nvSpPr>
            <p:cNvPr id="18" name="Freeform 17">
              <a:extLst>
                <a:ext uri="{FF2B5EF4-FFF2-40B4-BE49-F238E27FC236}">
                  <a16:creationId xmlns:a16="http://schemas.microsoft.com/office/drawing/2014/main" id="{A4B7B307-62A1-AE47-9816-D785F715ED8D}"/>
                </a:ext>
              </a:extLst>
            </p:cNvPr>
            <p:cNvSpPr/>
            <p:nvPr/>
          </p:nvSpPr>
          <p:spPr>
            <a:xfrm>
              <a:off x="12321279" y="-1913382"/>
              <a:ext cx="931615" cy="1637952"/>
            </a:xfrm>
            <a:custGeom>
              <a:avLst/>
              <a:gdLst>
                <a:gd name="connsiteX0" fmla="*/ 389530 w 931615"/>
                <a:gd name="connsiteY0" fmla="*/ 1637953 h 1637952"/>
                <a:gd name="connsiteX1" fmla="*/ 389530 w 931615"/>
                <a:gd name="connsiteY1" fmla="*/ 910216 h 1637952"/>
                <a:gd name="connsiteX2" fmla="*/ 0 w 931615"/>
                <a:gd name="connsiteY2" fmla="*/ 0 h 1637952"/>
                <a:gd name="connsiteX3" fmla="*/ 161884 w 931615"/>
                <a:gd name="connsiteY3" fmla="*/ 0 h 1637952"/>
                <a:gd name="connsiteX4" fmla="*/ 471661 w 931615"/>
                <a:gd name="connsiteY4" fmla="*/ 727736 h 1637952"/>
                <a:gd name="connsiteX5" fmla="*/ 781438 w 931615"/>
                <a:gd name="connsiteY5" fmla="*/ 0 h 1637952"/>
                <a:gd name="connsiteX6" fmla="*/ 931616 w 931615"/>
                <a:gd name="connsiteY6" fmla="*/ 0 h 1637952"/>
                <a:gd name="connsiteX7" fmla="*/ 542087 w 931615"/>
                <a:gd name="connsiteY7" fmla="*/ 910216 h 1637952"/>
                <a:gd name="connsiteX8" fmla="*/ 542087 w 931615"/>
                <a:gd name="connsiteY8" fmla="*/ 1637953 h 1637952"/>
                <a:gd name="connsiteX9" fmla="*/ 389530 w 931615"/>
                <a:gd name="connsiteY9" fmla="*/ 1637953 h 16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1615" h="1637952">
                  <a:moveTo>
                    <a:pt x="389530" y="1637953"/>
                  </a:moveTo>
                  <a:lnTo>
                    <a:pt x="389530" y="910216"/>
                  </a:lnTo>
                  <a:lnTo>
                    <a:pt x="0" y="0"/>
                  </a:lnTo>
                  <a:lnTo>
                    <a:pt x="161884" y="0"/>
                  </a:lnTo>
                  <a:lnTo>
                    <a:pt x="471661" y="727736"/>
                  </a:lnTo>
                  <a:lnTo>
                    <a:pt x="781438" y="0"/>
                  </a:lnTo>
                  <a:lnTo>
                    <a:pt x="931616" y="0"/>
                  </a:lnTo>
                  <a:lnTo>
                    <a:pt x="542087" y="910216"/>
                  </a:lnTo>
                  <a:lnTo>
                    <a:pt x="542087" y="1637953"/>
                  </a:lnTo>
                  <a:lnTo>
                    <a:pt x="389530" y="1637953"/>
                  </a:lnTo>
                  <a:close/>
                </a:path>
              </a:pathLst>
            </a:custGeom>
            <a:grpFill/>
            <a:ln w="0" cap="flat">
              <a:noFill/>
              <a:prstDash val="solid"/>
              <a:miter/>
            </a:ln>
          </p:spPr>
          <p:txBody>
            <a:bodyPr rtlCol="0" anchor="ctr"/>
            <a:lstStyle/>
            <a:p>
              <a:endParaRPr lang="en-BG"/>
            </a:p>
          </p:txBody>
        </p:sp>
      </p:grpSp>
    </p:spTree>
    <p:extLst>
      <p:ext uri="{BB962C8B-B14F-4D97-AF65-F5344CB8AC3E}">
        <p14:creationId xmlns:p14="http://schemas.microsoft.com/office/powerpoint/2010/main" val="46282768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wo Contacts | White">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C6DE9DE-F2F9-4FDA-8FA3-8BF1AF250371}"/>
              </a:ext>
            </a:extLst>
          </p:cNvPr>
          <p:cNvGraphicFramePr>
            <a:graphicFrameLocks noChangeAspect="1"/>
          </p:cNvGraphicFramePr>
          <p:nvPr>
            <p:custDataLst>
              <p:tags r:id="rId2"/>
            </p:custDataLst>
            <p:extLst>
              <p:ext uri="{D42A27DB-BD31-4B8C-83A1-F6EECF244321}">
                <p14:modId xmlns:p14="http://schemas.microsoft.com/office/powerpoint/2010/main" val="3116357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4" imgW="359" imgH="358" progId="TCLayout.ActiveDocument.1">
                  <p:embed/>
                </p:oleObj>
              </mc:Choice>
              <mc:Fallback>
                <p:oleObj name="think-cell Slide" r:id="rId4" imgW="359" imgH="358" progId="TCLayout.ActiveDocument.1">
                  <p:embed/>
                  <p:pic>
                    <p:nvPicPr>
                      <p:cNvPr id="7" name="Objekt 6" hidden="1">
                        <a:extLst>
                          <a:ext uri="{FF2B5EF4-FFF2-40B4-BE49-F238E27FC236}">
                            <a16:creationId xmlns:a16="http://schemas.microsoft.com/office/drawing/2014/main" id="{8C6DE9DE-F2F9-4FDA-8FA3-8BF1AF2503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A7ED93-264F-4FB5-815D-4481CAD4A5EA}"/>
              </a:ext>
            </a:extLst>
          </p:cNvPr>
          <p:cNvSpPr>
            <a:spLocks noGrp="1"/>
          </p:cNvSpPr>
          <p:nvPr>
            <p:ph type="title" hasCustomPrompt="1"/>
          </p:nvPr>
        </p:nvSpPr>
        <p:spPr bwMode="gray">
          <a:xfrm>
            <a:off x="587375" y="728700"/>
            <a:ext cx="5400669" cy="719783"/>
          </a:xfrm>
        </p:spPr>
        <p:txBody>
          <a:bodyPr vert="horz" bIns="0" anchor="b" anchorCtr="0"/>
          <a:lstStyle>
            <a:lvl1pPr algn="l">
              <a:defRPr sz="4300">
                <a:solidFill>
                  <a:schemeClr val="accent1"/>
                </a:solidFill>
              </a:defRPr>
            </a:lvl1pPr>
          </a:lstStyle>
          <a:p>
            <a:r>
              <a:rPr lang="en-GB" noProof="0"/>
              <a:t>Contact</a:t>
            </a:r>
          </a:p>
        </p:txBody>
      </p:sp>
      <p:pic>
        <p:nvPicPr>
          <p:cNvPr id="3" name="Grafik 2">
            <a:extLst>
              <a:ext uri="{FF2B5EF4-FFF2-40B4-BE49-F238E27FC236}">
                <a16:creationId xmlns:a16="http://schemas.microsoft.com/office/drawing/2014/main" id="{2608446A-11B3-4DB8-BD2F-089747ACC3FD}"/>
              </a:ext>
            </a:extLst>
          </p:cNvPr>
          <p:cNvPicPr>
            <a:picLocks noChangeAspect="1"/>
          </p:cNvPicPr>
          <p:nvPr/>
        </p:nvPicPr>
        <p:blipFill>
          <a:blip r:embed="rId6" cstate="screen">
            <a:extLst>
              <a:ext uri="{28A0092B-C50C-407E-A947-70E740481C1C}">
                <a14:useLocalDpi xmlns:a14="http://schemas.microsoft.com/office/drawing/2010/main" val="0"/>
              </a:ext>
            </a:extLst>
          </a:blip>
          <a:srcRect/>
          <a:stretch/>
        </p:blipFill>
        <p:spPr bwMode="gray">
          <a:xfrm>
            <a:off x="731404" y="5625301"/>
            <a:ext cx="2743267" cy="503999"/>
          </a:xfrm>
          <a:prstGeom prst="rect">
            <a:avLst/>
          </a:prstGeom>
        </p:spPr>
      </p:pic>
      <p:sp>
        <p:nvSpPr>
          <p:cNvPr id="14" name="Text Placeholder 11">
            <a:extLst>
              <a:ext uri="{FF2B5EF4-FFF2-40B4-BE49-F238E27FC236}">
                <a16:creationId xmlns:a16="http://schemas.microsoft.com/office/drawing/2014/main" id="{5B0ABBEB-0D17-4549-8CD5-306502D09041}"/>
              </a:ext>
            </a:extLst>
          </p:cNvPr>
          <p:cNvSpPr>
            <a:spLocks noGrp="1"/>
          </p:cNvSpPr>
          <p:nvPr>
            <p:ph type="body" sz="quarter" idx="14" hasCustomPrompt="1"/>
          </p:nvPr>
        </p:nvSpPr>
        <p:spPr bwMode="gray">
          <a:xfrm>
            <a:off x="587375" y="1916113"/>
            <a:ext cx="5400675" cy="2989261"/>
          </a:xfrm>
        </p:spPr>
        <p:txBody>
          <a:bodyPr/>
          <a:lstStyle>
            <a:lvl1pPr>
              <a:spcAft>
                <a:spcPts val="0"/>
              </a:spcAft>
              <a:defRPr sz="1400" b="1">
                <a:solidFill>
                  <a:schemeClr val="tx1"/>
                </a:solidFill>
              </a:defRPr>
            </a:lvl1pPr>
            <a:lvl2pPr marL="0" indent="0">
              <a:spcAft>
                <a:spcPts val="1200"/>
              </a:spcAft>
              <a:buFontTx/>
              <a:buNone/>
              <a:tabLst>
                <a:tab pos="623888" algn="l"/>
              </a:tabLst>
              <a:defRPr sz="1400" b="0">
                <a:solidFill>
                  <a:schemeClr val="accent1"/>
                </a:solidFill>
              </a:defRPr>
            </a:lvl2pPr>
            <a:lvl3pPr marL="0" indent="0">
              <a:spcAft>
                <a:spcPts val="1200"/>
              </a:spcAft>
              <a:buFontTx/>
              <a:buNone/>
              <a:tabLst>
                <a:tab pos="623888" algn="l"/>
              </a:tabLst>
              <a:defRPr sz="1400">
                <a:solidFill>
                  <a:schemeClr val="tx1"/>
                </a:solidFill>
              </a:defRPr>
            </a:lvl3pPr>
            <a:lvl4pPr marL="0" indent="0">
              <a:spcAft>
                <a:spcPts val="1200"/>
              </a:spcAft>
              <a:buFontTx/>
              <a:buNone/>
              <a:tabLst>
                <a:tab pos="623888" algn="l"/>
              </a:tabLst>
              <a:defRPr sz="1400">
                <a:solidFill>
                  <a:schemeClr val="tx1"/>
                </a:solidFill>
              </a:defRPr>
            </a:lvl4pPr>
            <a:lvl5pPr marL="0" indent="0">
              <a:spcAft>
                <a:spcPts val="1200"/>
              </a:spcAft>
              <a:buFontTx/>
              <a:buNone/>
              <a:tabLst>
                <a:tab pos="623888" algn="l"/>
              </a:tabLst>
              <a:defRPr sz="1400">
                <a:solidFill>
                  <a:schemeClr val="tx1"/>
                </a:solidFill>
              </a:defRPr>
            </a:lvl5pPr>
            <a:lvl6pPr marL="0" indent="0">
              <a:spcAft>
                <a:spcPts val="1200"/>
              </a:spcAft>
              <a:buFontTx/>
              <a:buNone/>
              <a:tabLst>
                <a:tab pos="623888" algn="l"/>
              </a:tabLst>
              <a:defRPr sz="1400">
                <a:solidFill>
                  <a:schemeClr val="tx1"/>
                </a:solidFill>
              </a:defRPr>
            </a:lvl6pPr>
            <a:lvl7pPr marL="0" indent="0">
              <a:spcAft>
                <a:spcPts val="1200"/>
              </a:spcAft>
              <a:buFontTx/>
              <a:buNone/>
              <a:tabLst>
                <a:tab pos="623888" algn="l"/>
              </a:tabLst>
              <a:defRPr sz="1400">
                <a:solidFill>
                  <a:schemeClr val="tx1"/>
                </a:solidFill>
              </a:defRPr>
            </a:lvl7pPr>
            <a:lvl8pPr marL="0" indent="0">
              <a:spcAft>
                <a:spcPts val="1200"/>
              </a:spcAft>
              <a:buFontTx/>
              <a:buNone/>
              <a:tabLst>
                <a:tab pos="623888" algn="l"/>
              </a:tabLst>
              <a:defRPr sz="1400">
                <a:solidFill>
                  <a:schemeClr val="tx1"/>
                </a:solidFill>
              </a:defRPr>
            </a:lvl8pPr>
            <a:lvl9pPr marL="0" indent="0">
              <a:spcAft>
                <a:spcPts val="1200"/>
              </a:spcAft>
              <a:buFontTx/>
              <a:buNone/>
              <a:tabLst>
                <a:tab pos="623888" algn="l"/>
              </a:tabLst>
              <a:defRPr sz="14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5" name="Text Placeholder 11">
            <a:extLst>
              <a:ext uri="{FF2B5EF4-FFF2-40B4-BE49-F238E27FC236}">
                <a16:creationId xmlns:a16="http://schemas.microsoft.com/office/drawing/2014/main" id="{D28366E5-48C1-48F5-9172-04DA025F0867}"/>
              </a:ext>
            </a:extLst>
          </p:cNvPr>
          <p:cNvSpPr>
            <a:spLocks noGrp="1"/>
          </p:cNvSpPr>
          <p:nvPr>
            <p:ph type="body" sz="quarter" idx="16" hasCustomPrompt="1"/>
          </p:nvPr>
        </p:nvSpPr>
        <p:spPr bwMode="gray">
          <a:xfrm>
            <a:off x="6203949" y="1916113"/>
            <a:ext cx="5400675" cy="2989261"/>
          </a:xfrm>
        </p:spPr>
        <p:txBody>
          <a:bodyPr/>
          <a:lstStyle>
            <a:lvl1pPr>
              <a:spcAft>
                <a:spcPts val="0"/>
              </a:spcAft>
              <a:defRPr sz="1400" b="1">
                <a:solidFill>
                  <a:schemeClr val="tx1"/>
                </a:solidFill>
              </a:defRPr>
            </a:lvl1pPr>
            <a:lvl2pPr marL="0" indent="0">
              <a:spcAft>
                <a:spcPts val="1200"/>
              </a:spcAft>
              <a:buFontTx/>
              <a:buNone/>
              <a:tabLst>
                <a:tab pos="623888" algn="l"/>
              </a:tabLst>
              <a:defRPr sz="1400" b="0">
                <a:solidFill>
                  <a:schemeClr val="accent1"/>
                </a:solidFill>
              </a:defRPr>
            </a:lvl2pPr>
            <a:lvl3pPr marL="0" indent="0">
              <a:spcAft>
                <a:spcPts val="1200"/>
              </a:spcAft>
              <a:buFontTx/>
              <a:buNone/>
              <a:tabLst>
                <a:tab pos="623888" algn="l"/>
              </a:tabLst>
              <a:defRPr sz="1400">
                <a:solidFill>
                  <a:schemeClr val="tx1"/>
                </a:solidFill>
              </a:defRPr>
            </a:lvl3pPr>
            <a:lvl4pPr marL="0" indent="0">
              <a:spcAft>
                <a:spcPts val="1200"/>
              </a:spcAft>
              <a:buFontTx/>
              <a:buNone/>
              <a:tabLst>
                <a:tab pos="623888" algn="l"/>
              </a:tabLst>
              <a:defRPr sz="1400">
                <a:solidFill>
                  <a:schemeClr val="tx1"/>
                </a:solidFill>
              </a:defRPr>
            </a:lvl4pPr>
            <a:lvl5pPr marL="0" indent="0">
              <a:spcAft>
                <a:spcPts val="1200"/>
              </a:spcAft>
              <a:buFontTx/>
              <a:buNone/>
              <a:tabLst>
                <a:tab pos="623888" algn="l"/>
              </a:tabLst>
              <a:defRPr sz="1400">
                <a:solidFill>
                  <a:schemeClr val="tx1"/>
                </a:solidFill>
              </a:defRPr>
            </a:lvl5pPr>
            <a:lvl6pPr marL="0" indent="0">
              <a:spcAft>
                <a:spcPts val="1200"/>
              </a:spcAft>
              <a:buFontTx/>
              <a:buNone/>
              <a:tabLst>
                <a:tab pos="623888" algn="l"/>
              </a:tabLst>
              <a:defRPr sz="1400">
                <a:solidFill>
                  <a:schemeClr val="tx1"/>
                </a:solidFill>
              </a:defRPr>
            </a:lvl6pPr>
            <a:lvl7pPr marL="0" indent="0">
              <a:spcAft>
                <a:spcPts val="1200"/>
              </a:spcAft>
              <a:buFontTx/>
              <a:buNone/>
              <a:tabLst>
                <a:tab pos="623888" algn="l"/>
              </a:tabLst>
              <a:defRPr sz="1400">
                <a:solidFill>
                  <a:schemeClr val="tx1"/>
                </a:solidFill>
              </a:defRPr>
            </a:lvl7pPr>
            <a:lvl8pPr marL="0" indent="0">
              <a:spcAft>
                <a:spcPts val="1200"/>
              </a:spcAft>
              <a:buFontTx/>
              <a:buNone/>
              <a:tabLst>
                <a:tab pos="623888" algn="l"/>
              </a:tabLst>
              <a:defRPr sz="1400">
                <a:solidFill>
                  <a:schemeClr val="tx1"/>
                </a:solidFill>
              </a:defRPr>
            </a:lvl8pPr>
            <a:lvl9pPr marL="0" indent="0">
              <a:spcAft>
                <a:spcPts val="1200"/>
              </a:spcAft>
              <a:buFontTx/>
              <a:buNone/>
              <a:tabLst>
                <a:tab pos="623888" algn="l"/>
              </a:tabLst>
              <a:defRPr sz="14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pic>
        <p:nvPicPr>
          <p:cNvPr id="8" name="Grafik 7">
            <a:extLst>
              <a:ext uri="{FF2B5EF4-FFF2-40B4-BE49-F238E27FC236}">
                <a16:creationId xmlns:a16="http://schemas.microsoft.com/office/drawing/2014/main" id="{E678DBDE-080C-48C1-B2B5-6B1C4289C2F0}"/>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gray">
          <a:xfrm>
            <a:off x="587388" y="5787300"/>
            <a:ext cx="2127958" cy="342000"/>
          </a:xfrm>
          <a:prstGeom prst="rect">
            <a:avLst/>
          </a:prstGeom>
        </p:spPr>
      </p:pic>
    </p:spTree>
    <p:extLst>
      <p:ext uri="{BB962C8B-B14F-4D97-AF65-F5344CB8AC3E}">
        <p14:creationId xmlns:p14="http://schemas.microsoft.com/office/powerpoint/2010/main" val="2796088130"/>
      </p:ext>
    </p:extLst>
  </p:cSld>
  <p:clrMapOvr>
    <a:masterClrMapping/>
  </p:clrMapOvr>
  <p:extLst>
    <p:ext uri="{DCECCB84-F9BA-43D5-87BE-67443E8EF086}">
      <p15:sldGuideLst xmlns:p15="http://schemas.microsoft.com/office/powerpoint/2012/main">
        <p15:guide id="3" pos="3772">
          <p15:clr>
            <a:srgbClr val="F26B43"/>
          </p15:clr>
        </p15:guide>
        <p15:guide id="14" pos="370">
          <p15:clr>
            <a:srgbClr val="F26B43"/>
          </p15:clr>
        </p15:guide>
        <p15:guide id="15" pos="7310">
          <p15:clr>
            <a:srgbClr val="F26B43"/>
          </p15:clr>
        </p15:guide>
        <p15:guide id="16" pos="3908">
          <p15:clr>
            <a:srgbClr val="F26B43"/>
          </p15:clr>
        </p15:guide>
        <p15:guide id="17" orient="horz" pos="459">
          <p15:clr>
            <a:srgbClr val="F26B43"/>
          </p15:clr>
        </p15:guide>
        <p15:guide id="18" orient="horz" pos="3090">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wo Contacts | Colour">
    <p:bg>
      <p:bgPr>
        <a:solidFill>
          <a:schemeClr val="accent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F2D65AD-575D-4A11-A63F-A6D9520871C3}"/>
              </a:ext>
            </a:extLst>
          </p:cNvPr>
          <p:cNvGraphicFramePr>
            <a:graphicFrameLocks noChangeAspect="1"/>
          </p:cNvGraphicFramePr>
          <p:nvPr>
            <p:custDataLst>
              <p:tags r:id="rId2"/>
            </p:custDataLst>
            <p:extLst>
              <p:ext uri="{D42A27DB-BD31-4B8C-83A1-F6EECF244321}">
                <p14:modId xmlns:p14="http://schemas.microsoft.com/office/powerpoint/2010/main" val="3840432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4" imgW="359" imgH="358" progId="TCLayout.ActiveDocument.1">
                  <p:embed/>
                </p:oleObj>
              </mc:Choice>
              <mc:Fallback>
                <p:oleObj name="think-cell Slide" r:id="rId4" imgW="359" imgH="358" progId="TCLayout.ActiveDocument.1">
                  <p:embed/>
                  <p:pic>
                    <p:nvPicPr>
                      <p:cNvPr id="5" name="Objekt 4" hidden="1">
                        <a:extLst>
                          <a:ext uri="{FF2B5EF4-FFF2-40B4-BE49-F238E27FC236}">
                            <a16:creationId xmlns:a16="http://schemas.microsoft.com/office/drawing/2014/main" id="{9F2D65AD-575D-4A11-A63F-A6D9520871C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A7ED93-264F-4FB5-815D-4481CAD4A5EA}"/>
              </a:ext>
            </a:extLst>
          </p:cNvPr>
          <p:cNvSpPr>
            <a:spLocks noGrp="1"/>
          </p:cNvSpPr>
          <p:nvPr>
            <p:ph type="title" hasCustomPrompt="1"/>
          </p:nvPr>
        </p:nvSpPr>
        <p:spPr bwMode="gray">
          <a:xfrm>
            <a:off x="587375" y="720001"/>
            <a:ext cx="5400675" cy="720000"/>
          </a:xfrm>
        </p:spPr>
        <p:txBody>
          <a:bodyPr vert="horz" bIns="0" anchor="b" anchorCtr="0"/>
          <a:lstStyle>
            <a:lvl1pPr algn="l">
              <a:defRPr sz="4300">
                <a:solidFill>
                  <a:schemeClr val="tx1"/>
                </a:solidFill>
              </a:defRPr>
            </a:lvl1pPr>
          </a:lstStyle>
          <a:p>
            <a:r>
              <a:rPr lang="en-GB" noProof="0"/>
              <a:t>Contact</a:t>
            </a:r>
          </a:p>
        </p:txBody>
      </p:sp>
      <p:sp>
        <p:nvSpPr>
          <p:cNvPr id="11" name="Text Placeholder 11">
            <a:extLst>
              <a:ext uri="{FF2B5EF4-FFF2-40B4-BE49-F238E27FC236}">
                <a16:creationId xmlns:a16="http://schemas.microsoft.com/office/drawing/2014/main" id="{3516DCBD-CE02-4D01-B758-CD2777F46988}"/>
              </a:ext>
            </a:extLst>
          </p:cNvPr>
          <p:cNvSpPr>
            <a:spLocks noGrp="1"/>
          </p:cNvSpPr>
          <p:nvPr>
            <p:ph type="body" sz="quarter" idx="14" hasCustomPrompt="1"/>
          </p:nvPr>
        </p:nvSpPr>
        <p:spPr bwMode="gray">
          <a:xfrm>
            <a:off x="587375" y="1916113"/>
            <a:ext cx="5400675" cy="2989261"/>
          </a:xfrm>
        </p:spPr>
        <p:txBody>
          <a:bodyPr/>
          <a:lstStyle>
            <a:lvl1pPr>
              <a:spcAft>
                <a:spcPts val="0"/>
              </a:spcAft>
              <a:defRPr sz="1400" b="1">
                <a:solidFill>
                  <a:schemeClr val="tx1"/>
                </a:solidFill>
              </a:defRPr>
            </a:lvl1pPr>
            <a:lvl2pPr marL="0" indent="0">
              <a:spcAft>
                <a:spcPts val="1200"/>
              </a:spcAft>
              <a:buFontTx/>
              <a:buNone/>
              <a:tabLst>
                <a:tab pos="623888" algn="l"/>
              </a:tabLst>
              <a:defRPr sz="1400" b="0">
                <a:solidFill>
                  <a:schemeClr val="tx1"/>
                </a:solidFill>
              </a:defRPr>
            </a:lvl2pPr>
            <a:lvl3pPr marL="0" indent="0">
              <a:spcAft>
                <a:spcPts val="1200"/>
              </a:spcAft>
              <a:buFontTx/>
              <a:buNone/>
              <a:tabLst>
                <a:tab pos="623888" algn="l"/>
              </a:tabLst>
              <a:defRPr sz="1400">
                <a:solidFill>
                  <a:schemeClr val="tx1"/>
                </a:solidFill>
              </a:defRPr>
            </a:lvl3pPr>
            <a:lvl4pPr marL="0" indent="0">
              <a:spcAft>
                <a:spcPts val="1200"/>
              </a:spcAft>
              <a:buFontTx/>
              <a:buNone/>
              <a:tabLst>
                <a:tab pos="623888" algn="l"/>
              </a:tabLst>
              <a:defRPr sz="1400">
                <a:solidFill>
                  <a:schemeClr val="tx1"/>
                </a:solidFill>
              </a:defRPr>
            </a:lvl4pPr>
            <a:lvl5pPr marL="0" indent="0">
              <a:spcAft>
                <a:spcPts val="1200"/>
              </a:spcAft>
              <a:buFontTx/>
              <a:buNone/>
              <a:tabLst>
                <a:tab pos="623888" algn="l"/>
              </a:tabLst>
              <a:defRPr sz="1400">
                <a:solidFill>
                  <a:schemeClr val="tx1"/>
                </a:solidFill>
              </a:defRPr>
            </a:lvl5pPr>
            <a:lvl6pPr marL="0" indent="0">
              <a:spcAft>
                <a:spcPts val="1200"/>
              </a:spcAft>
              <a:buFontTx/>
              <a:buNone/>
              <a:tabLst>
                <a:tab pos="623888" algn="l"/>
              </a:tabLst>
              <a:defRPr sz="1400">
                <a:solidFill>
                  <a:schemeClr val="tx1"/>
                </a:solidFill>
              </a:defRPr>
            </a:lvl6pPr>
            <a:lvl7pPr marL="0" indent="0">
              <a:spcAft>
                <a:spcPts val="1200"/>
              </a:spcAft>
              <a:buFontTx/>
              <a:buNone/>
              <a:tabLst>
                <a:tab pos="623888" algn="l"/>
              </a:tabLst>
              <a:defRPr sz="1400">
                <a:solidFill>
                  <a:schemeClr val="tx1"/>
                </a:solidFill>
              </a:defRPr>
            </a:lvl7pPr>
            <a:lvl8pPr marL="0" indent="0">
              <a:spcAft>
                <a:spcPts val="1200"/>
              </a:spcAft>
              <a:buFontTx/>
              <a:buNone/>
              <a:tabLst>
                <a:tab pos="623888" algn="l"/>
              </a:tabLst>
              <a:defRPr sz="1400">
                <a:solidFill>
                  <a:schemeClr val="tx1"/>
                </a:solidFill>
              </a:defRPr>
            </a:lvl8pPr>
            <a:lvl9pPr marL="0" indent="0">
              <a:spcAft>
                <a:spcPts val="1200"/>
              </a:spcAft>
              <a:buFontTx/>
              <a:buNone/>
              <a:tabLst>
                <a:tab pos="623888" algn="l"/>
              </a:tabLst>
              <a:defRPr sz="14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2" name="Text Placeholder 11">
            <a:extLst>
              <a:ext uri="{FF2B5EF4-FFF2-40B4-BE49-F238E27FC236}">
                <a16:creationId xmlns:a16="http://schemas.microsoft.com/office/drawing/2014/main" id="{3BAC1541-3AFA-41EF-A61C-2D0163E86682}"/>
              </a:ext>
            </a:extLst>
          </p:cNvPr>
          <p:cNvSpPr>
            <a:spLocks noGrp="1"/>
          </p:cNvSpPr>
          <p:nvPr>
            <p:ph type="body" sz="quarter" idx="16" hasCustomPrompt="1"/>
          </p:nvPr>
        </p:nvSpPr>
        <p:spPr bwMode="gray">
          <a:xfrm>
            <a:off x="6203949" y="1916113"/>
            <a:ext cx="5400675" cy="2989261"/>
          </a:xfrm>
        </p:spPr>
        <p:txBody>
          <a:bodyPr/>
          <a:lstStyle>
            <a:lvl1pPr>
              <a:spcAft>
                <a:spcPts val="0"/>
              </a:spcAft>
              <a:defRPr sz="1400" b="1">
                <a:solidFill>
                  <a:schemeClr val="tx1"/>
                </a:solidFill>
              </a:defRPr>
            </a:lvl1pPr>
            <a:lvl2pPr marL="0" indent="0">
              <a:spcAft>
                <a:spcPts val="1200"/>
              </a:spcAft>
              <a:buFontTx/>
              <a:buNone/>
              <a:tabLst>
                <a:tab pos="623888" algn="l"/>
              </a:tabLst>
              <a:defRPr sz="1400" b="0">
                <a:solidFill>
                  <a:schemeClr val="tx1"/>
                </a:solidFill>
              </a:defRPr>
            </a:lvl2pPr>
            <a:lvl3pPr marL="0" indent="0">
              <a:spcAft>
                <a:spcPts val="1200"/>
              </a:spcAft>
              <a:buFontTx/>
              <a:buNone/>
              <a:tabLst>
                <a:tab pos="623888" algn="l"/>
              </a:tabLst>
              <a:defRPr sz="1400">
                <a:solidFill>
                  <a:schemeClr val="tx1"/>
                </a:solidFill>
              </a:defRPr>
            </a:lvl3pPr>
            <a:lvl4pPr marL="0" indent="0">
              <a:spcAft>
                <a:spcPts val="1200"/>
              </a:spcAft>
              <a:buFontTx/>
              <a:buNone/>
              <a:tabLst>
                <a:tab pos="623888" algn="l"/>
              </a:tabLst>
              <a:defRPr sz="1400">
                <a:solidFill>
                  <a:schemeClr val="tx1"/>
                </a:solidFill>
              </a:defRPr>
            </a:lvl4pPr>
            <a:lvl5pPr marL="0" indent="0">
              <a:spcAft>
                <a:spcPts val="1200"/>
              </a:spcAft>
              <a:buFontTx/>
              <a:buNone/>
              <a:tabLst>
                <a:tab pos="623888" algn="l"/>
              </a:tabLst>
              <a:defRPr sz="1400">
                <a:solidFill>
                  <a:schemeClr val="tx1"/>
                </a:solidFill>
              </a:defRPr>
            </a:lvl5pPr>
            <a:lvl6pPr marL="0" indent="0">
              <a:spcAft>
                <a:spcPts val="1200"/>
              </a:spcAft>
              <a:buFontTx/>
              <a:buNone/>
              <a:tabLst>
                <a:tab pos="623888" algn="l"/>
              </a:tabLst>
              <a:defRPr sz="1400">
                <a:solidFill>
                  <a:schemeClr val="tx1"/>
                </a:solidFill>
              </a:defRPr>
            </a:lvl6pPr>
            <a:lvl7pPr marL="0" indent="0">
              <a:spcAft>
                <a:spcPts val="1200"/>
              </a:spcAft>
              <a:buFontTx/>
              <a:buNone/>
              <a:tabLst>
                <a:tab pos="623888" algn="l"/>
              </a:tabLst>
              <a:defRPr sz="1400">
                <a:solidFill>
                  <a:schemeClr val="tx1"/>
                </a:solidFill>
              </a:defRPr>
            </a:lvl7pPr>
            <a:lvl8pPr marL="0" indent="0">
              <a:spcAft>
                <a:spcPts val="1200"/>
              </a:spcAft>
              <a:buFontTx/>
              <a:buNone/>
              <a:tabLst>
                <a:tab pos="623888" algn="l"/>
              </a:tabLst>
              <a:defRPr sz="1400">
                <a:solidFill>
                  <a:schemeClr val="tx1"/>
                </a:solidFill>
              </a:defRPr>
            </a:lvl8pPr>
            <a:lvl9pPr marL="0" indent="0">
              <a:spcAft>
                <a:spcPts val="1200"/>
              </a:spcAft>
              <a:buFontTx/>
              <a:buNone/>
              <a:tabLst>
                <a:tab pos="623888" algn="l"/>
              </a:tabLst>
              <a:defRPr sz="14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pic>
        <p:nvPicPr>
          <p:cNvPr id="7" name="Grafik 6">
            <a:extLst>
              <a:ext uri="{FF2B5EF4-FFF2-40B4-BE49-F238E27FC236}">
                <a16:creationId xmlns:a16="http://schemas.microsoft.com/office/drawing/2014/main" id="{D3CDEE5C-0EA4-4C8C-859C-F8AE0B631855}"/>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bwMode="gray">
          <a:xfrm>
            <a:off x="587388" y="5787300"/>
            <a:ext cx="2127958" cy="342000"/>
          </a:xfrm>
          <a:prstGeom prst="rect">
            <a:avLst/>
          </a:prstGeom>
        </p:spPr>
      </p:pic>
    </p:spTree>
    <p:extLst>
      <p:ext uri="{BB962C8B-B14F-4D97-AF65-F5344CB8AC3E}">
        <p14:creationId xmlns:p14="http://schemas.microsoft.com/office/powerpoint/2010/main" val="398688370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3772">
          <p15:clr>
            <a:srgbClr val="F26B43"/>
          </p15:clr>
        </p15:guide>
        <p15:guide id="14" pos="370">
          <p15:clr>
            <a:srgbClr val="F26B43"/>
          </p15:clr>
        </p15:guide>
        <p15:guide id="15" pos="7310">
          <p15:clr>
            <a:srgbClr val="F26B43"/>
          </p15:clr>
        </p15:guide>
        <p15:guide id="16" pos="3908">
          <p15:clr>
            <a:srgbClr val="F26B43"/>
          </p15:clr>
        </p15:guide>
        <p15:guide id="17" orient="horz" pos="3090">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wo Contacts | With pictures">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7E08914-4F7D-47AA-A3A7-6D253E93C061}"/>
              </a:ext>
            </a:extLst>
          </p:cNvPr>
          <p:cNvGraphicFramePr>
            <a:graphicFrameLocks noChangeAspect="1"/>
          </p:cNvGraphicFramePr>
          <p:nvPr>
            <p:custDataLst>
              <p:tags r:id="rId2"/>
            </p:custDataLst>
            <p:extLst>
              <p:ext uri="{D42A27DB-BD31-4B8C-83A1-F6EECF244321}">
                <p14:modId xmlns:p14="http://schemas.microsoft.com/office/powerpoint/2010/main" val="1939508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57E08914-4F7D-47AA-A3A7-6D253E93C0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A7ED93-264F-4FB5-815D-4481CAD4A5EA}"/>
              </a:ext>
            </a:extLst>
          </p:cNvPr>
          <p:cNvSpPr>
            <a:spLocks noGrp="1"/>
          </p:cNvSpPr>
          <p:nvPr>
            <p:ph type="title" hasCustomPrompt="1"/>
          </p:nvPr>
        </p:nvSpPr>
        <p:spPr bwMode="gray">
          <a:xfrm>
            <a:off x="587821" y="728700"/>
            <a:ext cx="5400229" cy="719783"/>
          </a:xfrm>
        </p:spPr>
        <p:txBody>
          <a:bodyPr vert="horz" bIns="0" anchor="b" anchorCtr="0"/>
          <a:lstStyle>
            <a:lvl1pPr algn="l">
              <a:defRPr sz="4300">
                <a:solidFill>
                  <a:schemeClr val="accent1"/>
                </a:solidFill>
              </a:defRPr>
            </a:lvl1pPr>
          </a:lstStyle>
          <a:p>
            <a:r>
              <a:rPr lang="en-GB" noProof="0"/>
              <a:t>Contact</a:t>
            </a:r>
          </a:p>
        </p:txBody>
      </p:sp>
      <p:sp>
        <p:nvSpPr>
          <p:cNvPr id="8" name="Text Placeholder 11">
            <a:extLst>
              <a:ext uri="{FF2B5EF4-FFF2-40B4-BE49-F238E27FC236}">
                <a16:creationId xmlns:a16="http://schemas.microsoft.com/office/drawing/2014/main" id="{DFF918B5-B02B-4208-A4BD-44A19345892D}"/>
              </a:ext>
            </a:extLst>
          </p:cNvPr>
          <p:cNvSpPr>
            <a:spLocks noGrp="1"/>
          </p:cNvSpPr>
          <p:nvPr>
            <p:ph type="body" sz="quarter" idx="12" hasCustomPrompt="1"/>
          </p:nvPr>
        </p:nvSpPr>
        <p:spPr bwMode="gray">
          <a:xfrm>
            <a:off x="2603735" y="1916832"/>
            <a:ext cx="3384315" cy="2160000"/>
          </a:xfrm>
        </p:spPr>
        <p:txBody>
          <a:bodyPr/>
          <a:lstStyle>
            <a:lvl1pPr>
              <a:spcAft>
                <a:spcPts val="0"/>
              </a:spcAft>
              <a:defRPr sz="1400" b="1">
                <a:solidFill>
                  <a:schemeClr val="tx1"/>
                </a:solidFill>
              </a:defRPr>
            </a:lvl1pPr>
            <a:lvl2pPr marL="0" indent="0">
              <a:spcAft>
                <a:spcPts val="1200"/>
              </a:spcAft>
              <a:buFontTx/>
              <a:buNone/>
              <a:tabLst>
                <a:tab pos="623888" algn="l"/>
              </a:tabLst>
              <a:defRPr sz="1400" b="0">
                <a:solidFill>
                  <a:schemeClr val="accent1"/>
                </a:solidFill>
              </a:defRPr>
            </a:lvl2pPr>
            <a:lvl3pPr marL="0" indent="0">
              <a:spcAft>
                <a:spcPts val="1200"/>
              </a:spcAft>
              <a:buFontTx/>
              <a:buNone/>
              <a:tabLst>
                <a:tab pos="623888" algn="l"/>
              </a:tabLst>
              <a:defRPr sz="1400">
                <a:solidFill>
                  <a:schemeClr val="tx1"/>
                </a:solidFill>
              </a:defRPr>
            </a:lvl3pPr>
            <a:lvl4pPr marL="0" indent="0">
              <a:spcAft>
                <a:spcPts val="1200"/>
              </a:spcAft>
              <a:buFontTx/>
              <a:buNone/>
              <a:tabLst>
                <a:tab pos="623888" algn="l"/>
              </a:tabLst>
              <a:defRPr sz="1400">
                <a:solidFill>
                  <a:schemeClr val="tx1"/>
                </a:solidFill>
              </a:defRPr>
            </a:lvl4pPr>
            <a:lvl5pPr marL="0" indent="0">
              <a:spcAft>
                <a:spcPts val="1200"/>
              </a:spcAft>
              <a:buFontTx/>
              <a:buNone/>
              <a:tabLst>
                <a:tab pos="623888" algn="l"/>
              </a:tabLst>
              <a:defRPr sz="1400">
                <a:solidFill>
                  <a:schemeClr val="tx1"/>
                </a:solidFill>
              </a:defRPr>
            </a:lvl5pPr>
            <a:lvl6pPr marL="0" indent="0">
              <a:spcAft>
                <a:spcPts val="1200"/>
              </a:spcAft>
              <a:buFontTx/>
              <a:buNone/>
              <a:tabLst>
                <a:tab pos="623888" algn="l"/>
              </a:tabLst>
              <a:defRPr sz="1400">
                <a:solidFill>
                  <a:schemeClr val="tx1"/>
                </a:solidFill>
              </a:defRPr>
            </a:lvl6pPr>
            <a:lvl7pPr marL="0" indent="0">
              <a:spcAft>
                <a:spcPts val="1200"/>
              </a:spcAft>
              <a:buFontTx/>
              <a:buNone/>
              <a:tabLst>
                <a:tab pos="623888" algn="l"/>
              </a:tabLst>
              <a:defRPr sz="1400">
                <a:solidFill>
                  <a:schemeClr val="tx1"/>
                </a:solidFill>
              </a:defRPr>
            </a:lvl7pPr>
            <a:lvl8pPr marL="0" indent="0">
              <a:spcAft>
                <a:spcPts val="1200"/>
              </a:spcAft>
              <a:buFontTx/>
              <a:buNone/>
              <a:tabLst>
                <a:tab pos="623888" algn="l"/>
              </a:tabLst>
              <a:defRPr sz="1400">
                <a:solidFill>
                  <a:schemeClr val="tx1"/>
                </a:solidFill>
              </a:defRPr>
            </a:lvl8pPr>
            <a:lvl9pPr marL="0" indent="0">
              <a:spcAft>
                <a:spcPts val="1200"/>
              </a:spcAft>
              <a:buFontTx/>
              <a:buNone/>
              <a:tabLst>
                <a:tab pos="623888" algn="l"/>
              </a:tabLst>
              <a:defRPr sz="14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pic>
        <p:nvPicPr>
          <p:cNvPr id="3" name="Grafik 2">
            <a:extLst>
              <a:ext uri="{FF2B5EF4-FFF2-40B4-BE49-F238E27FC236}">
                <a16:creationId xmlns:a16="http://schemas.microsoft.com/office/drawing/2014/main" id="{2608446A-11B3-4DB8-BD2F-089747ACC3FD}"/>
              </a:ext>
            </a:extLst>
          </p:cNvPr>
          <p:cNvPicPr>
            <a:picLocks noChangeAspect="1"/>
          </p:cNvPicPr>
          <p:nvPr/>
        </p:nvPicPr>
        <p:blipFill>
          <a:blip r:embed="rId6" cstate="screen">
            <a:extLst>
              <a:ext uri="{28A0092B-C50C-407E-A947-70E740481C1C}">
                <a14:useLocalDpi xmlns:a14="http://schemas.microsoft.com/office/drawing/2010/main" val="0"/>
              </a:ext>
            </a:extLst>
          </a:blip>
          <a:srcRect/>
          <a:stretch/>
        </p:blipFill>
        <p:spPr bwMode="gray">
          <a:xfrm>
            <a:off x="587388" y="5625301"/>
            <a:ext cx="2743267" cy="503999"/>
          </a:xfrm>
          <a:prstGeom prst="rect">
            <a:avLst/>
          </a:prstGeom>
        </p:spPr>
      </p:pic>
      <p:sp>
        <p:nvSpPr>
          <p:cNvPr id="11" name="Picture Placeholder 3">
            <a:extLst>
              <a:ext uri="{FF2B5EF4-FFF2-40B4-BE49-F238E27FC236}">
                <a16:creationId xmlns:a16="http://schemas.microsoft.com/office/drawing/2014/main" id="{B79BC713-A99B-43A2-91AC-046C8300FF03}"/>
              </a:ext>
            </a:extLst>
          </p:cNvPr>
          <p:cNvSpPr>
            <a:spLocks noGrp="1"/>
          </p:cNvSpPr>
          <p:nvPr>
            <p:ph type="pic" sz="quarter" idx="14" hasCustomPrompt="1"/>
          </p:nvPr>
        </p:nvSpPr>
        <p:spPr bwMode="gray">
          <a:xfrm>
            <a:off x="587822" y="1916832"/>
            <a:ext cx="1872000" cy="2160000"/>
          </a:xfrm>
          <a:solidFill>
            <a:schemeClr val="bg2"/>
          </a:solidFill>
        </p:spPr>
        <p:txBody>
          <a:bodyPr vert="horz" lIns="0" tIns="0" rIns="0" bIns="0" rtlCol="0" anchor="ctr" anchorCtr="0">
            <a:noAutofit/>
          </a:bodyPr>
          <a:lstStyle>
            <a:lvl1pPr algn="ctr">
              <a:defRPr lang="en-GB" sz="1200" dirty="0">
                <a:solidFill>
                  <a:schemeClr val="accent4"/>
                </a:solidFill>
              </a:defRPr>
            </a:lvl1pPr>
          </a:lstStyle>
          <a:p>
            <a:pPr lvl="0"/>
            <a:r>
              <a:rPr lang="en-GB" noProof="0"/>
              <a:t> </a:t>
            </a:r>
          </a:p>
        </p:txBody>
      </p:sp>
      <p:sp>
        <p:nvSpPr>
          <p:cNvPr id="12" name="Picture Placeholder 3">
            <a:extLst>
              <a:ext uri="{FF2B5EF4-FFF2-40B4-BE49-F238E27FC236}">
                <a16:creationId xmlns:a16="http://schemas.microsoft.com/office/drawing/2014/main" id="{0BD15FDB-083E-4985-A9EB-DFF55C0EDF32}"/>
              </a:ext>
            </a:extLst>
          </p:cNvPr>
          <p:cNvSpPr>
            <a:spLocks noGrp="1"/>
          </p:cNvSpPr>
          <p:nvPr>
            <p:ph type="pic" sz="quarter" idx="15" hasCustomPrompt="1"/>
          </p:nvPr>
        </p:nvSpPr>
        <p:spPr bwMode="gray">
          <a:xfrm>
            <a:off x="6204012" y="1916832"/>
            <a:ext cx="1872000" cy="2160000"/>
          </a:xfrm>
          <a:solidFill>
            <a:schemeClr val="bg2"/>
          </a:solidFill>
        </p:spPr>
        <p:txBody>
          <a:bodyPr vert="horz" lIns="0" tIns="0" rIns="0" bIns="0" rtlCol="0" anchor="ctr" anchorCtr="0">
            <a:noAutofit/>
          </a:bodyPr>
          <a:lstStyle>
            <a:lvl1pPr algn="ctr">
              <a:defRPr lang="en-GB" sz="1200" dirty="0">
                <a:solidFill>
                  <a:schemeClr val="accent4"/>
                </a:solidFill>
              </a:defRPr>
            </a:lvl1pPr>
          </a:lstStyle>
          <a:p>
            <a:pPr lvl="0"/>
            <a:r>
              <a:rPr lang="en-GB" noProof="0"/>
              <a:t> </a:t>
            </a:r>
          </a:p>
        </p:txBody>
      </p:sp>
      <p:sp>
        <p:nvSpPr>
          <p:cNvPr id="21" name="Text Placeholder 11">
            <a:extLst>
              <a:ext uri="{FF2B5EF4-FFF2-40B4-BE49-F238E27FC236}">
                <a16:creationId xmlns:a16="http://schemas.microsoft.com/office/drawing/2014/main" id="{FC48ECE3-E1B3-44A7-8B8E-3039F0D734BA}"/>
              </a:ext>
            </a:extLst>
          </p:cNvPr>
          <p:cNvSpPr>
            <a:spLocks noGrp="1"/>
          </p:cNvSpPr>
          <p:nvPr>
            <p:ph type="body" sz="quarter" idx="16" hasCustomPrompt="1"/>
          </p:nvPr>
        </p:nvSpPr>
        <p:spPr bwMode="gray">
          <a:xfrm>
            <a:off x="8220359" y="1916832"/>
            <a:ext cx="3384266" cy="2160000"/>
          </a:xfrm>
        </p:spPr>
        <p:txBody>
          <a:bodyPr/>
          <a:lstStyle>
            <a:lvl1pPr>
              <a:spcAft>
                <a:spcPts val="0"/>
              </a:spcAft>
              <a:defRPr sz="1400" b="1">
                <a:solidFill>
                  <a:schemeClr val="tx1"/>
                </a:solidFill>
              </a:defRPr>
            </a:lvl1pPr>
            <a:lvl2pPr marL="0" indent="0">
              <a:spcAft>
                <a:spcPts val="1000"/>
              </a:spcAft>
              <a:buFontTx/>
              <a:buNone/>
              <a:tabLst>
                <a:tab pos="623888" algn="l"/>
              </a:tabLst>
              <a:defRPr sz="1400" b="0">
                <a:solidFill>
                  <a:schemeClr val="accent1"/>
                </a:solidFill>
              </a:defRPr>
            </a:lvl2pPr>
            <a:lvl3pPr marL="0" indent="0">
              <a:spcAft>
                <a:spcPts val="1200"/>
              </a:spcAft>
              <a:buFontTx/>
              <a:buNone/>
              <a:tabLst>
                <a:tab pos="623888" algn="l"/>
              </a:tabLst>
              <a:defRPr sz="1400">
                <a:solidFill>
                  <a:schemeClr val="tx1"/>
                </a:solidFill>
              </a:defRPr>
            </a:lvl3pPr>
            <a:lvl4pPr marL="0" indent="0">
              <a:spcAft>
                <a:spcPts val="1200"/>
              </a:spcAft>
              <a:buFontTx/>
              <a:buNone/>
              <a:tabLst>
                <a:tab pos="623888" algn="l"/>
              </a:tabLst>
              <a:defRPr sz="1400">
                <a:solidFill>
                  <a:schemeClr val="tx1"/>
                </a:solidFill>
              </a:defRPr>
            </a:lvl4pPr>
            <a:lvl5pPr marL="0" indent="0">
              <a:spcAft>
                <a:spcPts val="1200"/>
              </a:spcAft>
              <a:buFontTx/>
              <a:buNone/>
              <a:tabLst>
                <a:tab pos="623888" algn="l"/>
              </a:tabLst>
              <a:defRPr sz="1400">
                <a:solidFill>
                  <a:schemeClr val="tx1"/>
                </a:solidFill>
              </a:defRPr>
            </a:lvl5pPr>
            <a:lvl6pPr marL="0" indent="0">
              <a:spcAft>
                <a:spcPts val="1200"/>
              </a:spcAft>
              <a:buFontTx/>
              <a:buNone/>
              <a:tabLst>
                <a:tab pos="623888" algn="l"/>
              </a:tabLst>
              <a:defRPr sz="1400">
                <a:solidFill>
                  <a:schemeClr val="tx1"/>
                </a:solidFill>
              </a:defRPr>
            </a:lvl6pPr>
            <a:lvl7pPr marL="0" indent="0">
              <a:spcAft>
                <a:spcPts val="1200"/>
              </a:spcAft>
              <a:buFontTx/>
              <a:buNone/>
              <a:tabLst>
                <a:tab pos="623888" algn="l"/>
              </a:tabLst>
              <a:defRPr sz="1400">
                <a:solidFill>
                  <a:schemeClr val="tx1"/>
                </a:solidFill>
              </a:defRPr>
            </a:lvl7pPr>
            <a:lvl8pPr marL="0" indent="0">
              <a:spcAft>
                <a:spcPts val="1200"/>
              </a:spcAft>
              <a:buFontTx/>
              <a:buNone/>
              <a:tabLst>
                <a:tab pos="623888" algn="l"/>
              </a:tabLst>
              <a:defRPr sz="1400">
                <a:solidFill>
                  <a:schemeClr val="tx1"/>
                </a:solidFill>
              </a:defRPr>
            </a:lvl8pPr>
            <a:lvl9pPr marL="0" indent="0">
              <a:spcAft>
                <a:spcPts val="1200"/>
              </a:spcAft>
              <a:buFontTx/>
              <a:buNone/>
              <a:tabLst>
                <a:tab pos="623888" algn="l"/>
              </a:tabLst>
              <a:defRPr sz="14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pic>
        <p:nvPicPr>
          <p:cNvPr id="10" name="Grafik 9">
            <a:extLst>
              <a:ext uri="{FF2B5EF4-FFF2-40B4-BE49-F238E27FC236}">
                <a16:creationId xmlns:a16="http://schemas.microsoft.com/office/drawing/2014/main" id="{FE84ED6F-4E06-48C0-AC78-4A54245E4063}"/>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gray">
          <a:xfrm>
            <a:off x="587388" y="5787300"/>
            <a:ext cx="2127958" cy="342000"/>
          </a:xfrm>
          <a:prstGeom prst="rect">
            <a:avLst/>
          </a:prstGeom>
        </p:spPr>
      </p:pic>
    </p:spTree>
    <p:extLst>
      <p:ext uri="{BB962C8B-B14F-4D97-AF65-F5344CB8AC3E}">
        <p14:creationId xmlns:p14="http://schemas.microsoft.com/office/powerpoint/2010/main" val="2301320391"/>
      </p:ext>
    </p:extLst>
  </p:cSld>
  <p:clrMapOvr>
    <a:masterClrMapping/>
  </p:clrMapOvr>
  <p:extLst>
    <p:ext uri="{DCECCB84-F9BA-43D5-87BE-67443E8EF086}">
      <p15:sldGuideLst xmlns:p15="http://schemas.microsoft.com/office/powerpoint/2012/main">
        <p15:guide id="3" pos="3772">
          <p15:clr>
            <a:srgbClr val="F26B43"/>
          </p15:clr>
        </p15:guide>
        <p15:guide id="14" pos="370">
          <p15:clr>
            <a:srgbClr val="F26B43"/>
          </p15:clr>
        </p15:guide>
        <p15:guide id="15" pos="7310">
          <p15:clr>
            <a:srgbClr val="F26B43"/>
          </p15:clr>
        </p15:guide>
        <p15:guide id="16" pos="3908">
          <p15:clr>
            <a:srgbClr val="F26B43"/>
          </p15:clr>
        </p15:guide>
        <p15:guide id="17" orient="horz" pos="3090">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Eight Contacts">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1B426E2-92A5-4526-8C5D-265264575D26}"/>
              </a:ext>
            </a:extLst>
          </p:cNvPr>
          <p:cNvGraphicFramePr>
            <a:graphicFrameLocks noChangeAspect="1"/>
          </p:cNvGraphicFramePr>
          <p:nvPr>
            <p:custDataLst>
              <p:tags r:id="rId2"/>
            </p:custDataLst>
            <p:extLst>
              <p:ext uri="{D42A27DB-BD31-4B8C-83A1-F6EECF244321}">
                <p14:modId xmlns:p14="http://schemas.microsoft.com/office/powerpoint/2010/main" val="1682901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4" imgW="359" imgH="358" progId="TCLayout.ActiveDocument.1">
                  <p:embed/>
                </p:oleObj>
              </mc:Choice>
              <mc:Fallback>
                <p:oleObj name="think-cell Slide" r:id="rId4" imgW="359" imgH="358" progId="TCLayout.ActiveDocument.1">
                  <p:embed/>
                  <p:pic>
                    <p:nvPicPr>
                      <p:cNvPr id="5" name="Objekt 4" hidden="1">
                        <a:extLst>
                          <a:ext uri="{FF2B5EF4-FFF2-40B4-BE49-F238E27FC236}">
                            <a16:creationId xmlns:a16="http://schemas.microsoft.com/office/drawing/2014/main" id="{11B426E2-92A5-4526-8C5D-265264575D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Titel 16">
            <a:extLst>
              <a:ext uri="{FF2B5EF4-FFF2-40B4-BE49-F238E27FC236}">
                <a16:creationId xmlns:a16="http://schemas.microsoft.com/office/drawing/2014/main" id="{C807CB8B-53B8-4CA1-BF87-9EE1A5B71DC6}"/>
              </a:ext>
            </a:extLst>
          </p:cNvPr>
          <p:cNvSpPr>
            <a:spLocks noGrp="1"/>
          </p:cNvSpPr>
          <p:nvPr>
            <p:ph type="title" hasCustomPrompt="1"/>
          </p:nvPr>
        </p:nvSpPr>
        <p:spPr bwMode="gray"/>
        <p:txBody>
          <a:bodyPr vert="horz"/>
          <a:lstStyle/>
          <a:p>
            <a:r>
              <a:rPr lang="en-GB" noProof="0"/>
              <a:t>Click to add title</a:t>
            </a:r>
          </a:p>
        </p:txBody>
      </p:sp>
      <p:sp>
        <p:nvSpPr>
          <p:cNvPr id="42" name="Text Placeholder 11">
            <a:extLst>
              <a:ext uri="{FF2B5EF4-FFF2-40B4-BE49-F238E27FC236}">
                <a16:creationId xmlns:a16="http://schemas.microsoft.com/office/drawing/2014/main" id="{7B772AC2-B821-4D39-98E5-ED66EF3A8C54}"/>
              </a:ext>
            </a:extLst>
          </p:cNvPr>
          <p:cNvSpPr>
            <a:spLocks noGrp="1"/>
          </p:cNvSpPr>
          <p:nvPr>
            <p:ph type="body" sz="quarter" idx="23" hasCustomPrompt="1"/>
          </p:nvPr>
        </p:nvSpPr>
        <p:spPr bwMode="gray">
          <a:xfrm>
            <a:off x="587388" y="1484784"/>
            <a:ext cx="2592000" cy="2088000"/>
          </a:xfrm>
        </p:spPr>
        <p:txBody>
          <a:bodyPr/>
          <a:lstStyle>
            <a:lvl1pPr>
              <a:spcAft>
                <a:spcPts val="0"/>
              </a:spcAft>
              <a:tabLst>
                <a:tab pos="542925" algn="l"/>
              </a:tabLst>
              <a:defRPr sz="1200" b="1">
                <a:solidFill>
                  <a:schemeClr val="tx1"/>
                </a:solidFill>
              </a:defRPr>
            </a:lvl1pPr>
            <a:lvl2pPr marL="0" indent="0">
              <a:spcAft>
                <a:spcPts val="1200"/>
              </a:spcAft>
              <a:buFontTx/>
              <a:buNone/>
              <a:tabLst>
                <a:tab pos="542925" algn="l"/>
              </a:tabLst>
              <a:defRPr sz="1200" b="0">
                <a:solidFill>
                  <a:schemeClr val="accent1"/>
                </a:solidFill>
              </a:defRPr>
            </a:lvl2pPr>
            <a:lvl3pPr marL="0" indent="0">
              <a:spcAft>
                <a:spcPts val="1200"/>
              </a:spcAft>
              <a:buFontTx/>
              <a:buNone/>
              <a:tabLst>
                <a:tab pos="542925" algn="l"/>
              </a:tabLst>
              <a:defRPr sz="1200">
                <a:solidFill>
                  <a:schemeClr val="tx1"/>
                </a:solidFill>
              </a:defRPr>
            </a:lvl3pPr>
            <a:lvl4pPr marL="0" indent="0">
              <a:spcAft>
                <a:spcPts val="1200"/>
              </a:spcAft>
              <a:buFontTx/>
              <a:buNone/>
              <a:tabLst>
                <a:tab pos="542925" algn="l"/>
              </a:tabLst>
              <a:defRPr sz="1200">
                <a:solidFill>
                  <a:schemeClr val="tx1"/>
                </a:solidFill>
              </a:defRPr>
            </a:lvl4pPr>
            <a:lvl5pPr marL="0" indent="0">
              <a:spcAft>
                <a:spcPts val="1200"/>
              </a:spcAft>
              <a:buFontTx/>
              <a:buNone/>
              <a:tabLst>
                <a:tab pos="542925" algn="l"/>
              </a:tabLst>
              <a:defRPr sz="1200">
                <a:solidFill>
                  <a:schemeClr val="tx1"/>
                </a:solidFill>
              </a:defRPr>
            </a:lvl5pPr>
            <a:lvl6pPr marL="0" indent="0">
              <a:spcAft>
                <a:spcPts val="1200"/>
              </a:spcAft>
              <a:buFontTx/>
              <a:buNone/>
              <a:tabLst>
                <a:tab pos="623888" algn="l"/>
              </a:tabLst>
              <a:defRPr sz="1200">
                <a:solidFill>
                  <a:schemeClr val="tx1"/>
                </a:solidFill>
              </a:defRPr>
            </a:lvl6pPr>
            <a:lvl7pPr marL="0" indent="0">
              <a:spcAft>
                <a:spcPts val="1200"/>
              </a:spcAft>
              <a:buFontTx/>
              <a:buNone/>
              <a:tabLst>
                <a:tab pos="542925" algn="l"/>
              </a:tabLst>
              <a:defRPr sz="1200">
                <a:solidFill>
                  <a:schemeClr val="tx1"/>
                </a:solidFill>
              </a:defRPr>
            </a:lvl7pPr>
            <a:lvl8pPr marL="0" indent="0">
              <a:spcAft>
                <a:spcPts val="1200"/>
              </a:spcAft>
              <a:buFontTx/>
              <a:buNone/>
              <a:tabLst>
                <a:tab pos="542925" algn="l"/>
              </a:tabLst>
              <a:defRPr sz="1200">
                <a:solidFill>
                  <a:schemeClr val="tx1"/>
                </a:solidFill>
              </a:defRPr>
            </a:lvl8pPr>
            <a:lvl9pPr marL="0" indent="0">
              <a:spcAft>
                <a:spcPts val="1200"/>
              </a:spcAft>
              <a:buFontTx/>
              <a:buNone/>
              <a:tabLst>
                <a:tab pos="542925" algn="l"/>
              </a:tabLst>
              <a:defRPr sz="12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7" name="Text Placeholder 11">
            <a:extLst>
              <a:ext uri="{FF2B5EF4-FFF2-40B4-BE49-F238E27FC236}">
                <a16:creationId xmlns:a16="http://schemas.microsoft.com/office/drawing/2014/main" id="{797CE1B8-2B93-45C0-8A35-3A842D1DFB3F}"/>
              </a:ext>
            </a:extLst>
          </p:cNvPr>
          <p:cNvSpPr>
            <a:spLocks noGrp="1"/>
          </p:cNvSpPr>
          <p:nvPr>
            <p:ph type="body" sz="quarter" idx="31" hasCustomPrompt="1"/>
          </p:nvPr>
        </p:nvSpPr>
        <p:spPr bwMode="gray">
          <a:xfrm>
            <a:off x="3395700" y="1484809"/>
            <a:ext cx="2592000" cy="2088000"/>
          </a:xfrm>
        </p:spPr>
        <p:txBody>
          <a:bodyPr/>
          <a:lstStyle>
            <a:lvl1pPr>
              <a:spcAft>
                <a:spcPts val="0"/>
              </a:spcAft>
              <a:tabLst>
                <a:tab pos="542925" algn="l"/>
              </a:tabLst>
              <a:defRPr sz="1200" b="1">
                <a:solidFill>
                  <a:schemeClr val="tx1"/>
                </a:solidFill>
              </a:defRPr>
            </a:lvl1pPr>
            <a:lvl2pPr marL="0" indent="0">
              <a:spcAft>
                <a:spcPts val="1200"/>
              </a:spcAft>
              <a:buFontTx/>
              <a:buNone/>
              <a:tabLst>
                <a:tab pos="542925" algn="l"/>
              </a:tabLst>
              <a:defRPr sz="1200" b="0">
                <a:solidFill>
                  <a:schemeClr val="accent1"/>
                </a:solidFill>
              </a:defRPr>
            </a:lvl2pPr>
            <a:lvl3pPr marL="0" indent="0">
              <a:spcAft>
                <a:spcPts val="1200"/>
              </a:spcAft>
              <a:buFontTx/>
              <a:buNone/>
              <a:tabLst>
                <a:tab pos="542925" algn="l"/>
              </a:tabLst>
              <a:defRPr sz="1200">
                <a:solidFill>
                  <a:schemeClr val="tx1"/>
                </a:solidFill>
              </a:defRPr>
            </a:lvl3pPr>
            <a:lvl4pPr marL="0" indent="0">
              <a:spcAft>
                <a:spcPts val="1200"/>
              </a:spcAft>
              <a:buFontTx/>
              <a:buNone/>
              <a:tabLst>
                <a:tab pos="542925" algn="l"/>
              </a:tabLst>
              <a:defRPr sz="1200">
                <a:solidFill>
                  <a:schemeClr val="tx1"/>
                </a:solidFill>
              </a:defRPr>
            </a:lvl4pPr>
            <a:lvl5pPr marL="0" indent="0">
              <a:spcAft>
                <a:spcPts val="1200"/>
              </a:spcAft>
              <a:buFontTx/>
              <a:buNone/>
              <a:tabLst>
                <a:tab pos="542925" algn="l"/>
              </a:tabLst>
              <a:defRPr sz="1200">
                <a:solidFill>
                  <a:schemeClr val="tx1"/>
                </a:solidFill>
              </a:defRPr>
            </a:lvl5pPr>
            <a:lvl6pPr marL="0" indent="0">
              <a:spcAft>
                <a:spcPts val="1200"/>
              </a:spcAft>
              <a:buFontTx/>
              <a:buNone/>
              <a:tabLst>
                <a:tab pos="623888" algn="l"/>
              </a:tabLst>
              <a:defRPr sz="1200">
                <a:solidFill>
                  <a:schemeClr val="tx1"/>
                </a:solidFill>
              </a:defRPr>
            </a:lvl6pPr>
            <a:lvl7pPr marL="0" indent="0">
              <a:spcAft>
                <a:spcPts val="1200"/>
              </a:spcAft>
              <a:buFontTx/>
              <a:buNone/>
              <a:tabLst>
                <a:tab pos="542925" algn="l"/>
              </a:tabLst>
              <a:defRPr sz="1200">
                <a:solidFill>
                  <a:schemeClr val="tx1"/>
                </a:solidFill>
              </a:defRPr>
            </a:lvl7pPr>
            <a:lvl8pPr marL="0" indent="0">
              <a:spcAft>
                <a:spcPts val="1200"/>
              </a:spcAft>
              <a:buFontTx/>
              <a:buNone/>
              <a:tabLst>
                <a:tab pos="542925" algn="l"/>
              </a:tabLst>
              <a:defRPr sz="1200">
                <a:solidFill>
                  <a:schemeClr val="tx1"/>
                </a:solidFill>
              </a:defRPr>
            </a:lvl8pPr>
            <a:lvl9pPr marL="0" indent="0">
              <a:spcAft>
                <a:spcPts val="1200"/>
              </a:spcAft>
              <a:buFontTx/>
              <a:buNone/>
              <a:tabLst>
                <a:tab pos="542925" algn="l"/>
              </a:tabLst>
              <a:defRPr sz="12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8" name="Text Placeholder 11">
            <a:extLst>
              <a:ext uri="{FF2B5EF4-FFF2-40B4-BE49-F238E27FC236}">
                <a16:creationId xmlns:a16="http://schemas.microsoft.com/office/drawing/2014/main" id="{41D846FD-B215-4B9D-82E7-8B832F163495}"/>
              </a:ext>
            </a:extLst>
          </p:cNvPr>
          <p:cNvSpPr>
            <a:spLocks noGrp="1"/>
          </p:cNvSpPr>
          <p:nvPr>
            <p:ph type="body" sz="quarter" idx="32" hasCustomPrompt="1"/>
          </p:nvPr>
        </p:nvSpPr>
        <p:spPr bwMode="gray">
          <a:xfrm>
            <a:off x="6204012" y="1484834"/>
            <a:ext cx="2592000" cy="2088000"/>
          </a:xfrm>
        </p:spPr>
        <p:txBody>
          <a:bodyPr/>
          <a:lstStyle>
            <a:lvl1pPr>
              <a:spcAft>
                <a:spcPts val="0"/>
              </a:spcAft>
              <a:tabLst>
                <a:tab pos="542925" algn="l"/>
              </a:tabLst>
              <a:defRPr sz="1200" b="1">
                <a:solidFill>
                  <a:schemeClr val="tx1"/>
                </a:solidFill>
              </a:defRPr>
            </a:lvl1pPr>
            <a:lvl2pPr marL="0" indent="0">
              <a:spcAft>
                <a:spcPts val="1200"/>
              </a:spcAft>
              <a:buFontTx/>
              <a:buNone/>
              <a:tabLst>
                <a:tab pos="542925" algn="l"/>
              </a:tabLst>
              <a:defRPr sz="1200" b="0">
                <a:solidFill>
                  <a:schemeClr val="accent1"/>
                </a:solidFill>
              </a:defRPr>
            </a:lvl2pPr>
            <a:lvl3pPr marL="0" indent="0">
              <a:spcAft>
                <a:spcPts val="1200"/>
              </a:spcAft>
              <a:buFontTx/>
              <a:buNone/>
              <a:tabLst>
                <a:tab pos="542925" algn="l"/>
              </a:tabLst>
              <a:defRPr sz="1200">
                <a:solidFill>
                  <a:schemeClr val="tx1"/>
                </a:solidFill>
              </a:defRPr>
            </a:lvl3pPr>
            <a:lvl4pPr marL="0" indent="0">
              <a:spcAft>
                <a:spcPts val="1200"/>
              </a:spcAft>
              <a:buFontTx/>
              <a:buNone/>
              <a:tabLst>
                <a:tab pos="542925" algn="l"/>
              </a:tabLst>
              <a:defRPr sz="1200">
                <a:solidFill>
                  <a:schemeClr val="tx1"/>
                </a:solidFill>
              </a:defRPr>
            </a:lvl4pPr>
            <a:lvl5pPr marL="0" indent="0">
              <a:spcAft>
                <a:spcPts val="1200"/>
              </a:spcAft>
              <a:buFontTx/>
              <a:buNone/>
              <a:tabLst>
                <a:tab pos="542925" algn="l"/>
              </a:tabLst>
              <a:defRPr sz="1200">
                <a:solidFill>
                  <a:schemeClr val="tx1"/>
                </a:solidFill>
              </a:defRPr>
            </a:lvl5pPr>
            <a:lvl6pPr marL="0" indent="0">
              <a:spcAft>
                <a:spcPts val="1200"/>
              </a:spcAft>
              <a:buFontTx/>
              <a:buNone/>
              <a:tabLst>
                <a:tab pos="623888" algn="l"/>
              </a:tabLst>
              <a:defRPr sz="1200">
                <a:solidFill>
                  <a:schemeClr val="tx1"/>
                </a:solidFill>
              </a:defRPr>
            </a:lvl6pPr>
            <a:lvl7pPr marL="0" indent="0">
              <a:spcAft>
                <a:spcPts val="1200"/>
              </a:spcAft>
              <a:buFontTx/>
              <a:buNone/>
              <a:tabLst>
                <a:tab pos="542925" algn="l"/>
              </a:tabLst>
              <a:defRPr sz="1200">
                <a:solidFill>
                  <a:schemeClr val="tx1"/>
                </a:solidFill>
              </a:defRPr>
            </a:lvl7pPr>
            <a:lvl8pPr marL="0" indent="0">
              <a:spcAft>
                <a:spcPts val="1200"/>
              </a:spcAft>
              <a:buFontTx/>
              <a:buNone/>
              <a:tabLst>
                <a:tab pos="542925" algn="l"/>
              </a:tabLst>
              <a:defRPr sz="1200">
                <a:solidFill>
                  <a:schemeClr val="tx1"/>
                </a:solidFill>
              </a:defRPr>
            </a:lvl8pPr>
            <a:lvl9pPr marL="0" indent="0">
              <a:spcAft>
                <a:spcPts val="1200"/>
              </a:spcAft>
              <a:buFontTx/>
              <a:buNone/>
              <a:tabLst>
                <a:tab pos="542925" algn="l"/>
              </a:tabLst>
              <a:defRPr sz="12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9" name="Text Placeholder 11">
            <a:extLst>
              <a:ext uri="{FF2B5EF4-FFF2-40B4-BE49-F238E27FC236}">
                <a16:creationId xmlns:a16="http://schemas.microsoft.com/office/drawing/2014/main" id="{E9F48218-7F0A-4A67-BE5A-A7F3A870AF16}"/>
              </a:ext>
            </a:extLst>
          </p:cNvPr>
          <p:cNvSpPr>
            <a:spLocks noGrp="1"/>
          </p:cNvSpPr>
          <p:nvPr>
            <p:ph type="body" sz="quarter" idx="33" hasCustomPrompt="1"/>
          </p:nvPr>
        </p:nvSpPr>
        <p:spPr bwMode="gray">
          <a:xfrm>
            <a:off x="9012324" y="1484859"/>
            <a:ext cx="2592000" cy="2088000"/>
          </a:xfrm>
        </p:spPr>
        <p:txBody>
          <a:bodyPr/>
          <a:lstStyle>
            <a:lvl1pPr>
              <a:spcAft>
                <a:spcPts val="0"/>
              </a:spcAft>
              <a:tabLst>
                <a:tab pos="542925" algn="l"/>
              </a:tabLst>
              <a:defRPr sz="1200" b="1">
                <a:solidFill>
                  <a:schemeClr val="tx1"/>
                </a:solidFill>
              </a:defRPr>
            </a:lvl1pPr>
            <a:lvl2pPr marL="0" indent="0">
              <a:spcAft>
                <a:spcPts val="1200"/>
              </a:spcAft>
              <a:buFontTx/>
              <a:buNone/>
              <a:tabLst>
                <a:tab pos="542925" algn="l"/>
              </a:tabLst>
              <a:defRPr sz="1200" b="0">
                <a:solidFill>
                  <a:schemeClr val="accent1"/>
                </a:solidFill>
              </a:defRPr>
            </a:lvl2pPr>
            <a:lvl3pPr marL="0" indent="0">
              <a:spcAft>
                <a:spcPts val="1200"/>
              </a:spcAft>
              <a:buFontTx/>
              <a:buNone/>
              <a:tabLst>
                <a:tab pos="542925" algn="l"/>
              </a:tabLst>
              <a:defRPr sz="1200">
                <a:solidFill>
                  <a:schemeClr val="tx1"/>
                </a:solidFill>
              </a:defRPr>
            </a:lvl3pPr>
            <a:lvl4pPr marL="0" indent="0">
              <a:spcAft>
                <a:spcPts val="1200"/>
              </a:spcAft>
              <a:buFontTx/>
              <a:buNone/>
              <a:tabLst>
                <a:tab pos="542925" algn="l"/>
              </a:tabLst>
              <a:defRPr sz="1200">
                <a:solidFill>
                  <a:schemeClr val="tx1"/>
                </a:solidFill>
              </a:defRPr>
            </a:lvl4pPr>
            <a:lvl5pPr marL="0" indent="0">
              <a:spcAft>
                <a:spcPts val="1200"/>
              </a:spcAft>
              <a:buFontTx/>
              <a:buNone/>
              <a:tabLst>
                <a:tab pos="542925" algn="l"/>
              </a:tabLst>
              <a:defRPr sz="1200">
                <a:solidFill>
                  <a:schemeClr val="tx1"/>
                </a:solidFill>
              </a:defRPr>
            </a:lvl5pPr>
            <a:lvl6pPr marL="0" indent="0">
              <a:spcAft>
                <a:spcPts val="1200"/>
              </a:spcAft>
              <a:buFontTx/>
              <a:buNone/>
              <a:tabLst>
                <a:tab pos="623888" algn="l"/>
              </a:tabLst>
              <a:defRPr sz="1200">
                <a:solidFill>
                  <a:schemeClr val="tx1"/>
                </a:solidFill>
              </a:defRPr>
            </a:lvl6pPr>
            <a:lvl7pPr marL="0" indent="0">
              <a:spcAft>
                <a:spcPts val="1200"/>
              </a:spcAft>
              <a:buFontTx/>
              <a:buNone/>
              <a:tabLst>
                <a:tab pos="542925" algn="l"/>
              </a:tabLst>
              <a:defRPr sz="1200">
                <a:solidFill>
                  <a:schemeClr val="tx1"/>
                </a:solidFill>
              </a:defRPr>
            </a:lvl7pPr>
            <a:lvl8pPr marL="0" indent="0">
              <a:spcAft>
                <a:spcPts val="1200"/>
              </a:spcAft>
              <a:buFontTx/>
              <a:buNone/>
              <a:tabLst>
                <a:tab pos="542925" algn="l"/>
              </a:tabLst>
              <a:defRPr sz="1200">
                <a:solidFill>
                  <a:schemeClr val="tx1"/>
                </a:solidFill>
              </a:defRPr>
            </a:lvl8pPr>
            <a:lvl9pPr marL="0" indent="0">
              <a:spcAft>
                <a:spcPts val="1200"/>
              </a:spcAft>
              <a:buFontTx/>
              <a:buNone/>
              <a:tabLst>
                <a:tab pos="542925" algn="l"/>
              </a:tabLst>
              <a:defRPr sz="12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6"/>
            <a:endParaRPr lang="en-GB" noProof="0"/>
          </a:p>
        </p:txBody>
      </p:sp>
      <p:sp>
        <p:nvSpPr>
          <p:cNvPr id="64" name="Text Placeholder 11">
            <a:extLst>
              <a:ext uri="{FF2B5EF4-FFF2-40B4-BE49-F238E27FC236}">
                <a16:creationId xmlns:a16="http://schemas.microsoft.com/office/drawing/2014/main" id="{BCDEAB69-53DB-41BD-9D36-2DD288423A95}"/>
              </a:ext>
            </a:extLst>
          </p:cNvPr>
          <p:cNvSpPr>
            <a:spLocks noGrp="1"/>
          </p:cNvSpPr>
          <p:nvPr>
            <p:ph type="body" sz="quarter" idx="34" hasCustomPrompt="1"/>
          </p:nvPr>
        </p:nvSpPr>
        <p:spPr bwMode="gray">
          <a:xfrm>
            <a:off x="587388" y="4041209"/>
            <a:ext cx="2592000" cy="2088000"/>
          </a:xfrm>
        </p:spPr>
        <p:txBody>
          <a:bodyPr/>
          <a:lstStyle>
            <a:lvl1pPr>
              <a:spcAft>
                <a:spcPts val="0"/>
              </a:spcAft>
              <a:tabLst>
                <a:tab pos="542925" algn="l"/>
              </a:tabLst>
              <a:defRPr sz="1200" b="1">
                <a:solidFill>
                  <a:schemeClr val="tx1"/>
                </a:solidFill>
              </a:defRPr>
            </a:lvl1pPr>
            <a:lvl2pPr marL="0" indent="0">
              <a:spcAft>
                <a:spcPts val="1200"/>
              </a:spcAft>
              <a:buFontTx/>
              <a:buNone/>
              <a:tabLst>
                <a:tab pos="542925" algn="l"/>
              </a:tabLst>
              <a:defRPr sz="1200" b="0">
                <a:solidFill>
                  <a:schemeClr val="accent1"/>
                </a:solidFill>
              </a:defRPr>
            </a:lvl2pPr>
            <a:lvl3pPr marL="0" indent="0">
              <a:spcAft>
                <a:spcPts val="1200"/>
              </a:spcAft>
              <a:buFontTx/>
              <a:buNone/>
              <a:tabLst>
                <a:tab pos="542925" algn="l"/>
              </a:tabLst>
              <a:defRPr sz="1200">
                <a:solidFill>
                  <a:schemeClr val="tx1"/>
                </a:solidFill>
              </a:defRPr>
            </a:lvl3pPr>
            <a:lvl4pPr marL="0" indent="0">
              <a:spcAft>
                <a:spcPts val="1200"/>
              </a:spcAft>
              <a:buFontTx/>
              <a:buNone/>
              <a:tabLst>
                <a:tab pos="542925" algn="l"/>
              </a:tabLst>
              <a:defRPr sz="1200">
                <a:solidFill>
                  <a:schemeClr val="tx1"/>
                </a:solidFill>
              </a:defRPr>
            </a:lvl4pPr>
            <a:lvl5pPr marL="0" indent="0">
              <a:spcAft>
                <a:spcPts val="1200"/>
              </a:spcAft>
              <a:buFontTx/>
              <a:buNone/>
              <a:tabLst>
                <a:tab pos="542925" algn="l"/>
              </a:tabLst>
              <a:defRPr sz="1200">
                <a:solidFill>
                  <a:schemeClr val="tx1"/>
                </a:solidFill>
              </a:defRPr>
            </a:lvl5pPr>
            <a:lvl6pPr marL="0" indent="0">
              <a:spcAft>
                <a:spcPts val="1200"/>
              </a:spcAft>
              <a:buFontTx/>
              <a:buNone/>
              <a:tabLst>
                <a:tab pos="623888" algn="l"/>
              </a:tabLst>
              <a:defRPr sz="1200">
                <a:solidFill>
                  <a:schemeClr val="tx1"/>
                </a:solidFill>
              </a:defRPr>
            </a:lvl6pPr>
            <a:lvl7pPr marL="0" indent="0">
              <a:spcAft>
                <a:spcPts val="1200"/>
              </a:spcAft>
              <a:buFontTx/>
              <a:buNone/>
              <a:tabLst>
                <a:tab pos="542925" algn="l"/>
              </a:tabLst>
              <a:defRPr sz="1200">
                <a:solidFill>
                  <a:schemeClr val="tx1"/>
                </a:solidFill>
              </a:defRPr>
            </a:lvl7pPr>
            <a:lvl8pPr marL="0" indent="0">
              <a:spcAft>
                <a:spcPts val="1200"/>
              </a:spcAft>
              <a:buFontTx/>
              <a:buNone/>
              <a:tabLst>
                <a:tab pos="542925" algn="l"/>
              </a:tabLst>
              <a:defRPr sz="1200">
                <a:solidFill>
                  <a:schemeClr val="tx1"/>
                </a:solidFill>
              </a:defRPr>
            </a:lvl8pPr>
            <a:lvl9pPr marL="0" indent="0">
              <a:spcAft>
                <a:spcPts val="1200"/>
              </a:spcAft>
              <a:buFontTx/>
              <a:buNone/>
              <a:tabLst>
                <a:tab pos="542925" algn="l"/>
              </a:tabLst>
              <a:defRPr sz="12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5" name="Text Placeholder 11">
            <a:extLst>
              <a:ext uri="{FF2B5EF4-FFF2-40B4-BE49-F238E27FC236}">
                <a16:creationId xmlns:a16="http://schemas.microsoft.com/office/drawing/2014/main" id="{0A5CD25A-0DD9-494E-AE9C-AFD959E1017B}"/>
              </a:ext>
            </a:extLst>
          </p:cNvPr>
          <p:cNvSpPr>
            <a:spLocks noGrp="1"/>
          </p:cNvSpPr>
          <p:nvPr>
            <p:ph type="body" sz="quarter" idx="35" hasCustomPrompt="1"/>
          </p:nvPr>
        </p:nvSpPr>
        <p:spPr bwMode="gray">
          <a:xfrm>
            <a:off x="3395700" y="4041234"/>
            <a:ext cx="2592000" cy="2088000"/>
          </a:xfrm>
        </p:spPr>
        <p:txBody>
          <a:bodyPr/>
          <a:lstStyle>
            <a:lvl1pPr>
              <a:spcAft>
                <a:spcPts val="0"/>
              </a:spcAft>
              <a:tabLst>
                <a:tab pos="542925" algn="l"/>
              </a:tabLst>
              <a:defRPr sz="1200" b="1">
                <a:solidFill>
                  <a:schemeClr val="tx1"/>
                </a:solidFill>
              </a:defRPr>
            </a:lvl1pPr>
            <a:lvl2pPr marL="0" indent="0">
              <a:spcAft>
                <a:spcPts val="1200"/>
              </a:spcAft>
              <a:buFontTx/>
              <a:buNone/>
              <a:tabLst>
                <a:tab pos="542925" algn="l"/>
              </a:tabLst>
              <a:defRPr sz="1200" b="0">
                <a:solidFill>
                  <a:schemeClr val="accent1"/>
                </a:solidFill>
              </a:defRPr>
            </a:lvl2pPr>
            <a:lvl3pPr marL="0" indent="0">
              <a:spcAft>
                <a:spcPts val="1200"/>
              </a:spcAft>
              <a:buFontTx/>
              <a:buNone/>
              <a:tabLst>
                <a:tab pos="542925" algn="l"/>
              </a:tabLst>
              <a:defRPr sz="1200">
                <a:solidFill>
                  <a:schemeClr val="tx1"/>
                </a:solidFill>
              </a:defRPr>
            </a:lvl3pPr>
            <a:lvl4pPr marL="0" indent="0">
              <a:spcAft>
                <a:spcPts val="1200"/>
              </a:spcAft>
              <a:buFontTx/>
              <a:buNone/>
              <a:tabLst>
                <a:tab pos="542925" algn="l"/>
              </a:tabLst>
              <a:defRPr sz="1200">
                <a:solidFill>
                  <a:schemeClr val="tx1"/>
                </a:solidFill>
              </a:defRPr>
            </a:lvl4pPr>
            <a:lvl5pPr marL="0" indent="0">
              <a:spcAft>
                <a:spcPts val="1200"/>
              </a:spcAft>
              <a:buFontTx/>
              <a:buNone/>
              <a:tabLst>
                <a:tab pos="542925" algn="l"/>
              </a:tabLst>
              <a:defRPr sz="1200">
                <a:solidFill>
                  <a:schemeClr val="tx1"/>
                </a:solidFill>
              </a:defRPr>
            </a:lvl5pPr>
            <a:lvl6pPr marL="0" indent="0">
              <a:spcAft>
                <a:spcPts val="1200"/>
              </a:spcAft>
              <a:buFontTx/>
              <a:buNone/>
              <a:tabLst>
                <a:tab pos="623888" algn="l"/>
              </a:tabLst>
              <a:defRPr sz="1200">
                <a:solidFill>
                  <a:schemeClr val="tx1"/>
                </a:solidFill>
              </a:defRPr>
            </a:lvl6pPr>
            <a:lvl7pPr marL="0" indent="0">
              <a:spcAft>
                <a:spcPts val="1200"/>
              </a:spcAft>
              <a:buFontTx/>
              <a:buNone/>
              <a:tabLst>
                <a:tab pos="542925" algn="l"/>
              </a:tabLst>
              <a:defRPr sz="1200">
                <a:solidFill>
                  <a:schemeClr val="tx1"/>
                </a:solidFill>
              </a:defRPr>
            </a:lvl7pPr>
            <a:lvl8pPr marL="0" indent="0">
              <a:spcAft>
                <a:spcPts val="1200"/>
              </a:spcAft>
              <a:buFontTx/>
              <a:buNone/>
              <a:tabLst>
                <a:tab pos="542925" algn="l"/>
              </a:tabLst>
              <a:defRPr sz="1200">
                <a:solidFill>
                  <a:schemeClr val="tx1"/>
                </a:solidFill>
              </a:defRPr>
            </a:lvl8pPr>
            <a:lvl9pPr marL="0" indent="0">
              <a:spcAft>
                <a:spcPts val="1200"/>
              </a:spcAft>
              <a:buFontTx/>
              <a:buNone/>
              <a:tabLst>
                <a:tab pos="542925" algn="l"/>
              </a:tabLst>
              <a:defRPr sz="12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6" name="Text Placeholder 11">
            <a:extLst>
              <a:ext uri="{FF2B5EF4-FFF2-40B4-BE49-F238E27FC236}">
                <a16:creationId xmlns:a16="http://schemas.microsoft.com/office/drawing/2014/main" id="{E8A1B30F-757E-4AAF-A95E-E9B0D0FDD969}"/>
              </a:ext>
            </a:extLst>
          </p:cNvPr>
          <p:cNvSpPr>
            <a:spLocks noGrp="1"/>
          </p:cNvSpPr>
          <p:nvPr>
            <p:ph type="body" sz="quarter" idx="36" hasCustomPrompt="1"/>
          </p:nvPr>
        </p:nvSpPr>
        <p:spPr bwMode="gray">
          <a:xfrm>
            <a:off x="6204012" y="4041259"/>
            <a:ext cx="2592000" cy="2088000"/>
          </a:xfrm>
        </p:spPr>
        <p:txBody>
          <a:bodyPr/>
          <a:lstStyle>
            <a:lvl1pPr>
              <a:spcAft>
                <a:spcPts val="0"/>
              </a:spcAft>
              <a:tabLst>
                <a:tab pos="542925" algn="l"/>
              </a:tabLst>
              <a:defRPr sz="1200" b="1">
                <a:solidFill>
                  <a:schemeClr val="tx1"/>
                </a:solidFill>
              </a:defRPr>
            </a:lvl1pPr>
            <a:lvl2pPr marL="0" indent="0">
              <a:spcAft>
                <a:spcPts val="1200"/>
              </a:spcAft>
              <a:buFontTx/>
              <a:buNone/>
              <a:tabLst>
                <a:tab pos="542925" algn="l"/>
              </a:tabLst>
              <a:defRPr sz="1200" b="0">
                <a:solidFill>
                  <a:schemeClr val="accent1"/>
                </a:solidFill>
              </a:defRPr>
            </a:lvl2pPr>
            <a:lvl3pPr marL="0" indent="0">
              <a:spcAft>
                <a:spcPts val="1200"/>
              </a:spcAft>
              <a:buFontTx/>
              <a:buNone/>
              <a:tabLst>
                <a:tab pos="542925" algn="l"/>
              </a:tabLst>
              <a:defRPr sz="1200">
                <a:solidFill>
                  <a:schemeClr val="tx1"/>
                </a:solidFill>
              </a:defRPr>
            </a:lvl3pPr>
            <a:lvl4pPr marL="0" indent="0">
              <a:spcAft>
                <a:spcPts val="1200"/>
              </a:spcAft>
              <a:buFontTx/>
              <a:buNone/>
              <a:tabLst>
                <a:tab pos="542925" algn="l"/>
              </a:tabLst>
              <a:defRPr sz="1200">
                <a:solidFill>
                  <a:schemeClr val="tx1"/>
                </a:solidFill>
              </a:defRPr>
            </a:lvl4pPr>
            <a:lvl5pPr marL="0" indent="0">
              <a:spcAft>
                <a:spcPts val="1200"/>
              </a:spcAft>
              <a:buFontTx/>
              <a:buNone/>
              <a:tabLst>
                <a:tab pos="542925" algn="l"/>
              </a:tabLst>
              <a:defRPr sz="1200">
                <a:solidFill>
                  <a:schemeClr val="tx1"/>
                </a:solidFill>
              </a:defRPr>
            </a:lvl5pPr>
            <a:lvl6pPr marL="0" indent="0">
              <a:spcAft>
                <a:spcPts val="1200"/>
              </a:spcAft>
              <a:buFontTx/>
              <a:buNone/>
              <a:tabLst>
                <a:tab pos="623888" algn="l"/>
              </a:tabLst>
              <a:defRPr sz="1200">
                <a:solidFill>
                  <a:schemeClr val="tx1"/>
                </a:solidFill>
              </a:defRPr>
            </a:lvl6pPr>
            <a:lvl7pPr marL="0" indent="0">
              <a:spcAft>
                <a:spcPts val="1200"/>
              </a:spcAft>
              <a:buFontTx/>
              <a:buNone/>
              <a:tabLst>
                <a:tab pos="542925" algn="l"/>
              </a:tabLst>
              <a:defRPr sz="1200">
                <a:solidFill>
                  <a:schemeClr val="tx1"/>
                </a:solidFill>
              </a:defRPr>
            </a:lvl7pPr>
            <a:lvl8pPr marL="0" indent="0">
              <a:spcAft>
                <a:spcPts val="1200"/>
              </a:spcAft>
              <a:buFontTx/>
              <a:buNone/>
              <a:tabLst>
                <a:tab pos="542925" algn="l"/>
              </a:tabLst>
              <a:defRPr sz="1200">
                <a:solidFill>
                  <a:schemeClr val="tx1"/>
                </a:solidFill>
              </a:defRPr>
            </a:lvl8pPr>
            <a:lvl9pPr marL="0" indent="0">
              <a:spcAft>
                <a:spcPts val="1200"/>
              </a:spcAft>
              <a:buFontTx/>
              <a:buNone/>
              <a:tabLst>
                <a:tab pos="542925" algn="l"/>
              </a:tabLst>
              <a:defRPr sz="12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7" name="Text Placeholder 11">
            <a:extLst>
              <a:ext uri="{FF2B5EF4-FFF2-40B4-BE49-F238E27FC236}">
                <a16:creationId xmlns:a16="http://schemas.microsoft.com/office/drawing/2014/main" id="{99CF1FAE-CCF4-4690-9846-795DDD5114B5}"/>
              </a:ext>
            </a:extLst>
          </p:cNvPr>
          <p:cNvSpPr>
            <a:spLocks noGrp="1"/>
          </p:cNvSpPr>
          <p:nvPr>
            <p:ph type="body" sz="quarter" idx="37" hasCustomPrompt="1"/>
          </p:nvPr>
        </p:nvSpPr>
        <p:spPr bwMode="gray">
          <a:xfrm>
            <a:off x="9012324" y="4041284"/>
            <a:ext cx="2592000" cy="2088000"/>
          </a:xfrm>
        </p:spPr>
        <p:txBody>
          <a:bodyPr/>
          <a:lstStyle>
            <a:lvl1pPr>
              <a:spcAft>
                <a:spcPts val="0"/>
              </a:spcAft>
              <a:tabLst>
                <a:tab pos="542925" algn="l"/>
              </a:tabLst>
              <a:defRPr sz="1200" b="1">
                <a:solidFill>
                  <a:schemeClr val="tx1"/>
                </a:solidFill>
              </a:defRPr>
            </a:lvl1pPr>
            <a:lvl2pPr marL="0" indent="0">
              <a:spcAft>
                <a:spcPts val="1200"/>
              </a:spcAft>
              <a:buFontTx/>
              <a:buNone/>
              <a:tabLst>
                <a:tab pos="542925" algn="l"/>
              </a:tabLst>
              <a:defRPr sz="1200" b="0">
                <a:solidFill>
                  <a:schemeClr val="accent1"/>
                </a:solidFill>
              </a:defRPr>
            </a:lvl2pPr>
            <a:lvl3pPr marL="0" indent="0">
              <a:spcAft>
                <a:spcPts val="1200"/>
              </a:spcAft>
              <a:buFontTx/>
              <a:buNone/>
              <a:tabLst>
                <a:tab pos="542925" algn="l"/>
              </a:tabLst>
              <a:defRPr sz="1200">
                <a:solidFill>
                  <a:schemeClr val="tx1"/>
                </a:solidFill>
              </a:defRPr>
            </a:lvl3pPr>
            <a:lvl4pPr marL="0" indent="0">
              <a:spcAft>
                <a:spcPts val="1200"/>
              </a:spcAft>
              <a:buFontTx/>
              <a:buNone/>
              <a:tabLst>
                <a:tab pos="542925" algn="l"/>
              </a:tabLst>
              <a:defRPr sz="1200">
                <a:solidFill>
                  <a:schemeClr val="tx1"/>
                </a:solidFill>
              </a:defRPr>
            </a:lvl4pPr>
            <a:lvl5pPr marL="0" indent="0">
              <a:spcAft>
                <a:spcPts val="1200"/>
              </a:spcAft>
              <a:buFontTx/>
              <a:buNone/>
              <a:tabLst>
                <a:tab pos="542925" algn="l"/>
              </a:tabLst>
              <a:defRPr sz="1200">
                <a:solidFill>
                  <a:schemeClr val="tx1"/>
                </a:solidFill>
              </a:defRPr>
            </a:lvl5pPr>
            <a:lvl6pPr marL="0" indent="0">
              <a:spcAft>
                <a:spcPts val="1200"/>
              </a:spcAft>
              <a:buFontTx/>
              <a:buNone/>
              <a:tabLst>
                <a:tab pos="623888" algn="l"/>
              </a:tabLst>
              <a:defRPr sz="1200">
                <a:solidFill>
                  <a:schemeClr val="tx1"/>
                </a:solidFill>
              </a:defRPr>
            </a:lvl6pPr>
            <a:lvl7pPr marL="0" indent="0">
              <a:spcAft>
                <a:spcPts val="1200"/>
              </a:spcAft>
              <a:buFontTx/>
              <a:buNone/>
              <a:tabLst>
                <a:tab pos="542925" algn="l"/>
              </a:tabLst>
              <a:defRPr sz="1200">
                <a:solidFill>
                  <a:schemeClr val="tx1"/>
                </a:solidFill>
              </a:defRPr>
            </a:lvl7pPr>
            <a:lvl8pPr marL="0" indent="0">
              <a:spcAft>
                <a:spcPts val="1200"/>
              </a:spcAft>
              <a:buFontTx/>
              <a:buNone/>
              <a:tabLst>
                <a:tab pos="542925" algn="l"/>
              </a:tabLst>
              <a:defRPr sz="1200">
                <a:solidFill>
                  <a:schemeClr val="tx1"/>
                </a:solidFill>
              </a:defRPr>
            </a:lvl8pPr>
            <a:lvl9pPr marL="0" indent="0">
              <a:spcAft>
                <a:spcPts val="1200"/>
              </a:spcAft>
              <a:buFontTx/>
              <a:buNone/>
              <a:tabLst>
                <a:tab pos="542925" algn="l"/>
              </a:tabLst>
              <a:defRPr sz="12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6"/>
            <a:endParaRPr lang="en-GB" noProof="0"/>
          </a:p>
        </p:txBody>
      </p:sp>
      <p:sp>
        <p:nvSpPr>
          <p:cNvPr id="3" name="Datumsplatzhalter 2">
            <a:extLst>
              <a:ext uri="{FF2B5EF4-FFF2-40B4-BE49-F238E27FC236}">
                <a16:creationId xmlns:a16="http://schemas.microsoft.com/office/drawing/2014/main" id="{C9EDB3AE-B641-4061-8B21-63E4B215070F}"/>
              </a:ext>
            </a:extLst>
          </p:cNvPr>
          <p:cNvSpPr>
            <a:spLocks noGrp="1"/>
          </p:cNvSpPr>
          <p:nvPr>
            <p:ph type="dt" sz="half" idx="38"/>
          </p:nvPr>
        </p:nvSpPr>
        <p:spPr bwMode="gray"/>
        <p:txBody>
          <a:bodyPr/>
          <a:lstStyle/>
          <a:p>
            <a:endParaRPr lang="en-US"/>
          </a:p>
        </p:txBody>
      </p:sp>
      <p:sp>
        <p:nvSpPr>
          <p:cNvPr id="4" name="Fußzeilenplatzhalter 3">
            <a:extLst>
              <a:ext uri="{FF2B5EF4-FFF2-40B4-BE49-F238E27FC236}">
                <a16:creationId xmlns:a16="http://schemas.microsoft.com/office/drawing/2014/main" id="{BA8C0908-9F71-43F7-934C-1397264E6D73}"/>
              </a:ext>
            </a:extLst>
          </p:cNvPr>
          <p:cNvSpPr>
            <a:spLocks noGrp="1"/>
          </p:cNvSpPr>
          <p:nvPr>
            <p:ph type="ftr" sz="quarter" idx="39"/>
          </p:nvPr>
        </p:nvSpPr>
        <p:spPr bwMode="gray"/>
        <p:txBody>
          <a:bodyPr/>
          <a:lstStyle/>
          <a:p>
            <a:endParaRPr lang="en-US"/>
          </a:p>
        </p:txBody>
      </p:sp>
      <p:sp>
        <p:nvSpPr>
          <p:cNvPr id="6" name="Foliennummernplatzhalter 5">
            <a:extLst>
              <a:ext uri="{FF2B5EF4-FFF2-40B4-BE49-F238E27FC236}">
                <a16:creationId xmlns:a16="http://schemas.microsoft.com/office/drawing/2014/main" id="{0D1F0E2F-BFEC-48E3-BF96-A331862EE402}"/>
              </a:ext>
            </a:extLst>
          </p:cNvPr>
          <p:cNvSpPr>
            <a:spLocks noGrp="1"/>
          </p:cNvSpPr>
          <p:nvPr>
            <p:ph type="sldNum" sz="quarter" idx="40"/>
          </p:nvPr>
        </p:nvSpPr>
        <p:spPr bwMode="gray"/>
        <p:txBody>
          <a:bodyPr/>
          <a:lstStyle/>
          <a:p>
            <a:fld id="{BFCA3128-5B09-47E5-B47D-6F0CB7A5DE9F}" type="slidenum">
              <a:rPr lang="en-US"/>
              <a:t>‹#›</a:t>
            </a:fld>
            <a:endParaRPr lang="en-US"/>
          </a:p>
        </p:txBody>
      </p:sp>
    </p:spTree>
    <p:extLst>
      <p:ext uri="{BB962C8B-B14F-4D97-AF65-F5344CB8AC3E}">
        <p14:creationId xmlns:p14="http://schemas.microsoft.com/office/powerpoint/2010/main" val="1003506221"/>
      </p:ext>
    </p:extLst>
  </p:cSld>
  <p:clrMapOvr>
    <a:masterClrMapping/>
  </p:clrMapOvr>
  <p:extLst>
    <p:ext uri="{DCECCB84-F9BA-43D5-87BE-67443E8EF086}">
      <p15:sldGuideLst xmlns:p15="http://schemas.microsoft.com/office/powerpoint/2012/main">
        <p15:guide id="3" pos="3772">
          <p15:clr>
            <a:srgbClr val="F26B43"/>
          </p15:clr>
        </p15:guide>
        <p15:guide id="14" pos="370">
          <p15:clr>
            <a:srgbClr val="F26B43"/>
          </p15:clr>
        </p15:guide>
        <p15:guide id="15" pos="7310">
          <p15:clr>
            <a:srgbClr val="F26B43"/>
          </p15:clr>
        </p15:guide>
        <p15:guide id="16" pos="3908">
          <p15:clr>
            <a:srgbClr val="F26B43"/>
          </p15:clr>
        </p15:guide>
        <p15:guide id="17" orient="horz" pos="1071">
          <p15:clr>
            <a:srgbClr val="F26B43"/>
          </p15:clr>
        </p15:guide>
        <p15:guide id="18" orient="horz" pos="3861">
          <p15:clr>
            <a:srgbClr val="F26B43"/>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isclaimer | White">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FFC22F4-DBFC-4B88-9AE7-1E17DD970406}"/>
              </a:ext>
            </a:extLst>
          </p:cNvPr>
          <p:cNvGraphicFramePr>
            <a:graphicFrameLocks noChangeAspect="1"/>
          </p:cNvGraphicFramePr>
          <p:nvPr>
            <p:custDataLst>
              <p:tags r:id="rId2"/>
            </p:custDataLst>
            <p:extLst>
              <p:ext uri="{D42A27DB-BD31-4B8C-83A1-F6EECF244321}">
                <p14:modId xmlns:p14="http://schemas.microsoft.com/office/powerpoint/2010/main" val="630260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4" imgW="359" imgH="358" progId="TCLayout.ActiveDocument.1">
                  <p:embed/>
                </p:oleObj>
              </mc:Choice>
              <mc:Fallback>
                <p:oleObj name="think-cell Slide" r:id="rId4" imgW="359" imgH="358" progId="TCLayout.ActiveDocument.1">
                  <p:embed/>
                  <p:pic>
                    <p:nvPicPr>
                      <p:cNvPr id="3" name="Objekt 2" hidden="1">
                        <a:extLst>
                          <a:ext uri="{FF2B5EF4-FFF2-40B4-BE49-F238E27FC236}">
                            <a16:creationId xmlns:a16="http://schemas.microsoft.com/office/drawing/2014/main" id="{2FFC22F4-DBFC-4B88-9AE7-1E17DD9704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676713BB-6DEF-4943-8D41-279B0471E5FB}"/>
              </a:ext>
            </a:extLst>
          </p:cNvPr>
          <p:cNvSpPr>
            <a:spLocks noGrp="1"/>
          </p:cNvSpPr>
          <p:nvPr>
            <p:ph type="body" sz="quarter" idx="12" hasCustomPrompt="1"/>
          </p:nvPr>
        </p:nvSpPr>
        <p:spPr bwMode="gray">
          <a:xfrm>
            <a:off x="587376" y="1916113"/>
            <a:ext cx="11017250" cy="4213224"/>
          </a:xfrm>
        </p:spPr>
        <p:txBody>
          <a:bodyPr numCol="2" spcCol="432000"/>
          <a:lstStyle>
            <a:lvl1pPr>
              <a:lnSpc>
                <a:spcPct val="110000"/>
              </a:lnSpc>
              <a:defRPr sz="800" b="1">
                <a:solidFill>
                  <a:schemeClr val="tx1"/>
                </a:solidFill>
              </a:defRPr>
            </a:lvl1pPr>
            <a:lvl2pPr marL="0" indent="0">
              <a:lnSpc>
                <a:spcPct val="110000"/>
              </a:lnSpc>
              <a:spcAft>
                <a:spcPts val="400"/>
              </a:spcAft>
              <a:buFontTx/>
              <a:buNone/>
              <a:defRPr sz="800">
                <a:solidFill>
                  <a:schemeClr val="tx1"/>
                </a:solidFill>
              </a:defRPr>
            </a:lvl2pPr>
            <a:lvl3pPr marL="108000" indent="-108000">
              <a:lnSpc>
                <a:spcPct val="110000"/>
              </a:lnSpc>
              <a:spcAft>
                <a:spcPts val="400"/>
              </a:spcAft>
              <a:defRPr sz="800">
                <a:solidFill>
                  <a:schemeClr val="tx1"/>
                </a:solidFill>
              </a:defRPr>
            </a:lvl3pPr>
            <a:lvl4pPr marL="216000" indent="-108000">
              <a:lnSpc>
                <a:spcPct val="110000"/>
              </a:lnSpc>
              <a:spcAft>
                <a:spcPts val="400"/>
              </a:spcAft>
              <a:defRPr sz="800">
                <a:solidFill>
                  <a:schemeClr val="tx1"/>
                </a:solidFill>
              </a:defRPr>
            </a:lvl4pPr>
            <a:lvl5pPr marL="324000" indent="-108000">
              <a:lnSpc>
                <a:spcPct val="110000"/>
              </a:lnSpc>
              <a:spcAft>
                <a:spcPts val="400"/>
              </a:spcAft>
              <a:defRPr sz="800">
                <a:solidFill>
                  <a:schemeClr val="tx1"/>
                </a:solidFill>
              </a:defRPr>
            </a:lvl5pPr>
            <a:lvl6pPr marL="432000" indent="-108000">
              <a:lnSpc>
                <a:spcPct val="110000"/>
              </a:lnSpc>
              <a:spcAft>
                <a:spcPts val="400"/>
              </a:spcAft>
              <a:buFont typeface="Wingdings" panose="05000000000000000000" pitchFamily="2" charset="2"/>
              <a:buChar char="§"/>
              <a:defRPr sz="800">
                <a:solidFill>
                  <a:schemeClr val="tx1"/>
                </a:solidFill>
              </a:defRPr>
            </a:lvl6pPr>
            <a:lvl7pPr marL="432000" indent="-108000">
              <a:lnSpc>
                <a:spcPct val="110000"/>
              </a:lnSpc>
              <a:spcAft>
                <a:spcPts val="400"/>
              </a:spcAft>
              <a:defRPr sz="800">
                <a:solidFill>
                  <a:schemeClr val="tx1"/>
                </a:solidFill>
              </a:defRPr>
            </a:lvl7pPr>
            <a:lvl8pPr marL="432000" indent="-108000">
              <a:lnSpc>
                <a:spcPct val="110000"/>
              </a:lnSpc>
              <a:spcAft>
                <a:spcPts val="400"/>
              </a:spcAft>
              <a:defRPr sz="800">
                <a:solidFill>
                  <a:schemeClr val="tx1"/>
                </a:solidFill>
              </a:defRPr>
            </a:lvl8pPr>
            <a:lvl9pPr marL="432000" indent="-108000">
              <a:lnSpc>
                <a:spcPct val="110000"/>
              </a:lnSpc>
              <a:spcAft>
                <a:spcPts val="400"/>
              </a:spcAft>
              <a:defRPr sz="8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a:p>
            <a:pPr lvl="0"/>
            <a:endParaRPr lang="en-GB" noProof="0"/>
          </a:p>
        </p:txBody>
      </p:sp>
      <p:sp>
        <p:nvSpPr>
          <p:cNvPr id="6" name="Titel 5">
            <a:extLst>
              <a:ext uri="{FF2B5EF4-FFF2-40B4-BE49-F238E27FC236}">
                <a16:creationId xmlns:a16="http://schemas.microsoft.com/office/drawing/2014/main" id="{EA3474D0-42D7-4108-BB28-3A894871C132}"/>
              </a:ext>
            </a:extLst>
          </p:cNvPr>
          <p:cNvSpPr>
            <a:spLocks noGrp="1"/>
          </p:cNvSpPr>
          <p:nvPr>
            <p:ph type="title" hasCustomPrompt="1"/>
          </p:nvPr>
        </p:nvSpPr>
        <p:spPr bwMode="gray"/>
        <p:txBody>
          <a:bodyPr vert="horz"/>
          <a:lstStyle>
            <a:lvl1pPr>
              <a:defRPr/>
            </a:lvl1pPr>
          </a:lstStyle>
          <a:p>
            <a:r>
              <a:rPr lang="en-GB" noProof="0"/>
              <a:t>Disclaimer</a:t>
            </a:r>
          </a:p>
        </p:txBody>
      </p:sp>
      <p:sp>
        <p:nvSpPr>
          <p:cNvPr id="5" name="Datumsplatzhalter 4">
            <a:extLst>
              <a:ext uri="{FF2B5EF4-FFF2-40B4-BE49-F238E27FC236}">
                <a16:creationId xmlns:a16="http://schemas.microsoft.com/office/drawing/2014/main" id="{9A3423B9-9043-4ACE-837B-D85F06B747A7}"/>
              </a:ext>
            </a:extLst>
          </p:cNvPr>
          <p:cNvSpPr>
            <a:spLocks noGrp="1"/>
          </p:cNvSpPr>
          <p:nvPr>
            <p:ph type="dt" sz="half" idx="13"/>
          </p:nvPr>
        </p:nvSpPr>
        <p:spPr bwMode="gray"/>
        <p:txBody>
          <a:bodyPr/>
          <a:lstStyle/>
          <a:p>
            <a:endParaRPr lang="en-US"/>
          </a:p>
        </p:txBody>
      </p:sp>
      <p:sp>
        <p:nvSpPr>
          <p:cNvPr id="9" name="Fußzeilenplatzhalter 8">
            <a:extLst>
              <a:ext uri="{FF2B5EF4-FFF2-40B4-BE49-F238E27FC236}">
                <a16:creationId xmlns:a16="http://schemas.microsoft.com/office/drawing/2014/main" id="{473A93CA-DA9C-45DE-8427-78C9297CFDD6}"/>
              </a:ext>
            </a:extLst>
          </p:cNvPr>
          <p:cNvSpPr>
            <a:spLocks noGrp="1"/>
          </p:cNvSpPr>
          <p:nvPr>
            <p:ph type="ftr" sz="quarter" idx="14"/>
          </p:nvPr>
        </p:nvSpPr>
        <p:spPr bwMode="gray"/>
        <p:txBody>
          <a:bodyPr/>
          <a:lstStyle/>
          <a:p>
            <a:endParaRPr lang="en-US"/>
          </a:p>
        </p:txBody>
      </p:sp>
      <p:sp>
        <p:nvSpPr>
          <p:cNvPr id="10" name="Foliennummernplatzhalter 9">
            <a:extLst>
              <a:ext uri="{FF2B5EF4-FFF2-40B4-BE49-F238E27FC236}">
                <a16:creationId xmlns:a16="http://schemas.microsoft.com/office/drawing/2014/main" id="{6D2806F9-E0E2-44F1-B868-B91A0D0E1856}"/>
              </a:ext>
            </a:extLst>
          </p:cNvPr>
          <p:cNvSpPr>
            <a:spLocks noGrp="1"/>
          </p:cNvSpPr>
          <p:nvPr>
            <p:ph type="sldNum" sz="quarter" idx="15"/>
          </p:nvPr>
        </p:nvSpPr>
        <p:spPr bwMode="gray"/>
        <p:txBody>
          <a:bodyPr/>
          <a:lstStyle/>
          <a:p>
            <a:fld id="{BFCA3128-5B09-47E5-B47D-6F0CB7A5DE9F}" type="slidenum">
              <a:rPr lang="en-US"/>
              <a:t>‹#›</a:t>
            </a:fld>
            <a:endParaRPr lang="en-US"/>
          </a:p>
        </p:txBody>
      </p:sp>
    </p:spTree>
    <p:extLst>
      <p:ext uri="{BB962C8B-B14F-4D97-AF65-F5344CB8AC3E}">
        <p14:creationId xmlns:p14="http://schemas.microsoft.com/office/powerpoint/2010/main" val="2140035625"/>
      </p:ext>
    </p:extLst>
  </p:cSld>
  <p:clrMapOvr>
    <a:masterClrMapping/>
  </p:clrMapOvr>
  <p:extLst>
    <p:ext uri="{DCECCB84-F9BA-43D5-87BE-67443E8EF086}">
      <p15:sldGuideLst xmlns:p15="http://schemas.microsoft.com/office/powerpoint/2012/main">
        <p15:guide id="1" pos="370">
          <p15:clr>
            <a:srgbClr val="F26B43"/>
          </p15:clr>
        </p15:guide>
        <p15:guide id="3" orient="horz" pos="3861">
          <p15:clr>
            <a:srgbClr val="F26B43"/>
          </p15:clr>
        </p15:guide>
        <p15:guide id="4" orient="horz" pos="1071">
          <p15:clr>
            <a:srgbClr val="F26B43"/>
          </p15:clr>
        </p15:guide>
        <p15:guide id="5" pos="7310">
          <p15:clr>
            <a:srgbClr val="F26B43"/>
          </p15:clr>
        </p15:guide>
        <p15:guide id="6" pos="3772">
          <p15:clr>
            <a:srgbClr val="F26B43"/>
          </p15:clr>
        </p15:guide>
        <p15:guide id="7" pos="3908">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isclaimer | Colour">
    <p:bg>
      <p:bgPr>
        <a:solidFill>
          <a:schemeClr val="accent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6BAB18FD-2557-4F6F-BF48-60BACDF83AD9}"/>
              </a:ext>
            </a:extLst>
          </p:cNvPr>
          <p:cNvGraphicFramePr>
            <a:graphicFrameLocks noChangeAspect="1"/>
          </p:cNvGraphicFramePr>
          <p:nvPr>
            <p:custDataLst>
              <p:tags r:id="rId2"/>
            </p:custDataLst>
            <p:extLst>
              <p:ext uri="{D42A27DB-BD31-4B8C-83A1-F6EECF244321}">
                <p14:modId xmlns:p14="http://schemas.microsoft.com/office/powerpoint/2010/main" val="4108061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4" imgW="359" imgH="358" progId="TCLayout.ActiveDocument.1">
                  <p:embed/>
                </p:oleObj>
              </mc:Choice>
              <mc:Fallback>
                <p:oleObj name="think-cell Slide" r:id="rId4" imgW="359" imgH="358" progId="TCLayout.ActiveDocument.1">
                  <p:embed/>
                  <p:pic>
                    <p:nvPicPr>
                      <p:cNvPr id="2" name="Objekt 1" hidden="1">
                        <a:extLst>
                          <a:ext uri="{FF2B5EF4-FFF2-40B4-BE49-F238E27FC236}">
                            <a16:creationId xmlns:a16="http://schemas.microsoft.com/office/drawing/2014/main" id="{6BAB18FD-2557-4F6F-BF48-60BACDF83A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676713BB-6DEF-4943-8D41-279B0471E5FB}"/>
              </a:ext>
            </a:extLst>
          </p:cNvPr>
          <p:cNvSpPr>
            <a:spLocks noGrp="1"/>
          </p:cNvSpPr>
          <p:nvPr>
            <p:ph type="body" sz="quarter" idx="12" hasCustomPrompt="1"/>
          </p:nvPr>
        </p:nvSpPr>
        <p:spPr bwMode="gray">
          <a:xfrm>
            <a:off x="587376" y="1916113"/>
            <a:ext cx="11017250" cy="4213224"/>
          </a:xfrm>
        </p:spPr>
        <p:txBody>
          <a:bodyPr numCol="2" spcCol="432000"/>
          <a:lstStyle>
            <a:lvl1pPr>
              <a:defRPr sz="800" b="1">
                <a:solidFill>
                  <a:schemeClr val="tx1"/>
                </a:solidFill>
              </a:defRPr>
            </a:lvl1pPr>
            <a:lvl2pPr marL="0" indent="0">
              <a:spcAft>
                <a:spcPts val="400"/>
              </a:spcAft>
              <a:buFontTx/>
              <a:buNone/>
              <a:defRPr sz="800">
                <a:solidFill>
                  <a:schemeClr val="tx1"/>
                </a:solidFill>
              </a:defRPr>
            </a:lvl2pPr>
            <a:lvl3pPr marL="108000" indent="-108000">
              <a:spcAft>
                <a:spcPts val="400"/>
              </a:spcAft>
              <a:defRPr sz="800">
                <a:solidFill>
                  <a:schemeClr val="tx1"/>
                </a:solidFill>
              </a:defRPr>
            </a:lvl3pPr>
            <a:lvl4pPr marL="216000" indent="-108000">
              <a:spcAft>
                <a:spcPts val="400"/>
              </a:spcAft>
              <a:defRPr sz="800">
                <a:solidFill>
                  <a:schemeClr val="tx1"/>
                </a:solidFill>
              </a:defRPr>
            </a:lvl4pPr>
            <a:lvl5pPr marL="324000" indent="-108000">
              <a:spcAft>
                <a:spcPts val="400"/>
              </a:spcAft>
              <a:defRPr sz="800">
                <a:solidFill>
                  <a:schemeClr val="tx1"/>
                </a:solidFill>
              </a:defRPr>
            </a:lvl5pPr>
            <a:lvl6pPr marL="432000" indent="-108000">
              <a:spcAft>
                <a:spcPts val="400"/>
              </a:spcAft>
              <a:buFont typeface="Wingdings" panose="05000000000000000000" pitchFamily="2" charset="2"/>
              <a:buChar char="§"/>
              <a:defRPr sz="800">
                <a:solidFill>
                  <a:schemeClr val="tx1"/>
                </a:solidFill>
              </a:defRPr>
            </a:lvl6pPr>
            <a:lvl7pPr marL="432000" indent="-108000">
              <a:spcAft>
                <a:spcPts val="400"/>
              </a:spcAft>
              <a:defRPr sz="800">
                <a:solidFill>
                  <a:schemeClr val="tx1"/>
                </a:solidFill>
              </a:defRPr>
            </a:lvl7pPr>
            <a:lvl8pPr marL="432000" indent="-108000">
              <a:spcAft>
                <a:spcPts val="400"/>
              </a:spcAft>
              <a:defRPr sz="800">
                <a:solidFill>
                  <a:schemeClr val="tx1"/>
                </a:solidFill>
              </a:defRPr>
            </a:lvl8pPr>
            <a:lvl9pPr marL="432000" indent="-108000">
              <a:spcAft>
                <a:spcPts val="400"/>
              </a:spcAft>
              <a:defRPr sz="8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Titel 5">
            <a:extLst>
              <a:ext uri="{FF2B5EF4-FFF2-40B4-BE49-F238E27FC236}">
                <a16:creationId xmlns:a16="http://schemas.microsoft.com/office/drawing/2014/main" id="{EA3474D0-42D7-4108-BB28-3A894871C132}"/>
              </a:ext>
            </a:extLst>
          </p:cNvPr>
          <p:cNvSpPr>
            <a:spLocks noGrp="1"/>
          </p:cNvSpPr>
          <p:nvPr>
            <p:ph type="title" hasCustomPrompt="1"/>
          </p:nvPr>
        </p:nvSpPr>
        <p:spPr bwMode="gray"/>
        <p:txBody>
          <a:bodyPr vert="horz"/>
          <a:lstStyle>
            <a:lvl1pPr>
              <a:defRPr>
                <a:solidFill>
                  <a:schemeClr val="tx1"/>
                </a:solidFill>
              </a:defRPr>
            </a:lvl1pPr>
          </a:lstStyle>
          <a:p>
            <a:r>
              <a:rPr lang="en-GB" noProof="0"/>
              <a:t>Disclaimer</a:t>
            </a:r>
          </a:p>
        </p:txBody>
      </p:sp>
      <p:sp>
        <p:nvSpPr>
          <p:cNvPr id="3" name="Datumsplatzhalter 2">
            <a:extLst>
              <a:ext uri="{FF2B5EF4-FFF2-40B4-BE49-F238E27FC236}">
                <a16:creationId xmlns:a16="http://schemas.microsoft.com/office/drawing/2014/main" id="{4321931A-9137-494C-8BCE-8980E0B2ADE4}"/>
              </a:ext>
            </a:extLst>
          </p:cNvPr>
          <p:cNvSpPr>
            <a:spLocks noGrp="1"/>
          </p:cNvSpPr>
          <p:nvPr>
            <p:ph type="dt" sz="half" idx="13"/>
          </p:nvPr>
        </p:nvSpPr>
        <p:spPr bwMode="gray"/>
        <p:txBody>
          <a:bodyPr/>
          <a:lstStyle>
            <a:lvl1pPr>
              <a:defRPr>
                <a:solidFill>
                  <a:schemeClr val="tx1"/>
                </a:solidFill>
              </a:defRPr>
            </a:lvl1pPr>
          </a:lstStyle>
          <a:p>
            <a:endParaRPr lang="en-US"/>
          </a:p>
        </p:txBody>
      </p:sp>
      <p:sp>
        <p:nvSpPr>
          <p:cNvPr id="4" name="Fußzeilenplatzhalter 3">
            <a:extLst>
              <a:ext uri="{FF2B5EF4-FFF2-40B4-BE49-F238E27FC236}">
                <a16:creationId xmlns:a16="http://schemas.microsoft.com/office/drawing/2014/main" id="{7FF10BA4-FECB-4BD7-90FB-52B537E389E7}"/>
              </a:ext>
            </a:extLst>
          </p:cNvPr>
          <p:cNvSpPr>
            <a:spLocks noGrp="1"/>
          </p:cNvSpPr>
          <p:nvPr>
            <p:ph type="ftr" sz="quarter" idx="14"/>
          </p:nvPr>
        </p:nvSpPr>
        <p:spPr bwMode="gray">
          <a:xfrm>
            <a:off x="587388" y="6381352"/>
            <a:ext cx="1928413" cy="138499"/>
          </a:xfrm>
        </p:spPr>
        <p:txBody>
          <a:bodyPr/>
          <a:lstStyle>
            <a:lvl1pPr>
              <a:defRPr>
                <a:solidFill>
                  <a:schemeClr val="tx1"/>
                </a:solidFill>
              </a:defRPr>
            </a:lvl1pPr>
          </a:lstStyle>
          <a:p>
            <a:endParaRPr lang="en-US"/>
          </a:p>
        </p:txBody>
      </p:sp>
      <p:sp>
        <p:nvSpPr>
          <p:cNvPr id="5" name="Foliennummernplatzhalter 4">
            <a:extLst>
              <a:ext uri="{FF2B5EF4-FFF2-40B4-BE49-F238E27FC236}">
                <a16:creationId xmlns:a16="http://schemas.microsoft.com/office/drawing/2014/main" id="{E261C2A8-A340-48D3-BE8B-3EAF39322E02}"/>
              </a:ext>
            </a:extLst>
          </p:cNvPr>
          <p:cNvSpPr>
            <a:spLocks noGrp="1"/>
          </p:cNvSpPr>
          <p:nvPr>
            <p:ph type="sldNum" sz="quarter" idx="15"/>
          </p:nvPr>
        </p:nvSpPr>
        <p:spPr bwMode="gray"/>
        <p:txBody>
          <a:bodyPr/>
          <a:lstStyle>
            <a:lvl1pPr>
              <a:defRPr>
                <a:solidFill>
                  <a:schemeClr val="tx1"/>
                </a:solidFill>
              </a:defRPr>
            </a:lvl1pPr>
          </a:lstStyle>
          <a:p>
            <a:fld id="{BFCA3128-5B09-47E5-B47D-6F0CB7A5DE9F}" type="slidenum">
              <a:rPr lang="en-US"/>
              <a:t>‹#›</a:t>
            </a:fld>
            <a:endParaRPr lang="en-US"/>
          </a:p>
        </p:txBody>
      </p:sp>
    </p:spTree>
    <p:extLst>
      <p:ext uri="{BB962C8B-B14F-4D97-AF65-F5344CB8AC3E}">
        <p14:creationId xmlns:p14="http://schemas.microsoft.com/office/powerpoint/2010/main" val="39186687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70">
          <p15:clr>
            <a:srgbClr val="F26B43"/>
          </p15:clr>
        </p15:guide>
        <p15:guide id="3" orient="horz" pos="3861">
          <p15:clr>
            <a:srgbClr val="F26B43"/>
          </p15:clr>
        </p15:guide>
        <p15:guide id="4" orient="horz" pos="1071">
          <p15:clr>
            <a:srgbClr val="F26B43"/>
          </p15:clr>
        </p15:guide>
        <p15:guide id="5" pos="7310">
          <p15:clr>
            <a:srgbClr val="F26B43"/>
          </p15:clr>
        </p15:guide>
        <p15:guide id="6" pos="3772">
          <p15:clr>
            <a:srgbClr val="F26B43"/>
          </p15:clr>
        </p15:guide>
        <p15:guide id="7" pos="3908">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8146096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584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bwMode="gray"/>
        <p:txBody>
          <a:bodyPr/>
          <a:lstStyle>
            <a:lvl1pPr>
              <a:defRPr/>
            </a:lvl1pPr>
          </a:lstStyle>
          <a:p>
            <a:r>
              <a:rPr lang="en-US"/>
              <a:t>Click to edit Master title style</a:t>
            </a:r>
            <a:endParaRPr lang="en-GB"/>
          </a:p>
        </p:txBody>
      </p:sp>
      <p:sp>
        <p:nvSpPr>
          <p:cNvPr id="3" name="Content Placeholder 2"/>
          <p:cNvSpPr>
            <a:spLocks noGrp="1"/>
          </p:cNvSpPr>
          <p:nvPr>
            <p:ph idx="1"/>
          </p:nvPr>
        </p:nvSpPr>
        <p:spPr bwMode="gray">
          <a:xfrm>
            <a:off x="239350" y="1700809"/>
            <a:ext cx="11713301" cy="4525963"/>
          </a:xfrm>
        </p:spPr>
        <p:txBody>
          <a:bodyPr/>
          <a:lstStyle>
            <a:lvl2pPr marL="465750" indent="-285750">
              <a:defRPr lang="en-US" sz="1400" kern="0" baseline="0" dirty="0" smtClean="0">
                <a:solidFill>
                  <a:schemeClr val="tx1"/>
                </a:solidFill>
                <a:latin typeface="+mn-lt"/>
                <a:ea typeface="+mn-ea"/>
                <a:cs typeface="+mn-cs"/>
              </a:defRPr>
            </a:lvl2pPr>
            <a:lvl3pPr marL="645750" indent="-285750">
              <a:defRPr lang="en-US" sz="1400" kern="0" baseline="0" dirty="0" smtClean="0">
                <a:solidFill>
                  <a:schemeClr val="tx1"/>
                </a:solidFill>
                <a:latin typeface="+mn-lt"/>
                <a:ea typeface="+mn-ea"/>
                <a:cs typeface="+mn-cs"/>
              </a:defRPr>
            </a:lvl3pPr>
            <a:lvl4pPr marL="825750" indent="-285750">
              <a:defRPr lang="en-US" sz="1400" kern="0" baseline="0" dirty="0" smtClean="0">
                <a:solidFill>
                  <a:schemeClr val="tx1"/>
                </a:solidFill>
                <a:latin typeface="+mn-lt"/>
                <a:ea typeface="+mn-ea"/>
                <a:cs typeface="+mn-cs"/>
              </a:defRPr>
            </a:lvl4pPr>
          </a:lstStyle>
          <a:p>
            <a:pPr lvl="0"/>
            <a:r>
              <a:rPr lang="en-US"/>
              <a:t>Click to edit Master text styles</a:t>
            </a:r>
          </a:p>
          <a:p>
            <a:pPr marL="360000" lvl="1" indent="-180000" algn="l" defTabSz="914400" rtl="0" eaLnBrk="1" latinLnBrk="0" hangingPunct="1">
              <a:spcBef>
                <a:spcPts val="300"/>
              </a:spcBef>
              <a:buFont typeface="Arial" panose="020B0604020202020204" pitchFamily="34" charset="0"/>
              <a:buChar char="–"/>
            </a:pPr>
            <a:r>
              <a:rPr lang="en-US"/>
              <a:t>Second level</a:t>
            </a:r>
          </a:p>
          <a:p>
            <a:pPr marL="540000" lvl="2" indent="-180000" algn="l" defTabSz="914400" rtl="0" eaLnBrk="1" latinLnBrk="0" hangingPunct="1">
              <a:spcBef>
                <a:spcPts val="300"/>
              </a:spcBef>
              <a:buFont typeface="Arial" panose="020B0604020202020204" pitchFamily="34" charset="0"/>
              <a:buChar char="-"/>
            </a:pPr>
            <a:r>
              <a:rPr lang="en-US"/>
              <a:t>Third level</a:t>
            </a:r>
          </a:p>
          <a:p>
            <a:pPr marL="720000" lvl="3" indent="-180000" algn="l" defTabSz="914400" rtl="0" eaLnBrk="1" latinLnBrk="0" hangingPunct="1">
              <a:spcBef>
                <a:spcPts val="300"/>
              </a:spcBef>
              <a:buFont typeface="Arial" panose="020B0604020202020204" pitchFamily="34" charset="0"/>
              <a:buChar char="-"/>
            </a:pPr>
            <a:r>
              <a:rPr lang="en-US"/>
              <a:t>Fourth level</a:t>
            </a:r>
          </a:p>
        </p:txBody>
      </p:sp>
      <p:sp>
        <p:nvSpPr>
          <p:cNvPr id="7" name="Date Placeholder 3"/>
          <p:cNvSpPr>
            <a:spLocks noGrp="1"/>
          </p:cNvSpPr>
          <p:nvPr>
            <p:ph type="dt" sz="half" idx="2"/>
          </p:nvPr>
        </p:nvSpPr>
        <p:spPr bwMode="gray">
          <a:xfrm>
            <a:off x="4115296" y="183556"/>
            <a:ext cx="2844800" cy="365125"/>
          </a:xfrm>
          <a:prstGeom prst="rect">
            <a:avLst/>
          </a:prstGeom>
        </p:spPr>
        <p:txBody>
          <a:bodyPr vert="horz" lIns="91440" tIns="45720" rIns="91440" bIns="45720" rtlCol="0" anchor="ctr"/>
          <a:lstStyle>
            <a:lvl1pPr algn="l">
              <a:defRPr sz="1100">
                <a:solidFill>
                  <a:schemeClr val="tx1">
                    <a:tint val="75000"/>
                  </a:schemeClr>
                </a:solidFill>
                <a:latin typeface="Arial" pitchFamily="34" charset="0"/>
              </a:defRPr>
            </a:lvl1pPr>
          </a:lstStyle>
          <a:p>
            <a:endParaRPr lang="en-GB">
              <a:solidFill>
                <a:prstClr val="black">
                  <a:tint val="75000"/>
                </a:prstClr>
              </a:solidFill>
            </a:endParaRPr>
          </a:p>
        </p:txBody>
      </p:sp>
      <p:sp>
        <p:nvSpPr>
          <p:cNvPr id="8" name="Footer Placeholder 4"/>
          <p:cNvSpPr>
            <a:spLocks noGrp="1"/>
          </p:cNvSpPr>
          <p:nvPr>
            <p:ph type="ftr" sz="quarter" idx="3"/>
          </p:nvPr>
        </p:nvSpPr>
        <p:spPr bwMode="gray">
          <a:xfrm>
            <a:off x="240000" y="235313"/>
            <a:ext cx="2020105" cy="261610"/>
          </a:xfrm>
          <a:prstGeom prst="rect">
            <a:avLst/>
          </a:prstGeom>
        </p:spPr>
        <p:txBody>
          <a:bodyPr vert="horz" lIns="91440" tIns="45720" rIns="91440" bIns="45720" rtlCol="0" anchor="ctr"/>
          <a:lstStyle>
            <a:lvl1pPr algn="ctr">
              <a:defRPr sz="1100">
                <a:solidFill>
                  <a:schemeClr val="tx1">
                    <a:tint val="75000"/>
                  </a:schemeClr>
                </a:solidFill>
                <a:latin typeface="Arial" pitchFamily="34" charset="0"/>
              </a:defRPr>
            </a:lvl1pPr>
          </a:lstStyle>
          <a:p>
            <a:pPr algn="l"/>
            <a:endParaRPr lang="en-GB">
              <a:solidFill>
                <a:prstClr val="black">
                  <a:tint val="75000"/>
                </a:prstClr>
              </a:solidFill>
            </a:endParaRPr>
          </a:p>
        </p:txBody>
      </p:sp>
      <p:sp>
        <p:nvSpPr>
          <p:cNvPr id="9" name="Slide Number Placeholder 5"/>
          <p:cNvSpPr>
            <a:spLocks noGrp="1"/>
          </p:cNvSpPr>
          <p:nvPr>
            <p:ph type="sldNum" sz="quarter" idx="4"/>
          </p:nvPr>
        </p:nvSpPr>
        <p:spPr bwMode="gray">
          <a:xfrm>
            <a:off x="8592277" y="155563"/>
            <a:ext cx="3359723" cy="365125"/>
          </a:xfrm>
          <a:prstGeom prst="rect">
            <a:avLst/>
          </a:prstGeom>
        </p:spPr>
        <p:txBody>
          <a:bodyPr vert="horz" lIns="91440" tIns="45720" rIns="91440" bIns="45720" rtlCol="0" anchor="ctr"/>
          <a:lstStyle>
            <a:lvl1pPr algn="r">
              <a:defRPr sz="2000">
                <a:solidFill>
                  <a:schemeClr val="tx1">
                    <a:tint val="75000"/>
                  </a:schemeClr>
                </a:solidFill>
                <a:latin typeface="Arial" pitchFamily="34" charset="0"/>
              </a:defRPr>
            </a:lvl1pPr>
          </a:lstStyle>
          <a:p>
            <a:r>
              <a:rPr lang="en-GB" sz="1100">
                <a:solidFill>
                  <a:prstClr val="black">
                    <a:tint val="75000"/>
                  </a:prstClr>
                </a:solidFill>
              </a:rPr>
              <a:t>Deutsche Börse Group</a:t>
            </a:r>
            <a:r>
              <a:rPr lang="en-GB">
                <a:solidFill>
                  <a:prstClr val="black">
                    <a:tint val="75000"/>
                  </a:prstClr>
                </a:solidFill>
              </a:rPr>
              <a:t>	</a:t>
            </a:r>
            <a:fld id="{92F7DF68-39C9-4B8A-BEDC-AE012F5E4423}"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5740650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Business Model">
    <p:spTree>
      <p:nvGrpSpPr>
        <p:cNvPr id="1" name=""/>
        <p:cNvGrpSpPr/>
        <p:nvPr/>
      </p:nvGrpSpPr>
      <p:grpSpPr>
        <a:xfrm>
          <a:off x="0" y="0"/>
          <a:ext cx="0" cy="0"/>
          <a:chOff x="0" y="0"/>
          <a:chExt cx="0" cy="0"/>
        </a:xfrm>
      </p:grpSpPr>
      <p:sp>
        <p:nvSpPr>
          <p:cNvPr id="16" name="Picture Placeholder 13"/>
          <p:cNvSpPr>
            <a:spLocks noGrp="1"/>
          </p:cNvSpPr>
          <p:nvPr>
            <p:ph type="pic" sz="quarter" idx="22"/>
          </p:nvPr>
        </p:nvSpPr>
        <p:spPr>
          <a:xfrm>
            <a:off x="863788" y="2223346"/>
            <a:ext cx="10408657" cy="1865527"/>
          </a:xfrm>
          <a:effectLst/>
        </p:spPr>
        <p:txBody>
          <a:bodyPr>
            <a:normAutofit/>
          </a:bodyPr>
          <a:lstStyle>
            <a:lvl1pPr marL="0" indent="0">
              <a:buNone/>
              <a:defRPr sz="1051">
                <a:ln>
                  <a:noFill/>
                </a:ln>
                <a:solidFill>
                  <a:schemeClr val="bg1">
                    <a:lumMod val="85000"/>
                  </a:schemeClr>
                </a:solidFill>
              </a:defRPr>
            </a:lvl1pPr>
          </a:lstStyle>
          <a:p>
            <a:endParaRPr lang="en-US"/>
          </a:p>
        </p:txBody>
      </p:sp>
      <p:sp>
        <p:nvSpPr>
          <p:cNvPr id="4" name="Slide Number Placeholder 5"/>
          <p:cNvSpPr>
            <a:spLocks noGrp="1"/>
          </p:cNvSpPr>
          <p:nvPr>
            <p:ph type="sldNum" sz="quarter" idx="4"/>
          </p:nvPr>
        </p:nvSpPr>
        <p:spPr bwMode="gray">
          <a:xfrm>
            <a:off x="8832277" y="6490713"/>
            <a:ext cx="3359723" cy="365125"/>
          </a:xfrm>
          <a:prstGeom prst="rect">
            <a:avLst/>
          </a:prstGeom>
        </p:spPr>
        <p:txBody>
          <a:bodyPr vert="horz" lIns="91440" tIns="45720" rIns="91440" bIns="45720" rtlCol="0" anchor="ctr"/>
          <a:lstStyle>
            <a:lvl1pPr algn="r">
              <a:defRPr sz="2000">
                <a:solidFill>
                  <a:schemeClr val="tx1">
                    <a:tint val="75000"/>
                  </a:schemeClr>
                </a:solidFill>
                <a:latin typeface="Arial" pitchFamily="34" charset="0"/>
              </a:defRPr>
            </a:lvl1pPr>
          </a:lstStyle>
          <a:p>
            <a:r>
              <a:rPr lang="en-GB" sz="1100">
                <a:solidFill>
                  <a:prstClr val="black">
                    <a:tint val="75000"/>
                  </a:prstClr>
                </a:solidFill>
              </a:rPr>
              <a:t>Deutsche </a:t>
            </a:r>
            <a:r>
              <a:rPr lang="en-GB" sz="1100" err="1">
                <a:solidFill>
                  <a:prstClr val="black">
                    <a:tint val="75000"/>
                  </a:prstClr>
                </a:solidFill>
              </a:rPr>
              <a:t>Börse</a:t>
            </a:r>
            <a:r>
              <a:rPr lang="en-GB" sz="1100">
                <a:solidFill>
                  <a:prstClr val="black">
                    <a:tint val="75000"/>
                  </a:prstClr>
                </a:solidFill>
              </a:rPr>
              <a:t> Group</a:t>
            </a:r>
            <a:r>
              <a:rPr lang="en-GB">
                <a:solidFill>
                  <a:prstClr val="black">
                    <a:tint val="75000"/>
                  </a:prstClr>
                </a:solidFill>
              </a:rPr>
              <a:t>	</a:t>
            </a:r>
            <a:fld id="{92F7DF68-39C9-4B8A-BEDC-AE012F5E4423}"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482975474"/>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Picture 2">
    <p:bg>
      <p:bgPr>
        <a:solidFill>
          <a:schemeClr val="accent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33E5ABB-819C-4B85-AEDF-4DFCBA6C97E7}"/>
              </a:ext>
            </a:extLst>
          </p:cNvPr>
          <p:cNvGraphicFramePr>
            <a:graphicFrameLocks noChangeAspect="1"/>
          </p:cNvGraphicFramePr>
          <p:nvPr>
            <p:custDataLst>
              <p:tags r:id="rId2"/>
            </p:custDataLst>
            <p:extLst>
              <p:ext uri="{D42A27DB-BD31-4B8C-83A1-F6EECF244321}">
                <p14:modId xmlns:p14="http://schemas.microsoft.com/office/powerpoint/2010/main" val="2207027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233E5ABB-819C-4B85-AEDF-4DFCBA6C97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AE15B24A-8235-4E59-8E30-65A9F2F3E686}"/>
              </a:ext>
            </a:extLst>
          </p:cNvPr>
          <p:cNvSpPr>
            <a:spLocks noGrp="1"/>
          </p:cNvSpPr>
          <p:nvPr>
            <p:ph type="pic" sz="quarter" idx="13" hasCustomPrompt="1"/>
          </p:nvPr>
        </p:nvSpPr>
        <p:spPr bwMode="gray">
          <a:xfrm>
            <a:off x="8076220" y="0"/>
            <a:ext cx="4115780" cy="6858000"/>
          </a:xfrm>
          <a:solidFill>
            <a:schemeClr val="tx2"/>
          </a:solidFill>
        </p:spPr>
        <p:txBody>
          <a:bodyPr/>
          <a:lstStyle>
            <a:lvl1pPr rtl="0">
              <a:defRPr/>
            </a:lvl1pPr>
          </a:lstStyle>
          <a:p>
            <a:r>
              <a:rPr lang="en-GB"/>
              <a:t> </a:t>
            </a:r>
          </a:p>
        </p:txBody>
      </p:sp>
      <p:sp>
        <p:nvSpPr>
          <p:cNvPr id="7" name="MIO_VALID_LAYOUT">
            <a:extLst>
              <a:ext uri="{FF2B5EF4-FFF2-40B4-BE49-F238E27FC236}">
                <a16:creationId xmlns:a16="http://schemas.microsoft.com/office/drawing/2014/main" id="{5AA293F3-CFE1-47F6-B8BD-3D9D0C7A6E16}"/>
              </a:ext>
            </a:extLst>
          </p:cNvPr>
          <p:cNvSpPr/>
          <p:nvPr/>
        </p:nvSpPr>
        <p:spPr bwMode="gray">
          <a:xfrm>
            <a:off x="11744853" y="6586858"/>
            <a:ext cx="447147"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rtl="0">
              <a:spcBef>
                <a:spcPts val="300"/>
              </a:spcBef>
              <a:spcAft>
                <a:spcPts val="300"/>
              </a:spcAft>
              <a:buClr>
                <a:schemeClr val="bg1"/>
              </a:buClr>
              <a:buSzPct val="100000"/>
              <a:buFont typeface="Arial" panose="020B0604020202020204" pitchFamily="34" charset="0"/>
              <a:buNone/>
            </a:pPr>
            <a:endParaRPr lang="en-GB" sz="1600" kern="0">
              <a:solidFill>
                <a:schemeClr val="tx1"/>
              </a:solidFill>
              <a:latin typeface="+mn-lt"/>
            </a:endParaRPr>
          </a:p>
        </p:txBody>
      </p:sp>
      <p:sp>
        <p:nvSpPr>
          <p:cNvPr id="2" name="Datumsplatzhalter 1">
            <a:extLst>
              <a:ext uri="{FF2B5EF4-FFF2-40B4-BE49-F238E27FC236}">
                <a16:creationId xmlns:a16="http://schemas.microsoft.com/office/drawing/2014/main" id="{6204C88F-9BBE-484C-908A-A261CD9F5F51}"/>
              </a:ext>
            </a:extLst>
          </p:cNvPr>
          <p:cNvSpPr>
            <a:spLocks noGrp="1"/>
          </p:cNvSpPr>
          <p:nvPr>
            <p:ph type="dt" sz="half" idx="14"/>
          </p:nvPr>
        </p:nvSpPr>
        <p:spPr bwMode="gray"/>
        <p:txBody>
          <a:bodyPr/>
          <a:lstStyle>
            <a:lvl1pPr rtl="0">
              <a:defRPr/>
            </a:lvl1pPr>
          </a:lstStyle>
          <a:p>
            <a:endParaRPr lang="en-GB"/>
          </a:p>
        </p:txBody>
      </p:sp>
      <p:sp>
        <p:nvSpPr>
          <p:cNvPr id="9" name="Foliennummernplatzhalter 8">
            <a:extLst>
              <a:ext uri="{FF2B5EF4-FFF2-40B4-BE49-F238E27FC236}">
                <a16:creationId xmlns:a16="http://schemas.microsoft.com/office/drawing/2014/main" id="{2A877C47-CE57-429E-A5FB-76313E664A87}"/>
              </a:ext>
            </a:extLst>
          </p:cNvPr>
          <p:cNvSpPr>
            <a:spLocks noGrp="1"/>
          </p:cNvSpPr>
          <p:nvPr>
            <p:ph type="sldNum" sz="quarter" idx="15"/>
          </p:nvPr>
        </p:nvSpPr>
        <p:spPr bwMode="gray"/>
        <p:txBody>
          <a:bodyPr/>
          <a:lstStyle>
            <a:lvl1pPr rtl="0">
              <a:defRPr/>
            </a:lvl1pPr>
          </a:lstStyle>
          <a:p>
            <a:fld id="{62CB3E74-FC4B-418A-B5F6-72ED80208EB2}" type="slidenum">
              <a:rPr lang="en-GB"/>
              <a:pPr/>
              <a:t>‹#›</a:t>
            </a:fld>
            <a:endParaRPr lang="en-GB"/>
          </a:p>
        </p:txBody>
      </p:sp>
      <p:sp>
        <p:nvSpPr>
          <p:cNvPr id="10" name="Fußzeilenplatzhalter 3">
            <a:extLst>
              <a:ext uri="{FF2B5EF4-FFF2-40B4-BE49-F238E27FC236}">
                <a16:creationId xmlns:a16="http://schemas.microsoft.com/office/drawing/2014/main" id="{C9669E17-2E92-4F0E-A52C-C32A9C98617A}"/>
              </a:ext>
            </a:extLst>
          </p:cNvPr>
          <p:cNvSpPr>
            <a:spLocks noGrp="1"/>
          </p:cNvSpPr>
          <p:nvPr>
            <p:ph type="ftr" sz="quarter" idx="3"/>
          </p:nvPr>
        </p:nvSpPr>
        <p:spPr bwMode="gray">
          <a:xfrm>
            <a:off x="587388" y="6381352"/>
            <a:ext cx="1896353" cy="138499"/>
          </a:xfrm>
          <a:prstGeom prst="rect">
            <a:avLst/>
          </a:prstGeom>
        </p:spPr>
        <p:txBody>
          <a:bodyPr vert="horz" wrap="none" lIns="0" tIns="0" rIns="0" bIns="0" rtlCol="0" anchor="t" anchorCtr="0">
            <a:spAutoFit/>
          </a:bodyPr>
          <a:lstStyle>
            <a:lvl1pPr algn="l">
              <a:defRPr sz="900">
                <a:solidFill>
                  <a:schemeClr val="tx1"/>
                </a:solidFill>
              </a:defRPr>
            </a:lvl1pPr>
          </a:lstStyle>
          <a:p>
            <a:endParaRPr lang="en-GB"/>
          </a:p>
        </p:txBody>
      </p:sp>
    </p:spTree>
    <p:extLst>
      <p:ext uri="{BB962C8B-B14F-4D97-AF65-F5344CB8AC3E}">
        <p14:creationId xmlns:p14="http://schemas.microsoft.com/office/powerpoint/2010/main" val="3565650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1" orient="horz" pos="459">
          <p15:clr>
            <a:srgbClr val="F26B43"/>
          </p15:clr>
        </p15:guide>
        <p15:guide id="12" orient="horz" pos="3861">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70984" y="1657352"/>
            <a:ext cx="8625416" cy="45608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p:cNvSpPr>
            <a:spLocks noGrp="1" noChangeArrowheads="1"/>
          </p:cNvSpPr>
          <p:nvPr>
            <p:ph type="ftr" sz="quarter" idx="11"/>
          </p:nvPr>
        </p:nvSpPr>
        <p:spPr>
          <a:xfrm>
            <a:off x="587388" y="6381352"/>
            <a:ext cx="897682" cy="138499"/>
          </a:xfrm>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C924DD9E-8001-43B8-B6BB-16AD324790E9}" type="slidenum">
              <a:rPr lang="en-GB"/>
              <a:pPr>
                <a:defRPr/>
              </a:pPr>
              <a:t>‹#›</a:t>
            </a:fld>
            <a:endParaRPr lang="en-GB"/>
          </a:p>
        </p:txBody>
      </p:sp>
      <p:sp>
        <p:nvSpPr>
          <p:cNvPr id="13" name="Content Placeholder 3"/>
          <p:cNvSpPr>
            <a:spLocks noGrp="1"/>
          </p:cNvSpPr>
          <p:nvPr>
            <p:ph sz="half" idx="2"/>
          </p:nvPr>
        </p:nvSpPr>
        <p:spPr>
          <a:xfrm>
            <a:off x="9504000" y="1656000"/>
            <a:ext cx="2025600" cy="4561200"/>
          </a:xfrm>
        </p:spPr>
        <p:txBody>
          <a:bodyPr/>
          <a:lstStyle>
            <a:lvl1pPr>
              <a:defRPr sz="1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5" name="Title 14"/>
          <p:cNvSpPr>
            <a:spLocks noGrp="1"/>
          </p:cNvSpPr>
          <p:nvPr>
            <p:ph type="title"/>
          </p:nvPr>
        </p:nvSpPr>
        <p:spPr>
          <a:xfrm>
            <a:off x="670984" y="503239"/>
            <a:ext cx="8642349" cy="1152762"/>
          </a:xfrm>
        </p:spPr>
        <p:txBody>
          <a:bodyPr/>
          <a:lstStyle/>
          <a:p>
            <a:r>
              <a:rPr lang="en-US"/>
              <a:t>Click to edit Master title style</a:t>
            </a:r>
            <a:endParaRPr lang="en-GB"/>
          </a:p>
        </p:txBody>
      </p:sp>
    </p:spTree>
    <p:extLst>
      <p:ext uri="{BB962C8B-B14F-4D97-AF65-F5344CB8AC3E}">
        <p14:creationId xmlns:p14="http://schemas.microsoft.com/office/powerpoint/2010/main" val="20860611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B602FE-BFB2-4E7A-B681-FFF2196BE8BA}"/>
              </a:ext>
            </a:extLst>
          </p:cNvPr>
          <p:cNvSpPr>
            <a:spLocks noGrp="1"/>
          </p:cNvSpPr>
          <p:nvPr>
            <p:ph type="title"/>
          </p:nvPr>
        </p:nvSpPr>
        <p:spPr/>
        <p:txBody>
          <a:bodyPr/>
          <a:lstStyle/>
          <a:p>
            <a:r>
              <a:rPr lang="en-US"/>
              <a:t>Click to edit Master title style</a:t>
            </a:r>
            <a:endParaRPr lang="bg-BG"/>
          </a:p>
        </p:txBody>
      </p:sp>
      <p:sp>
        <p:nvSpPr>
          <p:cNvPr id="3" name="Content Placeholder 2">
            <a:extLst>
              <a:ext uri="{FF2B5EF4-FFF2-40B4-BE49-F238E27FC236}">
                <a16:creationId xmlns:a16="http://schemas.microsoft.com/office/drawing/2014/main" id="{3CC51A55-1E46-47DF-8EE8-733F0791A7F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g-BG"/>
          </a:p>
        </p:txBody>
      </p:sp>
      <p:sp>
        <p:nvSpPr>
          <p:cNvPr id="4" name="Content Placeholder 3">
            <a:extLst>
              <a:ext uri="{FF2B5EF4-FFF2-40B4-BE49-F238E27FC236}">
                <a16:creationId xmlns:a16="http://schemas.microsoft.com/office/drawing/2014/main" id="{4EBC4014-4F9B-48D6-B030-9552652EB60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g-BG"/>
          </a:p>
        </p:txBody>
      </p:sp>
      <p:sp>
        <p:nvSpPr>
          <p:cNvPr id="5" name="Date Placeholder 4">
            <a:extLst>
              <a:ext uri="{FF2B5EF4-FFF2-40B4-BE49-F238E27FC236}">
                <a16:creationId xmlns:a16="http://schemas.microsoft.com/office/drawing/2014/main" id="{D46C9F7C-B857-464D-AB4D-85166805B365}"/>
              </a:ext>
            </a:extLst>
          </p:cNvPr>
          <p:cNvSpPr>
            <a:spLocks noGrp="1"/>
          </p:cNvSpPr>
          <p:nvPr>
            <p:ph type="dt" sz="half" idx="10"/>
          </p:nvPr>
        </p:nvSpPr>
        <p:spPr/>
        <p:txBody>
          <a:bodyPr/>
          <a:lstStyle/>
          <a:p>
            <a:fld id="{4742D07F-AA84-406A-9332-1464FA876A41}" type="datetimeFigureOut">
              <a:rPr lang="bg-BG" smtClean="0"/>
              <a:t>10.04.24 г.</a:t>
            </a:fld>
            <a:endParaRPr lang="bg-BG"/>
          </a:p>
        </p:txBody>
      </p:sp>
      <p:sp>
        <p:nvSpPr>
          <p:cNvPr id="6" name="Footer Placeholder 5">
            <a:extLst>
              <a:ext uri="{FF2B5EF4-FFF2-40B4-BE49-F238E27FC236}">
                <a16:creationId xmlns:a16="http://schemas.microsoft.com/office/drawing/2014/main" id="{4D36CAB4-CEAC-4882-9B76-467F52A37A77}"/>
              </a:ext>
            </a:extLst>
          </p:cNvPr>
          <p:cNvSpPr>
            <a:spLocks noGrp="1"/>
          </p:cNvSpPr>
          <p:nvPr>
            <p:ph type="ftr" sz="quarter" idx="11"/>
          </p:nvPr>
        </p:nvSpPr>
        <p:spPr/>
        <p:txBody>
          <a:bodyPr/>
          <a:lstStyle/>
          <a:p>
            <a:endParaRPr lang="bg-BG"/>
          </a:p>
        </p:txBody>
      </p:sp>
      <p:sp>
        <p:nvSpPr>
          <p:cNvPr id="7" name="Slide Number Placeholder 6">
            <a:extLst>
              <a:ext uri="{FF2B5EF4-FFF2-40B4-BE49-F238E27FC236}">
                <a16:creationId xmlns:a16="http://schemas.microsoft.com/office/drawing/2014/main" id="{8A34AE15-6A47-45B3-8FC6-EEE51900E365}"/>
              </a:ext>
            </a:extLst>
          </p:cNvPr>
          <p:cNvSpPr>
            <a:spLocks noGrp="1"/>
          </p:cNvSpPr>
          <p:nvPr>
            <p:ph type="sldNum" sz="quarter" idx="12"/>
          </p:nvPr>
        </p:nvSpPr>
        <p:spPr/>
        <p:txBody>
          <a:bodyPr/>
          <a:lstStyle/>
          <a:p>
            <a:fld id="{1ECF27F8-A54A-4E9B-946E-1DA717B6015E}" type="slidenum">
              <a:rPr lang="bg-BG" smtClean="0"/>
              <a:t>‹#›</a:t>
            </a:fld>
            <a:endParaRPr lang="bg-BG"/>
          </a:p>
        </p:txBody>
      </p:sp>
    </p:spTree>
    <p:extLst>
      <p:ext uri="{BB962C8B-B14F-4D97-AF65-F5344CB8AC3E}">
        <p14:creationId xmlns:p14="http://schemas.microsoft.com/office/powerpoint/2010/main" val="219904883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37890" name="think-cell Slide" r:id="rId4" imgW="360" imgH="360" progId="TCLayout.ActiveDocument.1">
                  <p:embed/>
                </p:oleObj>
              </mc:Choice>
              <mc:Fallback>
                <p:oleObj name="think-cell Slide" r:id="rId4" imgW="360" imgH="36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bwMode="auto"/>
        <p:txBody>
          <a:bodyPr/>
          <a:lstStyle/>
          <a:p>
            <a:r>
              <a:rPr lang="en-GB"/>
              <a:t>Click to edit Master title style</a:t>
            </a:r>
          </a:p>
        </p:txBody>
      </p:sp>
      <p:sp>
        <p:nvSpPr>
          <p:cNvPr id="8" name="Text Placeholder 7"/>
          <p:cNvSpPr>
            <a:spLocks noGrp="1"/>
          </p:cNvSpPr>
          <p:nvPr>
            <p:ph type="body" sz="quarter" idx="13"/>
          </p:nvPr>
        </p:nvSpPr>
        <p:spPr bwMode="auto">
          <a:xfrm>
            <a:off x="562708" y="1508400"/>
            <a:ext cx="11068061" cy="4590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5" hidden="1"/>
          <p:cNvSpPr txBox="1">
            <a:spLocks/>
          </p:cNvSpPr>
          <p:nvPr userDrawn="1"/>
        </p:nvSpPr>
        <p:spPr bwMode="auto">
          <a:xfrm>
            <a:off x="11583509" y="6826800"/>
            <a:ext cx="234831" cy="133200"/>
          </a:xfrm>
          <a:prstGeom prst="flowChartProcess">
            <a:avLst/>
          </a:prstGeom>
        </p:spPr>
        <p:txBody>
          <a:bodyPr vert="horz" wrap="none" lIns="0" tIns="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tx1"/>
                </a:solidFill>
                <a:effectLst/>
                <a:uLnTx/>
                <a:uFillTx/>
                <a:latin typeface="+mn-lt"/>
                <a:ea typeface="+mn-ea"/>
                <a:cs typeface="+mn-cs"/>
              </a:rPr>
              <a:t>‹#›</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38832518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 Blue">
    <p:bg>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DB1F12-780B-4457-92FE-697C82B26135}"/>
              </a:ext>
            </a:extLst>
          </p:cNvPr>
          <p:cNvGraphicFramePr>
            <a:graphicFrameLocks noChangeAspect="1"/>
          </p:cNvGraphicFramePr>
          <p:nvPr userDrawn="1">
            <p:custDataLst>
              <p:tags r:id="rId2"/>
            </p:custDataLst>
            <p:extLst>
              <p:ext uri="{D42A27DB-BD31-4B8C-83A1-F6EECF244321}">
                <p14:modId xmlns:p14="http://schemas.microsoft.com/office/powerpoint/2010/main" val="2839471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79DB1F12-780B-4457-92FE-697C82B261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5">
            <a:extLst>
              <a:ext uri="{FF2B5EF4-FFF2-40B4-BE49-F238E27FC236}">
                <a16:creationId xmlns:a16="http://schemas.microsoft.com/office/drawing/2014/main" id="{5CB25044-7275-4183-91FC-C74EDB0670E8}"/>
              </a:ext>
            </a:extLst>
          </p:cNvPr>
          <p:cNvSpPr txBox="1">
            <a:spLocks/>
          </p:cNvSpPr>
          <p:nvPr userDrawn="1"/>
        </p:nvSpPr>
        <p:spPr bwMode="gray">
          <a:xfrm>
            <a:off x="587388" y="5624488"/>
            <a:ext cx="2743200" cy="504000"/>
          </a:xfrm>
          <a:prstGeom prst="rect">
            <a:avLst/>
          </a:prstGeom>
          <a:blipFill>
            <a:blip r:embed="rId6" cstate="screen">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100000"/>
              </a:lnSpc>
              <a:spcBef>
                <a:spcPts val="0"/>
              </a:spcBef>
              <a:spcAft>
                <a:spcPts val="600"/>
              </a:spcAft>
              <a:buFontTx/>
              <a:buNone/>
              <a:defRPr sz="800" kern="1200">
                <a:solidFill>
                  <a:schemeClr val="bg1"/>
                </a:solidFill>
                <a:latin typeface="+mn-lt"/>
                <a:ea typeface="+mn-ea"/>
                <a:cs typeface="+mn-cs"/>
              </a:defRPr>
            </a:lvl1pPr>
            <a:lvl2pPr marL="177800" indent="-177800" algn="l" defTabSz="914400" rtl="0" eaLnBrk="1" latinLnBrk="0" hangingPunct="1">
              <a:lnSpc>
                <a:spcPct val="100000"/>
              </a:lnSpc>
              <a:spcBef>
                <a:spcPts val="0"/>
              </a:spcBef>
              <a:spcAft>
                <a:spcPts val="600"/>
              </a:spcAft>
              <a:buFont typeface="Wingdings" panose="05000000000000000000" pitchFamily="2" charset="2"/>
              <a:buChar char="§"/>
              <a:defRPr sz="1600" kern="1200">
                <a:solidFill>
                  <a:schemeClr val="tx1"/>
                </a:solidFill>
                <a:latin typeface="+mn-lt"/>
                <a:ea typeface="+mn-ea"/>
                <a:cs typeface="+mn-cs"/>
              </a:defRPr>
            </a:lvl2pPr>
            <a:lvl3pPr marL="355600" indent="-177800" algn="l" defTabSz="914400" rtl="0" eaLnBrk="1" latinLnBrk="0" hangingPunct="1">
              <a:lnSpc>
                <a:spcPct val="100000"/>
              </a:lnSpc>
              <a:spcBef>
                <a:spcPts val="0"/>
              </a:spcBef>
              <a:spcAft>
                <a:spcPts val="600"/>
              </a:spcAft>
              <a:buFont typeface="Wingdings" panose="05000000000000000000" pitchFamily="2" charset="2"/>
              <a:buChar char="§"/>
              <a:defRPr sz="1600" kern="1200">
                <a:solidFill>
                  <a:schemeClr val="tx1"/>
                </a:solidFill>
                <a:latin typeface="+mn-lt"/>
                <a:ea typeface="+mn-ea"/>
                <a:cs typeface="+mn-cs"/>
              </a:defRPr>
            </a:lvl3pPr>
            <a:lvl4pPr marL="533400" indent="-177800" algn="l" defTabSz="914400" rtl="0" eaLnBrk="1" latinLnBrk="0" hangingPunct="1">
              <a:lnSpc>
                <a:spcPct val="100000"/>
              </a:lnSpc>
              <a:spcBef>
                <a:spcPts val="0"/>
              </a:spcBef>
              <a:spcAft>
                <a:spcPts val="600"/>
              </a:spcAft>
              <a:buFont typeface="Wingdings" panose="05000000000000000000" pitchFamily="2" charset="2"/>
              <a:buChar char="§"/>
              <a:defRPr sz="1600" kern="1200">
                <a:solidFill>
                  <a:schemeClr val="tx1"/>
                </a:solidFill>
                <a:latin typeface="+mn-lt"/>
                <a:ea typeface="+mn-ea"/>
                <a:cs typeface="+mn-cs"/>
              </a:defRPr>
            </a:lvl4pPr>
            <a:lvl5pPr marL="723900" indent="-190500" algn="l" defTabSz="914400" rtl="0" eaLnBrk="1" latinLnBrk="0" hangingPunct="1">
              <a:lnSpc>
                <a:spcPct val="100000"/>
              </a:lnSpc>
              <a:spcBef>
                <a:spcPts val="0"/>
              </a:spcBef>
              <a:spcAft>
                <a:spcPts val="600"/>
              </a:spcAft>
              <a:buFont typeface="Wingdings" panose="05000000000000000000" pitchFamily="2" charset="2"/>
              <a:buChar char="§"/>
              <a:defRPr sz="1600" kern="1200">
                <a:solidFill>
                  <a:schemeClr val="tx1"/>
                </a:solidFill>
                <a:latin typeface="+mn-lt"/>
                <a:ea typeface="+mn-ea"/>
                <a:cs typeface="+mn-cs"/>
              </a:defRPr>
            </a:lvl5pPr>
            <a:lvl6pPr marL="901700" indent="-177800" algn="l" defTabSz="914400" rtl="0" eaLnBrk="1" latinLnBrk="0" hangingPunct="1">
              <a:lnSpc>
                <a:spcPct val="100000"/>
              </a:lnSpc>
              <a:spcBef>
                <a:spcPts val="0"/>
              </a:spcBef>
              <a:spcAft>
                <a:spcPts val="600"/>
              </a:spcAft>
              <a:buFont typeface="Wingdings" panose="05000000000000000000" pitchFamily="2" charset="2"/>
              <a:buChar char="§"/>
              <a:defRPr sz="1600" kern="1200">
                <a:solidFill>
                  <a:schemeClr val="tx1"/>
                </a:solidFill>
                <a:latin typeface="+mn-lt"/>
                <a:ea typeface="+mn-ea"/>
                <a:cs typeface="+mn-cs"/>
              </a:defRPr>
            </a:lvl6pPr>
            <a:lvl7pPr marL="901700" indent="-177800" algn="l" defTabSz="914400" rtl="0" eaLnBrk="1" latinLnBrk="0" hangingPunct="1">
              <a:lnSpc>
                <a:spcPct val="100000"/>
              </a:lnSpc>
              <a:spcBef>
                <a:spcPts val="0"/>
              </a:spcBef>
              <a:spcAft>
                <a:spcPts val="600"/>
              </a:spcAft>
              <a:buFont typeface="Wingdings" panose="05000000000000000000" pitchFamily="2" charset="2"/>
              <a:buChar char="§"/>
              <a:defRPr sz="1600" kern="1200">
                <a:solidFill>
                  <a:schemeClr val="tx1"/>
                </a:solidFill>
                <a:latin typeface="+mn-lt"/>
                <a:ea typeface="+mn-ea"/>
                <a:cs typeface="+mn-cs"/>
              </a:defRPr>
            </a:lvl7pPr>
            <a:lvl8pPr marL="901700" indent="-177800" algn="l" defTabSz="914400" rtl="0" eaLnBrk="1" latinLnBrk="0" hangingPunct="1">
              <a:lnSpc>
                <a:spcPct val="100000"/>
              </a:lnSpc>
              <a:spcBef>
                <a:spcPts val="0"/>
              </a:spcBef>
              <a:spcAft>
                <a:spcPts val="600"/>
              </a:spcAft>
              <a:buFont typeface="Wingdings" panose="05000000000000000000" pitchFamily="2" charset="2"/>
              <a:buChar char="§"/>
              <a:defRPr sz="1600" kern="1200">
                <a:solidFill>
                  <a:schemeClr val="tx1"/>
                </a:solidFill>
                <a:latin typeface="+mn-lt"/>
                <a:ea typeface="+mn-ea"/>
                <a:cs typeface="+mn-cs"/>
              </a:defRPr>
            </a:lvl8pPr>
            <a:lvl9pPr marL="901700" indent="-177800" algn="l" defTabSz="914400" rtl="0" eaLnBrk="1" latinLnBrk="0" hangingPunct="1">
              <a:lnSpc>
                <a:spcPct val="100000"/>
              </a:lnSpc>
              <a:spcBef>
                <a:spcPts val="0"/>
              </a:spcBef>
              <a:spcAft>
                <a:spcPts val="600"/>
              </a:spcAft>
              <a:buFont typeface="Wingdings" panose="05000000000000000000" pitchFamily="2" charset="2"/>
              <a:buChar char="§"/>
              <a:defRPr sz="1600" kern="1200">
                <a:solidFill>
                  <a:schemeClr val="tx1"/>
                </a:solidFill>
                <a:latin typeface="+mn-lt"/>
                <a:ea typeface="+mn-ea"/>
                <a:cs typeface="+mn-cs"/>
              </a:defRPr>
            </a:lvl9pPr>
          </a:lstStyle>
          <a:p>
            <a:r>
              <a:rPr lang="en-GB" noProof="0"/>
              <a:t> </a:t>
            </a:r>
          </a:p>
        </p:txBody>
      </p:sp>
      <p:sp>
        <p:nvSpPr>
          <p:cNvPr id="7" name="Titel 1">
            <a:extLst>
              <a:ext uri="{FF2B5EF4-FFF2-40B4-BE49-F238E27FC236}">
                <a16:creationId xmlns:a16="http://schemas.microsoft.com/office/drawing/2014/main" id="{ED78BDF4-D19E-42DE-B03D-842CAB4E0EFA}"/>
              </a:ext>
            </a:extLst>
          </p:cNvPr>
          <p:cNvSpPr>
            <a:spLocks noGrp="1"/>
          </p:cNvSpPr>
          <p:nvPr>
            <p:ph type="ctrTitle" hasCustomPrompt="1"/>
          </p:nvPr>
        </p:nvSpPr>
        <p:spPr bwMode="gray">
          <a:xfrm>
            <a:off x="590318" y="1714392"/>
            <a:ext cx="7272896" cy="1512168"/>
          </a:xfrm>
        </p:spPr>
        <p:txBody>
          <a:bodyPr anchor="t" anchorCtr="0"/>
          <a:lstStyle>
            <a:lvl1pPr algn="l">
              <a:lnSpc>
                <a:spcPct val="100000"/>
              </a:lnSpc>
              <a:spcBef>
                <a:spcPts val="0"/>
              </a:spcBef>
              <a:defRPr sz="4300" b="1">
                <a:solidFill>
                  <a:schemeClr val="tx1"/>
                </a:solidFill>
              </a:defRPr>
            </a:lvl1pPr>
          </a:lstStyle>
          <a:p>
            <a:r>
              <a:rPr lang="en-GB" noProof="0"/>
              <a:t>Presentation </a:t>
            </a:r>
            <a:br>
              <a:rPr lang="en-GB" noProof="0"/>
            </a:br>
            <a:r>
              <a:rPr lang="en-GB" noProof="0"/>
              <a:t>Title</a:t>
            </a:r>
          </a:p>
        </p:txBody>
      </p:sp>
      <p:sp>
        <p:nvSpPr>
          <p:cNvPr id="8" name="Untertitel 2">
            <a:extLst>
              <a:ext uri="{FF2B5EF4-FFF2-40B4-BE49-F238E27FC236}">
                <a16:creationId xmlns:a16="http://schemas.microsoft.com/office/drawing/2014/main" id="{B0255F2F-02B4-4535-B2A0-1D1446A0ADD6}"/>
              </a:ext>
            </a:extLst>
          </p:cNvPr>
          <p:cNvSpPr>
            <a:spLocks noGrp="1"/>
          </p:cNvSpPr>
          <p:nvPr>
            <p:ph type="subTitle" idx="1" hasCustomPrompt="1"/>
          </p:nvPr>
        </p:nvSpPr>
        <p:spPr bwMode="gray">
          <a:xfrm>
            <a:off x="590318" y="3471796"/>
            <a:ext cx="5401233" cy="720080"/>
          </a:xfrm>
        </p:spPr>
        <p:txBody>
          <a:bodyPr anchor="t" anchorCtr="0"/>
          <a:lstStyle>
            <a:lvl1pPr marL="0" indent="0" algn="l">
              <a:lnSpc>
                <a:spcPct val="100000"/>
              </a:lnSpc>
              <a:spcBef>
                <a:spcPts val="0"/>
              </a:spcBef>
              <a:spcAft>
                <a:spcPts val="0"/>
              </a:spcAft>
              <a:buNone/>
              <a:defRPr sz="2400">
                <a:solidFill>
                  <a:schemeClr val="tx1"/>
                </a:solidFill>
                <a:latin typeface="+mn-lt"/>
                <a:cs typeface="Abadi MT Condensed Extra Bold"/>
              </a:defRPr>
            </a:lvl1pPr>
            <a:lvl2pPr marL="0" indent="0" algn="l">
              <a:spcAft>
                <a:spcPts val="0"/>
              </a:spcAft>
              <a:buNone/>
              <a:defRPr sz="2400"/>
            </a:lvl2pPr>
            <a:lvl3pPr marL="0" indent="0" algn="l">
              <a:spcAft>
                <a:spcPts val="0"/>
              </a:spcAft>
              <a:buNone/>
              <a:defRPr sz="2400"/>
            </a:lvl3pPr>
            <a:lvl4pPr marL="0" indent="0" algn="l">
              <a:spcAft>
                <a:spcPts val="0"/>
              </a:spcAft>
              <a:buNone/>
              <a:defRPr sz="2400"/>
            </a:lvl4pPr>
            <a:lvl5pPr marL="0" indent="0" algn="l">
              <a:spcAft>
                <a:spcPts val="0"/>
              </a:spcAft>
              <a:buNone/>
              <a:defRPr sz="2400"/>
            </a:lvl5pPr>
            <a:lvl6pPr marL="0" indent="0" algn="l">
              <a:spcAft>
                <a:spcPts val="0"/>
              </a:spcAft>
              <a:buNone/>
              <a:defRPr sz="2400"/>
            </a:lvl6pPr>
            <a:lvl7pPr marL="0" indent="0" algn="l">
              <a:spcAft>
                <a:spcPts val="0"/>
              </a:spcAft>
              <a:buNone/>
              <a:defRPr sz="2400"/>
            </a:lvl7pPr>
            <a:lvl8pPr marL="0" indent="0" algn="l">
              <a:spcAft>
                <a:spcPts val="0"/>
              </a:spcAft>
              <a:buNone/>
              <a:defRPr sz="2400"/>
            </a:lvl8pPr>
            <a:lvl9pPr marL="0" indent="0" algn="l">
              <a:spcAft>
                <a:spcPts val="0"/>
              </a:spcAft>
              <a:buNone/>
              <a:defRPr sz="2400"/>
            </a:lvl9pPr>
          </a:lstStyle>
          <a:p>
            <a:r>
              <a:rPr lang="en-GB" noProof="0"/>
              <a:t>Subtitle</a:t>
            </a:r>
          </a:p>
        </p:txBody>
      </p:sp>
      <p:sp>
        <p:nvSpPr>
          <p:cNvPr id="9" name="Datumsplatzhalter 24">
            <a:extLst>
              <a:ext uri="{FF2B5EF4-FFF2-40B4-BE49-F238E27FC236}">
                <a16:creationId xmlns:a16="http://schemas.microsoft.com/office/drawing/2014/main" id="{80D1C763-2B8F-441F-9A03-9467E1680469}"/>
              </a:ext>
            </a:extLst>
          </p:cNvPr>
          <p:cNvSpPr>
            <a:spLocks noGrp="1"/>
          </p:cNvSpPr>
          <p:nvPr>
            <p:ph type="dt" sz="half" idx="10"/>
          </p:nvPr>
        </p:nvSpPr>
        <p:spPr>
          <a:xfrm>
            <a:off x="602852" y="4293096"/>
            <a:ext cx="3529571" cy="288032"/>
          </a:xfrm>
        </p:spPr>
        <p:txBody>
          <a:bodyPr anchor="t"/>
          <a:lstStyle>
            <a:lvl1pPr marL="0" algn="l">
              <a:lnSpc>
                <a:spcPct val="100000"/>
              </a:lnSpc>
              <a:defRPr sz="1400">
                <a:solidFill>
                  <a:schemeClr val="tx2"/>
                </a:solidFill>
              </a:defRPr>
            </a:lvl1pPr>
            <a:lvl2pPr marL="0">
              <a:lnSpc>
                <a:spcPct val="100000"/>
              </a:lnSpc>
              <a:defRPr sz="1400"/>
            </a:lvl2pPr>
            <a:lvl3pPr marL="0">
              <a:lnSpc>
                <a:spcPct val="100000"/>
              </a:lnSpc>
              <a:defRPr sz="1400"/>
            </a:lvl3pPr>
            <a:lvl4pPr marL="0">
              <a:lnSpc>
                <a:spcPct val="100000"/>
              </a:lnSpc>
              <a:defRPr sz="1400"/>
            </a:lvl4pPr>
            <a:lvl5pPr marL="0">
              <a:lnSpc>
                <a:spcPct val="100000"/>
              </a:lnSpc>
              <a:defRPr sz="1400"/>
            </a:lvl5pPr>
            <a:lvl6pPr marL="0">
              <a:lnSpc>
                <a:spcPct val="100000"/>
              </a:lnSpc>
              <a:defRPr sz="1400"/>
            </a:lvl6pPr>
            <a:lvl7pPr marL="0">
              <a:lnSpc>
                <a:spcPct val="100000"/>
              </a:lnSpc>
              <a:defRPr sz="1400"/>
            </a:lvl7pPr>
            <a:lvl8pPr marL="0">
              <a:lnSpc>
                <a:spcPct val="100000"/>
              </a:lnSpc>
              <a:defRPr sz="1400"/>
            </a:lvl8pPr>
            <a:lvl9pPr marL="0">
              <a:lnSpc>
                <a:spcPct val="100000"/>
              </a:lnSpc>
              <a:defRPr sz="1400"/>
            </a:lvl9pPr>
          </a:lstStyle>
          <a:p>
            <a:endParaRPr lang="en-GB"/>
          </a:p>
        </p:txBody>
      </p:sp>
    </p:spTree>
    <p:extLst>
      <p:ext uri="{BB962C8B-B14F-4D97-AF65-F5344CB8AC3E}">
        <p14:creationId xmlns:p14="http://schemas.microsoft.com/office/powerpoint/2010/main" val="18793731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048588EF-2A75-C64A-B36B-32BEF08AF6E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44EA74C-3F52-674B-9C3C-F37C7BB50C4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3B19E5A-50A7-3146-B884-FB8840F6BE49}"/>
              </a:ext>
            </a:extLst>
          </p:cNvPr>
          <p:cNvSpPr>
            <a:spLocks noGrp="1"/>
          </p:cNvSpPr>
          <p:nvPr>
            <p:ph type="sldNum" sz="quarter" idx="12"/>
          </p:nvPr>
        </p:nvSpPr>
        <p:spPr/>
        <p:txBody>
          <a:bodyPr/>
          <a:lstStyle/>
          <a:p>
            <a:fld id="{0A30BDA9-C2BB-AE41-85AB-C63143EC0989}" type="slidenum">
              <a:rPr lang="en-US" smtClean="0"/>
              <a:t>‹#›</a:t>
            </a:fld>
            <a:endParaRPr lang="en-US"/>
          </a:p>
        </p:txBody>
      </p:sp>
      <p:sp>
        <p:nvSpPr>
          <p:cNvPr id="9" name="Text Placeholder 7">
            <a:extLst>
              <a:ext uri="{FF2B5EF4-FFF2-40B4-BE49-F238E27FC236}">
                <a16:creationId xmlns:a16="http://schemas.microsoft.com/office/drawing/2014/main" id="{7E58E3CF-14BE-449A-9A34-764839CE573E}"/>
              </a:ext>
            </a:extLst>
          </p:cNvPr>
          <p:cNvSpPr>
            <a:spLocks noGrp="1"/>
          </p:cNvSpPr>
          <p:nvPr>
            <p:ph type="body" sz="quarter" idx="15"/>
          </p:nvPr>
        </p:nvSpPr>
        <p:spPr>
          <a:xfrm>
            <a:off x="290514" y="360132"/>
            <a:ext cx="11637486" cy="365125"/>
          </a:xfrm>
          <a:prstGeom prst="rect">
            <a:avLst/>
          </a:prstGeom>
        </p:spPr>
        <p:txBody>
          <a:bodyPr>
            <a:noAutofit/>
          </a:bodyPr>
          <a:lstStyle>
            <a:lvl1pPr marL="0" indent="0">
              <a:buNone/>
              <a:defRPr sz="2000" b="1" i="0">
                <a:latin typeface="Trebuchet MS" panose="020B0703020202090204" pitchFamily="34" charset="0"/>
                <a:cs typeface="Arial" panose="020B0602020204020303" pitchFamily="34" charset="-79"/>
              </a:defRPr>
            </a:lvl1pPr>
            <a:lvl2pPr marL="244725" indent="0">
              <a:buNone/>
              <a:defRPr sz="1200"/>
            </a:lvl2pPr>
            <a:lvl3pPr marL="501174" indent="0">
              <a:buNone/>
              <a:defRPr sz="1200"/>
            </a:lvl3pPr>
            <a:lvl4pPr marL="663836" indent="0">
              <a:buNone/>
              <a:defRPr sz="1200"/>
            </a:lvl4pPr>
            <a:lvl5pPr marL="830894" indent="0">
              <a:buNone/>
              <a:defRPr sz="1200"/>
            </a:lvl5pPr>
          </a:lstStyle>
          <a:p>
            <a:pPr lvl="0"/>
            <a:r>
              <a:rPr lang="en-GB"/>
              <a:t>Click to edit Master text styles</a:t>
            </a:r>
          </a:p>
        </p:txBody>
      </p:sp>
      <p:sp>
        <p:nvSpPr>
          <p:cNvPr id="10" name="Rectangle 9">
            <a:extLst>
              <a:ext uri="{FF2B5EF4-FFF2-40B4-BE49-F238E27FC236}">
                <a16:creationId xmlns:a16="http://schemas.microsoft.com/office/drawing/2014/main" id="{5F1C967C-986C-44D6-8763-E9B62A3F5C80}"/>
              </a:ext>
            </a:extLst>
          </p:cNvPr>
          <p:cNvSpPr/>
          <p:nvPr userDrawn="1"/>
        </p:nvSpPr>
        <p:spPr>
          <a:xfrm>
            <a:off x="0" y="0"/>
            <a:ext cx="288000" cy="734400"/>
          </a:xfrm>
          <a:prstGeom prst="rect">
            <a:avLst/>
          </a:prstGeom>
          <a:solidFill>
            <a:srgbClr val="F9FE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U"/>
          </a:p>
        </p:txBody>
      </p:sp>
    </p:spTree>
    <p:extLst>
      <p:ext uri="{BB962C8B-B14F-4D97-AF65-F5344CB8AC3E}">
        <p14:creationId xmlns:p14="http://schemas.microsoft.com/office/powerpoint/2010/main" val="186620650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Intro | Outro">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4BEAD5F2-747E-41AF-BC6A-51FD86687F5B}"/>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2856000" y="2908276"/>
            <a:ext cx="6480000" cy="1041449"/>
          </a:xfrm>
          <a:prstGeom prst="rect">
            <a:avLst/>
          </a:prstGeom>
        </p:spPr>
      </p:pic>
    </p:spTree>
    <p:extLst>
      <p:ext uri="{BB962C8B-B14F-4D97-AF65-F5344CB8AC3E}">
        <p14:creationId xmlns:p14="http://schemas.microsoft.com/office/powerpoint/2010/main" val="378943257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 Whit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B02C6AB-5E2F-4DB1-87F5-C644FB7D30BD}"/>
              </a:ext>
            </a:extLst>
          </p:cNvPr>
          <p:cNvGraphicFramePr>
            <a:graphicFrameLocks noChangeAspect="1"/>
          </p:cNvGraphicFramePr>
          <p:nvPr>
            <p:custDataLst>
              <p:tags r:id="rId2"/>
            </p:custDataLst>
            <p:extLst>
              <p:ext uri="{D42A27DB-BD31-4B8C-83A1-F6EECF244321}">
                <p14:modId xmlns:p14="http://schemas.microsoft.com/office/powerpoint/2010/main" val="2970803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CB02C6AB-5E2F-4DB1-87F5-C644FB7D30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1">
            <a:extLst>
              <a:ext uri="{FF2B5EF4-FFF2-40B4-BE49-F238E27FC236}">
                <a16:creationId xmlns:a16="http://schemas.microsoft.com/office/drawing/2014/main" id="{482BD4D3-EEE4-42E0-84FC-23D0304F84E2}"/>
              </a:ext>
            </a:extLst>
          </p:cNvPr>
          <p:cNvSpPr>
            <a:spLocks noGrp="1"/>
          </p:cNvSpPr>
          <p:nvPr>
            <p:ph type="ctrTitle" hasCustomPrompt="1"/>
          </p:nvPr>
        </p:nvSpPr>
        <p:spPr bwMode="gray">
          <a:xfrm>
            <a:off x="590345" y="1354352"/>
            <a:ext cx="7272896" cy="1512168"/>
          </a:xfrm>
        </p:spPr>
        <p:txBody>
          <a:bodyPr vert="horz" anchor="t" anchorCtr="0"/>
          <a:lstStyle>
            <a:lvl1pPr algn="l">
              <a:lnSpc>
                <a:spcPct val="100000"/>
              </a:lnSpc>
              <a:spcBef>
                <a:spcPts val="0"/>
              </a:spcBef>
              <a:defRPr sz="4300" b="1">
                <a:solidFill>
                  <a:schemeClr val="accent1"/>
                </a:solidFill>
              </a:defRPr>
            </a:lvl1pPr>
          </a:lstStyle>
          <a:p>
            <a:r>
              <a:rPr lang="en-GB" noProof="0"/>
              <a:t>Presentation </a:t>
            </a:r>
            <a:br>
              <a:rPr lang="en-GB" noProof="0"/>
            </a:br>
            <a:r>
              <a:rPr lang="en-GB" noProof="0"/>
              <a:t>Title</a:t>
            </a:r>
          </a:p>
        </p:txBody>
      </p:sp>
      <p:sp>
        <p:nvSpPr>
          <p:cNvPr id="7" name="Untertitel 2">
            <a:extLst>
              <a:ext uri="{FF2B5EF4-FFF2-40B4-BE49-F238E27FC236}">
                <a16:creationId xmlns:a16="http://schemas.microsoft.com/office/drawing/2014/main" id="{BA55727A-F2D0-4A34-9818-669BAB31EDE2}"/>
              </a:ext>
            </a:extLst>
          </p:cNvPr>
          <p:cNvSpPr>
            <a:spLocks noGrp="1"/>
          </p:cNvSpPr>
          <p:nvPr>
            <p:ph type="subTitle" idx="1" hasCustomPrompt="1"/>
          </p:nvPr>
        </p:nvSpPr>
        <p:spPr bwMode="gray">
          <a:xfrm>
            <a:off x="590345" y="3111756"/>
            <a:ext cx="5401233" cy="720080"/>
          </a:xfrm>
        </p:spPr>
        <p:txBody>
          <a:bodyPr anchor="t" anchorCtr="0"/>
          <a:lstStyle>
            <a:lvl1pPr marL="0" indent="0" algn="l">
              <a:lnSpc>
                <a:spcPct val="100000"/>
              </a:lnSpc>
              <a:spcBef>
                <a:spcPts val="0"/>
              </a:spcBef>
              <a:spcAft>
                <a:spcPts val="0"/>
              </a:spcAft>
              <a:buNone/>
              <a:defRPr sz="2400">
                <a:solidFill>
                  <a:schemeClr val="tx1"/>
                </a:solidFill>
                <a:latin typeface="+mn-lt"/>
                <a:cs typeface="Abadi MT Condensed Extra Bold"/>
              </a:defRPr>
            </a:lvl1pPr>
            <a:lvl2pPr marL="0" indent="0" algn="l">
              <a:spcAft>
                <a:spcPts val="0"/>
              </a:spcAft>
              <a:buNone/>
              <a:defRPr sz="2400">
                <a:solidFill>
                  <a:schemeClr val="tx1"/>
                </a:solidFill>
              </a:defRPr>
            </a:lvl2pPr>
            <a:lvl3pPr marL="0" indent="0" algn="l">
              <a:spcAft>
                <a:spcPts val="0"/>
              </a:spcAft>
              <a:buNone/>
              <a:defRPr sz="2400">
                <a:solidFill>
                  <a:schemeClr val="tx1"/>
                </a:solidFill>
              </a:defRPr>
            </a:lvl3pPr>
            <a:lvl4pPr marL="0" indent="0" algn="l">
              <a:spcAft>
                <a:spcPts val="0"/>
              </a:spcAft>
              <a:buNone/>
              <a:defRPr sz="2400">
                <a:solidFill>
                  <a:schemeClr val="tx1"/>
                </a:solidFill>
              </a:defRPr>
            </a:lvl4pPr>
            <a:lvl5pPr marL="0" indent="0" algn="l">
              <a:spcAft>
                <a:spcPts val="0"/>
              </a:spcAft>
              <a:buNone/>
              <a:defRPr sz="2400">
                <a:solidFill>
                  <a:schemeClr val="tx1"/>
                </a:solidFill>
              </a:defRPr>
            </a:lvl5pPr>
            <a:lvl6pPr marL="0" indent="0" algn="l">
              <a:spcAft>
                <a:spcPts val="0"/>
              </a:spcAft>
              <a:buNone/>
              <a:defRPr sz="2400">
                <a:solidFill>
                  <a:schemeClr val="tx1"/>
                </a:solidFill>
              </a:defRPr>
            </a:lvl6pPr>
            <a:lvl7pPr marL="0" indent="0" algn="l">
              <a:spcAft>
                <a:spcPts val="0"/>
              </a:spcAft>
              <a:buNone/>
              <a:defRPr sz="2400">
                <a:solidFill>
                  <a:schemeClr val="tx1"/>
                </a:solidFill>
              </a:defRPr>
            </a:lvl7pPr>
            <a:lvl8pPr marL="0" indent="0" algn="l">
              <a:spcAft>
                <a:spcPts val="0"/>
              </a:spcAft>
              <a:buNone/>
              <a:defRPr sz="2400">
                <a:solidFill>
                  <a:schemeClr val="tx1"/>
                </a:solidFill>
              </a:defRPr>
            </a:lvl8pPr>
            <a:lvl9pPr marL="0" indent="0" algn="l">
              <a:spcAft>
                <a:spcPts val="0"/>
              </a:spcAft>
              <a:buNone/>
              <a:defRPr sz="2400">
                <a:solidFill>
                  <a:schemeClr val="tx1"/>
                </a:solidFill>
              </a:defRPr>
            </a:lvl9pPr>
          </a:lstStyle>
          <a:p>
            <a:pPr lvl="0"/>
            <a:r>
              <a:rPr lang="en-GB" noProof="0"/>
              <a:t>Subtitle</a:t>
            </a:r>
          </a:p>
        </p:txBody>
      </p:sp>
      <p:sp>
        <p:nvSpPr>
          <p:cNvPr id="9" name="Datumsplatzhalter 24">
            <a:extLst>
              <a:ext uri="{FF2B5EF4-FFF2-40B4-BE49-F238E27FC236}">
                <a16:creationId xmlns:a16="http://schemas.microsoft.com/office/drawing/2014/main" id="{16F11FE9-AEA9-4575-AD7C-CD162460E44F}"/>
              </a:ext>
            </a:extLst>
          </p:cNvPr>
          <p:cNvSpPr>
            <a:spLocks noGrp="1"/>
          </p:cNvSpPr>
          <p:nvPr>
            <p:ph type="dt" sz="half" idx="10"/>
          </p:nvPr>
        </p:nvSpPr>
        <p:spPr bwMode="gray">
          <a:xfrm>
            <a:off x="602879" y="3933056"/>
            <a:ext cx="3529571" cy="576064"/>
          </a:xfrm>
        </p:spPr>
        <p:txBody>
          <a:bodyPr anchor="t">
            <a:noAutofit/>
          </a:bodyPr>
          <a:lstStyle>
            <a:lvl1pPr marL="0" algn="l">
              <a:lnSpc>
                <a:spcPct val="100000"/>
              </a:lnSpc>
              <a:defRPr sz="1400">
                <a:solidFill>
                  <a:schemeClr val="tx1"/>
                </a:solidFill>
              </a:defRPr>
            </a:lvl1pPr>
            <a:lvl2pPr marL="0">
              <a:lnSpc>
                <a:spcPct val="100000"/>
              </a:lnSpc>
              <a:defRPr sz="1400"/>
            </a:lvl2pPr>
            <a:lvl3pPr marL="0">
              <a:lnSpc>
                <a:spcPct val="100000"/>
              </a:lnSpc>
              <a:defRPr sz="1400"/>
            </a:lvl3pPr>
            <a:lvl4pPr marL="0">
              <a:lnSpc>
                <a:spcPct val="100000"/>
              </a:lnSpc>
              <a:defRPr sz="1400"/>
            </a:lvl4pPr>
            <a:lvl5pPr marL="0">
              <a:lnSpc>
                <a:spcPct val="100000"/>
              </a:lnSpc>
              <a:defRPr sz="1400"/>
            </a:lvl5pPr>
            <a:lvl6pPr marL="0">
              <a:lnSpc>
                <a:spcPct val="100000"/>
              </a:lnSpc>
              <a:defRPr sz="1400"/>
            </a:lvl6pPr>
            <a:lvl7pPr marL="0">
              <a:lnSpc>
                <a:spcPct val="100000"/>
              </a:lnSpc>
              <a:defRPr sz="1400"/>
            </a:lvl7pPr>
            <a:lvl8pPr marL="0">
              <a:lnSpc>
                <a:spcPct val="100000"/>
              </a:lnSpc>
              <a:defRPr sz="1400"/>
            </a:lvl8pPr>
            <a:lvl9pPr marL="0">
              <a:lnSpc>
                <a:spcPct val="100000"/>
              </a:lnSpc>
              <a:defRPr sz="1400"/>
            </a:lvl9pPr>
          </a:lstStyle>
          <a:p>
            <a:endParaRPr lang="en-US"/>
          </a:p>
        </p:txBody>
      </p:sp>
      <p:pic>
        <p:nvPicPr>
          <p:cNvPr id="11" name="Grafik 10">
            <a:extLst>
              <a:ext uri="{FF2B5EF4-FFF2-40B4-BE49-F238E27FC236}">
                <a16:creationId xmlns:a16="http://schemas.microsoft.com/office/drawing/2014/main" id="{BAAA93AF-3754-4C5B-BDE5-012E1B1632F3}"/>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bwMode="gray">
          <a:xfrm>
            <a:off x="587388" y="5787300"/>
            <a:ext cx="2127958" cy="342000"/>
          </a:xfrm>
          <a:prstGeom prst="rect">
            <a:avLst/>
          </a:prstGeom>
        </p:spPr>
      </p:pic>
    </p:spTree>
    <p:extLst>
      <p:ext uri="{BB962C8B-B14F-4D97-AF65-F5344CB8AC3E}">
        <p14:creationId xmlns:p14="http://schemas.microsoft.com/office/powerpoint/2010/main" val="791026509"/>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 Teal">
    <p:bg>
      <p:bgPr>
        <a:solidFill>
          <a:schemeClr val="accent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9DB1F12-780B-4457-92FE-697C82B26135}"/>
              </a:ext>
            </a:extLst>
          </p:cNvPr>
          <p:cNvGraphicFramePr>
            <a:graphicFrameLocks noChangeAspect="1"/>
          </p:cNvGraphicFramePr>
          <p:nvPr>
            <p:custDataLst>
              <p:tags r:id="rId2"/>
            </p:custDataLst>
            <p:extLst>
              <p:ext uri="{D42A27DB-BD31-4B8C-83A1-F6EECF244321}">
                <p14:modId xmlns:p14="http://schemas.microsoft.com/office/powerpoint/2010/main" val="7718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79DB1F12-780B-4457-92FE-697C82B261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1">
            <a:extLst>
              <a:ext uri="{FF2B5EF4-FFF2-40B4-BE49-F238E27FC236}">
                <a16:creationId xmlns:a16="http://schemas.microsoft.com/office/drawing/2014/main" id="{ED78BDF4-D19E-42DE-B03D-842CAB4E0EFA}"/>
              </a:ext>
            </a:extLst>
          </p:cNvPr>
          <p:cNvSpPr>
            <a:spLocks noGrp="1"/>
          </p:cNvSpPr>
          <p:nvPr>
            <p:ph type="ctrTitle" hasCustomPrompt="1"/>
          </p:nvPr>
        </p:nvSpPr>
        <p:spPr bwMode="gray">
          <a:xfrm>
            <a:off x="590318" y="1340768"/>
            <a:ext cx="7272896" cy="1512168"/>
          </a:xfrm>
        </p:spPr>
        <p:txBody>
          <a:bodyPr vert="horz" anchor="t" anchorCtr="0"/>
          <a:lstStyle>
            <a:lvl1pPr algn="l">
              <a:lnSpc>
                <a:spcPct val="100000"/>
              </a:lnSpc>
              <a:spcBef>
                <a:spcPts val="0"/>
              </a:spcBef>
              <a:defRPr sz="4300" b="1">
                <a:solidFill>
                  <a:schemeClr val="tx1"/>
                </a:solidFill>
              </a:defRPr>
            </a:lvl1pPr>
          </a:lstStyle>
          <a:p>
            <a:r>
              <a:rPr lang="en-GB" noProof="0"/>
              <a:t>Presentation </a:t>
            </a:r>
            <a:br>
              <a:rPr lang="en-GB" noProof="0"/>
            </a:br>
            <a:r>
              <a:rPr lang="en-GB" noProof="0"/>
              <a:t>Title</a:t>
            </a:r>
          </a:p>
        </p:txBody>
      </p:sp>
      <p:sp>
        <p:nvSpPr>
          <p:cNvPr id="8" name="Untertitel 2">
            <a:extLst>
              <a:ext uri="{FF2B5EF4-FFF2-40B4-BE49-F238E27FC236}">
                <a16:creationId xmlns:a16="http://schemas.microsoft.com/office/drawing/2014/main" id="{B0255F2F-02B4-4535-B2A0-1D1446A0ADD6}"/>
              </a:ext>
            </a:extLst>
          </p:cNvPr>
          <p:cNvSpPr>
            <a:spLocks noGrp="1"/>
          </p:cNvSpPr>
          <p:nvPr>
            <p:ph type="subTitle" idx="1" hasCustomPrompt="1"/>
          </p:nvPr>
        </p:nvSpPr>
        <p:spPr bwMode="gray">
          <a:xfrm>
            <a:off x="590318" y="3098172"/>
            <a:ext cx="5401233" cy="720080"/>
          </a:xfrm>
        </p:spPr>
        <p:txBody>
          <a:bodyPr anchor="t" anchorCtr="0"/>
          <a:lstStyle>
            <a:lvl1pPr marL="0" indent="0" algn="l">
              <a:lnSpc>
                <a:spcPct val="100000"/>
              </a:lnSpc>
              <a:spcBef>
                <a:spcPts val="0"/>
              </a:spcBef>
              <a:spcAft>
                <a:spcPts val="0"/>
              </a:spcAft>
              <a:buNone/>
              <a:defRPr sz="2400">
                <a:solidFill>
                  <a:schemeClr val="tx1"/>
                </a:solidFill>
                <a:latin typeface="+mn-lt"/>
                <a:cs typeface="Abadi MT Condensed Extra Bold"/>
              </a:defRPr>
            </a:lvl1pPr>
            <a:lvl2pPr marL="0" indent="0" algn="l">
              <a:spcAft>
                <a:spcPts val="0"/>
              </a:spcAft>
              <a:buNone/>
              <a:defRPr sz="2400"/>
            </a:lvl2pPr>
            <a:lvl3pPr marL="0" indent="0" algn="l">
              <a:spcAft>
                <a:spcPts val="0"/>
              </a:spcAft>
              <a:buNone/>
              <a:defRPr sz="2400"/>
            </a:lvl3pPr>
            <a:lvl4pPr marL="0" indent="0" algn="l">
              <a:spcAft>
                <a:spcPts val="0"/>
              </a:spcAft>
              <a:buNone/>
              <a:defRPr sz="2400"/>
            </a:lvl4pPr>
            <a:lvl5pPr marL="0" indent="0" algn="l">
              <a:spcAft>
                <a:spcPts val="0"/>
              </a:spcAft>
              <a:buNone/>
              <a:defRPr sz="2400"/>
            </a:lvl5pPr>
            <a:lvl6pPr marL="0" indent="0" algn="l">
              <a:spcAft>
                <a:spcPts val="0"/>
              </a:spcAft>
              <a:buNone/>
              <a:defRPr sz="2400"/>
            </a:lvl6pPr>
            <a:lvl7pPr marL="0" indent="0" algn="l">
              <a:spcAft>
                <a:spcPts val="0"/>
              </a:spcAft>
              <a:buNone/>
              <a:defRPr sz="2400"/>
            </a:lvl7pPr>
            <a:lvl8pPr marL="0" indent="0" algn="l">
              <a:spcAft>
                <a:spcPts val="0"/>
              </a:spcAft>
              <a:buNone/>
              <a:defRPr sz="2400"/>
            </a:lvl8pPr>
            <a:lvl9pPr marL="0" indent="0" algn="l">
              <a:spcAft>
                <a:spcPts val="0"/>
              </a:spcAft>
              <a:buNone/>
              <a:defRPr sz="2400"/>
            </a:lvl9pPr>
          </a:lstStyle>
          <a:p>
            <a:r>
              <a:rPr lang="en-GB" noProof="0"/>
              <a:t>Subtitle</a:t>
            </a:r>
          </a:p>
        </p:txBody>
      </p:sp>
      <p:sp>
        <p:nvSpPr>
          <p:cNvPr id="9" name="Datumsplatzhalter 24">
            <a:extLst>
              <a:ext uri="{FF2B5EF4-FFF2-40B4-BE49-F238E27FC236}">
                <a16:creationId xmlns:a16="http://schemas.microsoft.com/office/drawing/2014/main" id="{80D1C763-2B8F-441F-9A03-9467E1680469}"/>
              </a:ext>
            </a:extLst>
          </p:cNvPr>
          <p:cNvSpPr>
            <a:spLocks noGrp="1"/>
          </p:cNvSpPr>
          <p:nvPr>
            <p:ph type="dt" sz="half" idx="10"/>
          </p:nvPr>
        </p:nvSpPr>
        <p:spPr bwMode="gray">
          <a:xfrm>
            <a:off x="602852" y="3919472"/>
            <a:ext cx="3529571" cy="589648"/>
          </a:xfrm>
        </p:spPr>
        <p:txBody>
          <a:bodyPr anchor="t"/>
          <a:lstStyle>
            <a:lvl1pPr marL="0" algn="l">
              <a:lnSpc>
                <a:spcPct val="100000"/>
              </a:lnSpc>
              <a:defRPr sz="1400">
                <a:solidFill>
                  <a:schemeClr val="tx1"/>
                </a:solidFill>
              </a:defRPr>
            </a:lvl1pPr>
            <a:lvl2pPr marL="0">
              <a:lnSpc>
                <a:spcPct val="100000"/>
              </a:lnSpc>
              <a:defRPr sz="1400"/>
            </a:lvl2pPr>
            <a:lvl3pPr marL="0">
              <a:lnSpc>
                <a:spcPct val="100000"/>
              </a:lnSpc>
              <a:defRPr sz="1400"/>
            </a:lvl3pPr>
            <a:lvl4pPr marL="0">
              <a:lnSpc>
                <a:spcPct val="100000"/>
              </a:lnSpc>
              <a:defRPr sz="1400"/>
            </a:lvl4pPr>
            <a:lvl5pPr marL="0">
              <a:lnSpc>
                <a:spcPct val="100000"/>
              </a:lnSpc>
              <a:defRPr sz="1400"/>
            </a:lvl5pPr>
            <a:lvl6pPr marL="0">
              <a:lnSpc>
                <a:spcPct val="100000"/>
              </a:lnSpc>
              <a:defRPr sz="1400"/>
            </a:lvl6pPr>
            <a:lvl7pPr marL="0">
              <a:lnSpc>
                <a:spcPct val="100000"/>
              </a:lnSpc>
              <a:defRPr sz="1400"/>
            </a:lvl7pPr>
            <a:lvl8pPr marL="0">
              <a:lnSpc>
                <a:spcPct val="100000"/>
              </a:lnSpc>
              <a:defRPr sz="1400"/>
            </a:lvl8pPr>
            <a:lvl9pPr marL="0">
              <a:lnSpc>
                <a:spcPct val="100000"/>
              </a:lnSpc>
              <a:defRPr sz="1400"/>
            </a:lvl9pPr>
          </a:lstStyle>
          <a:p>
            <a:endParaRPr lang="en-US"/>
          </a:p>
        </p:txBody>
      </p:sp>
      <p:pic>
        <p:nvPicPr>
          <p:cNvPr id="11" name="Grafik 10">
            <a:extLst>
              <a:ext uri="{FF2B5EF4-FFF2-40B4-BE49-F238E27FC236}">
                <a16:creationId xmlns:a16="http://schemas.microsoft.com/office/drawing/2014/main" id="{C31D9EF6-C0B2-4932-9F2F-7EBCEF7B3161}"/>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bwMode="gray">
          <a:xfrm>
            <a:off x="587388" y="5787300"/>
            <a:ext cx="2127958" cy="342000"/>
          </a:xfrm>
          <a:prstGeom prst="rect">
            <a:avLst/>
          </a:prstGeom>
        </p:spPr>
      </p:pic>
    </p:spTree>
    <p:extLst>
      <p:ext uri="{BB962C8B-B14F-4D97-AF65-F5344CB8AC3E}">
        <p14:creationId xmlns:p14="http://schemas.microsoft.com/office/powerpoint/2010/main" val="429392556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 Grey">
    <p:bg>
      <p:bgPr>
        <a:solidFill>
          <a:schemeClr val="bg2"/>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4EF0DCB-8CD4-4133-91C8-7785BC331A6B}"/>
              </a:ext>
            </a:extLst>
          </p:cNvPr>
          <p:cNvGraphicFramePr>
            <a:graphicFrameLocks noChangeAspect="1"/>
          </p:cNvGraphicFramePr>
          <p:nvPr>
            <p:custDataLst>
              <p:tags r:id="rId2"/>
            </p:custDataLst>
            <p:extLst>
              <p:ext uri="{D42A27DB-BD31-4B8C-83A1-F6EECF244321}">
                <p14:modId xmlns:p14="http://schemas.microsoft.com/office/powerpoint/2010/main" val="1997786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44EF0DCB-8CD4-4133-91C8-7785BC331A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1">
            <a:extLst>
              <a:ext uri="{FF2B5EF4-FFF2-40B4-BE49-F238E27FC236}">
                <a16:creationId xmlns:a16="http://schemas.microsoft.com/office/drawing/2014/main" id="{100FA83C-1D22-4C72-9931-4F272EE70A97}"/>
              </a:ext>
            </a:extLst>
          </p:cNvPr>
          <p:cNvSpPr>
            <a:spLocks noGrp="1"/>
          </p:cNvSpPr>
          <p:nvPr>
            <p:ph type="ctrTitle" hasCustomPrompt="1"/>
          </p:nvPr>
        </p:nvSpPr>
        <p:spPr bwMode="gray">
          <a:xfrm>
            <a:off x="590345" y="1340768"/>
            <a:ext cx="7272896" cy="1512168"/>
          </a:xfrm>
        </p:spPr>
        <p:txBody>
          <a:bodyPr vert="horz" anchor="t" anchorCtr="0"/>
          <a:lstStyle>
            <a:lvl1pPr algn="l">
              <a:lnSpc>
                <a:spcPct val="100000"/>
              </a:lnSpc>
              <a:spcBef>
                <a:spcPts val="0"/>
              </a:spcBef>
              <a:defRPr sz="4300" b="1">
                <a:solidFill>
                  <a:schemeClr val="accent1"/>
                </a:solidFill>
              </a:defRPr>
            </a:lvl1pPr>
          </a:lstStyle>
          <a:p>
            <a:r>
              <a:rPr lang="en-GB" noProof="0"/>
              <a:t>Presentation </a:t>
            </a:r>
            <a:br>
              <a:rPr lang="en-GB" noProof="0"/>
            </a:br>
            <a:r>
              <a:rPr lang="en-GB" noProof="0"/>
              <a:t>Title</a:t>
            </a:r>
          </a:p>
        </p:txBody>
      </p:sp>
      <p:sp>
        <p:nvSpPr>
          <p:cNvPr id="7" name="Untertitel 2">
            <a:extLst>
              <a:ext uri="{FF2B5EF4-FFF2-40B4-BE49-F238E27FC236}">
                <a16:creationId xmlns:a16="http://schemas.microsoft.com/office/drawing/2014/main" id="{D165CAAA-142D-476B-8DC8-74F66B553347}"/>
              </a:ext>
            </a:extLst>
          </p:cNvPr>
          <p:cNvSpPr>
            <a:spLocks noGrp="1"/>
          </p:cNvSpPr>
          <p:nvPr>
            <p:ph type="subTitle" idx="1" hasCustomPrompt="1"/>
          </p:nvPr>
        </p:nvSpPr>
        <p:spPr bwMode="gray">
          <a:xfrm>
            <a:off x="590345" y="3098172"/>
            <a:ext cx="5401233" cy="720080"/>
          </a:xfrm>
        </p:spPr>
        <p:txBody>
          <a:bodyPr anchor="t" anchorCtr="0"/>
          <a:lstStyle>
            <a:lvl1pPr marL="0" indent="0" algn="l">
              <a:lnSpc>
                <a:spcPct val="100000"/>
              </a:lnSpc>
              <a:spcBef>
                <a:spcPts val="0"/>
              </a:spcBef>
              <a:spcAft>
                <a:spcPts val="0"/>
              </a:spcAft>
              <a:buNone/>
              <a:defRPr sz="2400">
                <a:solidFill>
                  <a:schemeClr val="tx1"/>
                </a:solidFill>
                <a:latin typeface="+mn-lt"/>
                <a:cs typeface="Abadi MT Condensed Extra Bold"/>
              </a:defRPr>
            </a:lvl1pPr>
            <a:lvl2pPr marL="0" indent="0" algn="l">
              <a:spcAft>
                <a:spcPts val="0"/>
              </a:spcAft>
              <a:buNone/>
              <a:defRPr sz="2400"/>
            </a:lvl2pPr>
            <a:lvl3pPr marL="0" indent="0" algn="l">
              <a:spcAft>
                <a:spcPts val="0"/>
              </a:spcAft>
              <a:buNone/>
              <a:defRPr sz="2400"/>
            </a:lvl3pPr>
            <a:lvl4pPr marL="0" indent="0" algn="l">
              <a:spcAft>
                <a:spcPts val="0"/>
              </a:spcAft>
              <a:buNone/>
              <a:defRPr sz="2400"/>
            </a:lvl4pPr>
            <a:lvl5pPr marL="0" indent="0" algn="l">
              <a:spcAft>
                <a:spcPts val="0"/>
              </a:spcAft>
              <a:buNone/>
              <a:defRPr sz="2400"/>
            </a:lvl5pPr>
            <a:lvl6pPr marL="0" indent="0" algn="l">
              <a:spcAft>
                <a:spcPts val="0"/>
              </a:spcAft>
              <a:buNone/>
              <a:defRPr sz="2400"/>
            </a:lvl6pPr>
            <a:lvl7pPr marL="0" indent="0" algn="l">
              <a:spcAft>
                <a:spcPts val="0"/>
              </a:spcAft>
              <a:buNone/>
              <a:defRPr sz="2400"/>
            </a:lvl7pPr>
            <a:lvl8pPr marL="0" indent="0" algn="l">
              <a:spcAft>
                <a:spcPts val="0"/>
              </a:spcAft>
              <a:buNone/>
              <a:defRPr sz="2400"/>
            </a:lvl8pPr>
            <a:lvl9pPr marL="0" indent="0" algn="l">
              <a:spcAft>
                <a:spcPts val="0"/>
              </a:spcAft>
              <a:buNone/>
              <a:defRPr sz="2400"/>
            </a:lvl9pPr>
          </a:lstStyle>
          <a:p>
            <a:r>
              <a:rPr lang="en-GB" noProof="0"/>
              <a:t>Subtitle</a:t>
            </a:r>
          </a:p>
        </p:txBody>
      </p:sp>
      <p:sp>
        <p:nvSpPr>
          <p:cNvPr id="8" name="Datumsplatzhalter 24">
            <a:extLst>
              <a:ext uri="{FF2B5EF4-FFF2-40B4-BE49-F238E27FC236}">
                <a16:creationId xmlns:a16="http://schemas.microsoft.com/office/drawing/2014/main" id="{8C240F6A-1488-4B7E-8E07-B209A45FFB71}"/>
              </a:ext>
            </a:extLst>
          </p:cNvPr>
          <p:cNvSpPr>
            <a:spLocks noGrp="1"/>
          </p:cNvSpPr>
          <p:nvPr>
            <p:ph type="dt" sz="half" idx="10"/>
          </p:nvPr>
        </p:nvSpPr>
        <p:spPr bwMode="gray">
          <a:xfrm>
            <a:off x="602879" y="3919472"/>
            <a:ext cx="3529571" cy="589648"/>
          </a:xfrm>
        </p:spPr>
        <p:txBody>
          <a:bodyPr anchor="t"/>
          <a:lstStyle>
            <a:lvl1pPr marL="0" algn="l">
              <a:lnSpc>
                <a:spcPct val="100000"/>
              </a:lnSpc>
              <a:defRPr sz="1400">
                <a:solidFill>
                  <a:schemeClr val="tx1"/>
                </a:solidFill>
              </a:defRPr>
            </a:lvl1pPr>
            <a:lvl2pPr marL="0">
              <a:lnSpc>
                <a:spcPct val="100000"/>
              </a:lnSpc>
              <a:defRPr sz="1400"/>
            </a:lvl2pPr>
            <a:lvl3pPr marL="0">
              <a:lnSpc>
                <a:spcPct val="100000"/>
              </a:lnSpc>
              <a:defRPr sz="1400"/>
            </a:lvl3pPr>
            <a:lvl4pPr marL="0">
              <a:lnSpc>
                <a:spcPct val="100000"/>
              </a:lnSpc>
              <a:defRPr sz="1400"/>
            </a:lvl4pPr>
            <a:lvl5pPr marL="0">
              <a:lnSpc>
                <a:spcPct val="100000"/>
              </a:lnSpc>
              <a:defRPr sz="1400"/>
            </a:lvl5pPr>
            <a:lvl6pPr marL="0">
              <a:lnSpc>
                <a:spcPct val="100000"/>
              </a:lnSpc>
              <a:defRPr sz="1400"/>
            </a:lvl6pPr>
            <a:lvl7pPr marL="0">
              <a:lnSpc>
                <a:spcPct val="100000"/>
              </a:lnSpc>
              <a:defRPr sz="1400"/>
            </a:lvl7pPr>
            <a:lvl8pPr marL="0">
              <a:lnSpc>
                <a:spcPct val="100000"/>
              </a:lnSpc>
              <a:defRPr sz="1400"/>
            </a:lvl8pPr>
            <a:lvl9pPr marL="0">
              <a:lnSpc>
                <a:spcPct val="100000"/>
              </a:lnSpc>
              <a:defRPr sz="1400"/>
            </a:lvl9pPr>
          </a:lstStyle>
          <a:p>
            <a:endParaRPr lang="en-US"/>
          </a:p>
        </p:txBody>
      </p:sp>
      <p:pic>
        <p:nvPicPr>
          <p:cNvPr id="10" name="Grafik 9">
            <a:extLst>
              <a:ext uri="{FF2B5EF4-FFF2-40B4-BE49-F238E27FC236}">
                <a16:creationId xmlns:a16="http://schemas.microsoft.com/office/drawing/2014/main" id="{4A7B63CB-3FB4-49B7-AFCE-C1F42A53893E}"/>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bwMode="gray">
          <a:xfrm>
            <a:off x="587388" y="5787300"/>
            <a:ext cx="2127958" cy="342000"/>
          </a:xfrm>
          <a:prstGeom prst="rect">
            <a:avLst/>
          </a:prstGeom>
        </p:spPr>
      </p:pic>
    </p:spTree>
    <p:extLst>
      <p:ext uri="{BB962C8B-B14F-4D97-AF65-F5344CB8AC3E}">
        <p14:creationId xmlns:p14="http://schemas.microsoft.com/office/powerpoint/2010/main" val="119318295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left | Pictur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699DFD9-25B7-4BE0-9032-02051080271D}"/>
              </a:ext>
            </a:extLst>
          </p:cNvPr>
          <p:cNvGraphicFramePr>
            <a:graphicFrameLocks noChangeAspect="1"/>
          </p:cNvGraphicFramePr>
          <p:nvPr>
            <p:custDataLst>
              <p:tags r:id="rId2"/>
            </p:custDataLst>
            <p:extLst>
              <p:ext uri="{D42A27DB-BD31-4B8C-83A1-F6EECF244321}">
                <p14:modId xmlns:p14="http://schemas.microsoft.com/office/powerpoint/2010/main" val="2702897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4" imgW="359" imgH="358" progId="TCLayout.ActiveDocument.1">
                  <p:embed/>
                </p:oleObj>
              </mc:Choice>
              <mc:Fallback>
                <p:oleObj name="think-cell Slide" r:id="rId4" imgW="359" imgH="358" progId="TCLayout.ActiveDocument.1">
                  <p:embed/>
                  <p:pic>
                    <p:nvPicPr>
                      <p:cNvPr id="3" name="Objekt 2" hidden="1">
                        <a:extLst>
                          <a:ext uri="{FF2B5EF4-FFF2-40B4-BE49-F238E27FC236}">
                            <a16:creationId xmlns:a16="http://schemas.microsoft.com/office/drawing/2014/main" id="{5699DFD9-25B7-4BE0-9032-0205108027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icture Placeholder 3">
            <a:extLst>
              <a:ext uri="{FF2B5EF4-FFF2-40B4-BE49-F238E27FC236}">
                <a16:creationId xmlns:a16="http://schemas.microsoft.com/office/drawing/2014/main" id="{A43C8737-CA51-4148-81DC-F9C80508A1B3}"/>
              </a:ext>
            </a:extLst>
          </p:cNvPr>
          <p:cNvSpPr>
            <a:spLocks noGrp="1"/>
          </p:cNvSpPr>
          <p:nvPr>
            <p:ph type="pic" sz="quarter" idx="13" hasCustomPrompt="1"/>
          </p:nvPr>
        </p:nvSpPr>
        <p:spPr bwMode="gray">
          <a:xfrm>
            <a:off x="0" y="0"/>
            <a:ext cx="12192000" cy="6858000"/>
          </a:xfrm>
          <a:solidFill>
            <a:schemeClr val="bg2"/>
          </a:solidFill>
        </p:spPr>
        <p:txBody>
          <a:bodyPr lIns="6912000" tIns="0" rIns="1368000" anchor="ctr" anchorCtr="0"/>
          <a:lstStyle>
            <a:lvl1pPr>
              <a:defRPr sz="1200">
                <a:solidFill>
                  <a:schemeClr val="accent4"/>
                </a:solidFill>
              </a:defRPr>
            </a:lvl1pPr>
            <a:lvl2pPr marL="0" indent="0">
              <a:buFontTx/>
              <a:buNone/>
              <a:defRPr sz="1200"/>
            </a:lvl2pPr>
            <a:lvl3pPr marL="0" indent="0">
              <a:buFontTx/>
              <a:buNone/>
              <a:defRPr sz="1200"/>
            </a:lvl3pPr>
            <a:lvl4pPr marL="0" indent="0">
              <a:buFontTx/>
              <a:buNone/>
              <a:tabLst/>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GB"/>
              <a:t> </a:t>
            </a:r>
          </a:p>
        </p:txBody>
      </p:sp>
      <p:sp>
        <p:nvSpPr>
          <p:cNvPr id="11" name="Textplatzhalter 5">
            <a:extLst>
              <a:ext uri="{FF2B5EF4-FFF2-40B4-BE49-F238E27FC236}">
                <a16:creationId xmlns:a16="http://schemas.microsoft.com/office/drawing/2014/main" id="{F63CF737-36F6-441D-B92C-EC5D22B3B1A9}"/>
              </a:ext>
            </a:extLst>
          </p:cNvPr>
          <p:cNvSpPr>
            <a:spLocks noGrp="1"/>
          </p:cNvSpPr>
          <p:nvPr>
            <p:ph type="body" sz="quarter" idx="14" hasCustomPrompt="1"/>
          </p:nvPr>
        </p:nvSpPr>
        <p:spPr bwMode="gray">
          <a:xfrm>
            <a:off x="587388" y="5787300"/>
            <a:ext cx="2127600" cy="342000"/>
          </a:xfrm>
          <a:prstGeom prst="rect">
            <a:avLst/>
          </a:prstGeom>
          <a:blipFill dpi="0" rotWithShape="1">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a:blipFill>
        </p:spPr>
        <p:txBody>
          <a:bodyPr/>
          <a:lstStyle>
            <a:lvl1pPr marL="0" indent="0">
              <a:buNone/>
              <a:defRPr sz="800">
                <a:solidFill>
                  <a:schemeClr val="bg1"/>
                </a:solidFill>
              </a:defRPr>
            </a:lvl1pPr>
          </a:lstStyle>
          <a:p>
            <a:pPr lvl="0"/>
            <a:r>
              <a:rPr lang="en-GB" noProof="0"/>
              <a:t> </a:t>
            </a:r>
          </a:p>
        </p:txBody>
      </p:sp>
      <p:sp>
        <p:nvSpPr>
          <p:cNvPr id="8" name="Titel 1">
            <a:extLst>
              <a:ext uri="{FF2B5EF4-FFF2-40B4-BE49-F238E27FC236}">
                <a16:creationId xmlns:a16="http://schemas.microsoft.com/office/drawing/2014/main" id="{0B56861E-14AD-46E2-ABEF-F27C36285006}"/>
              </a:ext>
            </a:extLst>
          </p:cNvPr>
          <p:cNvSpPr>
            <a:spLocks noGrp="1"/>
          </p:cNvSpPr>
          <p:nvPr>
            <p:ph type="ctrTitle" hasCustomPrompt="1"/>
          </p:nvPr>
        </p:nvSpPr>
        <p:spPr bwMode="gray">
          <a:xfrm>
            <a:off x="590949" y="1340768"/>
            <a:ext cx="7272896" cy="1512168"/>
          </a:xfrm>
        </p:spPr>
        <p:txBody>
          <a:bodyPr vert="horz" anchor="t" anchorCtr="0"/>
          <a:lstStyle>
            <a:lvl1pPr algn="l">
              <a:lnSpc>
                <a:spcPct val="100000"/>
              </a:lnSpc>
              <a:spcBef>
                <a:spcPts val="0"/>
              </a:spcBef>
              <a:defRPr sz="4300" b="1">
                <a:solidFill>
                  <a:schemeClr val="accent1"/>
                </a:solidFill>
              </a:defRPr>
            </a:lvl1pPr>
          </a:lstStyle>
          <a:p>
            <a:r>
              <a:rPr lang="en-GB" noProof="0"/>
              <a:t>Presentation </a:t>
            </a:r>
            <a:br>
              <a:rPr lang="en-GB" noProof="0"/>
            </a:br>
            <a:r>
              <a:rPr lang="en-GB" noProof="0"/>
              <a:t>Title</a:t>
            </a:r>
          </a:p>
        </p:txBody>
      </p:sp>
      <p:sp>
        <p:nvSpPr>
          <p:cNvPr id="9" name="Untertitel 2">
            <a:extLst>
              <a:ext uri="{FF2B5EF4-FFF2-40B4-BE49-F238E27FC236}">
                <a16:creationId xmlns:a16="http://schemas.microsoft.com/office/drawing/2014/main" id="{E6AD8C72-018C-4BD6-A7A6-5999612434AA}"/>
              </a:ext>
            </a:extLst>
          </p:cNvPr>
          <p:cNvSpPr>
            <a:spLocks noGrp="1"/>
          </p:cNvSpPr>
          <p:nvPr>
            <p:ph type="subTitle" idx="1" hasCustomPrompt="1"/>
          </p:nvPr>
        </p:nvSpPr>
        <p:spPr bwMode="gray">
          <a:xfrm>
            <a:off x="590949" y="3098172"/>
            <a:ext cx="5401233" cy="720080"/>
          </a:xfrm>
        </p:spPr>
        <p:txBody>
          <a:bodyPr anchor="t" anchorCtr="0"/>
          <a:lstStyle>
            <a:lvl1pPr marL="0" indent="0" algn="l">
              <a:lnSpc>
                <a:spcPct val="100000"/>
              </a:lnSpc>
              <a:spcBef>
                <a:spcPts val="0"/>
              </a:spcBef>
              <a:spcAft>
                <a:spcPts val="0"/>
              </a:spcAft>
              <a:buNone/>
              <a:defRPr sz="2400">
                <a:solidFill>
                  <a:schemeClr val="tx1"/>
                </a:solidFill>
                <a:latin typeface="+mn-lt"/>
                <a:cs typeface="Abadi MT Condensed Extra Bold"/>
              </a:defRPr>
            </a:lvl1pPr>
            <a:lvl2pPr marL="0" indent="0" algn="l">
              <a:spcAft>
                <a:spcPts val="0"/>
              </a:spcAft>
              <a:buNone/>
              <a:defRPr sz="2400"/>
            </a:lvl2pPr>
            <a:lvl3pPr marL="0" indent="0" algn="l">
              <a:spcAft>
                <a:spcPts val="0"/>
              </a:spcAft>
              <a:buNone/>
              <a:defRPr sz="2400"/>
            </a:lvl3pPr>
            <a:lvl4pPr marL="0" indent="0" algn="l">
              <a:spcAft>
                <a:spcPts val="0"/>
              </a:spcAft>
              <a:buNone/>
              <a:defRPr sz="2400"/>
            </a:lvl4pPr>
            <a:lvl5pPr marL="0" indent="0" algn="l">
              <a:spcAft>
                <a:spcPts val="0"/>
              </a:spcAft>
              <a:buNone/>
              <a:defRPr sz="2400"/>
            </a:lvl5pPr>
            <a:lvl6pPr marL="0" indent="0" algn="l">
              <a:spcAft>
                <a:spcPts val="0"/>
              </a:spcAft>
              <a:buNone/>
              <a:defRPr sz="2400"/>
            </a:lvl6pPr>
            <a:lvl7pPr marL="0" indent="0" algn="l">
              <a:spcAft>
                <a:spcPts val="0"/>
              </a:spcAft>
              <a:buNone/>
              <a:defRPr sz="2400"/>
            </a:lvl7pPr>
            <a:lvl8pPr marL="0" indent="0" algn="l">
              <a:spcAft>
                <a:spcPts val="0"/>
              </a:spcAft>
              <a:buNone/>
              <a:defRPr sz="2400"/>
            </a:lvl8pPr>
            <a:lvl9pPr marL="0" indent="0" algn="l">
              <a:spcAft>
                <a:spcPts val="0"/>
              </a:spcAft>
              <a:buNone/>
              <a:defRPr sz="2400"/>
            </a:lvl9pPr>
          </a:lstStyle>
          <a:p>
            <a:r>
              <a:rPr lang="en-GB" noProof="0"/>
              <a:t>Subtitle</a:t>
            </a:r>
          </a:p>
        </p:txBody>
      </p:sp>
      <p:sp>
        <p:nvSpPr>
          <p:cNvPr id="10" name="Datumsplatzhalter 24">
            <a:extLst>
              <a:ext uri="{FF2B5EF4-FFF2-40B4-BE49-F238E27FC236}">
                <a16:creationId xmlns:a16="http://schemas.microsoft.com/office/drawing/2014/main" id="{8D360B2C-CC91-4F38-A3C3-C91528777F0B}"/>
              </a:ext>
            </a:extLst>
          </p:cNvPr>
          <p:cNvSpPr>
            <a:spLocks noGrp="1"/>
          </p:cNvSpPr>
          <p:nvPr>
            <p:ph type="dt" sz="half" idx="10"/>
          </p:nvPr>
        </p:nvSpPr>
        <p:spPr bwMode="gray">
          <a:xfrm>
            <a:off x="603483" y="3919472"/>
            <a:ext cx="3529571" cy="697660"/>
          </a:xfrm>
        </p:spPr>
        <p:txBody>
          <a:bodyPr anchor="t"/>
          <a:lstStyle>
            <a:lvl1pPr marL="0" algn="l">
              <a:lnSpc>
                <a:spcPct val="100000"/>
              </a:lnSpc>
              <a:defRPr sz="1400">
                <a:solidFill>
                  <a:schemeClr val="tx1"/>
                </a:solidFill>
              </a:defRPr>
            </a:lvl1pPr>
            <a:lvl2pPr marL="0">
              <a:lnSpc>
                <a:spcPct val="100000"/>
              </a:lnSpc>
              <a:defRPr sz="1400"/>
            </a:lvl2pPr>
            <a:lvl3pPr marL="0">
              <a:lnSpc>
                <a:spcPct val="100000"/>
              </a:lnSpc>
              <a:defRPr sz="1400"/>
            </a:lvl3pPr>
            <a:lvl4pPr marL="0">
              <a:lnSpc>
                <a:spcPct val="100000"/>
              </a:lnSpc>
              <a:defRPr sz="1400"/>
            </a:lvl4pPr>
            <a:lvl5pPr marL="0">
              <a:lnSpc>
                <a:spcPct val="100000"/>
              </a:lnSpc>
              <a:defRPr sz="1400"/>
            </a:lvl5pPr>
            <a:lvl6pPr marL="0">
              <a:lnSpc>
                <a:spcPct val="100000"/>
              </a:lnSpc>
              <a:defRPr sz="1400"/>
            </a:lvl6pPr>
            <a:lvl7pPr marL="0">
              <a:lnSpc>
                <a:spcPct val="100000"/>
              </a:lnSpc>
              <a:defRPr sz="1400"/>
            </a:lvl7pPr>
            <a:lvl8pPr marL="0">
              <a:lnSpc>
                <a:spcPct val="100000"/>
              </a:lnSpc>
              <a:defRPr sz="1400"/>
            </a:lvl8pPr>
            <a:lvl9pPr marL="0">
              <a:lnSpc>
                <a:spcPct val="100000"/>
              </a:lnSpc>
              <a:defRPr sz="1400"/>
            </a:lvl9pPr>
          </a:lstStyle>
          <a:p>
            <a:endParaRPr lang="en-US"/>
          </a:p>
        </p:txBody>
      </p:sp>
    </p:spTree>
    <p:extLst>
      <p:ext uri="{BB962C8B-B14F-4D97-AF65-F5344CB8AC3E}">
        <p14:creationId xmlns:p14="http://schemas.microsoft.com/office/powerpoint/2010/main" val="805955680"/>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right | Pictur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91AE47F-1AB7-4157-9796-935829F0CF76}"/>
              </a:ext>
            </a:extLst>
          </p:cNvPr>
          <p:cNvGraphicFramePr>
            <a:graphicFrameLocks noChangeAspect="1"/>
          </p:cNvGraphicFramePr>
          <p:nvPr>
            <p:custDataLst>
              <p:tags r:id="rId2"/>
            </p:custDataLst>
            <p:extLst>
              <p:ext uri="{D42A27DB-BD31-4B8C-83A1-F6EECF244321}">
                <p14:modId xmlns:p14="http://schemas.microsoft.com/office/powerpoint/2010/main" val="692043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4" imgW="359" imgH="358" progId="TCLayout.ActiveDocument.1">
                  <p:embed/>
                </p:oleObj>
              </mc:Choice>
              <mc:Fallback>
                <p:oleObj name="think-cell Slide" r:id="rId4" imgW="359" imgH="358" progId="TCLayout.ActiveDocument.1">
                  <p:embed/>
                  <p:pic>
                    <p:nvPicPr>
                      <p:cNvPr id="3" name="Objekt 2" hidden="1">
                        <a:extLst>
                          <a:ext uri="{FF2B5EF4-FFF2-40B4-BE49-F238E27FC236}">
                            <a16:creationId xmlns:a16="http://schemas.microsoft.com/office/drawing/2014/main" id="{291AE47F-1AB7-4157-9796-935829F0CF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icture Placeholder 3">
            <a:extLst>
              <a:ext uri="{FF2B5EF4-FFF2-40B4-BE49-F238E27FC236}">
                <a16:creationId xmlns:a16="http://schemas.microsoft.com/office/drawing/2014/main" id="{A43C8737-CA51-4148-81DC-F9C80508A1B3}"/>
              </a:ext>
            </a:extLst>
          </p:cNvPr>
          <p:cNvSpPr>
            <a:spLocks noGrp="1"/>
          </p:cNvSpPr>
          <p:nvPr>
            <p:ph type="pic" sz="quarter" idx="13" hasCustomPrompt="1"/>
          </p:nvPr>
        </p:nvSpPr>
        <p:spPr bwMode="gray">
          <a:xfrm>
            <a:off x="0" y="0"/>
            <a:ext cx="12192000" cy="6858000"/>
          </a:xfrm>
          <a:solidFill>
            <a:schemeClr val="bg2"/>
          </a:solidFill>
        </p:spPr>
        <p:txBody>
          <a:bodyPr lIns="3168000" tIns="0" rIns="1368000" anchor="ctr" anchorCtr="0"/>
          <a:lstStyle>
            <a:lvl1pPr algn="l">
              <a:defRPr sz="1200">
                <a:solidFill>
                  <a:schemeClr val="accent4"/>
                </a:solidFill>
              </a:defRPr>
            </a:lvl1pPr>
            <a:lvl2pPr marL="0" indent="0">
              <a:buFontTx/>
              <a:buNone/>
              <a:defRPr sz="1200"/>
            </a:lvl2pPr>
            <a:lvl3pPr marL="0" indent="0">
              <a:buFontTx/>
              <a:buNone/>
              <a:defRPr sz="1200"/>
            </a:lvl3pPr>
            <a:lvl4pPr marL="0" indent="0">
              <a:buFontTx/>
              <a:buNone/>
              <a:tabLst/>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GB" noProof="0"/>
              <a:t> </a:t>
            </a:r>
          </a:p>
        </p:txBody>
      </p:sp>
      <p:sp>
        <p:nvSpPr>
          <p:cNvPr id="11" name="Textplatzhalter 5">
            <a:extLst>
              <a:ext uri="{FF2B5EF4-FFF2-40B4-BE49-F238E27FC236}">
                <a16:creationId xmlns:a16="http://schemas.microsoft.com/office/drawing/2014/main" id="{F63CF737-36F6-441D-B92C-EC5D22B3B1A9}"/>
              </a:ext>
            </a:extLst>
          </p:cNvPr>
          <p:cNvSpPr>
            <a:spLocks noGrp="1"/>
          </p:cNvSpPr>
          <p:nvPr>
            <p:ph type="body" sz="quarter" idx="14" hasCustomPrompt="1"/>
          </p:nvPr>
        </p:nvSpPr>
        <p:spPr bwMode="gray">
          <a:xfrm>
            <a:off x="6108534" y="5787300"/>
            <a:ext cx="2127600" cy="342000"/>
          </a:xfrm>
          <a:prstGeom prst="rect">
            <a:avLst/>
          </a:prstGeom>
          <a:blipFill dpi="0" rotWithShape="1">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a:blipFill>
        </p:spPr>
        <p:txBody>
          <a:bodyPr/>
          <a:lstStyle>
            <a:lvl1pPr marL="0" indent="0">
              <a:buNone/>
              <a:defRPr sz="800">
                <a:solidFill>
                  <a:schemeClr val="bg1"/>
                </a:solidFill>
              </a:defRPr>
            </a:lvl1pPr>
          </a:lstStyle>
          <a:p>
            <a:pPr lvl="0"/>
            <a:r>
              <a:rPr lang="en-GB" noProof="0"/>
              <a:t> </a:t>
            </a:r>
          </a:p>
        </p:txBody>
      </p:sp>
      <p:sp>
        <p:nvSpPr>
          <p:cNvPr id="9" name="Titel 1">
            <a:extLst>
              <a:ext uri="{FF2B5EF4-FFF2-40B4-BE49-F238E27FC236}">
                <a16:creationId xmlns:a16="http://schemas.microsoft.com/office/drawing/2014/main" id="{FF39224A-A56A-43F5-BAFF-53A0170232C7}"/>
              </a:ext>
            </a:extLst>
          </p:cNvPr>
          <p:cNvSpPr>
            <a:spLocks noGrp="1"/>
          </p:cNvSpPr>
          <p:nvPr>
            <p:ph type="ctrTitle" hasCustomPrompt="1"/>
          </p:nvPr>
        </p:nvSpPr>
        <p:spPr bwMode="gray">
          <a:xfrm>
            <a:off x="6096000" y="1340768"/>
            <a:ext cx="5508625" cy="1512168"/>
          </a:xfrm>
        </p:spPr>
        <p:txBody>
          <a:bodyPr vert="horz" anchor="t" anchorCtr="0"/>
          <a:lstStyle>
            <a:lvl1pPr algn="l">
              <a:lnSpc>
                <a:spcPct val="100000"/>
              </a:lnSpc>
              <a:spcBef>
                <a:spcPts val="0"/>
              </a:spcBef>
              <a:defRPr sz="4300" b="1">
                <a:solidFill>
                  <a:schemeClr val="accent1"/>
                </a:solidFill>
              </a:defRPr>
            </a:lvl1pPr>
          </a:lstStyle>
          <a:p>
            <a:r>
              <a:rPr lang="en-GB" noProof="0"/>
              <a:t>Presentation </a:t>
            </a:r>
            <a:br>
              <a:rPr lang="en-GB" noProof="0"/>
            </a:br>
            <a:r>
              <a:rPr lang="en-GB" noProof="0"/>
              <a:t>Title</a:t>
            </a:r>
          </a:p>
        </p:txBody>
      </p:sp>
      <p:sp>
        <p:nvSpPr>
          <p:cNvPr id="10" name="Untertitel 2">
            <a:extLst>
              <a:ext uri="{FF2B5EF4-FFF2-40B4-BE49-F238E27FC236}">
                <a16:creationId xmlns:a16="http://schemas.microsoft.com/office/drawing/2014/main" id="{D115BE72-B330-4170-AF5B-0ABD75C4C44C}"/>
              </a:ext>
            </a:extLst>
          </p:cNvPr>
          <p:cNvSpPr>
            <a:spLocks noGrp="1"/>
          </p:cNvSpPr>
          <p:nvPr>
            <p:ph type="subTitle" idx="1" hasCustomPrompt="1"/>
          </p:nvPr>
        </p:nvSpPr>
        <p:spPr bwMode="gray">
          <a:xfrm>
            <a:off x="6096000" y="3098172"/>
            <a:ext cx="5508625" cy="720080"/>
          </a:xfrm>
        </p:spPr>
        <p:txBody>
          <a:bodyPr anchor="t" anchorCtr="0"/>
          <a:lstStyle>
            <a:lvl1pPr marL="0" indent="0" algn="l">
              <a:lnSpc>
                <a:spcPct val="100000"/>
              </a:lnSpc>
              <a:spcBef>
                <a:spcPts val="0"/>
              </a:spcBef>
              <a:spcAft>
                <a:spcPts val="0"/>
              </a:spcAft>
              <a:buNone/>
              <a:defRPr sz="2400">
                <a:solidFill>
                  <a:schemeClr val="tx1"/>
                </a:solidFill>
                <a:latin typeface="+mn-lt"/>
                <a:cs typeface="Abadi MT Condensed Extra Bold"/>
              </a:defRPr>
            </a:lvl1pPr>
            <a:lvl2pPr marL="0" indent="0" algn="l">
              <a:spcAft>
                <a:spcPts val="0"/>
              </a:spcAft>
              <a:buNone/>
              <a:defRPr sz="2400"/>
            </a:lvl2pPr>
            <a:lvl3pPr marL="0" indent="0" algn="l">
              <a:spcAft>
                <a:spcPts val="0"/>
              </a:spcAft>
              <a:buNone/>
              <a:defRPr sz="2400"/>
            </a:lvl3pPr>
            <a:lvl4pPr marL="0" indent="0" algn="l">
              <a:spcAft>
                <a:spcPts val="0"/>
              </a:spcAft>
              <a:buNone/>
              <a:defRPr sz="2400"/>
            </a:lvl4pPr>
            <a:lvl5pPr marL="0" indent="0" algn="l">
              <a:spcAft>
                <a:spcPts val="0"/>
              </a:spcAft>
              <a:buNone/>
              <a:defRPr sz="2400"/>
            </a:lvl5pPr>
            <a:lvl6pPr marL="0" indent="0" algn="l">
              <a:spcAft>
                <a:spcPts val="0"/>
              </a:spcAft>
              <a:buNone/>
              <a:defRPr sz="2400"/>
            </a:lvl6pPr>
            <a:lvl7pPr marL="0" indent="0" algn="l">
              <a:spcAft>
                <a:spcPts val="0"/>
              </a:spcAft>
              <a:buNone/>
              <a:defRPr sz="2400"/>
            </a:lvl7pPr>
            <a:lvl8pPr marL="0" indent="0" algn="l">
              <a:spcAft>
                <a:spcPts val="0"/>
              </a:spcAft>
              <a:buNone/>
              <a:defRPr sz="2400"/>
            </a:lvl8pPr>
            <a:lvl9pPr marL="0" indent="0" algn="l">
              <a:spcAft>
                <a:spcPts val="0"/>
              </a:spcAft>
              <a:buNone/>
              <a:defRPr sz="2400"/>
            </a:lvl9pPr>
          </a:lstStyle>
          <a:p>
            <a:r>
              <a:rPr lang="en-GB" noProof="0"/>
              <a:t>Subtitle</a:t>
            </a:r>
          </a:p>
        </p:txBody>
      </p:sp>
      <p:sp>
        <p:nvSpPr>
          <p:cNvPr id="12" name="Datumsplatzhalter 24">
            <a:extLst>
              <a:ext uri="{FF2B5EF4-FFF2-40B4-BE49-F238E27FC236}">
                <a16:creationId xmlns:a16="http://schemas.microsoft.com/office/drawing/2014/main" id="{AA24ACD6-0C7C-4440-8465-8DCFBE4F1464}"/>
              </a:ext>
            </a:extLst>
          </p:cNvPr>
          <p:cNvSpPr>
            <a:spLocks noGrp="1"/>
          </p:cNvSpPr>
          <p:nvPr>
            <p:ph type="dt" sz="half" idx="10"/>
          </p:nvPr>
        </p:nvSpPr>
        <p:spPr bwMode="gray">
          <a:xfrm>
            <a:off x="6108534" y="3919472"/>
            <a:ext cx="3529571" cy="625652"/>
          </a:xfrm>
        </p:spPr>
        <p:txBody>
          <a:bodyPr anchor="t"/>
          <a:lstStyle>
            <a:lvl1pPr marL="0" algn="l">
              <a:lnSpc>
                <a:spcPct val="100000"/>
              </a:lnSpc>
              <a:defRPr sz="1400">
                <a:solidFill>
                  <a:schemeClr val="tx1"/>
                </a:solidFill>
              </a:defRPr>
            </a:lvl1pPr>
            <a:lvl2pPr marL="0">
              <a:lnSpc>
                <a:spcPct val="100000"/>
              </a:lnSpc>
              <a:defRPr sz="1400"/>
            </a:lvl2pPr>
            <a:lvl3pPr marL="0">
              <a:lnSpc>
                <a:spcPct val="100000"/>
              </a:lnSpc>
              <a:defRPr sz="1400"/>
            </a:lvl3pPr>
            <a:lvl4pPr marL="0">
              <a:lnSpc>
                <a:spcPct val="100000"/>
              </a:lnSpc>
              <a:defRPr sz="1400"/>
            </a:lvl4pPr>
            <a:lvl5pPr marL="0">
              <a:lnSpc>
                <a:spcPct val="100000"/>
              </a:lnSpc>
              <a:defRPr sz="1400"/>
            </a:lvl5pPr>
            <a:lvl6pPr marL="0">
              <a:lnSpc>
                <a:spcPct val="100000"/>
              </a:lnSpc>
              <a:defRPr sz="1400"/>
            </a:lvl6pPr>
            <a:lvl7pPr marL="0">
              <a:lnSpc>
                <a:spcPct val="100000"/>
              </a:lnSpc>
              <a:defRPr sz="1400"/>
            </a:lvl7pPr>
            <a:lvl8pPr marL="0">
              <a:lnSpc>
                <a:spcPct val="100000"/>
              </a:lnSpc>
              <a:defRPr sz="1400"/>
            </a:lvl8pPr>
            <a:lvl9pPr marL="0">
              <a:lnSpc>
                <a:spcPct val="100000"/>
              </a:lnSpc>
              <a:defRPr sz="1400"/>
            </a:lvl9pPr>
          </a:lstStyle>
          <a:p>
            <a:endParaRPr lang="en-US"/>
          </a:p>
        </p:txBody>
      </p:sp>
    </p:spTree>
    <p:extLst>
      <p:ext uri="{BB962C8B-B14F-4D97-AF65-F5344CB8AC3E}">
        <p14:creationId xmlns:p14="http://schemas.microsoft.com/office/powerpoint/2010/main" val="919770681"/>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Divider | Teal">
    <p:bg>
      <p:bgPr>
        <a:solidFill>
          <a:schemeClr val="accent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1D23C85-731B-4E5C-8084-B011A3177A15}"/>
              </a:ext>
            </a:extLst>
          </p:cNvPr>
          <p:cNvGraphicFramePr>
            <a:graphicFrameLocks noChangeAspect="1"/>
          </p:cNvGraphicFramePr>
          <p:nvPr>
            <p:custDataLst>
              <p:tags r:id="rId2"/>
            </p:custDataLst>
            <p:extLst>
              <p:ext uri="{D42A27DB-BD31-4B8C-83A1-F6EECF244321}">
                <p14:modId xmlns:p14="http://schemas.microsoft.com/office/powerpoint/2010/main" val="2687758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 name="think-cell Slide" r:id="rId4" imgW="359" imgH="358" progId="TCLayout.ActiveDocument.1">
                  <p:embed/>
                </p:oleObj>
              </mc:Choice>
              <mc:Fallback>
                <p:oleObj name="think-cell Slide" r:id="rId4" imgW="359" imgH="358" progId="TCLayout.ActiveDocument.1">
                  <p:embed/>
                  <p:pic>
                    <p:nvPicPr>
                      <p:cNvPr id="3" name="Objekt 2" hidden="1">
                        <a:extLst>
                          <a:ext uri="{FF2B5EF4-FFF2-40B4-BE49-F238E27FC236}">
                            <a16:creationId xmlns:a16="http://schemas.microsoft.com/office/drawing/2014/main" id="{B1D23C85-731B-4E5C-8084-B011A3177A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CA7CC918-2B9B-4962-B282-A1B2E4A33588}"/>
              </a:ext>
            </a:extLst>
          </p:cNvPr>
          <p:cNvSpPr>
            <a:spLocks noGrp="1"/>
          </p:cNvSpPr>
          <p:nvPr>
            <p:ph type="dt" sz="half" idx="10"/>
          </p:nvPr>
        </p:nvSpPr>
        <p:spPr bwMode="gray">
          <a:xfrm>
            <a:off x="9221773" y="6381352"/>
            <a:ext cx="2382839" cy="216000"/>
          </a:xfrm>
        </p:spPr>
        <p:txBody>
          <a:bodyPr/>
          <a:lstStyle>
            <a:lvl1pPr>
              <a:defRPr>
                <a:solidFill>
                  <a:schemeClr val="tx1"/>
                </a:solidFill>
              </a:defRPr>
            </a:lvl1pPr>
          </a:lstStyle>
          <a:p>
            <a:endParaRPr lang="en-US"/>
          </a:p>
        </p:txBody>
      </p:sp>
      <p:sp>
        <p:nvSpPr>
          <p:cNvPr id="5" name="Fußzeilenplatzhalter 4">
            <a:extLst>
              <a:ext uri="{FF2B5EF4-FFF2-40B4-BE49-F238E27FC236}">
                <a16:creationId xmlns:a16="http://schemas.microsoft.com/office/drawing/2014/main" id="{C30876D4-6CA0-4B4D-9189-1A1F7EB04354}"/>
              </a:ext>
            </a:extLst>
          </p:cNvPr>
          <p:cNvSpPr>
            <a:spLocks noGrp="1"/>
          </p:cNvSpPr>
          <p:nvPr>
            <p:ph type="ftr" sz="quarter" idx="11"/>
          </p:nvPr>
        </p:nvSpPr>
        <p:spPr bwMode="gray">
          <a:xfrm>
            <a:off x="587388" y="6381352"/>
            <a:ext cx="1928413" cy="138499"/>
          </a:xfrm>
        </p:spPr>
        <p:txBody>
          <a:bodyPr/>
          <a:lstStyle>
            <a:lvl1pPr>
              <a:defRPr>
                <a:solidFill>
                  <a:schemeClr val="tx1"/>
                </a:solidFill>
              </a:defRPr>
            </a:lvl1pPr>
          </a:lstStyle>
          <a:p>
            <a:endParaRPr lang="en-US"/>
          </a:p>
        </p:txBody>
      </p:sp>
      <p:sp>
        <p:nvSpPr>
          <p:cNvPr id="6" name="Foliennummernplatzhalter 5">
            <a:extLst>
              <a:ext uri="{FF2B5EF4-FFF2-40B4-BE49-F238E27FC236}">
                <a16:creationId xmlns:a16="http://schemas.microsoft.com/office/drawing/2014/main" id="{5FF790DC-3392-42D2-A3F7-B3176518987D}"/>
              </a:ext>
            </a:extLst>
          </p:cNvPr>
          <p:cNvSpPr>
            <a:spLocks noGrp="1"/>
          </p:cNvSpPr>
          <p:nvPr>
            <p:ph type="sldNum" sz="quarter" idx="12"/>
          </p:nvPr>
        </p:nvSpPr>
        <p:spPr bwMode="gray"/>
        <p:txBody>
          <a:bodyPr/>
          <a:lstStyle>
            <a:lvl1pPr>
              <a:defRPr>
                <a:solidFill>
                  <a:schemeClr val="tx1"/>
                </a:solidFill>
              </a:defRPr>
            </a:lvl1pPr>
          </a:lstStyle>
          <a:p>
            <a:fld id="{BFCA3128-5B09-47E5-B47D-6F0CB7A5DE9F}" type="slidenum">
              <a:rPr lang="en-US"/>
              <a:t>‹#›</a:t>
            </a:fld>
            <a:endParaRPr lang="en-US"/>
          </a:p>
        </p:txBody>
      </p:sp>
      <p:sp>
        <p:nvSpPr>
          <p:cNvPr id="7" name="Titel 1">
            <a:extLst>
              <a:ext uri="{FF2B5EF4-FFF2-40B4-BE49-F238E27FC236}">
                <a16:creationId xmlns:a16="http://schemas.microsoft.com/office/drawing/2014/main" id="{A1C149DD-8B9F-499F-9F9D-D3C010AB0753}"/>
              </a:ext>
            </a:extLst>
          </p:cNvPr>
          <p:cNvSpPr>
            <a:spLocks noGrp="1"/>
          </p:cNvSpPr>
          <p:nvPr>
            <p:ph type="title" hasCustomPrompt="1"/>
          </p:nvPr>
        </p:nvSpPr>
        <p:spPr bwMode="gray">
          <a:xfrm>
            <a:off x="587388" y="1917008"/>
            <a:ext cx="7776430" cy="1584000"/>
          </a:xfrm>
        </p:spPr>
        <p:txBody>
          <a:bodyPr vert="horz"/>
          <a:lstStyle>
            <a:lvl1pPr>
              <a:lnSpc>
                <a:spcPct val="100000"/>
              </a:lnSpc>
              <a:defRPr sz="3800" b="1">
                <a:solidFill>
                  <a:schemeClr val="tx1"/>
                </a:solidFill>
              </a:defRPr>
            </a:lvl1pPr>
          </a:lstStyle>
          <a:p>
            <a:r>
              <a:rPr lang="en-GB" noProof="0"/>
              <a:t>1 Click to edit Master title style</a:t>
            </a:r>
          </a:p>
        </p:txBody>
      </p:sp>
    </p:spTree>
    <p:extLst>
      <p:ext uri="{BB962C8B-B14F-4D97-AF65-F5344CB8AC3E}">
        <p14:creationId xmlns:p14="http://schemas.microsoft.com/office/powerpoint/2010/main" val="35111946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3A29C-2238-4EED-A654-A266FCDB1690}"/>
              </a:ext>
            </a:extLst>
          </p:cNvPr>
          <p:cNvSpPr>
            <a:spLocks noGrp="1"/>
          </p:cNvSpPr>
          <p:nvPr>
            <p:ph type="title"/>
          </p:nvPr>
        </p:nvSpPr>
        <p:spPr>
          <a:xfrm>
            <a:off x="839788" y="365125"/>
            <a:ext cx="10515600" cy="1325563"/>
          </a:xfrm>
        </p:spPr>
        <p:txBody>
          <a:bodyPr/>
          <a:lstStyle/>
          <a:p>
            <a:r>
              <a:rPr lang="en-US"/>
              <a:t>Click to edit Master title style</a:t>
            </a:r>
            <a:endParaRPr lang="bg-BG"/>
          </a:p>
        </p:txBody>
      </p:sp>
      <p:sp>
        <p:nvSpPr>
          <p:cNvPr id="3" name="Text Placeholder 2">
            <a:extLst>
              <a:ext uri="{FF2B5EF4-FFF2-40B4-BE49-F238E27FC236}">
                <a16:creationId xmlns:a16="http://schemas.microsoft.com/office/drawing/2014/main" id="{9FEB859A-9551-43E3-921D-6FA6C8D6B7E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5BD19B4-8266-4F1F-ACFE-BEE10EBF73E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g-BG"/>
          </a:p>
        </p:txBody>
      </p:sp>
      <p:sp>
        <p:nvSpPr>
          <p:cNvPr id="5" name="Text Placeholder 4">
            <a:extLst>
              <a:ext uri="{FF2B5EF4-FFF2-40B4-BE49-F238E27FC236}">
                <a16:creationId xmlns:a16="http://schemas.microsoft.com/office/drawing/2014/main" id="{6821F88D-0674-4253-9C26-539C9C3E230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E5C9352-5187-4E7F-A863-DA196D4FD40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g-BG"/>
          </a:p>
        </p:txBody>
      </p:sp>
      <p:sp>
        <p:nvSpPr>
          <p:cNvPr id="7" name="Date Placeholder 6">
            <a:extLst>
              <a:ext uri="{FF2B5EF4-FFF2-40B4-BE49-F238E27FC236}">
                <a16:creationId xmlns:a16="http://schemas.microsoft.com/office/drawing/2014/main" id="{E8B2888C-F9A4-47C1-8439-636963024D75}"/>
              </a:ext>
            </a:extLst>
          </p:cNvPr>
          <p:cNvSpPr>
            <a:spLocks noGrp="1"/>
          </p:cNvSpPr>
          <p:nvPr>
            <p:ph type="dt" sz="half" idx="10"/>
          </p:nvPr>
        </p:nvSpPr>
        <p:spPr/>
        <p:txBody>
          <a:bodyPr/>
          <a:lstStyle/>
          <a:p>
            <a:fld id="{4742D07F-AA84-406A-9332-1464FA876A41}" type="datetimeFigureOut">
              <a:rPr lang="bg-BG" smtClean="0"/>
              <a:t>10.04.24 г.</a:t>
            </a:fld>
            <a:endParaRPr lang="bg-BG"/>
          </a:p>
        </p:txBody>
      </p:sp>
      <p:sp>
        <p:nvSpPr>
          <p:cNvPr id="8" name="Footer Placeholder 7">
            <a:extLst>
              <a:ext uri="{FF2B5EF4-FFF2-40B4-BE49-F238E27FC236}">
                <a16:creationId xmlns:a16="http://schemas.microsoft.com/office/drawing/2014/main" id="{53A1A74B-28F5-46E3-90E9-E881BE5EB3E2}"/>
              </a:ext>
            </a:extLst>
          </p:cNvPr>
          <p:cNvSpPr>
            <a:spLocks noGrp="1"/>
          </p:cNvSpPr>
          <p:nvPr>
            <p:ph type="ftr" sz="quarter" idx="11"/>
          </p:nvPr>
        </p:nvSpPr>
        <p:spPr/>
        <p:txBody>
          <a:bodyPr/>
          <a:lstStyle/>
          <a:p>
            <a:endParaRPr lang="bg-BG"/>
          </a:p>
        </p:txBody>
      </p:sp>
      <p:sp>
        <p:nvSpPr>
          <p:cNvPr id="9" name="Slide Number Placeholder 8">
            <a:extLst>
              <a:ext uri="{FF2B5EF4-FFF2-40B4-BE49-F238E27FC236}">
                <a16:creationId xmlns:a16="http://schemas.microsoft.com/office/drawing/2014/main" id="{C3A356AA-F53C-4A1F-A5AC-2F56B87094D0}"/>
              </a:ext>
            </a:extLst>
          </p:cNvPr>
          <p:cNvSpPr>
            <a:spLocks noGrp="1"/>
          </p:cNvSpPr>
          <p:nvPr>
            <p:ph type="sldNum" sz="quarter" idx="12"/>
          </p:nvPr>
        </p:nvSpPr>
        <p:spPr/>
        <p:txBody>
          <a:bodyPr/>
          <a:lstStyle/>
          <a:p>
            <a:fld id="{1ECF27F8-A54A-4E9B-946E-1DA717B6015E}" type="slidenum">
              <a:rPr lang="bg-BG" smtClean="0"/>
              <a:t>‹#›</a:t>
            </a:fld>
            <a:endParaRPr lang="bg-BG"/>
          </a:p>
        </p:txBody>
      </p:sp>
    </p:spTree>
    <p:extLst>
      <p:ext uri="{BB962C8B-B14F-4D97-AF65-F5344CB8AC3E}">
        <p14:creationId xmlns:p14="http://schemas.microsoft.com/office/powerpoint/2010/main" val="114703266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Divider | Blue">
    <p:bg>
      <p:bgPr>
        <a:solidFill>
          <a:schemeClr val="accent4"/>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1D23C85-731B-4E5C-8084-B011A3177A15}"/>
              </a:ext>
            </a:extLst>
          </p:cNvPr>
          <p:cNvGraphicFramePr>
            <a:graphicFrameLocks noChangeAspect="1"/>
          </p:cNvGraphicFramePr>
          <p:nvPr>
            <p:custDataLst>
              <p:tags r:id="rId2"/>
            </p:custDataLst>
            <p:extLst>
              <p:ext uri="{D42A27DB-BD31-4B8C-83A1-F6EECF244321}">
                <p14:modId xmlns:p14="http://schemas.microsoft.com/office/powerpoint/2010/main" val="46904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6" name="think-cell Slide" r:id="rId4" imgW="359" imgH="358" progId="TCLayout.ActiveDocument.1">
                  <p:embed/>
                </p:oleObj>
              </mc:Choice>
              <mc:Fallback>
                <p:oleObj name="think-cell Slide" r:id="rId4" imgW="359" imgH="358" progId="TCLayout.ActiveDocument.1">
                  <p:embed/>
                  <p:pic>
                    <p:nvPicPr>
                      <p:cNvPr id="3" name="Objekt 2" hidden="1">
                        <a:extLst>
                          <a:ext uri="{FF2B5EF4-FFF2-40B4-BE49-F238E27FC236}">
                            <a16:creationId xmlns:a16="http://schemas.microsoft.com/office/drawing/2014/main" id="{B1D23C85-731B-4E5C-8084-B011A3177A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CA7CC918-2B9B-4962-B282-A1B2E4A33588}"/>
              </a:ext>
            </a:extLst>
          </p:cNvPr>
          <p:cNvSpPr>
            <a:spLocks noGrp="1"/>
          </p:cNvSpPr>
          <p:nvPr>
            <p:ph type="dt" sz="half" idx="10"/>
          </p:nvPr>
        </p:nvSpPr>
        <p:spPr bwMode="gray">
          <a:xfrm>
            <a:off x="9221773" y="6381352"/>
            <a:ext cx="2382839" cy="216000"/>
          </a:xfrm>
        </p:spPr>
        <p:txBody>
          <a:bodyPr/>
          <a:lstStyle>
            <a:lvl1pPr>
              <a:defRPr>
                <a:solidFill>
                  <a:schemeClr val="tx1"/>
                </a:solidFill>
              </a:defRPr>
            </a:lvl1pPr>
          </a:lstStyle>
          <a:p>
            <a:endParaRPr lang="en-US"/>
          </a:p>
        </p:txBody>
      </p:sp>
      <p:sp>
        <p:nvSpPr>
          <p:cNvPr id="5" name="Fußzeilenplatzhalter 4">
            <a:extLst>
              <a:ext uri="{FF2B5EF4-FFF2-40B4-BE49-F238E27FC236}">
                <a16:creationId xmlns:a16="http://schemas.microsoft.com/office/drawing/2014/main" id="{C30876D4-6CA0-4B4D-9189-1A1F7EB04354}"/>
              </a:ext>
            </a:extLst>
          </p:cNvPr>
          <p:cNvSpPr>
            <a:spLocks noGrp="1"/>
          </p:cNvSpPr>
          <p:nvPr>
            <p:ph type="ftr" sz="quarter" idx="11"/>
          </p:nvPr>
        </p:nvSpPr>
        <p:spPr bwMode="gray">
          <a:xfrm>
            <a:off x="587388" y="6381352"/>
            <a:ext cx="1928413" cy="138499"/>
          </a:xfrm>
        </p:spPr>
        <p:txBody>
          <a:bodyPr/>
          <a:lstStyle>
            <a:lvl1pPr>
              <a:defRPr>
                <a:solidFill>
                  <a:schemeClr val="tx1"/>
                </a:solidFill>
              </a:defRPr>
            </a:lvl1pPr>
          </a:lstStyle>
          <a:p>
            <a:endParaRPr lang="en-US"/>
          </a:p>
        </p:txBody>
      </p:sp>
      <p:sp>
        <p:nvSpPr>
          <p:cNvPr id="6" name="Foliennummernplatzhalter 5">
            <a:extLst>
              <a:ext uri="{FF2B5EF4-FFF2-40B4-BE49-F238E27FC236}">
                <a16:creationId xmlns:a16="http://schemas.microsoft.com/office/drawing/2014/main" id="{5FF790DC-3392-42D2-A3F7-B3176518987D}"/>
              </a:ext>
            </a:extLst>
          </p:cNvPr>
          <p:cNvSpPr>
            <a:spLocks noGrp="1"/>
          </p:cNvSpPr>
          <p:nvPr>
            <p:ph type="sldNum" sz="quarter" idx="12"/>
          </p:nvPr>
        </p:nvSpPr>
        <p:spPr bwMode="gray"/>
        <p:txBody>
          <a:bodyPr/>
          <a:lstStyle>
            <a:lvl1pPr>
              <a:defRPr>
                <a:solidFill>
                  <a:schemeClr val="tx1"/>
                </a:solidFill>
              </a:defRPr>
            </a:lvl1pPr>
          </a:lstStyle>
          <a:p>
            <a:fld id="{BFCA3128-5B09-47E5-B47D-6F0CB7A5DE9F}" type="slidenum">
              <a:rPr lang="en-US"/>
              <a:t>‹#›</a:t>
            </a:fld>
            <a:endParaRPr lang="en-US"/>
          </a:p>
        </p:txBody>
      </p:sp>
      <p:sp>
        <p:nvSpPr>
          <p:cNvPr id="7" name="Titel 1">
            <a:extLst>
              <a:ext uri="{FF2B5EF4-FFF2-40B4-BE49-F238E27FC236}">
                <a16:creationId xmlns:a16="http://schemas.microsoft.com/office/drawing/2014/main" id="{A1C149DD-8B9F-499F-9F9D-D3C010AB0753}"/>
              </a:ext>
            </a:extLst>
          </p:cNvPr>
          <p:cNvSpPr>
            <a:spLocks noGrp="1"/>
          </p:cNvSpPr>
          <p:nvPr>
            <p:ph type="title" hasCustomPrompt="1"/>
          </p:nvPr>
        </p:nvSpPr>
        <p:spPr bwMode="gray">
          <a:xfrm>
            <a:off x="587388" y="1916832"/>
            <a:ext cx="7776430" cy="1584000"/>
          </a:xfrm>
        </p:spPr>
        <p:txBody>
          <a:bodyPr vert="horz"/>
          <a:lstStyle>
            <a:lvl1pPr>
              <a:lnSpc>
                <a:spcPct val="100000"/>
              </a:lnSpc>
              <a:defRPr sz="3800" b="1">
                <a:solidFill>
                  <a:schemeClr val="tx1"/>
                </a:solidFill>
              </a:defRPr>
            </a:lvl1pPr>
          </a:lstStyle>
          <a:p>
            <a:r>
              <a:rPr lang="en-GB" noProof="0"/>
              <a:t>1 Click to edit Master title style</a:t>
            </a:r>
          </a:p>
        </p:txBody>
      </p:sp>
    </p:spTree>
    <p:extLst>
      <p:ext uri="{BB962C8B-B14F-4D97-AF65-F5344CB8AC3E}">
        <p14:creationId xmlns:p14="http://schemas.microsoft.com/office/powerpoint/2010/main" val="9438921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Divider | Violette">
    <p:bg>
      <p:bgPr>
        <a:solidFill>
          <a:srgbClr val="5F3799"/>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1D23C85-731B-4E5C-8084-B011A3177A15}"/>
              </a:ext>
            </a:extLst>
          </p:cNvPr>
          <p:cNvGraphicFramePr>
            <a:graphicFrameLocks noChangeAspect="1"/>
          </p:cNvGraphicFramePr>
          <p:nvPr>
            <p:custDataLst>
              <p:tags r:id="rId2"/>
            </p:custDataLst>
            <p:extLst>
              <p:ext uri="{D42A27DB-BD31-4B8C-83A1-F6EECF244321}">
                <p14:modId xmlns:p14="http://schemas.microsoft.com/office/powerpoint/2010/main" val="2347913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 name="think-cell Slide" r:id="rId4" imgW="359" imgH="358" progId="TCLayout.ActiveDocument.1">
                  <p:embed/>
                </p:oleObj>
              </mc:Choice>
              <mc:Fallback>
                <p:oleObj name="think-cell Slide" r:id="rId4" imgW="359" imgH="358" progId="TCLayout.ActiveDocument.1">
                  <p:embed/>
                  <p:pic>
                    <p:nvPicPr>
                      <p:cNvPr id="3" name="Objekt 2" hidden="1">
                        <a:extLst>
                          <a:ext uri="{FF2B5EF4-FFF2-40B4-BE49-F238E27FC236}">
                            <a16:creationId xmlns:a16="http://schemas.microsoft.com/office/drawing/2014/main" id="{B1D23C85-731B-4E5C-8084-B011A3177A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CA7CC918-2B9B-4962-B282-A1B2E4A33588}"/>
              </a:ext>
            </a:extLst>
          </p:cNvPr>
          <p:cNvSpPr>
            <a:spLocks noGrp="1"/>
          </p:cNvSpPr>
          <p:nvPr>
            <p:ph type="dt" sz="half" idx="10"/>
          </p:nvPr>
        </p:nvSpPr>
        <p:spPr bwMode="gray">
          <a:xfrm>
            <a:off x="9221773" y="6381352"/>
            <a:ext cx="2382839" cy="216000"/>
          </a:xfrm>
        </p:spPr>
        <p:txBody>
          <a:bodyPr/>
          <a:lstStyle>
            <a:lvl1pPr>
              <a:defRPr>
                <a:solidFill>
                  <a:schemeClr val="tx1"/>
                </a:solidFill>
              </a:defRPr>
            </a:lvl1pPr>
          </a:lstStyle>
          <a:p>
            <a:endParaRPr lang="en-US"/>
          </a:p>
        </p:txBody>
      </p:sp>
      <p:sp>
        <p:nvSpPr>
          <p:cNvPr id="5" name="Fußzeilenplatzhalter 4">
            <a:extLst>
              <a:ext uri="{FF2B5EF4-FFF2-40B4-BE49-F238E27FC236}">
                <a16:creationId xmlns:a16="http://schemas.microsoft.com/office/drawing/2014/main" id="{C30876D4-6CA0-4B4D-9189-1A1F7EB04354}"/>
              </a:ext>
            </a:extLst>
          </p:cNvPr>
          <p:cNvSpPr>
            <a:spLocks noGrp="1"/>
          </p:cNvSpPr>
          <p:nvPr>
            <p:ph type="ftr" sz="quarter" idx="11"/>
          </p:nvPr>
        </p:nvSpPr>
        <p:spPr bwMode="gray">
          <a:xfrm>
            <a:off x="587388" y="6381352"/>
            <a:ext cx="1928413" cy="138499"/>
          </a:xfrm>
        </p:spPr>
        <p:txBody>
          <a:bodyPr/>
          <a:lstStyle>
            <a:lvl1pPr>
              <a:defRPr>
                <a:solidFill>
                  <a:schemeClr val="tx1"/>
                </a:solidFill>
              </a:defRPr>
            </a:lvl1pPr>
          </a:lstStyle>
          <a:p>
            <a:endParaRPr lang="en-US"/>
          </a:p>
        </p:txBody>
      </p:sp>
      <p:sp>
        <p:nvSpPr>
          <p:cNvPr id="6" name="Foliennummernplatzhalter 5">
            <a:extLst>
              <a:ext uri="{FF2B5EF4-FFF2-40B4-BE49-F238E27FC236}">
                <a16:creationId xmlns:a16="http://schemas.microsoft.com/office/drawing/2014/main" id="{5FF790DC-3392-42D2-A3F7-B3176518987D}"/>
              </a:ext>
            </a:extLst>
          </p:cNvPr>
          <p:cNvSpPr>
            <a:spLocks noGrp="1"/>
          </p:cNvSpPr>
          <p:nvPr>
            <p:ph type="sldNum" sz="quarter" idx="12"/>
          </p:nvPr>
        </p:nvSpPr>
        <p:spPr bwMode="gray"/>
        <p:txBody>
          <a:bodyPr/>
          <a:lstStyle>
            <a:lvl1pPr>
              <a:defRPr>
                <a:solidFill>
                  <a:schemeClr val="tx1"/>
                </a:solidFill>
              </a:defRPr>
            </a:lvl1pPr>
          </a:lstStyle>
          <a:p>
            <a:fld id="{BFCA3128-5B09-47E5-B47D-6F0CB7A5DE9F}" type="slidenum">
              <a:rPr lang="en-US"/>
              <a:t>‹#›</a:t>
            </a:fld>
            <a:endParaRPr lang="en-US"/>
          </a:p>
        </p:txBody>
      </p:sp>
      <p:sp>
        <p:nvSpPr>
          <p:cNvPr id="7" name="Titel 1">
            <a:extLst>
              <a:ext uri="{FF2B5EF4-FFF2-40B4-BE49-F238E27FC236}">
                <a16:creationId xmlns:a16="http://schemas.microsoft.com/office/drawing/2014/main" id="{A1C149DD-8B9F-499F-9F9D-D3C010AB0753}"/>
              </a:ext>
            </a:extLst>
          </p:cNvPr>
          <p:cNvSpPr>
            <a:spLocks noGrp="1"/>
          </p:cNvSpPr>
          <p:nvPr>
            <p:ph type="title" hasCustomPrompt="1"/>
          </p:nvPr>
        </p:nvSpPr>
        <p:spPr bwMode="gray">
          <a:xfrm>
            <a:off x="587388" y="1916832"/>
            <a:ext cx="7776430" cy="1584000"/>
          </a:xfrm>
        </p:spPr>
        <p:txBody>
          <a:bodyPr vert="horz"/>
          <a:lstStyle>
            <a:lvl1pPr>
              <a:lnSpc>
                <a:spcPct val="100000"/>
              </a:lnSpc>
              <a:defRPr sz="3800" b="1">
                <a:solidFill>
                  <a:schemeClr val="tx1"/>
                </a:solidFill>
              </a:defRPr>
            </a:lvl1pPr>
          </a:lstStyle>
          <a:p>
            <a:r>
              <a:rPr lang="en-GB" noProof="0"/>
              <a:t>1 Click to edit Master title style</a:t>
            </a:r>
          </a:p>
        </p:txBody>
      </p:sp>
    </p:spTree>
    <p:extLst>
      <p:ext uri="{BB962C8B-B14F-4D97-AF65-F5344CB8AC3E}">
        <p14:creationId xmlns:p14="http://schemas.microsoft.com/office/powerpoint/2010/main" val="334861417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Divider | Green">
    <p:bg>
      <p:bgPr>
        <a:solidFill>
          <a:schemeClr val="accent2"/>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1D23C85-731B-4E5C-8084-B011A3177A15}"/>
              </a:ext>
            </a:extLst>
          </p:cNvPr>
          <p:cNvGraphicFramePr>
            <a:graphicFrameLocks noChangeAspect="1"/>
          </p:cNvGraphicFramePr>
          <p:nvPr>
            <p:custDataLst>
              <p:tags r:id="rId2"/>
            </p:custDataLst>
            <p:extLst>
              <p:ext uri="{D42A27DB-BD31-4B8C-83A1-F6EECF244321}">
                <p14:modId xmlns:p14="http://schemas.microsoft.com/office/powerpoint/2010/main" val="3364258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4" name="think-cell Slide" r:id="rId4" imgW="359" imgH="358" progId="TCLayout.ActiveDocument.1">
                  <p:embed/>
                </p:oleObj>
              </mc:Choice>
              <mc:Fallback>
                <p:oleObj name="think-cell Slide" r:id="rId4" imgW="359" imgH="358" progId="TCLayout.ActiveDocument.1">
                  <p:embed/>
                  <p:pic>
                    <p:nvPicPr>
                      <p:cNvPr id="3" name="Objekt 2" hidden="1">
                        <a:extLst>
                          <a:ext uri="{FF2B5EF4-FFF2-40B4-BE49-F238E27FC236}">
                            <a16:creationId xmlns:a16="http://schemas.microsoft.com/office/drawing/2014/main" id="{B1D23C85-731B-4E5C-8084-B011A3177A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CA7CC918-2B9B-4962-B282-A1B2E4A33588}"/>
              </a:ext>
            </a:extLst>
          </p:cNvPr>
          <p:cNvSpPr>
            <a:spLocks noGrp="1"/>
          </p:cNvSpPr>
          <p:nvPr>
            <p:ph type="dt" sz="half" idx="10"/>
          </p:nvPr>
        </p:nvSpPr>
        <p:spPr bwMode="gray">
          <a:xfrm>
            <a:off x="9221773" y="6381352"/>
            <a:ext cx="2382839" cy="216000"/>
          </a:xfrm>
        </p:spPr>
        <p:txBody>
          <a:bodyPr/>
          <a:lstStyle>
            <a:lvl1pPr>
              <a:defRPr>
                <a:solidFill>
                  <a:schemeClr val="tx1"/>
                </a:solidFill>
              </a:defRPr>
            </a:lvl1pPr>
          </a:lstStyle>
          <a:p>
            <a:endParaRPr lang="en-US"/>
          </a:p>
        </p:txBody>
      </p:sp>
      <p:sp>
        <p:nvSpPr>
          <p:cNvPr id="5" name="Fußzeilenplatzhalter 4">
            <a:extLst>
              <a:ext uri="{FF2B5EF4-FFF2-40B4-BE49-F238E27FC236}">
                <a16:creationId xmlns:a16="http://schemas.microsoft.com/office/drawing/2014/main" id="{C30876D4-6CA0-4B4D-9189-1A1F7EB04354}"/>
              </a:ext>
            </a:extLst>
          </p:cNvPr>
          <p:cNvSpPr>
            <a:spLocks noGrp="1"/>
          </p:cNvSpPr>
          <p:nvPr>
            <p:ph type="ftr" sz="quarter" idx="11"/>
          </p:nvPr>
        </p:nvSpPr>
        <p:spPr bwMode="gray">
          <a:xfrm>
            <a:off x="587388" y="6381352"/>
            <a:ext cx="1928413" cy="138499"/>
          </a:xfrm>
        </p:spPr>
        <p:txBody>
          <a:bodyPr/>
          <a:lstStyle>
            <a:lvl1pPr>
              <a:defRPr>
                <a:solidFill>
                  <a:schemeClr val="tx1"/>
                </a:solidFill>
              </a:defRPr>
            </a:lvl1pPr>
          </a:lstStyle>
          <a:p>
            <a:endParaRPr lang="en-US"/>
          </a:p>
        </p:txBody>
      </p:sp>
      <p:sp>
        <p:nvSpPr>
          <p:cNvPr id="6" name="Foliennummernplatzhalter 5">
            <a:extLst>
              <a:ext uri="{FF2B5EF4-FFF2-40B4-BE49-F238E27FC236}">
                <a16:creationId xmlns:a16="http://schemas.microsoft.com/office/drawing/2014/main" id="{5FF790DC-3392-42D2-A3F7-B3176518987D}"/>
              </a:ext>
            </a:extLst>
          </p:cNvPr>
          <p:cNvSpPr>
            <a:spLocks noGrp="1"/>
          </p:cNvSpPr>
          <p:nvPr>
            <p:ph type="sldNum" sz="quarter" idx="12"/>
          </p:nvPr>
        </p:nvSpPr>
        <p:spPr bwMode="gray"/>
        <p:txBody>
          <a:bodyPr/>
          <a:lstStyle>
            <a:lvl1pPr>
              <a:defRPr>
                <a:solidFill>
                  <a:schemeClr val="tx1"/>
                </a:solidFill>
              </a:defRPr>
            </a:lvl1pPr>
          </a:lstStyle>
          <a:p>
            <a:fld id="{BFCA3128-5B09-47E5-B47D-6F0CB7A5DE9F}" type="slidenum">
              <a:rPr lang="en-US"/>
              <a:t>‹#›</a:t>
            </a:fld>
            <a:endParaRPr lang="en-US"/>
          </a:p>
        </p:txBody>
      </p:sp>
      <p:sp>
        <p:nvSpPr>
          <p:cNvPr id="7" name="Titel 1">
            <a:extLst>
              <a:ext uri="{FF2B5EF4-FFF2-40B4-BE49-F238E27FC236}">
                <a16:creationId xmlns:a16="http://schemas.microsoft.com/office/drawing/2014/main" id="{A1C149DD-8B9F-499F-9F9D-D3C010AB0753}"/>
              </a:ext>
            </a:extLst>
          </p:cNvPr>
          <p:cNvSpPr>
            <a:spLocks noGrp="1"/>
          </p:cNvSpPr>
          <p:nvPr>
            <p:ph type="title" hasCustomPrompt="1"/>
          </p:nvPr>
        </p:nvSpPr>
        <p:spPr bwMode="gray">
          <a:xfrm>
            <a:off x="587388" y="1916832"/>
            <a:ext cx="7776430" cy="1584000"/>
          </a:xfrm>
        </p:spPr>
        <p:txBody>
          <a:bodyPr vert="horz"/>
          <a:lstStyle>
            <a:lvl1pPr>
              <a:lnSpc>
                <a:spcPct val="100000"/>
              </a:lnSpc>
              <a:defRPr sz="3800" b="1">
                <a:solidFill>
                  <a:schemeClr val="tx1"/>
                </a:solidFill>
              </a:defRPr>
            </a:lvl1pPr>
          </a:lstStyle>
          <a:p>
            <a:r>
              <a:rPr lang="en-GB" noProof="0"/>
              <a:t>1 Click to edit Master title style</a:t>
            </a:r>
          </a:p>
        </p:txBody>
      </p:sp>
    </p:spTree>
    <p:extLst>
      <p:ext uri="{BB962C8B-B14F-4D97-AF65-F5344CB8AC3E}">
        <p14:creationId xmlns:p14="http://schemas.microsoft.com/office/powerpoint/2010/main" val="3526927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ivider | Whi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B81342F-81E0-41A9-B071-A30AB3139636}"/>
              </a:ext>
            </a:extLst>
          </p:cNvPr>
          <p:cNvGraphicFramePr>
            <a:graphicFrameLocks noChangeAspect="1"/>
          </p:cNvGraphicFramePr>
          <p:nvPr>
            <p:custDataLst>
              <p:tags r:id="rId2"/>
            </p:custDataLst>
            <p:extLst>
              <p:ext uri="{D42A27DB-BD31-4B8C-83A1-F6EECF244321}">
                <p14:modId xmlns:p14="http://schemas.microsoft.com/office/powerpoint/2010/main" val="592620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8" name="think-cell Slide" r:id="rId4" imgW="359" imgH="358" progId="TCLayout.ActiveDocument.1">
                  <p:embed/>
                </p:oleObj>
              </mc:Choice>
              <mc:Fallback>
                <p:oleObj name="think-cell Slide" r:id="rId4" imgW="359" imgH="358" progId="TCLayout.ActiveDocument.1">
                  <p:embed/>
                  <p:pic>
                    <p:nvPicPr>
                      <p:cNvPr id="3" name="Objekt 2" hidden="1">
                        <a:extLst>
                          <a:ext uri="{FF2B5EF4-FFF2-40B4-BE49-F238E27FC236}">
                            <a16:creationId xmlns:a16="http://schemas.microsoft.com/office/drawing/2014/main" id="{FB81342F-81E0-41A9-B071-A30AB31396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871FE0EF-965B-46CD-A9F1-81016612E545}"/>
              </a:ext>
            </a:extLst>
          </p:cNvPr>
          <p:cNvSpPr>
            <a:spLocks noGrp="1"/>
          </p:cNvSpPr>
          <p:nvPr>
            <p:ph type="dt" sz="half" idx="10"/>
          </p:nvPr>
        </p:nvSpPr>
        <p:spPr bwMode="gray">
          <a:xfrm>
            <a:off x="9221773" y="6381352"/>
            <a:ext cx="2382839" cy="216000"/>
          </a:xfrm>
        </p:spPr>
        <p:txBody>
          <a:bodyPr/>
          <a:lstStyle>
            <a:lvl1pPr>
              <a:defRPr>
                <a:solidFill>
                  <a:schemeClr val="tx1"/>
                </a:solidFill>
              </a:defRPr>
            </a:lvl1pPr>
          </a:lstStyle>
          <a:p>
            <a:endParaRPr lang="en-US"/>
          </a:p>
        </p:txBody>
      </p:sp>
      <p:sp>
        <p:nvSpPr>
          <p:cNvPr id="5" name="Fußzeilenplatzhalter 4">
            <a:extLst>
              <a:ext uri="{FF2B5EF4-FFF2-40B4-BE49-F238E27FC236}">
                <a16:creationId xmlns:a16="http://schemas.microsoft.com/office/drawing/2014/main" id="{D5E1539D-5854-4F90-8453-6AD85C1D4836}"/>
              </a:ext>
            </a:extLst>
          </p:cNvPr>
          <p:cNvSpPr>
            <a:spLocks noGrp="1"/>
          </p:cNvSpPr>
          <p:nvPr>
            <p:ph type="ftr" sz="quarter" idx="11"/>
          </p:nvPr>
        </p:nvSpPr>
        <p:spPr bwMode="gray">
          <a:xfrm>
            <a:off x="587388" y="6381352"/>
            <a:ext cx="1928413" cy="138499"/>
          </a:xfrm>
        </p:spPr>
        <p:txBody>
          <a:bodyPr/>
          <a:lstStyle>
            <a:lvl1pPr>
              <a:defRPr>
                <a:solidFill>
                  <a:schemeClr val="tx1"/>
                </a:solidFill>
              </a:defRPr>
            </a:lvl1pPr>
          </a:lstStyle>
          <a:p>
            <a:endParaRPr lang="en-US"/>
          </a:p>
        </p:txBody>
      </p:sp>
      <p:sp>
        <p:nvSpPr>
          <p:cNvPr id="6" name="Foliennummernplatzhalter 5">
            <a:extLst>
              <a:ext uri="{FF2B5EF4-FFF2-40B4-BE49-F238E27FC236}">
                <a16:creationId xmlns:a16="http://schemas.microsoft.com/office/drawing/2014/main" id="{5110A4C5-9961-4FD8-BE55-7E0CE44D4552}"/>
              </a:ext>
            </a:extLst>
          </p:cNvPr>
          <p:cNvSpPr>
            <a:spLocks noGrp="1"/>
          </p:cNvSpPr>
          <p:nvPr>
            <p:ph type="sldNum" sz="quarter" idx="12"/>
          </p:nvPr>
        </p:nvSpPr>
        <p:spPr bwMode="gray"/>
        <p:txBody>
          <a:bodyPr/>
          <a:lstStyle>
            <a:lvl1pPr>
              <a:defRPr>
                <a:solidFill>
                  <a:schemeClr val="tx1"/>
                </a:solidFill>
              </a:defRPr>
            </a:lvl1pPr>
          </a:lstStyle>
          <a:p>
            <a:fld id="{BFCA3128-5B09-47E5-B47D-6F0CB7A5DE9F}" type="slidenum">
              <a:rPr lang="en-US"/>
              <a:t>‹#›</a:t>
            </a:fld>
            <a:endParaRPr lang="en-US"/>
          </a:p>
        </p:txBody>
      </p:sp>
      <p:sp>
        <p:nvSpPr>
          <p:cNvPr id="7" name="Titel 1">
            <a:extLst>
              <a:ext uri="{FF2B5EF4-FFF2-40B4-BE49-F238E27FC236}">
                <a16:creationId xmlns:a16="http://schemas.microsoft.com/office/drawing/2014/main" id="{382AB920-CA5E-4FE8-A308-D92107FA9408}"/>
              </a:ext>
            </a:extLst>
          </p:cNvPr>
          <p:cNvSpPr>
            <a:spLocks noGrp="1"/>
          </p:cNvSpPr>
          <p:nvPr>
            <p:ph type="title" hasCustomPrompt="1"/>
          </p:nvPr>
        </p:nvSpPr>
        <p:spPr bwMode="gray">
          <a:xfrm>
            <a:off x="587388" y="1916832"/>
            <a:ext cx="7776430" cy="1584000"/>
          </a:xfrm>
        </p:spPr>
        <p:txBody>
          <a:bodyPr vert="horz"/>
          <a:lstStyle>
            <a:lvl1pPr>
              <a:lnSpc>
                <a:spcPct val="100000"/>
              </a:lnSpc>
              <a:defRPr sz="3800" b="1">
                <a:solidFill>
                  <a:schemeClr val="accent1"/>
                </a:solidFill>
              </a:defRPr>
            </a:lvl1pPr>
          </a:lstStyle>
          <a:p>
            <a:r>
              <a:rPr lang="en-GB" noProof="0"/>
              <a:t>1 Click to edit Master title style</a:t>
            </a:r>
          </a:p>
        </p:txBody>
      </p:sp>
    </p:spTree>
    <p:extLst>
      <p:ext uri="{BB962C8B-B14F-4D97-AF65-F5344CB8AC3E}">
        <p14:creationId xmlns:p14="http://schemas.microsoft.com/office/powerpoint/2010/main" val="3499129957"/>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Divider | Pictur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D1D5118-986B-4635-9D6B-8CA6D3F14321}"/>
              </a:ext>
            </a:extLst>
          </p:cNvPr>
          <p:cNvGraphicFramePr>
            <a:graphicFrameLocks noChangeAspect="1"/>
          </p:cNvGraphicFramePr>
          <p:nvPr>
            <p:custDataLst>
              <p:tags r:id="rId2"/>
            </p:custDataLst>
            <p:extLst>
              <p:ext uri="{D42A27DB-BD31-4B8C-83A1-F6EECF244321}">
                <p14:modId xmlns:p14="http://schemas.microsoft.com/office/powerpoint/2010/main" val="3843858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2"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0D1D5118-986B-4635-9D6B-8CA6D3F143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icture Placeholder 3">
            <a:extLst>
              <a:ext uri="{FF2B5EF4-FFF2-40B4-BE49-F238E27FC236}">
                <a16:creationId xmlns:a16="http://schemas.microsoft.com/office/drawing/2014/main" id="{611C4D44-4894-4762-BD1D-9C1B67849548}"/>
              </a:ext>
            </a:extLst>
          </p:cNvPr>
          <p:cNvSpPr>
            <a:spLocks noGrp="1"/>
          </p:cNvSpPr>
          <p:nvPr>
            <p:ph type="pic" sz="quarter" idx="13" hasCustomPrompt="1"/>
          </p:nvPr>
        </p:nvSpPr>
        <p:spPr bwMode="gray">
          <a:xfrm>
            <a:off x="0" y="0"/>
            <a:ext cx="4115780" cy="6858000"/>
          </a:xfrm>
          <a:solidFill>
            <a:schemeClr val="bg2"/>
          </a:solidFill>
        </p:spPr>
        <p:txBody>
          <a:bodyPr lIns="6912000" tIns="0" rIns="1368000" anchor="ctr" anchorCtr="0"/>
          <a:lstStyle>
            <a:lvl1pPr>
              <a:defRPr sz="1200">
                <a:solidFill>
                  <a:schemeClr val="accent4"/>
                </a:solidFill>
              </a:defRPr>
            </a:lvl1pPr>
            <a:lvl2pPr marL="0" indent="0">
              <a:buFontTx/>
              <a:buNone/>
              <a:defRPr sz="1200"/>
            </a:lvl2pPr>
            <a:lvl3pPr marL="0" indent="0">
              <a:buFontTx/>
              <a:buNone/>
              <a:defRPr sz="1200"/>
            </a:lvl3pPr>
            <a:lvl4pPr marL="0" indent="0">
              <a:buFontTx/>
              <a:buNone/>
              <a:tabLst/>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GB" noProof="0"/>
              <a:t> </a:t>
            </a:r>
          </a:p>
        </p:txBody>
      </p:sp>
      <p:sp>
        <p:nvSpPr>
          <p:cNvPr id="8" name="Titel 11">
            <a:extLst>
              <a:ext uri="{FF2B5EF4-FFF2-40B4-BE49-F238E27FC236}">
                <a16:creationId xmlns:a16="http://schemas.microsoft.com/office/drawing/2014/main" id="{3060036C-2095-4A53-9B7E-38866F624F3A}"/>
              </a:ext>
            </a:extLst>
          </p:cNvPr>
          <p:cNvSpPr>
            <a:spLocks noGrp="1"/>
          </p:cNvSpPr>
          <p:nvPr>
            <p:ph type="title" hasCustomPrompt="1"/>
          </p:nvPr>
        </p:nvSpPr>
        <p:spPr bwMode="gray">
          <a:xfrm>
            <a:off x="6059996" y="1917303"/>
            <a:ext cx="4428274" cy="1476164"/>
          </a:xfrm>
          <a:noFill/>
        </p:spPr>
        <p:txBody>
          <a:bodyPr vert="horz" wrap="square" lIns="0" tIns="0" rIns="0" bIns="0" anchor="t" anchorCtr="0">
            <a:noAutofit/>
          </a:bodyPr>
          <a:lstStyle>
            <a:lvl1pPr>
              <a:lnSpc>
                <a:spcPct val="90000"/>
              </a:lnSpc>
              <a:tabLst/>
              <a:defRPr sz="3800">
                <a:solidFill>
                  <a:schemeClr val="accent1"/>
                </a:solidFill>
              </a:defRPr>
            </a:lvl1pPr>
          </a:lstStyle>
          <a:p>
            <a:r>
              <a:rPr lang="en-GB" noProof="0"/>
              <a:t>Name </a:t>
            </a:r>
            <a:br>
              <a:rPr lang="en-GB" noProof="0"/>
            </a:br>
            <a:r>
              <a:rPr lang="en-GB" noProof="0"/>
              <a:t>of Chapter</a:t>
            </a:r>
          </a:p>
        </p:txBody>
      </p:sp>
      <p:sp>
        <p:nvSpPr>
          <p:cNvPr id="6" name="Datumsplatzhalter 5">
            <a:extLst>
              <a:ext uri="{FF2B5EF4-FFF2-40B4-BE49-F238E27FC236}">
                <a16:creationId xmlns:a16="http://schemas.microsoft.com/office/drawing/2014/main" id="{9BA87372-FAB3-4917-AC66-D5A5B55434B7}"/>
              </a:ext>
            </a:extLst>
          </p:cNvPr>
          <p:cNvSpPr>
            <a:spLocks noGrp="1"/>
          </p:cNvSpPr>
          <p:nvPr>
            <p:ph type="dt" sz="half" idx="14"/>
          </p:nvPr>
        </p:nvSpPr>
        <p:spPr bwMode="gray">
          <a:xfrm>
            <a:off x="9221773" y="6381352"/>
            <a:ext cx="2382839" cy="216000"/>
          </a:xfrm>
        </p:spPr>
        <p:txBody>
          <a:bodyPr/>
          <a:lstStyle>
            <a:lvl1pPr>
              <a:defRPr>
                <a:solidFill>
                  <a:schemeClr val="tx1"/>
                </a:solidFill>
              </a:defRPr>
            </a:lvl1pPr>
          </a:lstStyle>
          <a:p>
            <a:endParaRPr lang="en-US"/>
          </a:p>
        </p:txBody>
      </p:sp>
      <p:sp>
        <p:nvSpPr>
          <p:cNvPr id="7" name="Fußzeilenplatzhalter 6">
            <a:extLst>
              <a:ext uri="{FF2B5EF4-FFF2-40B4-BE49-F238E27FC236}">
                <a16:creationId xmlns:a16="http://schemas.microsoft.com/office/drawing/2014/main" id="{A760EB93-619B-49A7-AE25-B651A7260278}"/>
              </a:ext>
            </a:extLst>
          </p:cNvPr>
          <p:cNvSpPr>
            <a:spLocks noGrp="1"/>
          </p:cNvSpPr>
          <p:nvPr>
            <p:ph type="ftr" sz="quarter" idx="15"/>
          </p:nvPr>
        </p:nvSpPr>
        <p:spPr bwMode="gray">
          <a:xfrm>
            <a:off x="587388" y="6381352"/>
            <a:ext cx="1928413" cy="138499"/>
          </a:xfrm>
        </p:spPr>
        <p:txBody>
          <a:bodyPr/>
          <a:lstStyle>
            <a:lvl1pPr>
              <a:defRPr>
                <a:solidFill>
                  <a:schemeClr val="tx1"/>
                </a:solidFill>
              </a:defRPr>
            </a:lvl1pPr>
          </a:lstStyle>
          <a:p>
            <a:endParaRPr lang="en-US"/>
          </a:p>
        </p:txBody>
      </p:sp>
      <p:sp>
        <p:nvSpPr>
          <p:cNvPr id="9" name="Foliennummernplatzhalter 8">
            <a:extLst>
              <a:ext uri="{FF2B5EF4-FFF2-40B4-BE49-F238E27FC236}">
                <a16:creationId xmlns:a16="http://schemas.microsoft.com/office/drawing/2014/main" id="{4030CD8D-F6FC-4FF8-BEB4-E0243D166396}"/>
              </a:ext>
            </a:extLst>
          </p:cNvPr>
          <p:cNvSpPr>
            <a:spLocks noGrp="1"/>
          </p:cNvSpPr>
          <p:nvPr>
            <p:ph type="sldNum" sz="quarter" idx="16"/>
          </p:nvPr>
        </p:nvSpPr>
        <p:spPr bwMode="gray"/>
        <p:txBody>
          <a:bodyPr/>
          <a:lstStyle>
            <a:lvl1pPr>
              <a:defRPr>
                <a:solidFill>
                  <a:schemeClr val="tx1"/>
                </a:solidFill>
              </a:defRPr>
            </a:lvl1pPr>
          </a:lstStyle>
          <a:p>
            <a:fld id="{BFCA3128-5B09-47E5-B47D-6F0CB7A5DE9F}" type="slidenum">
              <a:rPr lang="en-US"/>
              <a:t>‹#›</a:t>
            </a:fld>
            <a:endParaRPr lang="en-US"/>
          </a:p>
        </p:txBody>
      </p:sp>
      <p:sp>
        <p:nvSpPr>
          <p:cNvPr id="5" name="Textplatzhalter 4">
            <a:extLst>
              <a:ext uri="{FF2B5EF4-FFF2-40B4-BE49-F238E27FC236}">
                <a16:creationId xmlns:a16="http://schemas.microsoft.com/office/drawing/2014/main" id="{5D6531A4-970B-4521-9DFA-314EA33AB868}"/>
              </a:ext>
            </a:extLst>
          </p:cNvPr>
          <p:cNvSpPr>
            <a:spLocks noGrp="1"/>
          </p:cNvSpPr>
          <p:nvPr>
            <p:ph type="body" sz="quarter" idx="17" hasCustomPrompt="1"/>
          </p:nvPr>
        </p:nvSpPr>
        <p:spPr bwMode="gray">
          <a:xfrm>
            <a:off x="5051884" y="1556792"/>
            <a:ext cx="863600" cy="1836737"/>
          </a:xfrm>
        </p:spPr>
        <p:txBody>
          <a:bodyPr tIns="108000"/>
          <a:lstStyle>
            <a:lvl1pPr marL="0" indent="0">
              <a:buFont typeface="Arial" panose="020B0604020202020204" pitchFamily="34" charset="0"/>
              <a:buNone/>
              <a:defRPr sz="9500" b="1">
                <a:solidFill>
                  <a:schemeClr val="accent1"/>
                </a:solidFill>
              </a:defRPr>
            </a:lvl1pPr>
            <a:lvl2pPr marL="0" indent="0">
              <a:buNone/>
              <a:defRPr sz="10000" b="1">
                <a:solidFill>
                  <a:schemeClr val="accent1"/>
                </a:solidFill>
              </a:defRPr>
            </a:lvl2pPr>
            <a:lvl3pPr marL="216000" indent="0">
              <a:buNone/>
              <a:defRPr sz="10000" b="1">
                <a:solidFill>
                  <a:schemeClr val="accent1"/>
                </a:solidFill>
              </a:defRPr>
            </a:lvl3pPr>
            <a:lvl4pPr marL="432000" indent="0">
              <a:buNone/>
              <a:defRPr sz="10000" b="1">
                <a:solidFill>
                  <a:schemeClr val="accent1"/>
                </a:solidFill>
              </a:defRPr>
            </a:lvl4pPr>
            <a:lvl5pPr marL="648000" indent="0">
              <a:buNone/>
              <a:defRPr sz="10000" b="1">
                <a:solidFill>
                  <a:schemeClr val="accent1"/>
                </a:solidFill>
              </a:defRPr>
            </a:lvl5pPr>
            <a:lvl6pPr marL="648000" indent="0">
              <a:buNone/>
              <a:defRPr sz="10000" b="1">
                <a:solidFill>
                  <a:schemeClr val="accent1"/>
                </a:solidFill>
              </a:defRPr>
            </a:lvl6pPr>
            <a:lvl7pPr marL="648000" indent="0">
              <a:buNone/>
              <a:defRPr sz="10000" b="1">
                <a:solidFill>
                  <a:schemeClr val="accent1"/>
                </a:solidFill>
              </a:defRPr>
            </a:lvl7pPr>
            <a:lvl8pPr marL="648000" indent="0">
              <a:buNone/>
              <a:defRPr sz="10000" b="1">
                <a:solidFill>
                  <a:schemeClr val="accent1"/>
                </a:solidFill>
              </a:defRPr>
            </a:lvl8pPr>
            <a:lvl9pPr marL="648000" indent="0">
              <a:buNone/>
              <a:defRPr sz="10000" b="1">
                <a:solidFill>
                  <a:schemeClr val="accent1"/>
                </a:solidFill>
              </a:defRPr>
            </a:lvl9pPr>
          </a:lstStyle>
          <a:p>
            <a:pPr lvl="0"/>
            <a:r>
              <a:rPr lang="en-GB"/>
              <a:t>X</a:t>
            </a:r>
          </a:p>
        </p:txBody>
      </p:sp>
    </p:spTree>
    <p:extLst>
      <p:ext uri="{BB962C8B-B14F-4D97-AF65-F5344CB8AC3E}">
        <p14:creationId xmlns:p14="http://schemas.microsoft.com/office/powerpoint/2010/main" val="1985498576"/>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Divider | Picture Bi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D1D5118-986B-4635-9D6B-8CA6D3F14321}"/>
              </a:ext>
            </a:extLst>
          </p:cNvPr>
          <p:cNvGraphicFramePr>
            <a:graphicFrameLocks noChangeAspect="1"/>
          </p:cNvGraphicFramePr>
          <p:nvPr>
            <p:custDataLst>
              <p:tags r:id="rId2"/>
            </p:custDataLst>
            <p:extLst>
              <p:ext uri="{D42A27DB-BD31-4B8C-83A1-F6EECF244321}">
                <p14:modId xmlns:p14="http://schemas.microsoft.com/office/powerpoint/2010/main" val="2802693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0D1D5118-986B-4635-9D6B-8CA6D3F143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icture Placeholder 3">
            <a:extLst>
              <a:ext uri="{FF2B5EF4-FFF2-40B4-BE49-F238E27FC236}">
                <a16:creationId xmlns:a16="http://schemas.microsoft.com/office/drawing/2014/main" id="{611C4D44-4894-4762-BD1D-9C1B67849548}"/>
              </a:ext>
            </a:extLst>
          </p:cNvPr>
          <p:cNvSpPr>
            <a:spLocks noGrp="1"/>
          </p:cNvSpPr>
          <p:nvPr>
            <p:ph type="pic" sz="quarter" idx="13" hasCustomPrompt="1"/>
          </p:nvPr>
        </p:nvSpPr>
        <p:spPr bwMode="gray">
          <a:xfrm>
            <a:off x="0" y="0"/>
            <a:ext cx="12192000" cy="6858000"/>
          </a:xfrm>
          <a:solidFill>
            <a:schemeClr val="bg2"/>
          </a:solidFill>
        </p:spPr>
        <p:txBody>
          <a:bodyPr lIns="6912000" tIns="0" rIns="1368000" anchor="ctr" anchorCtr="0"/>
          <a:lstStyle>
            <a:lvl1pPr>
              <a:defRPr sz="1200">
                <a:solidFill>
                  <a:schemeClr val="accent4"/>
                </a:solidFill>
              </a:defRPr>
            </a:lvl1pPr>
            <a:lvl2pPr marL="0" indent="0">
              <a:buFontTx/>
              <a:buNone/>
              <a:defRPr sz="1200"/>
            </a:lvl2pPr>
            <a:lvl3pPr marL="0" indent="0">
              <a:buFontTx/>
              <a:buNone/>
              <a:defRPr sz="1200"/>
            </a:lvl3pPr>
            <a:lvl4pPr marL="0" indent="0">
              <a:buFontTx/>
              <a:buNone/>
              <a:tabLst/>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GB" noProof="0"/>
              <a:t> </a:t>
            </a:r>
          </a:p>
        </p:txBody>
      </p:sp>
      <p:sp>
        <p:nvSpPr>
          <p:cNvPr id="8" name="Titel 11">
            <a:extLst>
              <a:ext uri="{FF2B5EF4-FFF2-40B4-BE49-F238E27FC236}">
                <a16:creationId xmlns:a16="http://schemas.microsoft.com/office/drawing/2014/main" id="{3060036C-2095-4A53-9B7E-38866F624F3A}"/>
              </a:ext>
            </a:extLst>
          </p:cNvPr>
          <p:cNvSpPr>
            <a:spLocks noGrp="1"/>
          </p:cNvSpPr>
          <p:nvPr>
            <p:ph type="title" hasCustomPrompt="1"/>
          </p:nvPr>
        </p:nvSpPr>
        <p:spPr bwMode="gray">
          <a:xfrm>
            <a:off x="587375" y="1916113"/>
            <a:ext cx="7524849" cy="1332867"/>
          </a:xfrm>
          <a:noFill/>
        </p:spPr>
        <p:txBody>
          <a:bodyPr vert="horz" wrap="square" lIns="0" tIns="0" rIns="0" bIns="0" anchor="t" anchorCtr="0">
            <a:noAutofit/>
          </a:bodyPr>
          <a:lstStyle>
            <a:lvl1pPr>
              <a:lnSpc>
                <a:spcPct val="90000"/>
              </a:lnSpc>
              <a:tabLst/>
              <a:defRPr sz="3800">
                <a:solidFill>
                  <a:schemeClr val="accent1"/>
                </a:solidFill>
              </a:defRPr>
            </a:lvl1pPr>
          </a:lstStyle>
          <a:p>
            <a:r>
              <a:rPr lang="en-GB" noProof="0"/>
              <a:t>1 Name of Chapter</a:t>
            </a:r>
          </a:p>
        </p:txBody>
      </p:sp>
      <p:sp>
        <p:nvSpPr>
          <p:cNvPr id="6" name="Datumsplatzhalter 5">
            <a:extLst>
              <a:ext uri="{FF2B5EF4-FFF2-40B4-BE49-F238E27FC236}">
                <a16:creationId xmlns:a16="http://schemas.microsoft.com/office/drawing/2014/main" id="{9BA87372-FAB3-4917-AC66-D5A5B55434B7}"/>
              </a:ext>
            </a:extLst>
          </p:cNvPr>
          <p:cNvSpPr>
            <a:spLocks noGrp="1"/>
          </p:cNvSpPr>
          <p:nvPr>
            <p:ph type="dt" sz="half" idx="14"/>
          </p:nvPr>
        </p:nvSpPr>
        <p:spPr bwMode="gray">
          <a:xfrm>
            <a:off x="9221773" y="6381352"/>
            <a:ext cx="2382839" cy="216000"/>
          </a:xfrm>
        </p:spPr>
        <p:txBody>
          <a:bodyPr/>
          <a:lstStyle>
            <a:lvl1pPr>
              <a:defRPr>
                <a:solidFill>
                  <a:schemeClr val="tx1"/>
                </a:solidFill>
              </a:defRPr>
            </a:lvl1pPr>
          </a:lstStyle>
          <a:p>
            <a:endParaRPr lang="en-US"/>
          </a:p>
        </p:txBody>
      </p:sp>
      <p:sp>
        <p:nvSpPr>
          <p:cNvPr id="7" name="Fußzeilenplatzhalter 6">
            <a:extLst>
              <a:ext uri="{FF2B5EF4-FFF2-40B4-BE49-F238E27FC236}">
                <a16:creationId xmlns:a16="http://schemas.microsoft.com/office/drawing/2014/main" id="{A760EB93-619B-49A7-AE25-B651A7260278}"/>
              </a:ext>
            </a:extLst>
          </p:cNvPr>
          <p:cNvSpPr>
            <a:spLocks noGrp="1"/>
          </p:cNvSpPr>
          <p:nvPr>
            <p:ph type="ftr" sz="quarter" idx="15"/>
          </p:nvPr>
        </p:nvSpPr>
        <p:spPr bwMode="gray">
          <a:xfrm>
            <a:off x="587388" y="6381352"/>
            <a:ext cx="1928413" cy="138499"/>
          </a:xfrm>
        </p:spPr>
        <p:txBody>
          <a:bodyPr/>
          <a:lstStyle>
            <a:lvl1pPr>
              <a:defRPr>
                <a:solidFill>
                  <a:schemeClr val="tx1"/>
                </a:solidFill>
              </a:defRPr>
            </a:lvl1pPr>
          </a:lstStyle>
          <a:p>
            <a:endParaRPr lang="en-US"/>
          </a:p>
        </p:txBody>
      </p:sp>
      <p:sp>
        <p:nvSpPr>
          <p:cNvPr id="9" name="Foliennummernplatzhalter 8">
            <a:extLst>
              <a:ext uri="{FF2B5EF4-FFF2-40B4-BE49-F238E27FC236}">
                <a16:creationId xmlns:a16="http://schemas.microsoft.com/office/drawing/2014/main" id="{4030CD8D-F6FC-4FF8-BEB4-E0243D166396}"/>
              </a:ext>
            </a:extLst>
          </p:cNvPr>
          <p:cNvSpPr>
            <a:spLocks noGrp="1"/>
          </p:cNvSpPr>
          <p:nvPr>
            <p:ph type="sldNum" sz="quarter" idx="16"/>
          </p:nvPr>
        </p:nvSpPr>
        <p:spPr bwMode="gray"/>
        <p:txBody>
          <a:bodyPr/>
          <a:lstStyle>
            <a:lvl1pPr>
              <a:defRPr>
                <a:solidFill>
                  <a:schemeClr val="tx1"/>
                </a:solidFill>
              </a:defRPr>
            </a:lvl1pPr>
          </a:lstStyle>
          <a:p>
            <a:fld id="{BFCA3128-5B09-47E5-B47D-6F0CB7A5DE9F}" type="slidenum">
              <a:rPr lang="en-US"/>
              <a:t>‹#›</a:t>
            </a:fld>
            <a:endParaRPr lang="en-US"/>
          </a:p>
        </p:txBody>
      </p:sp>
    </p:spTree>
    <p:extLst>
      <p:ext uri="{BB962C8B-B14F-4D97-AF65-F5344CB8AC3E}">
        <p14:creationId xmlns:p14="http://schemas.microsoft.com/office/powerpoint/2010/main" val="24335267"/>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Divider | Picture Big | teal">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D1D5118-986B-4635-9D6B-8CA6D3F14321}"/>
              </a:ext>
            </a:extLst>
          </p:cNvPr>
          <p:cNvGraphicFramePr>
            <a:graphicFrameLocks noChangeAspect="1"/>
          </p:cNvGraphicFramePr>
          <p:nvPr>
            <p:custDataLst>
              <p:tags r:id="rId2"/>
            </p:custDataLst>
            <p:extLst>
              <p:ext uri="{D42A27DB-BD31-4B8C-83A1-F6EECF244321}">
                <p14:modId xmlns:p14="http://schemas.microsoft.com/office/powerpoint/2010/main" val="970992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0"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0D1D5118-986B-4635-9D6B-8CA6D3F143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icture Placeholder 3">
            <a:extLst>
              <a:ext uri="{FF2B5EF4-FFF2-40B4-BE49-F238E27FC236}">
                <a16:creationId xmlns:a16="http://schemas.microsoft.com/office/drawing/2014/main" id="{611C4D44-4894-4762-BD1D-9C1B67849548}"/>
              </a:ext>
            </a:extLst>
          </p:cNvPr>
          <p:cNvSpPr>
            <a:spLocks noGrp="1"/>
          </p:cNvSpPr>
          <p:nvPr>
            <p:ph type="pic" sz="quarter" idx="13" hasCustomPrompt="1"/>
          </p:nvPr>
        </p:nvSpPr>
        <p:spPr bwMode="gray">
          <a:xfrm>
            <a:off x="0" y="0"/>
            <a:ext cx="12192000" cy="6858000"/>
          </a:xfrm>
          <a:solidFill>
            <a:schemeClr val="bg2"/>
          </a:solidFill>
        </p:spPr>
        <p:txBody>
          <a:bodyPr lIns="6912000" tIns="0" rIns="1368000" anchor="ctr" anchorCtr="0"/>
          <a:lstStyle>
            <a:lvl1pPr>
              <a:defRPr sz="1200">
                <a:solidFill>
                  <a:schemeClr val="accent4"/>
                </a:solidFill>
              </a:defRPr>
            </a:lvl1pPr>
            <a:lvl2pPr marL="0" indent="0">
              <a:buFontTx/>
              <a:buNone/>
              <a:defRPr sz="1200"/>
            </a:lvl2pPr>
            <a:lvl3pPr marL="0" indent="0">
              <a:buFontTx/>
              <a:buNone/>
              <a:defRPr sz="1200"/>
            </a:lvl3pPr>
            <a:lvl4pPr marL="0" indent="0">
              <a:buFontTx/>
              <a:buNone/>
              <a:tabLst/>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GB" noProof="0"/>
              <a:t> </a:t>
            </a:r>
          </a:p>
        </p:txBody>
      </p:sp>
      <p:sp>
        <p:nvSpPr>
          <p:cNvPr id="8" name="Titel 11">
            <a:extLst>
              <a:ext uri="{FF2B5EF4-FFF2-40B4-BE49-F238E27FC236}">
                <a16:creationId xmlns:a16="http://schemas.microsoft.com/office/drawing/2014/main" id="{3060036C-2095-4A53-9B7E-38866F624F3A}"/>
              </a:ext>
            </a:extLst>
          </p:cNvPr>
          <p:cNvSpPr>
            <a:spLocks noGrp="1"/>
          </p:cNvSpPr>
          <p:nvPr>
            <p:ph type="title" hasCustomPrompt="1"/>
          </p:nvPr>
        </p:nvSpPr>
        <p:spPr bwMode="gray">
          <a:xfrm>
            <a:off x="0" y="0"/>
            <a:ext cx="12191999" cy="6858000"/>
          </a:xfrm>
          <a:solidFill>
            <a:schemeClr val="accent1">
              <a:alpha val="60000"/>
            </a:schemeClr>
          </a:solidFill>
        </p:spPr>
        <p:txBody>
          <a:bodyPr vert="horz" wrap="square" lIns="576000" tIns="1908000" rIns="720000" bIns="0" anchor="t" anchorCtr="0">
            <a:noAutofit/>
          </a:bodyPr>
          <a:lstStyle>
            <a:lvl1pPr>
              <a:lnSpc>
                <a:spcPct val="90000"/>
              </a:lnSpc>
              <a:tabLst/>
              <a:defRPr sz="3800">
                <a:solidFill>
                  <a:schemeClr val="bg1"/>
                </a:solidFill>
              </a:defRPr>
            </a:lvl1pPr>
          </a:lstStyle>
          <a:p>
            <a:r>
              <a:rPr lang="en-GB" noProof="0"/>
              <a:t>1 Name of Chapter</a:t>
            </a:r>
          </a:p>
        </p:txBody>
      </p:sp>
      <p:sp>
        <p:nvSpPr>
          <p:cNvPr id="6" name="Datumsplatzhalter 5">
            <a:extLst>
              <a:ext uri="{FF2B5EF4-FFF2-40B4-BE49-F238E27FC236}">
                <a16:creationId xmlns:a16="http://schemas.microsoft.com/office/drawing/2014/main" id="{9BA87372-FAB3-4917-AC66-D5A5B55434B7}"/>
              </a:ext>
            </a:extLst>
          </p:cNvPr>
          <p:cNvSpPr>
            <a:spLocks noGrp="1"/>
          </p:cNvSpPr>
          <p:nvPr>
            <p:ph type="dt" sz="half" idx="14"/>
          </p:nvPr>
        </p:nvSpPr>
        <p:spPr bwMode="gray">
          <a:xfrm>
            <a:off x="9221773" y="6381352"/>
            <a:ext cx="2382839" cy="216000"/>
          </a:xfrm>
        </p:spPr>
        <p:txBody>
          <a:bodyPr/>
          <a:lstStyle>
            <a:lvl1pPr>
              <a:defRPr>
                <a:solidFill>
                  <a:schemeClr val="bg1"/>
                </a:solidFill>
              </a:defRPr>
            </a:lvl1pPr>
          </a:lstStyle>
          <a:p>
            <a:endParaRPr lang="en-US"/>
          </a:p>
        </p:txBody>
      </p:sp>
      <p:sp>
        <p:nvSpPr>
          <p:cNvPr id="7" name="Fußzeilenplatzhalter 6">
            <a:extLst>
              <a:ext uri="{FF2B5EF4-FFF2-40B4-BE49-F238E27FC236}">
                <a16:creationId xmlns:a16="http://schemas.microsoft.com/office/drawing/2014/main" id="{A760EB93-619B-49A7-AE25-B651A7260278}"/>
              </a:ext>
            </a:extLst>
          </p:cNvPr>
          <p:cNvSpPr>
            <a:spLocks noGrp="1"/>
          </p:cNvSpPr>
          <p:nvPr>
            <p:ph type="ftr" sz="quarter" idx="15"/>
          </p:nvPr>
        </p:nvSpPr>
        <p:spPr bwMode="gray">
          <a:xfrm>
            <a:off x="587388" y="6381352"/>
            <a:ext cx="1928413" cy="138499"/>
          </a:xfrm>
        </p:spPr>
        <p:txBody>
          <a:bodyPr/>
          <a:lstStyle>
            <a:lvl1pPr>
              <a:defRPr>
                <a:solidFill>
                  <a:schemeClr val="bg1"/>
                </a:solidFill>
              </a:defRPr>
            </a:lvl1pPr>
          </a:lstStyle>
          <a:p>
            <a:endParaRPr lang="en-US"/>
          </a:p>
        </p:txBody>
      </p:sp>
      <p:sp>
        <p:nvSpPr>
          <p:cNvPr id="9" name="Foliennummernplatzhalter 8">
            <a:extLst>
              <a:ext uri="{FF2B5EF4-FFF2-40B4-BE49-F238E27FC236}">
                <a16:creationId xmlns:a16="http://schemas.microsoft.com/office/drawing/2014/main" id="{4030CD8D-F6FC-4FF8-BEB4-E0243D166396}"/>
              </a:ext>
            </a:extLst>
          </p:cNvPr>
          <p:cNvSpPr>
            <a:spLocks noGrp="1"/>
          </p:cNvSpPr>
          <p:nvPr>
            <p:ph type="sldNum" sz="quarter" idx="16"/>
          </p:nvPr>
        </p:nvSpPr>
        <p:spPr bwMode="gray"/>
        <p:txBody>
          <a:bodyPr/>
          <a:lstStyle>
            <a:lvl1pPr>
              <a:defRPr>
                <a:solidFill>
                  <a:schemeClr val="bg1"/>
                </a:solidFill>
              </a:defRPr>
            </a:lvl1pPr>
          </a:lstStyle>
          <a:p>
            <a:fld id="{BFCA3128-5B09-47E5-B47D-6F0CB7A5DE9F}" type="slidenum">
              <a:rPr lang="en-US"/>
              <a:t>‹#›</a:t>
            </a:fld>
            <a:endParaRPr lang="en-US"/>
          </a:p>
        </p:txBody>
      </p:sp>
    </p:spTree>
    <p:extLst>
      <p:ext uri="{BB962C8B-B14F-4D97-AF65-F5344CB8AC3E}">
        <p14:creationId xmlns:p14="http://schemas.microsoft.com/office/powerpoint/2010/main" val="2124910156"/>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Divider | Picture Big | Whit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D1D5118-986B-4635-9D6B-8CA6D3F14321}"/>
              </a:ext>
            </a:extLst>
          </p:cNvPr>
          <p:cNvGraphicFramePr>
            <a:graphicFrameLocks noChangeAspect="1"/>
          </p:cNvGraphicFramePr>
          <p:nvPr>
            <p:custDataLst>
              <p:tags r:id="rId2"/>
            </p:custDataLst>
            <p:extLst>
              <p:ext uri="{D42A27DB-BD31-4B8C-83A1-F6EECF244321}">
                <p14:modId xmlns:p14="http://schemas.microsoft.com/office/powerpoint/2010/main" val="2328269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0D1D5118-986B-4635-9D6B-8CA6D3F143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icture Placeholder 3">
            <a:extLst>
              <a:ext uri="{FF2B5EF4-FFF2-40B4-BE49-F238E27FC236}">
                <a16:creationId xmlns:a16="http://schemas.microsoft.com/office/drawing/2014/main" id="{611C4D44-4894-4762-BD1D-9C1B67849548}"/>
              </a:ext>
            </a:extLst>
          </p:cNvPr>
          <p:cNvSpPr>
            <a:spLocks noGrp="1"/>
          </p:cNvSpPr>
          <p:nvPr>
            <p:ph type="pic" sz="quarter" idx="13" hasCustomPrompt="1"/>
          </p:nvPr>
        </p:nvSpPr>
        <p:spPr bwMode="gray">
          <a:xfrm>
            <a:off x="0" y="0"/>
            <a:ext cx="12192000" cy="6858000"/>
          </a:xfrm>
          <a:solidFill>
            <a:schemeClr val="bg2"/>
          </a:solidFill>
        </p:spPr>
        <p:txBody>
          <a:bodyPr lIns="6912000" tIns="0" rIns="1368000" anchor="ctr" anchorCtr="0"/>
          <a:lstStyle>
            <a:lvl1pPr>
              <a:defRPr sz="1200">
                <a:solidFill>
                  <a:schemeClr val="accent4"/>
                </a:solidFill>
              </a:defRPr>
            </a:lvl1pPr>
            <a:lvl2pPr marL="0" indent="0">
              <a:buFontTx/>
              <a:buNone/>
              <a:defRPr sz="1200"/>
            </a:lvl2pPr>
            <a:lvl3pPr marL="0" indent="0">
              <a:buFontTx/>
              <a:buNone/>
              <a:defRPr sz="1200"/>
            </a:lvl3pPr>
            <a:lvl4pPr marL="0" indent="0">
              <a:buFontTx/>
              <a:buNone/>
              <a:tabLst/>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GB" noProof="0"/>
              <a:t> </a:t>
            </a:r>
          </a:p>
        </p:txBody>
      </p:sp>
      <p:sp>
        <p:nvSpPr>
          <p:cNvPr id="8" name="Titel 11">
            <a:extLst>
              <a:ext uri="{FF2B5EF4-FFF2-40B4-BE49-F238E27FC236}">
                <a16:creationId xmlns:a16="http://schemas.microsoft.com/office/drawing/2014/main" id="{3060036C-2095-4A53-9B7E-38866F624F3A}"/>
              </a:ext>
            </a:extLst>
          </p:cNvPr>
          <p:cNvSpPr>
            <a:spLocks noGrp="1"/>
          </p:cNvSpPr>
          <p:nvPr>
            <p:ph type="title" hasCustomPrompt="1"/>
          </p:nvPr>
        </p:nvSpPr>
        <p:spPr bwMode="gray">
          <a:xfrm>
            <a:off x="0" y="0"/>
            <a:ext cx="12191999" cy="6858000"/>
          </a:xfrm>
          <a:solidFill>
            <a:schemeClr val="bg1">
              <a:alpha val="80000"/>
            </a:schemeClr>
          </a:solidFill>
        </p:spPr>
        <p:txBody>
          <a:bodyPr vert="horz" wrap="square" lIns="576000" tIns="1908000" rIns="720000" bIns="0" anchor="t" anchorCtr="0">
            <a:noAutofit/>
          </a:bodyPr>
          <a:lstStyle>
            <a:lvl1pPr>
              <a:lnSpc>
                <a:spcPct val="90000"/>
              </a:lnSpc>
              <a:tabLst/>
              <a:defRPr sz="3800">
                <a:solidFill>
                  <a:schemeClr val="accent1"/>
                </a:solidFill>
              </a:defRPr>
            </a:lvl1pPr>
          </a:lstStyle>
          <a:p>
            <a:r>
              <a:rPr lang="en-GB" noProof="0"/>
              <a:t>1 Name of Chapter</a:t>
            </a:r>
          </a:p>
        </p:txBody>
      </p:sp>
      <p:sp>
        <p:nvSpPr>
          <p:cNvPr id="6" name="Datumsplatzhalter 5">
            <a:extLst>
              <a:ext uri="{FF2B5EF4-FFF2-40B4-BE49-F238E27FC236}">
                <a16:creationId xmlns:a16="http://schemas.microsoft.com/office/drawing/2014/main" id="{9BA87372-FAB3-4917-AC66-D5A5B55434B7}"/>
              </a:ext>
            </a:extLst>
          </p:cNvPr>
          <p:cNvSpPr>
            <a:spLocks noGrp="1"/>
          </p:cNvSpPr>
          <p:nvPr>
            <p:ph type="dt" sz="half" idx="14"/>
          </p:nvPr>
        </p:nvSpPr>
        <p:spPr bwMode="gray">
          <a:xfrm>
            <a:off x="9221773" y="6381352"/>
            <a:ext cx="2382839" cy="216000"/>
          </a:xfrm>
        </p:spPr>
        <p:txBody>
          <a:bodyPr/>
          <a:lstStyle>
            <a:lvl1pPr>
              <a:defRPr>
                <a:solidFill>
                  <a:schemeClr val="tx1"/>
                </a:solidFill>
              </a:defRPr>
            </a:lvl1pPr>
          </a:lstStyle>
          <a:p>
            <a:endParaRPr lang="en-US"/>
          </a:p>
        </p:txBody>
      </p:sp>
      <p:sp>
        <p:nvSpPr>
          <p:cNvPr id="7" name="Fußzeilenplatzhalter 6">
            <a:extLst>
              <a:ext uri="{FF2B5EF4-FFF2-40B4-BE49-F238E27FC236}">
                <a16:creationId xmlns:a16="http://schemas.microsoft.com/office/drawing/2014/main" id="{A760EB93-619B-49A7-AE25-B651A7260278}"/>
              </a:ext>
            </a:extLst>
          </p:cNvPr>
          <p:cNvSpPr>
            <a:spLocks noGrp="1"/>
          </p:cNvSpPr>
          <p:nvPr>
            <p:ph type="ftr" sz="quarter" idx="15"/>
          </p:nvPr>
        </p:nvSpPr>
        <p:spPr bwMode="gray">
          <a:xfrm>
            <a:off x="587388" y="6381352"/>
            <a:ext cx="1928413" cy="138499"/>
          </a:xfrm>
        </p:spPr>
        <p:txBody>
          <a:bodyPr/>
          <a:lstStyle>
            <a:lvl1pPr>
              <a:defRPr>
                <a:solidFill>
                  <a:schemeClr val="tx1"/>
                </a:solidFill>
              </a:defRPr>
            </a:lvl1pPr>
          </a:lstStyle>
          <a:p>
            <a:endParaRPr lang="en-US"/>
          </a:p>
        </p:txBody>
      </p:sp>
      <p:sp>
        <p:nvSpPr>
          <p:cNvPr id="9" name="Foliennummernplatzhalter 8">
            <a:extLst>
              <a:ext uri="{FF2B5EF4-FFF2-40B4-BE49-F238E27FC236}">
                <a16:creationId xmlns:a16="http://schemas.microsoft.com/office/drawing/2014/main" id="{4030CD8D-F6FC-4FF8-BEB4-E0243D166396}"/>
              </a:ext>
            </a:extLst>
          </p:cNvPr>
          <p:cNvSpPr>
            <a:spLocks noGrp="1"/>
          </p:cNvSpPr>
          <p:nvPr>
            <p:ph type="sldNum" sz="quarter" idx="16"/>
          </p:nvPr>
        </p:nvSpPr>
        <p:spPr bwMode="gray"/>
        <p:txBody>
          <a:bodyPr/>
          <a:lstStyle>
            <a:lvl1pPr>
              <a:defRPr>
                <a:solidFill>
                  <a:schemeClr val="tx1"/>
                </a:solidFill>
              </a:defRPr>
            </a:lvl1pPr>
          </a:lstStyle>
          <a:p>
            <a:fld id="{BFCA3128-5B09-47E5-B47D-6F0CB7A5DE9F}" type="slidenum">
              <a:rPr lang="en-US"/>
              <a:t>‹#›</a:t>
            </a:fld>
            <a:endParaRPr lang="en-US"/>
          </a:p>
        </p:txBody>
      </p:sp>
    </p:spTree>
    <p:extLst>
      <p:ext uri="{BB962C8B-B14F-4D97-AF65-F5344CB8AC3E}">
        <p14:creationId xmlns:p14="http://schemas.microsoft.com/office/powerpoint/2010/main" val="1211850710"/>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FB6B354-D26F-4CA3-8423-CEC7A748C450}"/>
              </a:ext>
            </a:extLst>
          </p:cNvPr>
          <p:cNvGraphicFramePr>
            <a:graphicFrameLocks noChangeAspect="1"/>
          </p:cNvGraphicFramePr>
          <p:nvPr>
            <p:custDataLst>
              <p:tags r:id="rId2"/>
            </p:custDataLst>
            <p:extLst>
              <p:ext uri="{D42A27DB-BD31-4B8C-83A1-F6EECF244321}">
                <p14:modId xmlns:p14="http://schemas.microsoft.com/office/powerpoint/2010/main" val="552064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8"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3FB6B354-D26F-4CA3-8423-CEC7A748C4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vert="horz"/>
          <a:lstStyle/>
          <a:p>
            <a:r>
              <a:rPr lang="en-GB" noProof="0"/>
              <a:t>Click to add title</a:t>
            </a:r>
          </a:p>
        </p:txBody>
      </p:sp>
      <p:sp>
        <p:nvSpPr>
          <p:cNvPr id="5" name="Content Placeholder 1">
            <a:extLst>
              <a:ext uri="{FF2B5EF4-FFF2-40B4-BE49-F238E27FC236}">
                <a16:creationId xmlns:a16="http://schemas.microsoft.com/office/drawing/2014/main" id="{E60B3DF5-A017-44F8-B089-C048DCA50147}"/>
              </a:ext>
            </a:extLst>
          </p:cNvPr>
          <p:cNvSpPr>
            <a:spLocks noGrp="1"/>
          </p:cNvSpPr>
          <p:nvPr>
            <p:ph sz="quarter" idx="13" hasCustomPrompt="1"/>
          </p:nvPr>
        </p:nvSpPr>
        <p:spPr bwMode="gray">
          <a:xfrm>
            <a:off x="587376" y="1916113"/>
            <a:ext cx="11017250" cy="4213225"/>
          </a:xfrm>
        </p:spPr>
        <p:txBody>
          <a:bodyPr/>
          <a:lstStyle>
            <a:lvl2pPr>
              <a:defRPr/>
            </a:lvl2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 name="Datumsplatzhalter 2">
            <a:extLst>
              <a:ext uri="{FF2B5EF4-FFF2-40B4-BE49-F238E27FC236}">
                <a16:creationId xmlns:a16="http://schemas.microsoft.com/office/drawing/2014/main" id="{B2B3D16E-414A-4060-BC94-84535C0165F6}"/>
              </a:ext>
            </a:extLst>
          </p:cNvPr>
          <p:cNvSpPr>
            <a:spLocks noGrp="1"/>
          </p:cNvSpPr>
          <p:nvPr>
            <p:ph type="dt" sz="half" idx="14"/>
          </p:nvPr>
        </p:nvSpPr>
        <p:spPr bwMode="gray"/>
        <p:txBody>
          <a:bodyPr/>
          <a:lstStyle/>
          <a:p>
            <a:endParaRPr lang="en-US"/>
          </a:p>
        </p:txBody>
      </p:sp>
      <p:sp>
        <p:nvSpPr>
          <p:cNvPr id="9" name="Fußzeilenplatzhalter 8">
            <a:extLst>
              <a:ext uri="{FF2B5EF4-FFF2-40B4-BE49-F238E27FC236}">
                <a16:creationId xmlns:a16="http://schemas.microsoft.com/office/drawing/2014/main" id="{3CC806EC-DFB2-43BD-A821-744770D5D3AC}"/>
              </a:ext>
            </a:extLst>
          </p:cNvPr>
          <p:cNvSpPr>
            <a:spLocks noGrp="1"/>
          </p:cNvSpPr>
          <p:nvPr>
            <p:ph type="ftr" sz="quarter" idx="15"/>
          </p:nvPr>
        </p:nvSpPr>
        <p:spPr bwMode="gray"/>
        <p:txBody>
          <a:bodyPr/>
          <a:lstStyle/>
          <a:p>
            <a:endParaRPr lang="en-US"/>
          </a:p>
        </p:txBody>
      </p:sp>
      <p:sp>
        <p:nvSpPr>
          <p:cNvPr id="10" name="Foliennummernplatzhalter 9">
            <a:extLst>
              <a:ext uri="{FF2B5EF4-FFF2-40B4-BE49-F238E27FC236}">
                <a16:creationId xmlns:a16="http://schemas.microsoft.com/office/drawing/2014/main" id="{60D78AD3-49B2-42FE-A559-BEA23650DF02}"/>
              </a:ext>
            </a:extLst>
          </p:cNvPr>
          <p:cNvSpPr>
            <a:spLocks noGrp="1"/>
          </p:cNvSpPr>
          <p:nvPr>
            <p:ph type="sldNum" sz="quarter" idx="16"/>
          </p:nvPr>
        </p:nvSpPr>
        <p:spPr bwMode="gray"/>
        <p:txBody>
          <a:bodyPr/>
          <a:lstStyle/>
          <a:p>
            <a:fld id="{BFCA3128-5B09-47E5-B47D-6F0CB7A5DE9F}" type="slidenum">
              <a:rPr lang="en-US"/>
              <a:t>‹#›</a:t>
            </a:fld>
            <a:endParaRPr lang="en-US"/>
          </a:p>
        </p:txBody>
      </p:sp>
    </p:spTree>
    <p:extLst>
      <p:ext uri="{BB962C8B-B14F-4D97-AF65-F5344CB8AC3E}">
        <p14:creationId xmlns:p14="http://schemas.microsoft.com/office/powerpoint/2010/main" val="270328055"/>
      </p:ext>
    </p:extLst>
  </p:cSld>
  <p:clrMapOvr>
    <a:masterClrMapping/>
  </p:clrMapOvr>
  <p:extLst>
    <p:ext uri="{DCECCB84-F9BA-43D5-87BE-67443E8EF086}">
      <p15:sldGuideLst xmlns:p15="http://schemas.microsoft.com/office/powerpoint/2012/main">
        <p15:guide id="1" orient="horz" pos="1071">
          <p15:clr>
            <a:srgbClr val="F26B43"/>
          </p15:clr>
        </p15:guide>
        <p15:guide id="2" pos="7310">
          <p15:clr>
            <a:srgbClr val="F26B43"/>
          </p15:clr>
        </p15:guide>
        <p15:guide id="3" pos="370">
          <p15:clr>
            <a:srgbClr val="F26B43"/>
          </p15:clr>
        </p15:guide>
        <p15:guide id="6" orient="horz" pos="232">
          <p15:clr>
            <a:srgbClr val="F26B43"/>
          </p15:clr>
        </p15:guide>
        <p15:guide id="8" orient="horz" pos="935">
          <p15:clr>
            <a:srgbClr val="F26B43"/>
          </p15:clr>
        </p15:guide>
        <p15:guide id="9" orient="horz" pos="3861">
          <p15:clr>
            <a:srgbClr val="F26B43"/>
          </p15:clr>
        </p15:guide>
        <p15:guide id="10" orient="horz" pos="1207">
          <p15:clr>
            <a:srgbClr val="F26B43"/>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0300226-7C90-44B8-96E6-83685D5EEA0A}"/>
              </a:ext>
            </a:extLst>
          </p:cNvPr>
          <p:cNvGraphicFramePr>
            <a:graphicFrameLocks noChangeAspect="1"/>
          </p:cNvGraphicFramePr>
          <p:nvPr>
            <p:custDataLst>
              <p:tags r:id="rId2"/>
            </p:custDataLst>
            <p:extLst>
              <p:ext uri="{D42A27DB-BD31-4B8C-83A1-F6EECF244321}">
                <p14:modId xmlns:p14="http://schemas.microsoft.com/office/powerpoint/2010/main" val="3812625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2"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10300226-7C90-44B8-96E6-83685D5EEA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vert="horz"/>
          <a:lstStyle/>
          <a:p>
            <a:r>
              <a:rPr lang="en-GB" noProof="0"/>
              <a:t>Click to add title</a:t>
            </a:r>
          </a:p>
        </p:txBody>
      </p:sp>
      <p:sp>
        <p:nvSpPr>
          <p:cNvPr id="13" name="Content Placeholder 1">
            <a:extLst>
              <a:ext uri="{FF2B5EF4-FFF2-40B4-BE49-F238E27FC236}">
                <a16:creationId xmlns:a16="http://schemas.microsoft.com/office/drawing/2014/main" id="{19A81872-AC37-45B0-9928-42A9B241C552}"/>
              </a:ext>
            </a:extLst>
          </p:cNvPr>
          <p:cNvSpPr>
            <a:spLocks noGrp="1"/>
          </p:cNvSpPr>
          <p:nvPr>
            <p:ph sz="quarter" idx="16" hasCustomPrompt="1"/>
          </p:nvPr>
        </p:nvSpPr>
        <p:spPr bwMode="gray">
          <a:xfrm>
            <a:off x="587374" y="1916583"/>
            <a:ext cx="5400675" cy="4213226"/>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5" name="Content Placeholder 2">
            <a:extLst>
              <a:ext uri="{FF2B5EF4-FFF2-40B4-BE49-F238E27FC236}">
                <a16:creationId xmlns:a16="http://schemas.microsoft.com/office/drawing/2014/main" id="{6A1F12F7-2CA6-4D25-8661-804DEF3F8346}"/>
              </a:ext>
            </a:extLst>
          </p:cNvPr>
          <p:cNvSpPr>
            <a:spLocks noGrp="1"/>
          </p:cNvSpPr>
          <p:nvPr>
            <p:ph sz="quarter" idx="17" hasCustomPrompt="1"/>
          </p:nvPr>
        </p:nvSpPr>
        <p:spPr bwMode="gray">
          <a:xfrm>
            <a:off x="6203950" y="1916112"/>
            <a:ext cx="5400675" cy="4213225"/>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 name="Datumsplatzhalter 2">
            <a:extLst>
              <a:ext uri="{FF2B5EF4-FFF2-40B4-BE49-F238E27FC236}">
                <a16:creationId xmlns:a16="http://schemas.microsoft.com/office/drawing/2014/main" id="{E6357D8E-21FB-46CE-89F1-5BD166A76C7B}"/>
              </a:ext>
            </a:extLst>
          </p:cNvPr>
          <p:cNvSpPr>
            <a:spLocks noGrp="1"/>
          </p:cNvSpPr>
          <p:nvPr>
            <p:ph type="dt" sz="half" idx="18"/>
          </p:nvPr>
        </p:nvSpPr>
        <p:spPr bwMode="gray"/>
        <p:txBody>
          <a:bodyPr/>
          <a:lstStyle/>
          <a:p>
            <a:endParaRPr lang="en-US"/>
          </a:p>
        </p:txBody>
      </p:sp>
      <p:sp>
        <p:nvSpPr>
          <p:cNvPr id="5" name="Fußzeilenplatzhalter 4">
            <a:extLst>
              <a:ext uri="{FF2B5EF4-FFF2-40B4-BE49-F238E27FC236}">
                <a16:creationId xmlns:a16="http://schemas.microsoft.com/office/drawing/2014/main" id="{FB7B2E10-70D1-43FD-A041-B83D11899FDF}"/>
              </a:ext>
            </a:extLst>
          </p:cNvPr>
          <p:cNvSpPr>
            <a:spLocks noGrp="1"/>
          </p:cNvSpPr>
          <p:nvPr>
            <p:ph type="ftr" sz="quarter" idx="19"/>
          </p:nvPr>
        </p:nvSpPr>
        <p:spPr bwMode="gray"/>
        <p:txBody>
          <a:bodyPr/>
          <a:lstStyle/>
          <a:p>
            <a:endParaRPr lang="en-US"/>
          </a:p>
        </p:txBody>
      </p:sp>
      <p:sp>
        <p:nvSpPr>
          <p:cNvPr id="6" name="Foliennummernplatzhalter 5">
            <a:extLst>
              <a:ext uri="{FF2B5EF4-FFF2-40B4-BE49-F238E27FC236}">
                <a16:creationId xmlns:a16="http://schemas.microsoft.com/office/drawing/2014/main" id="{4AA86162-C255-4010-8EC8-46ECEDD644D9}"/>
              </a:ext>
            </a:extLst>
          </p:cNvPr>
          <p:cNvSpPr>
            <a:spLocks noGrp="1"/>
          </p:cNvSpPr>
          <p:nvPr>
            <p:ph type="sldNum" sz="quarter" idx="20"/>
          </p:nvPr>
        </p:nvSpPr>
        <p:spPr bwMode="gray"/>
        <p:txBody>
          <a:bodyPr/>
          <a:lstStyle/>
          <a:p>
            <a:fld id="{BFCA3128-5B09-47E5-B47D-6F0CB7A5DE9F}" type="slidenum">
              <a:rPr lang="en-US"/>
              <a:t>‹#›</a:t>
            </a:fld>
            <a:endParaRPr lang="en-US"/>
          </a:p>
        </p:txBody>
      </p:sp>
    </p:spTree>
    <p:extLst>
      <p:ext uri="{BB962C8B-B14F-4D97-AF65-F5344CB8AC3E}">
        <p14:creationId xmlns:p14="http://schemas.microsoft.com/office/powerpoint/2010/main" val="599843675"/>
      </p:ext>
    </p:extLst>
  </p:cSld>
  <p:clrMapOvr>
    <a:masterClrMapping/>
  </p:clrMapOvr>
  <p:extLst>
    <p:ext uri="{DCECCB84-F9BA-43D5-87BE-67443E8EF086}">
      <p15:sldGuideLst xmlns:p15="http://schemas.microsoft.com/office/powerpoint/2012/main">
        <p15:guide id="1" pos="3772">
          <p15:clr>
            <a:srgbClr val="F26B43"/>
          </p15:clr>
        </p15:guide>
        <p15:guide id="2" pos="3908">
          <p15:clr>
            <a:srgbClr val="F26B43"/>
          </p15:clr>
        </p15:guide>
        <p15:guide id="3" pos="370">
          <p15:clr>
            <a:srgbClr val="F26B43"/>
          </p15:clr>
        </p15:guide>
        <p15:guide id="4" pos="7310">
          <p15:clr>
            <a:srgbClr val="F26B43"/>
          </p15:clr>
        </p15:guide>
        <p15:guide id="5" orient="horz" pos="1071">
          <p15:clr>
            <a:srgbClr val="F26B43"/>
          </p15:clr>
        </p15:guide>
        <p15:guide id="6" orient="horz" pos="3861">
          <p15:clr>
            <a:srgbClr val="F26B43"/>
          </p15:clr>
        </p15:guide>
        <p15:guide id="7" orient="horz" pos="1207">
          <p15:clr>
            <a:srgbClr val="F26B43"/>
          </p15:clr>
        </p15:guide>
        <p15:guide id="8" orient="horz" pos="232">
          <p15:clr>
            <a:srgbClr val="F26B43"/>
          </p15:clr>
        </p15:guide>
        <p15:guide id="9" orient="horz" pos="935">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9F70DC-D1C9-428B-81D2-F5133067079A}"/>
              </a:ext>
            </a:extLst>
          </p:cNvPr>
          <p:cNvSpPr>
            <a:spLocks noGrp="1"/>
          </p:cNvSpPr>
          <p:nvPr>
            <p:ph type="title"/>
          </p:nvPr>
        </p:nvSpPr>
        <p:spPr/>
        <p:txBody>
          <a:bodyPr/>
          <a:lstStyle/>
          <a:p>
            <a:r>
              <a:rPr lang="en-US"/>
              <a:t>Click to edit Master title style</a:t>
            </a:r>
            <a:endParaRPr lang="bg-BG"/>
          </a:p>
        </p:txBody>
      </p:sp>
      <p:sp>
        <p:nvSpPr>
          <p:cNvPr id="3" name="Date Placeholder 2">
            <a:extLst>
              <a:ext uri="{FF2B5EF4-FFF2-40B4-BE49-F238E27FC236}">
                <a16:creationId xmlns:a16="http://schemas.microsoft.com/office/drawing/2014/main" id="{DFB1326B-79E9-4333-9B03-81B67642D8D2}"/>
              </a:ext>
            </a:extLst>
          </p:cNvPr>
          <p:cNvSpPr>
            <a:spLocks noGrp="1"/>
          </p:cNvSpPr>
          <p:nvPr>
            <p:ph type="dt" sz="half" idx="10"/>
          </p:nvPr>
        </p:nvSpPr>
        <p:spPr/>
        <p:txBody>
          <a:bodyPr/>
          <a:lstStyle/>
          <a:p>
            <a:fld id="{4742D07F-AA84-406A-9332-1464FA876A41}" type="datetimeFigureOut">
              <a:rPr lang="bg-BG" smtClean="0"/>
              <a:t>10.04.24 г.</a:t>
            </a:fld>
            <a:endParaRPr lang="bg-BG"/>
          </a:p>
        </p:txBody>
      </p:sp>
      <p:sp>
        <p:nvSpPr>
          <p:cNvPr id="4" name="Footer Placeholder 3">
            <a:extLst>
              <a:ext uri="{FF2B5EF4-FFF2-40B4-BE49-F238E27FC236}">
                <a16:creationId xmlns:a16="http://schemas.microsoft.com/office/drawing/2014/main" id="{E2C3ADF9-5064-40D1-8801-E1DEBDCDEA9A}"/>
              </a:ext>
            </a:extLst>
          </p:cNvPr>
          <p:cNvSpPr>
            <a:spLocks noGrp="1"/>
          </p:cNvSpPr>
          <p:nvPr>
            <p:ph type="ftr" sz="quarter" idx="11"/>
          </p:nvPr>
        </p:nvSpPr>
        <p:spPr/>
        <p:txBody>
          <a:bodyPr/>
          <a:lstStyle/>
          <a:p>
            <a:endParaRPr lang="bg-BG"/>
          </a:p>
        </p:txBody>
      </p:sp>
      <p:sp>
        <p:nvSpPr>
          <p:cNvPr id="5" name="Slide Number Placeholder 4">
            <a:extLst>
              <a:ext uri="{FF2B5EF4-FFF2-40B4-BE49-F238E27FC236}">
                <a16:creationId xmlns:a16="http://schemas.microsoft.com/office/drawing/2014/main" id="{8C60225D-A462-453B-8E70-25231F1F944A}"/>
              </a:ext>
            </a:extLst>
          </p:cNvPr>
          <p:cNvSpPr>
            <a:spLocks noGrp="1"/>
          </p:cNvSpPr>
          <p:nvPr>
            <p:ph type="sldNum" sz="quarter" idx="12"/>
          </p:nvPr>
        </p:nvSpPr>
        <p:spPr/>
        <p:txBody>
          <a:bodyPr/>
          <a:lstStyle/>
          <a:p>
            <a:fld id="{1ECF27F8-A54A-4E9B-946E-1DA717B6015E}" type="slidenum">
              <a:rPr lang="bg-BG" smtClean="0"/>
              <a:t>‹#›</a:t>
            </a:fld>
            <a:endParaRPr lang="bg-BG"/>
          </a:p>
        </p:txBody>
      </p:sp>
    </p:spTree>
    <p:extLst>
      <p:ext uri="{BB962C8B-B14F-4D97-AF65-F5344CB8AC3E}">
        <p14:creationId xmlns:p14="http://schemas.microsoft.com/office/powerpoint/2010/main" val="225958570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FC76ECB-32CB-400C-8363-6129F9AFE888}"/>
              </a:ext>
            </a:extLst>
          </p:cNvPr>
          <p:cNvGraphicFramePr>
            <a:graphicFrameLocks noChangeAspect="1"/>
          </p:cNvGraphicFramePr>
          <p:nvPr>
            <p:custDataLst>
              <p:tags r:id="rId2"/>
            </p:custDataLst>
            <p:extLst>
              <p:ext uri="{D42A27DB-BD31-4B8C-83A1-F6EECF244321}">
                <p14:modId xmlns:p14="http://schemas.microsoft.com/office/powerpoint/2010/main" val="1304573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6"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5FC76ECB-32CB-400C-8363-6129F9AFE8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vert="horz"/>
          <a:lstStyle/>
          <a:p>
            <a:r>
              <a:rPr lang="en-GB" noProof="0"/>
              <a:t>Click to add title</a:t>
            </a:r>
          </a:p>
        </p:txBody>
      </p:sp>
      <p:sp>
        <p:nvSpPr>
          <p:cNvPr id="12" name="Content Placeholder 1">
            <a:extLst>
              <a:ext uri="{FF2B5EF4-FFF2-40B4-BE49-F238E27FC236}">
                <a16:creationId xmlns:a16="http://schemas.microsoft.com/office/drawing/2014/main" id="{16AD052E-8012-4835-9892-599D5CAFCC84}"/>
              </a:ext>
            </a:extLst>
          </p:cNvPr>
          <p:cNvSpPr>
            <a:spLocks noGrp="1"/>
          </p:cNvSpPr>
          <p:nvPr>
            <p:ph sz="quarter" idx="18" hasCustomPrompt="1"/>
          </p:nvPr>
        </p:nvSpPr>
        <p:spPr bwMode="gray">
          <a:xfrm>
            <a:off x="587374" y="1916584"/>
            <a:ext cx="3529014" cy="4213225"/>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4"/>
            <a:endParaRPr lang="en-GB" noProof="0"/>
          </a:p>
        </p:txBody>
      </p:sp>
      <p:sp>
        <p:nvSpPr>
          <p:cNvPr id="5" name="Content Placeholder 3">
            <a:extLst>
              <a:ext uri="{FF2B5EF4-FFF2-40B4-BE49-F238E27FC236}">
                <a16:creationId xmlns:a16="http://schemas.microsoft.com/office/drawing/2014/main" id="{C4E953B2-D72D-4578-939D-BC8A4FF7FE17}"/>
              </a:ext>
            </a:extLst>
          </p:cNvPr>
          <p:cNvSpPr>
            <a:spLocks noGrp="1"/>
          </p:cNvSpPr>
          <p:nvPr>
            <p:ph sz="quarter" idx="20" hasCustomPrompt="1"/>
          </p:nvPr>
        </p:nvSpPr>
        <p:spPr bwMode="gray">
          <a:xfrm>
            <a:off x="8075613" y="1916113"/>
            <a:ext cx="3528999" cy="4213225"/>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4"/>
            <a:endParaRPr lang="en-GB" noProof="0"/>
          </a:p>
        </p:txBody>
      </p:sp>
      <p:sp>
        <p:nvSpPr>
          <p:cNvPr id="11" name="Content Placeholder 1">
            <a:extLst>
              <a:ext uri="{FF2B5EF4-FFF2-40B4-BE49-F238E27FC236}">
                <a16:creationId xmlns:a16="http://schemas.microsoft.com/office/drawing/2014/main" id="{8F94276C-FF43-433B-8FDC-C87F7B8A3A3E}"/>
              </a:ext>
            </a:extLst>
          </p:cNvPr>
          <p:cNvSpPr>
            <a:spLocks noGrp="1"/>
          </p:cNvSpPr>
          <p:nvPr>
            <p:ph sz="quarter" idx="24" hasCustomPrompt="1"/>
          </p:nvPr>
        </p:nvSpPr>
        <p:spPr bwMode="gray">
          <a:xfrm>
            <a:off x="4332289" y="1916584"/>
            <a:ext cx="3527424" cy="4213225"/>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4"/>
            <a:endParaRPr lang="en-GB" noProof="0"/>
          </a:p>
        </p:txBody>
      </p:sp>
      <p:sp>
        <p:nvSpPr>
          <p:cNvPr id="3" name="Datumsplatzhalter 2">
            <a:extLst>
              <a:ext uri="{FF2B5EF4-FFF2-40B4-BE49-F238E27FC236}">
                <a16:creationId xmlns:a16="http://schemas.microsoft.com/office/drawing/2014/main" id="{A6A35E5A-B454-4B24-A414-65722C43591D}"/>
              </a:ext>
            </a:extLst>
          </p:cNvPr>
          <p:cNvSpPr>
            <a:spLocks noGrp="1"/>
          </p:cNvSpPr>
          <p:nvPr>
            <p:ph type="dt" sz="half" idx="25"/>
          </p:nvPr>
        </p:nvSpPr>
        <p:spPr bwMode="gray"/>
        <p:txBody>
          <a:bodyPr/>
          <a:lstStyle/>
          <a:p>
            <a:endParaRPr lang="en-US"/>
          </a:p>
        </p:txBody>
      </p:sp>
      <p:sp>
        <p:nvSpPr>
          <p:cNvPr id="9" name="Fußzeilenplatzhalter 8">
            <a:extLst>
              <a:ext uri="{FF2B5EF4-FFF2-40B4-BE49-F238E27FC236}">
                <a16:creationId xmlns:a16="http://schemas.microsoft.com/office/drawing/2014/main" id="{B82906B0-826B-4802-AB57-FEA612A14A5A}"/>
              </a:ext>
            </a:extLst>
          </p:cNvPr>
          <p:cNvSpPr>
            <a:spLocks noGrp="1"/>
          </p:cNvSpPr>
          <p:nvPr>
            <p:ph type="ftr" sz="quarter" idx="26"/>
          </p:nvPr>
        </p:nvSpPr>
        <p:spPr bwMode="gray"/>
        <p:txBody>
          <a:bodyPr/>
          <a:lstStyle/>
          <a:p>
            <a:endParaRPr lang="en-US"/>
          </a:p>
        </p:txBody>
      </p:sp>
      <p:sp>
        <p:nvSpPr>
          <p:cNvPr id="10" name="Foliennummernplatzhalter 9">
            <a:extLst>
              <a:ext uri="{FF2B5EF4-FFF2-40B4-BE49-F238E27FC236}">
                <a16:creationId xmlns:a16="http://schemas.microsoft.com/office/drawing/2014/main" id="{D1429482-32B6-41C3-8AAB-6B1D238FF0EC}"/>
              </a:ext>
            </a:extLst>
          </p:cNvPr>
          <p:cNvSpPr>
            <a:spLocks noGrp="1"/>
          </p:cNvSpPr>
          <p:nvPr>
            <p:ph type="sldNum" sz="quarter" idx="27"/>
          </p:nvPr>
        </p:nvSpPr>
        <p:spPr bwMode="gray"/>
        <p:txBody>
          <a:bodyPr/>
          <a:lstStyle/>
          <a:p>
            <a:fld id="{BFCA3128-5B09-47E5-B47D-6F0CB7A5DE9F}" type="slidenum">
              <a:rPr lang="en-US"/>
              <a:t>‹#›</a:t>
            </a:fld>
            <a:endParaRPr lang="en-US"/>
          </a:p>
        </p:txBody>
      </p:sp>
    </p:spTree>
    <p:extLst>
      <p:ext uri="{BB962C8B-B14F-4D97-AF65-F5344CB8AC3E}">
        <p14:creationId xmlns:p14="http://schemas.microsoft.com/office/powerpoint/2010/main" val="798128072"/>
      </p:ext>
    </p:extLst>
  </p:cSld>
  <p:clrMapOvr>
    <a:masterClrMapping/>
  </p:clrMapOvr>
  <p:extLst>
    <p:ext uri="{DCECCB84-F9BA-43D5-87BE-67443E8EF086}">
      <p15:sldGuideLst xmlns:p15="http://schemas.microsoft.com/office/powerpoint/2012/main">
        <p15:guide id="1" pos="2729">
          <p15:clr>
            <a:srgbClr val="F26B43"/>
          </p15:clr>
        </p15:guide>
        <p15:guide id="2" pos="2593">
          <p15:clr>
            <a:srgbClr val="F26B43"/>
          </p15:clr>
        </p15:guide>
        <p15:guide id="3" pos="4951">
          <p15:clr>
            <a:srgbClr val="F26B43"/>
          </p15:clr>
        </p15:guide>
        <p15:guide id="4" pos="5087">
          <p15:clr>
            <a:srgbClr val="F26B43"/>
          </p15:clr>
        </p15:guide>
        <p15:guide id="5" orient="horz" pos="1071">
          <p15:clr>
            <a:srgbClr val="F26B43"/>
          </p15:clr>
        </p15:guide>
        <p15:guide id="6" orient="horz" pos="3861">
          <p15:clr>
            <a:srgbClr val="F26B43"/>
          </p15:clr>
        </p15:guide>
        <p15:guide id="7" pos="370">
          <p15:clr>
            <a:srgbClr val="F26B43"/>
          </p15:clr>
        </p15:guide>
        <p15:guide id="8" pos="7310">
          <p15:clr>
            <a:srgbClr val="F26B43"/>
          </p15:clr>
        </p15:guide>
        <p15:guide id="9" orient="horz" pos="232">
          <p15:clr>
            <a:srgbClr val="F26B43"/>
          </p15:clr>
        </p15:guide>
        <p15:guide id="10" orient="horz" pos="935">
          <p15:clr>
            <a:srgbClr val="F26B43"/>
          </p15:clr>
        </p15:guide>
        <p15:guide id="11" orient="horz" pos="1207">
          <p15:clr>
            <a:srgbClr val="F26B43"/>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wo Contents | Column whit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F84DD7F-8245-4225-A5F6-BF8C447654E5}"/>
              </a:ext>
            </a:extLst>
          </p:cNvPr>
          <p:cNvGraphicFramePr>
            <a:graphicFrameLocks noChangeAspect="1"/>
          </p:cNvGraphicFramePr>
          <p:nvPr>
            <p:custDataLst>
              <p:tags r:id="rId2"/>
            </p:custDataLst>
            <p:extLst>
              <p:ext uri="{D42A27DB-BD31-4B8C-83A1-F6EECF244321}">
                <p14:modId xmlns:p14="http://schemas.microsoft.com/office/powerpoint/2010/main" val="2833209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0"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1F84DD7F-8245-4225-A5F6-BF8C447654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vert="horz"/>
          <a:lstStyle/>
          <a:p>
            <a:r>
              <a:rPr lang="en-GB" noProof="0"/>
              <a:t>Click to add title</a:t>
            </a:r>
          </a:p>
        </p:txBody>
      </p:sp>
      <p:sp>
        <p:nvSpPr>
          <p:cNvPr id="13" name="Content Placeholder 1">
            <a:extLst>
              <a:ext uri="{FF2B5EF4-FFF2-40B4-BE49-F238E27FC236}">
                <a16:creationId xmlns:a16="http://schemas.microsoft.com/office/drawing/2014/main" id="{19A81872-AC37-45B0-9928-42A9B241C552}"/>
              </a:ext>
            </a:extLst>
          </p:cNvPr>
          <p:cNvSpPr>
            <a:spLocks noGrp="1"/>
          </p:cNvSpPr>
          <p:nvPr>
            <p:ph sz="quarter" idx="16" hasCustomPrompt="1"/>
          </p:nvPr>
        </p:nvSpPr>
        <p:spPr bwMode="gray">
          <a:xfrm>
            <a:off x="587374" y="1916135"/>
            <a:ext cx="7272339" cy="4213673"/>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5" name="Content Placeholder 2">
            <a:extLst>
              <a:ext uri="{FF2B5EF4-FFF2-40B4-BE49-F238E27FC236}">
                <a16:creationId xmlns:a16="http://schemas.microsoft.com/office/drawing/2014/main" id="{6A1F12F7-2CA6-4D25-8661-804DEF3F8346}"/>
              </a:ext>
            </a:extLst>
          </p:cNvPr>
          <p:cNvSpPr>
            <a:spLocks noGrp="1"/>
          </p:cNvSpPr>
          <p:nvPr>
            <p:ph sz="quarter" idx="17" hasCustomPrompt="1"/>
          </p:nvPr>
        </p:nvSpPr>
        <p:spPr bwMode="gray">
          <a:xfrm>
            <a:off x="8075613" y="1916113"/>
            <a:ext cx="3529013" cy="4213225"/>
          </a:xfrm>
        </p:spPr>
        <p:txBody>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 name="Datumsplatzhalter 2">
            <a:extLst>
              <a:ext uri="{FF2B5EF4-FFF2-40B4-BE49-F238E27FC236}">
                <a16:creationId xmlns:a16="http://schemas.microsoft.com/office/drawing/2014/main" id="{D59DD4D7-0D19-421E-95FA-60AF3A91A66E}"/>
              </a:ext>
            </a:extLst>
          </p:cNvPr>
          <p:cNvSpPr>
            <a:spLocks noGrp="1"/>
          </p:cNvSpPr>
          <p:nvPr>
            <p:ph type="dt" sz="half" idx="18"/>
          </p:nvPr>
        </p:nvSpPr>
        <p:spPr bwMode="gray"/>
        <p:txBody>
          <a:bodyPr/>
          <a:lstStyle/>
          <a:p>
            <a:endParaRPr lang="en-US"/>
          </a:p>
        </p:txBody>
      </p:sp>
      <p:sp>
        <p:nvSpPr>
          <p:cNvPr id="8" name="Fußzeilenplatzhalter 7">
            <a:extLst>
              <a:ext uri="{FF2B5EF4-FFF2-40B4-BE49-F238E27FC236}">
                <a16:creationId xmlns:a16="http://schemas.microsoft.com/office/drawing/2014/main" id="{902F730E-C741-4B65-965C-F46E4A0A2467}"/>
              </a:ext>
            </a:extLst>
          </p:cNvPr>
          <p:cNvSpPr>
            <a:spLocks noGrp="1"/>
          </p:cNvSpPr>
          <p:nvPr>
            <p:ph type="ftr" sz="quarter" idx="19"/>
          </p:nvPr>
        </p:nvSpPr>
        <p:spPr bwMode="gray"/>
        <p:txBody>
          <a:bodyPr/>
          <a:lstStyle/>
          <a:p>
            <a:endParaRPr lang="en-US"/>
          </a:p>
        </p:txBody>
      </p:sp>
      <p:sp>
        <p:nvSpPr>
          <p:cNvPr id="9" name="Foliennummernplatzhalter 8">
            <a:extLst>
              <a:ext uri="{FF2B5EF4-FFF2-40B4-BE49-F238E27FC236}">
                <a16:creationId xmlns:a16="http://schemas.microsoft.com/office/drawing/2014/main" id="{D56921DE-D845-44F9-9623-17C052284DF0}"/>
              </a:ext>
            </a:extLst>
          </p:cNvPr>
          <p:cNvSpPr>
            <a:spLocks noGrp="1"/>
          </p:cNvSpPr>
          <p:nvPr>
            <p:ph type="sldNum" sz="quarter" idx="20"/>
          </p:nvPr>
        </p:nvSpPr>
        <p:spPr bwMode="gray"/>
        <p:txBody>
          <a:bodyPr/>
          <a:lstStyle/>
          <a:p>
            <a:fld id="{BFCA3128-5B09-47E5-B47D-6F0CB7A5DE9F}" type="slidenum">
              <a:rPr lang="en-US"/>
              <a:t>‹#›</a:t>
            </a:fld>
            <a:endParaRPr lang="en-US"/>
          </a:p>
        </p:txBody>
      </p:sp>
    </p:spTree>
    <p:extLst>
      <p:ext uri="{BB962C8B-B14F-4D97-AF65-F5344CB8AC3E}">
        <p14:creationId xmlns:p14="http://schemas.microsoft.com/office/powerpoint/2010/main" val="2856982199"/>
      </p:ext>
    </p:extLst>
  </p:cSld>
  <p:clrMapOvr>
    <a:masterClrMapping/>
  </p:clrMapOvr>
  <p:extLst>
    <p:ext uri="{DCECCB84-F9BA-43D5-87BE-67443E8EF086}">
      <p15:sldGuideLst xmlns:p15="http://schemas.microsoft.com/office/powerpoint/2012/main">
        <p15:guide id="1" pos="4951">
          <p15:clr>
            <a:srgbClr val="F26B43"/>
          </p15:clr>
        </p15:guide>
        <p15:guide id="2" pos="5087">
          <p15:clr>
            <a:srgbClr val="F26B43"/>
          </p15:clr>
        </p15:guide>
        <p15:guide id="3" pos="370">
          <p15:clr>
            <a:srgbClr val="F26B43"/>
          </p15:clr>
        </p15:guide>
        <p15:guide id="4" pos="7310">
          <p15:clr>
            <a:srgbClr val="F26B43"/>
          </p15:clr>
        </p15:guide>
        <p15:guide id="5" orient="horz" pos="1071">
          <p15:clr>
            <a:srgbClr val="F26B43"/>
          </p15:clr>
        </p15:guide>
        <p15:guide id="6" orient="horz" pos="3861">
          <p15:clr>
            <a:srgbClr val="F26B43"/>
          </p15:clr>
        </p15:guide>
        <p15:guide id="7" orient="horz" pos="1207">
          <p15:clr>
            <a:srgbClr val="F26B43"/>
          </p15:clr>
        </p15:guide>
        <p15:guide id="8" orient="horz" pos="935">
          <p15:clr>
            <a:srgbClr val="F26B43"/>
          </p15:clr>
        </p15:guide>
        <p15:guide id="9" orient="horz" pos="232">
          <p15:clr>
            <a:srgbClr val="F26B43"/>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wo Contents | Column Colour">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CDC50B4-0C64-47DB-B420-DEDF024B76F1}"/>
              </a:ext>
            </a:extLst>
          </p:cNvPr>
          <p:cNvGraphicFramePr>
            <a:graphicFrameLocks noChangeAspect="1"/>
          </p:cNvGraphicFramePr>
          <p:nvPr>
            <p:custDataLst>
              <p:tags r:id="rId2"/>
            </p:custDataLst>
            <p:extLst>
              <p:ext uri="{D42A27DB-BD31-4B8C-83A1-F6EECF244321}">
                <p14:modId xmlns:p14="http://schemas.microsoft.com/office/powerpoint/2010/main" val="299821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4"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ACDC50B4-0C64-47DB-B420-DEDF024B76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2">
            <a:extLst>
              <a:ext uri="{FF2B5EF4-FFF2-40B4-BE49-F238E27FC236}">
                <a16:creationId xmlns:a16="http://schemas.microsoft.com/office/drawing/2014/main" id="{D2FF34E1-4C9D-48A7-8A09-EA237A0DDBCB}"/>
              </a:ext>
            </a:extLst>
          </p:cNvPr>
          <p:cNvSpPr>
            <a:spLocks noGrp="1"/>
          </p:cNvSpPr>
          <p:nvPr>
            <p:ph sz="quarter" idx="17" hasCustomPrompt="1"/>
          </p:nvPr>
        </p:nvSpPr>
        <p:spPr bwMode="gray">
          <a:xfrm>
            <a:off x="8075613" y="0"/>
            <a:ext cx="4116387" cy="6858000"/>
          </a:xfrm>
          <a:solidFill>
            <a:schemeClr val="accent1"/>
          </a:solidFill>
        </p:spPr>
        <p:txBody>
          <a:bodyPr lIns="432000" tIns="1908000" rIns="576000" bIns="720000"/>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4"/>
            <a:endParaRPr lang="en-GB" noProof="0"/>
          </a:p>
        </p:txBody>
      </p:sp>
      <p:sp>
        <p:nvSpPr>
          <p:cNvPr id="13" name="Content Placeholder 1">
            <a:extLst>
              <a:ext uri="{FF2B5EF4-FFF2-40B4-BE49-F238E27FC236}">
                <a16:creationId xmlns:a16="http://schemas.microsoft.com/office/drawing/2014/main" id="{19A81872-AC37-45B0-9928-42A9B241C552}"/>
              </a:ext>
            </a:extLst>
          </p:cNvPr>
          <p:cNvSpPr>
            <a:spLocks noGrp="1"/>
          </p:cNvSpPr>
          <p:nvPr>
            <p:ph sz="quarter" idx="16" hasCustomPrompt="1"/>
          </p:nvPr>
        </p:nvSpPr>
        <p:spPr bwMode="gray">
          <a:xfrm>
            <a:off x="587374" y="1916113"/>
            <a:ext cx="7272339" cy="4213225"/>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endParaRPr lang="en-GB" noProof="0"/>
          </a:p>
        </p:txBody>
      </p:sp>
      <p:sp>
        <p:nvSpPr>
          <p:cNvPr id="2" name="Titel 1">
            <a:extLst>
              <a:ext uri="{FF2B5EF4-FFF2-40B4-BE49-F238E27FC236}">
                <a16:creationId xmlns:a16="http://schemas.microsoft.com/office/drawing/2014/main" id="{43F969D1-31B2-4F3F-AFBC-AF9E2DF37EEA}"/>
              </a:ext>
            </a:extLst>
          </p:cNvPr>
          <p:cNvSpPr>
            <a:spLocks noGrp="1"/>
          </p:cNvSpPr>
          <p:nvPr>
            <p:ph type="title" hasCustomPrompt="1"/>
          </p:nvPr>
        </p:nvSpPr>
        <p:spPr bwMode="gray">
          <a:xfrm>
            <a:off x="587374" y="368300"/>
            <a:ext cx="7272339" cy="934900"/>
          </a:xfrm>
        </p:spPr>
        <p:txBody>
          <a:bodyPr vert="horz"/>
          <a:lstStyle/>
          <a:p>
            <a:r>
              <a:rPr lang="en-GB" noProof="0"/>
              <a:t>Click to add title</a:t>
            </a:r>
          </a:p>
        </p:txBody>
      </p:sp>
      <p:sp>
        <p:nvSpPr>
          <p:cNvPr id="3" name="Datumsplatzhalter 2">
            <a:extLst>
              <a:ext uri="{FF2B5EF4-FFF2-40B4-BE49-F238E27FC236}">
                <a16:creationId xmlns:a16="http://schemas.microsoft.com/office/drawing/2014/main" id="{E276DC46-35EB-4742-AF70-57DA17417F62}"/>
              </a:ext>
            </a:extLst>
          </p:cNvPr>
          <p:cNvSpPr>
            <a:spLocks noGrp="1"/>
          </p:cNvSpPr>
          <p:nvPr>
            <p:ph type="dt" sz="half" idx="18"/>
          </p:nvPr>
        </p:nvSpPr>
        <p:spPr bwMode="gray"/>
        <p:txBody>
          <a:bodyPr/>
          <a:lstStyle>
            <a:lvl1pPr>
              <a:defRPr>
                <a:solidFill>
                  <a:schemeClr val="bg1"/>
                </a:solidFill>
              </a:defRPr>
            </a:lvl1pPr>
          </a:lstStyle>
          <a:p>
            <a:endParaRPr lang="en-US"/>
          </a:p>
        </p:txBody>
      </p:sp>
      <p:sp>
        <p:nvSpPr>
          <p:cNvPr id="9" name="Fußzeilenplatzhalter 8">
            <a:extLst>
              <a:ext uri="{FF2B5EF4-FFF2-40B4-BE49-F238E27FC236}">
                <a16:creationId xmlns:a16="http://schemas.microsoft.com/office/drawing/2014/main" id="{19B94CCB-B95C-4F1D-933A-60112A98F588}"/>
              </a:ext>
            </a:extLst>
          </p:cNvPr>
          <p:cNvSpPr>
            <a:spLocks noGrp="1"/>
          </p:cNvSpPr>
          <p:nvPr>
            <p:ph type="ftr" sz="quarter" idx="19"/>
          </p:nvPr>
        </p:nvSpPr>
        <p:spPr bwMode="gray"/>
        <p:txBody>
          <a:bodyPr/>
          <a:lstStyle/>
          <a:p>
            <a:endParaRPr lang="en-US"/>
          </a:p>
        </p:txBody>
      </p:sp>
      <p:sp>
        <p:nvSpPr>
          <p:cNvPr id="10" name="Foliennummernplatzhalter 9">
            <a:extLst>
              <a:ext uri="{FF2B5EF4-FFF2-40B4-BE49-F238E27FC236}">
                <a16:creationId xmlns:a16="http://schemas.microsoft.com/office/drawing/2014/main" id="{887F8E3E-FF89-4EBD-A40A-79BA67A4C6B1}"/>
              </a:ext>
            </a:extLst>
          </p:cNvPr>
          <p:cNvSpPr>
            <a:spLocks noGrp="1"/>
          </p:cNvSpPr>
          <p:nvPr>
            <p:ph type="sldNum" sz="quarter" idx="20"/>
          </p:nvPr>
        </p:nvSpPr>
        <p:spPr bwMode="gray"/>
        <p:txBody>
          <a:bodyPr/>
          <a:lstStyle/>
          <a:p>
            <a:fld id="{BFCA3128-5B09-47E5-B47D-6F0CB7A5DE9F}" type="slidenum">
              <a:rPr lang="en-US"/>
              <a:t>‹#›</a:t>
            </a:fld>
            <a:endParaRPr lang="en-US"/>
          </a:p>
        </p:txBody>
      </p:sp>
    </p:spTree>
    <p:extLst>
      <p:ext uri="{BB962C8B-B14F-4D97-AF65-F5344CB8AC3E}">
        <p14:creationId xmlns:p14="http://schemas.microsoft.com/office/powerpoint/2010/main" val="2726936710"/>
      </p:ext>
    </p:extLst>
  </p:cSld>
  <p:clrMapOvr>
    <a:masterClrMapping/>
  </p:clrMapOvr>
  <p:extLst>
    <p:ext uri="{DCECCB84-F9BA-43D5-87BE-67443E8EF086}">
      <p15:sldGuideLst xmlns:p15="http://schemas.microsoft.com/office/powerpoint/2012/main">
        <p15:guide id="1" pos="4951">
          <p15:clr>
            <a:srgbClr val="F26B43"/>
          </p15:clr>
        </p15:guide>
        <p15:guide id="2" pos="5087">
          <p15:clr>
            <a:srgbClr val="F26B43"/>
          </p15:clr>
        </p15:guide>
        <p15:guide id="3" pos="370">
          <p15:clr>
            <a:srgbClr val="F26B43"/>
          </p15:clr>
        </p15:guide>
        <p15:guide id="4" orient="horz" pos="1071">
          <p15:clr>
            <a:srgbClr val="F26B43"/>
          </p15:clr>
        </p15:guide>
        <p15:guide id="5" orient="horz" pos="3861">
          <p15:clr>
            <a:srgbClr val="F26B43"/>
          </p15:clr>
        </p15:guide>
        <p15:guide id="6" pos="7310">
          <p15:clr>
            <a:srgbClr val="F26B43"/>
          </p15:clr>
        </p15:guide>
        <p15:guide id="7" orient="horz" pos="1207">
          <p15:clr>
            <a:srgbClr val="F26B43"/>
          </p15:clr>
        </p15:guide>
        <p15:guide id="8" orient="horz" pos="935">
          <p15:clr>
            <a:srgbClr val="F26B43"/>
          </p15:clr>
        </p15:guide>
        <p15:guide id="9" orient="horz" pos="232">
          <p15:clr>
            <a:srgbClr val="F26B43"/>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One Content | Picture Column">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5A880A4-6C93-42E2-80BF-139D7F9AE76D}"/>
              </a:ext>
            </a:extLst>
          </p:cNvPr>
          <p:cNvGraphicFramePr>
            <a:graphicFrameLocks noChangeAspect="1"/>
          </p:cNvGraphicFramePr>
          <p:nvPr>
            <p:custDataLst>
              <p:tags r:id="rId2"/>
            </p:custDataLst>
            <p:extLst>
              <p:ext uri="{D42A27DB-BD31-4B8C-83A1-F6EECF244321}">
                <p14:modId xmlns:p14="http://schemas.microsoft.com/office/powerpoint/2010/main" val="1593784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8"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A5A880A4-6C93-42E2-80BF-139D7F9AE7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344045C6-86A8-4B92-BAB9-D0AA8DAB9AE5}"/>
              </a:ext>
            </a:extLst>
          </p:cNvPr>
          <p:cNvSpPr>
            <a:spLocks noGrp="1"/>
          </p:cNvSpPr>
          <p:nvPr>
            <p:ph type="pic" sz="quarter" idx="17" hasCustomPrompt="1"/>
          </p:nvPr>
        </p:nvSpPr>
        <p:spPr bwMode="gray">
          <a:xfrm>
            <a:off x="8075613" y="0"/>
            <a:ext cx="4116387" cy="6858000"/>
          </a:xfrm>
          <a:solidFill>
            <a:schemeClr val="bg2"/>
          </a:solidFill>
        </p:spPr>
        <p:txBody>
          <a:bodyPr anchor="ctr" anchorCtr="0"/>
          <a:lstStyle>
            <a:lvl1pPr algn="ctr">
              <a:defRPr sz="1200">
                <a:solidFill>
                  <a:schemeClr val="accent4"/>
                </a:solidFill>
              </a:defRPr>
            </a:lvl1pPr>
          </a:lstStyle>
          <a:p>
            <a:r>
              <a:rPr lang="en-GB" noProof="0"/>
              <a:t> </a:t>
            </a:r>
          </a:p>
        </p:txBody>
      </p:sp>
      <p:sp>
        <p:nvSpPr>
          <p:cNvPr id="13" name="Content Placeholder 1">
            <a:extLst>
              <a:ext uri="{FF2B5EF4-FFF2-40B4-BE49-F238E27FC236}">
                <a16:creationId xmlns:a16="http://schemas.microsoft.com/office/drawing/2014/main" id="{19A81872-AC37-45B0-9928-42A9B241C552}"/>
              </a:ext>
            </a:extLst>
          </p:cNvPr>
          <p:cNvSpPr>
            <a:spLocks noGrp="1"/>
          </p:cNvSpPr>
          <p:nvPr>
            <p:ph sz="quarter" idx="16" hasCustomPrompt="1"/>
          </p:nvPr>
        </p:nvSpPr>
        <p:spPr bwMode="gray">
          <a:xfrm>
            <a:off x="587374" y="1916113"/>
            <a:ext cx="7272339" cy="4213225"/>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 name="Titel 2">
            <a:extLst>
              <a:ext uri="{FF2B5EF4-FFF2-40B4-BE49-F238E27FC236}">
                <a16:creationId xmlns:a16="http://schemas.microsoft.com/office/drawing/2014/main" id="{73384399-BA42-4866-93A0-2C69CB4D1E0D}"/>
              </a:ext>
            </a:extLst>
          </p:cNvPr>
          <p:cNvSpPr>
            <a:spLocks noGrp="1"/>
          </p:cNvSpPr>
          <p:nvPr>
            <p:ph type="title" hasCustomPrompt="1"/>
          </p:nvPr>
        </p:nvSpPr>
        <p:spPr bwMode="gray">
          <a:xfrm>
            <a:off x="587373" y="368300"/>
            <a:ext cx="7272339" cy="934900"/>
          </a:xfrm>
        </p:spPr>
        <p:txBody>
          <a:bodyPr vert="horz"/>
          <a:lstStyle/>
          <a:p>
            <a:r>
              <a:rPr lang="en-GB" noProof="0"/>
              <a:t>Click to add title</a:t>
            </a:r>
          </a:p>
        </p:txBody>
      </p:sp>
      <p:sp>
        <p:nvSpPr>
          <p:cNvPr id="2" name="Datumsplatzhalter 1">
            <a:extLst>
              <a:ext uri="{FF2B5EF4-FFF2-40B4-BE49-F238E27FC236}">
                <a16:creationId xmlns:a16="http://schemas.microsoft.com/office/drawing/2014/main" id="{CE3AA982-B24F-4198-A304-E82B1A09FC61}"/>
              </a:ext>
            </a:extLst>
          </p:cNvPr>
          <p:cNvSpPr>
            <a:spLocks noGrp="1"/>
          </p:cNvSpPr>
          <p:nvPr>
            <p:ph type="dt" sz="half" idx="18"/>
          </p:nvPr>
        </p:nvSpPr>
        <p:spPr bwMode="gray"/>
        <p:txBody>
          <a:bodyPr/>
          <a:lstStyle/>
          <a:p>
            <a:endParaRPr lang="en-US"/>
          </a:p>
        </p:txBody>
      </p:sp>
      <p:sp>
        <p:nvSpPr>
          <p:cNvPr id="9" name="Fußzeilenplatzhalter 8">
            <a:extLst>
              <a:ext uri="{FF2B5EF4-FFF2-40B4-BE49-F238E27FC236}">
                <a16:creationId xmlns:a16="http://schemas.microsoft.com/office/drawing/2014/main" id="{98EDCA2D-7A03-4D1F-AC41-8041AB9DE0C6}"/>
              </a:ext>
            </a:extLst>
          </p:cNvPr>
          <p:cNvSpPr>
            <a:spLocks noGrp="1"/>
          </p:cNvSpPr>
          <p:nvPr>
            <p:ph type="ftr" sz="quarter" idx="19"/>
          </p:nvPr>
        </p:nvSpPr>
        <p:spPr bwMode="gray"/>
        <p:txBody>
          <a:bodyPr/>
          <a:lstStyle/>
          <a:p>
            <a:endParaRPr lang="en-US"/>
          </a:p>
        </p:txBody>
      </p:sp>
      <p:sp>
        <p:nvSpPr>
          <p:cNvPr id="10" name="Foliennummernplatzhalter 9">
            <a:extLst>
              <a:ext uri="{FF2B5EF4-FFF2-40B4-BE49-F238E27FC236}">
                <a16:creationId xmlns:a16="http://schemas.microsoft.com/office/drawing/2014/main" id="{A1909576-B0AC-4BD4-88E0-4582B23DB7CB}"/>
              </a:ext>
            </a:extLst>
          </p:cNvPr>
          <p:cNvSpPr>
            <a:spLocks noGrp="1"/>
          </p:cNvSpPr>
          <p:nvPr>
            <p:ph type="sldNum" sz="quarter" idx="20"/>
          </p:nvPr>
        </p:nvSpPr>
        <p:spPr bwMode="gray"/>
        <p:txBody>
          <a:bodyPr/>
          <a:lstStyle/>
          <a:p>
            <a:fld id="{BFCA3128-5B09-47E5-B47D-6F0CB7A5DE9F}" type="slidenum">
              <a:rPr lang="en-US"/>
              <a:t>‹#›</a:t>
            </a:fld>
            <a:endParaRPr lang="en-US"/>
          </a:p>
        </p:txBody>
      </p:sp>
    </p:spTree>
    <p:extLst>
      <p:ext uri="{BB962C8B-B14F-4D97-AF65-F5344CB8AC3E}">
        <p14:creationId xmlns:p14="http://schemas.microsoft.com/office/powerpoint/2010/main" val="3364931093"/>
      </p:ext>
    </p:extLst>
  </p:cSld>
  <p:clrMapOvr>
    <a:masterClrMapping/>
  </p:clrMapOvr>
  <p:extLst>
    <p:ext uri="{DCECCB84-F9BA-43D5-87BE-67443E8EF086}">
      <p15:sldGuideLst xmlns:p15="http://schemas.microsoft.com/office/powerpoint/2012/main">
        <p15:guide id="1" pos="4951">
          <p15:clr>
            <a:srgbClr val="F26B43"/>
          </p15:clr>
        </p15:guide>
        <p15:guide id="2" pos="5087">
          <p15:clr>
            <a:srgbClr val="F26B43"/>
          </p15:clr>
        </p15:guide>
        <p15:guide id="3" pos="370">
          <p15:clr>
            <a:srgbClr val="F26B43"/>
          </p15:clr>
        </p15:guide>
        <p15:guide id="4" orient="horz" pos="1071">
          <p15:clr>
            <a:srgbClr val="F26B43"/>
          </p15:clr>
        </p15:guide>
        <p15:guide id="5" orient="horz" pos="3861">
          <p15:clr>
            <a:srgbClr val="F26B43"/>
          </p15:clr>
        </p15:guide>
        <p15:guide id="6" orient="horz" pos="232">
          <p15:clr>
            <a:srgbClr val="F26B43"/>
          </p15:clr>
        </p15:guide>
        <p15:guide id="7" orient="horz" pos="935">
          <p15:clr>
            <a:srgbClr val="F26B43"/>
          </p15:clr>
        </p15:guide>
        <p15:guide id="8" orient="horz" pos="1207">
          <p15:clr>
            <a:srgbClr val="F26B43"/>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One Content | Pictur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AFDA513-AC20-4633-BE9A-97D3064B7E9C}"/>
              </a:ext>
            </a:extLst>
          </p:cNvPr>
          <p:cNvGraphicFramePr>
            <a:graphicFrameLocks noChangeAspect="1"/>
          </p:cNvGraphicFramePr>
          <p:nvPr>
            <p:custDataLst>
              <p:tags r:id="rId2"/>
            </p:custDataLst>
            <p:extLst>
              <p:ext uri="{D42A27DB-BD31-4B8C-83A1-F6EECF244321}">
                <p14:modId xmlns:p14="http://schemas.microsoft.com/office/powerpoint/2010/main" val="1158152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2" name="think-cell Slide" r:id="rId4" imgW="359" imgH="358" progId="TCLayout.ActiveDocument.1">
                  <p:embed/>
                </p:oleObj>
              </mc:Choice>
              <mc:Fallback>
                <p:oleObj name="think-cell Slide" r:id="rId4" imgW="359" imgH="358" progId="TCLayout.ActiveDocument.1">
                  <p:embed/>
                  <p:pic>
                    <p:nvPicPr>
                      <p:cNvPr id="5" name="Objekt 4" hidden="1">
                        <a:extLst>
                          <a:ext uri="{FF2B5EF4-FFF2-40B4-BE49-F238E27FC236}">
                            <a16:creationId xmlns:a16="http://schemas.microsoft.com/office/drawing/2014/main" id="{BAFDA513-AC20-4633-BE9A-97D3064B7E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Content Placeholder 1">
            <a:extLst>
              <a:ext uri="{FF2B5EF4-FFF2-40B4-BE49-F238E27FC236}">
                <a16:creationId xmlns:a16="http://schemas.microsoft.com/office/drawing/2014/main" id="{19A81872-AC37-45B0-9928-42A9B241C552}"/>
              </a:ext>
            </a:extLst>
          </p:cNvPr>
          <p:cNvSpPr>
            <a:spLocks noGrp="1"/>
          </p:cNvSpPr>
          <p:nvPr>
            <p:ph sz="quarter" idx="16" hasCustomPrompt="1"/>
          </p:nvPr>
        </p:nvSpPr>
        <p:spPr bwMode="gray">
          <a:xfrm>
            <a:off x="587374" y="1916113"/>
            <a:ext cx="5400675" cy="4213225"/>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 name="Title 2">
            <a:extLst>
              <a:ext uri="{FF2B5EF4-FFF2-40B4-BE49-F238E27FC236}">
                <a16:creationId xmlns:a16="http://schemas.microsoft.com/office/drawing/2014/main" id="{2150FE60-A0D0-4740-B7C3-E22938FC1509}"/>
              </a:ext>
            </a:extLst>
          </p:cNvPr>
          <p:cNvSpPr>
            <a:spLocks noGrp="1"/>
          </p:cNvSpPr>
          <p:nvPr>
            <p:ph type="title" hasCustomPrompt="1"/>
          </p:nvPr>
        </p:nvSpPr>
        <p:spPr bwMode="gray">
          <a:xfrm>
            <a:off x="587375" y="368300"/>
            <a:ext cx="11017237" cy="934900"/>
          </a:xfrm>
        </p:spPr>
        <p:txBody>
          <a:bodyPr vert="horz"/>
          <a:lstStyle>
            <a:lvl1pPr>
              <a:defRPr/>
            </a:lvl1pPr>
          </a:lstStyle>
          <a:p>
            <a:r>
              <a:rPr lang="en-GB" noProof="0"/>
              <a:t>Click to add title</a:t>
            </a:r>
          </a:p>
        </p:txBody>
      </p:sp>
      <p:sp>
        <p:nvSpPr>
          <p:cNvPr id="9" name="Picture Placeholder 3">
            <a:extLst>
              <a:ext uri="{FF2B5EF4-FFF2-40B4-BE49-F238E27FC236}">
                <a16:creationId xmlns:a16="http://schemas.microsoft.com/office/drawing/2014/main" id="{B39C30A4-9318-46E9-96E1-CBF4EC87E7E4}"/>
              </a:ext>
            </a:extLst>
          </p:cNvPr>
          <p:cNvSpPr>
            <a:spLocks noGrp="1"/>
          </p:cNvSpPr>
          <p:nvPr>
            <p:ph type="pic" sz="quarter" idx="17" hasCustomPrompt="1"/>
          </p:nvPr>
        </p:nvSpPr>
        <p:spPr bwMode="gray">
          <a:xfrm>
            <a:off x="6203951" y="1916113"/>
            <a:ext cx="5988050" cy="4213226"/>
          </a:xfrm>
          <a:solidFill>
            <a:schemeClr val="bg2"/>
          </a:solidFill>
        </p:spPr>
        <p:txBody>
          <a:bodyPr anchor="ctr" anchorCtr="0"/>
          <a:lstStyle>
            <a:lvl1pPr algn="ctr">
              <a:defRPr sz="1200">
                <a:solidFill>
                  <a:schemeClr val="accent4"/>
                </a:solidFill>
              </a:defRPr>
            </a:lvl1pPr>
          </a:lstStyle>
          <a:p>
            <a:r>
              <a:rPr lang="en-GB" noProof="0"/>
              <a:t> </a:t>
            </a:r>
          </a:p>
        </p:txBody>
      </p:sp>
      <p:sp>
        <p:nvSpPr>
          <p:cNvPr id="2" name="Datumsplatzhalter 1">
            <a:extLst>
              <a:ext uri="{FF2B5EF4-FFF2-40B4-BE49-F238E27FC236}">
                <a16:creationId xmlns:a16="http://schemas.microsoft.com/office/drawing/2014/main" id="{71F43984-7774-45C0-A926-6AAA0374E149}"/>
              </a:ext>
            </a:extLst>
          </p:cNvPr>
          <p:cNvSpPr>
            <a:spLocks noGrp="1"/>
          </p:cNvSpPr>
          <p:nvPr>
            <p:ph type="dt" sz="half" idx="18"/>
          </p:nvPr>
        </p:nvSpPr>
        <p:spPr bwMode="gray"/>
        <p:txBody>
          <a:bodyPr/>
          <a:lstStyle/>
          <a:p>
            <a:endParaRPr lang="en-US"/>
          </a:p>
        </p:txBody>
      </p:sp>
      <p:sp>
        <p:nvSpPr>
          <p:cNvPr id="4" name="Fußzeilenplatzhalter 3">
            <a:extLst>
              <a:ext uri="{FF2B5EF4-FFF2-40B4-BE49-F238E27FC236}">
                <a16:creationId xmlns:a16="http://schemas.microsoft.com/office/drawing/2014/main" id="{0062B7F6-C6DC-421C-AE6F-F9828C5F2512}"/>
              </a:ext>
            </a:extLst>
          </p:cNvPr>
          <p:cNvSpPr>
            <a:spLocks noGrp="1"/>
          </p:cNvSpPr>
          <p:nvPr>
            <p:ph type="ftr" sz="quarter" idx="19"/>
          </p:nvPr>
        </p:nvSpPr>
        <p:spPr bwMode="gray"/>
        <p:txBody>
          <a:bodyPr/>
          <a:lstStyle/>
          <a:p>
            <a:endParaRPr lang="en-US"/>
          </a:p>
        </p:txBody>
      </p:sp>
      <p:sp>
        <p:nvSpPr>
          <p:cNvPr id="10" name="Foliennummernplatzhalter 9">
            <a:extLst>
              <a:ext uri="{FF2B5EF4-FFF2-40B4-BE49-F238E27FC236}">
                <a16:creationId xmlns:a16="http://schemas.microsoft.com/office/drawing/2014/main" id="{B0C7D72A-B2DE-4151-9132-6DE65EC9A236}"/>
              </a:ext>
            </a:extLst>
          </p:cNvPr>
          <p:cNvSpPr>
            <a:spLocks noGrp="1"/>
          </p:cNvSpPr>
          <p:nvPr>
            <p:ph type="sldNum" sz="quarter" idx="20"/>
          </p:nvPr>
        </p:nvSpPr>
        <p:spPr bwMode="gray"/>
        <p:txBody>
          <a:bodyPr/>
          <a:lstStyle/>
          <a:p>
            <a:fld id="{BFCA3128-5B09-47E5-B47D-6F0CB7A5DE9F}" type="slidenum">
              <a:rPr lang="en-US"/>
              <a:t>‹#›</a:t>
            </a:fld>
            <a:endParaRPr lang="en-US"/>
          </a:p>
        </p:txBody>
      </p:sp>
    </p:spTree>
    <p:extLst>
      <p:ext uri="{BB962C8B-B14F-4D97-AF65-F5344CB8AC3E}">
        <p14:creationId xmlns:p14="http://schemas.microsoft.com/office/powerpoint/2010/main" val="2152879510"/>
      </p:ext>
    </p:extLst>
  </p:cSld>
  <p:clrMapOvr>
    <a:masterClrMapping/>
  </p:clrMapOvr>
  <p:extLst>
    <p:ext uri="{DCECCB84-F9BA-43D5-87BE-67443E8EF086}">
      <p15:sldGuideLst xmlns:p15="http://schemas.microsoft.com/office/powerpoint/2012/main">
        <p15:guide id="1" pos="3772">
          <p15:clr>
            <a:srgbClr val="F26B43"/>
          </p15:clr>
        </p15:guide>
        <p15:guide id="2" pos="3908">
          <p15:clr>
            <a:srgbClr val="F26B43"/>
          </p15:clr>
        </p15:guide>
        <p15:guide id="9" orient="horz" pos="1071">
          <p15:clr>
            <a:srgbClr val="F26B43"/>
          </p15:clr>
        </p15:guide>
        <p15:guide id="10" pos="370">
          <p15:clr>
            <a:srgbClr val="F26B43"/>
          </p15:clr>
        </p15:guide>
        <p15:guide id="11" orient="horz" pos="3861">
          <p15:clr>
            <a:srgbClr val="F26B43"/>
          </p15:clr>
        </p15:guide>
        <p15:guide id="12" orient="horz" pos="1207">
          <p15:clr>
            <a:srgbClr val="F26B43"/>
          </p15:clr>
        </p15:guide>
        <p15:guide id="13" orient="horz" pos="935">
          <p15:clr>
            <a:srgbClr val="F26B43"/>
          </p15:clr>
        </p15:guide>
        <p15:guide id="14" orient="horz" pos="232">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E714025-380E-4F46-B9C8-59C7A765CEA5}"/>
              </a:ext>
            </a:extLst>
          </p:cNvPr>
          <p:cNvGraphicFramePr>
            <a:graphicFrameLocks noChangeAspect="1"/>
          </p:cNvGraphicFramePr>
          <p:nvPr>
            <p:custDataLst>
              <p:tags r:id="rId2"/>
            </p:custDataLst>
            <p:extLst>
              <p:ext uri="{D42A27DB-BD31-4B8C-83A1-F6EECF244321}">
                <p14:modId xmlns:p14="http://schemas.microsoft.com/office/powerpoint/2010/main" val="2728417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6"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5E714025-380E-4F46-B9C8-59C7A765CE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520C82C-C608-4908-8693-7A25B3D09F6A}"/>
              </a:ext>
            </a:extLst>
          </p:cNvPr>
          <p:cNvSpPr>
            <a:spLocks noGrp="1"/>
          </p:cNvSpPr>
          <p:nvPr>
            <p:ph type="title" hasCustomPrompt="1"/>
          </p:nvPr>
        </p:nvSpPr>
        <p:spPr bwMode="gray"/>
        <p:txBody>
          <a:bodyPr vert="horz"/>
          <a:lstStyle/>
          <a:p>
            <a:r>
              <a:rPr lang="en-GB" noProof="0"/>
              <a:t>Click to add title</a:t>
            </a:r>
          </a:p>
        </p:txBody>
      </p:sp>
      <p:sp>
        <p:nvSpPr>
          <p:cNvPr id="3" name="Datumsplatzhalter 2">
            <a:extLst>
              <a:ext uri="{FF2B5EF4-FFF2-40B4-BE49-F238E27FC236}">
                <a16:creationId xmlns:a16="http://schemas.microsoft.com/office/drawing/2014/main" id="{0EE23947-AAD7-46F5-90B9-637E2F2B78B5}"/>
              </a:ext>
            </a:extLst>
          </p:cNvPr>
          <p:cNvSpPr>
            <a:spLocks noGrp="1"/>
          </p:cNvSpPr>
          <p:nvPr>
            <p:ph type="dt" sz="half" idx="10"/>
          </p:nvPr>
        </p:nvSpPr>
        <p:spPr bwMode="gray"/>
        <p:txBody>
          <a:bodyPr/>
          <a:lstStyle/>
          <a:p>
            <a:endParaRPr lang="en-US"/>
          </a:p>
        </p:txBody>
      </p:sp>
      <p:sp>
        <p:nvSpPr>
          <p:cNvPr id="8" name="Fußzeilenplatzhalter 7">
            <a:extLst>
              <a:ext uri="{FF2B5EF4-FFF2-40B4-BE49-F238E27FC236}">
                <a16:creationId xmlns:a16="http://schemas.microsoft.com/office/drawing/2014/main" id="{43478842-0AA7-46BF-800F-296796A0E746}"/>
              </a:ext>
            </a:extLst>
          </p:cNvPr>
          <p:cNvSpPr>
            <a:spLocks noGrp="1"/>
          </p:cNvSpPr>
          <p:nvPr>
            <p:ph type="ftr" sz="quarter" idx="11"/>
          </p:nvPr>
        </p:nvSpPr>
        <p:spPr bwMode="gray"/>
        <p:txBody>
          <a:bodyPr/>
          <a:lstStyle/>
          <a:p>
            <a:endParaRPr lang="en-US"/>
          </a:p>
        </p:txBody>
      </p:sp>
      <p:sp>
        <p:nvSpPr>
          <p:cNvPr id="9" name="Foliennummernplatzhalter 8">
            <a:extLst>
              <a:ext uri="{FF2B5EF4-FFF2-40B4-BE49-F238E27FC236}">
                <a16:creationId xmlns:a16="http://schemas.microsoft.com/office/drawing/2014/main" id="{E650C6F3-DAE8-4445-83E1-2FACDB9D19D7}"/>
              </a:ext>
            </a:extLst>
          </p:cNvPr>
          <p:cNvSpPr>
            <a:spLocks noGrp="1"/>
          </p:cNvSpPr>
          <p:nvPr>
            <p:ph type="sldNum" sz="quarter" idx="12"/>
          </p:nvPr>
        </p:nvSpPr>
        <p:spPr bwMode="gray"/>
        <p:txBody>
          <a:bodyPr/>
          <a:lstStyle/>
          <a:p>
            <a:fld id="{BFCA3128-5B09-47E5-B47D-6F0CB7A5DE9F}" type="slidenum">
              <a:rPr lang="en-US"/>
              <a:t>‹#›</a:t>
            </a:fld>
            <a:endParaRPr lang="en-US"/>
          </a:p>
        </p:txBody>
      </p:sp>
    </p:spTree>
    <p:extLst>
      <p:ext uri="{BB962C8B-B14F-4D97-AF65-F5344CB8AC3E}">
        <p14:creationId xmlns:p14="http://schemas.microsoft.com/office/powerpoint/2010/main" val="1598266945"/>
      </p:ext>
    </p:extLst>
  </p:cSld>
  <p:clrMapOvr>
    <a:masterClrMapping/>
  </p:clrMapOvr>
  <p:extLst>
    <p:ext uri="{DCECCB84-F9BA-43D5-87BE-67443E8EF086}">
      <p15:sldGuideLst xmlns:p15="http://schemas.microsoft.com/office/powerpoint/2012/main">
        <p15:guide id="4" pos="7310">
          <p15:clr>
            <a:srgbClr val="F26B43"/>
          </p15:clr>
        </p15:guide>
        <p15:guide id="7" pos="370">
          <p15:clr>
            <a:srgbClr val="F26B43"/>
          </p15:clr>
        </p15:guide>
        <p15:guide id="8" orient="horz" pos="1071">
          <p15:clr>
            <a:srgbClr val="F26B43"/>
          </p15:clr>
        </p15:guide>
        <p15:guide id="9" orient="horz" pos="3861">
          <p15:clr>
            <a:srgbClr val="F26B43"/>
          </p15:clr>
        </p15:guide>
        <p15:guide id="10" orient="horz" pos="232">
          <p15:clr>
            <a:srgbClr val="F26B43"/>
          </p15:clr>
        </p15:guide>
        <p15:guide id="11" orient="horz" pos="935">
          <p15:clr>
            <a:srgbClr val="F26B43"/>
          </p15:clr>
        </p15:guide>
        <p15:guide id="12" orient="horz" pos="120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Big Pictur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7CC6116-9810-4362-BD4E-99C7618CF42E}"/>
              </a:ext>
            </a:extLst>
          </p:cNvPr>
          <p:cNvGraphicFramePr>
            <a:graphicFrameLocks noChangeAspect="1"/>
          </p:cNvGraphicFramePr>
          <p:nvPr>
            <p:custDataLst>
              <p:tags r:id="rId2"/>
            </p:custDataLst>
            <p:extLst>
              <p:ext uri="{D42A27DB-BD31-4B8C-83A1-F6EECF244321}">
                <p14:modId xmlns:p14="http://schemas.microsoft.com/office/powerpoint/2010/main" val="1283970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0" name="think-cell Slide" r:id="rId4" imgW="359" imgH="358" progId="TCLayout.ActiveDocument.1">
                  <p:embed/>
                </p:oleObj>
              </mc:Choice>
              <mc:Fallback>
                <p:oleObj name="think-cell Slide" r:id="rId4" imgW="359" imgH="358" progId="TCLayout.ActiveDocument.1">
                  <p:embed/>
                  <p:pic>
                    <p:nvPicPr>
                      <p:cNvPr id="7" name="Objekt 6" hidden="1">
                        <a:extLst>
                          <a:ext uri="{FF2B5EF4-FFF2-40B4-BE49-F238E27FC236}">
                            <a16:creationId xmlns:a16="http://schemas.microsoft.com/office/drawing/2014/main" id="{27CC6116-9810-4362-BD4E-99C7618CF4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icture Placeholder 3">
            <a:extLst>
              <a:ext uri="{FF2B5EF4-FFF2-40B4-BE49-F238E27FC236}">
                <a16:creationId xmlns:a16="http://schemas.microsoft.com/office/drawing/2014/main" id="{611C4D44-4894-4762-BD1D-9C1B67849548}"/>
              </a:ext>
            </a:extLst>
          </p:cNvPr>
          <p:cNvSpPr>
            <a:spLocks noGrp="1"/>
          </p:cNvSpPr>
          <p:nvPr>
            <p:ph type="pic" sz="quarter" idx="13" hasCustomPrompt="1"/>
          </p:nvPr>
        </p:nvSpPr>
        <p:spPr bwMode="gray">
          <a:xfrm>
            <a:off x="0" y="0"/>
            <a:ext cx="12192000" cy="6858000"/>
          </a:xfrm>
          <a:solidFill>
            <a:schemeClr val="bg2"/>
          </a:solidFill>
        </p:spPr>
        <p:txBody>
          <a:bodyPr vert="horz" lIns="3168000" tIns="0" rIns="1368000" bIns="0" rtlCol="0" anchor="ctr" anchorCtr="0">
            <a:noAutofit/>
          </a:bodyPr>
          <a:lstStyle>
            <a:lvl1pPr>
              <a:defRPr lang="en-GB" sz="1200" dirty="0">
                <a:solidFill>
                  <a:schemeClr val="accent4"/>
                </a:solidFill>
              </a:defRPr>
            </a:lvl1pPr>
          </a:lstStyle>
          <a:p>
            <a:pPr lvl="0"/>
            <a:r>
              <a:rPr lang="en-GB" noProof="0"/>
              <a:t> </a:t>
            </a:r>
          </a:p>
        </p:txBody>
      </p:sp>
      <p:sp>
        <p:nvSpPr>
          <p:cNvPr id="8" name="Titel 11">
            <a:extLst>
              <a:ext uri="{FF2B5EF4-FFF2-40B4-BE49-F238E27FC236}">
                <a16:creationId xmlns:a16="http://schemas.microsoft.com/office/drawing/2014/main" id="{2C8BC260-CA5E-4073-978C-7294BED84C15}"/>
              </a:ext>
            </a:extLst>
          </p:cNvPr>
          <p:cNvSpPr>
            <a:spLocks noGrp="1"/>
          </p:cNvSpPr>
          <p:nvPr>
            <p:ph type="title" hasCustomPrompt="1"/>
          </p:nvPr>
        </p:nvSpPr>
        <p:spPr bwMode="gray">
          <a:xfrm>
            <a:off x="6275388" y="728663"/>
            <a:ext cx="5329237" cy="5400674"/>
          </a:xfrm>
          <a:noFill/>
        </p:spPr>
        <p:txBody>
          <a:bodyPr vert="horz" wrap="square" lIns="0" tIns="0" rIns="0" bIns="216000" anchor="b" anchorCtr="0">
            <a:normAutofit/>
          </a:bodyPr>
          <a:lstStyle>
            <a:lvl1pPr>
              <a:lnSpc>
                <a:spcPct val="90000"/>
              </a:lnSpc>
              <a:defRPr sz="6000" b="1">
                <a:solidFill>
                  <a:schemeClr val="accent1"/>
                </a:solidFill>
              </a:defRPr>
            </a:lvl1pPr>
          </a:lstStyle>
          <a:p>
            <a:r>
              <a:rPr lang="en-GB" noProof="0"/>
              <a:t>Optional title</a:t>
            </a:r>
          </a:p>
        </p:txBody>
      </p:sp>
      <p:sp>
        <p:nvSpPr>
          <p:cNvPr id="2" name="Datumsplatzhalter 1">
            <a:extLst>
              <a:ext uri="{FF2B5EF4-FFF2-40B4-BE49-F238E27FC236}">
                <a16:creationId xmlns:a16="http://schemas.microsoft.com/office/drawing/2014/main" id="{0B6D80FE-A777-4AD1-892A-139250F442DB}"/>
              </a:ext>
            </a:extLst>
          </p:cNvPr>
          <p:cNvSpPr>
            <a:spLocks noGrp="1"/>
          </p:cNvSpPr>
          <p:nvPr>
            <p:ph type="dt" sz="half" idx="14"/>
          </p:nvPr>
        </p:nvSpPr>
        <p:spPr bwMode="gray"/>
        <p:txBody>
          <a:bodyPr/>
          <a:lstStyle/>
          <a:p>
            <a:endParaRPr lang="en-US"/>
          </a:p>
        </p:txBody>
      </p:sp>
      <p:sp>
        <p:nvSpPr>
          <p:cNvPr id="9" name="Fußzeilenplatzhalter 8">
            <a:extLst>
              <a:ext uri="{FF2B5EF4-FFF2-40B4-BE49-F238E27FC236}">
                <a16:creationId xmlns:a16="http://schemas.microsoft.com/office/drawing/2014/main" id="{3A6D36F7-A7EA-46AC-A529-489224C4B2F9}"/>
              </a:ext>
            </a:extLst>
          </p:cNvPr>
          <p:cNvSpPr>
            <a:spLocks noGrp="1"/>
          </p:cNvSpPr>
          <p:nvPr>
            <p:ph type="ftr" sz="quarter" idx="15"/>
          </p:nvPr>
        </p:nvSpPr>
        <p:spPr bwMode="gray"/>
        <p:txBody>
          <a:bodyPr/>
          <a:lstStyle/>
          <a:p>
            <a:endParaRPr lang="en-US"/>
          </a:p>
        </p:txBody>
      </p:sp>
      <p:sp>
        <p:nvSpPr>
          <p:cNvPr id="10" name="Foliennummernplatzhalter 9">
            <a:extLst>
              <a:ext uri="{FF2B5EF4-FFF2-40B4-BE49-F238E27FC236}">
                <a16:creationId xmlns:a16="http://schemas.microsoft.com/office/drawing/2014/main" id="{4851886B-6BEF-490D-A7E5-50C121FE97CC}"/>
              </a:ext>
            </a:extLst>
          </p:cNvPr>
          <p:cNvSpPr>
            <a:spLocks noGrp="1"/>
          </p:cNvSpPr>
          <p:nvPr>
            <p:ph type="sldNum" sz="quarter" idx="16"/>
          </p:nvPr>
        </p:nvSpPr>
        <p:spPr bwMode="gray"/>
        <p:txBody>
          <a:bodyPr/>
          <a:lstStyle/>
          <a:p>
            <a:fld id="{BFCA3128-5B09-47E5-B47D-6F0CB7A5DE9F}" type="slidenum">
              <a:rPr lang="en-US"/>
              <a:t>‹#›</a:t>
            </a:fld>
            <a:endParaRPr lang="en-US"/>
          </a:p>
        </p:txBody>
      </p:sp>
    </p:spTree>
    <p:extLst>
      <p:ext uri="{BB962C8B-B14F-4D97-AF65-F5344CB8AC3E}">
        <p14:creationId xmlns:p14="http://schemas.microsoft.com/office/powerpoint/2010/main" val="2485519375"/>
      </p:ext>
    </p:extLst>
  </p:cSld>
  <p:clrMapOvr>
    <a:masterClrMapping/>
  </p:clrMapOvr>
  <p:extLst>
    <p:ext uri="{DCECCB84-F9BA-43D5-87BE-67443E8EF086}">
      <p15:sldGuideLst xmlns:p15="http://schemas.microsoft.com/office/powerpoint/2012/main">
        <p15:guide id="6" pos="3953">
          <p15:clr>
            <a:srgbClr val="F26B43"/>
          </p15:clr>
        </p15:guide>
        <p15:guide id="7" pos="7310">
          <p15:clr>
            <a:srgbClr val="F26B43"/>
          </p15:clr>
        </p15:guide>
        <p15:guide id="8" orient="horz" pos="459">
          <p15:clr>
            <a:srgbClr val="F26B43"/>
          </p15:clr>
        </p15:guide>
        <p15:guide id="9" orient="horz" pos="3861">
          <p15:clr>
            <a:srgbClr val="F26B43"/>
          </p15:clr>
        </p15:guide>
        <p15:guide id="10" pos="370">
          <p15:clr>
            <a:srgbClr val="F26B43"/>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Key Message | White">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1063BDC-03ED-4F78-83E8-01C904F27D75}"/>
              </a:ext>
            </a:extLst>
          </p:cNvPr>
          <p:cNvGraphicFramePr>
            <a:graphicFrameLocks noChangeAspect="1"/>
          </p:cNvGraphicFramePr>
          <p:nvPr>
            <p:custDataLst>
              <p:tags r:id="rId2"/>
            </p:custDataLst>
            <p:extLst>
              <p:ext uri="{D42A27DB-BD31-4B8C-83A1-F6EECF244321}">
                <p14:modId xmlns:p14="http://schemas.microsoft.com/office/powerpoint/2010/main" val="2535194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4"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71063BDC-03ED-4F78-83E8-01C904F27D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A7ED93-264F-4FB5-815D-4481CAD4A5EA}"/>
              </a:ext>
            </a:extLst>
          </p:cNvPr>
          <p:cNvSpPr>
            <a:spLocks noGrp="1"/>
          </p:cNvSpPr>
          <p:nvPr>
            <p:ph type="title" hasCustomPrompt="1"/>
          </p:nvPr>
        </p:nvSpPr>
        <p:spPr bwMode="gray">
          <a:xfrm>
            <a:off x="587374" y="728662"/>
            <a:ext cx="11017251" cy="5400675"/>
          </a:xfrm>
        </p:spPr>
        <p:txBody>
          <a:bodyPr vert="horz" bIns="288000" anchor="ctr" anchorCtr="0"/>
          <a:lstStyle>
            <a:lvl1pPr algn="ctr">
              <a:lnSpc>
                <a:spcPct val="110000"/>
              </a:lnSpc>
              <a:defRPr sz="4300" b="1">
                <a:solidFill>
                  <a:schemeClr val="accent1"/>
                </a:solidFill>
              </a:defRPr>
            </a:lvl1pPr>
          </a:lstStyle>
          <a:p>
            <a:r>
              <a:rPr lang="en-GB" noProof="0"/>
              <a:t>Click to add a message</a:t>
            </a:r>
            <a:br>
              <a:rPr lang="en-GB" noProof="0"/>
            </a:br>
            <a:r>
              <a:rPr lang="en-GB" noProof="0"/>
              <a:t>or quote</a:t>
            </a:r>
          </a:p>
        </p:txBody>
      </p:sp>
      <p:sp>
        <p:nvSpPr>
          <p:cNvPr id="3" name="Datumsplatzhalter 2">
            <a:extLst>
              <a:ext uri="{FF2B5EF4-FFF2-40B4-BE49-F238E27FC236}">
                <a16:creationId xmlns:a16="http://schemas.microsoft.com/office/drawing/2014/main" id="{407D659B-F43A-4E9F-A3C8-5833F36C9AAA}"/>
              </a:ext>
            </a:extLst>
          </p:cNvPr>
          <p:cNvSpPr>
            <a:spLocks noGrp="1"/>
          </p:cNvSpPr>
          <p:nvPr>
            <p:ph type="dt" sz="half" idx="10"/>
          </p:nvPr>
        </p:nvSpPr>
        <p:spPr bwMode="gray"/>
        <p:txBody>
          <a:bodyPr/>
          <a:lstStyle/>
          <a:p>
            <a:endParaRPr lang="en-US"/>
          </a:p>
        </p:txBody>
      </p:sp>
      <p:sp>
        <p:nvSpPr>
          <p:cNvPr id="8" name="Fußzeilenplatzhalter 7">
            <a:extLst>
              <a:ext uri="{FF2B5EF4-FFF2-40B4-BE49-F238E27FC236}">
                <a16:creationId xmlns:a16="http://schemas.microsoft.com/office/drawing/2014/main" id="{AF0C786A-43CE-4C61-BF25-95DAC554F27C}"/>
              </a:ext>
            </a:extLst>
          </p:cNvPr>
          <p:cNvSpPr>
            <a:spLocks noGrp="1"/>
          </p:cNvSpPr>
          <p:nvPr>
            <p:ph type="ftr" sz="quarter" idx="11"/>
          </p:nvPr>
        </p:nvSpPr>
        <p:spPr bwMode="gray"/>
        <p:txBody>
          <a:bodyPr/>
          <a:lstStyle/>
          <a:p>
            <a:endParaRPr lang="en-US"/>
          </a:p>
        </p:txBody>
      </p:sp>
      <p:sp>
        <p:nvSpPr>
          <p:cNvPr id="9" name="Foliennummernplatzhalter 8">
            <a:extLst>
              <a:ext uri="{FF2B5EF4-FFF2-40B4-BE49-F238E27FC236}">
                <a16:creationId xmlns:a16="http://schemas.microsoft.com/office/drawing/2014/main" id="{64855801-DEF8-4EFB-A449-5F4B4FC3ED5A}"/>
              </a:ext>
            </a:extLst>
          </p:cNvPr>
          <p:cNvSpPr>
            <a:spLocks noGrp="1"/>
          </p:cNvSpPr>
          <p:nvPr>
            <p:ph type="sldNum" sz="quarter" idx="12"/>
          </p:nvPr>
        </p:nvSpPr>
        <p:spPr bwMode="gray"/>
        <p:txBody>
          <a:bodyPr/>
          <a:lstStyle/>
          <a:p>
            <a:fld id="{BFCA3128-5B09-47E5-B47D-6F0CB7A5DE9F}" type="slidenum">
              <a:rPr lang="en-US"/>
              <a:t>‹#›</a:t>
            </a:fld>
            <a:endParaRPr lang="en-US"/>
          </a:p>
        </p:txBody>
      </p:sp>
    </p:spTree>
    <p:extLst>
      <p:ext uri="{BB962C8B-B14F-4D97-AF65-F5344CB8AC3E}">
        <p14:creationId xmlns:p14="http://schemas.microsoft.com/office/powerpoint/2010/main" val="2181964558"/>
      </p:ext>
    </p:extLst>
  </p:cSld>
  <p:clrMapOvr>
    <a:masterClrMapping/>
  </p:clrMapOvr>
  <p:extLst>
    <p:ext uri="{DCECCB84-F9BA-43D5-87BE-67443E8EF086}">
      <p15:sldGuideLst xmlns:p15="http://schemas.microsoft.com/office/powerpoint/2012/main">
        <p15:guide id="1" orient="horz" pos="459">
          <p15:clr>
            <a:srgbClr val="F26B43"/>
          </p15:clr>
        </p15:guide>
        <p15:guide id="2" pos="7310">
          <p15:clr>
            <a:srgbClr val="F26B43"/>
          </p15:clr>
        </p15:guide>
        <p15:guide id="3" orient="horz" pos="3861">
          <p15:clr>
            <a:srgbClr val="F26B43"/>
          </p15:clr>
        </p15:guide>
        <p15:guide id="4" pos="370">
          <p15:clr>
            <a:srgbClr val="F26B43"/>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Key Message | Colour">
    <p:bg>
      <p:bgPr>
        <a:solidFill>
          <a:schemeClr val="accent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6C0DBF4-DE2C-43EB-A33F-9FB936CDDE99}"/>
              </a:ext>
            </a:extLst>
          </p:cNvPr>
          <p:cNvGraphicFramePr>
            <a:graphicFrameLocks noChangeAspect="1"/>
          </p:cNvGraphicFramePr>
          <p:nvPr>
            <p:custDataLst>
              <p:tags r:id="rId2"/>
            </p:custDataLst>
            <p:extLst>
              <p:ext uri="{D42A27DB-BD31-4B8C-83A1-F6EECF244321}">
                <p14:modId xmlns:p14="http://schemas.microsoft.com/office/powerpoint/2010/main" val="687999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8"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E6C0DBF4-DE2C-43EB-A33F-9FB936CDD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A7ED93-264F-4FB5-815D-4481CAD4A5EA}"/>
              </a:ext>
            </a:extLst>
          </p:cNvPr>
          <p:cNvSpPr>
            <a:spLocks noGrp="1"/>
          </p:cNvSpPr>
          <p:nvPr>
            <p:ph type="title" hasCustomPrompt="1"/>
          </p:nvPr>
        </p:nvSpPr>
        <p:spPr bwMode="gray">
          <a:xfrm>
            <a:off x="587375" y="728663"/>
            <a:ext cx="11016574" cy="5400676"/>
          </a:xfrm>
        </p:spPr>
        <p:txBody>
          <a:bodyPr vert="horz" bIns="288000" anchor="ctr" anchorCtr="0"/>
          <a:lstStyle>
            <a:lvl1pPr algn="ctr">
              <a:lnSpc>
                <a:spcPct val="110000"/>
              </a:lnSpc>
              <a:defRPr sz="4300" b="1">
                <a:solidFill>
                  <a:schemeClr val="tx1"/>
                </a:solidFill>
              </a:defRPr>
            </a:lvl1pPr>
          </a:lstStyle>
          <a:p>
            <a:r>
              <a:rPr lang="en-GB" noProof="0"/>
              <a:t>Click to add a message</a:t>
            </a:r>
            <a:br>
              <a:rPr lang="en-GB" noProof="0"/>
            </a:br>
            <a:r>
              <a:rPr lang="en-GB" noProof="0"/>
              <a:t>or quote</a:t>
            </a:r>
          </a:p>
        </p:txBody>
      </p:sp>
      <p:sp>
        <p:nvSpPr>
          <p:cNvPr id="5" name="Datumsplatzhalter 4">
            <a:extLst>
              <a:ext uri="{FF2B5EF4-FFF2-40B4-BE49-F238E27FC236}">
                <a16:creationId xmlns:a16="http://schemas.microsoft.com/office/drawing/2014/main" id="{91A7AEFA-CB05-44E7-B101-8CF3592F395F}"/>
              </a:ext>
            </a:extLst>
          </p:cNvPr>
          <p:cNvSpPr>
            <a:spLocks noGrp="1"/>
          </p:cNvSpPr>
          <p:nvPr>
            <p:ph type="dt" sz="half" idx="10"/>
          </p:nvPr>
        </p:nvSpPr>
        <p:spPr bwMode="gray"/>
        <p:txBody>
          <a:bodyPr/>
          <a:lstStyle>
            <a:lvl1pPr>
              <a:defRPr>
                <a:solidFill>
                  <a:schemeClr val="tx1"/>
                </a:solidFill>
              </a:defRPr>
            </a:lvl1pPr>
          </a:lstStyle>
          <a:p>
            <a:endParaRPr lang="en-US"/>
          </a:p>
        </p:txBody>
      </p:sp>
      <p:sp>
        <p:nvSpPr>
          <p:cNvPr id="6" name="Fußzeilenplatzhalter 5">
            <a:extLst>
              <a:ext uri="{FF2B5EF4-FFF2-40B4-BE49-F238E27FC236}">
                <a16:creationId xmlns:a16="http://schemas.microsoft.com/office/drawing/2014/main" id="{81D7614F-6169-4EC0-B420-388BEA8019E3}"/>
              </a:ext>
            </a:extLst>
          </p:cNvPr>
          <p:cNvSpPr>
            <a:spLocks noGrp="1"/>
          </p:cNvSpPr>
          <p:nvPr>
            <p:ph type="ftr" sz="quarter" idx="11"/>
          </p:nvPr>
        </p:nvSpPr>
        <p:spPr bwMode="gray">
          <a:xfrm>
            <a:off x="587388" y="6381352"/>
            <a:ext cx="1928413" cy="138499"/>
          </a:xfrm>
        </p:spPr>
        <p:txBody>
          <a:bodyPr/>
          <a:lstStyle>
            <a:lvl1pPr>
              <a:defRPr>
                <a:solidFill>
                  <a:schemeClr val="tx1"/>
                </a:solidFill>
              </a:defRPr>
            </a:lvl1pPr>
          </a:lstStyle>
          <a:p>
            <a:endParaRPr lang="en-US"/>
          </a:p>
        </p:txBody>
      </p:sp>
      <p:sp>
        <p:nvSpPr>
          <p:cNvPr id="7" name="Foliennummernplatzhalter 6">
            <a:extLst>
              <a:ext uri="{FF2B5EF4-FFF2-40B4-BE49-F238E27FC236}">
                <a16:creationId xmlns:a16="http://schemas.microsoft.com/office/drawing/2014/main" id="{B5350518-4957-4979-8539-BEE27F47A292}"/>
              </a:ext>
            </a:extLst>
          </p:cNvPr>
          <p:cNvSpPr>
            <a:spLocks noGrp="1"/>
          </p:cNvSpPr>
          <p:nvPr>
            <p:ph type="sldNum" sz="quarter" idx="12"/>
          </p:nvPr>
        </p:nvSpPr>
        <p:spPr bwMode="gray"/>
        <p:txBody>
          <a:bodyPr/>
          <a:lstStyle>
            <a:lvl1pPr>
              <a:defRPr>
                <a:solidFill>
                  <a:schemeClr val="tx1"/>
                </a:solidFill>
              </a:defRPr>
            </a:lvl1pPr>
          </a:lstStyle>
          <a:p>
            <a:fld id="{BFCA3128-5B09-47E5-B47D-6F0CB7A5DE9F}" type="slidenum">
              <a:rPr lang="en-US"/>
              <a:t>‹#›</a:t>
            </a:fld>
            <a:endParaRPr lang="en-US"/>
          </a:p>
        </p:txBody>
      </p:sp>
    </p:spTree>
    <p:extLst>
      <p:ext uri="{BB962C8B-B14F-4D97-AF65-F5344CB8AC3E}">
        <p14:creationId xmlns:p14="http://schemas.microsoft.com/office/powerpoint/2010/main" val="190594011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459">
          <p15:clr>
            <a:srgbClr val="F26B43"/>
          </p15:clr>
        </p15:guide>
        <p15:guide id="2" pos="7310">
          <p15:clr>
            <a:srgbClr val="F26B43"/>
          </p15:clr>
        </p15:guide>
        <p15:guide id="3" pos="370">
          <p15:clr>
            <a:srgbClr val="F26B43"/>
          </p15:clr>
        </p15:guide>
        <p15:guide id="4" orient="horz" pos="3861">
          <p15:clr>
            <a:srgbClr val="F26B43"/>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Empty | White">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8A5FFD9-17C6-493E-AAEA-4723FB65E1D5}"/>
              </a:ext>
            </a:extLst>
          </p:cNvPr>
          <p:cNvSpPr>
            <a:spLocks noGrp="1"/>
          </p:cNvSpPr>
          <p:nvPr>
            <p:ph type="dt" sz="half" idx="10"/>
          </p:nvPr>
        </p:nvSpPr>
        <p:spPr bwMode="gray"/>
        <p:txBody>
          <a:bodyPr/>
          <a:lstStyle/>
          <a:p>
            <a:endParaRPr lang="en-US"/>
          </a:p>
        </p:txBody>
      </p:sp>
      <p:sp>
        <p:nvSpPr>
          <p:cNvPr id="3" name="Fußzeilenplatzhalter 2">
            <a:extLst>
              <a:ext uri="{FF2B5EF4-FFF2-40B4-BE49-F238E27FC236}">
                <a16:creationId xmlns:a16="http://schemas.microsoft.com/office/drawing/2014/main" id="{7F870DAA-DAFD-48D8-B55A-AD46661A4420}"/>
              </a:ext>
            </a:extLst>
          </p:cNvPr>
          <p:cNvSpPr>
            <a:spLocks noGrp="1"/>
          </p:cNvSpPr>
          <p:nvPr>
            <p:ph type="ftr" sz="quarter" idx="11"/>
          </p:nvPr>
        </p:nvSpPr>
        <p:spPr bwMode="gray"/>
        <p:txBody>
          <a:bodyPr/>
          <a:lstStyle/>
          <a:p>
            <a:endParaRPr lang="en-US"/>
          </a:p>
        </p:txBody>
      </p:sp>
      <p:sp>
        <p:nvSpPr>
          <p:cNvPr id="7" name="Foliennummernplatzhalter 6">
            <a:extLst>
              <a:ext uri="{FF2B5EF4-FFF2-40B4-BE49-F238E27FC236}">
                <a16:creationId xmlns:a16="http://schemas.microsoft.com/office/drawing/2014/main" id="{F4BA519A-AA8F-4796-A913-15BB2C423E3A}"/>
              </a:ext>
            </a:extLst>
          </p:cNvPr>
          <p:cNvSpPr>
            <a:spLocks noGrp="1"/>
          </p:cNvSpPr>
          <p:nvPr>
            <p:ph type="sldNum" sz="quarter" idx="12"/>
          </p:nvPr>
        </p:nvSpPr>
        <p:spPr bwMode="gray"/>
        <p:txBody>
          <a:bodyPr/>
          <a:lstStyle/>
          <a:p>
            <a:fld id="{BFCA3128-5B09-47E5-B47D-6F0CB7A5DE9F}" type="slidenum">
              <a:rPr lang="en-US"/>
              <a:t>‹#›</a:t>
            </a:fld>
            <a:endParaRPr lang="en-US"/>
          </a:p>
        </p:txBody>
      </p:sp>
    </p:spTree>
    <p:extLst>
      <p:ext uri="{BB962C8B-B14F-4D97-AF65-F5344CB8AC3E}">
        <p14:creationId xmlns:p14="http://schemas.microsoft.com/office/powerpoint/2010/main" val="515415252"/>
      </p:ext>
    </p:extLst>
  </p:cSld>
  <p:clrMapOvr>
    <a:masterClrMapping/>
  </p:clrMapOvr>
  <p:extLst>
    <p:ext uri="{DCECCB84-F9BA-43D5-87BE-67443E8EF086}">
      <p15:sldGuideLst xmlns:p15="http://schemas.microsoft.com/office/powerpoint/2012/main">
        <p15:guide id="1" pos="370">
          <p15:clr>
            <a:srgbClr val="F26B43"/>
          </p15:clr>
        </p15:guide>
        <p15:guide id="10" pos="7310">
          <p15:clr>
            <a:srgbClr val="F26B43"/>
          </p15:clr>
        </p15:guide>
        <p15:guide id="11" orient="horz" pos="459">
          <p15:clr>
            <a:srgbClr val="F26B43"/>
          </p15:clr>
        </p15:guide>
        <p15:guide id="12" orient="horz" pos="3861">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692D2F5-4F80-46FB-AE49-514EF9EA6C04}"/>
              </a:ext>
            </a:extLst>
          </p:cNvPr>
          <p:cNvSpPr>
            <a:spLocks noGrp="1"/>
          </p:cNvSpPr>
          <p:nvPr>
            <p:ph type="dt" sz="half" idx="10"/>
          </p:nvPr>
        </p:nvSpPr>
        <p:spPr/>
        <p:txBody>
          <a:bodyPr/>
          <a:lstStyle/>
          <a:p>
            <a:fld id="{4742D07F-AA84-406A-9332-1464FA876A41}" type="datetimeFigureOut">
              <a:rPr lang="bg-BG" smtClean="0"/>
              <a:t>10.04.24 г.</a:t>
            </a:fld>
            <a:endParaRPr lang="bg-BG"/>
          </a:p>
        </p:txBody>
      </p:sp>
      <p:sp>
        <p:nvSpPr>
          <p:cNvPr id="3" name="Footer Placeholder 2">
            <a:extLst>
              <a:ext uri="{FF2B5EF4-FFF2-40B4-BE49-F238E27FC236}">
                <a16:creationId xmlns:a16="http://schemas.microsoft.com/office/drawing/2014/main" id="{6924E579-21B1-4159-A718-CD108CD4B5AE}"/>
              </a:ext>
            </a:extLst>
          </p:cNvPr>
          <p:cNvSpPr>
            <a:spLocks noGrp="1"/>
          </p:cNvSpPr>
          <p:nvPr>
            <p:ph type="ftr" sz="quarter" idx="11"/>
          </p:nvPr>
        </p:nvSpPr>
        <p:spPr/>
        <p:txBody>
          <a:bodyPr/>
          <a:lstStyle/>
          <a:p>
            <a:endParaRPr lang="bg-BG"/>
          </a:p>
        </p:txBody>
      </p:sp>
      <p:sp>
        <p:nvSpPr>
          <p:cNvPr id="4" name="Slide Number Placeholder 3">
            <a:extLst>
              <a:ext uri="{FF2B5EF4-FFF2-40B4-BE49-F238E27FC236}">
                <a16:creationId xmlns:a16="http://schemas.microsoft.com/office/drawing/2014/main" id="{7A96739D-0853-4D7B-BBC2-0E93E84E7781}"/>
              </a:ext>
            </a:extLst>
          </p:cNvPr>
          <p:cNvSpPr>
            <a:spLocks noGrp="1"/>
          </p:cNvSpPr>
          <p:nvPr>
            <p:ph type="sldNum" sz="quarter" idx="12"/>
          </p:nvPr>
        </p:nvSpPr>
        <p:spPr/>
        <p:txBody>
          <a:bodyPr/>
          <a:lstStyle/>
          <a:p>
            <a:fld id="{1ECF27F8-A54A-4E9B-946E-1DA717B6015E}" type="slidenum">
              <a:rPr lang="bg-BG" smtClean="0"/>
              <a:t>‹#›</a:t>
            </a:fld>
            <a:endParaRPr lang="bg-BG"/>
          </a:p>
        </p:txBody>
      </p:sp>
    </p:spTree>
    <p:extLst>
      <p:ext uri="{BB962C8B-B14F-4D97-AF65-F5344CB8AC3E}">
        <p14:creationId xmlns:p14="http://schemas.microsoft.com/office/powerpoint/2010/main" val="34604010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Empty | Colour">
    <p:bg>
      <p:bgPr>
        <a:solidFill>
          <a:schemeClr val="accent1"/>
        </a:solidFill>
        <a:effectLst/>
      </p:bgPr>
    </p:bg>
    <p:spTree>
      <p:nvGrpSpPr>
        <p:cNvPr id="1" name=""/>
        <p:cNvGrpSpPr/>
        <p:nvPr/>
      </p:nvGrpSpPr>
      <p:grpSpPr>
        <a:xfrm>
          <a:off x="0" y="0"/>
          <a:ext cx="0" cy="0"/>
          <a:chOff x="0" y="0"/>
          <a:chExt cx="0" cy="0"/>
        </a:xfrm>
      </p:grpSpPr>
      <p:sp>
        <p:nvSpPr>
          <p:cNvPr id="13" name="Foliennummernplatzhalter 5">
            <a:extLst>
              <a:ext uri="{FF2B5EF4-FFF2-40B4-BE49-F238E27FC236}">
                <a16:creationId xmlns:a16="http://schemas.microsoft.com/office/drawing/2014/main" id="{8248E6FD-15AA-4B89-85F4-20B09D099B09}"/>
              </a:ext>
            </a:extLst>
          </p:cNvPr>
          <p:cNvSpPr>
            <a:spLocks noGrp="1"/>
          </p:cNvSpPr>
          <p:nvPr>
            <p:ph type="sldNum" sz="quarter" idx="4"/>
          </p:nvPr>
        </p:nvSpPr>
        <p:spPr bwMode="gray">
          <a:xfrm>
            <a:off x="5806768" y="6381328"/>
            <a:ext cx="576064" cy="216000"/>
          </a:xfrm>
          <a:prstGeom prst="rect">
            <a:avLst/>
          </a:prstGeom>
        </p:spPr>
        <p:txBody>
          <a:bodyPr vert="horz" wrap="square" lIns="0" tIns="0" rIns="0" bIns="0" rtlCol="0" anchor="t" anchorCtr="0">
            <a:noAutofit/>
          </a:bodyPr>
          <a:lstStyle>
            <a:lvl1pPr algn="ctr">
              <a:defRPr sz="900">
                <a:solidFill>
                  <a:schemeClr val="tx1"/>
                </a:solidFill>
              </a:defRPr>
            </a:lvl1pPr>
          </a:lstStyle>
          <a:p>
            <a:fld id="{BFCA3128-5B09-47E5-B47D-6F0CB7A5DE9F}" type="slidenum">
              <a:rPr lang="en-US"/>
              <a:t>‹#›</a:t>
            </a:fld>
            <a:endParaRPr lang="en-US"/>
          </a:p>
        </p:txBody>
      </p:sp>
      <p:sp>
        <p:nvSpPr>
          <p:cNvPr id="14" name="Datumsplatzhalter 2">
            <a:extLst>
              <a:ext uri="{FF2B5EF4-FFF2-40B4-BE49-F238E27FC236}">
                <a16:creationId xmlns:a16="http://schemas.microsoft.com/office/drawing/2014/main" id="{B8A9D196-A2C4-41EF-878D-B1B1BE7017D8}"/>
              </a:ext>
            </a:extLst>
          </p:cNvPr>
          <p:cNvSpPr>
            <a:spLocks noGrp="1"/>
          </p:cNvSpPr>
          <p:nvPr>
            <p:ph type="dt" sz="half" idx="2"/>
          </p:nvPr>
        </p:nvSpPr>
        <p:spPr bwMode="gray">
          <a:xfrm>
            <a:off x="8861425" y="6381328"/>
            <a:ext cx="2743200" cy="216000"/>
          </a:xfrm>
          <a:prstGeom prst="rect">
            <a:avLst/>
          </a:prstGeom>
        </p:spPr>
        <p:txBody>
          <a:bodyPr vert="horz" wrap="square" lIns="0" tIns="0" rIns="0" bIns="0" rtlCol="0" anchor="t" anchorCtr="0">
            <a:noAutofit/>
          </a:bodyPr>
          <a:lstStyle>
            <a:lvl1pPr algn="r">
              <a:defRPr lang="de-DE" sz="900">
                <a:solidFill>
                  <a:schemeClr val="tx1"/>
                </a:solidFill>
              </a:defRPr>
            </a:lvl1pPr>
          </a:lstStyle>
          <a:p>
            <a:endParaRPr lang="en-US"/>
          </a:p>
        </p:txBody>
      </p:sp>
      <p:sp>
        <p:nvSpPr>
          <p:cNvPr id="2" name="Fußzeilenplatzhalter 1">
            <a:extLst>
              <a:ext uri="{FF2B5EF4-FFF2-40B4-BE49-F238E27FC236}">
                <a16:creationId xmlns:a16="http://schemas.microsoft.com/office/drawing/2014/main" id="{1E81712C-DC15-434D-A1F9-92FFF06630DA}"/>
              </a:ext>
            </a:extLst>
          </p:cNvPr>
          <p:cNvSpPr>
            <a:spLocks noGrp="1"/>
          </p:cNvSpPr>
          <p:nvPr>
            <p:ph type="ftr" sz="quarter" idx="10"/>
          </p:nvPr>
        </p:nvSpPr>
        <p:spPr bwMode="gray">
          <a:xfrm>
            <a:off x="587388" y="6381352"/>
            <a:ext cx="1928413" cy="138499"/>
          </a:xfrm>
        </p:spPr>
        <p:txBody>
          <a:bodyPr/>
          <a:lstStyle>
            <a:lvl1pPr>
              <a:defRPr>
                <a:solidFill>
                  <a:schemeClr val="tx1"/>
                </a:solidFill>
              </a:defRPr>
            </a:lvl1pPr>
          </a:lstStyle>
          <a:p>
            <a:endParaRPr lang="en-US"/>
          </a:p>
        </p:txBody>
      </p:sp>
    </p:spTree>
    <p:extLst>
      <p:ext uri="{BB962C8B-B14F-4D97-AF65-F5344CB8AC3E}">
        <p14:creationId xmlns:p14="http://schemas.microsoft.com/office/powerpoint/2010/main" val="2909211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7310">
          <p15:clr>
            <a:srgbClr val="F26B43"/>
          </p15:clr>
        </p15:guide>
        <p15:guide id="4" pos="370">
          <p15:clr>
            <a:srgbClr val="F26B43"/>
          </p15:clr>
        </p15:guide>
        <p15:guide id="5" orient="horz" pos="459">
          <p15:clr>
            <a:srgbClr val="F26B43"/>
          </p15:clr>
        </p15:guide>
        <p15:guide id="6" orient="horz" pos="3861">
          <p15:clr>
            <a:srgbClr val="F26B43"/>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One Contact | White">
    <p:bg>
      <p:bgPr>
        <a:solidFill>
          <a:schemeClr val="bg1"/>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BB3F522-8447-4E5E-A321-D191813F8F49}"/>
              </a:ext>
            </a:extLst>
          </p:cNvPr>
          <p:cNvGraphicFramePr>
            <a:graphicFrameLocks noChangeAspect="1"/>
          </p:cNvGraphicFramePr>
          <p:nvPr>
            <p:custDataLst>
              <p:tags r:id="rId2"/>
            </p:custDataLst>
            <p:extLst>
              <p:ext uri="{D42A27DB-BD31-4B8C-83A1-F6EECF244321}">
                <p14:modId xmlns:p14="http://schemas.microsoft.com/office/powerpoint/2010/main" val="885947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2" name="think-cell Slide" r:id="rId4" imgW="359" imgH="358" progId="TCLayout.ActiveDocument.1">
                  <p:embed/>
                </p:oleObj>
              </mc:Choice>
              <mc:Fallback>
                <p:oleObj name="think-cell Slide" r:id="rId4" imgW="359" imgH="358" progId="TCLayout.ActiveDocument.1">
                  <p:embed/>
                  <p:pic>
                    <p:nvPicPr>
                      <p:cNvPr id="8" name="Objekt 7" hidden="1">
                        <a:extLst>
                          <a:ext uri="{FF2B5EF4-FFF2-40B4-BE49-F238E27FC236}">
                            <a16:creationId xmlns:a16="http://schemas.microsoft.com/office/drawing/2014/main" id="{ABB3F522-8447-4E5E-A321-D191813F8F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A7ED93-264F-4FB5-815D-4481CAD4A5EA}"/>
              </a:ext>
            </a:extLst>
          </p:cNvPr>
          <p:cNvSpPr>
            <a:spLocks noGrp="1"/>
          </p:cNvSpPr>
          <p:nvPr>
            <p:ph type="title" hasCustomPrompt="1"/>
          </p:nvPr>
        </p:nvSpPr>
        <p:spPr bwMode="gray">
          <a:xfrm>
            <a:off x="587822" y="728700"/>
            <a:ext cx="5400228" cy="720000"/>
          </a:xfrm>
        </p:spPr>
        <p:txBody>
          <a:bodyPr vert="horz" bIns="0" anchor="b" anchorCtr="0"/>
          <a:lstStyle>
            <a:lvl1pPr algn="l">
              <a:defRPr sz="4300">
                <a:solidFill>
                  <a:schemeClr val="accent1"/>
                </a:solidFill>
              </a:defRPr>
            </a:lvl1pPr>
          </a:lstStyle>
          <a:p>
            <a:r>
              <a:rPr lang="en-GB" noProof="0"/>
              <a:t>Thank you! </a:t>
            </a:r>
          </a:p>
        </p:txBody>
      </p:sp>
      <p:pic>
        <p:nvPicPr>
          <p:cNvPr id="3" name="Grafik 2">
            <a:extLst>
              <a:ext uri="{FF2B5EF4-FFF2-40B4-BE49-F238E27FC236}">
                <a16:creationId xmlns:a16="http://schemas.microsoft.com/office/drawing/2014/main" id="{2608446A-11B3-4DB8-BD2F-089747ACC3FD}"/>
              </a:ext>
            </a:extLst>
          </p:cNvPr>
          <p:cNvPicPr>
            <a:picLocks noChangeAspect="1"/>
          </p:cNvPicPr>
          <p:nvPr/>
        </p:nvPicPr>
        <p:blipFill>
          <a:blip r:embed="rId6" cstate="screen">
            <a:extLst>
              <a:ext uri="{28A0092B-C50C-407E-A947-70E740481C1C}">
                <a14:useLocalDpi xmlns:a14="http://schemas.microsoft.com/office/drawing/2010/main" val="0"/>
              </a:ext>
            </a:extLst>
          </a:blip>
          <a:srcRect/>
          <a:stretch/>
        </p:blipFill>
        <p:spPr bwMode="gray">
          <a:xfrm>
            <a:off x="587389" y="5625301"/>
            <a:ext cx="2743267" cy="503999"/>
          </a:xfrm>
          <a:prstGeom prst="rect">
            <a:avLst/>
          </a:prstGeom>
        </p:spPr>
      </p:pic>
      <p:sp>
        <p:nvSpPr>
          <p:cNvPr id="11" name="Text Placeholder 11">
            <a:extLst>
              <a:ext uri="{FF2B5EF4-FFF2-40B4-BE49-F238E27FC236}">
                <a16:creationId xmlns:a16="http://schemas.microsoft.com/office/drawing/2014/main" id="{70DB3614-7B90-4F5C-A1D3-A3493D9BE9D1}"/>
              </a:ext>
            </a:extLst>
          </p:cNvPr>
          <p:cNvSpPr>
            <a:spLocks noGrp="1"/>
          </p:cNvSpPr>
          <p:nvPr>
            <p:ph type="body" sz="quarter" idx="14" hasCustomPrompt="1"/>
          </p:nvPr>
        </p:nvSpPr>
        <p:spPr bwMode="gray">
          <a:xfrm>
            <a:off x="587388" y="1916113"/>
            <a:ext cx="5400662" cy="2989261"/>
          </a:xfrm>
        </p:spPr>
        <p:txBody>
          <a:bodyPr/>
          <a:lstStyle>
            <a:lvl1pPr>
              <a:spcAft>
                <a:spcPts val="0"/>
              </a:spcAft>
              <a:defRPr sz="1400" b="1">
                <a:solidFill>
                  <a:schemeClr val="tx1"/>
                </a:solidFill>
              </a:defRPr>
            </a:lvl1pPr>
            <a:lvl2pPr marL="0" indent="0">
              <a:spcAft>
                <a:spcPts val="1200"/>
              </a:spcAft>
              <a:buFontTx/>
              <a:buNone/>
              <a:tabLst>
                <a:tab pos="623888" algn="l"/>
              </a:tabLst>
              <a:defRPr sz="1400" b="0">
                <a:solidFill>
                  <a:schemeClr val="accent1"/>
                </a:solidFill>
              </a:defRPr>
            </a:lvl2pPr>
            <a:lvl3pPr marL="0" indent="0">
              <a:spcAft>
                <a:spcPts val="1200"/>
              </a:spcAft>
              <a:buFontTx/>
              <a:buNone/>
              <a:tabLst>
                <a:tab pos="623888" algn="l"/>
              </a:tabLst>
              <a:defRPr sz="1400">
                <a:solidFill>
                  <a:schemeClr val="tx1"/>
                </a:solidFill>
              </a:defRPr>
            </a:lvl3pPr>
            <a:lvl4pPr marL="0" indent="0">
              <a:spcAft>
                <a:spcPts val="1200"/>
              </a:spcAft>
              <a:buFontTx/>
              <a:buNone/>
              <a:tabLst>
                <a:tab pos="623888" algn="l"/>
              </a:tabLst>
              <a:defRPr sz="1400">
                <a:solidFill>
                  <a:schemeClr val="tx1"/>
                </a:solidFill>
              </a:defRPr>
            </a:lvl4pPr>
            <a:lvl5pPr marL="0" indent="0">
              <a:spcAft>
                <a:spcPts val="1200"/>
              </a:spcAft>
              <a:buFontTx/>
              <a:buNone/>
              <a:tabLst>
                <a:tab pos="623888" algn="l"/>
              </a:tabLst>
              <a:defRPr sz="1400">
                <a:solidFill>
                  <a:schemeClr val="tx1"/>
                </a:solidFill>
              </a:defRPr>
            </a:lvl5pPr>
            <a:lvl6pPr marL="0" indent="0">
              <a:spcAft>
                <a:spcPts val="1200"/>
              </a:spcAft>
              <a:buFontTx/>
              <a:buNone/>
              <a:tabLst>
                <a:tab pos="623888" algn="l"/>
              </a:tabLst>
              <a:defRPr sz="1400">
                <a:solidFill>
                  <a:schemeClr val="tx1"/>
                </a:solidFill>
              </a:defRPr>
            </a:lvl6pPr>
            <a:lvl7pPr marL="0" indent="0">
              <a:spcAft>
                <a:spcPts val="1200"/>
              </a:spcAft>
              <a:buFontTx/>
              <a:buNone/>
              <a:tabLst>
                <a:tab pos="623888" algn="l"/>
              </a:tabLst>
              <a:defRPr sz="1400">
                <a:solidFill>
                  <a:schemeClr val="tx1"/>
                </a:solidFill>
              </a:defRPr>
            </a:lvl7pPr>
            <a:lvl8pPr marL="0" indent="0">
              <a:spcAft>
                <a:spcPts val="1200"/>
              </a:spcAft>
              <a:buFontTx/>
              <a:buNone/>
              <a:tabLst>
                <a:tab pos="623888" algn="l"/>
              </a:tabLst>
              <a:defRPr sz="1400">
                <a:solidFill>
                  <a:schemeClr val="tx1"/>
                </a:solidFill>
              </a:defRPr>
            </a:lvl8pPr>
            <a:lvl9pPr marL="0" indent="0">
              <a:spcAft>
                <a:spcPts val="1200"/>
              </a:spcAft>
              <a:buFontTx/>
              <a:buNone/>
              <a:tabLst>
                <a:tab pos="623888" algn="l"/>
              </a:tabLst>
              <a:defRPr sz="14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pic>
        <p:nvPicPr>
          <p:cNvPr id="7" name="Grafik 6">
            <a:extLst>
              <a:ext uri="{FF2B5EF4-FFF2-40B4-BE49-F238E27FC236}">
                <a16:creationId xmlns:a16="http://schemas.microsoft.com/office/drawing/2014/main" id="{470456D1-6A5A-473E-89CD-A8F2AF0A0680}"/>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gray">
          <a:xfrm>
            <a:off x="587388" y="5787300"/>
            <a:ext cx="2127958" cy="342000"/>
          </a:xfrm>
          <a:prstGeom prst="rect">
            <a:avLst/>
          </a:prstGeom>
        </p:spPr>
      </p:pic>
    </p:spTree>
    <p:extLst>
      <p:ext uri="{BB962C8B-B14F-4D97-AF65-F5344CB8AC3E}">
        <p14:creationId xmlns:p14="http://schemas.microsoft.com/office/powerpoint/2010/main" val="3965746114"/>
      </p:ext>
    </p:extLst>
  </p:cSld>
  <p:clrMapOvr>
    <a:masterClrMapping/>
  </p:clrMapOvr>
  <p:extLst>
    <p:ext uri="{DCECCB84-F9BA-43D5-87BE-67443E8EF086}">
      <p15:sldGuideLst xmlns:p15="http://schemas.microsoft.com/office/powerpoint/2012/main">
        <p15:guide id="14" pos="370">
          <p15:clr>
            <a:srgbClr val="F26B43"/>
          </p15:clr>
        </p15:guide>
        <p15:guide id="15" orient="horz" pos="459">
          <p15:clr>
            <a:srgbClr val="F26B43"/>
          </p15:clr>
        </p15:guide>
        <p15:guide id="16" orient="horz" pos="3090">
          <p15:clr>
            <a:srgbClr val="A4A3A4"/>
          </p15:clr>
        </p15:guide>
        <p15:guide id="18" pos="7310">
          <p15:clr>
            <a:srgbClr val="F26B43"/>
          </p15:clr>
        </p15:guide>
        <p15:guide id="19" pos="3772">
          <p15:clr>
            <a:srgbClr val="F26B43"/>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One Contact | Colour">
    <p:bg>
      <p:bgPr>
        <a:solidFill>
          <a:schemeClr val="accent1"/>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74ED0C7-F172-403B-8CCF-4A59F17BE7E6}"/>
              </a:ext>
            </a:extLst>
          </p:cNvPr>
          <p:cNvGraphicFramePr>
            <a:graphicFrameLocks noChangeAspect="1"/>
          </p:cNvGraphicFramePr>
          <p:nvPr>
            <p:custDataLst>
              <p:tags r:id="rId2"/>
            </p:custDataLst>
            <p:extLst>
              <p:ext uri="{D42A27DB-BD31-4B8C-83A1-F6EECF244321}">
                <p14:modId xmlns:p14="http://schemas.microsoft.com/office/powerpoint/2010/main" val="771604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6" name="think-cell Slide" r:id="rId4" imgW="359" imgH="358" progId="TCLayout.ActiveDocument.1">
                  <p:embed/>
                </p:oleObj>
              </mc:Choice>
              <mc:Fallback>
                <p:oleObj name="think-cell Slide" r:id="rId4" imgW="359" imgH="358" progId="TCLayout.ActiveDocument.1">
                  <p:embed/>
                  <p:pic>
                    <p:nvPicPr>
                      <p:cNvPr id="7" name="Objekt 6" hidden="1">
                        <a:extLst>
                          <a:ext uri="{FF2B5EF4-FFF2-40B4-BE49-F238E27FC236}">
                            <a16:creationId xmlns:a16="http://schemas.microsoft.com/office/drawing/2014/main" id="{374ED0C7-F172-403B-8CCF-4A59F17BE7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A7ED93-264F-4FB5-815D-4481CAD4A5EA}"/>
              </a:ext>
            </a:extLst>
          </p:cNvPr>
          <p:cNvSpPr>
            <a:spLocks noGrp="1"/>
          </p:cNvSpPr>
          <p:nvPr>
            <p:ph type="title" hasCustomPrompt="1"/>
          </p:nvPr>
        </p:nvSpPr>
        <p:spPr bwMode="gray">
          <a:xfrm>
            <a:off x="587822" y="720001"/>
            <a:ext cx="5400228" cy="720000"/>
          </a:xfrm>
        </p:spPr>
        <p:txBody>
          <a:bodyPr vert="horz" bIns="0" anchor="b" anchorCtr="0"/>
          <a:lstStyle>
            <a:lvl1pPr algn="l">
              <a:defRPr sz="4300">
                <a:solidFill>
                  <a:schemeClr val="tx1"/>
                </a:solidFill>
              </a:defRPr>
            </a:lvl1pPr>
          </a:lstStyle>
          <a:p>
            <a:r>
              <a:rPr lang="en-GB" noProof="0"/>
              <a:t>Thank you! </a:t>
            </a:r>
          </a:p>
        </p:txBody>
      </p:sp>
      <p:sp>
        <p:nvSpPr>
          <p:cNvPr id="12" name="Text Placeholder 11">
            <a:extLst>
              <a:ext uri="{FF2B5EF4-FFF2-40B4-BE49-F238E27FC236}">
                <a16:creationId xmlns:a16="http://schemas.microsoft.com/office/drawing/2014/main" id="{6B5F4F39-9BD2-4A66-B513-1788650F19BF}"/>
              </a:ext>
            </a:extLst>
          </p:cNvPr>
          <p:cNvSpPr>
            <a:spLocks noGrp="1"/>
          </p:cNvSpPr>
          <p:nvPr>
            <p:ph type="body" sz="quarter" idx="14" hasCustomPrompt="1"/>
          </p:nvPr>
        </p:nvSpPr>
        <p:spPr bwMode="gray">
          <a:xfrm>
            <a:off x="587388" y="1916113"/>
            <a:ext cx="5400662" cy="2989261"/>
          </a:xfrm>
        </p:spPr>
        <p:txBody>
          <a:bodyPr/>
          <a:lstStyle>
            <a:lvl1pPr>
              <a:spcAft>
                <a:spcPts val="0"/>
              </a:spcAft>
              <a:defRPr sz="1400" b="1">
                <a:solidFill>
                  <a:schemeClr val="tx1"/>
                </a:solidFill>
              </a:defRPr>
            </a:lvl1pPr>
            <a:lvl2pPr marL="0" indent="0">
              <a:spcAft>
                <a:spcPts val="1200"/>
              </a:spcAft>
              <a:buFontTx/>
              <a:buNone/>
              <a:tabLst>
                <a:tab pos="623888" algn="l"/>
              </a:tabLst>
              <a:defRPr sz="1400" b="0">
                <a:solidFill>
                  <a:schemeClr val="tx1"/>
                </a:solidFill>
              </a:defRPr>
            </a:lvl2pPr>
            <a:lvl3pPr marL="0" indent="0">
              <a:spcAft>
                <a:spcPts val="1200"/>
              </a:spcAft>
              <a:buFontTx/>
              <a:buNone/>
              <a:tabLst>
                <a:tab pos="623888" algn="l"/>
              </a:tabLst>
              <a:defRPr sz="1400">
                <a:solidFill>
                  <a:schemeClr val="tx1"/>
                </a:solidFill>
              </a:defRPr>
            </a:lvl3pPr>
            <a:lvl4pPr marL="0" indent="0">
              <a:spcAft>
                <a:spcPts val="1200"/>
              </a:spcAft>
              <a:buFontTx/>
              <a:buNone/>
              <a:tabLst>
                <a:tab pos="623888" algn="l"/>
              </a:tabLst>
              <a:defRPr sz="1400">
                <a:solidFill>
                  <a:schemeClr val="tx1"/>
                </a:solidFill>
              </a:defRPr>
            </a:lvl4pPr>
            <a:lvl5pPr marL="0" indent="0">
              <a:spcAft>
                <a:spcPts val="1200"/>
              </a:spcAft>
              <a:buFontTx/>
              <a:buNone/>
              <a:tabLst>
                <a:tab pos="623888" algn="l"/>
              </a:tabLst>
              <a:defRPr sz="1400">
                <a:solidFill>
                  <a:schemeClr val="tx1"/>
                </a:solidFill>
              </a:defRPr>
            </a:lvl5pPr>
            <a:lvl6pPr marL="0" indent="0">
              <a:spcAft>
                <a:spcPts val="1200"/>
              </a:spcAft>
              <a:buFontTx/>
              <a:buNone/>
              <a:tabLst>
                <a:tab pos="623888" algn="l"/>
              </a:tabLst>
              <a:defRPr sz="1400">
                <a:solidFill>
                  <a:schemeClr val="tx1"/>
                </a:solidFill>
              </a:defRPr>
            </a:lvl6pPr>
            <a:lvl7pPr marL="0" indent="0">
              <a:spcAft>
                <a:spcPts val="1200"/>
              </a:spcAft>
              <a:buFontTx/>
              <a:buNone/>
              <a:tabLst>
                <a:tab pos="623888" algn="l"/>
              </a:tabLst>
              <a:defRPr sz="1400">
                <a:solidFill>
                  <a:schemeClr val="tx1"/>
                </a:solidFill>
              </a:defRPr>
            </a:lvl7pPr>
            <a:lvl8pPr marL="0" indent="0">
              <a:spcAft>
                <a:spcPts val="1200"/>
              </a:spcAft>
              <a:buFontTx/>
              <a:buNone/>
              <a:tabLst>
                <a:tab pos="623888" algn="l"/>
              </a:tabLst>
              <a:defRPr sz="1400">
                <a:solidFill>
                  <a:schemeClr val="tx1"/>
                </a:solidFill>
              </a:defRPr>
            </a:lvl8pPr>
            <a:lvl9pPr marL="0" indent="0">
              <a:spcAft>
                <a:spcPts val="1200"/>
              </a:spcAft>
              <a:buFontTx/>
              <a:buNone/>
              <a:tabLst>
                <a:tab pos="623888" algn="l"/>
              </a:tabLst>
              <a:defRPr sz="14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pic>
        <p:nvPicPr>
          <p:cNvPr id="6" name="Grafik 5">
            <a:extLst>
              <a:ext uri="{FF2B5EF4-FFF2-40B4-BE49-F238E27FC236}">
                <a16:creationId xmlns:a16="http://schemas.microsoft.com/office/drawing/2014/main" id="{37E30FE6-34FE-44B0-991B-825BA39184E3}"/>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bwMode="gray">
          <a:xfrm>
            <a:off x="587388" y="5787300"/>
            <a:ext cx="2127958" cy="342000"/>
          </a:xfrm>
          <a:prstGeom prst="rect">
            <a:avLst/>
          </a:prstGeom>
        </p:spPr>
      </p:pic>
    </p:spTree>
    <p:extLst>
      <p:ext uri="{BB962C8B-B14F-4D97-AF65-F5344CB8AC3E}">
        <p14:creationId xmlns:p14="http://schemas.microsoft.com/office/powerpoint/2010/main" val="3025173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3772">
          <p15:clr>
            <a:srgbClr val="F26B43"/>
          </p15:clr>
        </p15:guide>
        <p15:guide id="14" pos="370">
          <p15:clr>
            <a:srgbClr val="F26B43"/>
          </p15:clr>
        </p15:guide>
        <p15:guide id="15" orient="horz" pos="459">
          <p15:clr>
            <a:srgbClr val="F26B43"/>
          </p15:clr>
        </p15:guide>
        <p15:guide id="16" orient="horz" pos="3090">
          <p15:clr>
            <a:srgbClr val="A4A3A4"/>
          </p15:clr>
        </p15:guide>
        <p15:guide id="18" pos="7310">
          <p15:clr>
            <a:srgbClr val="F26B43"/>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ntacts | White">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C6DE9DE-F2F9-4FDA-8FA3-8BF1AF250371}"/>
              </a:ext>
            </a:extLst>
          </p:cNvPr>
          <p:cNvGraphicFramePr>
            <a:graphicFrameLocks noChangeAspect="1"/>
          </p:cNvGraphicFramePr>
          <p:nvPr>
            <p:custDataLst>
              <p:tags r:id="rId2"/>
            </p:custDataLst>
            <p:extLst>
              <p:ext uri="{D42A27DB-BD31-4B8C-83A1-F6EECF244321}">
                <p14:modId xmlns:p14="http://schemas.microsoft.com/office/powerpoint/2010/main" val="3028030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0" name="think-cell Slide" r:id="rId4" imgW="359" imgH="358" progId="TCLayout.ActiveDocument.1">
                  <p:embed/>
                </p:oleObj>
              </mc:Choice>
              <mc:Fallback>
                <p:oleObj name="think-cell Slide" r:id="rId4" imgW="359" imgH="358" progId="TCLayout.ActiveDocument.1">
                  <p:embed/>
                  <p:pic>
                    <p:nvPicPr>
                      <p:cNvPr id="7" name="Objekt 6" hidden="1">
                        <a:extLst>
                          <a:ext uri="{FF2B5EF4-FFF2-40B4-BE49-F238E27FC236}">
                            <a16:creationId xmlns:a16="http://schemas.microsoft.com/office/drawing/2014/main" id="{8C6DE9DE-F2F9-4FDA-8FA3-8BF1AF2503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A7ED93-264F-4FB5-815D-4481CAD4A5EA}"/>
              </a:ext>
            </a:extLst>
          </p:cNvPr>
          <p:cNvSpPr>
            <a:spLocks noGrp="1"/>
          </p:cNvSpPr>
          <p:nvPr>
            <p:ph type="title" hasCustomPrompt="1"/>
          </p:nvPr>
        </p:nvSpPr>
        <p:spPr bwMode="gray">
          <a:xfrm>
            <a:off x="587375" y="728700"/>
            <a:ext cx="5400669" cy="719783"/>
          </a:xfrm>
        </p:spPr>
        <p:txBody>
          <a:bodyPr vert="horz" bIns="0" anchor="b" anchorCtr="0"/>
          <a:lstStyle>
            <a:lvl1pPr algn="l">
              <a:defRPr sz="4300">
                <a:solidFill>
                  <a:schemeClr val="accent1"/>
                </a:solidFill>
              </a:defRPr>
            </a:lvl1pPr>
          </a:lstStyle>
          <a:p>
            <a:r>
              <a:rPr lang="en-GB" noProof="0"/>
              <a:t>Contact</a:t>
            </a:r>
          </a:p>
        </p:txBody>
      </p:sp>
      <p:pic>
        <p:nvPicPr>
          <p:cNvPr id="3" name="Grafik 2">
            <a:extLst>
              <a:ext uri="{FF2B5EF4-FFF2-40B4-BE49-F238E27FC236}">
                <a16:creationId xmlns:a16="http://schemas.microsoft.com/office/drawing/2014/main" id="{2608446A-11B3-4DB8-BD2F-089747ACC3FD}"/>
              </a:ext>
            </a:extLst>
          </p:cNvPr>
          <p:cNvPicPr>
            <a:picLocks noChangeAspect="1"/>
          </p:cNvPicPr>
          <p:nvPr/>
        </p:nvPicPr>
        <p:blipFill>
          <a:blip r:embed="rId6" cstate="screen">
            <a:extLst>
              <a:ext uri="{28A0092B-C50C-407E-A947-70E740481C1C}">
                <a14:useLocalDpi xmlns:a14="http://schemas.microsoft.com/office/drawing/2010/main" val="0"/>
              </a:ext>
            </a:extLst>
          </a:blip>
          <a:srcRect/>
          <a:stretch/>
        </p:blipFill>
        <p:spPr bwMode="gray">
          <a:xfrm>
            <a:off x="731404" y="5625301"/>
            <a:ext cx="2743267" cy="503999"/>
          </a:xfrm>
          <a:prstGeom prst="rect">
            <a:avLst/>
          </a:prstGeom>
        </p:spPr>
      </p:pic>
      <p:sp>
        <p:nvSpPr>
          <p:cNvPr id="14" name="Text Placeholder 11">
            <a:extLst>
              <a:ext uri="{FF2B5EF4-FFF2-40B4-BE49-F238E27FC236}">
                <a16:creationId xmlns:a16="http://schemas.microsoft.com/office/drawing/2014/main" id="{5B0ABBEB-0D17-4549-8CD5-306502D09041}"/>
              </a:ext>
            </a:extLst>
          </p:cNvPr>
          <p:cNvSpPr>
            <a:spLocks noGrp="1"/>
          </p:cNvSpPr>
          <p:nvPr>
            <p:ph type="body" sz="quarter" idx="14" hasCustomPrompt="1"/>
          </p:nvPr>
        </p:nvSpPr>
        <p:spPr bwMode="gray">
          <a:xfrm>
            <a:off x="587375" y="1916113"/>
            <a:ext cx="5400675" cy="2989261"/>
          </a:xfrm>
        </p:spPr>
        <p:txBody>
          <a:bodyPr/>
          <a:lstStyle>
            <a:lvl1pPr>
              <a:spcAft>
                <a:spcPts val="0"/>
              </a:spcAft>
              <a:defRPr sz="1400" b="1">
                <a:solidFill>
                  <a:schemeClr val="tx1"/>
                </a:solidFill>
              </a:defRPr>
            </a:lvl1pPr>
            <a:lvl2pPr marL="0" indent="0">
              <a:spcAft>
                <a:spcPts val="1200"/>
              </a:spcAft>
              <a:buFontTx/>
              <a:buNone/>
              <a:tabLst>
                <a:tab pos="623888" algn="l"/>
              </a:tabLst>
              <a:defRPr sz="1400" b="0">
                <a:solidFill>
                  <a:schemeClr val="accent1"/>
                </a:solidFill>
              </a:defRPr>
            </a:lvl2pPr>
            <a:lvl3pPr marL="0" indent="0">
              <a:spcAft>
                <a:spcPts val="1200"/>
              </a:spcAft>
              <a:buFontTx/>
              <a:buNone/>
              <a:tabLst>
                <a:tab pos="623888" algn="l"/>
              </a:tabLst>
              <a:defRPr sz="1400">
                <a:solidFill>
                  <a:schemeClr val="tx1"/>
                </a:solidFill>
              </a:defRPr>
            </a:lvl3pPr>
            <a:lvl4pPr marL="0" indent="0">
              <a:spcAft>
                <a:spcPts val="1200"/>
              </a:spcAft>
              <a:buFontTx/>
              <a:buNone/>
              <a:tabLst>
                <a:tab pos="623888" algn="l"/>
              </a:tabLst>
              <a:defRPr sz="1400">
                <a:solidFill>
                  <a:schemeClr val="tx1"/>
                </a:solidFill>
              </a:defRPr>
            </a:lvl4pPr>
            <a:lvl5pPr marL="0" indent="0">
              <a:spcAft>
                <a:spcPts val="1200"/>
              </a:spcAft>
              <a:buFontTx/>
              <a:buNone/>
              <a:tabLst>
                <a:tab pos="623888" algn="l"/>
              </a:tabLst>
              <a:defRPr sz="1400">
                <a:solidFill>
                  <a:schemeClr val="tx1"/>
                </a:solidFill>
              </a:defRPr>
            </a:lvl5pPr>
            <a:lvl6pPr marL="0" indent="0">
              <a:spcAft>
                <a:spcPts val="1200"/>
              </a:spcAft>
              <a:buFontTx/>
              <a:buNone/>
              <a:tabLst>
                <a:tab pos="623888" algn="l"/>
              </a:tabLst>
              <a:defRPr sz="1400">
                <a:solidFill>
                  <a:schemeClr val="tx1"/>
                </a:solidFill>
              </a:defRPr>
            </a:lvl6pPr>
            <a:lvl7pPr marL="0" indent="0">
              <a:spcAft>
                <a:spcPts val="1200"/>
              </a:spcAft>
              <a:buFontTx/>
              <a:buNone/>
              <a:tabLst>
                <a:tab pos="623888" algn="l"/>
              </a:tabLst>
              <a:defRPr sz="1400">
                <a:solidFill>
                  <a:schemeClr val="tx1"/>
                </a:solidFill>
              </a:defRPr>
            </a:lvl7pPr>
            <a:lvl8pPr marL="0" indent="0">
              <a:spcAft>
                <a:spcPts val="1200"/>
              </a:spcAft>
              <a:buFontTx/>
              <a:buNone/>
              <a:tabLst>
                <a:tab pos="623888" algn="l"/>
              </a:tabLst>
              <a:defRPr sz="1400">
                <a:solidFill>
                  <a:schemeClr val="tx1"/>
                </a:solidFill>
              </a:defRPr>
            </a:lvl8pPr>
            <a:lvl9pPr marL="0" indent="0">
              <a:spcAft>
                <a:spcPts val="1200"/>
              </a:spcAft>
              <a:buFontTx/>
              <a:buNone/>
              <a:tabLst>
                <a:tab pos="623888" algn="l"/>
              </a:tabLst>
              <a:defRPr sz="14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5" name="Text Placeholder 11">
            <a:extLst>
              <a:ext uri="{FF2B5EF4-FFF2-40B4-BE49-F238E27FC236}">
                <a16:creationId xmlns:a16="http://schemas.microsoft.com/office/drawing/2014/main" id="{D28366E5-48C1-48F5-9172-04DA025F0867}"/>
              </a:ext>
            </a:extLst>
          </p:cNvPr>
          <p:cNvSpPr>
            <a:spLocks noGrp="1"/>
          </p:cNvSpPr>
          <p:nvPr>
            <p:ph type="body" sz="quarter" idx="16" hasCustomPrompt="1"/>
          </p:nvPr>
        </p:nvSpPr>
        <p:spPr bwMode="gray">
          <a:xfrm>
            <a:off x="6203949" y="1916113"/>
            <a:ext cx="5400675" cy="2989261"/>
          </a:xfrm>
        </p:spPr>
        <p:txBody>
          <a:bodyPr/>
          <a:lstStyle>
            <a:lvl1pPr>
              <a:spcAft>
                <a:spcPts val="0"/>
              </a:spcAft>
              <a:defRPr sz="1400" b="1">
                <a:solidFill>
                  <a:schemeClr val="tx1"/>
                </a:solidFill>
              </a:defRPr>
            </a:lvl1pPr>
            <a:lvl2pPr marL="0" indent="0">
              <a:spcAft>
                <a:spcPts val="1200"/>
              </a:spcAft>
              <a:buFontTx/>
              <a:buNone/>
              <a:tabLst>
                <a:tab pos="623888" algn="l"/>
              </a:tabLst>
              <a:defRPr sz="1400" b="0">
                <a:solidFill>
                  <a:schemeClr val="accent1"/>
                </a:solidFill>
              </a:defRPr>
            </a:lvl2pPr>
            <a:lvl3pPr marL="0" indent="0">
              <a:spcAft>
                <a:spcPts val="1200"/>
              </a:spcAft>
              <a:buFontTx/>
              <a:buNone/>
              <a:tabLst>
                <a:tab pos="623888" algn="l"/>
              </a:tabLst>
              <a:defRPr sz="1400">
                <a:solidFill>
                  <a:schemeClr val="tx1"/>
                </a:solidFill>
              </a:defRPr>
            </a:lvl3pPr>
            <a:lvl4pPr marL="0" indent="0">
              <a:spcAft>
                <a:spcPts val="1200"/>
              </a:spcAft>
              <a:buFontTx/>
              <a:buNone/>
              <a:tabLst>
                <a:tab pos="623888" algn="l"/>
              </a:tabLst>
              <a:defRPr sz="1400">
                <a:solidFill>
                  <a:schemeClr val="tx1"/>
                </a:solidFill>
              </a:defRPr>
            </a:lvl4pPr>
            <a:lvl5pPr marL="0" indent="0">
              <a:spcAft>
                <a:spcPts val="1200"/>
              </a:spcAft>
              <a:buFontTx/>
              <a:buNone/>
              <a:tabLst>
                <a:tab pos="623888" algn="l"/>
              </a:tabLst>
              <a:defRPr sz="1400">
                <a:solidFill>
                  <a:schemeClr val="tx1"/>
                </a:solidFill>
              </a:defRPr>
            </a:lvl5pPr>
            <a:lvl6pPr marL="0" indent="0">
              <a:spcAft>
                <a:spcPts val="1200"/>
              </a:spcAft>
              <a:buFontTx/>
              <a:buNone/>
              <a:tabLst>
                <a:tab pos="623888" algn="l"/>
              </a:tabLst>
              <a:defRPr sz="1400">
                <a:solidFill>
                  <a:schemeClr val="tx1"/>
                </a:solidFill>
              </a:defRPr>
            </a:lvl6pPr>
            <a:lvl7pPr marL="0" indent="0">
              <a:spcAft>
                <a:spcPts val="1200"/>
              </a:spcAft>
              <a:buFontTx/>
              <a:buNone/>
              <a:tabLst>
                <a:tab pos="623888" algn="l"/>
              </a:tabLst>
              <a:defRPr sz="1400">
                <a:solidFill>
                  <a:schemeClr val="tx1"/>
                </a:solidFill>
              </a:defRPr>
            </a:lvl7pPr>
            <a:lvl8pPr marL="0" indent="0">
              <a:spcAft>
                <a:spcPts val="1200"/>
              </a:spcAft>
              <a:buFontTx/>
              <a:buNone/>
              <a:tabLst>
                <a:tab pos="623888" algn="l"/>
              </a:tabLst>
              <a:defRPr sz="1400">
                <a:solidFill>
                  <a:schemeClr val="tx1"/>
                </a:solidFill>
              </a:defRPr>
            </a:lvl8pPr>
            <a:lvl9pPr marL="0" indent="0">
              <a:spcAft>
                <a:spcPts val="1200"/>
              </a:spcAft>
              <a:buFontTx/>
              <a:buNone/>
              <a:tabLst>
                <a:tab pos="623888" algn="l"/>
              </a:tabLst>
              <a:defRPr sz="14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pic>
        <p:nvPicPr>
          <p:cNvPr id="8" name="Grafik 7">
            <a:extLst>
              <a:ext uri="{FF2B5EF4-FFF2-40B4-BE49-F238E27FC236}">
                <a16:creationId xmlns:a16="http://schemas.microsoft.com/office/drawing/2014/main" id="{E678DBDE-080C-48C1-B2B5-6B1C4289C2F0}"/>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gray">
          <a:xfrm>
            <a:off x="587388" y="5787300"/>
            <a:ext cx="2127958" cy="342000"/>
          </a:xfrm>
          <a:prstGeom prst="rect">
            <a:avLst/>
          </a:prstGeom>
        </p:spPr>
      </p:pic>
    </p:spTree>
    <p:extLst>
      <p:ext uri="{BB962C8B-B14F-4D97-AF65-F5344CB8AC3E}">
        <p14:creationId xmlns:p14="http://schemas.microsoft.com/office/powerpoint/2010/main" val="381683653"/>
      </p:ext>
    </p:extLst>
  </p:cSld>
  <p:clrMapOvr>
    <a:masterClrMapping/>
  </p:clrMapOvr>
  <p:extLst>
    <p:ext uri="{DCECCB84-F9BA-43D5-87BE-67443E8EF086}">
      <p15:sldGuideLst xmlns:p15="http://schemas.microsoft.com/office/powerpoint/2012/main">
        <p15:guide id="3" pos="3772">
          <p15:clr>
            <a:srgbClr val="F26B43"/>
          </p15:clr>
        </p15:guide>
        <p15:guide id="14" pos="370">
          <p15:clr>
            <a:srgbClr val="F26B43"/>
          </p15:clr>
        </p15:guide>
        <p15:guide id="15" pos="7310">
          <p15:clr>
            <a:srgbClr val="F26B43"/>
          </p15:clr>
        </p15:guide>
        <p15:guide id="16" pos="3908">
          <p15:clr>
            <a:srgbClr val="F26B43"/>
          </p15:clr>
        </p15:guide>
        <p15:guide id="17" orient="horz" pos="459">
          <p15:clr>
            <a:srgbClr val="F26B43"/>
          </p15:clr>
        </p15:guide>
        <p15:guide id="18" orient="horz" pos="3090">
          <p15:clr>
            <a:srgbClr val="A4A3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Contacts | Colour">
    <p:bg>
      <p:bgPr>
        <a:solidFill>
          <a:schemeClr val="accent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F2D65AD-575D-4A11-A63F-A6D9520871C3}"/>
              </a:ext>
            </a:extLst>
          </p:cNvPr>
          <p:cNvGraphicFramePr>
            <a:graphicFrameLocks noChangeAspect="1"/>
          </p:cNvGraphicFramePr>
          <p:nvPr>
            <p:custDataLst>
              <p:tags r:id="rId2"/>
            </p:custDataLst>
            <p:extLst>
              <p:ext uri="{D42A27DB-BD31-4B8C-83A1-F6EECF244321}">
                <p14:modId xmlns:p14="http://schemas.microsoft.com/office/powerpoint/2010/main" val="2443217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4" name="think-cell Slide" r:id="rId4" imgW="359" imgH="358" progId="TCLayout.ActiveDocument.1">
                  <p:embed/>
                </p:oleObj>
              </mc:Choice>
              <mc:Fallback>
                <p:oleObj name="think-cell Slide" r:id="rId4" imgW="359" imgH="358" progId="TCLayout.ActiveDocument.1">
                  <p:embed/>
                  <p:pic>
                    <p:nvPicPr>
                      <p:cNvPr id="5" name="Objekt 4" hidden="1">
                        <a:extLst>
                          <a:ext uri="{FF2B5EF4-FFF2-40B4-BE49-F238E27FC236}">
                            <a16:creationId xmlns:a16="http://schemas.microsoft.com/office/drawing/2014/main" id="{9F2D65AD-575D-4A11-A63F-A6D9520871C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A7ED93-264F-4FB5-815D-4481CAD4A5EA}"/>
              </a:ext>
            </a:extLst>
          </p:cNvPr>
          <p:cNvSpPr>
            <a:spLocks noGrp="1"/>
          </p:cNvSpPr>
          <p:nvPr>
            <p:ph type="title" hasCustomPrompt="1"/>
          </p:nvPr>
        </p:nvSpPr>
        <p:spPr bwMode="gray">
          <a:xfrm>
            <a:off x="587375" y="720001"/>
            <a:ext cx="5400675" cy="720000"/>
          </a:xfrm>
        </p:spPr>
        <p:txBody>
          <a:bodyPr vert="horz" bIns="0" anchor="b" anchorCtr="0"/>
          <a:lstStyle>
            <a:lvl1pPr algn="l">
              <a:defRPr sz="4300">
                <a:solidFill>
                  <a:schemeClr val="tx1"/>
                </a:solidFill>
              </a:defRPr>
            </a:lvl1pPr>
          </a:lstStyle>
          <a:p>
            <a:r>
              <a:rPr lang="en-GB" noProof="0"/>
              <a:t>Contact</a:t>
            </a:r>
          </a:p>
        </p:txBody>
      </p:sp>
      <p:sp>
        <p:nvSpPr>
          <p:cNvPr id="11" name="Text Placeholder 11">
            <a:extLst>
              <a:ext uri="{FF2B5EF4-FFF2-40B4-BE49-F238E27FC236}">
                <a16:creationId xmlns:a16="http://schemas.microsoft.com/office/drawing/2014/main" id="{3516DCBD-CE02-4D01-B758-CD2777F46988}"/>
              </a:ext>
            </a:extLst>
          </p:cNvPr>
          <p:cNvSpPr>
            <a:spLocks noGrp="1"/>
          </p:cNvSpPr>
          <p:nvPr>
            <p:ph type="body" sz="quarter" idx="14" hasCustomPrompt="1"/>
          </p:nvPr>
        </p:nvSpPr>
        <p:spPr bwMode="gray">
          <a:xfrm>
            <a:off x="587375" y="1916113"/>
            <a:ext cx="5400675" cy="2989261"/>
          </a:xfrm>
        </p:spPr>
        <p:txBody>
          <a:bodyPr/>
          <a:lstStyle>
            <a:lvl1pPr>
              <a:spcAft>
                <a:spcPts val="0"/>
              </a:spcAft>
              <a:defRPr sz="1400" b="1">
                <a:solidFill>
                  <a:schemeClr val="tx1"/>
                </a:solidFill>
              </a:defRPr>
            </a:lvl1pPr>
            <a:lvl2pPr marL="0" indent="0">
              <a:spcAft>
                <a:spcPts val="1200"/>
              </a:spcAft>
              <a:buFontTx/>
              <a:buNone/>
              <a:tabLst>
                <a:tab pos="623888" algn="l"/>
              </a:tabLst>
              <a:defRPr sz="1400" b="0">
                <a:solidFill>
                  <a:schemeClr val="tx1"/>
                </a:solidFill>
              </a:defRPr>
            </a:lvl2pPr>
            <a:lvl3pPr marL="0" indent="0">
              <a:spcAft>
                <a:spcPts val="1200"/>
              </a:spcAft>
              <a:buFontTx/>
              <a:buNone/>
              <a:tabLst>
                <a:tab pos="623888" algn="l"/>
              </a:tabLst>
              <a:defRPr sz="1400">
                <a:solidFill>
                  <a:schemeClr val="tx1"/>
                </a:solidFill>
              </a:defRPr>
            </a:lvl3pPr>
            <a:lvl4pPr marL="0" indent="0">
              <a:spcAft>
                <a:spcPts val="1200"/>
              </a:spcAft>
              <a:buFontTx/>
              <a:buNone/>
              <a:tabLst>
                <a:tab pos="623888" algn="l"/>
              </a:tabLst>
              <a:defRPr sz="1400">
                <a:solidFill>
                  <a:schemeClr val="tx1"/>
                </a:solidFill>
              </a:defRPr>
            </a:lvl4pPr>
            <a:lvl5pPr marL="0" indent="0">
              <a:spcAft>
                <a:spcPts val="1200"/>
              </a:spcAft>
              <a:buFontTx/>
              <a:buNone/>
              <a:tabLst>
                <a:tab pos="623888" algn="l"/>
              </a:tabLst>
              <a:defRPr sz="1400">
                <a:solidFill>
                  <a:schemeClr val="tx1"/>
                </a:solidFill>
              </a:defRPr>
            </a:lvl5pPr>
            <a:lvl6pPr marL="0" indent="0">
              <a:spcAft>
                <a:spcPts val="1200"/>
              </a:spcAft>
              <a:buFontTx/>
              <a:buNone/>
              <a:tabLst>
                <a:tab pos="623888" algn="l"/>
              </a:tabLst>
              <a:defRPr sz="1400">
                <a:solidFill>
                  <a:schemeClr val="tx1"/>
                </a:solidFill>
              </a:defRPr>
            </a:lvl6pPr>
            <a:lvl7pPr marL="0" indent="0">
              <a:spcAft>
                <a:spcPts val="1200"/>
              </a:spcAft>
              <a:buFontTx/>
              <a:buNone/>
              <a:tabLst>
                <a:tab pos="623888" algn="l"/>
              </a:tabLst>
              <a:defRPr sz="1400">
                <a:solidFill>
                  <a:schemeClr val="tx1"/>
                </a:solidFill>
              </a:defRPr>
            </a:lvl7pPr>
            <a:lvl8pPr marL="0" indent="0">
              <a:spcAft>
                <a:spcPts val="1200"/>
              </a:spcAft>
              <a:buFontTx/>
              <a:buNone/>
              <a:tabLst>
                <a:tab pos="623888" algn="l"/>
              </a:tabLst>
              <a:defRPr sz="1400">
                <a:solidFill>
                  <a:schemeClr val="tx1"/>
                </a:solidFill>
              </a:defRPr>
            </a:lvl8pPr>
            <a:lvl9pPr marL="0" indent="0">
              <a:spcAft>
                <a:spcPts val="1200"/>
              </a:spcAft>
              <a:buFontTx/>
              <a:buNone/>
              <a:tabLst>
                <a:tab pos="623888" algn="l"/>
              </a:tabLst>
              <a:defRPr sz="14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2" name="Text Placeholder 11">
            <a:extLst>
              <a:ext uri="{FF2B5EF4-FFF2-40B4-BE49-F238E27FC236}">
                <a16:creationId xmlns:a16="http://schemas.microsoft.com/office/drawing/2014/main" id="{3BAC1541-3AFA-41EF-A61C-2D0163E86682}"/>
              </a:ext>
            </a:extLst>
          </p:cNvPr>
          <p:cNvSpPr>
            <a:spLocks noGrp="1"/>
          </p:cNvSpPr>
          <p:nvPr>
            <p:ph type="body" sz="quarter" idx="16" hasCustomPrompt="1"/>
          </p:nvPr>
        </p:nvSpPr>
        <p:spPr bwMode="gray">
          <a:xfrm>
            <a:off x="6203949" y="1916113"/>
            <a:ext cx="5400675" cy="2989261"/>
          </a:xfrm>
        </p:spPr>
        <p:txBody>
          <a:bodyPr/>
          <a:lstStyle>
            <a:lvl1pPr>
              <a:spcAft>
                <a:spcPts val="0"/>
              </a:spcAft>
              <a:defRPr sz="1400" b="1">
                <a:solidFill>
                  <a:schemeClr val="tx1"/>
                </a:solidFill>
              </a:defRPr>
            </a:lvl1pPr>
            <a:lvl2pPr marL="0" indent="0">
              <a:spcAft>
                <a:spcPts val="1200"/>
              </a:spcAft>
              <a:buFontTx/>
              <a:buNone/>
              <a:tabLst>
                <a:tab pos="623888" algn="l"/>
              </a:tabLst>
              <a:defRPr sz="1400" b="0">
                <a:solidFill>
                  <a:schemeClr val="tx1"/>
                </a:solidFill>
              </a:defRPr>
            </a:lvl2pPr>
            <a:lvl3pPr marL="0" indent="0">
              <a:spcAft>
                <a:spcPts val="1200"/>
              </a:spcAft>
              <a:buFontTx/>
              <a:buNone/>
              <a:tabLst>
                <a:tab pos="623888" algn="l"/>
              </a:tabLst>
              <a:defRPr sz="1400">
                <a:solidFill>
                  <a:schemeClr val="tx1"/>
                </a:solidFill>
              </a:defRPr>
            </a:lvl3pPr>
            <a:lvl4pPr marL="0" indent="0">
              <a:spcAft>
                <a:spcPts val="1200"/>
              </a:spcAft>
              <a:buFontTx/>
              <a:buNone/>
              <a:tabLst>
                <a:tab pos="623888" algn="l"/>
              </a:tabLst>
              <a:defRPr sz="1400">
                <a:solidFill>
                  <a:schemeClr val="tx1"/>
                </a:solidFill>
              </a:defRPr>
            </a:lvl4pPr>
            <a:lvl5pPr marL="0" indent="0">
              <a:spcAft>
                <a:spcPts val="1200"/>
              </a:spcAft>
              <a:buFontTx/>
              <a:buNone/>
              <a:tabLst>
                <a:tab pos="623888" algn="l"/>
              </a:tabLst>
              <a:defRPr sz="1400">
                <a:solidFill>
                  <a:schemeClr val="tx1"/>
                </a:solidFill>
              </a:defRPr>
            </a:lvl5pPr>
            <a:lvl6pPr marL="0" indent="0">
              <a:spcAft>
                <a:spcPts val="1200"/>
              </a:spcAft>
              <a:buFontTx/>
              <a:buNone/>
              <a:tabLst>
                <a:tab pos="623888" algn="l"/>
              </a:tabLst>
              <a:defRPr sz="1400">
                <a:solidFill>
                  <a:schemeClr val="tx1"/>
                </a:solidFill>
              </a:defRPr>
            </a:lvl6pPr>
            <a:lvl7pPr marL="0" indent="0">
              <a:spcAft>
                <a:spcPts val="1200"/>
              </a:spcAft>
              <a:buFontTx/>
              <a:buNone/>
              <a:tabLst>
                <a:tab pos="623888" algn="l"/>
              </a:tabLst>
              <a:defRPr sz="1400">
                <a:solidFill>
                  <a:schemeClr val="tx1"/>
                </a:solidFill>
              </a:defRPr>
            </a:lvl7pPr>
            <a:lvl8pPr marL="0" indent="0">
              <a:spcAft>
                <a:spcPts val="1200"/>
              </a:spcAft>
              <a:buFontTx/>
              <a:buNone/>
              <a:tabLst>
                <a:tab pos="623888" algn="l"/>
              </a:tabLst>
              <a:defRPr sz="1400">
                <a:solidFill>
                  <a:schemeClr val="tx1"/>
                </a:solidFill>
              </a:defRPr>
            </a:lvl8pPr>
            <a:lvl9pPr marL="0" indent="0">
              <a:spcAft>
                <a:spcPts val="1200"/>
              </a:spcAft>
              <a:buFontTx/>
              <a:buNone/>
              <a:tabLst>
                <a:tab pos="623888" algn="l"/>
              </a:tabLst>
              <a:defRPr sz="14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pic>
        <p:nvPicPr>
          <p:cNvPr id="7" name="Grafik 6">
            <a:extLst>
              <a:ext uri="{FF2B5EF4-FFF2-40B4-BE49-F238E27FC236}">
                <a16:creationId xmlns:a16="http://schemas.microsoft.com/office/drawing/2014/main" id="{D3CDEE5C-0EA4-4C8C-859C-F8AE0B631855}"/>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bwMode="gray">
          <a:xfrm>
            <a:off x="587388" y="5787300"/>
            <a:ext cx="2127958" cy="342000"/>
          </a:xfrm>
          <a:prstGeom prst="rect">
            <a:avLst/>
          </a:prstGeom>
        </p:spPr>
      </p:pic>
    </p:spTree>
    <p:extLst>
      <p:ext uri="{BB962C8B-B14F-4D97-AF65-F5344CB8AC3E}">
        <p14:creationId xmlns:p14="http://schemas.microsoft.com/office/powerpoint/2010/main" val="74104709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3772">
          <p15:clr>
            <a:srgbClr val="F26B43"/>
          </p15:clr>
        </p15:guide>
        <p15:guide id="14" pos="370">
          <p15:clr>
            <a:srgbClr val="F26B43"/>
          </p15:clr>
        </p15:guide>
        <p15:guide id="15" pos="7310">
          <p15:clr>
            <a:srgbClr val="F26B43"/>
          </p15:clr>
        </p15:guide>
        <p15:guide id="16" pos="3908">
          <p15:clr>
            <a:srgbClr val="F26B43"/>
          </p15:clr>
        </p15:guide>
        <p15:guide id="17" orient="horz" pos="3090">
          <p15:clr>
            <a:srgbClr val="A4A3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wo Contacts | With pictures">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7E08914-4F7D-47AA-A3A7-6D253E93C061}"/>
              </a:ext>
            </a:extLst>
          </p:cNvPr>
          <p:cNvGraphicFramePr>
            <a:graphicFrameLocks noChangeAspect="1"/>
          </p:cNvGraphicFramePr>
          <p:nvPr>
            <p:custDataLst>
              <p:tags r:id="rId2"/>
            </p:custDataLst>
            <p:extLst>
              <p:ext uri="{D42A27DB-BD31-4B8C-83A1-F6EECF244321}">
                <p14:modId xmlns:p14="http://schemas.microsoft.com/office/powerpoint/2010/main" val="2512032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8" name="think-cell Slide" r:id="rId4" imgW="359" imgH="358" progId="TCLayout.ActiveDocument.1">
                  <p:embed/>
                </p:oleObj>
              </mc:Choice>
              <mc:Fallback>
                <p:oleObj name="think-cell Slide" r:id="rId4" imgW="359" imgH="358" progId="TCLayout.ActiveDocument.1">
                  <p:embed/>
                  <p:pic>
                    <p:nvPicPr>
                      <p:cNvPr id="4" name="Objekt 3" hidden="1">
                        <a:extLst>
                          <a:ext uri="{FF2B5EF4-FFF2-40B4-BE49-F238E27FC236}">
                            <a16:creationId xmlns:a16="http://schemas.microsoft.com/office/drawing/2014/main" id="{57E08914-4F7D-47AA-A3A7-6D253E93C0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A7ED93-264F-4FB5-815D-4481CAD4A5EA}"/>
              </a:ext>
            </a:extLst>
          </p:cNvPr>
          <p:cNvSpPr>
            <a:spLocks noGrp="1"/>
          </p:cNvSpPr>
          <p:nvPr>
            <p:ph type="title" hasCustomPrompt="1"/>
          </p:nvPr>
        </p:nvSpPr>
        <p:spPr bwMode="gray">
          <a:xfrm>
            <a:off x="587821" y="728700"/>
            <a:ext cx="5400229" cy="719783"/>
          </a:xfrm>
        </p:spPr>
        <p:txBody>
          <a:bodyPr vert="horz" bIns="0" anchor="b" anchorCtr="0"/>
          <a:lstStyle>
            <a:lvl1pPr algn="l">
              <a:defRPr sz="4300">
                <a:solidFill>
                  <a:schemeClr val="accent1"/>
                </a:solidFill>
              </a:defRPr>
            </a:lvl1pPr>
          </a:lstStyle>
          <a:p>
            <a:r>
              <a:rPr lang="en-GB" noProof="0"/>
              <a:t>Contact</a:t>
            </a:r>
          </a:p>
        </p:txBody>
      </p:sp>
      <p:sp>
        <p:nvSpPr>
          <p:cNvPr id="8" name="Text Placeholder 11">
            <a:extLst>
              <a:ext uri="{FF2B5EF4-FFF2-40B4-BE49-F238E27FC236}">
                <a16:creationId xmlns:a16="http://schemas.microsoft.com/office/drawing/2014/main" id="{DFF918B5-B02B-4208-A4BD-44A19345892D}"/>
              </a:ext>
            </a:extLst>
          </p:cNvPr>
          <p:cNvSpPr>
            <a:spLocks noGrp="1"/>
          </p:cNvSpPr>
          <p:nvPr>
            <p:ph type="body" sz="quarter" idx="12" hasCustomPrompt="1"/>
          </p:nvPr>
        </p:nvSpPr>
        <p:spPr bwMode="gray">
          <a:xfrm>
            <a:off x="2603735" y="1916832"/>
            <a:ext cx="3384315" cy="2160000"/>
          </a:xfrm>
        </p:spPr>
        <p:txBody>
          <a:bodyPr/>
          <a:lstStyle>
            <a:lvl1pPr>
              <a:spcAft>
                <a:spcPts val="0"/>
              </a:spcAft>
              <a:defRPr sz="1400" b="1">
                <a:solidFill>
                  <a:schemeClr val="tx1"/>
                </a:solidFill>
              </a:defRPr>
            </a:lvl1pPr>
            <a:lvl2pPr marL="0" indent="0">
              <a:spcAft>
                <a:spcPts val="1200"/>
              </a:spcAft>
              <a:buFontTx/>
              <a:buNone/>
              <a:tabLst>
                <a:tab pos="623888" algn="l"/>
              </a:tabLst>
              <a:defRPr sz="1400" b="0">
                <a:solidFill>
                  <a:schemeClr val="accent1"/>
                </a:solidFill>
              </a:defRPr>
            </a:lvl2pPr>
            <a:lvl3pPr marL="0" indent="0">
              <a:spcAft>
                <a:spcPts val="1200"/>
              </a:spcAft>
              <a:buFontTx/>
              <a:buNone/>
              <a:tabLst>
                <a:tab pos="623888" algn="l"/>
              </a:tabLst>
              <a:defRPr sz="1400">
                <a:solidFill>
                  <a:schemeClr val="tx1"/>
                </a:solidFill>
              </a:defRPr>
            </a:lvl3pPr>
            <a:lvl4pPr marL="0" indent="0">
              <a:spcAft>
                <a:spcPts val="1200"/>
              </a:spcAft>
              <a:buFontTx/>
              <a:buNone/>
              <a:tabLst>
                <a:tab pos="623888" algn="l"/>
              </a:tabLst>
              <a:defRPr sz="1400">
                <a:solidFill>
                  <a:schemeClr val="tx1"/>
                </a:solidFill>
              </a:defRPr>
            </a:lvl4pPr>
            <a:lvl5pPr marL="0" indent="0">
              <a:spcAft>
                <a:spcPts val="1200"/>
              </a:spcAft>
              <a:buFontTx/>
              <a:buNone/>
              <a:tabLst>
                <a:tab pos="623888" algn="l"/>
              </a:tabLst>
              <a:defRPr sz="1400">
                <a:solidFill>
                  <a:schemeClr val="tx1"/>
                </a:solidFill>
              </a:defRPr>
            </a:lvl5pPr>
            <a:lvl6pPr marL="0" indent="0">
              <a:spcAft>
                <a:spcPts val="1200"/>
              </a:spcAft>
              <a:buFontTx/>
              <a:buNone/>
              <a:tabLst>
                <a:tab pos="623888" algn="l"/>
              </a:tabLst>
              <a:defRPr sz="1400">
                <a:solidFill>
                  <a:schemeClr val="tx1"/>
                </a:solidFill>
              </a:defRPr>
            </a:lvl6pPr>
            <a:lvl7pPr marL="0" indent="0">
              <a:spcAft>
                <a:spcPts val="1200"/>
              </a:spcAft>
              <a:buFontTx/>
              <a:buNone/>
              <a:tabLst>
                <a:tab pos="623888" algn="l"/>
              </a:tabLst>
              <a:defRPr sz="1400">
                <a:solidFill>
                  <a:schemeClr val="tx1"/>
                </a:solidFill>
              </a:defRPr>
            </a:lvl7pPr>
            <a:lvl8pPr marL="0" indent="0">
              <a:spcAft>
                <a:spcPts val="1200"/>
              </a:spcAft>
              <a:buFontTx/>
              <a:buNone/>
              <a:tabLst>
                <a:tab pos="623888" algn="l"/>
              </a:tabLst>
              <a:defRPr sz="1400">
                <a:solidFill>
                  <a:schemeClr val="tx1"/>
                </a:solidFill>
              </a:defRPr>
            </a:lvl8pPr>
            <a:lvl9pPr marL="0" indent="0">
              <a:spcAft>
                <a:spcPts val="1200"/>
              </a:spcAft>
              <a:buFontTx/>
              <a:buNone/>
              <a:tabLst>
                <a:tab pos="623888" algn="l"/>
              </a:tabLst>
              <a:defRPr sz="14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pic>
        <p:nvPicPr>
          <p:cNvPr id="3" name="Grafik 2">
            <a:extLst>
              <a:ext uri="{FF2B5EF4-FFF2-40B4-BE49-F238E27FC236}">
                <a16:creationId xmlns:a16="http://schemas.microsoft.com/office/drawing/2014/main" id="{2608446A-11B3-4DB8-BD2F-089747ACC3FD}"/>
              </a:ext>
            </a:extLst>
          </p:cNvPr>
          <p:cNvPicPr>
            <a:picLocks noChangeAspect="1"/>
          </p:cNvPicPr>
          <p:nvPr/>
        </p:nvPicPr>
        <p:blipFill>
          <a:blip r:embed="rId6" cstate="screen">
            <a:extLst>
              <a:ext uri="{28A0092B-C50C-407E-A947-70E740481C1C}">
                <a14:useLocalDpi xmlns:a14="http://schemas.microsoft.com/office/drawing/2010/main" val="0"/>
              </a:ext>
            </a:extLst>
          </a:blip>
          <a:srcRect/>
          <a:stretch/>
        </p:blipFill>
        <p:spPr bwMode="gray">
          <a:xfrm>
            <a:off x="587388" y="5625301"/>
            <a:ext cx="2743267" cy="503999"/>
          </a:xfrm>
          <a:prstGeom prst="rect">
            <a:avLst/>
          </a:prstGeom>
        </p:spPr>
      </p:pic>
      <p:sp>
        <p:nvSpPr>
          <p:cNvPr id="11" name="Picture Placeholder 3">
            <a:extLst>
              <a:ext uri="{FF2B5EF4-FFF2-40B4-BE49-F238E27FC236}">
                <a16:creationId xmlns:a16="http://schemas.microsoft.com/office/drawing/2014/main" id="{B79BC713-A99B-43A2-91AC-046C8300FF03}"/>
              </a:ext>
            </a:extLst>
          </p:cNvPr>
          <p:cNvSpPr>
            <a:spLocks noGrp="1"/>
          </p:cNvSpPr>
          <p:nvPr>
            <p:ph type="pic" sz="quarter" idx="14" hasCustomPrompt="1"/>
          </p:nvPr>
        </p:nvSpPr>
        <p:spPr bwMode="gray">
          <a:xfrm>
            <a:off x="587822" y="1916832"/>
            <a:ext cx="1872000" cy="2160000"/>
          </a:xfrm>
          <a:solidFill>
            <a:schemeClr val="bg2"/>
          </a:solidFill>
        </p:spPr>
        <p:txBody>
          <a:bodyPr vert="horz" lIns="0" tIns="0" rIns="0" bIns="0" rtlCol="0" anchor="ctr" anchorCtr="0">
            <a:noAutofit/>
          </a:bodyPr>
          <a:lstStyle>
            <a:lvl1pPr algn="ctr">
              <a:defRPr lang="en-GB" sz="1200" dirty="0">
                <a:solidFill>
                  <a:schemeClr val="accent4"/>
                </a:solidFill>
              </a:defRPr>
            </a:lvl1pPr>
          </a:lstStyle>
          <a:p>
            <a:pPr lvl="0"/>
            <a:r>
              <a:rPr lang="en-GB" noProof="0"/>
              <a:t> </a:t>
            </a:r>
          </a:p>
        </p:txBody>
      </p:sp>
      <p:sp>
        <p:nvSpPr>
          <p:cNvPr id="12" name="Picture Placeholder 3">
            <a:extLst>
              <a:ext uri="{FF2B5EF4-FFF2-40B4-BE49-F238E27FC236}">
                <a16:creationId xmlns:a16="http://schemas.microsoft.com/office/drawing/2014/main" id="{0BD15FDB-083E-4985-A9EB-DFF55C0EDF32}"/>
              </a:ext>
            </a:extLst>
          </p:cNvPr>
          <p:cNvSpPr>
            <a:spLocks noGrp="1"/>
          </p:cNvSpPr>
          <p:nvPr>
            <p:ph type="pic" sz="quarter" idx="15" hasCustomPrompt="1"/>
          </p:nvPr>
        </p:nvSpPr>
        <p:spPr bwMode="gray">
          <a:xfrm>
            <a:off x="6204012" y="1916832"/>
            <a:ext cx="1872000" cy="2160000"/>
          </a:xfrm>
          <a:solidFill>
            <a:schemeClr val="bg2"/>
          </a:solidFill>
        </p:spPr>
        <p:txBody>
          <a:bodyPr vert="horz" lIns="0" tIns="0" rIns="0" bIns="0" rtlCol="0" anchor="ctr" anchorCtr="0">
            <a:noAutofit/>
          </a:bodyPr>
          <a:lstStyle>
            <a:lvl1pPr algn="ctr">
              <a:defRPr lang="en-GB" sz="1200" dirty="0">
                <a:solidFill>
                  <a:schemeClr val="accent4"/>
                </a:solidFill>
              </a:defRPr>
            </a:lvl1pPr>
          </a:lstStyle>
          <a:p>
            <a:pPr lvl="0"/>
            <a:r>
              <a:rPr lang="en-GB" noProof="0"/>
              <a:t> </a:t>
            </a:r>
          </a:p>
        </p:txBody>
      </p:sp>
      <p:sp>
        <p:nvSpPr>
          <p:cNvPr id="21" name="Text Placeholder 11">
            <a:extLst>
              <a:ext uri="{FF2B5EF4-FFF2-40B4-BE49-F238E27FC236}">
                <a16:creationId xmlns:a16="http://schemas.microsoft.com/office/drawing/2014/main" id="{FC48ECE3-E1B3-44A7-8B8E-3039F0D734BA}"/>
              </a:ext>
            </a:extLst>
          </p:cNvPr>
          <p:cNvSpPr>
            <a:spLocks noGrp="1"/>
          </p:cNvSpPr>
          <p:nvPr>
            <p:ph type="body" sz="quarter" idx="16" hasCustomPrompt="1"/>
          </p:nvPr>
        </p:nvSpPr>
        <p:spPr bwMode="gray">
          <a:xfrm>
            <a:off x="8220359" y="1916832"/>
            <a:ext cx="3384266" cy="2160000"/>
          </a:xfrm>
        </p:spPr>
        <p:txBody>
          <a:bodyPr/>
          <a:lstStyle>
            <a:lvl1pPr>
              <a:spcAft>
                <a:spcPts val="0"/>
              </a:spcAft>
              <a:defRPr sz="1400" b="1">
                <a:solidFill>
                  <a:schemeClr val="tx1"/>
                </a:solidFill>
              </a:defRPr>
            </a:lvl1pPr>
            <a:lvl2pPr marL="0" indent="0">
              <a:spcAft>
                <a:spcPts val="1000"/>
              </a:spcAft>
              <a:buFontTx/>
              <a:buNone/>
              <a:tabLst>
                <a:tab pos="623888" algn="l"/>
              </a:tabLst>
              <a:defRPr sz="1400" b="0">
                <a:solidFill>
                  <a:schemeClr val="accent1"/>
                </a:solidFill>
              </a:defRPr>
            </a:lvl2pPr>
            <a:lvl3pPr marL="0" indent="0">
              <a:spcAft>
                <a:spcPts val="1200"/>
              </a:spcAft>
              <a:buFontTx/>
              <a:buNone/>
              <a:tabLst>
                <a:tab pos="623888" algn="l"/>
              </a:tabLst>
              <a:defRPr sz="1400">
                <a:solidFill>
                  <a:schemeClr val="tx1"/>
                </a:solidFill>
              </a:defRPr>
            </a:lvl3pPr>
            <a:lvl4pPr marL="0" indent="0">
              <a:spcAft>
                <a:spcPts val="1200"/>
              </a:spcAft>
              <a:buFontTx/>
              <a:buNone/>
              <a:tabLst>
                <a:tab pos="623888" algn="l"/>
              </a:tabLst>
              <a:defRPr sz="1400">
                <a:solidFill>
                  <a:schemeClr val="tx1"/>
                </a:solidFill>
              </a:defRPr>
            </a:lvl4pPr>
            <a:lvl5pPr marL="0" indent="0">
              <a:spcAft>
                <a:spcPts val="1200"/>
              </a:spcAft>
              <a:buFontTx/>
              <a:buNone/>
              <a:tabLst>
                <a:tab pos="623888" algn="l"/>
              </a:tabLst>
              <a:defRPr sz="1400">
                <a:solidFill>
                  <a:schemeClr val="tx1"/>
                </a:solidFill>
              </a:defRPr>
            </a:lvl5pPr>
            <a:lvl6pPr marL="0" indent="0">
              <a:spcAft>
                <a:spcPts val="1200"/>
              </a:spcAft>
              <a:buFontTx/>
              <a:buNone/>
              <a:tabLst>
                <a:tab pos="623888" algn="l"/>
              </a:tabLst>
              <a:defRPr sz="1400">
                <a:solidFill>
                  <a:schemeClr val="tx1"/>
                </a:solidFill>
              </a:defRPr>
            </a:lvl6pPr>
            <a:lvl7pPr marL="0" indent="0">
              <a:spcAft>
                <a:spcPts val="1200"/>
              </a:spcAft>
              <a:buFontTx/>
              <a:buNone/>
              <a:tabLst>
                <a:tab pos="623888" algn="l"/>
              </a:tabLst>
              <a:defRPr sz="1400">
                <a:solidFill>
                  <a:schemeClr val="tx1"/>
                </a:solidFill>
              </a:defRPr>
            </a:lvl7pPr>
            <a:lvl8pPr marL="0" indent="0">
              <a:spcAft>
                <a:spcPts val="1200"/>
              </a:spcAft>
              <a:buFontTx/>
              <a:buNone/>
              <a:tabLst>
                <a:tab pos="623888" algn="l"/>
              </a:tabLst>
              <a:defRPr sz="1400">
                <a:solidFill>
                  <a:schemeClr val="tx1"/>
                </a:solidFill>
              </a:defRPr>
            </a:lvl8pPr>
            <a:lvl9pPr marL="0" indent="0">
              <a:spcAft>
                <a:spcPts val="1200"/>
              </a:spcAft>
              <a:buFontTx/>
              <a:buNone/>
              <a:tabLst>
                <a:tab pos="623888" algn="l"/>
              </a:tabLst>
              <a:defRPr sz="14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pic>
        <p:nvPicPr>
          <p:cNvPr id="10" name="Grafik 9">
            <a:extLst>
              <a:ext uri="{FF2B5EF4-FFF2-40B4-BE49-F238E27FC236}">
                <a16:creationId xmlns:a16="http://schemas.microsoft.com/office/drawing/2014/main" id="{FE84ED6F-4E06-48C0-AC78-4A54245E4063}"/>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gray">
          <a:xfrm>
            <a:off x="587388" y="5787300"/>
            <a:ext cx="2127958" cy="342000"/>
          </a:xfrm>
          <a:prstGeom prst="rect">
            <a:avLst/>
          </a:prstGeom>
        </p:spPr>
      </p:pic>
    </p:spTree>
    <p:extLst>
      <p:ext uri="{BB962C8B-B14F-4D97-AF65-F5344CB8AC3E}">
        <p14:creationId xmlns:p14="http://schemas.microsoft.com/office/powerpoint/2010/main" val="732125008"/>
      </p:ext>
    </p:extLst>
  </p:cSld>
  <p:clrMapOvr>
    <a:masterClrMapping/>
  </p:clrMapOvr>
  <p:extLst>
    <p:ext uri="{DCECCB84-F9BA-43D5-87BE-67443E8EF086}">
      <p15:sldGuideLst xmlns:p15="http://schemas.microsoft.com/office/powerpoint/2012/main">
        <p15:guide id="3" pos="3772">
          <p15:clr>
            <a:srgbClr val="F26B43"/>
          </p15:clr>
        </p15:guide>
        <p15:guide id="14" pos="370">
          <p15:clr>
            <a:srgbClr val="F26B43"/>
          </p15:clr>
        </p15:guide>
        <p15:guide id="15" pos="7310">
          <p15:clr>
            <a:srgbClr val="F26B43"/>
          </p15:clr>
        </p15:guide>
        <p15:guide id="16" pos="3908">
          <p15:clr>
            <a:srgbClr val="F26B43"/>
          </p15:clr>
        </p15:guide>
        <p15:guide id="17" orient="horz" pos="3090">
          <p15:clr>
            <a:srgbClr val="A4A3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Eight Contacts">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1B426E2-92A5-4526-8C5D-265264575D26}"/>
              </a:ext>
            </a:extLst>
          </p:cNvPr>
          <p:cNvGraphicFramePr>
            <a:graphicFrameLocks noChangeAspect="1"/>
          </p:cNvGraphicFramePr>
          <p:nvPr>
            <p:custDataLst>
              <p:tags r:id="rId2"/>
            </p:custDataLst>
            <p:extLst>
              <p:ext uri="{D42A27DB-BD31-4B8C-83A1-F6EECF244321}">
                <p14:modId xmlns:p14="http://schemas.microsoft.com/office/powerpoint/2010/main" val="3775262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2" name="think-cell Slide" r:id="rId4" imgW="359" imgH="358" progId="TCLayout.ActiveDocument.1">
                  <p:embed/>
                </p:oleObj>
              </mc:Choice>
              <mc:Fallback>
                <p:oleObj name="think-cell Slide" r:id="rId4" imgW="359" imgH="358" progId="TCLayout.ActiveDocument.1">
                  <p:embed/>
                  <p:pic>
                    <p:nvPicPr>
                      <p:cNvPr id="5" name="Objekt 4" hidden="1">
                        <a:extLst>
                          <a:ext uri="{FF2B5EF4-FFF2-40B4-BE49-F238E27FC236}">
                            <a16:creationId xmlns:a16="http://schemas.microsoft.com/office/drawing/2014/main" id="{11B426E2-92A5-4526-8C5D-265264575D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Titel 16">
            <a:extLst>
              <a:ext uri="{FF2B5EF4-FFF2-40B4-BE49-F238E27FC236}">
                <a16:creationId xmlns:a16="http://schemas.microsoft.com/office/drawing/2014/main" id="{C807CB8B-53B8-4CA1-BF87-9EE1A5B71DC6}"/>
              </a:ext>
            </a:extLst>
          </p:cNvPr>
          <p:cNvSpPr>
            <a:spLocks noGrp="1"/>
          </p:cNvSpPr>
          <p:nvPr>
            <p:ph type="title" hasCustomPrompt="1"/>
          </p:nvPr>
        </p:nvSpPr>
        <p:spPr bwMode="gray"/>
        <p:txBody>
          <a:bodyPr vert="horz"/>
          <a:lstStyle/>
          <a:p>
            <a:r>
              <a:rPr lang="en-GB" noProof="0"/>
              <a:t>Click to add title</a:t>
            </a:r>
          </a:p>
        </p:txBody>
      </p:sp>
      <p:sp>
        <p:nvSpPr>
          <p:cNvPr id="42" name="Text Placeholder 11">
            <a:extLst>
              <a:ext uri="{FF2B5EF4-FFF2-40B4-BE49-F238E27FC236}">
                <a16:creationId xmlns:a16="http://schemas.microsoft.com/office/drawing/2014/main" id="{7B772AC2-B821-4D39-98E5-ED66EF3A8C54}"/>
              </a:ext>
            </a:extLst>
          </p:cNvPr>
          <p:cNvSpPr>
            <a:spLocks noGrp="1"/>
          </p:cNvSpPr>
          <p:nvPr>
            <p:ph type="body" sz="quarter" idx="23" hasCustomPrompt="1"/>
          </p:nvPr>
        </p:nvSpPr>
        <p:spPr bwMode="gray">
          <a:xfrm>
            <a:off x="587388" y="1484784"/>
            <a:ext cx="2592000" cy="2088000"/>
          </a:xfrm>
        </p:spPr>
        <p:txBody>
          <a:bodyPr/>
          <a:lstStyle>
            <a:lvl1pPr>
              <a:spcAft>
                <a:spcPts val="0"/>
              </a:spcAft>
              <a:tabLst>
                <a:tab pos="542925" algn="l"/>
              </a:tabLst>
              <a:defRPr sz="1200" b="1">
                <a:solidFill>
                  <a:schemeClr val="tx1"/>
                </a:solidFill>
              </a:defRPr>
            </a:lvl1pPr>
            <a:lvl2pPr marL="0" indent="0">
              <a:spcAft>
                <a:spcPts val="1200"/>
              </a:spcAft>
              <a:buFontTx/>
              <a:buNone/>
              <a:tabLst>
                <a:tab pos="542925" algn="l"/>
              </a:tabLst>
              <a:defRPr sz="1200" b="0">
                <a:solidFill>
                  <a:schemeClr val="accent1"/>
                </a:solidFill>
              </a:defRPr>
            </a:lvl2pPr>
            <a:lvl3pPr marL="0" indent="0">
              <a:spcAft>
                <a:spcPts val="1200"/>
              </a:spcAft>
              <a:buFontTx/>
              <a:buNone/>
              <a:tabLst>
                <a:tab pos="542925" algn="l"/>
              </a:tabLst>
              <a:defRPr sz="1200">
                <a:solidFill>
                  <a:schemeClr val="tx1"/>
                </a:solidFill>
              </a:defRPr>
            </a:lvl3pPr>
            <a:lvl4pPr marL="0" indent="0">
              <a:spcAft>
                <a:spcPts val="1200"/>
              </a:spcAft>
              <a:buFontTx/>
              <a:buNone/>
              <a:tabLst>
                <a:tab pos="542925" algn="l"/>
              </a:tabLst>
              <a:defRPr sz="1200">
                <a:solidFill>
                  <a:schemeClr val="tx1"/>
                </a:solidFill>
              </a:defRPr>
            </a:lvl4pPr>
            <a:lvl5pPr marL="0" indent="0">
              <a:spcAft>
                <a:spcPts val="1200"/>
              </a:spcAft>
              <a:buFontTx/>
              <a:buNone/>
              <a:tabLst>
                <a:tab pos="542925" algn="l"/>
              </a:tabLst>
              <a:defRPr sz="1200">
                <a:solidFill>
                  <a:schemeClr val="tx1"/>
                </a:solidFill>
              </a:defRPr>
            </a:lvl5pPr>
            <a:lvl6pPr marL="0" indent="0">
              <a:spcAft>
                <a:spcPts val="1200"/>
              </a:spcAft>
              <a:buFontTx/>
              <a:buNone/>
              <a:tabLst>
                <a:tab pos="623888" algn="l"/>
              </a:tabLst>
              <a:defRPr sz="1200">
                <a:solidFill>
                  <a:schemeClr val="tx1"/>
                </a:solidFill>
              </a:defRPr>
            </a:lvl6pPr>
            <a:lvl7pPr marL="0" indent="0">
              <a:spcAft>
                <a:spcPts val="1200"/>
              </a:spcAft>
              <a:buFontTx/>
              <a:buNone/>
              <a:tabLst>
                <a:tab pos="542925" algn="l"/>
              </a:tabLst>
              <a:defRPr sz="1200">
                <a:solidFill>
                  <a:schemeClr val="tx1"/>
                </a:solidFill>
              </a:defRPr>
            </a:lvl7pPr>
            <a:lvl8pPr marL="0" indent="0">
              <a:spcAft>
                <a:spcPts val="1200"/>
              </a:spcAft>
              <a:buFontTx/>
              <a:buNone/>
              <a:tabLst>
                <a:tab pos="542925" algn="l"/>
              </a:tabLst>
              <a:defRPr sz="1200">
                <a:solidFill>
                  <a:schemeClr val="tx1"/>
                </a:solidFill>
              </a:defRPr>
            </a:lvl8pPr>
            <a:lvl9pPr marL="0" indent="0">
              <a:spcAft>
                <a:spcPts val="1200"/>
              </a:spcAft>
              <a:buFontTx/>
              <a:buNone/>
              <a:tabLst>
                <a:tab pos="542925" algn="l"/>
              </a:tabLst>
              <a:defRPr sz="12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7" name="Text Placeholder 11">
            <a:extLst>
              <a:ext uri="{FF2B5EF4-FFF2-40B4-BE49-F238E27FC236}">
                <a16:creationId xmlns:a16="http://schemas.microsoft.com/office/drawing/2014/main" id="{797CE1B8-2B93-45C0-8A35-3A842D1DFB3F}"/>
              </a:ext>
            </a:extLst>
          </p:cNvPr>
          <p:cNvSpPr>
            <a:spLocks noGrp="1"/>
          </p:cNvSpPr>
          <p:nvPr>
            <p:ph type="body" sz="quarter" idx="31" hasCustomPrompt="1"/>
          </p:nvPr>
        </p:nvSpPr>
        <p:spPr bwMode="gray">
          <a:xfrm>
            <a:off x="3395700" y="1484809"/>
            <a:ext cx="2592000" cy="2088000"/>
          </a:xfrm>
        </p:spPr>
        <p:txBody>
          <a:bodyPr/>
          <a:lstStyle>
            <a:lvl1pPr>
              <a:spcAft>
                <a:spcPts val="0"/>
              </a:spcAft>
              <a:tabLst>
                <a:tab pos="542925" algn="l"/>
              </a:tabLst>
              <a:defRPr sz="1200" b="1">
                <a:solidFill>
                  <a:schemeClr val="tx1"/>
                </a:solidFill>
              </a:defRPr>
            </a:lvl1pPr>
            <a:lvl2pPr marL="0" indent="0">
              <a:spcAft>
                <a:spcPts val="1200"/>
              </a:spcAft>
              <a:buFontTx/>
              <a:buNone/>
              <a:tabLst>
                <a:tab pos="542925" algn="l"/>
              </a:tabLst>
              <a:defRPr sz="1200" b="0">
                <a:solidFill>
                  <a:schemeClr val="accent1"/>
                </a:solidFill>
              </a:defRPr>
            </a:lvl2pPr>
            <a:lvl3pPr marL="0" indent="0">
              <a:spcAft>
                <a:spcPts val="1200"/>
              </a:spcAft>
              <a:buFontTx/>
              <a:buNone/>
              <a:tabLst>
                <a:tab pos="542925" algn="l"/>
              </a:tabLst>
              <a:defRPr sz="1200">
                <a:solidFill>
                  <a:schemeClr val="tx1"/>
                </a:solidFill>
              </a:defRPr>
            </a:lvl3pPr>
            <a:lvl4pPr marL="0" indent="0">
              <a:spcAft>
                <a:spcPts val="1200"/>
              </a:spcAft>
              <a:buFontTx/>
              <a:buNone/>
              <a:tabLst>
                <a:tab pos="542925" algn="l"/>
              </a:tabLst>
              <a:defRPr sz="1200">
                <a:solidFill>
                  <a:schemeClr val="tx1"/>
                </a:solidFill>
              </a:defRPr>
            </a:lvl4pPr>
            <a:lvl5pPr marL="0" indent="0">
              <a:spcAft>
                <a:spcPts val="1200"/>
              </a:spcAft>
              <a:buFontTx/>
              <a:buNone/>
              <a:tabLst>
                <a:tab pos="542925" algn="l"/>
              </a:tabLst>
              <a:defRPr sz="1200">
                <a:solidFill>
                  <a:schemeClr val="tx1"/>
                </a:solidFill>
              </a:defRPr>
            </a:lvl5pPr>
            <a:lvl6pPr marL="0" indent="0">
              <a:spcAft>
                <a:spcPts val="1200"/>
              </a:spcAft>
              <a:buFontTx/>
              <a:buNone/>
              <a:tabLst>
                <a:tab pos="623888" algn="l"/>
              </a:tabLst>
              <a:defRPr sz="1200">
                <a:solidFill>
                  <a:schemeClr val="tx1"/>
                </a:solidFill>
              </a:defRPr>
            </a:lvl6pPr>
            <a:lvl7pPr marL="0" indent="0">
              <a:spcAft>
                <a:spcPts val="1200"/>
              </a:spcAft>
              <a:buFontTx/>
              <a:buNone/>
              <a:tabLst>
                <a:tab pos="542925" algn="l"/>
              </a:tabLst>
              <a:defRPr sz="1200">
                <a:solidFill>
                  <a:schemeClr val="tx1"/>
                </a:solidFill>
              </a:defRPr>
            </a:lvl7pPr>
            <a:lvl8pPr marL="0" indent="0">
              <a:spcAft>
                <a:spcPts val="1200"/>
              </a:spcAft>
              <a:buFontTx/>
              <a:buNone/>
              <a:tabLst>
                <a:tab pos="542925" algn="l"/>
              </a:tabLst>
              <a:defRPr sz="1200">
                <a:solidFill>
                  <a:schemeClr val="tx1"/>
                </a:solidFill>
              </a:defRPr>
            </a:lvl8pPr>
            <a:lvl9pPr marL="0" indent="0">
              <a:spcAft>
                <a:spcPts val="1200"/>
              </a:spcAft>
              <a:buFontTx/>
              <a:buNone/>
              <a:tabLst>
                <a:tab pos="542925" algn="l"/>
              </a:tabLst>
              <a:defRPr sz="12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8" name="Text Placeholder 11">
            <a:extLst>
              <a:ext uri="{FF2B5EF4-FFF2-40B4-BE49-F238E27FC236}">
                <a16:creationId xmlns:a16="http://schemas.microsoft.com/office/drawing/2014/main" id="{41D846FD-B215-4B9D-82E7-8B832F163495}"/>
              </a:ext>
            </a:extLst>
          </p:cNvPr>
          <p:cNvSpPr>
            <a:spLocks noGrp="1"/>
          </p:cNvSpPr>
          <p:nvPr>
            <p:ph type="body" sz="quarter" idx="32" hasCustomPrompt="1"/>
          </p:nvPr>
        </p:nvSpPr>
        <p:spPr bwMode="gray">
          <a:xfrm>
            <a:off x="6204012" y="1484834"/>
            <a:ext cx="2592000" cy="2088000"/>
          </a:xfrm>
        </p:spPr>
        <p:txBody>
          <a:bodyPr/>
          <a:lstStyle>
            <a:lvl1pPr>
              <a:spcAft>
                <a:spcPts val="0"/>
              </a:spcAft>
              <a:tabLst>
                <a:tab pos="542925" algn="l"/>
              </a:tabLst>
              <a:defRPr sz="1200" b="1">
                <a:solidFill>
                  <a:schemeClr val="tx1"/>
                </a:solidFill>
              </a:defRPr>
            </a:lvl1pPr>
            <a:lvl2pPr marL="0" indent="0">
              <a:spcAft>
                <a:spcPts val="1200"/>
              </a:spcAft>
              <a:buFontTx/>
              <a:buNone/>
              <a:tabLst>
                <a:tab pos="542925" algn="l"/>
              </a:tabLst>
              <a:defRPr sz="1200" b="0">
                <a:solidFill>
                  <a:schemeClr val="accent1"/>
                </a:solidFill>
              </a:defRPr>
            </a:lvl2pPr>
            <a:lvl3pPr marL="0" indent="0">
              <a:spcAft>
                <a:spcPts val="1200"/>
              </a:spcAft>
              <a:buFontTx/>
              <a:buNone/>
              <a:tabLst>
                <a:tab pos="542925" algn="l"/>
              </a:tabLst>
              <a:defRPr sz="1200">
                <a:solidFill>
                  <a:schemeClr val="tx1"/>
                </a:solidFill>
              </a:defRPr>
            </a:lvl3pPr>
            <a:lvl4pPr marL="0" indent="0">
              <a:spcAft>
                <a:spcPts val="1200"/>
              </a:spcAft>
              <a:buFontTx/>
              <a:buNone/>
              <a:tabLst>
                <a:tab pos="542925" algn="l"/>
              </a:tabLst>
              <a:defRPr sz="1200">
                <a:solidFill>
                  <a:schemeClr val="tx1"/>
                </a:solidFill>
              </a:defRPr>
            </a:lvl4pPr>
            <a:lvl5pPr marL="0" indent="0">
              <a:spcAft>
                <a:spcPts val="1200"/>
              </a:spcAft>
              <a:buFontTx/>
              <a:buNone/>
              <a:tabLst>
                <a:tab pos="542925" algn="l"/>
              </a:tabLst>
              <a:defRPr sz="1200">
                <a:solidFill>
                  <a:schemeClr val="tx1"/>
                </a:solidFill>
              </a:defRPr>
            </a:lvl5pPr>
            <a:lvl6pPr marL="0" indent="0">
              <a:spcAft>
                <a:spcPts val="1200"/>
              </a:spcAft>
              <a:buFontTx/>
              <a:buNone/>
              <a:tabLst>
                <a:tab pos="623888" algn="l"/>
              </a:tabLst>
              <a:defRPr sz="1200">
                <a:solidFill>
                  <a:schemeClr val="tx1"/>
                </a:solidFill>
              </a:defRPr>
            </a:lvl6pPr>
            <a:lvl7pPr marL="0" indent="0">
              <a:spcAft>
                <a:spcPts val="1200"/>
              </a:spcAft>
              <a:buFontTx/>
              <a:buNone/>
              <a:tabLst>
                <a:tab pos="542925" algn="l"/>
              </a:tabLst>
              <a:defRPr sz="1200">
                <a:solidFill>
                  <a:schemeClr val="tx1"/>
                </a:solidFill>
              </a:defRPr>
            </a:lvl7pPr>
            <a:lvl8pPr marL="0" indent="0">
              <a:spcAft>
                <a:spcPts val="1200"/>
              </a:spcAft>
              <a:buFontTx/>
              <a:buNone/>
              <a:tabLst>
                <a:tab pos="542925" algn="l"/>
              </a:tabLst>
              <a:defRPr sz="1200">
                <a:solidFill>
                  <a:schemeClr val="tx1"/>
                </a:solidFill>
              </a:defRPr>
            </a:lvl8pPr>
            <a:lvl9pPr marL="0" indent="0">
              <a:spcAft>
                <a:spcPts val="1200"/>
              </a:spcAft>
              <a:buFontTx/>
              <a:buNone/>
              <a:tabLst>
                <a:tab pos="542925" algn="l"/>
              </a:tabLst>
              <a:defRPr sz="12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9" name="Text Placeholder 11">
            <a:extLst>
              <a:ext uri="{FF2B5EF4-FFF2-40B4-BE49-F238E27FC236}">
                <a16:creationId xmlns:a16="http://schemas.microsoft.com/office/drawing/2014/main" id="{E9F48218-7F0A-4A67-BE5A-A7F3A870AF16}"/>
              </a:ext>
            </a:extLst>
          </p:cNvPr>
          <p:cNvSpPr>
            <a:spLocks noGrp="1"/>
          </p:cNvSpPr>
          <p:nvPr>
            <p:ph type="body" sz="quarter" idx="33" hasCustomPrompt="1"/>
          </p:nvPr>
        </p:nvSpPr>
        <p:spPr bwMode="gray">
          <a:xfrm>
            <a:off x="9012324" y="1484859"/>
            <a:ext cx="2592000" cy="2088000"/>
          </a:xfrm>
        </p:spPr>
        <p:txBody>
          <a:bodyPr/>
          <a:lstStyle>
            <a:lvl1pPr>
              <a:spcAft>
                <a:spcPts val="0"/>
              </a:spcAft>
              <a:tabLst>
                <a:tab pos="542925" algn="l"/>
              </a:tabLst>
              <a:defRPr sz="1200" b="1">
                <a:solidFill>
                  <a:schemeClr val="tx1"/>
                </a:solidFill>
              </a:defRPr>
            </a:lvl1pPr>
            <a:lvl2pPr marL="0" indent="0">
              <a:spcAft>
                <a:spcPts val="1200"/>
              </a:spcAft>
              <a:buFontTx/>
              <a:buNone/>
              <a:tabLst>
                <a:tab pos="542925" algn="l"/>
              </a:tabLst>
              <a:defRPr sz="1200" b="0">
                <a:solidFill>
                  <a:schemeClr val="accent1"/>
                </a:solidFill>
              </a:defRPr>
            </a:lvl2pPr>
            <a:lvl3pPr marL="0" indent="0">
              <a:spcAft>
                <a:spcPts val="1200"/>
              </a:spcAft>
              <a:buFontTx/>
              <a:buNone/>
              <a:tabLst>
                <a:tab pos="542925" algn="l"/>
              </a:tabLst>
              <a:defRPr sz="1200">
                <a:solidFill>
                  <a:schemeClr val="tx1"/>
                </a:solidFill>
              </a:defRPr>
            </a:lvl3pPr>
            <a:lvl4pPr marL="0" indent="0">
              <a:spcAft>
                <a:spcPts val="1200"/>
              </a:spcAft>
              <a:buFontTx/>
              <a:buNone/>
              <a:tabLst>
                <a:tab pos="542925" algn="l"/>
              </a:tabLst>
              <a:defRPr sz="1200">
                <a:solidFill>
                  <a:schemeClr val="tx1"/>
                </a:solidFill>
              </a:defRPr>
            </a:lvl4pPr>
            <a:lvl5pPr marL="0" indent="0">
              <a:spcAft>
                <a:spcPts val="1200"/>
              </a:spcAft>
              <a:buFontTx/>
              <a:buNone/>
              <a:tabLst>
                <a:tab pos="542925" algn="l"/>
              </a:tabLst>
              <a:defRPr sz="1200">
                <a:solidFill>
                  <a:schemeClr val="tx1"/>
                </a:solidFill>
              </a:defRPr>
            </a:lvl5pPr>
            <a:lvl6pPr marL="0" indent="0">
              <a:spcAft>
                <a:spcPts val="1200"/>
              </a:spcAft>
              <a:buFontTx/>
              <a:buNone/>
              <a:tabLst>
                <a:tab pos="623888" algn="l"/>
              </a:tabLst>
              <a:defRPr sz="1200">
                <a:solidFill>
                  <a:schemeClr val="tx1"/>
                </a:solidFill>
              </a:defRPr>
            </a:lvl6pPr>
            <a:lvl7pPr marL="0" indent="0">
              <a:spcAft>
                <a:spcPts val="1200"/>
              </a:spcAft>
              <a:buFontTx/>
              <a:buNone/>
              <a:tabLst>
                <a:tab pos="542925" algn="l"/>
              </a:tabLst>
              <a:defRPr sz="1200">
                <a:solidFill>
                  <a:schemeClr val="tx1"/>
                </a:solidFill>
              </a:defRPr>
            </a:lvl7pPr>
            <a:lvl8pPr marL="0" indent="0">
              <a:spcAft>
                <a:spcPts val="1200"/>
              </a:spcAft>
              <a:buFontTx/>
              <a:buNone/>
              <a:tabLst>
                <a:tab pos="542925" algn="l"/>
              </a:tabLst>
              <a:defRPr sz="1200">
                <a:solidFill>
                  <a:schemeClr val="tx1"/>
                </a:solidFill>
              </a:defRPr>
            </a:lvl8pPr>
            <a:lvl9pPr marL="0" indent="0">
              <a:spcAft>
                <a:spcPts val="1200"/>
              </a:spcAft>
              <a:buFontTx/>
              <a:buNone/>
              <a:tabLst>
                <a:tab pos="542925" algn="l"/>
              </a:tabLst>
              <a:defRPr sz="12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6"/>
            <a:endParaRPr lang="en-GB" noProof="0"/>
          </a:p>
        </p:txBody>
      </p:sp>
      <p:sp>
        <p:nvSpPr>
          <p:cNvPr id="64" name="Text Placeholder 11">
            <a:extLst>
              <a:ext uri="{FF2B5EF4-FFF2-40B4-BE49-F238E27FC236}">
                <a16:creationId xmlns:a16="http://schemas.microsoft.com/office/drawing/2014/main" id="{BCDEAB69-53DB-41BD-9D36-2DD288423A95}"/>
              </a:ext>
            </a:extLst>
          </p:cNvPr>
          <p:cNvSpPr>
            <a:spLocks noGrp="1"/>
          </p:cNvSpPr>
          <p:nvPr>
            <p:ph type="body" sz="quarter" idx="34" hasCustomPrompt="1"/>
          </p:nvPr>
        </p:nvSpPr>
        <p:spPr bwMode="gray">
          <a:xfrm>
            <a:off x="587388" y="4041209"/>
            <a:ext cx="2592000" cy="2088000"/>
          </a:xfrm>
        </p:spPr>
        <p:txBody>
          <a:bodyPr/>
          <a:lstStyle>
            <a:lvl1pPr>
              <a:spcAft>
                <a:spcPts val="0"/>
              </a:spcAft>
              <a:tabLst>
                <a:tab pos="542925" algn="l"/>
              </a:tabLst>
              <a:defRPr sz="1200" b="1">
                <a:solidFill>
                  <a:schemeClr val="tx1"/>
                </a:solidFill>
              </a:defRPr>
            </a:lvl1pPr>
            <a:lvl2pPr marL="0" indent="0">
              <a:spcAft>
                <a:spcPts val="1200"/>
              </a:spcAft>
              <a:buFontTx/>
              <a:buNone/>
              <a:tabLst>
                <a:tab pos="542925" algn="l"/>
              </a:tabLst>
              <a:defRPr sz="1200" b="0">
                <a:solidFill>
                  <a:schemeClr val="accent1"/>
                </a:solidFill>
              </a:defRPr>
            </a:lvl2pPr>
            <a:lvl3pPr marL="0" indent="0">
              <a:spcAft>
                <a:spcPts val="1200"/>
              </a:spcAft>
              <a:buFontTx/>
              <a:buNone/>
              <a:tabLst>
                <a:tab pos="542925" algn="l"/>
              </a:tabLst>
              <a:defRPr sz="1200">
                <a:solidFill>
                  <a:schemeClr val="tx1"/>
                </a:solidFill>
              </a:defRPr>
            </a:lvl3pPr>
            <a:lvl4pPr marL="0" indent="0">
              <a:spcAft>
                <a:spcPts val="1200"/>
              </a:spcAft>
              <a:buFontTx/>
              <a:buNone/>
              <a:tabLst>
                <a:tab pos="542925" algn="l"/>
              </a:tabLst>
              <a:defRPr sz="1200">
                <a:solidFill>
                  <a:schemeClr val="tx1"/>
                </a:solidFill>
              </a:defRPr>
            </a:lvl4pPr>
            <a:lvl5pPr marL="0" indent="0">
              <a:spcAft>
                <a:spcPts val="1200"/>
              </a:spcAft>
              <a:buFontTx/>
              <a:buNone/>
              <a:tabLst>
                <a:tab pos="542925" algn="l"/>
              </a:tabLst>
              <a:defRPr sz="1200">
                <a:solidFill>
                  <a:schemeClr val="tx1"/>
                </a:solidFill>
              </a:defRPr>
            </a:lvl5pPr>
            <a:lvl6pPr marL="0" indent="0">
              <a:spcAft>
                <a:spcPts val="1200"/>
              </a:spcAft>
              <a:buFontTx/>
              <a:buNone/>
              <a:tabLst>
                <a:tab pos="623888" algn="l"/>
              </a:tabLst>
              <a:defRPr sz="1200">
                <a:solidFill>
                  <a:schemeClr val="tx1"/>
                </a:solidFill>
              </a:defRPr>
            </a:lvl6pPr>
            <a:lvl7pPr marL="0" indent="0">
              <a:spcAft>
                <a:spcPts val="1200"/>
              </a:spcAft>
              <a:buFontTx/>
              <a:buNone/>
              <a:tabLst>
                <a:tab pos="542925" algn="l"/>
              </a:tabLst>
              <a:defRPr sz="1200">
                <a:solidFill>
                  <a:schemeClr val="tx1"/>
                </a:solidFill>
              </a:defRPr>
            </a:lvl7pPr>
            <a:lvl8pPr marL="0" indent="0">
              <a:spcAft>
                <a:spcPts val="1200"/>
              </a:spcAft>
              <a:buFontTx/>
              <a:buNone/>
              <a:tabLst>
                <a:tab pos="542925" algn="l"/>
              </a:tabLst>
              <a:defRPr sz="1200">
                <a:solidFill>
                  <a:schemeClr val="tx1"/>
                </a:solidFill>
              </a:defRPr>
            </a:lvl8pPr>
            <a:lvl9pPr marL="0" indent="0">
              <a:spcAft>
                <a:spcPts val="1200"/>
              </a:spcAft>
              <a:buFontTx/>
              <a:buNone/>
              <a:tabLst>
                <a:tab pos="542925" algn="l"/>
              </a:tabLst>
              <a:defRPr sz="12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5" name="Text Placeholder 11">
            <a:extLst>
              <a:ext uri="{FF2B5EF4-FFF2-40B4-BE49-F238E27FC236}">
                <a16:creationId xmlns:a16="http://schemas.microsoft.com/office/drawing/2014/main" id="{0A5CD25A-0DD9-494E-AE9C-AFD959E1017B}"/>
              </a:ext>
            </a:extLst>
          </p:cNvPr>
          <p:cNvSpPr>
            <a:spLocks noGrp="1"/>
          </p:cNvSpPr>
          <p:nvPr>
            <p:ph type="body" sz="quarter" idx="35" hasCustomPrompt="1"/>
          </p:nvPr>
        </p:nvSpPr>
        <p:spPr bwMode="gray">
          <a:xfrm>
            <a:off x="3395700" y="4041234"/>
            <a:ext cx="2592000" cy="2088000"/>
          </a:xfrm>
        </p:spPr>
        <p:txBody>
          <a:bodyPr/>
          <a:lstStyle>
            <a:lvl1pPr>
              <a:spcAft>
                <a:spcPts val="0"/>
              </a:spcAft>
              <a:tabLst>
                <a:tab pos="542925" algn="l"/>
              </a:tabLst>
              <a:defRPr sz="1200" b="1">
                <a:solidFill>
                  <a:schemeClr val="tx1"/>
                </a:solidFill>
              </a:defRPr>
            </a:lvl1pPr>
            <a:lvl2pPr marL="0" indent="0">
              <a:spcAft>
                <a:spcPts val="1200"/>
              </a:spcAft>
              <a:buFontTx/>
              <a:buNone/>
              <a:tabLst>
                <a:tab pos="542925" algn="l"/>
              </a:tabLst>
              <a:defRPr sz="1200" b="0">
                <a:solidFill>
                  <a:schemeClr val="accent1"/>
                </a:solidFill>
              </a:defRPr>
            </a:lvl2pPr>
            <a:lvl3pPr marL="0" indent="0">
              <a:spcAft>
                <a:spcPts val="1200"/>
              </a:spcAft>
              <a:buFontTx/>
              <a:buNone/>
              <a:tabLst>
                <a:tab pos="542925" algn="l"/>
              </a:tabLst>
              <a:defRPr sz="1200">
                <a:solidFill>
                  <a:schemeClr val="tx1"/>
                </a:solidFill>
              </a:defRPr>
            </a:lvl3pPr>
            <a:lvl4pPr marL="0" indent="0">
              <a:spcAft>
                <a:spcPts val="1200"/>
              </a:spcAft>
              <a:buFontTx/>
              <a:buNone/>
              <a:tabLst>
                <a:tab pos="542925" algn="l"/>
              </a:tabLst>
              <a:defRPr sz="1200">
                <a:solidFill>
                  <a:schemeClr val="tx1"/>
                </a:solidFill>
              </a:defRPr>
            </a:lvl4pPr>
            <a:lvl5pPr marL="0" indent="0">
              <a:spcAft>
                <a:spcPts val="1200"/>
              </a:spcAft>
              <a:buFontTx/>
              <a:buNone/>
              <a:tabLst>
                <a:tab pos="542925" algn="l"/>
              </a:tabLst>
              <a:defRPr sz="1200">
                <a:solidFill>
                  <a:schemeClr val="tx1"/>
                </a:solidFill>
              </a:defRPr>
            </a:lvl5pPr>
            <a:lvl6pPr marL="0" indent="0">
              <a:spcAft>
                <a:spcPts val="1200"/>
              </a:spcAft>
              <a:buFontTx/>
              <a:buNone/>
              <a:tabLst>
                <a:tab pos="623888" algn="l"/>
              </a:tabLst>
              <a:defRPr sz="1200">
                <a:solidFill>
                  <a:schemeClr val="tx1"/>
                </a:solidFill>
              </a:defRPr>
            </a:lvl6pPr>
            <a:lvl7pPr marL="0" indent="0">
              <a:spcAft>
                <a:spcPts val="1200"/>
              </a:spcAft>
              <a:buFontTx/>
              <a:buNone/>
              <a:tabLst>
                <a:tab pos="542925" algn="l"/>
              </a:tabLst>
              <a:defRPr sz="1200">
                <a:solidFill>
                  <a:schemeClr val="tx1"/>
                </a:solidFill>
              </a:defRPr>
            </a:lvl7pPr>
            <a:lvl8pPr marL="0" indent="0">
              <a:spcAft>
                <a:spcPts val="1200"/>
              </a:spcAft>
              <a:buFontTx/>
              <a:buNone/>
              <a:tabLst>
                <a:tab pos="542925" algn="l"/>
              </a:tabLst>
              <a:defRPr sz="1200">
                <a:solidFill>
                  <a:schemeClr val="tx1"/>
                </a:solidFill>
              </a:defRPr>
            </a:lvl8pPr>
            <a:lvl9pPr marL="0" indent="0">
              <a:spcAft>
                <a:spcPts val="1200"/>
              </a:spcAft>
              <a:buFontTx/>
              <a:buNone/>
              <a:tabLst>
                <a:tab pos="542925" algn="l"/>
              </a:tabLst>
              <a:defRPr sz="12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6" name="Text Placeholder 11">
            <a:extLst>
              <a:ext uri="{FF2B5EF4-FFF2-40B4-BE49-F238E27FC236}">
                <a16:creationId xmlns:a16="http://schemas.microsoft.com/office/drawing/2014/main" id="{E8A1B30F-757E-4AAF-A95E-E9B0D0FDD969}"/>
              </a:ext>
            </a:extLst>
          </p:cNvPr>
          <p:cNvSpPr>
            <a:spLocks noGrp="1"/>
          </p:cNvSpPr>
          <p:nvPr>
            <p:ph type="body" sz="quarter" idx="36" hasCustomPrompt="1"/>
          </p:nvPr>
        </p:nvSpPr>
        <p:spPr bwMode="gray">
          <a:xfrm>
            <a:off x="6204012" y="4041259"/>
            <a:ext cx="2592000" cy="2088000"/>
          </a:xfrm>
        </p:spPr>
        <p:txBody>
          <a:bodyPr/>
          <a:lstStyle>
            <a:lvl1pPr>
              <a:spcAft>
                <a:spcPts val="0"/>
              </a:spcAft>
              <a:tabLst>
                <a:tab pos="542925" algn="l"/>
              </a:tabLst>
              <a:defRPr sz="1200" b="1">
                <a:solidFill>
                  <a:schemeClr val="tx1"/>
                </a:solidFill>
              </a:defRPr>
            </a:lvl1pPr>
            <a:lvl2pPr marL="0" indent="0">
              <a:spcAft>
                <a:spcPts val="1200"/>
              </a:spcAft>
              <a:buFontTx/>
              <a:buNone/>
              <a:tabLst>
                <a:tab pos="542925" algn="l"/>
              </a:tabLst>
              <a:defRPr sz="1200" b="0">
                <a:solidFill>
                  <a:schemeClr val="accent1"/>
                </a:solidFill>
              </a:defRPr>
            </a:lvl2pPr>
            <a:lvl3pPr marL="0" indent="0">
              <a:spcAft>
                <a:spcPts val="1200"/>
              </a:spcAft>
              <a:buFontTx/>
              <a:buNone/>
              <a:tabLst>
                <a:tab pos="542925" algn="l"/>
              </a:tabLst>
              <a:defRPr sz="1200">
                <a:solidFill>
                  <a:schemeClr val="tx1"/>
                </a:solidFill>
              </a:defRPr>
            </a:lvl3pPr>
            <a:lvl4pPr marL="0" indent="0">
              <a:spcAft>
                <a:spcPts val="1200"/>
              </a:spcAft>
              <a:buFontTx/>
              <a:buNone/>
              <a:tabLst>
                <a:tab pos="542925" algn="l"/>
              </a:tabLst>
              <a:defRPr sz="1200">
                <a:solidFill>
                  <a:schemeClr val="tx1"/>
                </a:solidFill>
              </a:defRPr>
            </a:lvl4pPr>
            <a:lvl5pPr marL="0" indent="0">
              <a:spcAft>
                <a:spcPts val="1200"/>
              </a:spcAft>
              <a:buFontTx/>
              <a:buNone/>
              <a:tabLst>
                <a:tab pos="542925" algn="l"/>
              </a:tabLst>
              <a:defRPr sz="1200">
                <a:solidFill>
                  <a:schemeClr val="tx1"/>
                </a:solidFill>
              </a:defRPr>
            </a:lvl5pPr>
            <a:lvl6pPr marL="0" indent="0">
              <a:spcAft>
                <a:spcPts val="1200"/>
              </a:spcAft>
              <a:buFontTx/>
              <a:buNone/>
              <a:tabLst>
                <a:tab pos="623888" algn="l"/>
              </a:tabLst>
              <a:defRPr sz="1200">
                <a:solidFill>
                  <a:schemeClr val="tx1"/>
                </a:solidFill>
              </a:defRPr>
            </a:lvl6pPr>
            <a:lvl7pPr marL="0" indent="0">
              <a:spcAft>
                <a:spcPts val="1200"/>
              </a:spcAft>
              <a:buFontTx/>
              <a:buNone/>
              <a:tabLst>
                <a:tab pos="542925" algn="l"/>
              </a:tabLst>
              <a:defRPr sz="1200">
                <a:solidFill>
                  <a:schemeClr val="tx1"/>
                </a:solidFill>
              </a:defRPr>
            </a:lvl7pPr>
            <a:lvl8pPr marL="0" indent="0">
              <a:spcAft>
                <a:spcPts val="1200"/>
              </a:spcAft>
              <a:buFontTx/>
              <a:buNone/>
              <a:tabLst>
                <a:tab pos="542925" algn="l"/>
              </a:tabLst>
              <a:defRPr sz="1200">
                <a:solidFill>
                  <a:schemeClr val="tx1"/>
                </a:solidFill>
              </a:defRPr>
            </a:lvl8pPr>
            <a:lvl9pPr marL="0" indent="0">
              <a:spcAft>
                <a:spcPts val="1200"/>
              </a:spcAft>
              <a:buFontTx/>
              <a:buNone/>
              <a:tabLst>
                <a:tab pos="542925" algn="l"/>
              </a:tabLst>
              <a:defRPr sz="12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7" name="Text Placeholder 11">
            <a:extLst>
              <a:ext uri="{FF2B5EF4-FFF2-40B4-BE49-F238E27FC236}">
                <a16:creationId xmlns:a16="http://schemas.microsoft.com/office/drawing/2014/main" id="{99CF1FAE-CCF4-4690-9846-795DDD5114B5}"/>
              </a:ext>
            </a:extLst>
          </p:cNvPr>
          <p:cNvSpPr>
            <a:spLocks noGrp="1"/>
          </p:cNvSpPr>
          <p:nvPr>
            <p:ph type="body" sz="quarter" idx="37" hasCustomPrompt="1"/>
          </p:nvPr>
        </p:nvSpPr>
        <p:spPr bwMode="gray">
          <a:xfrm>
            <a:off x="9012324" y="4041284"/>
            <a:ext cx="2592000" cy="2088000"/>
          </a:xfrm>
        </p:spPr>
        <p:txBody>
          <a:bodyPr/>
          <a:lstStyle>
            <a:lvl1pPr>
              <a:spcAft>
                <a:spcPts val="0"/>
              </a:spcAft>
              <a:tabLst>
                <a:tab pos="542925" algn="l"/>
              </a:tabLst>
              <a:defRPr sz="1200" b="1">
                <a:solidFill>
                  <a:schemeClr val="tx1"/>
                </a:solidFill>
              </a:defRPr>
            </a:lvl1pPr>
            <a:lvl2pPr marL="0" indent="0">
              <a:spcAft>
                <a:spcPts val="1200"/>
              </a:spcAft>
              <a:buFontTx/>
              <a:buNone/>
              <a:tabLst>
                <a:tab pos="542925" algn="l"/>
              </a:tabLst>
              <a:defRPr sz="1200" b="0">
                <a:solidFill>
                  <a:schemeClr val="accent1"/>
                </a:solidFill>
              </a:defRPr>
            </a:lvl2pPr>
            <a:lvl3pPr marL="0" indent="0">
              <a:spcAft>
                <a:spcPts val="1200"/>
              </a:spcAft>
              <a:buFontTx/>
              <a:buNone/>
              <a:tabLst>
                <a:tab pos="542925" algn="l"/>
              </a:tabLst>
              <a:defRPr sz="1200">
                <a:solidFill>
                  <a:schemeClr val="tx1"/>
                </a:solidFill>
              </a:defRPr>
            </a:lvl3pPr>
            <a:lvl4pPr marL="0" indent="0">
              <a:spcAft>
                <a:spcPts val="1200"/>
              </a:spcAft>
              <a:buFontTx/>
              <a:buNone/>
              <a:tabLst>
                <a:tab pos="542925" algn="l"/>
              </a:tabLst>
              <a:defRPr sz="1200">
                <a:solidFill>
                  <a:schemeClr val="tx1"/>
                </a:solidFill>
              </a:defRPr>
            </a:lvl4pPr>
            <a:lvl5pPr marL="0" indent="0">
              <a:spcAft>
                <a:spcPts val="1200"/>
              </a:spcAft>
              <a:buFontTx/>
              <a:buNone/>
              <a:tabLst>
                <a:tab pos="542925" algn="l"/>
              </a:tabLst>
              <a:defRPr sz="1200">
                <a:solidFill>
                  <a:schemeClr val="tx1"/>
                </a:solidFill>
              </a:defRPr>
            </a:lvl5pPr>
            <a:lvl6pPr marL="0" indent="0">
              <a:spcAft>
                <a:spcPts val="1200"/>
              </a:spcAft>
              <a:buFontTx/>
              <a:buNone/>
              <a:tabLst>
                <a:tab pos="623888" algn="l"/>
              </a:tabLst>
              <a:defRPr sz="1200">
                <a:solidFill>
                  <a:schemeClr val="tx1"/>
                </a:solidFill>
              </a:defRPr>
            </a:lvl6pPr>
            <a:lvl7pPr marL="0" indent="0">
              <a:spcAft>
                <a:spcPts val="1200"/>
              </a:spcAft>
              <a:buFontTx/>
              <a:buNone/>
              <a:tabLst>
                <a:tab pos="542925" algn="l"/>
              </a:tabLst>
              <a:defRPr sz="1200">
                <a:solidFill>
                  <a:schemeClr val="tx1"/>
                </a:solidFill>
              </a:defRPr>
            </a:lvl7pPr>
            <a:lvl8pPr marL="0" indent="0">
              <a:spcAft>
                <a:spcPts val="1200"/>
              </a:spcAft>
              <a:buFontTx/>
              <a:buNone/>
              <a:tabLst>
                <a:tab pos="542925" algn="l"/>
              </a:tabLst>
              <a:defRPr sz="1200">
                <a:solidFill>
                  <a:schemeClr val="tx1"/>
                </a:solidFill>
              </a:defRPr>
            </a:lvl8pPr>
            <a:lvl9pPr marL="0" indent="0">
              <a:spcAft>
                <a:spcPts val="1200"/>
              </a:spcAft>
              <a:buFontTx/>
              <a:buNone/>
              <a:tabLst>
                <a:tab pos="542925" algn="l"/>
              </a:tabLst>
              <a:defRPr sz="12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6"/>
            <a:endParaRPr lang="en-GB" noProof="0"/>
          </a:p>
        </p:txBody>
      </p:sp>
      <p:sp>
        <p:nvSpPr>
          <p:cNvPr id="3" name="Datumsplatzhalter 2">
            <a:extLst>
              <a:ext uri="{FF2B5EF4-FFF2-40B4-BE49-F238E27FC236}">
                <a16:creationId xmlns:a16="http://schemas.microsoft.com/office/drawing/2014/main" id="{C9EDB3AE-B641-4061-8B21-63E4B215070F}"/>
              </a:ext>
            </a:extLst>
          </p:cNvPr>
          <p:cNvSpPr>
            <a:spLocks noGrp="1"/>
          </p:cNvSpPr>
          <p:nvPr>
            <p:ph type="dt" sz="half" idx="38"/>
          </p:nvPr>
        </p:nvSpPr>
        <p:spPr bwMode="gray"/>
        <p:txBody>
          <a:bodyPr/>
          <a:lstStyle/>
          <a:p>
            <a:endParaRPr lang="en-US"/>
          </a:p>
        </p:txBody>
      </p:sp>
      <p:sp>
        <p:nvSpPr>
          <p:cNvPr id="4" name="Fußzeilenplatzhalter 3">
            <a:extLst>
              <a:ext uri="{FF2B5EF4-FFF2-40B4-BE49-F238E27FC236}">
                <a16:creationId xmlns:a16="http://schemas.microsoft.com/office/drawing/2014/main" id="{BA8C0908-9F71-43F7-934C-1397264E6D73}"/>
              </a:ext>
            </a:extLst>
          </p:cNvPr>
          <p:cNvSpPr>
            <a:spLocks noGrp="1"/>
          </p:cNvSpPr>
          <p:nvPr>
            <p:ph type="ftr" sz="quarter" idx="39"/>
          </p:nvPr>
        </p:nvSpPr>
        <p:spPr bwMode="gray"/>
        <p:txBody>
          <a:bodyPr/>
          <a:lstStyle/>
          <a:p>
            <a:endParaRPr lang="en-US"/>
          </a:p>
        </p:txBody>
      </p:sp>
      <p:sp>
        <p:nvSpPr>
          <p:cNvPr id="6" name="Foliennummernplatzhalter 5">
            <a:extLst>
              <a:ext uri="{FF2B5EF4-FFF2-40B4-BE49-F238E27FC236}">
                <a16:creationId xmlns:a16="http://schemas.microsoft.com/office/drawing/2014/main" id="{0D1F0E2F-BFEC-48E3-BF96-A331862EE402}"/>
              </a:ext>
            </a:extLst>
          </p:cNvPr>
          <p:cNvSpPr>
            <a:spLocks noGrp="1"/>
          </p:cNvSpPr>
          <p:nvPr>
            <p:ph type="sldNum" sz="quarter" idx="40"/>
          </p:nvPr>
        </p:nvSpPr>
        <p:spPr bwMode="gray"/>
        <p:txBody>
          <a:bodyPr/>
          <a:lstStyle/>
          <a:p>
            <a:fld id="{BFCA3128-5B09-47E5-B47D-6F0CB7A5DE9F}" type="slidenum">
              <a:rPr lang="en-US"/>
              <a:t>‹#›</a:t>
            </a:fld>
            <a:endParaRPr lang="en-US"/>
          </a:p>
        </p:txBody>
      </p:sp>
    </p:spTree>
    <p:extLst>
      <p:ext uri="{BB962C8B-B14F-4D97-AF65-F5344CB8AC3E}">
        <p14:creationId xmlns:p14="http://schemas.microsoft.com/office/powerpoint/2010/main" val="3514397325"/>
      </p:ext>
    </p:extLst>
  </p:cSld>
  <p:clrMapOvr>
    <a:masterClrMapping/>
  </p:clrMapOvr>
  <p:extLst>
    <p:ext uri="{DCECCB84-F9BA-43D5-87BE-67443E8EF086}">
      <p15:sldGuideLst xmlns:p15="http://schemas.microsoft.com/office/powerpoint/2012/main">
        <p15:guide id="3" pos="3772">
          <p15:clr>
            <a:srgbClr val="F26B43"/>
          </p15:clr>
        </p15:guide>
        <p15:guide id="14" pos="370">
          <p15:clr>
            <a:srgbClr val="F26B43"/>
          </p15:clr>
        </p15:guide>
        <p15:guide id="15" pos="7310">
          <p15:clr>
            <a:srgbClr val="F26B43"/>
          </p15:clr>
        </p15:guide>
        <p15:guide id="16" pos="3908">
          <p15:clr>
            <a:srgbClr val="F26B43"/>
          </p15:clr>
        </p15:guide>
        <p15:guide id="17" orient="horz" pos="1071">
          <p15:clr>
            <a:srgbClr val="F26B43"/>
          </p15:clr>
        </p15:guide>
        <p15:guide id="18" orient="horz" pos="3861">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sclaimer | White">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FFC22F4-DBFC-4B88-9AE7-1E17DD970406}"/>
              </a:ext>
            </a:extLst>
          </p:cNvPr>
          <p:cNvGraphicFramePr>
            <a:graphicFrameLocks noChangeAspect="1"/>
          </p:cNvGraphicFramePr>
          <p:nvPr>
            <p:custDataLst>
              <p:tags r:id="rId2"/>
            </p:custDataLst>
            <p:extLst>
              <p:ext uri="{D42A27DB-BD31-4B8C-83A1-F6EECF244321}">
                <p14:modId xmlns:p14="http://schemas.microsoft.com/office/powerpoint/2010/main" val="1226831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6" name="think-cell Slide" r:id="rId4" imgW="359" imgH="358" progId="TCLayout.ActiveDocument.1">
                  <p:embed/>
                </p:oleObj>
              </mc:Choice>
              <mc:Fallback>
                <p:oleObj name="think-cell Slide" r:id="rId4" imgW="359" imgH="358" progId="TCLayout.ActiveDocument.1">
                  <p:embed/>
                  <p:pic>
                    <p:nvPicPr>
                      <p:cNvPr id="3" name="Objekt 2" hidden="1">
                        <a:extLst>
                          <a:ext uri="{FF2B5EF4-FFF2-40B4-BE49-F238E27FC236}">
                            <a16:creationId xmlns:a16="http://schemas.microsoft.com/office/drawing/2014/main" id="{2FFC22F4-DBFC-4B88-9AE7-1E17DD9704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676713BB-6DEF-4943-8D41-279B0471E5FB}"/>
              </a:ext>
            </a:extLst>
          </p:cNvPr>
          <p:cNvSpPr>
            <a:spLocks noGrp="1"/>
          </p:cNvSpPr>
          <p:nvPr>
            <p:ph type="body" sz="quarter" idx="12" hasCustomPrompt="1"/>
          </p:nvPr>
        </p:nvSpPr>
        <p:spPr bwMode="gray">
          <a:xfrm>
            <a:off x="587376" y="1916113"/>
            <a:ext cx="11017250" cy="4213224"/>
          </a:xfrm>
        </p:spPr>
        <p:txBody>
          <a:bodyPr numCol="2" spcCol="432000"/>
          <a:lstStyle>
            <a:lvl1pPr>
              <a:lnSpc>
                <a:spcPct val="110000"/>
              </a:lnSpc>
              <a:defRPr sz="800" b="1">
                <a:solidFill>
                  <a:schemeClr val="tx1"/>
                </a:solidFill>
              </a:defRPr>
            </a:lvl1pPr>
            <a:lvl2pPr marL="0" indent="0">
              <a:lnSpc>
                <a:spcPct val="110000"/>
              </a:lnSpc>
              <a:spcAft>
                <a:spcPts val="400"/>
              </a:spcAft>
              <a:buFontTx/>
              <a:buNone/>
              <a:defRPr sz="800">
                <a:solidFill>
                  <a:schemeClr val="tx1"/>
                </a:solidFill>
              </a:defRPr>
            </a:lvl2pPr>
            <a:lvl3pPr marL="108000" indent="-108000">
              <a:lnSpc>
                <a:spcPct val="110000"/>
              </a:lnSpc>
              <a:spcAft>
                <a:spcPts val="400"/>
              </a:spcAft>
              <a:defRPr sz="800">
                <a:solidFill>
                  <a:schemeClr val="tx1"/>
                </a:solidFill>
              </a:defRPr>
            </a:lvl3pPr>
            <a:lvl4pPr marL="216000" indent="-108000">
              <a:lnSpc>
                <a:spcPct val="110000"/>
              </a:lnSpc>
              <a:spcAft>
                <a:spcPts val="400"/>
              </a:spcAft>
              <a:defRPr sz="800">
                <a:solidFill>
                  <a:schemeClr val="tx1"/>
                </a:solidFill>
              </a:defRPr>
            </a:lvl4pPr>
            <a:lvl5pPr marL="324000" indent="-108000">
              <a:lnSpc>
                <a:spcPct val="110000"/>
              </a:lnSpc>
              <a:spcAft>
                <a:spcPts val="400"/>
              </a:spcAft>
              <a:defRPr sz="800">
                <a:solidFill>
                  <a:schemeClr val="tx1"/>
                </a:solidFill>
              </a:defRPr>
            </a:lvl5pPr>
            <a:lvl6pPr marL="432000" indent="-108000">
              <a:lnSpc>
                <a:spcPct val="110000"/>
              </a:lnSpc>
              <a:spcAft>
                <a:spcPts val="400"/>
              </a:spcAft>
              <a:buFont typeface="Wingdings" panose="05000000000000000000" pitchFamily="2" charset="2"/>
              <a:buChar char="§"/>
              <a:defRPr sz="800">
                <a:solidFill>
                  <a:schemeClr val="tx1"/>
                </a:solidFill>
              </a:defRPr>
            </a:lvl6pPr>
            <a:lvl7pPr marL="432000" indent="-108000">
              <a:lnSpc>
                <a:spcPct val="110000"/>
              </a:lnSpc>
              <a:spcAft>
                <a:spcPts val="400"/>
              </a:spcAft>
              <a:defRPr sz="800">
                <a:solidFill>
                  <a:schemeClr val="tx1"/>
                </a:solidFill>
              </a:defRPr>
            </a:lvl7pPr>
            <a:lvl8pPr marL="432000" indent="-108000">
              <a:lnSpc>
                <a:spcPct val="110000"/>
              </a:lnSpc>
              <a:spcAft>
                <a:spcPts val="400"/>
              </a:spcAft>
              <a:defRPr sz="800">
                <a:solidFill>
                  <a:schemeClr val="tx1"/>
                </a:solidFill>
              </a:defRPr>
            </a:lvl8pPr>
            <a:lvl9pPr marL="432000" indent="-108000">
              <a:lnSpc>
                <a:spcPct val="110000"/>
              </a:lnSpc>
              <a:spcAft>
                <a:spcPts val="400"/>
              </a:spcAft>
              <a:defRPr sz="8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a:p>
            <a:pPr lvl="0"/>
            <a:endParaRPr lang="en-GB" noProof="0"/>
          </a:p>
        </p:txBody>
      </p:sp>
      <p:sp>
        <p:nvSpPr>
          <p:cNvPr id="6" name="Titel 5">
            <a:extLst>
              <a:ext uri="{FF2B5EF4-FFF2-40B4-BE49-F238E27FC236}">
                <a16:creationId xmlns:a16="http://schemas.microsoft.com/office/drawing/2014/main" id="{EA3474D0-42D7-4108-BB28-3A894871C132}"/>
              </a:ext>
            </a:extLst>
          </p:cNvPr>
          <p:cNvSpPr>
            <a:spLocks noGrp="1"/>
          </p:cNvSpPr>
          <p:nvPr>
            <p:ph type="title" hasCustomPrompt="1"/>
          </p:nvPr>
        </p:nvSpPr>
        <p:spPr bwMode="gray"/>
        <p:txBody>
          <a:bodyPr vert="horz"/>
          <a:lstStyle>
            <a:lvl1pPr>
              <a:defRPr/>
            </a:lvl1pPr>
          </a:lstStyle>
          <a:p>
            <a:r>
              <a:rPr lang="en-GB" noProof="0"/>
              <a:t>Disclaimer</a:t>
            </a:r>
          </a:p>
        </p:txBody>
      </p:sp>
      <p:sp>
        <p:nvSpPr>
          <p:cNvPr id="5" name="Datumsplatzhalter 4">
            <a:extLst>
              <a:ext uri="{FF2B5EF4-FFF2-40B4-BE49-F238E27FC236}">
                <a16:creationId xmlns:a16="http://schemas.microsoft.com/office/drawing/2014/main" id="{9A3423B9-9043-4ACE-837B-D85F06B747A7}"/>
              </a:ext>
            </a:extLst>
          </p:cNvPr>
          <p:cNvSpPr>
            <a:spLocks noGrp="1"/>
          </p:cNvSpPr>
          <p:nvPr>
            <p:ph type="dt" sz="half" idx="13"/>
          </p:nvPr>
        </p:nvSpPr>
        <p:spPr bwMode="gray"/>
        <p:txBody>
          <a:bodyPr/>
          <a:lstStyle/>
          <a:p>
            <a:endParaRPr lang="en-US"/>
          </a:p>
        </p:txBody>
      </p:sp>
      <p:sp>
        <p:nvSpPr>
          <p:cNvPr id="9" name="Fußzeilenplatzhalter 8">
            <a:extLst>
              <a:ext uri="{FF2B5EF4-FFF2-40B4-BE49-F238E27FC236}">
                <a16:creationId xmlns:a16="http://schemas.microsoft.com/office/drawing/2014/main" id="{473A93CA-DA9C-45DE-8427-78C9297CFDD6}"/>
              </a:ext>
            </a:extLst>
          </p:cNvPr>
          <p:cNvSpPr>
            <a:spLocks noGrp="1"/>
          </p:cNvSpPr>
          <p:nvPr>
            <p:ph type="ftr" sz="quarter" idx="14"/>
          </p:nvPr>
        </p:nvSpPr>
        <p:spPr bwMode="gray"/>
        <p:txBody>
          <a:bodyPr/>
          <a:lstStyle/>
          <a:p>
            <a:endParaRPr lang="en-US"/>
          </a:p>
        </p:txBody>
      </p:sp>
      <p:sp>
        <p:nvSpPr>
          <p:cNvPr id="10" name="Foliennummernplatzhalter 9">
            <a:extLst>
              <a:ext uri="{FF2B5EF4-FFF2-40B4-BE49-F238E27FC236}">
                <a16:creationId xmlns:a16="http://schemas.microsoft.com/office/drawing/2014/main" id="{6D2806F9-E0E2-44F1-B868-B91A0D0E1856}"/>
              </a:ext>
            </a:extLst>
          </p:cNvPr>
          <p:cNvSpPr>
            <a:spLocks noGrp="1"/>
          </p:cNvSpPr>
          <p:nvPr>
            <p:ph type="sldNum" sz="quarter" idx="15"/>
          </p:nvPr>
        </p:nvSpPr>
        <p:spPr bwMode="gray"/>
        <p:txBody>
          <a:bodyPr/>
          <a:lstStyle/>
          <a:p>
            <a:fld id="{BFCA3128-5B09-47E5-B47D-6F0CB7A5DE9F}" type="slidenum">
              <a:rPr lang="en-US"/>
              <a:t>‹#›</a:t>
            </a:fld>
            <a:endParaRPr lang="en-US"/>
          </a:p>
        </p:txBody>
      </p:sp>
    </p:spTree>
    <p:extLst>
      <p:ext uri="{BB962C8B-B14F-4D97-AF65-F5344CB8AC3E}">
        <p14:creationId xmlns:p14="http://schemas.microsoft.com/office/powerpoint/2010/main" val="1459630834"/>
      </p:ext>
    </p:extLst>
  </p:cSld>
  <p:clrMapOvr>
    <a:masterClrMapping/>
  </p:clrMapOvr>
  <p:extLst>
    <p:ext uri="{DCECCB84-F9BA-43D5-87BE-67443E8EF086}">
      <p15:sldGuideLst xmlns:p15="http://schemas.microsoft.com/office/powerpoint/2012/main">
        <p15:guide id="1" pos="370">
          <p15:clr>
            <a:srgbClr val="F26B43"/>
          </p15:clr>
        </p15:guide>
        <p15:guide id="3" orient="horz" pos="3861">
          <p15:clr>
            <a:srgbClr val="F26B43"/>
          </p15:clr>
        </p15:guide>
        <p15:guide id="4" orient="horz" pos="1071">
          <p15:clr>
            <a:srgbClr val="F26B43"/>
          </p15:clr>
        </p15:guide>
        <p15:guide id="5" pos="7310">
          <p15:clr>
            <a:srgbClr val="F26B43"/>
          </p15:clr>
        </p15:guide>
        <p15:guide id="6" pos="3772">
          <p15:clr>
            <a:srgbClr val="F26B43"/>
          </p15:clr>
        </p15:guide>
        <p15:guide id="7" pos="3908">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Disclaimer | Colour">
    <p:bg>
      <p:bgPr>
        <a:solidFill>
          <a:schemeClr val="accent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6BAB18FD-2557-4F6F-BF48-60BACDF83AD9}"/>
              </a:ext>
            </a:extLst>
          </p:cNvPr>
          <p:cNvGraphicFramePr>
            <a:graphicFrameLocks noChangeAspect="1"/>
          </p:cNvGraphicFramePr>
          <p:nvPr>
            <p:custDataLst>
              <p:tags r:id="rId2"/>
            </p:custDataLst>
            <p:extLst>
              <p:ext uri="{D42A27DB-BD31-4B8C-83A1-F6EECF244321}">
                <p14:modId xmlns:p14="http://schemas.microsoft.com/office/powerpoint/2010/main" val="1702444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0" name="think-cell Slide" r:id="rId4" imgW="359" imgH="358" progId="TCLayout.ActiveDocument.1">
                  <p:embed/>
                </p:oleObj>
              </mc:Choice>
              <mc:Fallback>
                <p:oleObj name="think-cell Slide" r:id="rId4" imgW="359" imgH="358" progId="TCLayout.ActiveDocument.1">
                  <p:embed/>
                  <p:pic>
                    <p:nvPicPr>
                      <p:cNvPr id="2" name="Objekt 1" hidden="1">
                        <a:extLst>
                          <a:ext uri="{FF2B5EF4-FFF2-40B4-BE49-F238E27FC236}">
                            <a16:creationId xmlns:a16="http://schemas.microsoft.com/office/drawing/2014/main" id="{6BAB18FD-2557-4F6F-BF48-60BACDF83A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676713BB-6DEF-4943-8D41-279B0471E5FB}"/>
              </a:ext>
            </a:extLst>
          </p:cNvPr>
          <p:cNvSpPr>
            <a:spLocks noGrp="1"/>
          </p:cNvSpPr>
          <p:nvPr>
            <p:ph type="body" sz="quarter" idx="12" hasCustomPrompt="1"/>
          </p:nvPr>
        </p:nvSpPr>
        <p:spPr bwMode="gray">
          <a:xfrm>
            <a:off x="587376" y="1916113"/>
            <a:ext cx="11017250" cy="4213224"/>
          </a:xfrm>
        </p:spPr>
        <p:txBody>
          <a:bodyPr numCol="2" spcCol="432000"/>
          <a:lstStyle>
            <a:lvl1pPr>
              <a:defRPr sz="800" b="1">
                <a:solidFill>
                  <a:schemeClr val="tx1"/>
                </a:solidFill>
              </a:defRPr>
            </a:lvl1pPr>
            <a:lvl2pPr marL="0" indent="0">
              <a:spcAft>
                <a:spcPts val="400"/>
              </a:spcAft>
              <a:buFontTx/>
              <a:buNone/>
              <a:defRPr sz="800">
                <a:solidFill>
                  <a:schemeClr val="tx1"/>
                </a:solidFill>
              </a:defRPr>
            </a:lvl2pPr>
            <a:lvl3pPr marL="108000" indent="-108000">
              <a:spcAft>
                <a:spcPts val="400"/>
              </a:spcAft>
              <a:defRPr sz="800">
                <a:solidFill>
                  <a:schemeClr val="tx1"/>
                </a:solidFill>
              </a:defRPr>
            </a:lvl3pPr>
            <a:lvl4pPr marL="216000" indent="-108000">
              <a:spcAft>
                <a:spcPts val="400"/>
              </a:spcAft>
              <a:defRPr sz="800">
                <a:solidFill>
                  <a:schemeClr val="tx1"/>
                </a:solidFill>
              </a:defRPr>
            </a:lvl4pPr>
            <a:lvl5pPr marL="324000" indent="-108000">
              <a:spcAft>
                <a:spcPts val="400"/>
              </a:spcAft>
              <a:defRPr sz="800">
                <a:solidFill>
                  <a:schemeClr val="tx1"/>
                </a:solidFill>
              </a:defRPr>
            </a:lvl5pPr>
            <a:lvl6pPr marL="432000" indent="-108000">
              <a:spcAft>
                <a:spcPts val="400"/>
              </a:spcAft>
              <a:buFont typeface="Wingdings" panose="05000000000000000000" pitchFamily="2" charset="2"/>
              <a:buChar char="§"/>
              <a:defRPr sz="800">
                <a:solidFill>
                  <a:schemeClr val="tx1"/>
                </a:solidFill>
              </a:defRPr>
            </a:lvl6pPr>
            <a:lvl7pPr marL="432000" indent="-108000">
              <a:spcAft>
                <a:spcPts val="400"/>
              </a:spcAft>
              <a:defRPr sz="800">
                <a:solidFill>
                  <a:schemeClr val="tx1"/>
                </a:solidFill>
              </a:defRPr>
            </a:lvl7pPr>
            <a:lvl8pPr marL="432000" indent="-108000">
              <a:spcAft>
                <a:spcPts val="400"/>
              </a:spcAft>
              <a:defRPr sz="800">
                <a:solidFill>
                  <a:schemeClr val="tx1"/>
                </a:solidFill>
              </a:defRPr>
            </a:lvl8pPr>
            <a:lvl9pPr marL="432000" indent="-108000">
              <a:spcAft>
                <a:spcPts val="400"/>
              </a:spcAft>
              <a:defRPr sz="800">
                <a:solidFill>
                  <a:schemeClr val="tx1"/>
                </a:solidFill>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Titel 5">
            <a:extLst>
              <a:ext uri="{FF2B5EF4-FFF2-40B4-BE49-F238E27FC236}">
                <a16:creationId xmlns:a16="http://schemas.microsoft.com/office/drawing/2014/main" id="{EA3474D0-42D7-4108-BB28-3A894871C132}"/>
              </a:ext>
            </a:extLst>
          </p:cNvPr>
          <p:cNvSpPr>
            <a:spLocks noGrp="1"/>
          </p:cNvSpPr>
          <p:nvPr>
            <p:ph type="title" hasCustomPrompt="1"/>
          </p:nvPr>
        </p:nvSpPr>
        <p:spPr bwMode="gray"/>
        <p:txBody>
          <a:bodyPr vert="horz"/>
          <a:lstStyle>
            <a:lvl1pPr>
              <a:defRPr>
                <a:solidFill>
                  <a:schemeClr val="tx1"/>
                </a:solidFill>
              </a:defRPr>
            </a:lvl1pPr>
          </a:lstStyle>
          <a:p>
            <a:r>
              <a:rPr lang="en-GB" noProof="0"/>
              <a:t>Disclaimer</a:t>
            </a:r>
          </a:p>
        </p:txBody>
      </p:sp>
      <p:sp>
        <p:nvSpPr>
          <p:cNvPr id="3" name="Datumsplatzhalter 2">
            <a:extLst>
              <a:ext uri="{FF2B5EF4-FFF2-40B4-BE49-F238E27FC236}">
                <a16:creationId xmlns:a16="http://schemas.microsoft.com/office/drawing/2014/main" id="{4321931A-9137-494C-8BCE-8980E0B2ADE4}"/>
              </a:ext>
            </a:extLst>
          </p:cNvPr>
          <p:cNvSpPr>
            <a:spLocks noGrp="1"/>
          </p:cNvSpPr>
          <p:nvPr>
            <p:ph type="dt" sz="half" idx="13"/>
          </p:nvPr>
        </p:nvSpPr>
        <p:spPr bwMode="gray"/>
        <p:txBody>
          <a:bodyPr/>
          <a:lstStyle>
            <a:lvl1pPr>
              <a:defRPr>
                <a:solidFill>
                  <a:schemeClr val="tx1"/>
                </a:solidFill>
              </a:defRPr>
            </a:lvl1pPr>
          </a:lstStyle>
          <a:p>
            <a:endParaRPr lang="en-US"/>
          </a:p>
        </p:txBody>
      </p:sp>
      <p:sp>
        <p:nvSpPr>
          <p:cNvPr id="4" name="Fußzeilenplatzhalter 3">
            <a:extLst>
              <a:ext uri="{FF2B5EF4-FFF2-40B4-BE49-F238E27FC236}">
                <a16:creationId xmlns:a16="http://schemas.microsoft.com/office/drawing/2014/main" id="{7FF10BA4-FECB-4BD7-90FB-52B537E389E7}"/>
              </a:ext>
            </a:extLst>
          </p:cNvPr>
          <p:cNvSpPr>
            <a:spLocks noGrp="1"/>
          </p:cNvSpPr>
          <p:nvPr>
            <p:ph type="ftr" sz="quarter" idx="14"/>
          </p:nvPr>
        </p:nvSpPr>
        <p:spPr bwMode="gray">
          <a:xfrm>
            <a:off x="587388" y="6381352"/>
            <a:ext cx="1928413" cy="138499"/>
          </a:xfrm>
        </p:spPr>
        <p:txBody>
          <a:bodyPr/>
          <a:lstStyle>
            <a:lvl1pPr>
              <a:defRPr>
                <a:solidFill>
                  <a:schemeClr val="tx1"/>
                </a:solidFill>
              </a:defRPr>
            </a:lvl1pPr>
          </a:lstStyle>
          <a:p>
            <a:endParaRPr lang="en-US"/>
          </a:p>
        </p:txBody>
      </p:sp>
      <p:sp>
        <p:nvSpPr>
          <p:cNvPr id="5" name="Foliennummernplatzhalter 4">
            <a:extLst>
              <a:ext uri="{FF2B5EF4-FFF2-40B4-BE49-F238E27FC236}">
                <a16:creationId xmlns:a16="http://schemas.microsoft.com/office/drawing/2014/main" id="{E261C2A8-A340-48D3-BE8B-3EAF39322E02}"/>
              </a:ext>
            </a:extLst>
          </p:cNvPr>
          <p:cNvSpPr>
            <a:spLocks noGrp="1"/>
          </p:cNvSpPr>
          <p:nvPr>
            <p:ph type="sldNum" sz="quarter" idx="15"/>
          </p:nvPr>
        </p:nvSpPr>
        <p:spPr bwMode="gray"/>
        <p:txBody>
          <a:bodyPr/>
          <a:lstStyle>
            <a:lvl1pPr>
              <a:defRPr>
                <a:solidFill>
                  <a:schemeClr val="tx1"/>
                </a:solidFill>
              </a:defRPr>
            </a:lvl1pPr>
          </a:lstStyle>
          <a:p>
            <a:fld id="{BFCA3128-5B09-47E5-B47D-6F0CB7A5DE9F}" type="slidenum">
              <a:rPr lang="en-US"/>
              <a:t>‹#›</a:t>
            </a:fld>
            <a:endParaRPr lang="en-US"/>
          </a:p>
        </p:txBody>
      </p:sp>
    </p:spTree>
    <p:extLst>
      <p:ext uri="{BB962C8B-B14F-4D97-AF65-F5344CB8AC3E}">
        <p14:creationId xmlns:p14="http://schemas.microsoft.com/office/powerpoint/2010/main" val="245692079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70">
          <p15:clr>
            <a:srgbClr val="F26B43"/>
          </p15:clr>
        </p15:guide>
        <p15:guide id="3" orient="horz" pos="3861">
          <p15:clr>
            <a:srgbClr val="F26B43"/>
          </p15:clr>
        </p15:guide>
        <p15:guide id="4" orient="horz" pos="1071">
          <p15:clr>
            <a:srgbClr val="F26B43"/>
          </p15:clr>
        </p15:guide>
        <p15:guide id="5" pos="7310">
          <p15:clr>
            <a:srgbClr val="F26B43"/>
          </p15:clr>
        </p15:guide>
        <p15:guide id="6" pos="3772">
          <p15:clr>
            <a:srgbClr val="F26B43"/>
          </p15:clr>
        </p15:guide>
        <p15:guide id="7" pos="3908">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image" Target="../media/image7.png"/><Relationship Id="rId5" Type="http://schemas.openxmlformats.org/officeDocument/2006/relationships/theme" Target="../theme/theme2.xml"/><Relationship Id="rId4"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slideLayout" Target="../slideLayouts/slideLayout43.xml"/><Relationship Id="rId39" Type="http://schemas.openxmlformats.org/officeDocument/2006/relationships/slideLayout" Target="../slideLayouts/slideLayout56.xml"/><Relationship Id="rId21" Type="http://schemas.openxmlformats.org/officeDocument/2006/relationships/slideLayout" Target="../slideLayouts/slideLayout38.xml"/><Relationship Id="rId34" Type="http://schemas.openxmlformats.org/officeDocument/2006/relationships/slideLayout" Target="../slideLayouts/slideLayout51.xml"/><Relationship Id="rId42" Type="http://schemas.openxmlformats.org/officeDocument/2006/relationships/slideLayout" Target="../slideLayouts/slideLayout59.xml"/><Relationship Id="rId47" Type="http://schemas.openxmlformats.org/officeDocument/2006/relationships/vmlDrawing" Target="../drawings/vmlDrawing1.vml"/><Relationship Id="rId50" Type="http://schemas.openxmlformats.org/officeDocument/2006/relationships/tags" Target="../tags/tag3.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9" Type="http://schemas.openxmlformats.org/officeDocument/2006/relationships/slideLayout" Target="../slideLayouts/slideLayout46.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32" Type="http://schemas.openxmlformats.org/officeDocument/2006/relationships/slideLayout" Target="../slideLayouts/slideLayout49.xml"/><Relationship Id="rId37" Type="http://schemas.openxmlformats.org/officeDocument/2006/relationships/slideLayout" Target="../slideLayouts/slideLayout54.xml"/><Relationship Id="rId40" Type="http://schemas.openxmlformats.org/officeDocument/2006/relationships/slideLayout" Target="../slideLayouts/slideLayout57.xml"/><Relationship Id="rId45" Type="http://schemas.openxmlformats.org/officeDocument/2006/relationships/slideLayout" Target="../slideLayouts/slideLayout62.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slideLayout" Target="../slideLayouts/slideLayout45.xml"/><Relationship Id="rId36" Type="http://schemas.openxmlformats.org/officeDocument/2006/relationships/slideLayout" Target="../slideLayouts/slideLayout53.xml"/><Relationship Id="rId49" Type="http://schemas.openxmlformats.org/officeDocument/2006/relationships/tags" Target="../tags/tag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31" Type="http://schemas.openxmlformats.org/officeDocument/2006/relationships/slideLayout" Target="../slideLayouts/slideLayout48.xml"/><Relationship Id="rId44" Type="http://schemas.openxmlformats.org/officeDocument/2006/relationships/slideLayout" Target="../slideLayouts/slideLayout61.xml"/><Relationship Id="rId52" Type="http://schemas.openxmlformats.org/officeDocument/2006/relationships/image" Target="../media/image8.emf"/><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slideLayout" Target="../slideLayouts/slideLayout44.xml"/><Relationship Id="rId30" Type="http://schemas.openxmlformats.org/officeDocument/2006/relationships/slideLayout" Target="../slideLayouts/slideLayout47.xml"/><Relationship Id="rId35" Type="http://schemas.openxmlformats.org/officeDocument/2006/relationships/slideLayout" Target="../slideLayouts/slideLayout52.xml"/><Relationship Id="rId43" Type="http://schemas.openxmlformats.org/officeDocument/2006/relationships/slideLayout" Target="../slideLayouts/slideLayout60.xml"/><Relationship Id="rId48" Type="http://schemas.openxmlformats.org/officeDocument/2006/relationships/tags" Target="../tags/tag1.xml"/><Relationship Id="rId8" Type="http://schemas.openxmlformats.org/officeDocument/2006/relationships/slideLayout" Target="../slideLayouts/slideLayout25.xml"/><Relationship Id="rId51" Type="http://schemas.openxmlformats.org/officeDocument/2006/relationships/oleObject" Target="../embeddings/oleObject1.bin"/><Relationship Id="rId3" Type="http://schemas.openxmlformats.org/officeDocument/2006/relationships/slideLayout" Target="../slideLayouts/slideLayout20.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33" Type="http://schemas.openxmlformats.org/officeDocument/2006/relationships/slideLayout" Target="../slideLayouts/slideLayout50.xml"/><Relationship Id="rId38" Type="http://schemas.openxmlformats.org/officeDocument/2006/relationships/slideLayout" Target="../slideLayouts/slideLayout55.xml"/><Relationship Id="rId46" Type="http://schemas.openxmlformats.org/officeDocument/2006/relationships/theme" Target="../theme/theme3.xml"/><Relationship Id="rId20" Type="http://schemas.openxmlformats.org/officeDocument/2006/relationships/slideLayout" Target="../slideLayouts/slideLayout37.xml"/><Relationship Id="rId41" Type="http://schemas.openxmlformats.org/officeDocument/2006/relationships/slideLayout" Target="../slideLayouts/slideLayout58.xml"/><Relationship Id="rId1" Type="http://schemas.openxmlformats.org/officeDocument/2006/relationships/slideLayout" Target="../slideLayouts/slideLayout18.xml"/><Relationship Id="rId6"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tags" Target="../tags/tag41.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oleObject" Target="../embeddings/oleObject39.bin"/><Relationship Id="rId7" Type="http://schemas.openxmlformats.org/officeDocument/2006/relationships/slideLayout" Target="../slideLayouts/slideLayout6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41" Type="http://schemas.openxmlformats.org/officeDocument/2006/relationships/tags" Target="../tags/tag43.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theme" Target="../theme/theme4.xml"/><Relationship Id="rId40" Type="http://schemas.openxmlformats.org/officeDocument/2006/relationships/tags" Target="../tags/tag42.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image" Target="../media/image8.emf"/><Relationship Id="rId8" Type="http://schemas.openxmlformats.org/officeDocument/2006/relationships/slideLayout" Target="../slideLayouts/slideLayout70.xml"/><Relationship Id="rId3" Type="http://schemas.openxmlformats.org/officeDocument/2006/relationships/slideLayout" Target="../slideLayouts/slideLayout65.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vmlDrawing" Target="../drawings/vmlDrawing39.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72BB792-F9B3-4525-BDC2-4F59E3FC06C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bg-BG" dirty="0"/>
          </a:p>
        </p:txBody>
      </p:sp>
      <p:sp>
        <p:nvSpPr>
          <p:cNvPr id="3" name="Text Placeholder 2">
            <a:extLst>
              <a:ext uri="{FF2B5EF4-FFF2-40B4-BE49-F238E27FC236}">
                <a16:creationId xmlns:a16="http://schemas.microsoft.com/office/drawing/2014/main" id="{10A106A6-DBAF-4745-9FF7-B8737655D5B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bg-BG" dirty="0"/>
          </a:p>
        </p:txBody>
      </p:sp>
      <p:sp>
        <p:nvSpPr>
          <p:cNvPr id="4" name="Date Placeholder 3">
            <a:extLst>
              <a:ext uri="{FF2B5EF4-FFF2-40B4-BE49-F238E27FC236}">
                <a16:creationId xmlns:a16="http://schemas.microsoft.com/office/drawing/2014/main" id="{5C77DF6B-AF33-4FD6-8C80-A4F02D86258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742D07F-AA84-406A-9332-1464FA876A41}" type="datetimeFigureOut">
              <a:rPr lang="bg-BG" smtClean="0"/>
              <a:t>10.04.24 г.</a:t>
            </a:fld>
            <a:endParaRPr lang="bg-BG"/>
          </a:p>
        </p:txBody>
      </p:sp>
      <p:sp>
        <p:nvSpPr>
          <p:cNvPr id="5" name="Footer Placeholder 4">
            <a:extLst>
              <a:ext uri="{FF2B5EF4-FFF2-40B4-BE49-F238E27FC236}">
                <a16:creationId xmlns:a16="http://schemas.microsoft.com/office/drawing/2014/main" id="{7648A249-1803-4AB0-94E2-2E9E438BB08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bg-BG"/>
          </a:p>
        </p:txBody>
      </p:sp>
      <p:sp>
        <p:nvSpPr>
          <p:cNvPr id="6" name="Slide Number Placeholder 5">
            <a:extLst>
              <a:ext uri="{FF2B5EF4-FFF2-40B4-BE49-F238E27FC236}">
                <a16:creationId xmlns:a16="http://schemas.microsoft.com/office/drawing/2014/main" id="{2C50FB99-4840-46B2-AA59-F1DDAC16E29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ECF27F8-A54A-4E9B-946E-1DA717B6015E}" type="slidenum">
              <a:rPr lang="bg-BG" smtClean="0"/>
              <a:t>‹#›</a:t>
            </a:fld>
            <a:endParaRPr lang="bg-BG"/>
          </a:p>
        </p:txBody>
      </p:sp>
    </p:spTree>
    <p:extLst>
      <p:ext uri="{BB962C8B-B14F-4D97-AF65-F5344CB8AC3E}">
        <p14:creationId xmlns:p14="http://schemas.microsoft.com/office/powerpoint/2010/main" val="4260995275"/>
      </p:ext>
    </p:extLst>
  </p:cSld>
  <p:clrMap bg1="lt1" tx1="dk1" bg2="lt2" tx2="dk2" accent1="accent1" accent2="accent2" accent3="accent3" accent4="accent4" accent5="accent5" accent6="accent6" hlink="hlink" folHlink="folHlink"/>
  <p:sldLayoutIdLst>
    <p:sldLayoutId id="2147483649" r:id="rId1"/>
    <p:sldLayoutId id="2147483661" r:id="rId2"/>
    <p:sldLayoutId id="2147483650" r:id="rId3"/>
    <p:sldLayoutId id="2147483660" r:id="rId4"/>
    <p:sldLayoutId id="2147483651" r:id="rId5"/>
    <p:sldLayoutId id="2147483652" r:id="rId6"/>
    <p:sldLayoutId id="2147483653" r:id="rId7"/>
    <p:sldLayoutId id="2147483654" r:id="rId8"/>
    <p:sldLayoutId id="2147483655" r:id="rId9"/>
    <p:sldLayoutId id="2147483656" r:id="rId10"/>
    <p:sldLayoutId id="2147483657" r:id="rId11"/>
    <p:sldLayoutId id="2147483658" r:id="rId12"/>
    <p:sldLayoutId id="2147483659" r:id="rId13"/>
  </p:sldLayoutIdLst>
  <p:txStyles>
    <p:titleStyle>
      <a:lvl1pPr algn="l" defTabSz="914400" rtl="0" eaLnBrk="1" latinLnBrk="0" hangingPunct="1">
        <a:lnSpc>
          <a:spcPct val="90000"/>
        </a:lnSpc>
        <a:spcBef>
          <a:spcPct val="0"/>
        </a:spcBef>
        <a:buNone/>
        <a:defRPr sz="4400" b="1" i="0" kern="1200">
          <a:solidFill>
            <a:schemeClr val="tx1"/>
          </a:solidFill>
          <a:latin typeface="Bebas Neue Bold" pitchFamily="2"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bg-BG"/>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4" name="bg object 17"/>
          <p:cNvGrpSpPr/>
          <p:nvPr/>
        </p:nvGrpSpPr>
        <p:grpSpPr>
          <a:xfrm>
            <a:off x="-1" y="3406614"/>
            <a:ext cx="12174396" cy="3453072"/>
            <a:chOff x="0" y="0"/>
            <a:chExt cx="24348790" cy="6906142"/>
          </a:xfrm>
        </p:grpSpPr>
        <p:sp>
          <p:nvSpPr>
            <p:cNvPr id="2" name="Shape"/>
            <p:cNvSpPr/>
            <p:nvPr/>
          </p:nvSpPr>
          <p:spPr>
            <a:xfrm>
              <a:off x="-1" y="-1"/>
              <a:ext cx="4489831" cy="6647826"/>
            </a:xfrm>
            <a:custGeom>
              <a:avLst/>
              <a:gdLst/>
              <a:ahLst/>
              <a:cxnLst>
                <a:cxn ang="0">
                  <a:pos x="wd2" y="hd2"/>
                </a:cxn>
                <a:cxn ang="5400000">
                  <a:pos x="wd2" y="hd2"/>
                </a:cxn>
                <a:cxn ang="10800000">
                  <a:pos x="wd2" y="hd2"/>
                </a:cxn>
                <a:cxn ang="16200000">
                  <a:pos x="wd2" y="hd2"/>
                </a:cxn>
              </a:cxnLst>
              <a:rect l="0" t="0" r="r" b="b"/>
              <a:pathLst>
                <a:path w="21600" h="21600" extrusionOk="0">
                  <a:moveTo>
                    <a:pt x="21600" y="3393"/>
                  </a:moveTo>
                  <a:lnTo>
                    <a:pt x="21414" y="2699"/>
                  </a:lnTo>
                  <a:lnTo>
                    <a:pt x="20979" y="2082"/>
                  </a:lnTo>
                  <a:lnTo>
                    <a:pt x="20296" y="1536"/>
                  </a:lnTo>
                  <a:lnTo>
                    <a:pt x="19364" y="1068"/>
                  </a:lnTo>
                  <a:lnTo>
                    <a:pt x="18182" y="671"/>
                  </a:lnTo>
                  <a:lnTo>
                    <a:pt x="17171" y="431"/>
                  </a:lnTo>
                  <a:lnTo>
                    <a:pt x="16099" y="242"/>
                  </a:lnTo>
                  <a:lnTo>
                    <a:pt x="14961" y="109"/>
                  </a:lnTo>
                  <a:lnTo>
                    <a:pt x="13759" y="26"/>
                  </a:lnTo>
                  <a:lnTo>
                    <a:pt x="12497" y="0"/>
                  </a:lnTo>
                  <a:lnTo>
                    <a:pt x="8796" y="0"/>
                  </a:lnTo>
                  <a:lnTo>
                    <a:pt x="8796" y="6"/>
                  </a:lnTo>
                  <a:lnTo>
                    <a:pt x="7273" y="46"/>
                  </a:lnTo>
                  <a:lnTo>
                    <a:pt x="5838" y="122"/>
                  </a:lnTo>
                  <a:lnTo>
                    <a:pt x="4498" y="234"/>
                  </a:lnTo>
                  <a:lnTo>
                    <a:pt x="3250" y="385"/>
                  </a:lnTo>
                  <a:lnTo>
                    <a:pt x="2093" y="570"/>
                  </a:lnTo>
                  <a:lnTo>
                    <a:pt x="1032" y="793"/>
                  </a:lnTo>
                  <a:lnTo>
                    <a:pt x="60" y="1052"/>
                  </a:lnTo>
                  <a:lnTo>
                    <a:pt x="0" y="1073"/>
                  </a:lnTo>
                  <a:lnTo>
                    <a:pt x="0" y="21600"/>
                  </a:lnTo>
                  <a:lnTo>
                    <a:pt x="800" y="21401"/>
                  </a:lnTo>
                  <a:lnTo>
                    <a:pt x="1760" y="21130"/>
                  </a:lnTo>
                  <a:lnTo>
                    <a:pt x="2872" y="20760"/>
                  </a:lnTo>
                  <a:lnTo>
                    <a:pt x="3888" y="20362"/>
                  </a:lnTo>
                  <a:lnTo>
                    <a:pt x="4808" y="19933"/>
                  </a:lnTo>
                  <a:lnTo>
                    <a:pt x="5630" y="19476"/>
                  </a:lnTo>
                  <a:lnTo>
                    <a:pt x="6355" y="18987"/>
                  </a:lnTo>
                  <a:lnTo>
                    <a:pt x="6984" y="18471"/>
                  </a:lnTo>
                  <a:lnTo>
                    <a:pt x="7515" y="17924"/>
                  </a:lnTo>
                  <a:lnTo>
                    <a:pt x="7953" y="17348"/>
                  </a:lnTo>
                  <a:lnTo>
                    <a:pt x="8288" y="16742"/>
                  </a:lnTo>
                  <a:lnTo>
                    <a:pt x="8531" y="16107"/>
                  </a:lnTo>
                  <a:lnTo>
                    <a:pt x="8678" y="15444"/>
                  </a:lnTo>
                  <a:lnTo>
                    <a:pt x="8726" y="14747"/>
                  </a:lnTo>
                  <a:lnTo>
                    <a:pt x="8692" y="14227"/>
                  </a:lnTo>
                  <a:lnTo>
                    <a:pt x="8435" y="13045"/>
                  </a:lnTo>
                  <a:lnTo>
                    <a:pt x="8209" y="12382"/>
                  </a:lnTo>
                  <a:lnTo>
                    <a:pt x="7921" y="11671"/>
                  </a:lnTo>
                  <a:lnTo>
                    <a:pt x="7569" y="10912"/>
                  </a:lnTo>
                  <a:lnTo>
                    <a:pt x="7151" y="10105"/>
                  </a:lnTo>
                  <a:lnTo>
                    <a:pt x="6668" y="9254"/>
                  </a:lnTo>
                  <a:lnTo>
                    <a:pt x="6039" y="8152"/>
                  </a:lnTo>
                  <a:lnTo>
                    <a:pt x="5525" y="7191"/>
                  </a:lnTo>
                  <a:lnTo>
                    <a:pt x="5125" y="6369"/>
                  </a:lnTo>
                  <a:lnTo>
                    <a:pt x="4839" y="5685"/>
                  </a:lnTo>
                  <a:lnTo>
                    <a:pt x="4667" y="5141"/>
                  </a:lnTo>
                  <a:lnTo>
                    <a:pt x="4611" y="4735"/>
                  </a:lnTo>
                  <a:lnTo>
                    <a:pt x="4749" y="4026"/>
                  </a:lnTo>
                  <a:lnTo>
                    <a:pt x="5170" y="3473"/>
                  </a:lnTo>
                  <a:lnTo>
                    <a:pt x="5867" y="3079"/>
                  </a:lnTo>
                  <a:lnTo>
                    <a:pt x="6846" y="2842"/>
                  </a:lnTo>
                  <a:lnTo>
                    <a:pt x="8105" y="2764"/>
                  </a:lnTo>
                  <a:lnTo>
                    <a:pt x="9626" y="2755"/>
                  </a:lnTo>
                  <a:lnTo>
                    <a:pt x="13285" y="2755"/>
                  </a:lnTo>
                  <a:lnTo>
                    <a:pt x="10533" y="6457"/>
                  </a:lnTo>
                  <a:lnTo>
                    <a:pt x="18972" y="6457"/>
                  </a:lnTo>
                  <a:lnTo>
                    <a:pt x="19960" y="5944"/>
                  </a:lnTo>
                  <a:lnTo>
                    <a:pt x="20717" y="5382"/>
                  </a:lnTo>
                  <a:lnTo>
                    <a:pt x="21242" y="4768"/>
                  </a:lnTo>
                  <a:lnTo>
                    <a:pt x="21535" y="4104"/>
                  </a:lnTo>
                  <a:lnTo>
                    <a:pt x="21600" y="3393"/>
                  </a:lnTo>
                  <a:close/>
                </a:path>
              </a:pathLst>
            </a:custGeom>
            <a:solidFill>
              <a:srgbClr val="F7F7F7"/>
            </a:solidFill>
            <a:ln w="12700" cap="flat">
              <a:noFill/>
              <a:miter lim="400000"/>
            </a:ln>
            <a:effectLst/>
          </p:spPr>
          <p:txBody>
            <a:bodyPr wrap="square" lIns="55452" tIns="55452" rIns="55452" bIns="55452" numCol="1" anchor="t">
              <a:noAutofit/>
            </a:bodyPr>
            <a:lstStyle/>
            <a:p>
              <a:pPr>
                <a:defRPr>
                  <a:latin typeface="Calibri"/>
                  <a:ea typeface="Calibri"/>
                  <a:cs typeface="Calibri"/>
                  <a:sym typeface="Calibri"/>
                </a:defRPr>
              </a:pPr>
              <a:endParaRPr sz="900"/>
            </a:p>
          </p:txBody>
        </p:sp>
        <p:sp>
          <p:nvSpPr>
            <p:cNvPr id="3" name="Shape"/>
            <p:cNvSpPr/>
            <p:nvPr/>
          </p:nvSpPr>
          <p:spPr>
            <a:xfrm>
              <a:off x="3127744" y="714019"/>
              <a:ext cx="21221047" cy="6192124"/>
            </a:xfrm>
            <a:custGeom>
              <a:avLst/>
              <a:gdLst/>
              <a:ahLst/>
              <a:cxnLst>
                <a:cxn ang="0">
                  <a:pos x="wd2" y="hd2"/>
                </a:cxn>
                <a:cxn ang="5400000">
                  <a:pos x="wd2" y="hd2"/>
                </a:cxn>
                <a:cxn ang="10800000">
                  <a:pos x="wd2" y="hd2"/>
                </a:cxn>
                <a:cxn ang="16200000">
                  <a:pos x="wd2" y="hd2"/>
                </a:cxn>
              </a:cxnLst>
              <a:rect l="0" t="0" r="r" b="b"/>
              <a:pathLst>
                <a:path w="21600" h="21600" extrusionOk="0">
                  <a:moveTo>
                    <a:pt x="21600" y="9885"/>
                  </a:moveTo>
                  <a:lnTo>
                    <a:pt x="20207" y="9885"/>
                  </a:lnTo>
                  <a:lnTo>
                    <a:pt x="19323" y="18252"/>
                  </a:lnTo>
                  <a:lnTo>
                    <a:pt x="19279" y="18956"/>
                  </a:lnTo>
                  <a:lnTo>
                    <a:pt x="17797" y="18956"/>
                  </a:lnTo>
                  <a:lnTo>
                    <a:pt x="19764" y="61"/>
                  </a:lnTo>
                  <a:lnTo>
                    <a:pt x="17897" y="61"/>
                  </a:lnTo>
                  <a:lnTo>
                    <a:pt x="15941" y="18956"/>
                  </a:lnTo>
                  <a:lnTo>
                    <a:pt x="14293" y="18956"/>
                  </a:lnTo>
                  <a:lnTo>
                    <a:pt x="16259" y="61"/>
                  </a:lnTo>
                  <a:lnTo>
                    <a:pt x="14393" y="61"/>
                  </a:lnTo>
                  <a:lnTo>
                    <a:pt x="12434" y="18993"/>
                  </a:lnTo>
                  <a:lnTo>
                    <a:pt x="12432" y="19024"/>
                  </a:lnTo>
                  <a:lnTo>
                    <a:pt x="12429" y="19058"/>
                  </a:lnTo>
                  <a:lnTo>
                    <a:pt x="9477" y="19058"/>
                  </a:lnTo>
                  <a:lnTo>
                    <a:pt x="9182" y="18969"/>
                  </a:lnTo>
                  <a:lnTo>
                    <a:pt x="8972" y="18700"/>
                  </a:lnTo>
                  <a:lnTo>
                    <a:pt x="8846" y="18252"/>
                  </a:lnTo>
                  <a:lnTo>
                    <a:pt x="8804" y="17624"/>
                  </a:lnTo>
                  <a:lnTo>
                    <a:pt x="8806" y="17468"/>
                  </a:lnTo>
                  <a:lnTo>
                    <a:pt x="8813" y="17305"/>
                  </a:lnTo>
                  <a:lnTo>
                    <a:pt x="8824" y="17133"/>
                  </a:lnTo>
                  <a:lnTo>
                    <a:pt x="8840" y="16951"/>
                  </a:lnTo>
                  <a:lnTo>
                    <a:pt x="9264" y="12679"/>
                  </a:lnTo>
                  <a:lnTo>
                    <a:pt x="10390" y="12679"/>
                  </a:lnTo>
                  <a:lnTo>
                    <a:pt x="9714" y="19058"/>
                  </a:lnTo>
                  <a:lnTo>
                    <a:pt x="10510" y="18013"/>
                  </a:lnTo>
                  <a:lnTo>
                    <a:pt x="10963" y="17397"/>
                  </a:lnTo>
                  <a:lnTo>
                    <a:pt x="11240" y="16969"/>
                  </a:lnTo>
                  <a:lnTo>
                    <a:pt x="11509" y="16490"/>
                  </a:lnTo>
                  <a:lnTo>
                    <a:pt x="11717" y="16007"/>
                  </a:lnTo>
                  <a:lnTo>
                    <a:pt x="11872" y="15434"/>
                  </a:lnTo>
                  <a:lnTo>
                    <a:pt x="11975" y="14785"/>
                  </a:lnTo>
                  <a:lnTo>
                    <a:pt x="12031" y="14079"/>
                  </a:lnTo>
                  <a:lnTo>
                    <a:pt x="12042" y="13334"/>
                  </a:lnTo>
                  <a:lnTo>
                    <a:pt x="12008" y="12679"/>
                  </a:lnTo>
                  <a:lnTo>
                    <a:pt x="11916" y="11983"/>
                  </a:lnTo>
                  <a:lnTo>
                    <a:pt x="11778" y="11425"/>
                  </a:lnTo>
                  <a:lnTo>
                    <a:pt x="11589" y="10939"/>
                  </a:lnTo>
                  <a:lnTo>
                    <a:pt x="11350" y="10534"/>
                  </a:lnTo>
                  <a:lnTo>
                    <a:pt x="11144" y="10285"/>
                  </a:lnTo>
                  <a:lnTo>
                    <a:pt x="10926" y="10090"/>
                  </a:lnTo>
                  <a:lnTo>
                    <a:pt x="10695" y="9953"/>
                  </a:lnTo>
                  <a:lnTo>
                    <a:pt x="10451" y="9869"/>
                  </a:lnTo>
                  <a:lnTo>
                    <a:pt x="10195" y="9840"/>
                  </a:lnTo>
                  <a:lnTo>
                    <a:pt x="9446" y="9840"/>
                  </a:lnTo>
                  <a:lnTo>
                    <a:pt x="9195" y="9867"/>
                  </a:lnTo>
                  <a:lnTo>
                    <a:pt x="8953" y="9943"/>
                  </a:lnTo>
                  <a:lnTo>
                    <a:pt x="8720" y="10072"/>
                  </a:lnTo>
                  <a:lnTo>
                    <a:pt x="8496" y="10250"/>
                  </a:lnTo>
                  <a:lnTo>
                    <a:pt x="8281" y="10479"/>
                  </a:lnTo>
                  <a:lnTo>
                    <a:pt x="8074" y="10759"/>
                  </a:lnTo>
                  <a:lnTo>
                    <a:pt x="7876" y="11091"/>
                  </a:lnTo>
                  <a:lnTo>
                    <a:pt x="7686" y="11474"/>
                  </a:lnTo>
                  <a:lnTo>
                    <a:pt x="7485" y="11969"/>
                  </a:lnTo>
                  <a:lnTo>
                    <a:pt x="7311" y="12511"/>
                  </a:lnTo>
                  <a:lnTo>
                    <a:pt x="7163" y="13097"/>
                  </a:lnTo>
                  <a:lnTo>
                    <a:pt x="7043" y="13729"/>
                  </a:lnTo>
                  <a:lnTo>
                    <a:pt x="6949" y="14404"/>
                  </a:lnTo>
                  <a:lnTo>
                    <a:pt x="6881" y="15125"/>
                  </a:lnTo>
                  <a:lnTo>
                    <a:pt x="6841" y="15890"/>
                  </a:lnTo>
                  <a:lnTo>
                    <a:pt x="6828" y="16701"/>
                  </a:lnTo>
                  <a:lnTo>
                    <a:pt x="6839" y="17358"/>
                  </a:lnTo>
                  <a:lnTo>
                    <a:pt x="6871" y="17970"/>
                  </a:lnTo>
                  <a:lnTo>
                    <a:pt x="6925" y="18537"/>
                  </a:lnTo>
                  <a:lnTo>
                    <a:pt x="7000" y="19058"/>
                  </a:lnTo>
                  <a:lnTo>
                    <a:pt x="5221" y="19058"/>
                  </a:lnTo>
                  <a:lnTo>
                    <a:pt x="5606" y="15285"/>
                  </a:lnTo>
                  <a:lnTo>
                    <a:pt x="5808" y="13301"/>
                  </a:lnTo>
                  <a:lnTo>
                    <a:pt x="5859" y="12818"/>
                  </a:lnTo>
                  <a:lnTo>
                    <a:pt x="5912" y="12280"/>
                  </a:lnTo>
                  <a:lnTo>
                    <a:pt x="5953" y="11766"/>
                  </a:lnTo>
                  <a:lnTo>
                    <a:pt x="5969" y="11357"/>
                  </a:lnTo>
                  <a:lnTo>
                    <a:pt x="5910" y="10616"/>
                  </a:lnTo>
                  <a:lnTo>
                    <a:pt x="5754" y="10162"/>
                  </a:lnTo>
                  <a:lnTo>
                    <a:pt x="5535" y="9933"/>
                  </a:lnTo>
                  <a:lnTo>
                    <a:pt x="5281" y="9869"/>
                  </a:lnTo>
                  <a:lnTo>
                    <a:pt x="5028" y="9916"/>
                  </a:lnTo>
                  <a:lnTo>
                    <a:pt x="4783" y="10059"/>
                  </a:lnTo>
                  <a:lnTo>
                    <a:pt x="4547" y="10299"/>
                  </a:lnTo>
                  <a:lnTo>
                    <a:pt x="4320" y="10632"/>
                  </a:lnTo>
                  <a:lnTo>
                    <a:pt x="4103" y="11062"/>
                  </a:lnTo>
                  <a:lnTo>
                    <a:pt x="3895" y="11588"/>
                  </a:lnTo>
                  <a:lnTo>
                    <a:pt x="2489" y="15549"/>
                  </a:lnTo>
                  <a:lnTo>
                    <a:pt x="4109" y="0"/>
                  </a:lnTo>
                  <a:lnTo>
                    <a:pt x="2246" y="0"/>
                  </a:lnTo>
                  <a:lnTo>
                    <a:pt x="0" y="21600"/>
                  </a:lnTo>
                  <a:lnTo>
                    <a:pt x="1442" y="21600"/>
                  </a:lnTo>
                  <a:lnTo>
                    <a:pt x="1617" y="21287"/>
                  </a:lnTo>
                  <a:lnTo>
                    <a:pt x="1800" y="20815"/>
                  </a:lnTo>
                  <a:lnTo>
                    <a:pt x="3667" y="15549"/>
                  </a:lnTo>
                  <a:lnTo>
                    <a:pt x="3761" y="15285"/>
                  </a:lnTo>
                  <a:lnTo>
                    <a:pt x="3388" y="19058"/>
                  </a:lnTo>
                  <a:lnTo>
                    <a:pt x="3330" y="19814"/>
                  </a:lnTo>
                  <a:lnTo>
                    <a:pt x="3311" y="20442"/>
                  </a:lnTo>
                  <a:lnTo>
                    <a:pt x="3348" y="21079"/>
                  </a:lnTo>
                  <a:lnTo>
                    <a:pt x="3457" y="21533"/>
                  </a:lnTo>
                  <a:lnTo>
                    <a:pt x="3502" y="21600"/>
                  </a:lnTo>
                  <a:lnTo>
                    <a:pt x="15684" y="21600"/>
                  </a:lnTo>
                  <a:lnTo>
                    <a:pt x="15731" y="21549"/>
                  </a:lnTo>
                  <a:lnTo>
                    <a:pt x="15900" y="21306"/>
                  </a:lnTo>
                  <a:lnTo>
                    <a:pt x="15995" y="21138"/>
                  </a:lnTo>
                  <a:lnTo>
                    <a:pt x="16105" y="21447"/>
                  </a:lnTo>
                  <a:lnTo>
                    <a:pt x="16206" y="21600"/>
                  </a:lnTo>
                  <a:lnTo>
                    <a:pt x="19177" y="21600"/>
                  </a:lnTo>
                  <a:lnTo>
                    <a:pt x="19236" y="21543"/>
                  </a:lnTo>
                  <a:lnTo>
                    <a:pt x="19405" y="21306"/>
                  </a:lnTo>
                  <a:lnTo>
                    <a:pt x="19499" y="21138"/>
                  </a:lnTo>
                  <a:lnTo>
                    <a:pt x="19504" y="21128"/>
                  </a:lnTo>
                  <a:lnTo>
                    <a:pt x="19626" y="21441"/>
                  </a:lnTo>
                  <a:lnTo>
                    <a:pt x="19722" y="21600"/>
                  </a:lnTo>
                  <a:lnTo>
                    <a:pt x="21600" y="21600"/>
                  </a:lnTo>
                  <a:lnTo>
                    <a:pt x="21600" y="18956"/>
                  </a:lnTo>
                  <a:lnTo>
                    <a:pt x="21168" y="18956"/>
                  </a:lnTo>
                  <a:lnTo>
                    <a:pt x="21600" y="14841"/>
                  </a:lnTo>
                  <a:lnTo>
                    <a:pt x="21600" y="9885"/>
                  </a:lnTo>
                  <a:close/>
                </a:path>
              </a:pathLst>
            </a:custGeom>
            <a:solidFill>
              <a:srgbClr val="F7F7F7"/>
            </a:solidFill>
            <a:ln w="12700" cap="flat">
              <a:noFill/>
              <a:miter lim="400000"/>
            </a:ln>
            <a:effectLst/>
          </p:spPr>
          <p:txBody>
            <a:bodyPr wrap="square" lIns="55452" tIns="55452" rIns="55452" bIns="55452" numCol="1" anchor="t">
              <a:noAutofit/>
            </a:bodyPr>
            <a:lstStyle/>
            <a:p>
              <a:pPr>
                <a:defRPr>
                  <a:latin typeface="Calibri"/>
                  <a:ea typeface="Calibri"/>
                  <a:cs typeface="Calibri"/>
                  <a:sym typeface="Calibri"/>
                </a:defRPr>
              </a:pPr>
              <a:endParaRPr sz="900"/>
            </a:p>
          </p:txBody>
        </p:sp>
      </p:grpSp>
      <p:pic>
        <p:nvPicPr>
          <p:cNvPr id="5" name="bg object 18" descr="bg object 18"/>
          <p:cNvPicPr>
            <a:picLocks noChangeAspect="1"/>
          </p:cNvPicPr>
          <p:nvPr/>
        </p:nvPicPr>
        <p:blipFill>
          <a:blip r:embed="rId6"/>
          <a:stretch>
            <a:fillRect/>
          </a:stretch>
        </p:blipFill>
        <p:spPr>
          <a:xfrm>
            <a:off x="1404185" y="1730191"/>
            <a:ext cx="1104896" cy="4076699"/>
          </a:xfrm>
          <a:prstGeom prst="rect">
            <a:avLst/>
          </a:prstGeom>
          <a:ln w="12700">
            <a:miter lim="400000"/>
          </a:ln>
        </p:spPr>
      </p:pic>
      <p:sp>
        <p:nvSpPr>
          <p:cNvPr id="6" name="Title Text"/>
          <p:cNvSpPr txBox="1">
            <a:spLocks noGrp="1"/>
          </p:cNvSpPr>
          <p:nvPr>
            <p:ph type="title"/>
          </p:nvPr>
        </p:nvSpPr>
        <p:spPr>
          <a:xfrm>
            <a:off x="1907637" y="2178312"/>
            <a:ext cx="5275756" cy="90650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p>
            <a:r>
              <a:t>Title Text</a:t>
            </a:r>
          </a:p>
        </p:txBody>
      </p:sp>
      <p:sp>
        <p:nvSpPr>
          <p:cNvPr id="7" name="Body Level One…"/>
          <p:cNvSpPr txBox="1">
            <a:spLocks noGrp="1"/>
          </p:cNvSpPr>
          <p:nvPr>
            <p:ph type="body" idx="1"/>
          </p:nvPr>
        </p:nvSpPr>
        <p:spPr>
          <a:xfrm>
            <a:off x="609600" y="1579135"/>
            <a:ext cx="5303521" cy="45265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p>
            <a:r>
              <a:t>Body Level One</a:t>
            </a:r>
          </a:p>
          <a:p>
            <a:pPr lvl="1"/>
            <a:r>
              <a:t>Body Level Two</a:t>
            </a:r>
          </a:p>
          <a:p>
            <a:pPr lvl="2"/>
            <a:r>
              <a:t>Body Level Three</a:t>
            </a:r>
          </a:p>
          <a:p>
            <a:pPr lvl="3"/>
            <a:r>
              <a:t>Body Level Four</a:t>
            </a:r>
          </a:p>
          <a:p>
            <a:pPr lvl="4"/>
            <a:r>
              <a:t>Body Level Five</a:t>
            </a:r>
          </a:p>
        </p:txBody>
      </p:sp>
      <p:sp>
        <p:nvSpPr>
          <p:cNvPr id="8" name="Slide Number"/>
          <p:cNvSpPr txBox="1">
            <a:spLocks noGrp="1"/>
          </p:cNvSpPr>
          <p:nvPr>
            <p:ph type="sldNum" sz="quarter" idx="2"/>
          </p:nvPr>
        </p:nvSpPr>
        <p:spPr>
          <a:xfrm>
            <a:off x="11300273" y="6380073"/>
            <a:ext cx="282129" cy="276999"/>
          </a:xfrm>
          <a:prstGeom prst="rect">
            <a:avLst/>
          </a:prstGeom>
          <a:ln w="12700">
            <a:miter lim="400000"/>
          </a:ln>
        </p:spPr>
        <p:txBody>
          <a:bodyPr wrap="none" lIns="0" tIns="0" rIns="0" bIns="0">
            <a:spAutoFit/>
          </a:bodyPr>
          <a:lstStyle>
            <a:lvl1pPr algn="r">
              <a:defRPr>
                <a:solidFill>
                  <a:srgbClr val="888888"/>
                </a:solidFill>
                <a:latin typeface="+mn-lt"/>
                <a:ea typeface="+mn-ea"/>
                <a:cs typeface="+mn-cs"/>
                <a:sym typeface="Helvetica"/>
              </a:defRPr>
            </a:lvl1pPr>
          </a:lstStyle>
          <a:p>
            <a:fld id="{86CB4B4D-7CA3-9044-876B-883B54F8677D}" type="slidenum">
              <a:t>‹#›</a:t>
            </a:fld>
            <a:endParaRPr/>
          </a:p>
        </p:txBody>
      </p:sp>
    </p:spTree>
    <p:extLst>
      <p:ext uri="{BB962C8B-B14F-4D97-AF65-F5344CB8AC3E}">
        <p14:creationId xmlns:p14="http://schemas.microsoft.com/office/powerpoint/2010/main" val="1386343649"/>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Lst>
  <p:transition spd="med"/>
  <p:txStyles>
    <p:titleStyle>
      <a:lvl1pPr marL="0" marR="0" indent="0" algn="l" defTabSz="554805" rtl="0" latinLnBrk="0">
        <a:lnSpc>
          <a:spcPct val="100000"/>
        </a:lnSpc>
        <a:spcBef>
          <a:spcPts val="0"/>
        </a:spcBef>
        <a:spcAft>
          <a:spcPts val="0"/>
        </a:spcAft>
        <a:buClrTx/>
        <a:buSzTx/>
        <a:buFontTx/>
        <a:buNone/>
        <a:tabLst/>
        <a:defRPr sz="5800" b="1" i="0" u="none" strike="noStrike" cap="none" spc="0" baseline="0">
          <a:solidFill>
            <a:srgbClr val="4594D0"/>
          </a:solidFill>
          <a:uFillTx/>
          <a:latin typeface="Uniform-Black"/>
          <a:ea typeface="Uniform-Black"/>
          <a:cs typeface="Uniform-Black"/>
          <a:sym typeface="Uniform Black"/>
        </a:defRPr>
      </a:lvl1pPr>
      <a:lvl2pPr marL="0" marR="0" indent="0" algn="l" defTabSz="554805" rtl="0" latinLnBrk="0">
        <a:lnSpc>
          <a:spcPct val="100000"/>
        </a:lnSpc>
        <a:spcBef>
          <a:spcPts val="0"/>
        </a:spcBef>
        <a:spcAft>
          <a:spcPts val="0"/>
        </a:spcAft>
        <a:buClrTx/>
        <a:buSzTx/>
        <a:buFontTx/>
        <a:buNone/>
        <a:tabLst/>
        <a:defRPr sz="5800" b="1" i="0" u="none" strike="noStrike" cap="none" spc="0" baseline="0">
          <a:solidFill>
            <a:srgbClr val="4594D0"/>
          </a:solidFill>
          <a:uFillTx/>
          <a:latin typeface="Uniform-Black"/>
          <a:ea typeface="Uniform-Black"/>
          <a:cs typeface="Uniform-Black"/>
          <a:sym typeface="Uniform Black"/>
        </a:defRPr>
      </a:lvl2pPr>
      <a:lvl3pPr marL="0" marR="0" indent="0" algn="l" defTabSz="554805" rtl="0" latinLnBrk="0">
        <a:lnSpc>
          <a:spcPct val="100000"/>
        </a:lnSpc>
        <a:spcBef>
          <a:spcPts val="0"/>
        </a:spcBef>
        <a:spcAft>
          <a:spcPts val="0"/>
        </a:spcAft>
        <a:buClrTx/>
        <a:buSzTx/>
        <a:buFontTx/>
        <a:buNone/>
        <a:tabLst/>
        <a:defRPr sz="5800" b="1" i="0" u="none" strike="noStrike" cap="none" spc="0" baseline="0">
          <a:solidFill>
            <a:srgbClr val="4594D0"/>
          </a:solidFill>
          <a:uFillTx/>
          <a:latin typeface="Uniform-Black"/>
          <a:ea typeface="Uniform-Black"/>
          <a:cs typeface="Uniform-Black"/>
          <a:sym typeface="Uniform Black"/>
        </a:defRPr>
      </a:lvl3pPr>
      <a:lvl4pPr marL="0" marR="0" indent="0" algn="l" defTabSz="554805" rtl="0" latinLnBrk="0">
        <a:lnSpc>
          <a:spcPct val="100000"/>
        </a:lnSpc>
        <a:spcBef>
          <a:spcPts val="0"/>
        </a:spcBef>
        <a:spcAft>
          <a:spcPts val="0"/>
        </a:spcAft>
        <a:buClrTx/>
        <a:buSzTx/>
        <a:buFontTx/>
        <a:buNone/>
        <a:tabLst/>
        <a:defRPr sz="5800" b="1" i="0" u="none" strike="noStrike" cap="none" spc="0" baseline="0">
          <a:solidFill>
            <a:srgbClr val="4594D0"/>
          </a:solidFill>
          <a:uFillTx/>
          <a:latin typeface="Uniform-Black"/>
          <a:ea typeface="Uniform-Black"/>
          <a:cs typeface="Uniform-Black"/>
          <a:sym typeface="Uniform Black"/>
        </a:defRPr>
      </a:lvl4pPr>
      <a:lvl5pPr marL="0" marR="0" indent="0" algn="l" defTabSz="554805" rtl="0" latinLnBrk="0">
        <a:lnSpc>
          <a:spcPct val="100000"/>
        </a:lnSpc>
        <a:spcBef>
          <a:spcPts val="0"/>
        </a:spcBef>
        <a:spcAft>
          <a:spcPts val="0"/>
        </a:spcAft>
        <a:buClrTx/>
        <a:buSzTx/>
        <a:buFontTx/>
        <a:buNone/>
        <a:tabLst/>
        <a:defRPr sz="5800" b="1" i="0" u="none" strike="noStrike" cap="none" spc="0" baseline="0">
          <a:solidFill>
            <a:srgbClr val="4594D0"/>
          </a:solidFill>
          <a:uFillTx/>
          <a:latin typeface="Uniform-Black"/>
          <a:ea typeface="Uniform-Black"/>
          <a:cs typeface="Uniform-Black"/>
          <a:sym typeface="Uniform Black"/>
        </a:defRPr>
      </a:lvl5pPr>
      <a:lvl6pPr marL="0" marR="0" indent="0" algn="l" defTabSz="554805" rtl="0" latinLnBrk="0">
        <a:lnSpc>
          <a:spcPct val="100000"/>
        </a:lnSpc>
        <a:spcBef>
          <a:spcPts val="0"/>
        </a:spcBef>
        <a:spcAft>
          <a:spcPts val="0"/>
        </a:spcAft>
        <a:buClrTx/>
        <a:buSzTx/>
        <a:buFontTx/>
        <a:buNone/>
        <a:tabLst/>
        <a:defRPr sz="5800" b="1" i="0" u="none" strike="noStrike" cap="none" spc="0" baseline="0">
          <a:solidFill>
            <a:srgbClr val="4594D0"/>
          </a:solidFill>
          <a:uFillTx/>
          <a:latin typeface="Uniform-Black"/>
          <a:ea typeface="Uniform-Black"/>
          <a:cs typeface="Uniform-Black"/>
          <a:sym typeface="Uniform Black"/>
        </a:defRPr>
      </a:lvl6pPr>
      <a:lvl7pPr marL="0" marR="0" indent="0" algn="l" defTabSz="554805" rtl="0" latinLnBrk="0">
        <a:lnSpc>
          <a:spcPct val="100000"/>
        </a:lnSpc>
        <a:spcBef>
          <a:spcPts val="0"/>
        </a:spcBef>
        <a:spcAft>
          <a:spcPts val="0"/>
        </a:spcAft>
        <a:buClrTx/>
        <a:buSzTx/>
        <a:buFontTx/>
        <a:buNone/>
        <a:tabLst/>
        <a:defRPr sz="5800" b="1" i="0" u="none" strike="noStrike" cap="none" spc="0" baseline="0">
          <a:solidFill>
            <a:srgbClr val="4594D0"/>
          </a:solidFill>
          <a:uFillTx/>
          <a:latin typeface="Uniform-Black"/>
          <a:ea typeface="Uniform-Black"/>
          <a:cs typeface="Uniform-Black"/>
          <a:sym typeface="Uniform Black"/>
        </a:defRPr>
      </a:lvl7pPr>
      <a:lvl8pPr marL="0" marR="0" indent="0" algn="l" defTabSz="554805" rtl="0" latinLnBrk="0">
        <a:lnSpc>
          <a:spcPct val="100000"/>
        </a:lnSpc>
        <a:spcBef>
          <a:spcPts val="0"/>
        </a:spcBef>
        <a:spcAft>
          <a:spcPts val="0"/>
        </a:spcAft>
        <a:buClrTx/>
        <a:buSzTx/>
        <a:buFontTx/>
        <a:buNone/>
        <a:tabLst/>
        <a:defRPr sz="5800" b="1" i="0" u="none" strike="noStrike" cap="none" spc="0" baseline="0">
          <a:solidFill>
            <a:srgbClr val="4594D0"/>
          </a:solidFill>
          <a:uFillTx/>
          <a:latin typeface="Uniform-Black"/>
          <a:ea typeface="Uniform-Black"/>
          <a:cs typeface="Uniform-Black"/>
          <a:sym typeface="Uniform Black"/>
        </a:defRPr>
      </a:lvl8pPr>
      <a:lvl9pPr marL="0" marR="0" indent="0" algn="l" defTabSz="554805" rtl="0" latinLnBrk="0">
        <a:lnSpc>
          <a:spcPct val="100000"/>
        </a:lnSpc>
        <a:spcBef>
          <a:spcPts val="0"/>
        </a:spcBef>
        <a:spcAft>
          <a:spcPts val="0"/>
        </a:spcAft>
        <a:buClrTx/>
        <a:buSzTx/>
        <a:buFontTx/>
        <a:buNone/>
        <a:tabLst/>
        <a:defRPr sz="5800" b="1" i="0" u="none" strike="noStrike" cap="none" spc="0" baseline="0">
          <a:solidFill>
            <a:srgbClr val="4594D0"/>
          </a:solidFill>
          <a:uFillTx/>
          <a:latin typeface="Uniform-Black"/>
          <a:ea typeface="Uniform-Black"/>
          <a:cs typeface="Uniform-Black"/>
          <a:sym typeface="Uniform Black"/>
        </a:defRPr>
      </a:lvl9pPr>
    </p:titleStyle>
    <p:bodyStyle>
      <a:lvl1pPr marL="0" marR="0" indent="0" algn="l" defTabSz="554805" rtl="0" latinLnBrk="0">
        <a:lnSpc>
          <a:spcPct val="100000"/>
        </a:lnSpc>
        <a:spcBef>
          <a:spcPts val="0"/>
        </a:spcBef>
        <a:spcAft>
          <a:spcPts val="0"/>
        </a:spcAft>
        <a:buClrTx/>
        <a:buSzTx/>
        <a:buFontTx/>
        <a:buNone/>
        <a:tabLst/>
        <a:defRPr sz="2700" b="0" i="0" u="none" strike="noStrike" cap="none" spc="0" baseline="0">
          <a:solidFill>
            <a:srgbClr val="5C5C5C"/>
          </a:solidFill>
          <a:uFillTx/>
          <a:latin typeface="Uniform-Medium"/>
          <a:ea typeface="Uniform-Medium"/>
          <a:cs typeface="Uniform-Medium"/>
          <a:sym typeface="Uniform Medium"/>
        </a:defRPr>
      </a:lvl1pPr>
      <a:lvl2pPr marL="0" marR="0" indent="0" algn="l" defTabSz="554805" rtl="0" latinLnBrk="0">
        <a:lnSpc>
          <a:spcPct val="100000"/>
        </a:lnSpc>
        <a:spcBef>
          <a:spcPts val="0"/>
        </a:spcBef>
        <a:spcAft>
          <a:spcPts val="0"/>
        </a:spcAft>
        <a:buClrTx/>
        <a:buSzTx/>
        <a:buFontTx/>
        <a:buNone/>
        <a:tabLst/>
        <a:defRPr sz="2700" b="0" i="0" u="none" strike="noStrike" cap="none" spc="0" baseline="0">
          <a:solidFill>
            <a:srgbClr val="5C5C5C"/>
          </a:solidFill>
          <a:uFillTx/>
          <a:latin typeface="Uniform-Medium"/>
          <a:ea typeface="Uniform-Medium"/>
          <a:cs typeface="Uniform-Medium"/>
          <a:sym typeface="Uniform Medium"/>
        </a:defRPr>
      </a:lvl2pPr>
      <a:lvl3pPr marL="0" marR="0" indent="0" algn="l" defTabSz="554805" rtl="0" latinLnBrk="0">
        <a:lnSpc>
          <a:spcPct val="100000"/>
        </a:lnSpc>
        <a:spcBef>
          <a:spcPts val="0"/>
        </a:spcBef>
        <a:spcAft>
          <a:spcPts val="0"/>
        </a:spcAft>
        <a:buClrTx/>
        <a:buSzTx/>
        <a:buFontTx/>
        <a:buNone/>
        <a:tabLst/>
        <a:defRPr sz="2700" b="0" i="0" u="none" strike="noStrike" cap="none" spc="0" baseline="0">
          <a:solidFill>
            <a:srgbClr val="5C5C5C"/>
          </a:solidFill>
          <a:uFillTx/>
          <a:latin typeface="Uniform-Medium"/>
          <a:ea typeface="Uniform-Medium"/>
          <a:cs typeface="Uniform-Medium"/>
          <a:sym typeface="Uniform Medium"/>
        </a:defRPr>
      </a:lvl3pPr>
      <a:lvl4pPr marL="0" marR="0" indent="0" algn="l" defTabSz="554805" rtl="0" latinLnBrk="0">
        <a:lnSpc>
          <a:spcPct val="100000"/>
        </a:lnSpc>
        <a:spcBef>
          <a:spcPts val="0"/>
        </a:spcBef>
        <a:spcAft>
          <a:spcPts val="0"/>
        </a:spcAft>
        <a:buClrTx/>
        <a:buSzTx/>
        <a:buFontTx/>
        <a:buNone/>
        <a:tabLst/>
        <a:defRPr sz="2700" b="0" i="0" u="none" strike="noStrike" cap="none" spc="0" baseline="0">
          <a:solidFill>
            <a:srgbClr val="5C5C5C"/>
          </a:solidFill>
          <a:uFillTx/>
          <a:latin typeface="Uniform-Medium"/>
          <a:ea typeface="Uniform-Medium"/>
          <a:cs typeface="Uniform-Medium"/>
          <a:sym typeface="Uniform Medium"/>
        </a:defRPr>
      </a:lvl4pPr>
      <a:lvl5pPr marL="0" marR="0" indent="0" algn="l" defTabSz="554805" rtl="0" latinLnBrk="0">
        <a:lnSpc>
          <a:spcPct val="100000"/>
        </a:lnSpc>
        <a:spcBef>
          <a:spcPts val="0"/>
        </a:spcBef>
        <a:spcAft>
          <a:spcPts val="0"/>
        </a:spcAft>
        <a:buClrTx/>
        <a:buSzTx/>
        <a:buFontTx/>
        <a:buNone/>
        <a:tabLst/>
        <a:defRPr sz="2700" b="0" i="0" u="none" strike="noStrike" cap="none" spc="0" baseline="0">
          <a:solidFill>
            <a:srgbClr val="5C5C5C"/>
          </a:solidFill>
          <a:uFillTx/>
          <a:latin typeface="Uniform-Medium"/>
          <a:ea typeface="Uniform-Medium"/>
          <a:cs typeface="Uniform-Medium"/>
          <a:sym typeface="Uniform Medium"/>
        </a:defRPr>
      </a:lvl5pPr>
      <a:lvl6pPr marL="0" marR="0" indent="0" algn="l" defTabSz="554805" rtl="0" latinLnBrk="0">
        <a:lnSpc>
          <a:spcPct val="100000"/>
        </a:lnSpc>
        <a:spcBef>
          <a:spcPts val="0"/>
        </a:spcBef>
        <a:spcAft>
          <a:spcPts val="0"/>
        </a:spcAft>
        <a:buClrTx/>
        <a:buSzTx/>
        <a:buFontTx/>
        <a:buNone/>
        <a:tabLst/>
        <a:defRPr sz="2700" b="0" i="0" u="none" strike="noStrike" cap="none" spc="0" baseline="0">
          <a:solidFill>
            <a:srgbClr val="5C5C5C"/>
          </a:solidFill>
          <a:uFillTx/>
          <a:latin typeface="Uniform-Medium"/>
          <a:ea typeface="Uniform-Medium"/>
          <a:cs typeface="Uniform-Medium"/>
          <a:sym typeface="Uniform Medium"/>
        </a:defRPr>
      </a:lvl6pPr>
      <a:lvl7pPr marL="0" marR="0" indent="0" algn="l" defTabSz="554805" rtl="0" latinLnBrk="0">
        <a:lnSpc>
          <a:spcPct val="100000"/>
        </a:lnSpc>
        <a:spcBef>
          <a:spcPts val="0"/>
        </a:spcBef>
        <a:spcAft>
          <a:spcPts val="0"/>
        </a:spcAft>
        <a:buClrTx/>
        <a:buSzTx/>
        <a:buFontTx/>
        <a:buNone/>
        <a:tabLst/>
        <a:defRPr sz="2700" b="0" i="0" u="none" strike="noStrike" cap="none" spc="0" baseline="0">
          <a:solidFill>
            <a:srgbClr val="5C5C5C"/>
          </a:solidFill>
          <a:uFillTx/>
          <a:latin typeface="Uniform-Medium"/>
          <a:ea typeface="Uniform-Medium"/>
          <a:cs typeface="Uniform-Medium"/>
          <a:sym typeface="Uniform Medium"/>
        </a:defRPr>
      </a:lvl7pPr>
      <a:lvl8pPr marL="0" marR="0" indent="0" algn="l" defTabSz="554805" rtl="0" latinLnBrk="0">
        <a:lnSpc>
          <a:spcPct val="100000"/>
        </a:lnSpc>
        <a:spcBef>
          <a:spcPts val="0"/>
        </a:spcBef>
        <a:spcAft>
          <a:spcPts val="0"/>
        </a:spcAft>
        <a:buClrTx/>
        <a:buSzTx/>
        <a:buFontTx/>
        <a:buNone/>
        <a:tabLst/>
        <a:defRPr sz="2700" b="0" i="0" u="none" strike="noStrike" cap="none" spc="0" baseline="0">
          <a:solidFill>
            <a:srgbClr val="5C5C5C"/>
          </a:solidFill>
          <a:uFillTx/>
          <a:latin typeface="Uniform-Medium"/>
          <a:ea typeface="Uniform-Medium"/>
          <a:cs typeface="Uniform-Medium"/>
          <a:sym typeface="Uniform Medium"/>
        </a:defRPr>
      </a:lvl8pPr>
      <a:lvl9pPr marL="0" marR="0" indent="0" algn="l" defTabSz="554805" rtl="0" latinLnBrk="0">
        <a:lnSpc>
          <a:spcPct val="100000"/>
        </a:lnSpc>
        <a:spcBef>
          <a:spcPts val="0"/>
        </a:spcBef>
        <a:spcAft>
          <a:spcPts val="0"/>
        </a:spcAft>
        <a:buClrTx/>
        <a:buSzTx/>
        <a:buFontTx/>
        <a:buNone/>
        <a:tabLst/>
        <a:defRPr sz="2700" b="0" i="0" u="none" strike="noStrike" cap="none" spc="0" baseline="0">
          <a:solidFill>
            <a:srgbClr val="5C5C5C"/>
          </a:solidFill>
          <a:uFillTx/>
          <a:latin typeface="Uniform-Medium"/>
          <a:ea typeface="Uniform-Medium"/>
          <a:cs typeface="Uniform-Medium"/>
          <a:sym typeface="Uniform Medium"/>
        </a:defRPr>
      </a:lvl9pPr>
    </p:bodyStyle>
    <p:otherStyle>
      <a:lvl1pPr marL="0" marR="0" indent="0" algn="r" defTabSz="554805"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Helvetica"/>
        </a:defRPr>
      </a:lvl1pPr>
      <a:lvl2pPr marL="0" marR="0" indent="0" algn="r" defTabSz="554805"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Helvetica"/>
        </a:defRPr>
      </a:lvl2pPr>
      <a:lvl3pPr marL="0" marR="0" indent="0" algn="r" defTabSz="554805"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Helvetica"/>
        </a:defRPr>
      </a:lvl3pPr>
      <a:lvl4pPr marL="0" marR="0" indent="0" algn="r" defTabSz="554805"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Helvetica"/>
        </a:defRPr>
      </a:lvl4pPr>
      <a:lvl5pPr marL="0" marR="0" indent="0" algn="r" defTabSz="554805"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Helvetica"/>
        </a:defRPr>
      </a:lvl5pPr>
      <a:lvl6pPr marL="0" marR="0" indent="0" algn="r" defTabSz="554805"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Helvetica"/>
        </a:defRPr>
      </a:lvl6pPr>
      <a:lvl7pPr marL="0" marR="0" indent="0" algn="r" defTabSz="554805"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Helvetica"/>
        </a:defRPr>
      </a:lvl7pPr>
      <a:lvl8pPr marL="0" marR="0" indent="0" algn="r" defTabSz="554805"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Helvetica"/>
        </a:defRPr>
      </a:lvl8pPr>
      <a:lvl9pPr marL="0" marR="0" indent="0" algn="r" defTabSz="554805"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Helvetica"/>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419F596-05E3-44AB-BEC2-525D3E5EB60E}"/>
              </a:ext>
            </a:extLst>
          </p:cNvPr>
          <p:cNvCxnSpPr/>
          <p:nvPr/>
        </p:nvCxnSpPr>
        <p:spPr bwMode="gray">
          <a:xfrm>
            <a:off x="4331804" y="-171000"/>
            <a:ext cx="0" cy="72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B6FAE3F-DF50-4F5D-A33B-7F9644FD4086}"/>
              </a:ext>
            </a:extLst>
          </p:cNvPr>
          <p:cNvCxnSpPr>
            <a:cxnSpLocks/>
          </p:cNvCxnSpPr>
          <p:nvPr/>
        </p:nvCxnSpPr>
        <p:spPr bwMode="gray">
          <a:xfrm>
            <a:off x="11604626" y="-171000"/>
            <a:ext cx="0" cy="7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8558267-B187-4531-BCCC-F83FA4CAA964}"/>
              </a:ext>
            </a:extLst>
          </p:cNvPr>
          <p:cNvCxnSpPr/>
          <p:nvPr/>
        </p:nvCxnSpPr>
        <p:spPr bwMode="gray">
          <a:xfrm>
            <a:off x="6204012" y="-171000"/>
            <a:ext cx="0" cy="7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9766BB2-DB3D-4AE7-85BC-A9F0D2529F08}"/>
              </a:ext>
            </a:extLst>
          </p:cNvPr>
          <p:cNvCxnSpPr/>
          <p:nvPr/>
        </p:nvCxnSpPr>
        <p:spPr bwMode="gray">
          <a:xfrm>
            <a:off x="4115780" y="-171000"/>
            <a:ext cx="0" cy="72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E3C6509-678A-481D-AC02-D2722AEAE8EE}"/>
              </a:ext>
            </a:extLst>
          </p:cNvPr>
          <p:cNvCxnSpPr/>
          <p:nvPr/>
        </p:nvCxnSpPr>
        <p:spPr bwMode="gray">
          <a:xfrm>
            <a:off x="8076220" y="-171000"/>
            <a:ext cx="0" cy="72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F0331AD-31BE-48EC-A28C-7312CB5C917B}"/>
              </a:ext>
            </a:extLst>
          </p:cNvPr>
          <p:cNvCxnSpPr/>
          <p:nvPr/>
        </p:nvCxnSpPr>
        <p:spPr bwMode="gray">
          <a:xfrm>
            <a:off x="7860196" y="-171000"/>
            <a:ext cx="0" cy="72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2F1F113-7125-4472-895A-085A88F45A97}"/>
              </a:ext>
            </a:extLst>
          </p:cNvPr>
          <p:cNvCxnSpPr/>
          <p:nvPr/>
        </p:nvCxnSpPr>
        <p:spPr bwMode="gray">
          <a:xfrm>
            <a:off x="-168000" y="6129300"/>
            <a:ext cx="7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C0A000A-F87F-4C42-A9AA-20CAD0E07E37}"/>
              </a:ext>
            </a:extLst>
          </p:cNvPr>
          <p:cNvCxnSpPr/>
          <p:nvPr/>
        </p:nvCxnSpPr>
        <p:spPr bwMode="gray">
          <a:xfrm>
            <a:off x="-168000" y="1700808"/>
            <a:ext cx="7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6B9062C-1B9D-42DC-9F72-885BC17B7A30}"/>
              </a:ext>
            </a:extLst>
          </p:cNvPr>
          <p:cNvCxnSpPr/>
          <p:nvPr/>
        </p:nvCxnSpPr>
        <p:spPr bwMode="gray">
          <a:xfrm>
            <a:off x="-168000" y="368660"/>
            <a:ext cx="7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16B3DF8-8E73-4629-8416-3164F44999CE}"/>
              </a:ext>
            </a:extLst>
          </p:cNvPr>
          <p:cNvCxnSpPr>
            <a:cxnSpLocks/>
          </p:cNvCxnSpPr>
          <p:nvPr/>
        </p:nvCxnSpPr>
        <p:spPr bwMode="gray">
          <a:xfrm>
            <a:off x="587375" y="-171000"/>
            <a:ext cx="0" cy="7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2ADCE2D-DC10-46C8-AEC3-E40ACA3C27FF}"/>
              </a:ext>
            </a:extLst>
          </p:cNvPr>
          <p:cNvCxnSpPr/>
          <p:nvPr/>
        </p:nvCxnSpPr>
        <p:spPr bwMode="gray">
          <a:xfrm>
            <a:off x="5987988" y="-171000"/>
            <a:ext cx="0" cy="7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8" name="Object 7" hidden="1">
            <a:extLst>
              <a:ext uri="{FF2B5EF4-FFF2-40B4-BE49-F238E27FC236}">
                <a16:creationId xmlns:a16="http://schemas.microsoft.com/office/drawing/2014/main" id="{AAA89E88-C154-435E-8232-5EB90B965D97}"/>
              </a:ext>
            </a:extLst>
          </p:cNvPr>
          <p:cNvGraphicFramePr>
            <a:graphicFrameLocks noChangeAspect="1"/>
          </p:cNvGraphicFramePr>
          <p:nvPr>
            <p:custDataLst>
              <p:tags r:id="rId48"/>
            </p:custDataLst>
            <p:extLst>
              <p:ext uri="{D42A27DB-BD31-4B8C-83A1-F6EECF244321}">
                <p14:modId xmlns:p14="http://schemas.microsoft.com/office/powerpoint/2010/main" val="2821195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1" imgW="286" imgH="286" progId="TCLayout.ActiveDocument.1">
                  <p:embed/>
                </p:oleObj>
              </mc:Choice>
              <mc:Fallback>
                <p:oleObj name="think-cell Slide" r:id="rId51" imgW="286" imgH="286" progId="TCLayout.ActiveDocument.1">
                  <p:embed/>
                  <p:pic>
                    <p:nvPicPr>
                      <p:cNvPr id="8" name="Object 7" hidden="1">
                        <a:extLst>
                          <a:ext uri="{FF2B5EF4-FFF2-40B4-BE49-F238E27FC236}">
                            <a16:creationId xmlns:a16="http://schemas.microsoft.com/office/drawing/2014/main" id="{AAA89E88-C154-435E-8232-5EB90B965D97}"/>
                          </a:ext>
                        </a:extLst>
                      </p:cNvPr>
                      <p:cNvPicPr/>
                      <p:nvPr/>
                    </p:nvPicPr>
                    <p:blipFill>
                      <a:blip r:embed="rId52"/>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D63CA78-0FB3-48B5-A9D7-A04CC8D648A5}"/>
              </a:ext>
            </a:extLst>
          </p:cNvPr>
          <p:cNvSpPr/>
          <p:nvPr>
            <p:custDataLst>
              <p:tags r:id="rId49"/>
            </p:custDataLst>
          </p:nvPr>
        </p:nvSpPr>
        <p:spPr bwMode="gray">
          <a:xfrm>
            <a:off x="0" y="0"/>
            <a:ext cx="158750" cy="158750"/>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buFontTx/>
              <a:buNone/>
            </a:pPr>
            <a:endParaRPr lang="en-GB" sz="30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itelplatzhalter 1">
            <a:extLst>
              <a:ext uri="{FF2B5EF4-FFF2-40B4-BE49-F238E27FC236}">
                <a16:creationId xmlns:a16="http://schemas.microsoft.com/office/drawing/2014/main" id="{9AB26C2F-D9F3-400B-A4CB-4A13AFC3507A}"/>
              </a:ext>
            </a:extLst>
          </p:cNvPr>
          <p:cNvSpPr>
            <a:spLocks noGrp="1"/>
          </p:cNvSpPr>
          <p:nvPr>
            <p:ph type="title"/>
          </p:nvPr>
        </p:nvSpPr>
        <p:spPr bwMode="gray">
          <a:xfrm>
            <a:off x="587388" y="368300"/>
            <a:ext cx="11017224" cy="934900"/>
          </a:xfrm>
          <a:prstGeom prst="rect">
            <a:avLst/>
          </a:prstGeom>
        </p:spPr>
        <p:txBody>
          <a:bodyPr vert="horz" lIns="0" tIns="0" rIns="0" bIns="0" rtlCol="0" anchor="t" anchorCtr="0">
            <a:noAutofit/>
          </a:bodyPr>
          <a:lstStyle/>
          <a:p>
            <a:r>
              <a:rPr lang="en-GB"/>
              <a:t>Click to add title</a:t>
            </a:r>
          </a:p>
        </p:txBody>
      </p:sp>
      <p:sp>
        <p:nvSpPr>
          <p:cNvPr id="6" name="Foliennummernplatzhalter 5">
            <a:extLst>
              <a:ext uri="{FF2B5EF4-FFF2-40B4-BE49-F238E27FC236}">
                <a16:creationId xmlns:a16="http://schemas.microsoft.com/office/drawing/2014/main" id="{BDC74AA6-244A-46E9-A2CF-06F7214DD42D}"/>
              </a:ext>
            </a:extLst>
          </p:cNvPr>
          <p:cNvSpPr>
            <a:spLocks noGrp="1"/>
          </p:cNvSpPr>
          <p:nvPr>
            <p:ph type="sldNum" sz="quarter" idx="4"/>
          </p:nvPr>
        </p:nvSpPr>
        <p:spPr bwMode="gray">
          <a:xfrm>
            <a:off x="5806768" y="6381234"/>
            <a:ext cx="576064" cy="216000"/>
          </a:xfrm>
          <a:prstGeom prst="rect">
            <a:avLst/>
          </a:prstGeom>
        </p:spPr>
        <p:txBody>
          <a:bodyPr vert="horz" wrap="square" lIns="0" tIns="0" rIns="0" bIns="0" rtlCol="0" anchor="t" anchorCtr="0">
            <a:noAutofit/>
          </a:bodyPr>
          <a:lstStyle>
            <a:lvl1pPr algn="ctr">
              <a:defRPr sz="900">
                <a:solidFill>
                  <a:schemeClr val="tx1"/>
                </a:solidFill>
              </a:defRPr>
            </a:lvl1pPr>
          </a:lstStyle>
          <a:p>
            <a:fld id="{BFCA3128-5B09-47E5-B47D-6F0CB7A5DE9F}" type="slidenum">
              <a:rPr lang="en-US"/>
              <a:t>‹#›</a:t>
            </a:fld>
            <a:endParaRPr lang="en-US"/>
          </a:p>
        </p:txBody>
      </p:sp>
      <p:sp>
        <p:nvSpPr>
          <p:cNvPr id="9" name="Text Placeholder 8">
            <a:extLst>
              <a:ext uri="{FF2B5EF4-FFF2-40B4-BE49-F238E27FC236}">
                <a16:creationId xmlns:a16="http://schemas.microsoft.com/office/drawing/2014/main" id="{25F1E4DB-B8AA-4767-B630-DDDF47F8E9BA}"/>
              </a:ext>
            </a:extLst>
          </p:cNvPr>
          <p:cNvSpPr>
            <a:spLocks noGrp="1"/>
          </p:cNvSpPr>
          <p:nvPr>
            <p:ph type="body" idx="1"/>
          </p:nvPr>
        </p:nvSpPr>
        <p:spPr bwMode="gray">
          <a:xfrm>
            <a:off x="587388" y="1916112"/>
            <a:ext cx="11017224" cy="421322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umsplatzhalter 2">
            <a:extLst>
              <a:ext uri="{FF2B5EF4-FFF2-40B4-BE49-F238E27FC236}">
                <a16:creationId xmlns:a16="http://schemas.microsoft.com/office/drawing/2014/main" id="{DFB6AC57-3D0F-4843-BD6B-516A10349FC6}"/>
              </a:ext>
            </a:extLst>
          </p:cNvPr>
          <p:cNvSpPr>
            <a:spLocks noGrp="1"/>
          </p:cNvSpPr>
          <p:nvPr>
            <p:ph type="dt" sz="half" idx="2"/>
          </p:nvPr>
        </p:nvSpPr>
        <p:spPr bwMode="gray">
          <a:xfrm>
            <a:off x="8861412" y="6381352"/>
            <a:ext cx="2743200" cy="216000"/>
          </a:xfrm>
          <a:prstGeom prst="rect">
            <a:avLst/>
          </a:prstGeom>
        </p:spPr>
        <p:txBody>
          <a:bodyPr vert="horz" wrap="square" lIns="0" tIns="0" rIns="0" bIns="0" rtlCol="0" anchor="t" anchorCtr="0">
            <a:noAutofit/>
          </a:bodyPr>
          <a:lstStyle>
            <a:lvl1pPr algn="r">
              <a:defRPr lang="de-DE" sz="900">
                <a:solidFill>
                  <a:schemeClr val="tx1"/>
                </a:solidFill>
              </a:defRPr>
            </a:lvl1pPr>
          </a:lstStyle>
          <a:p>
            <a:endParaRPr lang="en-US"/>
          </a:p>
        </p:txBody>
      </p:sp>
      <p:sp>
        <p:nvSpPr>
          <p:cNvPr id="4" name="Fußzeilenplatzhalter 3">
            <a:extLst>
              <a:ext uri="{FF2B5EF4-FFF2-40B4-BE49-F238E27FC236}">
                <a16:creationId xmlns:a16="http://schemas.microsoft.com/office/drawing/2014/main" id="{053C3E1A-11EC-4425-AE08-5F4089F59912}"/>
              </a:ext>
            </a:extLst>
          </p:cNvPr>
          <p:cNvSpPr>
            <a:spLocks noGrp="1"/>
          </p:cNvSpPr>
          <p:nvPr>
            <p:ph type="ftr" sz="quarter" idx="3"/>
          </p:nvPr>
        </p:nvSpPr>
        <p:spPr bwMode="gray">
          <a:xfrm>
            <a:off x="587388" y="6381352"/>
            <a:ext cx="1896353" cy="138499"/>
          </a:xfrm>
          <a:prstGeom prst="rect">
            <a:avLst/>
          </a:prstGeom>
        </p:spPr>
        <p:txBody>
          <a:bodyPr vert="horz" wrap="none" lIns="0" tIns="0" rIns="0" bIns="0" rtlCol="0" anchor="t" anchorCtr="0">
            <a:spAutoFit/>
          </a:bodyPr>
          <a:lstStyle>
            <a:lvl1pPr algn="l">
              <a:defRPr sz="900">
                <a:solidFill>
                  <a:schemeClr val="tx1"/>
                </a:solidFill>
              </a:defRPr>
            </a:lvl1pPr>
          </a:lstStyle>
          <a:p>
            <a:endParaRPr lang="en-US"/>
          </a:p>
        </p:txBody>
      </p:sp>
      <p:sp>
        <p:nvSpPr>
          <p:cNvPr id="5" name="empower - DO NOT DELETE!!!" hidden="1">
            <a:extLst>
              <a:ext uri="{FF2B5EF4-FFF2-40B4-BE49-F238E27FC236}">
                <a16:creationId xmlns:a16="http://schemas.microsoft.com/office/drawing/2014/main" id="{EBB2EE60-53AE-47EF-9F98-08E3D8665809}"/>
              </a:ext>
            </a:extLst>
          </p:cNvPr>
          <p:cNvSpPr/>
          <p:nvPr>
            <p:custDataLst>
              <p:tags r:id="rId50"/>
            </p:custDataLst>
          </p:nvPr>
        </p:nvSpPr>
        <p:spPr bwMode="gray">
          <a:xfrm>
            <a:off x="0" y="0"/>
            <a:ext cx="0" cy="0"/>
          </a:xfrm>
          <a:prstGeom prst="ellipse">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en-GB" sz="1600">
              <a:solidFill>
                <a:schemeClr val="bg1"/>
              </a:solidFill>
            </a:endParaRPr>
          </a:p>
        </p:txBody>
      </p:sp>
      <p:sp>
        <p:nvSpPr>
          <p:cNvPr id="22" name="TextBox 21">
            <a:extLst>
              <a:ext uri="{FF2B5EF4-FFF2-40B4-BE49-F238E27FC236}">
                <a16:creationId xmlns:a16="http://schemas.microsoft.com/office/drawing/2014/main" id="{2ADC311C-985A-AF85-D64A-FEA067D6E28C}"/>
              </a:ext>
            </a:extLst>
          </p:cNvPr>
          <p:cNvSpPr txBox="1"/>
          <p:nvPr userDrawn="1">
            <p:extLst>
              <p:ext uri="{1162E1C5-73C7-4A58-AE30-91384D911F3F}">
                <p184:classification xmlns:p184="http://schemas.microsoft.com/office/powerpoint/2018/4/main" val="ftr"/>
              </p:ext>
            </p:extLst>
          </p:nvPr>
        </p:nvSpPr>
        <p:spPr>
          <a:xfrm>
            <a:off x="5893562" y="6642100"/>
            <a:ext cx="43338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Internal</a:t>
            </a:r>
          </a:p>
        </p:txBody>
      </p:sp>
    </p:spTree>
    <p:extLst>
      <p:ext uri="{BB962C8B-B14F-4D97-AF65-F5344CB8AC3E}">
        <p14:creationId xmlns:p14="http://schemas.microsoft.com/office/powerpoint/2010/main" val="454925469"/>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683" r:id="rId16"/>
    <p:sldLayoutId id="2147483684" r:id="rId17"/>
    <p:sldLayoutId id="2147483685" r:id="rId18"/>
    <p:sldLayoutId id="2147483686" r:id="rId19"/>
    <p:sldLayoutId id="2147483687" r:id="rId20"/>
    <p:sldLayoutId id="2147483688" r:id="rId21"/>
    <p:sldLayoutId id="2147483689" r:id="rId22"/>
    <p:sldLayoutId id="2147483690" r:id="rId23"/>
    <p:sldLayoutId id="2147483691" r:id="rId24"/>
    <p:sldLayoutId id="2147483692" r:id="rId25"/>
    <p:sldLayoutId id="2147483693" r:id="rId26"/>
    <p:sldLayoutId id="2147483694" r:id="rId27"/>
    <p:sldLayoutId id="2147483695" r:id="rId28"/>
    <p:sldLayoutId id="2147483696" r:id="rId29"/>
    <p:sldLayoutId id="2147483697" r:id="rId30"/>
    <p:sldLayoutId id="2147483698" r:id="rId31"/>
    <p:sldLayoutId id="2147483699" r:id="rId32"/>
    <p:sldLayoutId id="2147483700" r:id="rId33"/>
    <p:sldLayoutId id="2147483701" r:id="rId34"/>
    <p:sldLayoutId id="2147483702" r:id="rId35"/>
    <p:sldLayoutId id="2147483703" r:id="rId36"/>
    <p:sldLayoutId id="2147483704" r:id="rId37"/>
    <p:sldLayoutId id="2147483705" r:id="rId38"/>
    <p:sldLayoutId id="2147483706" r:id="rId39"/>
    <p:sldLayoutId id="2147483707" r:id="rId40"/>
    <p:sldLayoutId id="2147483708" r:id="rId41"/>
    <p:sldLayoutId id="2147483709" r:id="rId42"/>
    <p:sldLayoutId id="2147483710" r:id="rId43"/>
    <p:sldLayoutId id="2147483711" r:id="rId44"/>
    <p:sldLayoutId id="2147483712" r:id="rId45"/>
  </p:sldLayoutIdLst>
  <p:hf hdr="0" ftr="0" dt="0"/>
  <p:txStyles>
    <p:titleStyle>
      <a:lvl1pPr algn="l" defTabSz="914400" rtl="0" eaLnBrk="1" latinLnBrk="0" hangingPunct="1">
        <a:lnSpc>
          <a:spcPct val="110000"/>
        </a:lnSpc>
        <a:spcBef>
          <a:spcPct val="0"/>
        </a:spcBef>
        <a:buNone/>
        <a:defRPr sz="3000" b="1"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Tx/>
        <a:buNone/>
        <a:defRPr sz="20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2pPr>
      <a:lvl3pPr marL="432000" indent="-216000" algn="l" defTabSz="914400" rtl="0" eaLnBrk="1" latinLnBrk="0" hangingPunct="1">
        <a:lnSpc>
          <a:spcPct val="11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3pPr>
      <a:lvl4pPr marL="648000" indent="-216000" algn="l" defTabSz="914400" rtl="0" eaLnBrk="1" latinLnBrk="0" hangingPunct="1">
        <a:lnSpc>
          <a:spcPct val="11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4pPr>
      <a:lvl5pPr marL="864000" indent="-216000" algn="l" defTabSz="914400" rtl="0" eaLnBrk="1" latinLnBrk="0" hangingPunct="1">
        <a:lnSpc>
          <a:spcPct val="11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5pPr>
      <a:lvl6pPr marL="864000" indent="-216000" algn="l" defTabSz="914400" rtl="0" eaLnBrk="1" latinLnBrk="0" hangingPunct="1">
        <a:lnSpc>
          <a:spcPct val="11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6pPr>
      <a:lvl7pPr marL="864000" indent="-216000" algn="l" defTabSz="914400" rtl="0" eaLnBrk="1" latinLnBrk="0" hangingPunct="1">
        <a:lnSpc>
          <a:spcPct val="11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7pPr>
      <a:lvl8pPr marL="864000" indent="-216000" algn="l" defTabSz="914400" rtl="0" eaLnBrk="1" latinLnBrk="0" hangingPunct="1">
        <a:lnSpc>
          <a:spcPct val="11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8pPr>
      <a:lvl9pPr marL="864000" indent="-216000" algn="l" defTabSz="914400" rtl="0" eaLnBrk="1" latinLnBrk="0" hangingPunct="1">
        <a:lnSpc>
          <a:spcPct val="11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370">
          <p15:clr>
            <a:srgbClr val="F26B43"/>
          </p15:clr>
        </p15:guide>
        <p15:guide id="3" pos="7310">
          <p15:clr>
            <a:srgbClr val="F26B43"/>
          </p15:clr>
        </p15:guide>
        <p15:guide id="4" orient="horz" pos="3861">
          <p15:clr>
            <a:srgbClr val="F26B43"/>
          </p15:clr>
        </p15:guide>
        <p15:guide id="5" orient="horz" pos="1207">
          <p15:clr>
            <a:srgbClr val="F26B43"/>
          </p15:clr>
        </p15:guide>
        <p15:guide id="6" orient="horz" pos="935">
          <p15:clr>
            <a:srgbClr val="F26B43"/>
          </p15:clr>
        </p15:guide>
        <p15:guide id="7" orient="horz" pos="23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419F596-05E3-44AB-BEC2-525D3E5EB60E}"/>
              </a:ext>
            </a:extLst>
          </p:cNvPr>
          <p:cNvCxnSpPr/>
          <p:nvPr/>
        </p:nvCxnSpPr>
        <p:spPr bwMode="gray">
          <a:xfrm>
            <a:off x="4331804" y="-171000"/>
            <a:ext cx="0" cy="72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B6FAE3F-DF50-4F5D-A33B-7F9644FD4086}"/>
              </a:ext>
            </a:extLst>
          </p:cNvPr>
          <p:cNvCxnSpPr>
            <a:cxnSpLocks/>
          </p:cNvCxnSpPr>
          <p:nvPr/>
        </p:nvCxnSpPr>
        <p:spPr bwMode="gray">
          <a:xfrm>
            <a:off x="11604626" y="-171000"/>
            <a:ext cx="0" cy="7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8558267-B187-4531-BCCC-F83FA4CAA964}"/>
              </a:ext>
            </a:extLst>
          </p:cNvPr>
          <p:cNvCxnSpPr/>
          <p:nvPr/>
        </p:nvCxnSpPr>
        <p:spPr bwMode="gray">
          <a:xfrm>
            <a:off x="6204012" y="-171000"/>
            <a:ext cx="0" cy="7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9766BB2-DB3D-4AE7-85BC-A9F0D2529F08}"/>
              </a:ext>
            </a:extLst>
          </p:cNvPr>
          <p:cNvCxnSpPr/>
          <p:nvPr/>
        </p:nvCxnSpPr>
        <p:spPr bwMode="gray">
          <a:xfrm>
            <a:off x="4115780" y="-171000"/>
            <a:ext cx="0" cy="72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E3C6509-678A-481D-AC02-D2722AEAE8EE}"/>
              </a:ext>
            </a:extLst>
          </p:cNvPr>
          <p:cNvCxnSpPr/>
          <p:nvPr/>
        </p:nvCxnSpPr>
        <p:spPr bwMode="gray">
          <a:xfrm>
            <a:off x="8076220" y="-171000"/>
            <a:ext cx="0" cy="72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F0331AD-31BE-48EC-A28C-7312CB5C917B}"/>
              </a:ext>
            </a:extLst>
          </p:cNvPr>
          <p:cNvCxnSpPr/>
          <p:nvPr/>
        </p:nvCxnSpPr>
        <p:spPr bwMode="gray">
          <a:xfrm>
            <a:off x="7860196" y="-171000"/>
            <a:ext cx="0" cy="72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2F1F113-7125-4472-895A-085A88F45A97}"/>
              </a:ext>
            </a:extLst>
          </p:cNvPr>
          <p:cNvCxnSpPr/>
          <p:nvPr/>
        </p:nvCxnSpPr>
        <p:spPr bwMode="gray">
          <a:xfrm>
            <a:off x="-168000" y="6129300"/>
            <a:ext cx="7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C0A000A-F87F-4C42-A9AA-20CAD0E07E37}"/>
              </a:ext>
            </a:extLst>
          </p:cNvPr>
          <p:cNvCxnSpPr/>
          <p:nvPr/>
        </p:nvCxnSpPr>
        <p:spPr bwMode="gray">
          <a:xfrm>
            <a:off x="-168000" y="1700808"/>
            <a:ext cx="7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6B9062C-1B9D-42DC-9F72-885BC17B7A30}"/>
              </a:ext>
            </a:extLst>
          </p:cNvPr>
          <p:cNvCxnSpPr/>
          <p:nvPr/>
        </p:nvCxnSpPr>
        <p:spPr bwMode="gray">
          <a:xfrm>
            <a:off x="-168000" y="368660"/>
            <a:ext cx="7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16B3DF8-8E73-4629-8416-3164F44999CE}"/>
              </a:ext>
            </a:extLst>
          </p:cNvPr>
          <p:cNvCxnSpPr>
            <a:cxnSpLocks/>
          </p:cNvCxnSpPr>
          <p:nvPr/>
        </p:nvCxnSpPr>
        <p:spPr bwMode="gray">
          <a:xfrm>
            <a:off x="587375" y="-171000"/>
            <a:ext cx="0" cy="7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2ADCE2D-DC10-46C8-AEC3-E40ACA3C27FF}"/>
              </a:ext>
            </a:extLst>
          </p:cNvPr>
          <p:cNvCxnSpPr/>
          <p:nvPr/>
        </p:nvCxnSpPr>
        <p:spPr bwMode="gray">
          <a:xfrm>
            <a:off x="5987988" y="-171000"/>
            <a:ext cx="0" cy="7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8" name="Object 7" hidden="1">
            <a:extLst>
              <a:ext uri="{FF2B5EF4-FFF2-40B4-BE49-F238E27FC236}">
                <a16:creationId xmlns:a16="http://schemas.microsoft.com/office/drawing/2014/main" id="{AAA89E88-C154-435E-8232-5EB90B965D97}"/>
              </a:ext>
            </a:extLst>
          </p:cNvPr>
          <p:cNvGraphicFramePr>
            <a:graphicFrameLocks noChangeAspect="1"/>
          </p:cNvGraphicFramePr>
          <p:nvPr>
            <p:custDataLst>
              <p:tags r:id="rId39"/>
            </p:custDataLst>
            <p:extLst>
              <p:ext uri="{D42A27DB-BD31-4B8C-83A1-F6EECF244321}">
                <p14:modId xmlns:p14="http://schemas.microsoft.com/office/powerpoint/2010/main" val="3759653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42" imgW="286" imgH="286" progId="TCLayout.ActiveDocument.1">
                  <p:embed/>
                </p:oleObj>
              </mc:Choice>
              <mc:Fallback>
                <p:oleObj name="think-cell Slide" r:id="rId42" imgW="286" imgH="286" progId="TCLayout.ActiveDocument.1">
                  <p:embed/>
                  <p:pic>
                    <p:nvPicPr>
                      <p:cNvPr id="8" name="Object 7" hidden="1">
                        <a:extLst>
                          <a:ext uri="{FF2B5EF4-FFF2-40B4-BE49-F238E27FC236}">
                            <a16:creationId xmlns:a16="http://schemas.microsoft.com/office/drawing/2014/main" id="{AAA89E88-C154-435E-8232-5EB90B965D97}"/>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D63CA78-0FB3-48B5-A9D7-A04CC8D648A5}"/>
              </a:ext>
            </a:extLst>
          </p:cNvPr>
          <p:cNvSpPr/>
          <p:nvPr>
            <p:custDataLst>
              <p:tags r:id="rId40"/>
            </p:custDataLst>
          </p:nvPr>
        </p:nvSpPr>
        <p:spPr bwMode="gray">
          <a:xfrm>
            <a:off x="0" y="0"/>
            <a:ext cx="158750" cy="158750"/>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buFontTx/>
              <a:buNone/>
            </a:pPr>
            <a:endParaRPr lang="en-GB" sz="30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itelplatzhalter 1">
            <a:extLst>
              <a:ext uri="{FF2B5EF4-FFF2-40B4-BE49-F238E27FC236}">
                <a16:creationId xmlns:a16="http://schemas.microsoft.com/office/drawing/2014/main" id="{9AB26C2F-D9F3-400B-A4CB-4A13AFC3507A}"/>
              </a:ext>
            </a:extLst>
          </p:cNvPr>
          <p:cNvSpPr>
            <a:spLocks noGrp="1"/>
          </p:cNvSpPr>
          <p:nvPr>
            <p:ph type="title"/>
          </p:nvPr>
        </p:nvSpPr>
        <p:spPr bwMode="gray">
          <a:xfrm>
            <a:off x="587388" y="368300"/>
            <a:ext cx="11017224" cy="934900"/>
          </a:xfrm>
          <a:prstGeom prst="rect">
            <a:avLst/>
          </a:prstGeom>
        </p:spPr>
        <p:txBody>
          <a:bodyPr vert="horz" lIns="0" tIns="0" rIns="0" bIns="0" rtlCol="0" anchor="t" anchorCtr="0">
            <a:noAutofit/>
          </a:bodyPr>
          <a:lstStyle/>
          <a:p>
            <a:r>
              <a:rPr lang="en-GB"/>
              <a:t>Click to add title</a:t>
            </a:r>
          </a:p>
        </p:txBody>
      </p:sp>
      <p:sp>
        <p:nvSpPr>
          <p:cNvPr id="6" name="Foliennummernplatzhalter 5">
            <a:extLst>
              <a:ext uri="{FF2B5EF4-FFF2-40B4-BE49-F238E27FC236}">
                <a16:creationId xmlns:a16="http://schemas.microsoft.com/office/drawing/2014/main" id="{BDC74AA6-244A-46E9-A2CF-06F7214DD42D}"/>
              </a:ext>
            </a:extLst>
          </p:cNvPr>
          <p:cNvSpPr>
            <a:spLocks noGrp="1"/>
          </p:cNvSpPr>
          <p:nvPr>
            <p:ph type="sldNum" sz="quarter" idx="4"/>
          </p:nvPr>
        </p:nvSpPr>
        <p:spPr bwMode="gray">
          <a:xfrm>
            <a:off x="5806768" y="6381234"/>
            <a:ext cx="576064" cy="216000"/>
          </a:xfrm>
          <a:prstGeom prst="rect">
            <a:avLst/>
          </a:prstGeom>
        </p:spPr>
        <p:txBody>
          <a:bodyPr vert="horz" wrap="square" lIns="0" tIns="0" rIns="0" bIns="0" rtlCol="0" anchor="t" anchorCtr="0">
            <a:noAutofit/>
          </a:bodyPr>
          <a:lstStyle>
            <a:lvl1pPr algn="ctr">
              <a:defRPr sz="900">
                <a:solidFill>
                  <a:schemeClr val="tx1"/>
                </a:solidFill>
              </a:defRPr>
            </a:lvl1pPr>
          </a:lstStyle>
          <a:p>
            <a:fld id="{BFCA3128-5B09-47E5-B47D-6F0CB7A5DE9F}" type="slidenum">
              <a:rPr lang="en-US"/>
              <a:t>‹#›</a:t>
            </a:fld>
            <a:endParaRPr lang="en-US"/>
          </a:p>
        </p:txBody>
      </p:sp>
      <p:sp>
        <p:nvSpPr>
          <p:cNvPr id="9" name="Text Placeholder 8">
            <a:extLst>
              <a:ext uri="{FF2B5EF4-FFF2-40B4-BE49-F238E27FC236}">
                <a16:creationId xmlns:a16="http://schemas.microsoft.com/office/drawing/2014/main" id="{25F1E4DB-B8AA-4767-B630-DDDF47F8E9BA}"/>
              </a:ext>
            </a:extLst>
          </p:cNvPr>
          <p:cNvSpPr>
            <a:spLocks noGrp="1"/>
          </p:cNvSpPr>
          <p:nvPr>
            <p:ph type="body" idx="1"/>
          </p:nvPr>
        </p:nvSpPr>
        <p:spPr bwMode="gray">
          <a:xfrm>
            <a:off x="587388" y="1916112"/>
            <a:ext cx="11017224" cy="421322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umsplatzhalter 2">
            <a:extLst>
              <a:ext uri="{FF2B5EF4-FFF2-40B4-BE49-F238E27FC236}">
                <a16:creationId xmlns:a16="http://schemas.microsoft.com/office/drawing/2014/main" id="{DFB6AC57-3D0F-4843-BD6B-516A10349FC6}"/>
              </a:ext>
            </a:extLst>
          </p:cNvPr>
          <p:cNvSpPr>
            <a:spLocks noGrp="1"/>
          </p:cNvSpPr>
          <p:nvPr>
            <p:ph type="dt" sz="half" idx="2"/>
          </p:nvPr>
        </p:nvSpPr>
        <p:spPr bwMode="gray">
          <a:xfrm>
            <a:off x="8861412" y="6381352"/>
            <a:ext cx="2743200" cy="216000"/>
          </a:xfrm>
          <a:prstGeom prst="rect">
            <a:avLst/>
          </a:prstGeom>
        </p:spPr>
        <p:txBody>
          <a:bodyPr vert="horz" wrap="square" lIns="0" tIns="0" rIns="0" bIns="0" rtlCol="0" anchor="t" anchorCtr="0">
            <a:noAutofit/>
          </a:bodyPr>
          <a:lstStyle>
            <a:lvl1pPr algn="r">
              <a:defRPr lang="de-DE" sz="900">
                <a:solidFill>
                  <a:schemeClr val="tx1"/>
                </a:solidFill>
              </a:defRPr>
            </a:lvl1pPr>
          </a:lstStyle>
          <a:p>
            <a:endParaRPr lang="en-US"/>
          </a:p>
        </p:txBody>
      </p:sp>
      <p:sp>
        <p:nvSpPr>
          <p:cNvPr id="4" name="Fußzeilenplatzhalter 3">
            <a:extLst>
              <a:ext uri="{FF2B5EF4-FFF2-40B4-BE49-F238E27FC236}">
                <a16:creationId xmlns:a16="http://schemas.microsoft.com/office/drawing/2014/main" id="{053C3E1A-11EC-4425-AE08-5F4089F59912}"/>
              </a:ext>
            </a:extLst>
          </p:cNvPr>
          <p:cNvSpPr>
            <a:spLocks noGrp="1"/>
          </p:cNvSpPr>
          <p:nvPr>
            <p:ph type="ftr" sz="quarter" idx="3"/>
          </p:nvPr>
        </p:nvSpPr>
        <p:spPr bwMode="gray">
          <a:xfrm>
            <a:off x="587388" y="6381352"/>
            <a:ext cx="1896353" cy="138499"/>
          </a:xfrm>
          <a:prstGeom prst="rect">
            <a:avLst/>
          </a:prstGeom>
        </p:spPr>
        <p:txBody>
          <a:bodyPr vert="horz" wrap="none" lIns="0" tIns="0" rIns="0" bIns="0" rtlCol="0" anchor="t" anchorCtr="0">
            <a:spAutoFit/>
          </a:bodyPr>
          <a:lstStyle>
            <a:lvl1pPr algn="l">
              <a:defRPr sz="900">
                <a:solidFill>
                  <a:schemeClr val="tx1"/>
                </a:solidFill>
              </a:defRPr>
            </a:lvl1pPr>
          </a:lstStyle>
          <a:p>
            <a:endParaRPr lang="en-US"/>
          </a:p>
        </p:txBody>
      </p:sp>
      <p:sp>
        <p:nvSpPr>
          <p:cNvPr id="5" name="empower - DO NOT DELETE!!!" hidden="1">
            <a:extLst>
              <a:ext uri="{FF2B5EF4-FFF2-40B4-BE49-F238E27FC236}">
                <a16:creationId xmlns:a16="http://schemas.microsoft.com/office/drawing/2014/main" id="{EBB2EE60-53AE-47EF-9F98-08E3D8665809}"/>
              </a:ext>
            </a:extLst>
          </p:cNvPr>
          <p:cNvSpPr/>
          <p:nvPr>
            <p:custDataLst>
              <p:tags r:id="rId41"/>
            </p:custDataLst>
          </p:nvPr>
        </p:nvSpPr>
        <p:spPr bwMode="gray">
          <a:xfrm>
            <a:off x="0" y="0"/>
            <a:ext cx="0" cy="0"/>
          </a:xfrm>
          <a:prstGeom prst="ellipse">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en-GB" sz="1600">
              <a:solidFill>
                <a:schemeClr val="bg1"/>
              </a:solidFill>
            </a:endParaRPr>
          </a:p>
        </p:txBody>
      </p:sp>
    </p:spTree>
    <p:extLst>
      <p:ext uri="{BB962C8B-B14F-4D97-AF65-F5344CB8AC3E}">
        <p14:creationId xmlns:p14="http://schemas.microsoft.com/office/powerpoint/2010/main" val="3156525606"/>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 id="2147483734" r:id="rId21"/>
    <p:sldLayoutId id="2147483735" r:id="rId22"/>
    <p:sldLayoutId id="2147483736" r:id="rId23"/>
    <p:sldLayoutId id="2147483737" r:id="rId24"/>
    <p:sldLayoutId id="2147483738" r:id="rId25"/>
    <p:sldLayoutId id="2147483739" r:id="rId26"/>
    <p:sldLayoutId id="2147483740" r:id="rId27"/>
    <p:sldLayoutId id="2147483741" r:id="rId28"/>
    <p:sldLayoutId id="2147483742" r:id="rId29"/>
    <p:sldLayoutId id="2147483743" r:id="rId30"/>
    <p:sldLayoutId id="2147483744" r:id="rId31"/>
    <p:sldLayoutId id="2147483745" r:id="rId32"/>
    <p:sldLayoutId id="2147483746" r:id="rId33"/>
    <p:sldLayoutId id="2147483747" r:id="rId34"/>
    <p:sldLayoutId id="2147483748" r:id="rId35"/>
    <p:sldLayoutId id="2147483749" r:id="rId36"/>
  </p:sldLayoutIdLst>
  <p:hf hdr="0" ftr="0" dt="0"/>
  <p:txStyles>
    <p:titleStyle>
      <a:lvl1pPr algn="l" defTabSz="914400" rtl="0" eaLnBrk="1" latinLnBrk="0" hangingPunct="1">
        <a:lnSpc>
          <a:spcPct val="110000"/>
        </a:lnSpc>
        <a:spcBef>
          <a:spcPct val="0"/>
        </a:spcBef>
        <a:buNone/>
        <a:defRPr sz="3000" b="1"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Tx/>
        <a:buNone/>
        <a:defRPr sz="20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2pPr>
      <a:lvl3pPr marL="432000" indent="-216000" algn="l" defTabSz="914400" rtl="0" eaLnBrk="1" latinLnBrk="0" hangingPunct="1">
        <a:lnSpc>
          <a:spcPct val="11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3pPr>
      <a:lvl4pPr marL="648000" indent="-216000" algn="l" defTabSz="914400" rtl="0" eaLnBrk="1" latinLnBrk="0" hangingPunct="1">
        <a:lnSpc>
          <a:spcPct val="11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4pPr>
      <a:lvl5pPr marL="864000" indent="-216000" algn="l" defTabSz="914400" rtl="0" eaLnBrk="1" latinLnBrk="0" hangingPunct="1">
        <a:lnSpc>
          <a:spcPct val="11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5pPr>
      <a:lvl6pPr marL="864000" indent="-216000" algn="l" defTabSz="914400" rtl="0" eaLnBrk="1" latinLnBrk="0" hangingPunct="1">
        <a:lnSpc>
          <a:spcPct val="11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6pPr>
      <a:lvl7pPr marL="864000" indent="-216000" algn="l" defTabSz="914400" rtl="0" eaLnBrk="1" latinLnBrk="0" hangingPunct="1">
        <a:lnSpc>
          <a:spcPct val="11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7pPr>
      <a:lvl8pPr marL="864000" indent="-216000" algn="l" defTabSz="914400" rtl="0" eaLnBrk="1" latinLnBrk="0" hangingPunct="1">
        <a:lnSpc>
          <a:spcPct val="11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8pPr>
      <a:lvl9pPr marL="864000" indent="-216000" algn="l" defTabSz="914400" rtl="0" eaLnBrk="1" latinLnBrk="0" hangingPunct="1">
        <a:lnSpc>
          <a:spcPct val="11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370">
          <p15:clr>
            <a:srgbClr val="F26B43"/>
          </p15:clr>
        </p15:guide>
        <p15:guide id="3" pos="7310">
          <p15:clr>
            <a:srgbClr val="F26B43"/>
          </p15:clr>
        </p15:guide>
        <p15:guide id="4" orient="horz" pos="3861">
          <p15:clr>
            <a:srgbClr val="F26B43"/>
          </p15:clr>
        </p15:guide>
        <p15:guide id="5" orient="horz" pos="1207">
          <p15:clr>
            <a:srgbClr val="F26B43"/>
          </p15:clr>
        </p15:guide>
        <p15:guide id="6" orient="horz" pos="935">
          <p15:clr>
            <a:srgbClr val="F26B43"/>
          </p15:clr>
        </p15:guide>
        <p15:guide id="7" orient="horz" pos="23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24.png"/><Relationship Id="rId13" Type="http://schemas.openxmlformats.org/officeDocument/2006/relationships/image" Target="../media/image129.png"/><Relationship Id="rId18" Type="http://schemas.openxmlformats.org/officeDocument/2006/relationships/image" Target="../media/image134.png"/><Relationship Id="rId3" Type="http://schemas.openxmlformats.org/officeDocument/2006/relationships/image" Target="../media/image119.png"/><Relationship Id="rId7" Type="http://schemas.openxmlformats.org/officeDocument/2006/relationships/image" Target="../media/image123.png"/><Relationship Id="rId12" Type="http://schemas.openxmlformats.org/officeDocument/2006/relationships/image" Target="../media/image128.png"/><Relationship Id="rId17" Type="http://schemas.openxmlformats.org/officeDocument/2006/relationships/image" Target="../media/image133.png"/><Relationship Id="rId2" Type="http://schemas.openxmlformats.org/officeDocument/2006/relationships/notesSlide" Target="../notesSlides/notesSlide4.xml"/><Relationship Id="rId16" Type="http://schemas.openxmlformats.org/officeDocument/2006/relationships/image" Target="../media/image132.png"/><Relationship Id="rId20" Type="http://schemas.openxmlformats.org/officeDocument/2006/relationships/image" Target="../media/image136.jpg"/><Relationship Id="rId1" Type="http://schemas.openxmlformats.org/officeDocument/2006/relationships/slideLayout" Target="../slideLayouts/slideLayout3.xml"/><Relationship Id="rId6" Type="http://schemas.openxmlformats.org/officeDocument/2006/relationships/image" Target="../media/image122.png"/><Relationship Id="rId11" Type="http://schemas.openxmlformats.org/officeDocument/2006/relationships/image" Target="../media/image127.png"/><Relationship Id="rId5" Type="http://schemas.openxmlformats.org/officeDocument/2006/relationships/image" Target="../media/image121.png"/><Relationship Id="rId15" Type="http://schemas.openxmlformats.org/officeDocument/2006/relationships/image" Target="../media/image131.png"/><Relationship Id="rId10" Type="http://schemas.openxmlformats.org/officeDocument/2006/relationships/image" Target="../media/image126.png"/><Relationship Id="rId19" Type="http://schemas.openxmlformats.org/officeDocument/2006/relationships/image" Target="../media/image135.png"/><Relationship Id="rId4" Type="http://schemas.openxmlformats.org/officeDocument/2006/relationships/image" Target="../media/image120.jpeg"/><Relationship Id="rId9" Type="http://schemas.openxmlformats.org/officeDocument/2006/relationships/image" Target="../media/image125.png"/><Relationship Id="rId14" Type="http://schemas.openxmlformats.org/officeDocument/2006/relationships/image" Target="../media/image130.png"/></Relationships>
</file>

<file path=ppt/slides/_rels/slide100.xml.rels><?xml version="1.0" encoding="UTF-8" standalone="yes"?>
<Relationships xmlns="http://schemas.openxmlformats.org/package/2006/relationships"><Relationship Id="rId8" Type="http://schemas.openxmlformats.org/officeDocument/2006/relationships/image" Target="../media/image315.png"/><Relationship Id="rId3" Type="http://schemas.openxmlformats.org/officeDocument/2006/relationships/image" Target="../media/image284.tif"/><Relationship Id="rId7" Type="http://schemas.openxmlformats.org/officeDocument/2006/relationships/image" Target="../media/image314.svg"/><Relationship Id="rId2" Type="http://schemas.openxmlformats.org/officeDocument/2006/relationships/image" Target="../media/image286.png"/><Relationship Id="rId1" Type="http://schemas.openxmlformats.org/officeDocument/2006/relationships/slideLayout" Target="../slideLayouts/slideLayout16.xml"/><Relationship Id="rId6" Type="http://schemas.openxmlformats.org/officeDocument/2006/relationships/image" Target="../media/image313.png"/><Relationship Id="rId5" Type="http://schemas.openxmlformats.org/officeDocument/2006/relationships/image" Target="../media/image312.svg"/><Relationship Id="rId4" Type="http://schemas.openxmlformats.org/officeDocument/2006/relationships/image" Target="../media/image311.png"/><Relationship Id="rId9" Type="http://schemas.openxmlformats.org/officeDocument/2006/relationships/image" Target="../media/image316.svg"/></Relationships>
</file>

<file path=ppt/slides/_rels/slide101.xml.rels><?xml version="1.0" encoding="UTF-8" standalone="yes"?>
<Relationships xmlns="http://schemas.openxmlformats.org/package/2006/relationships"><Relationship Id="rId2" Type="http://schemas.openxmlformats.org/officeDocument/2006/relationships/image" Target="../media/image284.tif"/><Relationship Id="rId1" Type="http://schemas.openxmlformats.org/officeDocument/2006/relationships/slideLayout" Target="../slideLayouts/slideLayout14.xml"/></Relationships>
</file>

<file path=ppt/slides/_rels/slide102.xml.rels><?xml version="1.0" encoding="UTF-8" standalone="yes"?>
<Relationships xmlns="http://schemas.openxmlformats.org/package/2006/relationships"><Relationship Id="rId3" Type="http://schemas.openxmlformats.org/officeDocument/2006/relationships/image" Target="../media/image283.png"/><Relationship Id="rId2" Type="http://schemas.openxmlformats.org/officeDocument/2006/relationships/image" Target="../media/image282.tif"/><Relationship Id="rId1" Type="http://schemas.openxmlformats.org/officeDocument/2006/relationships/slideLayout" Target="../slideLayouts/slideLayout17.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140.svg"/><Relationship Id="rId13" Type="http://schemas.openxmlformats.org/officeDocument/2006/relationships/image" Target="../media/image145.png"/><Relationship Id="rId18" Type="http://schemas.openxmlformats.org/officeDocument/2006/relationships/image" Target="../media/image150.svg"/><Relationship Id="rId3" Type="http://schemas.openxmlformats.org/officeDocument/2006/relationships/hyperlink" Target="http://www.caceis.de/de/caceis/" TargetMode="External"/><Relationship Id="rId7" Type="http://schemas.openxmlformats.org/officeDocument/2006/relationships/image" Target="../media/image139.png"/><Relationship Id="rId12" Type="http://schemas.openxmlformats.org/officeDocument/2006/relationships/image" Target="../media/image144.svg"/><Relationship Id="rId17" Type="http://schemas.openxmlformats.org/officeDocument/2006/relationships/image" Target="../media/image149.png"/><Relationship Id="rId2" Type="http://schemas.openxmlformats.org/officeDocument/2006/relationships/notesSlide" Target="../notesSlides/notesSlide5.xml"/><Relationship Id="rId16" Type="http://schemas.openxmlformats.org/officeDocument/2006/relationships/image" Target="../media/image148.svg"/><Relationship Id="rId20" Type="http://schemas.openxmlformats.org/officeDocument/2006/relationships/image" Target="../media/image152.svg"/><Relationship Id="rId1" Type="http://schemas.openxmlformats.org/officeDocument/2006/relationships/slideLayout" Target="../slideLayouts/slideLayout3.xml"/><Relationship Id="rId6" Type="http://schemas.openxmlformats.org/officeDocument/2006/relationships/image" Target="../media/image138.svg"/><Relationship Id="rId11" Type="http://schemas.openxmlformats.org/officeDocument/2006/relationships/image" Target="../media/image143.png"/><Relationship Id="rId5" Type="http://schemas.openxmlformats.org/officeDocument/2006/relationships/image" Target="../media/image137.png"/><Relationship Id="rId15" Type="http://schemas.openxmlformats.org/officeDocument/2006/relationships/image" Target="../media/image147.png"/><Relationship Id="rId10" Type="http://schemas.openxmlformats.org/officeDocument/2006/relationships/image" Target="../media/image142.svg"/><Relationship Id="rId19" Type="http://schemas.openxmlformats.org/officeDocument/2006/relationships/image" Target="../media/image151.png"/><Relationship Id="rId4" Type="http://schemas.openxmlformats.org/officeDocument/2006/relationships/image" Target="../media/image25.gif"/><Relationship Id="rId9" Type="http://schemas.openxmlformats.org/officeDocument/2006/relationships/image" Target="../media/image141.png"/><Relationship Id="rId14" Type="http://schemas.openxmlformats.org/officeDocument/2006/relationships/image" Target="../media/image146.svg"/></Relationships>
</file>

<file path=ppt/slides/_rels/slide12.xml.rels><?xml version="1.0" encoding="UTF-8" standalone="yes"?>
<Relationships xmlns="http://schemas.openxmlformats.org/package/2006/relationships"><Relationship Id="rId8" Type="http://schemas.openxmlformats.org/officeDocument/2006/relationships/image" Target="../media/image154.svg"/><Relationship Id="rId3" Type="http://schemas.openxmlformats.org/officeDocument/2006/relationships/hyperlink" Target="http://www.caceis.de/de/caceis/" TargetMode="External"/><Relationship Id="rId7" Type="http://schemas.openxmlformats.org/officeDocument/2006/relationships/image" Target="../media/image153.png"/><Relationship Id="rId12" Type="http://schemas.openxmlformats.org/officeDocument/2006/relationships/image" Target="../media/image158.sv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38.svg"/><Relationship Id="rId11" Type="http://schemas.openxmlformats.org/officeDocument/2006/relationships/image" Target="../media/image157.png"/><Relationship Id="rId5" Type="http://schemas.openxmlformats.org/officeDocument/2006/relationships/image" Target="../media/image137.png"/><Relationship Id="rId10" Type="http://schemas.openxmlformats.org/officeDocument/2006/relationships/image" Target="../media/image156.svg"/><Relationship Id="rId4" Type="http://schemas.openxmlformats.org/officeDocument/2006/relationships/image" Target="../media/image25.gif"/><Relationship Id="rId9" Type="http://schemas.openxmlformats.org/officeDocument/2006/relationships/image" Target="../media/image155.png"/></Relationships>
</file>

<file path=ppt/slides/_rels/slide13.xml.rels><?xml version="1.0" encoding="UTF-8" standalone="yes"?>
<Relationships xmlns="http://schemas.openxmlformats.org/package/2006/relationships"><Relationship Id="rId8" Type="http://schemas.openxmlformats.org/officeDocument/2006/relationships/image" Target="../media/image164.svg"/><Relationship Id="rId3" Type="http://schemas.openxmlformats.org/officeDocument/2006/relationships/image" Target="../media/image159.png"/><Relationship Id="rId7" Type="http://schemas.openxmlformats.org/officeDocument/2006/relationships/image" Target="../media/image163.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162.svg"/><Relationship Id="rId5" Type="http://schemas.openxmlformats.org/officeDocument/2006/relationships/image" Target="../media/image161.png"/><Relationship Id="rId10" Type="http://schemas.openxmlformats.org/officeDocument/2006/relationships/image" Target="../media/image166.svg"/><Relationship Id="rId4" Type="http://schemas.openxmlformats.org/officeDocument/2006/relationships/image" Target="../media/image160.svg"/><Relationship Id="rId9" Type="http://schemas.openxmlformats.org/officeDocument/2006/relationships/image" Target="../media/image165.png"/></Relationships>
</file>

<file path=ppt/slides/_rels/slide14.xml.rels><?xml version="1.0" encoding="UTF-8" standalone="yes"?>
<Relationships xmlns="http://schemas.openxmlformats.org/package/2006/relationships"><Relationship Id="rId3" Type="http://schemas.openxmlformats.org/officeDocument/2006/relationships/hyperlink" Target="http://www.caceis.de/de/caceis/" TargetMode="External"/><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25.gi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9.xml"/><Relationship Id="rId1" Type="http://schemas.openxmlformats.org/officeDocument/2006/relationships/slideLayout" Target="../slideLayouts/slideLayout3.xml"/><Relationship Id="rId5" Type="http://schemas.openxmlformats.org/officeDocument/2006/relationships/image" Target="../media/image169.png"/><Relationship Id="rId4" Type="http://schemas.openxmlformats.org/officeDocument/2006/relationships/image" Target="../media/image168.svg"/></Relationships>
</file>

<file path=ppt/slides/_rels/slide17.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openxmlformats.org/officeDocument/2006/relationships/chart" Target="../charts/chart6.xml"/><Relationship Id="rId4" Type="http://schemas.openxmlformats.org/officeDocument/2006/relationships/image" Target="../media/image168.svg"/></Relationships>
</file>

<file path=ppt/slides/_rels/slide18.xml.rels><?xml version="1.0" encoding="UTF-8" standalone="yes"?>
<Relationships xmlns="http://schemas.openxmlformats.org/package/2006/relationships"><Relationship Id="rId3" Type="http://schemas.openxmlformats.org/officeDocument/2006/relationships/hyperlink" Target="http://www.caceis.de/de/caceis/" TargetMode="External"/><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171.png"/><Relationship Id="rId5" Type="http://schemas.openxmlformats.org/officeDocument/2006/relationships/image" Target="../media/image170.png"/><Relationship Id="rId4" Type="http://schemas.openxmlformats.org/officeDocument/2006/relationships/image" Target="../media/image25.gif"/></Relationships>
</file>

<file path=ppt/slides/_rels/slide19.xml.rels><?xml version="1.0" encoding="UTF-8" standalone="yes"?>
<Relationships xmlns="http://schemas.openxmlformats.org/package/2006/relationships"><Relationship Id="rId8" Type="http://schemas.openxmlformats.org/officeDocument/2006/relationships/image" Target="../media/image177.svg"/><Relationship Id="rId3" Type="http://schemas.openxmlformats.org/officeDocument/2006/relationships/image" Target="../media/image172.png"/><Relationship Id="rId7" Type="http://schemas.openxmlformats.org/officeDocument/2006/relationships/image" Target="../media/image176.png"/><Relationship Id="rId12" Type="http://schemas.openxmlformats.org/officeDocument/2006/relationships/image" Target="../media/image181.sv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175.svg"/><Relationship Id="rId11" Type="http://schemas.openxmlformats.org/officeDocument/2006/relationships/image" Target="../media/image180.png"/><Relationship Id="rId5" Type="http://schemas.openxmlformats.org/officeDocument/2006/relationships/image" Target="../media/image174.png"/><Relationship Id="rId10" Type="http://schemas.openxmlformats.org/officeDocument/2006/relationships/image" Target="../media/image179.svg"/><Relationship Id="rId4" Type="http://schemas.openxmlformats.org/officeDocument/2006/relationships/image" Target="../media/image173.svg"/><Relationship Id="rId9" Type="http://schemas.openxmlformats.org/officeDocument/2006/relationships/image" Target="../media/image178.png"/></Relationships>
</file>

<file path=ppt/slides/_rels/slide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image" Target="../media/image186.pn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image" Target="../media/image188.png"/><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image" Target="../media/image189.png"/><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image" Target="../media/image190.png"/><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image" Target="../media/image191.png"/><Relationship Id="rId1" Type="http://schemas.openxmlformats.org/officeDocument/2006/relationships/slideLayout" Target="../slideLayouts/slideLayout2.xml"/><Relationship Id="rId4" Type="http://schemas.microsoft.com/office/2007/relationships/hdphoto" Target="../media/hdphoto1.wdp"/></Relationships>
</file>

<file path=ppt/slides/_rels/slide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193.png"/><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image" Target="../media/image194.png"/><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image" Target="../media/image195.png"/><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2" Type="http://schemas.openxmlformats.org/officeDocument/2006/relationships/image" Target="../media/image196.png"/><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image" Target="../media/image197.png"/><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image" Target="../media/image199.png"/><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2" Type="http://schemas.openxmlformats.org/officeDocument/2006/relationships/image" Target="../media/image200.png"/><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2" Type="http://schemas.openxmlformats.org/officeDocument/2006/relationships/image" Target="../media/image201.png"/><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2" Type="http://schemas.openxmlformats.org/officeDocument/2006/relationships/image" Target="../media/image202.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image" Target="../media/image203.png"/><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2" Type="http://schemas.openxmlformats.org/officeDocument/2006/relationships/image" Target="../media/image204.png"/><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2" Type="http://schemas.openxmlformats.org/officeDocument/2006/relationships/image" Target="../media/image205.png"/><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2" Type="http://schemas.openxmlformats.org/officeDocument/2006/relationships/image" Target="../media/image206.png"/><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2" Type="http://schemas.openxmlformats.org/officeDocument/2006/relationships/image" Target="../media/image207.png"/><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image" Target="../media/image208.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77.xml"/><Relationship Id="rId1" Type="http://schemas.openxmlformats.org/officeDocument/2006/relationships/vmlDrawing" Target="../drawings/vmlDrawing73.vml"/><Relationship Id="rId5" Type="http://schemas.openxmlformats.org/officeDocument/2006/relationships/image" Target="../media/image210.emf"/><Relationship Id="rId4" Type="http://schemas.openxmlformats.org/officeDocument/2006/relationships/oleObject" Target="../embeddings/oleObject73.bin"/></Relationships>
</file>

<file path=ppt/slides/_rels/slide47.xml.rels><?xml version="1.0" encoding="UTF-8" standalone="yes"?>
<Relationships xmlns="http://schemas.openxmlformats.org/package/2006/relationships"><Relationship Id="rId2" Type="http://schemas.openxmlformats.org/officeDocument/2006/relationships/image" Target="../media/image211.png"/><Relationship Id="rId1" Type="http://schemas.openxmlformats.org/officeDocument/2006/relationships/slideLayout" Target="../slideLayouts/slideLayout43.xml"/></Relationships>
</file>

<file path=ppt/slides/_rels/slide48.xml.rels><?xml version="1.0" encoding="UTF-8" standalone="yes"?>
<Relationships xmlns="http://schemas.openxmlformats.org/package/2006/relationships"><Relationship Id="rId2" Type="http://schemas.openxmlformats.org/officeDocument/2006/relationships/image" Target="../media/image212.jpeg"/><Relationship Id="rId1" Type="http://schemas.openxmlformats.org/officeDocument/2006/relationships/slideLayout" Target="../slideLayouts/slideLayout7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51.xml.rels><?xml version="1.0" encoding="UTF-8" standalone="yes"?>
<Relationships xmlns="http://schemas.openxmlformats.org/package/2006/relationships"><Relationship Id="rId8" Type="http://schemas.openxmlformats.org/officeDocument/2006/relationships/slideLayout" Target="../slideLayouts/slideLayout85.xml"/><Relationship Id="rId3" Type="http://schemas.openxmlformats.org/officeDocument/2006/relationships/tags" Target="../tags/tag79.xml"/><Relationship Id="rId7" Type="http://schemas.openxmlformats.org/officeDocument/2006/relationships/tags" Target="../tags/tag83.xml"/><Relationship Id="rId2" Type="http://schemas.openxmlformats.org/officeDocument/2006/relationships/tags" Target="../tags/tag78.xml"/><Relationship Id="rId1" Type="http://schemas.openxmlformats.org/officeDocument/2006/relationships/vmlDrawing" Target="../drawings/vmlDrawing74.vml"/><Relationship Id="rId6" Type="http://schemas.openxmlformats.org/officeDocument/2006/relationships/tags" Target="../tags/tag82.xml"/><Relationship Id="rId11" Type="http://schemas.openxmlformats.org/officeDocument/2006/relationships/image" Target="../media/image13.emf"/><Relationship Id="rId5" Type="http://schemas.openxmlformats.org/officeDocument/2006/relationships/tags" Target="../tags/tag81.xml"/><Relationship Id="rId10" Type="http://schemas.openxmlformats.org/officeDocument/2006/relationships/oleObject" Target="../embeddings/oleObject74.bin"/><Relationship Id="rId4" Type="http://schemas.openxmlformats.org/officeDocument/2006/relationships/tags" Target="../tags/tag80.xml"/><Relationship Id="rId9" Type="http://schemas.openxmlformats.org/officeDocument/2006/relationships/notesSlide" Target="../notesSlides/notesSlide13.xml"/></Relationships>
</file>

<file path=ppt/slides/_rels/slide52.xml.rels><?xml version="1.0" encoding="UTF-8" standalone="yes"?>
<Relationships xmlns="http://schemas.openxmlformats.org/package/2006/relationships"><Relationship Id="rId2" Type="http://schemas.openxmlformats.org/officeDocument/2006/relationships/slideLayout" Target="../slideLayouts/slideLayout78.xml"/><Relationship Id="rId1" Type="http://schemas.openxmlformats.org/officeDocument/2006/relationships/tags" Target="../tags/tag84.xml"/></Relationships>
</file>

<file path=ppt/slides/_rels/slide53.xml.rels><?xml version="1.0" encoding="UTF-8" standalone="yes"?>
<Relationships xmlns="http://schemas.openxmlformats.org/package/2006/relationships"><Relationship Id="rId8" Type="http://schemas.openxmlformats.org/officeDocument/2006/relationships/image" Target="../media/image214.png"/><Relationship Id="rId3" Type="http://schemas.openxmlformats.org/officeDocument/2006/relationships/tags" Target="../tags/tag86.xml"/><Relationship Id="rId7" Type="http://schemas.openxmlformats.org/officeDocument/2006/relationships/image" Target="../media/image213.bin"/><Relationship Id="rId2" Type="http://schemas.openxmlformats.org/officeDocument/2006/relationships/tags" Target="../tags/tag85.xml"/><Relationship Id="rId1" Type="http://schemas.openxmlformats.org/officeDocument/2006/relationships/vmlDrawing" Target="../drawings/vmlDrawing75.vml"/><Relationship Id="rId6" Type="http://schemas.openxmlformats.org/officeDocument/2006/relationships/oleObject" Target="../embeddings/oleObject75.bin"/><Relationship Id="rId11" Type="http://schemas.openxmlformats.org/officeDocument/2006/relationships/image" Target="../media/image217.svg"/><Relationship Id="rId5" Type="http://schemas.openxmlformats.org/officeDocument/2006/relationships/notesSlide" Target="../notesSlides/notesSlide14.xml"/><Relationship Id="rId10" Type="http://schemas.openxmlformats.org/officeDocument/2006/relationships/image" Target="../media/image216.png"/><Relationship Id="rId4" Type="http://schemas.openxmlformats.org/officeDocument/2006/relationships/slideLayout" Target="../slideLayouts/slideLayout85.xml"/><Relationship Id="rId9" Type="http://schemas.openxmlformats.org/officeDocument/2006/relationships/image" Target="../media/image215.svg"/></Relationships>
</file>

<file path=ppt/slides/_rels/slide54.xml.rels><?xml version="1.0" encoding="UTF-8" standalone="yes"?>
<Relationships xmlns="http://schemas.openxmlformats.org/package/2006/relationships"><Relationship Id="rId8" Type="http://schemas.openxmlformats.org/officeDocument/2006/relationships/image" Target="../media/image219.png"/><Relationship Id="rId3" Type="http://schemas.openxmlformats.org/officeDocument/2006/relationships/tags" Target="../tags/tag88.xml"/><Relationship Id="rId7" Type="http://schemas.openxmlformats.org/officeDocument/2006/relationships/image" Target="../media/image218.emf"/><Relationship Id="rId2" Type="http://schemas.openxmlformats.org/officeDocument/2006/relationships/tags" Target="../tags/tag87.xml"/><Relationship Id="rId1" Type="http://schemas.openxmlformats.org/officeDocument/2006/relationships/vmlDrawing" Target="../drawings/vmlDrawing76.vml"/><Relationship Id="rId6" Type="http://schemas.openxmlformats.org/officeDocument/2006/relationships/oleObject" Target="../embeddings/oleObject76.bin"/><Relationship Id="rId11" Type="http://schemas.openxmlformats.org/officeDocument/2006/relationships/image" Target="../media/image222.svg"/><Relationship Id="rId5" Type="http://schemas.openxmlformats.org/officeDocument/2006/relationships/notesSlide" Target="../notesSlides/notesSlide15.xml"/><Relationship Id="rId10" Type="http://schemas.openxmlformats.org/officeDocument/2006/relationships/image" Target="../media/image221.png"/><Relationship Id="rId4" Type="http://schemas.openxmlformats.org/officeDocument/2006/relationships/slideLayout" Target="../slideLayouts/slideLayout85.xml"/><Relationship Id="rId9" Type="http://schemas.openxmlformats.org/officeDocument/2006/relationships/image" Target="../media/image220.svg"/></Relationships>
</file>

<file path=ppt/slides/_rels/slide55.xml.rels><?xml version="1.0" encoding="UTF-8" standalone="yes"?>
<Relationships xmlns="http://schemas.openxmlformats.org/package/2006/relationships"><Relationship Id="rId13" Type="http://schemas.openxmlformats.org/officeDocument/2006/relationships/image" Target="../media/image230.png"/><Relationship Id="rId18" Type="http://schemas.microsoft.com/office/2007/relationships/hdphoto" Target="../media/hdphoto2.wdp"/><Relationship Id="rId26" Type="http://schemas.openxmlformats.org/officeDocument/2006/relationships/image" Target="../media/image16.png"/><Relationship Id="rId3" Type="http://schemas.openxmlformats.org/officeDocument/2006/relationships/tags" Target="../tags/tag91.xml"/><Relationship Id="rId21" Type="http://schemas.openxmlformats.org/officeDocument/2006/relationships/image" Target="../media/image237.png"/><Relationship Id="rId34" Type="http://schemas.openxmlformats.org/officeDocument/2006/relationships/image" Target="../media/image248.png"/><Relationship Id="rId7" Type="http://schemas.openxmlformats.org/officeDocument/2006/relationships/image" Target="../media/image224.png"/><Relationship Id="rId12" Type="http://schemas.openxmlformats.org/officeDocument/2006/relationships/image" Target="../media/image229.png"/><Relationship Id="rId17" Type="http://schemas.openxmlformats.org/officeDocument/2006/relationships/image" Target="../media/image234.png"/><Relationship Id="rId25" Type="http://schemas.openxmlformats.org/officeDocument/2006/relationships/image" Target="../media/image241.png"/><Relationship Id="rId33" Type="http://schemas.openxmlformats.org/officeDocument/2006/relationships/image" Target="../media/image247.png"/><Relationship Id="rId2" Type="http://schemas.openxmlformats.org/officeDocument/2006/relationships/tags" Target="../tags/tag90.xml"/><Relationship Id="rId16" Type="http://schemas.openxmlformats.org/officeDocument/2006/relationships/image" Target="../media/image233.png"/><Relationship Id="rId20" Type="http://schemas.openxmlformats.org/officeDocument/2006/relationships/image" Target="../media/image236.png"/><Relationship Id="rId29" Type="http://schemas.openxmlformats.org/officeDocument/2006/relationships/image" Target="../media/image243.png"/><Relationship Id="rId1" Type="http://schemas.openxmlformats.org/officeDocument/2006/relationships/tags" Target="../tags/tag89.xml"/><Relationship Id="rId6" Type="http://schemas.openxmlformats.org/officeDocument/2006/relationships/image" Target="../media/image223.png"/><Relationship Id="rId11" Type="http://schemas.openxmlformats.org/officeDocument/2006/relationships/image" Target="../media/image228.png"/><Relationship Id="rId24" Type="http://schemas.openxmlformats.org/officeDocument/2006/relationships/image" Target="../media/image240.png"/><Relationship Id="rId32" Type="http://schemas.openxmlformats.org/officeDocument/2006/relationships/image" Target="../media/image246.png"/><Relationship Id="rId5" Type="http://schemas.openxmlformats.org/officeDocument/2006/relationships/slideLayout" Target="../slideLayouts/slideLayout85.xml"/><Relationship Id="rId15" Type="http://schemas.openxmlformats.org/officeDocument/2006/relationships/image" Target="../media/image232.png"/><Relationship Id="rId23" Type="http://schemas.openxmlformats.org/officeDocument/2006/relationships/image" Target="../media/image239.png"/><Relationship Id="rId28" Type="http://schemas.openxmlformats.org/officeDocument/2006/relationships/image" Target="../media/image242.emf"/><Relationship Id="rId10" Type="http://schemas.openxmlformats.org/officeDocument/2006/relationships/image" Target="../media/image227.png"/><Relationship Id="rId19" Type="http://schemas.openxmlformats.org/officeDocument/2006/relationships/image" Target="../media/image235.png"/><Relationship Id="rId31" Type="http://schemas.openxmlformats.org/officeDocument/2006/relationships/image" Target="../media/image245.png"/><Relationship Id="rId4" Type="http://schemas.openxmlformats.org/officeDocument/2006/relationships/tags" Target="../tags/tag92.xml"/><Relationship Id="rId9" Type="http://schemas.openxmlformats.org/officeDocument/2006/relationships/image" Target="../media/image226.png"/><Relationship Id="rId14" Type="http://schemas.openxmlformats.org/officeDocument/2006/relationships/image" Target="../media/image231.png"/><Relationship Id="rId22" Type="http://schemas.openxmlformats.org/officeDocument/2006/relationships/image" Target="../media/image238.png"/><Relationship Id="rId27" Type="http://schemas.openxmlformats.org/officeDocument/2006/relationships/image" Target="../media/image17.svg"/><Relationship Id="rId30" Type="http://schemas.openxmlformats.org/officeDocument/2006/relationships/image" Target="../media/image244.png"/><Relationship Id="rId35" Type="http://schemas.openxmlformats.org/officeDocument/2006/relationships/image" Target="../media/image249.svg"/><Relationship Id="rId8" Type="http://schemas.openxmlformats.org/officeDocument/2006/relationships/image" Target="../media/image225.png"/></Relationships>
</file>

<file path=ppt/slides/_rels/slide56.xml.rels><?xml version="1.0" encoding="UTF-8" standalone="yes"?>
<Relationships xmlns="http://schemas.openxmlformats.org/package/2006/relationships"><Relationship Id="rId8" Type="http://schemas.openxmlformats.org/officeDocument/2006/relationships/image" Target="../media/image255.png"/><Relationship Id="rId3" Type="http://schemas.openxmlformats.org/officeDocument/2006/relationships/image" Target="../media/image220.svg"/><Relationship Id="rId7" Type="http://schemas.openxmlformats.org/officeDocument/2006/relationships/image" Target="../media/image254.png"/><Relationship Id="rId2" Type="http://schemas.openxmlformats.org/officeDocument/2006/relationships/image" Target="../media/image250.png"/><Relationship Id="rId1" Type="http://schemas.openxmlformats.org/officeDocument/2006/relationships/slideLayout" Target="../slideLayouts/slideLayout85.xml"/><Relationship Id="rId6" Type="http://schemas.openxmlformats.org/officeDocument/2006/relationships/image" Target="../media/image253.png"/><Relationship Id="rId11" Type="http://schemas.openxmlformats.org/officeDocument/2006/relationships/image" Target="../media/image258.png"/><Relationship Id="rId5" Type="http://schemas.openxmlformats.org/officeDocument/2006/relationships/image" Target="../media/image252.png"/><Relationship Id="rId10" Type="http://schemas.openxmlformats.org/officeDocument/2006/relationships/image" Target="../media/image257.png"/><Relationship Id="rId4" Type="http://schemas.openxmlformats.org/officeDocument/2006/relationships/image" Target="../media/image251.png"/><Relationship Id="rId9" Type="http://schemas.openxmlformats.org/officeDocument/2006/relationships/image" Target="../media/image256.png"/></Relationships>
</file>

<file path=ppt/slides/_rels/slide5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259.png"/><Relationship Id="rId7" Type="http://schemas.openxmlformats.org/officeDocument/2006/relationships/image" Target="../media/image3.png"/><Relationship Id="rId2" Type="http://schemas.openxmlformats.org/officeDocument/2006/relationships/slideLayout" Target="../slideLayouts/slideLayout85.xml"/><Relationship Id="rId1" Type="http://schemas.openxmlformats.org/officeDocument/2006/relationships/tags" Target="../tags/tag93.xml"/><Relationship Id="rId6" Type="http://schemas.openxmlformats.org/officeDocument/2006/relationships/image" Target="../media/image171.png"/><Relationship Id="rId5" Type="http://schemas.openxmlformats.org/officeDocument/2006/relationships/image" Target="../media/image170.png"/><Relationship Id="rId4" Type="http://schemas.openxmlformats.org/officeDocument/2006/relationships/image" Target="../media/image260.jpeg"/></Relationships>
</file>

<file path=ppt/slides/_rels/slide58.xml.rels><?xml version="1.0" encoding="UTF-8" standalone="yes"?>
<Relationships xmlns="http://schemas.openxmlformats.org/package/2006/relationships"><Relationship Id="rId8" Type="http://schemas.openxmlformats.org/officeDocument/2006/relationships/image" Target="../media/image261.jpeg"/><Relationship Id="rId3" Type="http://schemas.openxmlformats.org/officeDocument/2006/relationships/tags" Target="../tags/tag95.xml"/><Relationship Id="rId7" Type="http://schemas.openxmlformats.org/officeDocument/2006/relationships/image" Target="../media/image13.emf"/><Relationship Id="rId2" Type="http://schemas.openxmlformats.org/officeDocument/2006/relationships/tags" Target="../tags/tag94.xml"/><Relationship Id="rId1" Type="http://schemas.openxmlformats.org/officeDocument/2006/relationships/vmlDrawing" Target="../drawings/vmlDrawing77.vml"/><Relationship Id="rId6" Type="http://schemas.openxmlformats.org/officeDocument/2006/relationships/oleObject" Target="../embeddings/oleObject77.bin"/><Relationship Id="rId5" Type="http://schemas.openxmlformats.org/officeDocument/2006/relationships/notesSlide" Target="../notesSlides/notesSlide16.xml"/><Relationship Id="rId4" Type="http://schemas.openxmlformats.org/officeDocument/2006/relationships/slideLayout" Target="../slideLayouts/slideLayout74.xml"/></Relationships>
</file>

<file path=ppt/slides/_rels/slide59.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97.xml"/><Relationship Id="rId7" Type="http://schemas.openxmlformats.org/officeDocument/2006/relationships/oleObject" Target="../embeddings/oleObject77.bin"/><Relationship Id="rId2" Type="http://schemas.openxmlformats.org/officeDocument/2006/relationships/tags" Target="../tags/tag96.xml"/><Relationship Id="rId1" Type="http://schemas.openxmlformats.org/officeDocument/2006/relationships/vmlDrawing" Target="../drawings/vmlDrawing78.vml"/><Relationship Id="rId6" Type="http://schemas.openxmlformats.org/officeDocument/2006/relationships/notesSlide" Target="../notesSlides/notesSlide17.xml"/><Relationship Id="rId5" Type="http://schemas.openxmlformats.org/officeDocument/2006/relationships/slideLayout" Target="../slideLayouts/slideLayout74.xml"/><Relationship Id="rId4" Type="http://schemas.openxmlformats.org/officeDocument/2006/relationships/tags" Target="../tags/tag98.xml"/><Relationship Id="rId9" Type="http://schemas.openxmlformats.org/officeDocument/2006/relationships/image" Target="../media/image261.jpeg"/></Relationships>
</file>

<file path=ppt/slides/_rels/slide6.xml.rels><?xml version="1.0" encoding="UTF-8" standalone="yes"?>
<Relationships xmlns="http://schemas.openxmlformats.org/package/2006/relationships"><Relationship Id="rId3" Type="http://schemas.openxmlformats.org/officeDocument/2006/relationships/hyperlink" Target="http://www.caceis.de/de/caceis/" TargetMode="External"/><Relationship Id="rId7" Type="http://schemas.openxmlformats.org/officeDocument/2006/relationships/chart" Target="../charts/chart3.xml"/><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5.gif"/></Relationships>
</file>

<file path=ppt/slides/_rels/slide60.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00.xml"/><Relationship Id="rId7" Type="http://schemas.openxmlformats.org/officeDocument/2006/relationships/oleObject" Target="../embeddings/oleObject77.bin"/><Relationship Id="rId2" Type="http://schemas.openxmlformats.org/officeDocument/2006/relationships/tags" Target="../tags/tag99.xml"/><Relationship Id="rId1" Type="http://schemas.openxmlformats.org/officeDocument/2006/relationships/vmlDrawing" Target="../drawings/vmlDrawing79.vml"/><Relationship Id="rId6" Type="http://schemas.openxmlformats.org/officeDocument/2006/relationships/notesSlide" Target="../notesSlides/notesSlide18.xml"/><Relationship Id="rId5" Type="http://schemas.openxmlformats.org/officeDocument/2006/relationships/slideLayout" Target="../slideLayouts/slideLayout74.xml"/><Relationship Id="rId4" Type="http://schemas.openxmlformats.org/officeDocument/2006/relationships/tags" Target="../tags/tag101.xml"/><Relationship Id="rId9" Type="http://schemas.openxmlformats.org/officeDocument/2006/relationships/image" Target="../media/image261.jpeg"/></Relationships>
</file>

<file path=ppt/slides/_rels/slide61.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03.xml"/><Relationship Id="rId7" Type="http://schemas.openxmlformats.org/officeDocument/2006/relationships/oleObject" Target="../embeddings/oleObject77.bin"/><Relationship Id="rId2" Type="http://schemas.openxmlformats.org/officeDocument/2006/relationships/tags" Target="../tags/tag102.xml"/><Relationship Id="rId1" Type="http://schemas.openxmlformats.org/officeDocument/2006/relationships/vmlDrawing" Target="../drawings/vmlDrawing80.vml"/><Relationship Id="rId6" Type="http://schemas.openxmlformats.org/officeDocument/2006/relationships/notesSlide" Target="../notesSlides/notesSlide19.xml"/><Relationship Id="rId5" Type="http://schemas.openxmlformats.org/officeDocument/2006/relationships/slideLayout" Target="../slideLayouts/slideLayout74.xml"/><Relationship Id="rId4" Type="http://schemas.openxmlformats.org/officeDocument/2006/relationships/tags" Target="../tags/tag104.xml"/><Relationship Id="rId9" Type="http://schemas.openxmlformats.org/officeDocument/2006/relationships/image" Target="../media/image261.jpeg"/></Relationships>
</file>

<file path=ppt/slides/_rels/slide62.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06.xml"/><Relationship Id="rId7" Type="http://schemas.openxmlformats.org/officeDocument/2006/relationships/oleObject" Target="../embeddings/oleObject77.bin"/><Relationship Id="rId2" Type="http://schemas.openxmlformats.org/officeDocument/2006/relationships/tags" Target="../tags/tag105.xml"/><Relationship Id="rId1" Type="http://schemas.openxmlformats.org/officeDocument/2006/relationships/vmlDrawing" Target="../drawings/vmlDrawing81.vml"/><Relationship Id="rId6" Type="http://schemas.openxmlformats.org/officeDocument/2006/relationships/notesSlide" Target="../notesSlides/notesSlide20.xml"/><Relationship Id="rId5" Type="http://schemas.openxmlformats.org/officeDocument/2006/relationships/slideLayout" Target="../slideLayouts/slideLayout74.xml"/><Relationship Id="rId4" Type="http://schemas.openxmlformats.org/officeDocument/2006/relationships/tags" Target="../tags/tag107.xml"/><Relationship Id="rId9" Type="http://schemas.openxmlformats.org/officeDocument/2006/relationships/image" Target="../media/image261.jpeg"/></Relationships>
</file>

<file path=ppt/slides/_rels/slide63.xml.rels><?xml version="1.0" encoding="UTF-8" standalone="yes"?>
<Relationships xmlns="http://schemas.openxmlformats.org/package/2006/relationships"><Relationship Id="rId2" Type="http://schemas.openxmlformats.org/officeDocument/2006/relationships/image" Target="../media/image262.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image" Target="../media/image263.png"/><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image" Target="../media/image263.png"/><Relationship Id="rId1" Type="http://schemas.openxmlformats.org/officeDocument/2006/relationships/slideLayout" Target="../slideLayouts/slideLayout9.xml"/></Relationships>
</file>

<file path=ppt/slides/_rels/slide66.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image" Target="../media/image265.png"/><Relationship Id="rId1" Type="http://schemas.openxmlformats.org/officeDocument/2006/relationships/slideLayout" Target="../slideLayouts/slideLayout9.xml"/><Relationship Id="rId4" Type="http://schemas.openxmlformats.org/officeDocument/2006/relationships/image" Target="../media/image266.png"/></Relationships>
</file>

<file path=ppt/slides/_rels/slide67.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image" Target="../media/image265.png"/><Relationship Id="rId1" Type="http://schemas.openxmlformats.org/officeDocument/2006/relationships/slideLayout" Target="../slideLayouts/slideLayout9.xml"/><Relationship Id="rId6" Type="http://schemas.openxmlformats.org/officeDocument/2006/relationships/image" Target="../media/image266.png"/><Relationship Id="rId5" Type="http://schemas.microsoft.com/office/2007/relationships/hdphoto" Target="../media/hdphoto3.wdp"/><Relationship Id="rId4" Type="http://schemas.openxmlformats.org/officeDocument/2006/relationships/image" Target="../media/image267.png"/></Relationships>
</file>

<file path=ppt/slides/_rels/slide68.xml.rels><?xml version="1.0" encoding="UTF-8" standalone="yes"?>
<Relationships xmlns="http://schemas.openxmlformats.org/package/2006/relationships"><Relationship Id="rId3" Type="http://schemas.openxmlformats.org/officeDocument/2006/relationships/image" Target="../media/image265.png"/><Relationship Id="rId2" Type="http://schemas.openxmlformats.org/officeDocument/2006/relationships/notesSlide" Target="../notesSlides/notesSlide21.xml"/><Relationship Id="rId1" Type="http://schemas.openxmlformats.org/officeDocument/2006/relationships/slideLayout" Target="../slideLayouts/slideLayout9.xml"/><Relationship Id="rId5" Type="http://schemas.openxmlformats.org/officeDocument/2006/relationships/image" Target="../media/image266.png"/><Relationship Id="rId4" Type="http://schemas.openxmlformats.org/officeDocument/2006/relationships/image" Target="../media/image263.png"/></Relationships>
</file>

<file path=ppt/slides/_rels/slide69.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image" Target="../media/image263.pn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hyperlink" Target="http://www.caceis.de/de/caceis/"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5.gif"/></Relationships>
</file>

<file path=ppt/slides/_rels/slide70.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image" Target="../media/image265.png"/><Relationship Id="rId1" Type="http://schemas.openxmlformats.org/officeDocument/2006/relationships/slideLayout" Target="../slideLayouts/slideLayout9.xml"/><Relationship Id="rId6" Type="http://schemas.openxmlformats.org/officeDocument/2006/relationships/image" Target="../media/image266.png"/><Relationship Id="rId5" Type="http://schemas.microsoft.com/office/2007/relationships/hdphoto" Target="../media/hdphoto3.wdp"/><Relationship Id="rId4" Type="http://schemas.openxmlformats.org/officeDocument/2006/relationships/image" Target="../media/image267.png"/></Relationships>
</file>

<file path=ppt/slides/_rels/slide71.xml.rels><?xml version="1.0" encoding="UTF-8" standalone="yes"?>
<Relationships xmlns="http://schemas.openxmlformats.org/package/2006/relationships"><Relationship Id="rId3" Type="http://schemas.openxmlformats.org/officeDocument/2006/relationships/image" Target="../media/image263.png"/><Relationship Id="rId7" Type="http://schemas.openxmlformats.org/officeDocument/2006/relationships/image" Target="../media/image266.png"/><Relationship Id="rId2" Type="http://schemas.openxmlformats.org/officeDocument/2006/relationships/image" Target="../media/image268.png"/><Relationship Id="rId1" Type="http://schemas.openxmlformats.org/officeDocument/2006/relationships/slideLayout" Target="../slideLayouts/slideLayout9.xml"/><Relationship Id="rId6" Type="http://schemas.openxmlformats.org/officeDocument/2006/relationships/image" Target="../media/image269.png"/><Relationship Id="rId5" Type="http://schemas.microsoft.com/office/2007/relationships/hdphoto" Target="../media/hdphoto3.wdp"/><Relationship Id="rId4" Type="http://schemas.openxmlformats.org/officeDocument/2006/relationships/image" Target="../media/image267.png"/></Relationships>
</file>

<file path=ppt/slides/_rels/slide72.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image" Target="../media/image265.png"/><Relationship Id="rId1" Type="http://schemas.openxmlformats.org/officeDocument/2006/relationships/slideLayout" Target="../slideLayouts/slideLayout9.xml"/><Relationship Id="rId6" Type="http://schemas.openxmlformats.org/officeDocument/2006/relationships/image" Target="../media/image266.png"/><Relationship Id="rId5" Type="http://schemas.microsoft.com/office/2007/relationships/hdphoto" Target="../media/hdphoto3.wdp"/><Relationship Id="rId4" Type="http://schemas.openxmlformats.org/officeDocument/2006/relationships/image" Target="../media/image267.png"/></Relationships>
</file>

<file path=ppt/slides/_rels/slide73.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image" Target="../media/image265.png"/><Relationship Id="rId1" Type="http://schemas.openxmlformats.org/officeDocument/2006/relationships/slideLayout" Target="../slideLayouts/slideLayout9.xml"/><Relationship Id="rId5" Type="http://schemas.openxmlformats.org/officeDocument/2006/relationships/image" Target="../media/image266.png"/><Relationship Id="rId4" Type="http://schemas.openxmlformats.org/officeDocument/2006/relationships/image" Target="../media/image270.png"/></Relationships>
</file>

<file path=ppt/slides/_rels/slide74.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image" Target="../media/image265.png"/><Relationship Id="rId1" Type="http://schemas.openxmlformats.org/officeDocument/2006/relationships/slideLayout" Target="../slideLayouts/slideLayout9.xml"/><Relationship Id="rId5" Type="http://schemas.openxmlformats.org/officeDocument/2006/relationships/image" Target="../media/image266.png"/><Relationship Id="rId4" Type="http://schemas.openxmlformats.org/officeDocument/2006/relationships/image" Target="../media/image269.png"/></Relationships>
</file>

<file path=ppt/slides/_rels/slide75.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image" Target="../media/image265.png"/><Relationship Id="rId1" Type="http://schemas.openxmlformats.org/officeDocument/2006/relationships/slideLayout" Target="../slideLayouts/slideLayout9.xml"/><Relationship Id="rId5" Type="http://schemas.openxmlformats.org/officeDocument/2006/relationships/image" Target="../media/image266.png"/><Relationship Id="rId4" Type="http://schemas.openxmlformats.org/officeDocument/2006/relationships/image" Target="../media/image269.png"/></Relationships>
</file>

<file path=ppt/slides/_rels/slide76.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image" Target="../media/image263.png"/><Relationship Id="rId1" Type="http://schemas.openxmlformats.org/officeDocument/2006/relationships/slideLayout" Target="../slideLayouts/slideLayout9.xml"/></Relationships>
</file>

<file path=ppt/slides/_rels/slide77.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image" Target="../media/image265.png"/><Relationship Id="rId1" Type="http://schemas.openxmlformats.org/officeDocument/2006/relationships/slideLayout" Target="../slideLayouts/slideLayout9.xml"/><Relationship Id="rId6" Type="http://schemas.openxmlformats.org/officeDocument/2006/relationships/image" Target="../media/image266.png"/><Relationship Id="rId5" Type="http://schemas.openxmlformats.org/officeDocument/2006/relationships/image" Target="../media/image269.png"/><Relationship Id="rId4" Type="http://schemas.openxmlformats.org/officeDocument/2006/relationships/image" Target="../media/image271.png"/></Relationships>
</file>

<file path=ppt/slides/_rels/slide78.xml.rels><?xml version="1.0" encoding="UTF-8" standalone="yes"?>
<Relationships xmlns="http://schemas.openxmlformats.org/package/2006/relationships"><Relationship Id="rId3" Type="http://schemas.openxmlformats.org/officeDocument/2006/relationships/image" Target="../media/image263.png"/><Relationship Id="rId7" Type="http://schemas.openxmlformats.org/officeDocument/2006/relationships/image" Target="../media/image266.png"/><Relationship Id="rId2" Type="http://schemas.openxmlformats.org/officeDocument/2006/relationships/image" Target="../media/image265.png"/><Relationship Id="rId1" Type="http://schemas.openxmlformats.org/officeDocument/2006/relationships/slideLayout" Target="../slideLayouts/slideLayout9.xml"/><Relationship Id="rId6" Type="http://schemas.microsoft.com/office/2007/relationships/hdphoto" Target="../media/hdphoto3.wdp"/><Relationship Id="rId5" Type="http://schemas.openxmlformats.org/officeDocument/2006/relationships/image" Target="../media/image267.png"/><Relationship Id="rId4" Type="http://schemas.openxmlformats.org/officeDocument/2006/relationships/image" Target="../media/image269.png"/></Relationships>
</file>

<file path=ppt/slides/_rels/slide79.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image" Target="../media/image265.png"/><Relationship Id="rId1" Type="http://schemas.openxmlformats.org/officeDocument/2006/relationships/slideLayout" Target="../slideLayouts/slideLayout9.xml"/><Relationship Id="rId6" Type="http://schemas.openxmlformats.org/officeDocument/2006/relationships/image" Target="../media/image266.png"/><Relationship Id="rId5" Type="http://schemas.microsoft.com/office/2007/relationships/hdphoto" Target="../media/hdphoto3.wdp"/><Relationship Id="rId4" Type="http://schemas.openxmlformats.org/officeDocument/2006/relationships/image" Target="../media/image267.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image" Target="../media/image265.png"/><Relationship Id="rId1" Type="http://schemas.openxmlformats.org/officeDocument/2006/relationships/slideLayout" Target="../slideLayouts/slideLayout9.xml"/><Relationship Id="rId5" Type="http://schemas.openxmlformats.org/officeDocument/2006/relationships/image" Target="../media/image266.png"/><Relationship Id="rId4" Type="http://schemas.openxmlformats.org/officeDocument/2006/relationships/image" Target="../media/image269.png"/></Relationships>
</file>

<file path=ppt/slides/_rels/slide81.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image" Target="../media/image265.png"/><Relationship Id="rId1" Type="http://schemas.openxmlformats.org/officeDocument/2006/relationships/slideLayout" Target="../slideLayouts/slideLayout9.xml"/><Relationship Id="rId4" Type="http://schemas.openxmlformats.org/officeDocument/2006/relationships/image" Target="../media/image266.png"/></Relationships>
</file>

<file path=ppt/slides/_rels/slide82.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image" Target="../media/image265.png"/><Relationship Id="rId1" Type="http://schemas.openxmlformats.org/officeDocument/2006/relationships/slideLayout" Target="../slideLayouts/slideLayout9.xml"/><Relationship Id="rId6" Type="http://schemas.openxmlformats.org/officeDocument/2006/relationships/image" Target="../media/image272.png"/><Relationship Id="rId5" Type="http://schemas.microsoft.com/office/2007/relationships/hdphoto" Target="../media/hdphoto3.wdp"/><Relationship Id="rId4" Type="http://schemas.openxmlformats.org/officeDocument/2006/relationships/image" Target="../media/image267.png"/></Relationships>
</file>

<file path=ppt/slides/_rels/slide83.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image" Target="../media/image265.png"/><Relationship Id="rId1" Type="http://schemas.openxmlformats.org/officeDocument/2006/relationships/slideLayout" Target="../slideLayouts/slideLayout9.xml"/><Relationship Id="rId4" Type="http://schemas.openxmlformats.org/officeDocument/2006/relationships/image" Target="../media/image266.png"/></Relationships>
</file>

<file path=ppt/slides/_rels/slide84.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image" Target="../media/image265.png"/><Relationship Id="rId1" Type="http://schemas.openxmlformats.org/officeDocument/2006/relationships/slideLayout" Target="../slideLayouts/slideLayout9.xml"/><Relationship Id="rId5" Type="http://schemas.openxmlformats.org/officeDocument/2006/relationships/image" Target="../media/image266.png"/><Relationship Id="rId4" Type="http://schemas.openxmlformats.org/officeDocument/2006/relationships/image" Target="../media/image269.png"/></Relationships>
</file>

<file path=ppt/slides/_rels/slide85.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image" Target="../media/image265.png"/><Relationship Id="rId1" Type="http://schemas.openxmlformats.org/officeDocument/2006/relationships/slideLayout" Target="../slideLayouts/slideLayout9.xml"/><Relationship Id="rId4" Type="http://schemas.openxmlformats.org/officeDocument/2006/relationships/image" Target="../media/image266.png"/></Relationships>
</file>

<file path=ppt/slides/_rels/slide86.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image" Target="../media/image265.png"/><Relationship Id="rId1" Type="http://schemas.openxmlformats.org/officeDocument/2006/relationships/slideLayout" Target="../slideLayouts/slideLayout9.xml"/><Relationship Id="rId4" Type="http://schemas.openxmlformats.org/officeDocument/2006/relationships/image" Target="../media/image266.png"/></Relationships>
</file>

<file path=ppt/slides/_rels/slide87.xml.rels><?xml version="1.0" encoding="UTF-8" standalone="yes"?>
<Relationships xmlns="http://schemas.openxmlformats.org/package/2006/relationships"><Relationship Id="rId8" Type="http://schemas.openxmlformats.org/officeDocument/2006/relationships/image" Target="../media/image275.png"/><Relationship Id="rId3" Type="http://schemas.openxmlformats.org/officeDocument/2006/relationships/image" Target="../media/image264.png"/><Relationship Id="rId7" Type="http://schemas.microsoft.com/office/2007/relationships/hdphoto" Target="../media/hdphoto5.wdp"/><Relationship Id="rId12" Type="http://schemas.openxmlformats.org/officeDocument/2006/relationships/image" Target="../media/image279.jpeg"/><Relationship Id="rId2" Type="http://schemas.openxmlformats.org/officeDocument/2006/relationships/image" Target="../media/image263.png"/><Relationship Id="rId1" Type="http://schemas.openxmlformats.org/officeDocument/2006/relationships/slideLayout" Target="../slideLayouts/slideLayout9.xml"/><Relationship Id="rId6" Type="http://schemas.openxmlformats.org/officeDocument/2006/relationships/image" Target="../media/image274.png"/><Relationship Id="rId11" Type="http://schemas.openxmlformats.org/officeDocument/2006/relationships/image" Target="../media/image278.jpeg"/><Relationship Id="rId5" Type="http://schemas.microsoft.com/office/2007/relationships/hdphoto" Target="../media/hdphoto4.wdp"/><Relationship Id="rId10" Type="http://schemas.openxmlformats.org/officeDocument/2006/relationships/image" Target="../media/image277.png"/><Relationship Id="rId4" Type="http://schemas.openxmlformats.org/officeDocument/2006/relationships/image" Target="../media/image273.png"/><Relationship Id="rId9" Type="http://schemas.openxmlformats.org/officeDocument/2006/relationships/image" Target="../media/image276.png"/></Relationships>
</file>

<file path=ppt/slides/_rels/slide88.xml.rels><?xml version="1.0" encoding="UTF-8" standalone="yes"?>
<Relationships xmlns="http://schemas.openxmlformats.org/package/2006/relationships"><Relationship Id="rId3" Type="http://schemas.openxmlformats.org/officeDocument/2006/relationships/image" Target="../media/image281.png"/><Relationship Id="rId2" Type="http://schemas.openxmlformats.org/officeDocument/2006/relationships/image" Target="../media/image280.pn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image" Target="../media/image283.png"/><Relationship Id="rId2" Type="http://schemas.openxmlformats.org/officeDocument/2006/relationships/image" Target="../media/image282.tif"/><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6" Type="http://schemas.openxmlformats.org/officeDocument/2006/relationships/image" Target="../media/image49.png"/><Relationship Id="rId21" Type="http://schemas.openxmlformats.org/officeDocument/2006/relationships/image" Target="../media/image44.png"/><Relationship Id="rId42" Type="http://schemas.openxmlformats.org/officeDocument/2006/relationships/image" Target="../media/image65.png"/><Relationship Id="rId47" Type="http://schemas.openxmlformats.org/officeDocument/2006/relationships/image" Target="../media/image70.png"/><Relationship Id="rId63" Type="http://schemas.openxmlformats.org/officeDocument/2006/relationships/image" Target="../media/image86.svg"/><Relationship Id="rId68" Type="http://schemas.openxmlformats.org/officeDocument/2006/relationships/image" Target="../media/image91.png"/><Relationship Id="rId84" Type="http://schemas.openxmlformats.org/officeDocument/2006/relationships/image" Target="../media/image107.png"/><Relationship Id="rId89" Type="http://schemas.openxmlformats.org/officeDocument/2006/relationships/image" Target="../media/image112.svg"/><Relationship Id="rId16" Type="http://schemas.openxmlformats.org/officeDocument/2006/relationships/image" Target="../media/image39.png"/><Relationship Id="rId11" Type="http://schemas.openxmlformats.org/officeDocument/2006/relationships/image" Target="../media/image34.png"/><Relationship Id="rId32" Type="http://schemas.openxmlformats.org/officeDocument/2006/relationships/image" Target="../media/image55.png"/><Relationship Id="rId37" Type="http://schemas.openxmlformats.org/officeDocument/2006/relationships/image" Target="../media/image60.png"/><Relationship Id="rId53" Type="http://schemas.openxmlformats.org/officeDocument/2006/relationships/image" Target="../media/image76.png"/><Relationship Id="rId58" Type="http://schemas.openxmlformats.org/officeDocument/2006/relationships/image" Target="../media/image81.png"/><Relationship Id="rId74" Type="http://schemas.openxmlformats.org/officeDocument/2006/relationships/image" Target="../media/image97.png"/><Relationship Id="rId79" Type="http://schemas.openxmlformats.org/officeDocument/2006/relationships/image" Target="../media/image102.svg"/><Relationship Id="rId5" Type="http://schemas.openxmlformats.org/officeDocument/2006/relationships/image" Target="../media/image28.png"/><Relationship Id="rId90" Type="http://schemas.openxmlformats.org/officeDocument/2006/relationships/image" Target="../media/image113.png"/><Relationship Id="rId95" Type="http://schemas.openxmlformats.org/officeDocument/2006/relationships/image" Target="../media/image118.png"/><Relationship Id="rId22" Type="http://schemas.openxmlformats.org/officeDocument/2006/relationships/image" Target="../media/image45.svg"/><Relationship Id="rId27" Type="http://schemas.openxmlformats.org/officeDocument/2006/relationships/image" Target="../media/image50.svg"/><Relationship Id="rId43" Type="http://schemas.openxmlformats.org/officeDocument/2006/relationships/image" Target="../media/image66.svg"/><Relationship Id="rId48" Type="http://schemas.openxmlformats.org/officeDocument/2006/relationships/image" Target="../media/image71.svg"/><Relationship Id="rId64" Type="http://schemas.openxmlformats.org/officeDocument/2006/relationships/image" Target="../media/image87.png"/><Relationship Id="rId69" Type="http://schemas.openxmlformats.org/officeDocument/2006/relationships/image" Target="../media/image92.png"/><Relationship Id="rId8" Type="http://schemas.openxmlformats.org/officeDocument/2006/relationships/image" Target="../media/image31.png"/><Relationship Id="rId51" Type="http://schemas.openxmlformats.org/officeDocument/2006/relationships/image" Target="../media/image74.png"/><Relationship Id="rId72" Type="http://schemas.openxmlformats.org/officeDocument/2006/relationships/image" Target="../media/image95.png"/><Relationship Id="rId80" Type="http://schemas.openxmlformats.org/officeDocument/2006/relationships/image" Target="../media/image103.png"/><Relationship Id="rId85" Type="http://schemas.openxmlformats.org/officeDocument/2006/relationships/image" Target="../media/image108.png"/><Relationship Id="rId93" Type="http://schemas.openxmlformats.org/officeDocument/2006/relationships/image" Target="../media/image116.png"/><Relationship Id="rId3" Type="http://schemas.openxmlformats.org/officeDocument/2006/relationships/image" Target="../media/image26.png"/><Relationship Id="rId12" Type="http://schemas.openxmlformats.org/officeDocument/2006/relationships/image" Target="../media/image35.png"/><Relationship Id="rId17" Type="http://schemas.openxmlformats.org/officeDocument/2006/relationships/image" Target="../media/image40.png"/><Relationship Id="rId25" Type="http://schemas.openxmlformats.org/officeDocument/2006/relationships/image" Target="../media/image48.svg"/><Relationship Id="rId33" Type="http://schemas.openxmlformats.org/officeDocument/2006/relationships/image" Target="../media/image56.png"/><Relationship Id="rId38" Type="http://schemas.openxmlformats.org/officeDocument/2006/relationships/image" Target="../media/image61.png"/><Relationship Id="rId46" Type="http://schemas.openxmlformats.org/officeDocument/2006/relationships/image" Target="../media/image69.png"/><Relationship Id="rId59" Type="http://schemas.openxmlformats.org/officeDocument/2006/relationships/image" Target="../media/image82.png"/><Relationship Id="rId67" Type="http://schemas.openxmlformats.org/officeDocument/2006/relationships/image" Target="../media/image90.png"/><Relationship Id="rId20" Type="http://schemas.openxmlformats.org/officeDocument/2006/relationships/image" Target="../media/image43.png"/><Relationship Id="rId41" Type="http://schemas.openxmlformats.org/officeDocument/2006/relationships/image" Target="../media/image64.png"/><Relationship Id="rId54" Type="http://schemas.openxmlformats.org/officeDocument/2006/relationships/image" Target="../media/image77.png"/><Relationship Id="rId62" Type="http://schemas.openxmlformats.org/officeDocument/2006/relationships/image" Target="../media/image85.png"/><Relationship Id="rId70" Type="http://schemas.openxmlformats.org/officeDocument/2006/relationships/image" Target="../media/image93.png"/><Relationship Id="rId75" Type="http://schemas.openxmlformats.org/officeDocument/2006/relationships/image" Target="../media/image98.png"/><Relationship Id="rId83" Type="http://schemas.openxmlformats.org/officeDocument/2006/relationships/image" Target="../media/image106.png"/><Relationship Id="rId88" Type="http://schemas.openxmlformats.org/officeDocument/2006/relationships/image" Target="../media/image111.png"/><Relationship Id="rId91" Type="http://schemas.openxmlformats.org/officeDocument/2006/relationships/image" Target="../media/image114.png"/><Relationship Id="rId1" Type="http://schemas.openxmlformats.org/officeDocument/2006/relationships/slideLayout" Target="../slideLayouts/slideLayout3.xml"/><Relationship Id="rId6" Type="http://schemas.openxmlformats.org/officeDocument/2006/relationships/image" Target="../media/image29.png"/><Relationship Id="rId15" Type="http://schemas.openxmlformats.org/officeDocument/2006/relationships/image" Target="../media/image38.svg"/><Relationship Id="rId23" Type="http://schemas.openxmlformats.org/officeDocument/2006/relationships/image" Target="../media/image46.png"/><Relationship Id="rId28" Type="http://schemas.openxmlformats.org/officeDocument/2006/relationships/image" Target="../media/image51.png"/><Relationship Id="rId36" Type="http://schemas.openxmlformats.org/officeDocument/2006/relationships/image" Target="../media/image59.svg"/><Relationship Id="rId49" Type="http://schemas.openxmlformats.org/officeDocument/2006/relationships/image" Target="../media/image72.png"/><Relationship Id="rId57" Type="http://schemas.openxmlformats.org/officeDocument/2006/relationships/image" Target="../media/image80.png"/><Relationship Id="rId10" Type="http://schemas.openxmlformats.org/officeDocument/2006/relationships/image" Target="../media/image33.png"/><Relationship Id="rId31" Type="http://schemas.openxmlformats.org/officeDocument/2006/relationships/image" Target="../media/image54.png"/><Relationship Id="rId44" Type="http://schemas.openxmlformats.org/officeDocument/2006/relationships/image" Target="../media/image67.png"/><Relationship Id="rId52" Type="http://schemas.openxmlformats.org/officeDocument/2006/relationships/image" Target="../media/image75.svg"/><Relationship Id="rId60" Type="http://schemas.openxmlformats.org/officeDocument/2006/relationships/image" Target="../media/image83.png"/><Relationship Id="rId65" Type="http://schemas.openxmlformats.org/officeDocument/2006/relationships/image" Target="../media/image88.png"/><Relationship Id="rId73" Type="http://schemas.openxmlformats.org/officeDocument/2006/relationships/image" Target="../media/image96.svg"/><Relationship Id="rId78" Type="http://schemas.openxmlformats.org/officeDocument/2006/relationships/image" Target="../media/image101.png"/><Relationship Id="rId81" Type="http://schemas.openxmlformats.org/officeDocument/2006/relationships/image" Target="../media/image104.png"/><Relationship Id="rId86" Type="http://schemas.openxmlformats.org/officeDocument/2006/relationships/image" Target="../media/image109.png"/><Relationship Id="rId94" Type="http://schemas.openxmlformats.org/officeDocument/2006/relationships/image" Target="../media/image117.svg"/><Relationship Id="rId4" Type="http://schemas.openxmlformats.org/officeDocument/2006/relationships/image" Target="../media/image27.png"/><Relationship Id="rId9" Type="http://schemas.openxmlformats.org/officeDocument/2006/relationships/image" Target="../media/image32.png"/><Relationship Id="rId13" Type="http://schemas.openxmlformats.org/officeDocument/2006/relationships/image" Target="../media/image36.png"/><Relationship Id="rId18" Type="http://schemas.openxmlformats.org/officeDocument/2006/relationships/image" Target="../media/image41.png"/><Relationship Id="rId39" Type="http://schemas.openxmlformats.org/officeDocument/2006/relationships/image" Target="../media/image62.png"/><Relationship Id="rId34" Type="http://schemas.openxmlformats.org/officeDocument/2006/relationships/image" Target="../media/image57.png"/><Relationship Id="rId50" Type="http://schemas.openxmlformats.org/officeDocument/2006/relationships/image" Target="../media/image73.png"/><Relationship Id="rId55" Type="http://schemas.openxmlformats.org/officeDocument/2006/relationships/image" Target="../media/image78.svg"/><Relationship Id="rId76" Type="http://schemas.openxmlformats.org/officeDocument/2006/relationships/image" Target="../media/image99.png"/><Relationship Id="rId7" Type="http://schemas.openxmlformats.org/officeDocument/2006/relationships/image" Target="../media/image30.png"/><Relationship Id="rId71" Type="http://schemas.openxmlformats.org/officeDocument/2006/relationships/image" Target="../media/image94.png"/><Relationship Id="rId92" Type="http://schemas.openxmlformats.org/officeDocument/2006/relationships/image" Target="../media/image115.png"/><Relationship Id="rId2" Type="http://schemas.openxmlformats.org/officeDocument/2006/relationships/notesSlide" Target="../notesSlides/notesSlide3.xml"/><Relationship Id="rId29" Type="http://schemas.openxmlformats.org/officeDocument/2006/relationships/image" Target="../media/image52.png"/><Relationship Id="rId24" Type="http://schemas.openxmlformats.org/officeDocument/2006/relationships/image" Target="../media/image47.png"/><Relationship Id="rId40" Type="http://schemas.openxmlformats.org/officeDocument/2006/relationships/image" Target="../media/image63.svg"/><Relationship Id="rId45" Type="http://schemas.openxmlformats.org/officeDocument/2006/relationships/image" Target="../media/image68.png"/><Relationship Id="rId66" Type="http://schemas.openxmlformats.org/officeDocument/2006/relationships/image" Target="../media/image89.png"/><Relationship Id="rId87" Type="http://schemas.openxmlformats.org/officeDocument/2006/relationships/image" Target="../media/image110.svg"/><Relationship Id="rId61" Type="http://schemas.openxmlformats.org/officeDocument/2006/relationships/image" Target="../media/image84.png"/><Relationship Id="rId82" Type="http://schemas.openxmlformats.org/officeDocument/2006/relationships/image" Target="../media/image105.svg"/><Relationship Id="rId19" Type="http://schemas.openxmlformats.org/officeDocument/2006/relationships/image" Target="../media/image42.svg"/><Relationship Id="rId14" Type="http://schemas.openxmlformats.org/officeDocument/2006/relationships/image" Target="../media/image37.png"/><Relationship Id="rId30" Type="http://schemas.openxmlformats.org/officeDocument/2006/relationships/image" Target="../media/image53.png"/><Relationship Id="rId35" Type="http://schemas.openxmlformats.org/officeDocument/2006/relationships/image" Target="../media/image58.png"/><Relationship Id="rId56" Type="http://schemas.openxmlformats.org/officeDocument/2006/relationships/image" Target="../media/image79.png"/><Relationship Id="rId77" Type="http://schemas.openxmlformats.org/officeDocument/2006/relationships/image" Target="../media/image100.png"/></Relationships>
</file>

<file path=ppt/slides/_rels/slide90.xml.rels><?xml version="1.0" encoding="UTF-8" standalone="yes"?>
<Relationships xmlns="http://schemas.openxmlformats.org/package/2006/relationships"><Relationship Id="rId3" Type="http://schemas.openxmlformats.org/officeDocument/2006/relationships/image" Target="../media/image285.jpeg"/><Relationship Id="rId2" Type="http://schemas.openxmlformats.org/officeDocument/2006/relationships/image" Target="../media/image284.tif"/><Relationship Id="rId1" Type="http://schemas.openxmlformats.org/officeDocument/2006/relationships/slideLayout" Target="../slideLayouts/slideLayout14.xml"/></Relationships>
</file>

<file path=ppt/slides/_rels/slide91.xml.rels><?xml version="1.0" encoding="UTF-8" standalone="yes"?>
<Relationships xmlns="http://schemas.openxmlformats.org/package/2006/relationships"><Relationship Id="rId8" Type="http://schemas.openxmlformats.org/officeDocument/2006/relationships/image" Target="../media/image292.png"/><Relationship Id="rId13" Type="http://schemas.openxmlformats.org/officeDocument/2006/relationships/image" Target="../media/image297.png"/><Relationship Id="rId3" Type="http://schemas.openxmlformats.org/officeDocument/2006/relationships/image" Target="../media/image287.png"/><Relationship Id="rId7" Type="http://schemas.openxmlformats.org/officeDocument/2006/relationships/image" Target="../media/image291.png"/><Relationship Id="rId12" Type="http://schemas.openxmlformats.org/officeDocument/2006/relationships/image" Target="../media/image296.png"/><Relationship Id="rId2" Type="http://schemas.openxmlformats.org/officeDocument/2006/relationships/image" Target="../media/image286.png"/><Relationship Id="rId1" Type="http://schemas.openxmlformats.org/officeDocument/2006/relationships/slideLayout" Target="../slideLayouts/slideLayout16.xml"/><Relationship Id="rId6" Type="http://schemas.openxmlformats.org/officeDocument/2006/relationships/image" Target="../media/image290.png"/><Relationship Id="rId11" Type="http://schemas.openxmlformats.org/officeDocument/2006/relationships/image" Target="../media/image295.png"/><Relationship Id="rId5" Type="http://schemas.openxmlformats.org/officeDocument/2006/relationships/image" Target="../media/image289.png"/><Relationship Id="rId10" Type="http://schemas.openxmlformats.org/officeDocument/2006/relationships/image" Target="../media/image294.png"/><Relationship Id="rId4" Type="http://schemas.openxmlformats.org/officeDocument/2006/relationships/image" Target="../media/image288.png"/><Relationship Id="rId9" Type="http://schemas.openxmlformats.org/officeDocument/2006/relationships/image" Target="../media/image293.png"/><Relationship Id="rId14" Type="http://schemas.openxmlformats.org/officeDocument/2006/relationships/image" Target="../media/image284.tif"/></Relationships>
</file>

<file path=ppt/slides/_rels/slide92.xml.rels><?xml version="1.0" encoding="UTF-8" standalone="yes"?>
<Relationships xmlns="http://schemas.openxmlformats.org/package/2006/relationships"><Relationship Id="rId8" Type="http://schemas.openxmlformats.org/officeDocument/2006/relationships/image" Target="../media/image284.tif"/><Relationship Id="rId3" Type="http://schemas.openxmlformats.org/officeDocument/2006/relationships/image" Target="../media/image298.png"/><Relationship Id="rId7" Type="http://schemas.openxmlformats.org/officeDocument/2006/relationships/image" Target="../media/image297.png"/><Relationship Id="rId2" Type="http://schemas.openxmlformats.org/officeDocument/2006/relationships/image" Target="../media/image286.png"/><Relationship Id="rId1" Type="http://schemas.openxmlformats.org/officeDocument/2006/relationships/slideLayout" Target="../slideLayouts/slideLayout16.xml"/><Relationship Id="rId6" Type="http://schemas.openxmlformats.org/officeDocument/2006/relationships/image" Target="../media/image301.png"/><Relationship Id="rId5" Type="http://schemas.openxmlformats.org/officeDocument/2006/relationships/image" Target="../media/image300.png"/><Relationship Id="rId10" Type="http://schemas.openxmlformats.org/officeDocument/2006/relationships/image" Target="../media/image303.svg"/><Relationship Id="rId4" Type="http://schemas.openxmlformats.org/officeDocument/2006/relationships/image" Target="../media/image299.png"/><Relationship Id="rId9" Type="http://schemas.openxmlformats.org/officeDocument/2006/relationships/image" Target="../media/image302.png"/></Relationships>
</file>

<file path=ppt/slides/_rels/slide93.xml.rels><?xml version="1.0" encoding="UTF-8" standalone="yes"?>
<Relationships xmlns="http://schemas.openxmlformats.org/package/2006/relationships"><Relationship Id="rId3" Type="http://schemas.openxmlformats.org/officeDocument/2006/relationships/image" Target="../media/image304.jpeg"/><Relationship Id="rId2" Type="http://schemas.openxmlformats.org/officeDocument/2006/relationships/image" Target="../media/image284.tif"/><Relationship Id="rId1" Type="http://schemas.openxmlformats.org/officeDocument/2006/relationships/slideLayout" Target="../slideLayouts/slideLayout14.xml"/></Relationships>
</file>

<file path=ppt/slides/_rels/slide94.xml.rels><?xml version="1.0" encoding="UTF-8" standalone="yes"?>
<Relationships xmlns="http://schemas.openxmlformats.org/package/2006/relationships"><Relationship Id="rId3" Type="http://schemas.openxmlformats.org/officeDocument/2006/relationships/image" Target="../media/image305.png"/><Relationship Id="rId2" Type="http://schemas.openxmlformats.org/officeDocument/2006/relationships/image" Target="../media/image284.tif"/><Relationship Id="rId1" Type="http://schemas.openxmlformats.org/officeDocument/2006/relationships/slideLayout" Target="../slideLayouts/slideLayout14.xml"/></Relationships>
</file>

<file path=ppt/slides/_rels/slide95.xml.rels><?xml version="1.0" encoding="UTF-8" standalone="yes"?>
<Relationships xmlns="http://schemas.openxmlformats.org/package/2006/relationships"><Relationship Id="rId3" Type="http://schemas.openxmlformats.org/officeDocument/2006/relationships/image" Target="../media/image306.jpeg"/><Relationship Id="rId2" Type="http://schemas.openxmlformats.org/officeDocument/2006/relationships/image" Target="../media/image284.tif"/><Relationship Id="rId1" Type="http://schemas.openxmlformats.org/officeDocument/2006/relationships/slideLayout" Target="../slideLayouts/slideLayout14.xml"/></Relationships>
</file>

<file path=ppt/slides/_rels/slide96.xml.rels><?xml version="1.0" encoding="UTF-8" standalone="yes"?>
<Relationships xmlns="http://schemas.openxmlformats.org/package/2006/relationships"><Relationship Id="rId3" Type="http://schemas.openxmlformats.org/officeDocument/2006/relationships/image" Target="../media/image284.tif"/><Relationship Id="rId2" Type="http://schemas.openxmlformats.org/officeDocument/2006/relationships/image" Target="../media/image307.jpeg"/><Relationship Id="rId1" Type="http://schemas.openxmlformats.org/officeDocument/2006/relationships/slideLayout" Target="../slideLayouts/slideLayout14.xml"/></Relationships>
</file>

<file path=ppt/slides/_rels/slide97.xml.rels><?xml version="1.0" encoding="UTF-8" standalone="yes"?>
<Relationships xmlns="http://schemas.openxmlformats.org/package/2006/relationships"><Relationship Id="rId3" Type="http://schemas.openxmlformats.org/officeDocument/2006/relationships/image" Target="../media/image308.png"/><Relationship Id="rId2" Type="http://schemas.openxmlformats.org/officeDocument/2006/relationships/image" Target="../media/image284.tif"/><Relationship Id="rId1" Type="http://schemas.openxmlformats.org/officeDocument/2006/relationships/slideLayout" Target="../slideLayouts/slideLayout14.xml"/></Relationships>
</file>

<file path=ppt/slides/_rels/slide98.xml.rels><?xml version="1.0" encoding="UTF-8" standalone="yes"?>
<Relationships xmlns="http://schemas.openxmlformats.org/package/2006/relationships"><Relationship Id="rId3" Type="http://schemas.openxmlformats.org/officeDocument/2006/relationships/image" Target="../media/image309.jpeg"/><Relationship Id="rId2" Type="http://schemas.openxmlformats.org/officeDocument/2006/relationships/image" Target="../media/image284.tif"/><Relationship Id="rId1" Type="http://schemas.openxmlformats.org/officeDocument/2006/relationships/slideLayout" Target="../slideLayouts/slideLayout14.xml"/></Relationships>
</file>

<file path=ppt/slides/_rels/slide9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image" Target="../media/image310.png"/><Relationship Id="rId1" Type="http://schemas.openxmlformats.org/officeDocument/2006/relationships/slideLayout" Target="../slideLayouts/slideLayout14.xml"/><Relationship Id="rId4" Type="http://schemas.openxmlformats.org/officeDocument/2006/relationships/image" Target="../media/image284.t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14890A91-B0EE-8649-9C78-E65C2935567E}"/>
              </a:ext>
            </a:extLst>
          </p:cNvPr>
          <p:cNvSpPr>
            <a:spLocks noGrp="1"/>
          </p:cNvSpPr>
          <p:nvPr>
            <p:ph type="subTitle" idx="1"/>
          </p:nvPr>
        </p:nvSpPr>
        <p:spPr>
          <a:xfrm>
            <a:off x="1524000" y="4280686"/>
            <a:ext cx="9144000" cy="533362"/>
          </a:xfrm>
        </p:spPr>
        <p:txBody>
          <a:bodyPr/>
          <a:lstStyle/>
          <a:p>
            <a:r>
              <a:rPr lang="en-GB" spc="300" dirty="0"/>
              <a:t>MEET THE POTENTIAL</a:t>
            </a:r>
            <a:endParaRPr lang="en-BG" spc="300" dirty="0"/>
          </a:p>
        </p:txBody>
      </p:sp>
      <p:pic>
        <p:nvPicPr>
          <p:cNvPr id="5" name="Graphic 4">
            <a:extLst>
              <a:ext uri="{FF2B5EF4-FFF2-40B4-BE49-F238E27FC236}">
                <a16:creationId xmlns:a16="http://schemas.microsoft.com/office/drawing/2014/main" id="{6E6F35CE-0263-B744-8C62-FBC68958803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187388" y="2718085"/>
            <a:ext cx="7817224" cy="1170823"/>
          </a:xfrm>
          <a:prstGeom prst="rect">
            <a:avLst/>
          </a:prstGeom>
        </p:spPr>
      </p:pic>
      <p:sp>
        <p:nvSpPr>
          <p:cNvPr id="10" name="Date Placeholder 9">
            <a:extLst>
              <a:ext uri="{FF2B5EF4-FFF2-40B4-BE49-F238E27FC236}">
                <a16:creationId xmlns:a16="http://schemas.microsoft.com/office/drawing/2014/main" id="{8DABE99B-AFF8-A043-88FE-0E8342F0A41A}"/>
              </a:ext>
            </a:extLst>
          </p:cNvPr>
          <p:cNvSpPr>
            <a:spLocks noGrp="1"/>
          </p:cNvSpPr>
          <p:nvPr>
            <p:ph type="dt" sz="half" idx="10"/>
          </p:nvPr>
        </p:nvSpPr>
        <p:spPr>
          <a:xfrm>
            <a:off x="603998" y="6230844"/>
            <a:ext cx="2743200" cy="365125"/>
          </a:xfrm>
        </p:spPr>
        <p:txBody>
          <a:bodyPr/>
          <a:lstStyle/>
          <a:p>
            <a:r>
              <a:rPr lang="en-GB" dirty="0"/>
              <a:t>April 11, 2024</a:t>
            </a:r>
            <a:endParaRPr lang="bg-BG" dirty="0"/>
          </a:p>
        </p:txBody>
      </p:sp>
      <p:grpSp>
        <p:nvGrpSpPr>
          <p:cNvPr id="35" name="Graphic 2">
            <a:extLst>
              <a:ext uri="{FF2B5EF4-FFF2-40B4-BE49-F238E27FC236}">
                <a16:creationId xmlns:a16="http://schemas.microsoft.com/office/drawing/2014/main" id="{2AEE9B2D-DB82-B544-8631-4B1FCF9C1158}"/>
              </a:ext>
            </a:extLst>
          </p:cNvPr>
          <p:cNvGrpSpPr/>
          <p:nvPr/>
        </p:nvGrpSpPr>
        <p:grpSpPr>
          <a:xfrm>
            <a:off x="8844803" y="6092206"/>
            <a:ext cx="2743199" cy="496809"/>
            <a:chOff x="9989574" y="6250285"/>
            <a:chExt cx="1870343" cy="338730"/>
          </a:xfrm>
          <a:solidFill>
            <a:schemeClr val="bg1"/>
          </a:solidFill>
        </p:grpSpPr>
        <p:sp>
          <p:nvSpPr>
            <p:cNvPr id="36" name="Freeform 35">
              <a:extLst>
                <a:ext uri="{FF2B5EF4-FFF2-40B4-BE49-F238E27FC236}">
                  <a16:creationId xmlns:a16="http://schemas.microsoft.com/office/drawing/2014/main" id="{16A47575-D255-E246-BAA2-6DCC37824B6C}"/>
                </a:ext>
              </a:extLst>
            </p:cNvPr>
            <p:cNvSpPr/>
            <p:nvPr/>
          </p:nvSpPr>
          <p:spPr>
            <a:xfrm>
              <a:off x="9989574" y="6459598"/>
              <a:ext cx="126683" cy="97008"/>
            </a:xfrm>
            <a:custGeom>
              <a:avLst/>
              <a:gdLst>
                <a:gd name="connsiteX0" fmla="*/ 82495 w 126683"/>
                <a:gd name="connsiteY0" fmla="*/ 0 h 97008"/>
                <a:gd name="connsiteX1" fmla="*/ 0 w 126683"/>
                <a:gd name="connsiteY1" fmla="*/ 46604 h 97008"/>
                <a:gd name="connsiteX2" fmla="*/ 0 w 126683"/>
                <a:gd name="connsiteY2" fmla="*/ 97009 h 97008"/>
                <a:gd name="connsiteX3" fmla="*/ 126683 w 126683"/>
                <a:gd name="connsiteY3" fmla="*/ 24927 h 97008"/>
                <a:gd name="connsiteX4" fmla="*/ 82495 w 126683"/>
                <a:gd name="connsiteY4" fmla="*/ 0 h 97008"/>
                <a:gd name="connsiteX5" fmla="*/ 82495 w 126683"/>
                <a:gd name="connsiteY5" fmla="*/ 0 h 97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683" h="97008">
                  <a:moveTo>
                    <a:pt x="82495" y="0"/>
                  </a:moveTo>
                  <a:lnTo>
                    <a:pt x="0" y="46604"/>
                  </a:lnTo>
                  <a:lnTo>
                    <a:pt x="0" y="97009"/>
                  </a:lnTo>
                  <a:lnTo>
                    <a:pt x="126683" y="24927"/>
                  </a:lnTo>
                  <a:lnTo>
                    <a:pt x="82495" y="0"/>
                  </a:lnTo>
                  <a:lnTo>
                    <a:pt x="82495" y="0"/>
                  </a:lnTo>
                  <a:close/>
                </a:path>
              </a:pathLst>
            </a:custGeom>
            <a:grpFill/>
            <a:ln w="0" cap="flat">
              <a:noFill/>
              <a:prstDash val="solid"/>
              <a:miter/>
            </a:ln>
          </p:spPr>
          <p:txBody>
            <a:bodyPr rtlCol="0" anchor="ctr"/>
            <a:lstStyle/>
            <a:p>
              <a:endParaRPr lang="en-BG"/>
            </a:p>
          </p:txBody>
        </p:sp>
        <p:sp>
          <p:nvSpPr>
            <p:cNvPr id="37" name="Freeform 36">
              <a:extLst>
                <a:ext uri="{FF2B5EF4-FFF2-40B4-BE49-F238E27FC236}">
                  <a16:creationId xmlns:a16="http://schemas.microsoft.com/office/drawing/2014/main" id="{F1159ABE-3463-F44A-9EB6-D2AAC1C7EA1D}"/>
                </a:ext>
              </a:extLst>
            </p:cNvPr>
            <p:cNvSpPr/>
            <p:nvPr/>
          </p:nvSpPr>
          <p:spPr>
            <a:xfrm>
              <a:off x="10078525" y="6455822"/>
              <a:ext cx="126059" cy="46293"/>
            </a:xfrm>
            <a:custGeom>
              <a:avLst/>
              <a:gdLst>
                <a:gd name="connsiteX0" fmla="*/ 126059 w 126059"/>
                <a:gd name="connsiteY0" fmla="*/ 21342 h 46293"/>
                <a:gd name="connsiteX1" fmla="*/ 88352 w 126059"/>
                <a:gd name="connsiteY1" fmla="*/ 0 h 46293"/>
                <a:gd name="connsiteX2" fmla="*/ 0 w 126059"/>
                <a:gd name="connsiteY2" fmla="*/ 0 h 46293"/>
                <a:gd name="connsiteX3" fmla="*/ 81871 w 126059"/>
                <a:gd name="connsiteY3" fmla="*/ 46294 h 46293"/>
                <a:gd name="connsiteX4" fmla="*/ 126059 w 126059"/>
                <a:gd name="connsiteY4" fmla="*/ 21342 h 46293"/>
                <a:gd name="connsiteX5" fmla="*/ 126059 w 126059"/>
                <a:gd name="connsiteY5" fmla="*/ 21342 h 46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059" h="46293">
                  <a:moveTo>
                    <a:pt x="126059" y="21342"/>
                  </a:moveTo>
                  <a:lnTo>
                    <a:pt x="88352" y="0"/>
                  </a:lnTo>
                  <a:lnTo>
                    <a:pt x="0" y="0"/>
                  </a:lnTo>
                  <a:lnTo>
                    <a:pt x="81871" y="46294"/>
                  </a:lnTo>
                  <a:lnTo>
                    <a:pt x="126059" y="21342"/>
                  </a:lnTo>
                  <a:lnTo>
                    <a:pt x="126059" y="21342"/>
                  </a:lnTo>
                  <a:close/>
                </a:path>
              </a:pathLst>
            </a:custGeom>
            <a:grpFill/>
            <a:ln w="0" cap="flat">
              <a:noFill/>
              <a:prstDash val="solid"/>
              <a:miter/>
            </a:ln>
          </p:spPr>
          <p:txBody>
            <a:bodyPr rtlCol="0" anchor="ctr"/>
            <a:lstStyle/>
            <a:p>
              <a:endParaRPr lang="en-BG"/>
            </a:p>
          </p:txBody>
        </p:sp>
        <p:sp>
          <p:nvSpPr>
            <p:cNvPr id="38" name="Freeform 37">
              <a:extLst>
                <a:ext uri="{FF2B5EF4-FFF2-40B4-BE49-F238E27FC236}">
                  <a16:creationId xmlns:a16="http://schemas.microsoft.com/office/drawing/2014/main" id="{E4558F3A-1A68-1246-8143-117B63FAE17A}"/>
                </a:ext>
              </a:extLst>
            </p:cNvPr>
            <p:cNvSpPr/>
            <p:nvPr/>
          </p:nvSpPr>
          <p:spPr>
            <a:xfrm>
              <a:off x="10167165" y="6408787"/>
              <a:ext cx="214339" cy="97200"/>
            </a:xfrm>
            <a:custGeom>
              <a:avLst/>
              <a:gdLst>
                <a:gd name="connsiteX0" fmla="*/ 170751 w 214339"/>
                <a:gd name="connsiteY0" fmla="*/ 0 h 97200"/>
                <a:gd name="connsiteX1" fmla="*/ 0 w 214339"/>
                <a:gd name="connsiteY1" fmla="*/ 97176 h 97200"/>
                <a:gd name="connsiteX2" fmla="*/ 88496 w 214339"/>
                <a:gd name="connsiteY2" fmla="*/ 97200 h 97200"/>
                <a:gd name="connsiteX3" fmla="*/ 214339 w 214339"/>
                <a:gd name="connsiteY3" fmla="*/ 25382 h 97200"/>
                <a:gd name="connsiteX4" fmla="*/ 170751 w 214339"/>
                <a:gd name="connsiteY4" fmla="*/ 0 h 97200"/>
                <a:gd name="connsiteX5" fmla="*/ 170751 w 214339"/>
                <a:gd name="connsiteY5" fmla="*/ 0 h 9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339" h="97200">
                  <a:moveTo>
                    <a:pt x="170751" y="0"/>
                  </a:moveTo>
                  <a:lnTo>
                    <a:pt x="0" y="97176"/>
                  </a:lnTo>
                  <a:lnTo>
                    <a:pt x="88496" y="97200"/>
                  </a:lnTo>
                  <a:lnTo>
                    <a:pt x="214339" y="25382"/>
                  </a:lnTo>
                  <a:lnTo>
                    <a:pt x="170751" y="0"/>
                  </a:lnTo>
                  <a:lnTo>
                    <a:pt x="170751" y="0"/>
                  </a:lnTo>
                  <a:close/>
                </a:path>
              </a:pathLst>
            </a:custGeom>
            <a:grpFill/>
            <a:ln w="0" cap="flat">
              <a:noFill/>
              <a:prstDash val="solid"/>
              <a:miter/>
            </a:ln>
          </p:spPr>
          <p:txBody>
            <a:bodyPr rtlCol="0" anchor="ctr"/>
            <a:lstStyle/>
            <a:p>
              <a:endParaRPr lang="en-BG"/>
            </a:p>
          </p:txBody>
        </p:sp>
        <p:sp>
          <p:nvSpPr>
            <p:cNvPr id="39" name="Freeform 38">
              <a:extLst>
                <a:ext uri="{FF2B5EF4-FFF2-40B4-BE49-F238E27FC236}">
                  <a16:creationId xmlns:a16="http://schemas.microsoft.com/office/drawing/2014/main" id="{E637BCFD-ECE3-3243-BCC5-D4321B9531CA}"/>
                </a:ext>
              </a:extLst>
            </p:cNvPr>
            <p:cNvSpPr/>
            <p:nvPr/>
          </p:nvSpPr>
          <p:spPr>
            <a:xfrm>
              <a:off x="10344109" y="6405035"/>
              <a:ext cx="126587" cy="47130"/>
            </a:xfrm>
            <a:custGeom>
              <a:avLst/>
              <a:gdLst>
                <a:gd name="connsiteX0" fmla="*/ 126587 w 126587"/>
                <a:gd name="connsiteY0" fmla="*/ 21725 h 47130"/>
                <a:gd name="connsiteX1" fmla="*/ 88064 w 126587"/>
                <a:gd name="connsiteY1" fmla="*/ 0 h 47130"/>
                <a:gd name="connsiteX2" fmla="*/ 0 w 126587"/>
                <a:gd name="connsiteY2" fmla="*/ 0 h 47130"/>
                <a:gd name="connsiteX3" fmla="*/ 82063 w 126587"/>
                <a:gd name="connsiteY3" fmla="*/ 47130 h 47130"/>
                <a:gd name="connsiteX4" fmla="*/ 126587 w 126587"/>
                <a:gd name="connsiteY4" fmla="*/ 21725 h 47130"/>
                <a:gd name="connsiteX5" fmla="*/ 126587 w 126587"/>
                <a:gd name="connsiteY5" fmla="*/ 21725 h 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587" h="47130">
                  <a:moveTo>
                    <a:pt x="126587" y="21725"/>
                  </a:moveTo>
                  <a:lnTo>
                    <a:pt x="88064" y="0"/>
                  </a:lnTo>
                  <a:lnTo>
                    <a:pt x="0" y="0"/>
                  </a:lnTo>
                  <a:lnTo>
                    <a:pt x="82063" y="47130"/>
                  </a:lnTo>
                  <a:lnTo>
                    <a:pt x="126587" y="21725"/>
                  </a:lnTo>
                  <a:lnTo>
                    <a:pt x="126587" y="21725"/>
                  </a:lnTo>
                  <a:close/>
                </a:path>
              </a:pathLst>
            </a:custGeom>
            <a:grpFill/>
            <a:ln w="0" cap="flat">
              <a:noFill/>
              <a:prstDash val="solid"/>
              <a:miter/>
            </a:ln>
          </p:spPr>
          <p:txBody>
            <a:bodyPr rtlCol="0" anchor="ctr"/>
            <a:lstStyle/>
            <a:p>
              <a:endParaRPr lang="en-BG"/>
            </a:p>
          </p:txBody>
        </p:sp>
        <p:sp>
          <p:nvSpPr>
            <p:cNvPr id="40" name="Freeform 39">
              <a:extLst>
                <a:ext uri="{FF2B5EF4-FFF2-40B4-BE49-F238E27FC236}">
                  <a16:creationId xmlns:a16="http://schemas.microsoft.com/office/drawing/2014/main" id="{82090546-0F95-354D-971A-05C0C7D1AB5F}"/>
                </a:ext>
              </a:extLst>
            </p:cNvPr>
            <p:cNvSpPr/>
            <p:nvPr/>
          </p:nvSpPr>
          <p:spPr>
            <a:xfrm>
              <a:off x="10432725" y="6284150"/>
              <a:ext cx="301802" cy="171695"/>
            </a:xfrm>
            <a:custGeom>
              <a:avLst/>
              <a:gdLst>
                <a:gd name="connsiteX0" fmla="*/ 301803 w 301802"/>
                <a:gd name="connsiteY0" fmla="*/ 49879 h 171695"/>
                <a:gd name="connsiteX1" fmla="*/ 88280 w 301802"/>
                <a:gd name="connsiteY1" fmla="*/ 171672 h 171695"/>
                <a:gd name="connsiteX2" fmla="*/ 0 w 301802"/>
                <a:gd name="connsiteY2" fmla="*/ 171696 h 171695"/>
                <a:gd name="connsiteX3" fmla="*/ 301803 w 301802"/>
                <a:gd name="connsiteY3" fmla="*/ 0 h 171695"/>
                <a:gd name="connsiteX4" fmla="*/ 301803 w 301802"/>
                <a:gd name="connsiteY4" fmla="*/ 49879 h 171695"/>
                <a:gd name="connsiteX5" fmla="*/ 301803 w 301802"/>
                <a:gd name="connsiteY5" fmla="*/ 49879 h 171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802" h="171695">
                  <a:moveTo>
                    <a:pt x="301803" y="49879"/>
                  </a:moveTo>
                  <a:lnTo>
                    <a:pt x="88280" y="171672"/>
                  </a:lnTo>
                  <a:lnTo>
                    <a:pt x="0" y="171696"/>
                  </a:lnTo>
                  <a:lnTo>
                    <a:pt x="301803" y="0"/>
                  </a:lnTo>
                  <a:lnTo>
                    <a:pt x="301803" y="49879"/>
                  </a:lnTo>
                  <a:lnTo>
                    <a:pt x="301803" y="49879"/>
                  </a:lnTo>
                  <a:close/>
                </a:path>
              </a:pathLst>
            </a:custGeom>
            <a:grpFill/>
            <a:ln w="0" cap="flat">
              <a:noFill/>
              <a:prstDash val="solid"/>
              <a:miter/>
            </a:ln>
          </p:spPr>
          <p:txBody>
            <a:bodyPr rtlCol="0" anchor="ctr"/>
            <a:lstStyle/>
            <a:p>
              <a:endParaRPr lang="en-BG"/>
            </a:p>
          </p:txBody>
        </p:sp>
        <p:sp>
          <p:nvSpPr>
            <p:cNvPr id="41" name="Freeform 40">
              <a:extLst>
                <a:ext uri="{FF2B5EF4-FFF2-40B4-BE49-F238E27FC236}">
                  <a16:creationId xmlns:a16="http://schemas.microsoft.com/office/drawing/2014/main" id="{52B1ADF4-6CBB-184E-8AF2-31E396DBCCCA}"/>
                </a:ext>
              </a:extLst>
            </p:cNvPr>
            <p:cNvSpPr/>
            <p:nvPr/>
          </p:nvSpPr>
          <p:spPr>
            <a:xfrm>
              <a:off x="10865772" y="6441793"/>
              <a:ext cx="62141" cy="80804"/>
            </a:xfrm>
            <a:custGeom>
              <a:avLst/>
              <a:gdLst>
                <a:gd name="connsiteX0" fmla="*/ 51605 w 62141"/>
                <a:gd name="connsiteY0" fmla="*/ 79514 h 80804"/>
                <a:gd name="connsiteX1" fmla="*/ 62142 w 62141"/>
                <a:gd name="connsiteY1" fmla="*/ 79514 h 80804"/>
                <a:gd name="connsiteX2" fmla="*/ 62142 w 62141"/>
                <a:gd name="connsiteY2" fmla="*/ 39650 h 80804"/>
                <a:gd name="connsiteX3" fmla="*/ 32739 w 62141"/>
                <a:gd name="connsiteY3" fmla="*/ 39650 h 80804"/>
                <a:gd name="connsiteX4" fmla="*/ 32739 w 62141"/>
                <a:gd name="connsiteY4" fmla="*/ 51958 h 80804"/>
                <a:gd name="connsiteX5" fmla="*/ 47500 w 62141"/>
                <a:gd name="connsiteY5" fmla="*/ 51958 h 80804"/>
                <a:gd name="connsiteX6" fmla="*/ 31875 w 62141"/>
                <a:gd name="connsiteY6" fmla="*/ 67851 h 80804"/>
                <a:gd name="connsiteX7" fmla="*/ 15049 w 62141"/>
                <a:gd name="connsiteY7" fmla="*/ 40295 h 80804"/>
                <a:gd name="connsiteX8" fmla="*/ 32307 w 62141"/>
                <a:gd name="connsiteY8" fmla="*/ 12308 h 80804"/>
                <a:gd name="connsiteX9" fmla="*/ 46972 w 62141"/>
                <a:gd name="connsiteY9" fmla="*/ 23231 h 80804"/>
                <a:gd name="connsiteX10" fmla="*/ 60437 w 62141"/>
                <a:gd name="connsiteY10" fmla="*/ 19885 h 80804"/>
                <a:gd name="connsiteX11" fmla="*/ 32667 w 62141"/>
                <a:gd name="connsiteY11" fmla="*/ 0 h 80804"/>
                <a:gd name="connsiteX12" fmla="*/ 0 w 62141"/>
                <a:gd name="connsiteY12" fmla="*/ 39435 h 80804"/>
                <a:gd name="connsiteX13" fmla="*/ 30051 w 62141"/>
                <a:gd name="connsiteY13" fmla="*/ 80805 h 80804"/>
                <a:gd name="connsiteX14" fmla="*/ 50885 w 62141"/>
                <a:gd name="connsiteY14" fmla="*/ 71293 h 80804"/>
                <a:gd name="connsiteX15" fmla="*/ 51653 w 62141"/>
                <a:gd name="connsiteY15" fmla="*/ 79514 h 80804"/>
                <a:gd name="connsiteX16" fmla="*/ 51653 w 62141"/>
                <a:gd name="connsiteY16" fmla="*/ 79514 h 8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141" h="80804">
                  <a:moveTo>
                    <a:pt x="51605" y="79514"/>
                  </a:moveTo>
                  <a:lnTo>
                    <a:pt x="62142" y="79514"/>
                  </a:lnTo>
                  <a:lnTo>
                    <a:pt x="62142" y="39650"/>
                  </a:lnTo>
                  <a:lnTo>
                    <a:pt x="32739" y="39650"/>
                  </a:lnTo>
                  <a:lnTo>
                    <a:pt x="32739" y="51958"/>
                  </a:lnTo>
                  <a:lnTo>
                    <a:pt x="47500" y="51958"/>
                  </a:lnTo>
                  <a:cubicBezTo>
                    <a:pt x="46204" y="62020"/>
                    <a:pt x="40228" y="67851"/>
                    <a:pt x="31875" y="67851"/>
                  </a:cubicBezTo>
                  <a:cubicBezTo>
                    <a:pt x="21242" y="67851"/>
                    <a:pt x="15049" y="58339"/>
                    <a:pt x="15049" y="40295"/>
                  </a:cubicBezTo>
                  <a:cubicBezTo>
                    <a:pt x="15049" y="22251"/>
                    <a:pt x="21026" y="12308"/>
                    <a:pt x="32307" y="12308"/>
                  </a:cubicBezTo>
                  <a:cubicBezTo>
                    <a:pt x="39147" y="12308"/>
                    <a:pt x="43828" y="15893"/>
                    <a:pt x="46972" y="23231"/>
                  </a:cubicBezTo>
                  <a:lnTo>
                    <a:pt x="60437" y="19885"/>
                  </a:lnTo>
                  <a:cubicBezTo>
                    <a:pt x="56549" y="7027"/>
                    <a:pt x="46756" y="0"/>
                    <a:pt x="32667" y="0"/>
                  </a:cubicBezTo>
                  <a:cubicBezTo>
                    <a:pt x="12265" y="0"/>
                    <a:pt x="0" y="14364"/>
                    <a:pt x="0" y="39435"/>
                  </a:cubicBezTo>
                  <a:cubicBezTo>
                    <a:pt x="0" y="64505"/>
                    <a:pt x="11497" y="80805"/>
                    <a:pt x="30051" y="80805"/>
                  </a:cubicBezTo>
                  <a:cubicBezTo>
                    <a:pt x="39268" y="80805"/>
                    <a:pt x="45892" y="77794"/>
                    <a:pt x="50885" y="71293"/>
                  </a:cubicBezTo>
                  <a:lnTo>
                    <a:pt x="51653" y="79514"/>
                  </a:lnTo>
                  <a:lnTo>
                    <a:pt x="51653" y="79514"/>
                  </a:lnTo>
                  <a:close/>
                </a:path>
              </a:pathLst>
            </a:custGeom>
            <a:grpFill/>
            <a:ln w="0" cap="flat">
              <a:noFill/>
              <a:prstDash val="solid"/>
              <a:miter/>
            </a:ln>
          </p:spPr>
          <p:txBody>
            <a:bodyPr rtlCol="0" anchor="ctr"/>
            <a:lstStyle/>
            <a:p>
              <a:endParaRPr lang="en-BG"/>
            </a:p>
          </p:txBody>
        </p:sp>
        <p:sp>
          <p:nvSpPr>
            <p:cNvPr id="42" name="Freeform 41">
              <a:extLst>
                <a:ext uri="{FF2B5EF4-FFF2-40B4-BE49-F238E27FC236}">
                  <a16:creationId xmlns:a16="http://schemas.microsoft.com/office/drawing/2014/main" id="{FFE6C034-6A63-8946-B1CD-DAF6C6B0481E}"/>
                </a:ext>
              </a:extLst>
            </p:cNvPr>
            <p:cNvSpPr/>
            <p:nvPr/>
          </p:nvSpPr>
          <p:spPr>
            <a:xfrm>
              <a:off x="10948531" y="6442749"/>
              <a:ext cx="59261" cy="78558"/>
            </a:xfrm>
            <a:custGeom>
              <a:avLst/>
              <a:gdLst>
                <a:gd name="connsiteX0" fmla="*/ 0 w 59261"/>
                <a:gd name="connsiteY0" fmla="*/ 78558 h 78558"/>
                <a:gd name="connsiteX1" fmla="*/ 14545 w 59261"/>
                <a:gd name="connsiteY1" fmla="*/ 78558 h 78558"/>
                <a:gd name="connsiteX2" fmla="*/ 14545 w 59261"/>
                <a:gd name="connsiteY2" fmla="*/ 46676 h 78558"/>
                <a:gd name="connsiteX3" fmla="*/ 28106 w 59261"/>
                <a:gd name="connsiteY3" fmla="*/ 46676 h 78558"/>
                <a:gd name="connsiteX4" fmla="*/ 43300 w 59261"/>
                <a:gd name="connsiteY4" fmla="*/ 78558 h 78558"/>
                <a:gd name="connsiteX5" fmla="*/ 59261 w 59261"/>
                <a:gd name="connsiteY5" fmla="*/ 78558 h 78558"/>
                <a:gd name="connsiteX6" fmla="*/ 41788 w 59261"/>
                <a:gd name="connsiteY6" fmla="*/ 43330 h 78558"/>
                <a:gd name="connsiteX7" fmla="*/ 56333 w 59261"/>
                <a:gd name="connsiteY7" fmla="*/ 23446 h 78558"/>
                <a:gd name="connsiteX8" fmla="*/ 26714 w 59261"/>
                <a:gd name="connsiteY8" fmla="*/ 0 h 78558"/>
                <a:gd name="connsiteX9" fmla="*/ 0 w 59261"/>
                <a:gd name="connsiteY9" fmla="*/ 0 h 78558"/>
                <a:gd name="connsiteX10" fmla="*/ 0 w 59261"/>
                <a:gd name="connsiteY10" fmla="*/ 78558 h 78558"/>
                <a:gd name="connsiteX11" fmla="*/ 0 w 59261"/>
                <a:gd name="connsiteY11" fmla="*/ 78558 h 78558"/>
                <a:gd name="connsiteX12" fmla="*/ 14545 w 59261"/>
                <a:gd name="connsiteY12" fmla="*/ 34248 h 78558"/>
                <a:gd name="connsiteX13" fmla="*/ 14545 w 59261"/>
                <a:gd name="connsiteY13" fmla="*/ 12428 h 78558"/>
                <a:gd name="connsiteX14" fmla="*/ 27458 w 59261"/>
                <a:gd name="connsiteY14" fmla="*/ 12428 h 78558"/>
                <a:gd name="connsiteX15" fmla="*/ 41356 w 59261"/>
                <a:gd name="connsiteY15" fmla="*/ 23350 h 78558"/>
                <a:gd name="connsiteX16" fmla="*/ 27458 w 59261"/>
                <a:gd name="connsiteY16" fmla="*/ 34272 h 78558"/>
                <a:gd name="connsiteX17" fmla="*/ 14545 w 59261"/>
                <a:gd name="connsiteY17" fmla="*/ 34272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9261" h="78558">
                  <a:moveTo>
                    <a:pt x="0" y="78558"/>
                  </a:moveTo>
                  <a:lnTo>
                    <a:pt x="14545" y="78558"/>
                  </a:lnTo>
                  <a:lnTo>
                    <a:pt x="14545" y="46676"/>
                  </a:lnTo>
                  <a:lnTo>
                    <a:pt x="28106" y="46676"/>
                  </a:lnTo>
                  <a:lnTo>
                    <a:pt x="43300" y="78558"/>
                  </a:lnTo>
                  <a:lnTo>
                    <a:pt x="59261" y="78558"/>
                  </a:lnTo>
                  <a:lnTo>
                    <a:pt x="41788" y="43330"/>
                  </a:lnTo>
                  <a:cubicBezTo>
                    <a:pt x="51125" y="40749"/>
                    <a:pt x="56333" y="33723"/>
                    <a:pt x="56333" y="23446"/>
                  </a:cubicBezTo>
                  <a:cubicBezTo>
                    <a:pt x="56333" y="7457"/>
                    <a:pt x="46564" y="0"/>
                    <a:pt x="26714" y="0"/>
                  </a:cubicBezTo>
                  <a:lnTo>
                    <a:pt x="0" y="0"/>
                  </a:lnTo>
                  <a:lnTo>
                    <a:pt x="0" y="78558"/>
                  </a:lnTo>
                  <a:lnTo>
                    <a:pt x="0" y="78558"/>
                  </a:lnTo>
                  <a:close/>
                  <a:moveTo>
                    <a:pt x="14545" y="34248"/>
                  </a:moveTo>
                  <a:lnTo>
                    <a:pt x="14545" y="12428"/>
                  </a:lnTo>
                  <a:lnTo>
                    <a:pt x="27458" y="12428"/>
                  </a:lnTo>
                  <a:cubicBezTo>
                    <a:pt x="36795" y="12428"/>
                    <a:pt x="41356" y="15678"/>
                    <a:pt x="41356" y="23350"/>
                  </a:cubicBezTo>
                  <a:cubicBezTo>
                    <a:pt x="41356" y="31022"/>
                    <a:pt x="36891" y="34272"/>
                    <a:pt x="27458" y="34272"/>
                  </a:cubicBezTo>
                  <a:lnTo>
                    <a:pt x="14545" y="34272"/>
                  </a:lnTo>
                  <a:close/>
                </a:path>
              </a:pathLst>
            </a:custGeom>
            <a:grpFill/>
            <a:ln w="0" cap="flat">
              <a:noFill/>
              <a:prstDash val="solid"/>
              <a:miter/>
            </a:ln>
          </p:spPr>
          <p:txBody>
            <a:bodyPr rtlCol="0" anchor="ctr"/>
            <a:lstStyle/>
            <a:p>
              <a:endParaRPr lang="en-BG"/>
            </a:p>
          </p:txBody>
        </p:sp>
        <p:sp>
          <p:nvSpPr>
            <p:cNvPr id="43" name="Freeform 42">
              <a:extLst>
                <a:ext uri="{FF2B5EF4-FFF2-40B4-BE49-F238E27FC236}">
                  <a16:creationId xmlns:a16="http://schemas.microsoft.com/office/drawing/2014/main" id="{0A213C3A-E0AB-BF4C-ADC9-7925001ACBEB}"/>
                </a:ext>
              </a:extLst>
            </p:cNvPr>
            <p:cNvSpPr/>
            <p:nvPr/>
          </p:nvSpPr>
          <p:spPr>
            <a:xfrm>
              <a:off x="11021546" y="6441769"/>
              <a:ext cx="65549" cy="80828"/>
            </a:xfrm>
            <a:custGeom>
              <a:avLst/>
              <a:gdLst>
                <a:gd name="connsiteX0" fmla="*/ 0 w 65549"/>
                <a:gd name="connsiteY0" fmla="*/ 40414 h 80828"/>
                <a:gd name="connsiteX1" fmla="*/ 32763 w 65549"/>
                <a:gd name="connsiteY1" fmla="*/ 80829 h 80828"/>
                <a:gd name="connsiteX2" fmla="*/ 65550 w 65549"/>
                <a:gd name="connsiteY2" fmla="*/ 40414 h 80828"/>
                <a:gd name="connsiteX3" fmla="*/ 32763 w 65549"/>
                <a:gd name="connsiteY3" fmla="*/ 0 h 80828"/>
                <a:gd name="connsiteX4" fmla="*/ 0 w 65549"/>
                <a:gd name="connsiteY4" fmla="*/ 40414 h 80828"/>
                <a:gd name="connsiteX5" fmla="*/ 0 w 65549"/>
                <a:gd name="connsiteY5" fmla="*/ 40414 h 80828"/>
                <a:gd name="connsiteX6" fmla="*/ 15097 w 65549"/>
                <a:gd name="connsiteY6" fmla="*/ 40414 h 80828"/>
                <a:gd name="connsiteX7" fmla="*/ 32787 w 65549"/>
                <a:gd name="connsiteY7" fmla="*/ 13073 h 80828"/>
                <a:gd name="connsiteX8" fmla="*/ 50477 w 65549"/>
                <a:gd name="connsiteY8" fmla="*/ 40414 h 80828"/>
                <a:gd name="connsiteX9" fmla="*/ 32787 w 65549"/>
                <a:gd name="connsiteY9" fmla="*/ 67541 h 80828"/>
                <a:gd name="connsiteX10" fmla="*/ 15097 w 65549"/>
                <a:gd name="connsiteY10" fmla="*/ 40414 h 80828"/>
                <a:gd name="connsiteX11" fmla="*/ 15097 w 65549"/>
                <a:gd name="connsiteY11" fmla="*/ 40414 h 8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549" h="80828">
                  <a:moveTo>
                    <a:pt x="0" y="40414"/>
                  </a:moveTo>
                  <a:cubicBezTo>
                    <a:pt x="0" y="65915"/>
                    <a:pt x="12577" y="80829"/>
                    <a:pt x="32763" y="80829"/>
                  </a:cubicBezTo>
                  <a:cubicBezTo>
                    <a:pt x="52949" y="80829"/>
                    <a:pt x="65550" y="65915"/>
                    <a:pt x="65550" y="40414"/>
                  </a:cubicBezTo>
                  <a:cubicBezTo>
                    <a:pt x="65550" y="14913"/>
                    <a:pt x="53069" y="0"/>
                    <a:pt x="32763" y="0"/>
                  </a:cubicBezTo>
                  <a:cubicBezTo>
                    <a:pt x="12457" y="0"/>
                    <a:pt x="0" y="14794"/>
                    <a:pt x="0" y="40414"/>
                  </a:cubicBezTo>
                  <a:lnTo>
                    <a:pt x="0" y="40414"/>
                  </a:lnTo>
                  <a:close/>
                  <a:moveTo>
                    <a:pt x="15097" y="40414"/>
                  </a:moveTo>
                  <a:cubicBezTo>
                    <a:pt x="15097" y="22370"/>
                    <a:pt x="21290" y="13073"/>
                    <a:pt x="32787" y="13073"/>
                  </a:cubicBezTo>
                  <a:cubicBezTo>
                    <a:pt x="44284" y="13073"/>
                    <a:pt x="50477" y="22370"/>
                    <a:pt x="50477" y="40414"/>
                  </a:cubicBezTo>
                  <a:cubicBezTo>
                    <a:pt x="50477" y="58459"/>
                    <a:pt x="44284" y="67541"/>
                    <a:pt x="32787" y="67541"/>
                  </a:cubicBezTo>
                  <a:cubicBezTo>
                    <a:pt x="21290" y="67541"/>
                    <a:pt x="15097" y="58363"/>
                    <a:pt x="15097" y="40414"/>
                  </a:cubicBezTo>
                  <a:lnTo>
                    <a:pt x="15097" y="40414"/>
                  </a:lnTo>
                  <a:close/>
                </a:path>
              </a:pathLst>
            </a:custGeom>
            <a:grpFill/>
            <a:ln w="0" cap="flat">
              <a:noFill/>
              <a:prstDash val="solid"/>
              <a:miter/>
            </a:ln>
          </p:spPr>
          <p:txBody>
            <a:bodyPr rtlCol="0" anchor="ctr"/>
            <a:lstStyle/>
            <a:p>
              <a:endParaRPr lang="en-BG"/>
            </a:p>
          </p:txBody>
        </p:sp>
        <p:sp>
          <p:nvSpPr>
            <p:cNvPr id="44" name="Freeform 43">
              <a:extLst>
                <a:ext uri="{FF2B5EF4-FFF2-40B4-BE49-F238E27FC236}">
                  <a16:creationId xmlns:a16="http://schemas.microsoft.com/office/drawing/2014/main" id="{DFFC7EC0-2C8E-B640-BE46-147E9BAB06B2}"/>
                </a:ext>
              </a:extLst>
            </p:cNvPr>
            <p:cNvSpPr/>
            <p:nvPr/>
          </p:nvSpPr>
          <p:spPr>
            <a:xfrm>
              <a:off x="11105385" y="6442725"/>
              <a:ext cx="59789" cy="79872"/>
            </a:xfrm>
            <a:custGeom>
              <a:avLst/>
              <a:gdLst>
                <a:gd name="connsiteX0" fmla="*/ 0 w 59789"/>
                <a:gd name="connsiteY0" fmla="*/ 49735 h 79872"/>
                <a:gd name="connsiteX1" fmla="*/ 29835 w 59789"/>
                <a:gd name="connsiteY1" fmla="*/ 79873 h 79872"/>
                <a:gd name="connsiteX2" fmla="*/ 59789 w 59789"/>
                <a:gd name="connsiteY2" fmla="*/ 52101 h 79872"/>
                <a:gd name="connsiteX3" fmla="*/ 59789 w 59789"/>
                <a:gd name="connsiteY3" fmla="*/ 0 h 79872"/>
                <a:gd name="connsiteX4" fmla="*/ 45364 w 59789"/>
                <a:gd name="connsiteY4" fmla="*/ 0 h 79872"/>
                <a:gd name="connsiteX5" fmla="*/ 45364 w 59789"/>
                <a:gd name="connsiteY5" fmla="*/ 50357 h 79872"/>
                <a:gd name="connsiteX6" fmla="*/ 29835 w 59789"/>
                <a:gd name="connsiteY6" fmla="*/ 66895 h 79872"/>
                <a:gd name="connsiteX7" fmla="*/ 14857 w 59789"/>
                <a:gd name="connsiteY7" fmla="*/ 50357 h 79872"/>
                <a:gd name="connsiteX8" fmla="*/ 14857 w 59789"/>
                <a:gd name="connsiteY8" fmla="*/ 0 h 79872"/>
                <a:gd name="connsiteX9" fmla="*/ 0 w 59789"/>
                <a:gd name="connsiteY9" fmla="*/ 0 h 79872"/>
                <a:gd name="connsiteX10" fmla="*/ 0 w 59789"/>
                <a:gd name="connsiteY10" fmla="*/ 49711 h 79872"/>
                <a:gd name="connsiteX11" fmla="*/ 0 w 59789"/>
                <a:gd name="connsiteY11" fmla="*/ 49711 h 7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789" h="79872">
                  <a:moveTo>
                    <a:pt x="0" y="49735"/>
                  </a:moveTo>
                  <a:cubicBezTo>
                    <a:pt x="0" y="69954"/>
                    <a:pt x="9649" y="79873"/>
                    <a:pt x="29835" y="79873"/>
                  </a:cubicBezTo>
                  <a:cubicBezTo>
                    <a:pt x="50020" y="79873"/>
                    <a:pt x="59789" y="69931"/>
                    <a:pt x="59789" y="52101"/>
                  </a:cubicBezTo>
                  <a:lnTo>
                    <a:pt x="59789" y="0"/>
                  </a:lnTo>
                  <a:lnTo>
                    <a:pt x="45364" y="0"/>
                  </a:lnTo>
                  <a:lnTo>
                    <a:pt x="45364" y="50357"/>
                  </a:lnTo>
                  <a:cubicBezTo>
                    <a:pt x="45364" y="61829"/>
                    <a:pt x="41452" y="66895"/>
                    <a:pt x="29835" y="66895"/>
                  </a:cubicBezTo>
                  <a:cubicBezTo>
                    <a:pt x="18866" y="66895"/>
                    <a:pt x="14857" y="61494"/>
                    <a:pt x="14857" y="50357"/>
                  </a:cubicBezTo>
                  <a:lnTo>
                    <a:pt x="14857" y="0"/>
                  </a:lnTo>
                  <a:lnTo>
                    <a:pt x="0" y="0"/>
                  </a:lnTo>
                  <a:lnTo>
                    <a:pt x="0" y="49711"/>
                  </a:lnTo>
                  <a:lnTo>
                    <a:pt x="0" y="49711"/>
                  </a:lnTo>
                  <a:close/>
                </a:path>
              </a:pathLst>
            </a:custGeom>
            <a:grpFill/>
            <a:ln w="0" cap="flat">
              <a:noFill/>
              <a:prstDash val="solid"/>
              <a:miter/>
            </a:ln>
          </p:spPr>
          <p:txBody>
            <a:bodyPr rtlCol="0" anchor="ctr"/>
            <a:lstStyle/>
            <a:p>
              <a:endParaRPr lang="en-BG"/>
            </a:p>
          </p:txBody>
        </p:sp>
        <p:sp>
          <p:nvSpPr>
            <p:cNvPr id="45" name="Freeform 44">
              <a:extLst>
                <a:ext uri="{FF2B5EF4-FFF2-40B4-BE49-F238E27FC236}">
                  <a16:creationId xmlns:a16="http://schemas.microsoft.com/office/drawing/2014/main" id="{14E64C28-DA3D-9E48-8F3F-78F4DDCDB96E}"/>
                </a:ext>
              </a:extLst>
            </p:cNvPr>
            <p:cNvSpPr/>
            <p:nvPr/>
          </p:nvSpPr>
          <p:spPr>
            <a:xfrm>
              <a:off x="11188217" y="6442749"/>
              <a:ext cx="55780" cy="78558"/>
            </a:xfrm>
            <a:custGeom>
              <a:avLst/>
              <a:gdLst>
                <a:gd name="connsiteX0" fmla="*/ 0 w 55780"/>
                <a:gd name="connsiteY0" fmla="*/ 78558 h 78558"/>
                <a:gd name="connsiteX1" fmla="*/ 14977 w 55780"/>
                <a:gd name="connsiteY1" fmla="*/ 78558 h 78558"/>
                <a:gd name="connsiteX2" fmla="*/ 14977 w 55780"/>
                <a:gd name="connsiteY2" fmla="*/ 46796 h 78558"/>
                <a:gd name="connsiteX3" fmla="*/ 29619 w 55780"/>
                <a:gd name="connsiteY3" fmla="*/ 46796 h 78558"/>
                <a:gd name="connsiteX4" fmla="*/ 55781 w 55780"/>
                <a:gd name="connsiteY4" fmla="*/ 23350 h 78558"/>
                <a:gd name="connsiteX5" fmla="*/ 28226 w 55780"/>
                <a:gd name="connsiteY5" fmla="*/ 0 h 78558"/>
                <a:gd name="connsiteX6" fmla="*/ 0 w 55780"/>
                <a:gd name="connsiteY6" fmla="*/ 0 h 78558"/>
                <a:gd name="connsiteX7" fmla="*/ 0 w 55780"/>
                <a:gd name="connsiteY7" fmla="*/ 78558 h 78558"/>
                <a:gd name="connsiteX8" fmla="*/ 0 w 55780"/>
                <a:gd name="connsiteY8" fmla="*/ 78558 h 78558"/>
                <a:gd name="connsiteX9" fmla="*/ 14953 w 55780"/>
                <a:gd name="connsiteY9" fmla="*/ 34344 h 78558"/>
                <a:gd name="connsiteX10" fmla="*/ 14953 w 55780"/>
                <a:gd name="connsiteY10" fmla="*/ 12213 h 78558"/>
                <a:gd name="connsiteX11" fmla="*/ 26018 w 55780"/>
                <a:gd name="connsiteY11" fmla="*/ 12213 h 78558"/>
                <a:gd name="connsiteX12" fmla="*/ 40876 w 55780"/>
                <a:gd name="connsiteY12" fmla="*/ 23326 h 78558"/>
                <a:gd name="connsiteX13" fmla="*/ 26018 w 55780"/>
                <a:gd name="connsiteY13" fmla="*/ 34344 h 78558"/>
                <a:gd name="connsiteX14" fmla="*/ 14953 w 55780"/>
                <a:gd name="connsiteY14" fmla="*/ 34344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780" h="78558">
                  <a:moveTo>
                    <a:pt x="0" y="78558"/>
                  </a:moveTo>
                  <a:lnTo>
                    <a:pt x="14977" y="78558"/>
                  </a:lnTo>
                  <a:lnTo>
                    <a:pt x="14977" y="46796"/>
                  </a:lnTo>
                  <a:lnTo>
                    <a:pt x="29619" y="46796"/>
                  </a:lnTo>
                  <a:cubicBezTo>
                    <a:pt x="46756" y="46796"/>
                    <a:pt x="55781" y="38574"/>
                    <a:pt x="55781" y="23350"/>
                  </a:cubicBezTo>
                  <a:cubicBezTo>
                    <a:pt x="55781" y="8126"/>
                    <a:pt x="46660" y="0"/>
                    <a:pt x="28226" y="0"/>
                  </a:cubicBezTo>
                  <a:lnTo>
                    <a:pt x="0" y="0"/>
                  </a:lnTo>
                  <a:lnTo>
                    <a:pt x="0" y="78558"/>
                  </a:lnTo>
                  <a:lnTo>
                    <a:pt x="0" y="78558"/>
                  </a:lnTo>
                  <a:close/>
                  <a:moveTo>
                    <a:pt x="14953" y="34344"/>
                  </a:moveTo>
                  <a:lnTo>
                    <a:pt x="14953" y="12213"/>
                  </a:lnTo>
                  <a:lnTo>
                    <a:pt x="26018" y="12213"/>
                  </a:lnTo>
                  <a:cubicBezTo>
                    <a:pt x="36219" y="12213"/>
                    <a:pt x="40876" y="14818"/>
                    <a:pt x="40876" y="23326"/>
                  </a:cubicBezTo>
                  <a:cubicBezTo>
                    <a:pt x="40876" y="31834"/>
                    <a:pt x="36099" y="34344"/>
                    <a:pt x="26018" y="34344"/>
                  </a:cubicBezTo>
                  <a:lnTo>
                    <a:pt x="14953" y="34344"/>
                  </a:lnTo>
                  <a:close/>
                </a:path>
              </a:pathLst>
            </a:custGeom>
            <a:grpFill/>
            <a:ln w="0" cap="flat">
              <a:noFill/>
              <a:prstDash val="solid"/>
              <a:miter/>
            </a:ln>
          </p:spPr>
          <p:txBody>
            <a:bodyPr rtlCol="0" anchor="ctr"/>
            <a:lstStyle/>
            <a:p>
              <a:endParaRPr lang="en-BG"/>
            </a:p>
          </p:txBody>
        </p:sp>
        <p:sp>
          <p:nvSpPr>
            <p:cNvPr id="46" name="Freeform 45">
              <a:extLst>
                <a:ext uri="{FF2B5EF4-FFF2-40B4-BE49-F238E27FC236}">
                  <a16:creationId xmlns:a16="http://schemas.microsoft.com/office/drawing/2014/main" id="{8D5556D6-D35E-E844-9A9A-E4EEC96CC5F0}"/>
                </a:ext>
              </a:extLst>
            </p:cNvPr>
            <p:cNvSpPr/>
            <p:nvPr/>
          </p:nvSpPr>
          <p:spPr>
            <a:xfrm>
              <a:off x="10870596" y="6318040"/>
              <a:ext cx="61109" cy="78558"/>
            </a:xfrm>
            <a:custGeom>
              <a:avLst/>
              <a:gdLst>
                <a:gd name="connsiteX0" fmla="*/ 0 w 61109"/>
                <a:gd name="connsiteY0" fmla="*/ 78558 h 78558"/>
                <a:gd name="connsiteX1" fmla="*/ 23546 w 61109"/>
                <a:gd name="connsiteY1" fmla="*/ 78558 h 78558"/>
                <a:gd name="connsiteX2" fmla="*/ 61109 w 61109"/>
                <a:gd name="connsiteY2" fmla="*/ 39004 h 78558"/>
                <a:gd name="connsiteX3" fmla="*/ 24098 w 61109"/>
                <a:gd name="connsiteY3" fmla="*/ 0 h 78558"/>
                <a:gd name="connsiteX4" fmla="*/ 0 w 61109"/>
                <a:gd name="connsiteY4" fmla="*/ 0 h 78558"/>
                <a:gd name="connsiteX5" fmla="*/ 0 w 61109"/>
                <a:gd name="connsiteY5" fmla="*/ 78558 h 78558"/>
                <a:gd name="connsiteX6" fmla="*/ 0 w 61109"/>
                <a:gd name="connsiteY6" fmla="*/ 78558 h 78558"/>
                <a:gd name="connsiteX7" fmla="*/ 14857 w 61109"/>
                <a:gd name="connsiteY7" fmla="*/ 65605 h 78558"/>
                <a:gd name="connsiteX8" fmla="*/ 14857 w 61109"/>
                <a:gd name="connsiteY8" fmla="*/ 13097 h 78558"/>
                <a:gd name="connsiteX9" fmla="*/ 22778 w 61109"/>
                <a:gd name="connsiteY9" fmla="*/ 13097 h 78558"/>
                <a:gd name="connsiteX10" fmla="*/ 46012 w 61109"/>
                <a:gd name="connsiteY10" fmla="*/ 39028 h 78558"/>
                <a:gd name="connsiteX11" fmla="*/ 22994 w 61109"/>
                <a:gd name="connsiteY11" fmla="*/ 65605 h 78558"/>
                <a:gd name="connsiteX12" fmla="*/ 14857 w 61109"/>
                <a:gd name="connsiteY12" fmla="*/ 65605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109" h="78558">
                  <a:moveTo>
                    <a:pt x="0" y="78558"/>
                  </a:moveTo>
                  <a:lnTo>
                    <a:pt x="23546" y="78558"/>
                  </a:lnTo>
                  <a:cubicBezTo>
                    <a:pt x="48508" y="78558"/>
                    <a:pt x="61109" y="65270"/>
                    <a:pt x="61109" y="39004"/>
                  </a:cubicBezTo>
                  <a:cubicBezTo>
                    <a:pt x="61109" y="12739"/>
                    <a:pt x="48532" y="0"/>
                    <a:pt x="24098" y="0"/>
                  </a:cubicBezTo>
                  <a:lnTo>
                    <a:pt x="0" y="0"/>
                  </a:lnTo>
                  <a:lnTo>
                    <a:pt x="0" y="78558"/>
                  </a:lnTo>
                  <a:lnTo>
                    <a:pt x="0" y="78558"/>
                  </a:lnTo>
                  <a:close/>
                  <a:moveTo>
                    <a:pt x="14857" y="65605"/>
                  </a:moveTo>
                  <a:lnTo>
                    <a:pt x="14857" y="13097"/>
                  </a:lnTo>
                  <a:lnTo>
                    <a:pt x="22778" y="13097"/>
                  </a:lnTo>
                  <a:cubicBezTo>
                    <a:pt x="38739" y="13097"/>
                    <a:pt x="46012" y="21199"/>
                    <a:pt x="46012" y="39028"/>
                  </a:cubicBezTo>
                  <a:cubicBezTo>
                    <a:pt x="46012" y="57718"/>
                    <a:pt x="39268" y="65605"/>
                    <a:pt x="22994" y="65605"/>
                  </a:cubicBezTo>
                  <a:lnTo>
                    <a:pt x="14857" y="65605"/>
                  </a:lnTo>
                  <a:close/>
                </a:path>
              </a:pathLst>
            </a:custGeom>
            <a:grpFill/>
            <a:ln w="0" cap="flat">
              <a:noFill/>
              <a:prstDash val="solid"/>
              <a:miter/>
            </a:ln>
          </p:spPr>
          <p:txBody>
            <a:bodyPr rtlCol="0" anchor="ctr"/>
            <a:lstStyle/>
            <a:p>
              <a:endParaRPr lang="en-BG"/>
            </a:p>
          </p:txBody>
        </p:sp>
        <p:sp>
          <p:nvSpPr>
            <p:cNvPr id="47" name="Freeform 46">
              <a:extLst>
                <a:ext uri="{FF2B5EF4-FFF2-40B4-BE49-F238E27FC236}">
                  <a16:creationId xmlns:a16="http://schemas.microsoft.com/office/drawing/2014/main" id="{F2E4998C-6720-364D-804F-608A1687E716}"/>
                </a:ext>
              </a:extLst>
            </p:cNvPr>
            <p:cNvSpPr/>
            <p:nvPr/>
          </p:nvSpPr>
          <p:spPr>
            <a:xfrm>
              <a:off x="10950835" y="6318040"/>
              <a:ext cx="52876" cy="78558"/>
            </a:xfrm>
            <a:custGeom>
              <a:avLst/>
              <a:gdLst>
                <a:gd name="connsiteX0" fmla="*/ 0 w 52876"/>
                <a:gd name="connsiteY0" fmla="*/ 78558 h 78558"/>
                <a:gd name="connsiteX1" fmla="*/ 52877 w 52876"/>
                <a:gd name="connsiteY1" fmla="*/ 78558 h 78558"/>
                <a:gd name="connsiteX2" fmla="*/ 52877 w 52876"/>
                <a:gd name="connsiteY2" fmla="*/ 65151 h 78558"/>
                <a:gd name="connsiteX3" fmla="*/ 14785 w 52876"/>
                <a:gd name="connsiteY3" fmla="*/ 65151 h 78558"/>
                <a:gd name="connsiteX4" fmla="*/ 14785 w 52876"/>
                <a:gd name="connsiteY4" fmla="*/ 43880 h 78558"/>
                <a:gd name="connsiteX5" fmla="*/ 41356 w 52876"/>
                <a:gd name="connsiteY5" fmla="*/ 43880 h 78558"/>
                <a:gd name="connsiteX6" fmla="*/ 41356 w 52876"/>
                <a:gd name="connsiteY6" fmla="*/ 31333 h 78558"/>
                <a:gd name="connsiteX7" fmla="*/ 14785 w 52876"/>
                <a:gd name="connsiteY7" fmla="*/ 31333 h 78558"/>
                <a:gd name="connsiteX8" fmla="*/ 14785 w 52876"/>
                <a:gd name="connsiteY8" fmla="*/ 12762 h 78558"/>
                <a:gd name="connsiteX9" fmla="*/ 51221 w 52876"/>
                <a:gd name="connsiteY9" fmla="*/ 12762 h 78558"/>
                <a:gd name="connsiteX10" fmla="*/ 51221 w 52876"/>
                <a:gd name="connsiteY10" fmla="*/ 0 h 78558"/>
                <a:gd name="connsiteX11" fmla="*/ 0 w 52876"/>
                <a:gd name="connsiteY11" fmla="*/ 0 h 78558"/>
                <a:gd name="connsiteX12" fmla="*/ 0 w 52876"/>
                <a:gd name="connsiteY12" fmla="*/ 78558 h 78558"/>
                <a:gd name="connsiteX13" fmla="*/ 0 w 52876"/>
                <a:gd name="connsiteY13" fmla="*/ 78558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876" h="78558">
                  <a:moveTo>
                    <a:pt x="0" y="78558"/>
                  </a:moveTo>
                  <a:lnTo>
                    <a:pt x="52877" y="78558"/>
                  </a:lnTo>
                  <a:lnTo>
                    <a:pt x="52877" y="65151"/>
                  </a:lnTo>
                  <a:lnTo>
                    <a:pt x="14785" y="65151"/>
                  </a:lnTo>
                  <a:lnTo>
                    <a:pt x="14785" y="43880"/>
                  </a:lnTo>
                  <a:lnTo>
                    <a:pt x="41356" y="43880"/>
                  </a:lnTo>
                  <a:lnTo>
                    <a:pt x="41356" y="31333"/>
                  </a:lnTo>
                  <a:lnTo>
                    <a:pt x="14785" y="31333"/>
                  </a:lnTo>
                  <a:lnTo>
                    <a:pt x="14785" y="12762"/>
                  </a:lnTo>
                  <a:lnTo>
                    <a:pt x="51221" y="12762"/>
                  </a:lnTo>
                  <a:lnTo>
                    <a:pt x="51221" y="0"/>
                  </a:lnTo>
                  <a:lnTo>
                    <a:pt x="0" y="0"/>
                  </a:lnTo>
                  <a:lnTo>
                    <a:pt x="0" y="78558"/>
                  </a:lnTo>
                  <a:lnTo>
                    <a:pt x="0" y="78558"/>
                  </a:lnTo>
                  <a:close/>
                </a:path>
              </a:pathLst>
            </a:custGeom>
            <a:grpFill/>
            <a:ln w="0" cap="flat">
              <a:noFill/>
              <a:prstDash val="solid"/>
              <a:miter/>
            </a:ln>
          </p:spPr>
          <p:txBody>
            <a:bodyPr rtlCol="0" anchor="ctr"/>
            <a:lstStyle/>
            <a:p>
              <a:endParaRPr lang="en-BG"/>
            </a:p>
          </p:txBody>
        </p:sp>
        <p:sp>
          <p:nvSpPr>
            <p:cNvPr id="48" name="Freeform 47">
              <a:extLst>
                <a:ext uri="{FF2B5EF4-FFF2-40B4-BE49-F238E27FC236}">
                  <a16:creationId xmlns:a16="http://schemas.microsoft.com/office/drawing/2014/main" id="{1AAC1177-CE2D-C244-8577-4FC18EBA06A4}"/>
                </a:ext>
              </a:extLst>
            </p:cNvPr>
            <p:cNvSpPr/>
            <p:nvPr/>
          </p:nvSpPr>
          <p:spPr>
            <a:xfrm>
              <a:off x="11021210" y="6318040"/>
              <a:ext cx="59789" cy="79848"/>
            </a:xfrm>
            <a:custGeom>
              <a:avLst/>
              <a:gdLst>
                <a:gd name="connsiteX0" fmla="*/ 0 w 59789"/>
                <a:gd name="connsiteY0" fmla="*/ 49711 h 79848"/>
                <a:gd name="connsiteX1" fmla="*/ 29835 w 59789"/>
                <a:gd name="connsiteY1" fmla="*/ 79849 h 79848"/>
                <a:gd name="connsiteX2" fmla="*/ 59789 w 59789"/>
                <a:gd name="connsiteY2" fmla="*/ 52077 h 79848"/>
                <a:gd name="connsiteX3" fmla="*/ 59789 w 59789"/>
                <a:gd name="connsiteY3" fmla="*/ 0 h 79848"/>
                <a:gd name="connsiteX4" fmla="*/ 45364 w 59789"/>
                <a:gd name="connsiteY4" fmla="*/ 0 h 79848"/>
                <a:gd name="connsiteX5" fmla="*/ 45364 w 59789"/>
                <a:gd name="connsiteY5" fmla="*/ 50357 h 79848"/>
                <a:gd name="connsiteX6" fmla="*/ 29859 w 59789"/>
                <a:gd name="connsiteY6" fmla="*/ 66895 h 79848"/>
                <a:gd name="connsiteX7" fmla="*/ 14881 w 59789"/>
                <a:gd name="connsiteY7" fmla="*/ 50357 h 79848"/>
                <a:gd name="connsiteX8" fmla="*/ 14881 w 59789"/>
                <a:gd name="connsiteY8" fmla="*/ 0 h 79848"/>
                <a:gd name="connsiteX9" fmla="*/ 24 w 59789"/>
                <a:gd name="connsiteY9" fmla="*/ 0 h 79848"/>
                <a:gd name="connsiteX10" fmla="*/ 24 w 59789"/>
                <a:gd name="connsiteY10" fmla="*/ 49711 h 79848"/>
                <a:gd name="connsiteX11" fmla="*/ 24 w 59789"/>
                <a:gd name="connsiteY11" fmla="*/ 49711 h 79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789" h="79848">
                  <a:moveTo>
                    <a:pt x="0" y="49711"/>
                  </a:moveTo>
                  <a:cubicBezTo>
                    <a:pt x="0" y="69907"/>
                    <a:pt x="9649" y="79849"/>
                    <a:pt x="29835" y="79849"/>
                  </a:cubicBezTo>
                  <a:cubicBezTo>
                    <a:pt x="50020" y="79849"/>
                    <a:pt x="59789" y="69907"/>
                    <a:pt x="59789" y="52077"/>
                  </a:cubicBezTo>
                  <a:lnTo>
                    <a:pt x="59789" y="0"/>
                  </a:lnTo>
                  <a:lnTo>
                    <a:pt x="45364" y="0"/>
                  </a:lnTo>
                  <a:lnTo>
                    <a:pt x="45364" y="50357"/>
                  </a:lnTo>
                  <a:cubicBezTo>
                    <a:pt x="45364" y="61805"/>
                    <a:pt x="41452" y="66895"/>
                    <a:pt x="29859" y="66895"/>
                  </a:cubicBezTo>
                  <a:cubicBezTo>
                    <a:pt x="18890" y="66895"/>
                    <a:pt x="14881" y="61494"/>
                    <a:pt x="14881" y="50357"/>
                  </a:cubicBezTo>
                  <a:lnTo>
                    <a:pt x="14881" y="0"/>
                  </a:lnTo>
                  <a:lnTo>
                    <a:pt x="24" y="0"/>
                  </a:lnTo>
                  <a:lnTo>
                    <a:pt x="24" y="49711"/>
                  </a:lnTo>
                  <a:lnTo>
                    <a:pt x="24" y="49711"/>
                  </a:lnTo>
                  <a:close/>
                </a:path>
              </a:pathLst>
            </a:custGeom>
            <a:grpFill/>
            <a:ln w="0" cap="flat">
              <a:noFill/>
              <a:prstDash val="solid"/>
              <a:miter/>
            </a:ln>
          </p:spPr>
          <p:txBody>
            <a:bodyPr rtlCol="0" anchor="ctr"/>
            <a:lstStyle/>
            <a:p>
              <a:endParaRPr lang="en-BG"/>
            </a:p>
          </p:txBody>
        </p:sp>
        <p:sp>
          <p:nvSpPr>
            <p:cNvPr id="49" name="Freeform 48">
              <a:extLst>
                <a:ext uri="{FF2B5EF4-FFF2-40B4-BE49-F238E27FC236}">
                  <a16:creationId xmlns:a16="http://schemas.microsoft.com/office/drawing/2014/main" id="{B414D2F3-AB50-CA48-93A7-A81ACAA8921F}"/>
                </a:ext>
              </a:extLst>
            </p:cNvPr>
            <p:cNvSpPr/>
            <p:nvPr/>
          </p:nvSpPr>
          <p:spPr>
            <a:xfrm>
              <a:off x="11097416" y="6318040"/>
              <a:ext cx="56429" cy="78558"/>
            </a:xfrm>
            <a:custGeom>
              <a:avLst/>
              <a:gdLst>
                <a:gd name="connsiteX0" fmla="*/ 20738 w 56429"/>
                <a:gd name="connsiteY0" fmla="*/ 78558 h 78558"/>
                <a:gd name="connsiteX1" fmla="*/ 35715 w 56429"/>
                <a:gd name="connsiteY1" fmla="*/ 78558 h 78558"/>
                <a:gd name="connsiteX2" fmla="*/ 35715 w 56429"/>
                <a:gd name="connsiteY2" fmla="*/ 12978 h 78558"/>
                <a:gd name="connsiteX3" fmla="*/ 56429 w 56429"/>
                <a:gd name="connsiteY3" fmla="*/ 12978 h 78558"/>
                <a:gd name="connsiteX4" fmla="*/ 56429 w 56429"/>
                <a:gd name="connsiteY4" fmla="*/ 0 h 78558"/>
                <a:gd name="connsiteX5" fmla="*/ 0 w 56429"/>
                <a:gd name="connsiteY5" fmla="*/ 0 h 78558"/>
                <a:gd name="connsiteX6" fmla="*/ 0 w 56429"/>
                <a:gd name="connsiteY6" fmla="*/ 12978 h 78558"/>
                <a:gd name="connsiteX7" fmla="*/ 20738 w 56429"/>
                <a:gd name="connsiteY7" fmla="*/ 12978 h 78558"/>
                <a:gd name="connsiteX8" fmla="*/ 20738 w 56429"/>
                <a:gd name="connsiteY8" fmla="*/ 78558 h 78558"/>
                <a:gd name="connsiteX9" fmla="*/ 20738 w 56429"/>
                <a:gd name="connsiteY9" fmla="*/ 78558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29" h="78558">
                  <a:moveTo>
                    <a:pt x="20738" y="78558"/>
                  </a:moveTo>
                  <a:lnTo>
                    <a:pt x="35715" y="78558"/>
                  </a:lnTo>
                  <a:lnTo>
                    <a:pt x="35715" y="12978"/>
                  </a:lnTo>
                  <a:lnTo>
                    <a:pt x="56429" y="12978"/>
                  </a:lnTo>
                  <a:lnTo>
                    <a:pt x="56429" y="0"/>
                  </a:lnTo>
                  <a:lnTo>
                    <a:pt x="0" y="0"/>
                  </a:lnTo>
                  <a:lnTo>
                    <a:pt x="0" y="12978"/>
                  </a:lnTo>
                  <a:lnTo>
                    <a:pt x="20738" y="12978"/>
                  </a:lnTo>
                  <a:lnTo>
                    <a:pt x="20738" y="78558"/>
                  </a:lnTo>
                  <a:lnTo>
                    <a:pt x="20738" y="78558"/>
                  </a:lnTo>
                  <a:close/>
                </a:path>
              </a:pathLst>
            </a:custGeom>
            <a:grpFill/>
            <a:ln w="0" cap="flat">
              <a:noFill/>
              <a:prstDash val="solid"/>
              <a:miter/>
            </a:ln>
          </p:spPr>
          <p:txBody>
            <a:bodyPr rtlCol="0" anchor="ctr"/>
            <a:lstStyle/>
            <a:p>
              <a:endParaRPr lang="en-BG"/>
            </a:p>
          </p:txBody>
        </p:sp>
        <p:sp>
          <p:nvSpPr>
            <p:cNvPr id="50" name="Freeform 49">
              <a:extLst>
                <a:ext uri="{FF2B5EF4-FFF2-40B4-BE49-F238E27FC236}">
                  <a16:creationId xmlns:a16="http://schemas.microsoft.com/office/drawing/2014/main" id="{201BF4F3-6861-3E4A-B64C-3FE4DBF16DD5}"/>
                </a:ext>
              </a:extLst>
            </p:cNvPr>
            <p:cNvSpPr/>
            <p:nvPr/>
          </p:nvSpPr>
          <p:spPr>
            <a:xfrm>
              <a:off x="11164382" y="6317180"/>
              <a:ext cx="56669" cy="80494"/>
            </a:xfrm>
            <a:custGeom>
              <a:avLst/>
              <a:gdLst>
                <a:gd name="connsiteX0" fmla="*/ 24 w 56669"/>
                <a:gd name="connsiteY0" fmla="*/ 61685 h 80494"/>
                <a:gd name="connsiteX1" fmla="*/ 29859 w 56669"/>
                <a:gd name="connsiteY1" fmla="*/ 80494 h 80494"/>
                <a:gd name="connsiteX2" fmla="*/ 56669 w 56669"/>
                <a:gd name="connsiteY2" fmla="*/ 57168 h 80494"/>
                <a:gd name="connsiteX3" fmla="*/ 37035 w 56669"/>
                <a:gd name="connsiteY3" fmla="*/ 34248 h 80494"/>
                <a:gd name="connsiteX4" fmla="*/ 16850 w 56669"/>
                <a:gd name="connsiteY4" fmla="*/ 20315 h 80494"/>
                <a:gd name="connsiteX5" fmla="*/ 27266 w 56669"/>
                <a:gd name="connsiteY5" fmla="*/ 11998 h 80494"/>
                <a:gd name="connsiteX6" fmla="*/ 41476 w 56669"/>
                <a:gd name="connsiteY6" fmla="*/ 22059 h 80494"/>
                <a:gd name="connsiteX7" fmla="*/ 54917 w 56669"/>
                <a:gd name="connsiteY7" fmla="*/ 17184 h 80494"/>
                <a:gd name="connsiteX8" fmla="*/ 28323 w 56669"/>
                <a:gd name="connsiteY8" fmla="*/ 0 h 80494"/>
                <a:gd name="connsiteX9" fmla="*/ 2592 w 56669"/>
                <a:gd name="connsiteY9" fmla="*/ 21390 h 80494"/>
                <a:gd name="connsiteX10" fmla="*/ 11809 w 56669"/>
                <a:gd name="connsiteY10" fmla="*/ 38670 h 80494"/>
                <a:gd name="connsiteX11" fmla="*/ 30603 w 56669"/>
                <a:gd name="connsiteY11" fmla="*/ 46772 h 80494"/>
                <a:gd name="connsiteX12" fmla="*/ 42316 w 56669"/>
                <a:gd name="connsiteY12" fmla="*/ 57790 h 80494"/>
                <a:gd name="connsiteX13" fmla="*/ 29523 w 56669"/>
                <a:gd name="connsiteY13" fmla="*/ 67732 h 80494"/>
                <a:gd name="connsiteX14" fmla="*/ 13465 w 56669"/>
                <a:gd name="connsiteY14" fmla="*/ 55734 h 80494"/>
                <a:gd name="connsiteX15" fmla="*/ 0 w 56669"/>
                <a:gd name="connsiteY15" fmla="*/ 61685 h 80494"/>
                <a:gd name="connsiteX16" fmla="*/ 0 w 56669"/>
                <a:gd name="connsiteY16" fmla="*/ 61685 h 8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669" h="80494">
                  <a:moveTo>
                    <a:pt x="24" y="61685"/>
                  </a:moveTo>
                  <a:cubicBezTo>
                    <a:pt x="5112" y="74017"/>
                    <a:pt x="15337" y="80494"/>
                    <a:pt x="29859" y="80494"/>
                  </a:cubicBezTo>
                  <a:cubicBezTo>
                    <a:pt x="46780" y="80494"/>
                    <a:pt x="56669" y="71412"/>
                    <a:pt x="56669" y="57168"/>
                  </a:cubicBezTo>
                  <a:cubicBezTo>
                    <a:pt x="56669" y="44836"/>
                    <a:pt x="50141" y="39769"/>
                    <a:pt x="37035" y="34248"/>
                  </a:cubicBezTo>
                  <a:cubicBezTo>
                    <a:pt x="24554" y="28966"/>
                    <a:pt x="16850" y="27652"/>
                    <a:pt x="16850" y="20315"/>
                  </a:cubicBezTo>
                  <a:cubicBezTo>
                    <a:pt x="16850" y="15248"/>
                    <a:pt x="20762" y="11998"/>
                    <a:pt x="27266" y="11998"/>
                  </a:cubicBezTo>
                  <a:cubicBezTo>
                    <a:pt x="33771" y="11998"/>
                    <a:pt x="38235" y="15129"/>
                    <a:pt x="41476" y="22059"/>
                  </a:cubicBezTo>
                  <a:lnTo>
                    <a:pt x="54917" y="17184"/>
                  </a:lnTo>
                  <a:cubicBezTo>
                    <a:pt x="50789" y="5832"/>
                    <a:pt x="41788" y="0"/>
                    <a:pt x="28323" y="0"/>
                  </a:cubicBezTo>
                  <a:cubicBezTo>
                    <a:pt x="12697" y="0"/>
                    <a:pt x="2592" y="8962"/>
                    <a:pt x="2592" y="21390"/>
                  </a:cubicBezTo>
                  <a:cubicBezTo>
                    <a:pt x="2592" y="28847"/>
                    <a:pt x="5857" y="34894"/>
                    <a:pt x="11809" y="38670"/>
                  </a:cubicBezTo>
                  <a:cubicBezTo>
                    <a:pt x="17018" y="42016"/>
                    <a:pt x="23522" y="44191"/>
                    <a:pt x="30603" y="46772"/>
                  </a:cubicBezTo>
                  <a:cubicBezTo>
                    <a:pt x="38739" y="49807"/>
                    <a:pt x="42316" y="52508"/>
                    <a:pt x="42316" y="57790"/>
                  </a:cubicBezTo>
                  <a:cubicBezTo>
                    <a:pt x="42316" y="63741"/>
                    <a:pt x="37539" y="67732"/>
                    <a:pt x="29523" y="67732"/>
                  </a:cubicBezTo>
                  <a:cubicBezTo>
                    <a:pt x="22466" y="67732"/>
                    <a:pt x="17594" y="64051"/>
                    <a:pt x="13465" y="55734"/>
                  </a:cubicBezTo>
                  <a:lnTo>
                    <a:pt x="0" y="61685"/>
                  </a:lnTo>
                  <a:lnTo>
                    <a:pt x="0" y="61685"/>
                  </a:lnTo>
                  <a:close/>
                </a:path>
              </a:pathLst>
            </a:custGeom>
            <a:grpFill/>
            <a:ln w="0" cap="flat">
              <a:noFill/>
              <a:prstDash val="solid"/>
              <a:miter/>
            </a:ln>
          </p:spPr>
          <p:txBody>
            <a:bodyPr rtlCol="0" anchor="ctr"/>
            <a:lstStyle/>
            <a:p>
              <a:endParaRPr lang="en-BG"/>
            </a:p>
          </p:txBody>
        </p:sp>
        <p:sp>
          <p:nvSpPr>
            <p:cNvPr id="51" name="Freeform 50">
              <a:extLst>
                <a:ext uri="{FF2B5EF4-FFF2-40B4-BE49-F238E27FC236}">
                  <a16:creationId xmlns:a16="http://schemas.microsoft.com/office/drawing/2014/main" id="{9DF224A7-BBEF-2842-82D2-5A1C97F773A6}"/>
                </a:ext>
              </a:extLst>
            </p:cNvPr>
            <p:cNvSpPr/>
            <p:nvPr/>
          </p:nvSpPr>
          <p:spPr>
            <a:xfrm>
              <a:off x="11234493" y="6317084"/>
              <a:ext cx="60101" cy="80828"/>
            </a:xfrm>
            <a:custGeom>
              <a:avLst/>
              <a:gdLst>
                <a:gd name="connsiteX0" fmla="*/ 46444 w 60101"/>
                <a:gd name="connsiteY0" fmla="*/ 56069 h 80828"/>
                <a:gd name="connsiteX1" fmla="*/ 31347 w 60101"/>
                <a:gd name="connsiteY1" fmla="*/ 67732 h 80828"/>
                <a:gd name="connsiteX2" fmla="*/ 15073 w 60101"/>
                <a:gd name="connsiteY2" fmla="*/ 40725 h 80828"/>
                <a:gd name="connsiteX3" fmla="*/ 31035 w 60101"/>
                <a:gd name="connsiteY3" fmla="*/ 12428 h 80828"/>
                <a:gd name="connsiteX4" fmla="*/ 44812 w 60101"/>
                <a:gd name="connsiteY4" fmla="*/ 23876 h 80828"/>
                <a:gd name="connsiteX5" fmla="*/ 58493 w 60101"/>
                <a:gd name="connsiteY5" fmla="*/ 20530 h 80828"/>
                <a:gd name="connsiteX6" fmla="*/ 31899 w 60101"/>
                <a:gd name="connsiteY6" fmla="*/ 0 h 80828"/>
                <a:gd name="connsiteX7" fmla="*/ 0 w 60101"/>
                <a:gd name="connsiteY7" fmla="*/ 40630 h 80828"/>
                <a:gd name="connsiteX8" fmla="*/ 31035 w 60101"/>
                <a:gd name="connsiteY8" fmla="*/ 80829 h 80828"/>
                <a:gd name="connsiteX9" fmla="*/ 60101 w 60101"/>
                <a:gd name="connsiteY9" fmla="*/ 59869 h 80828"/>
                <a:gd name="connsiteX10" fmla="*/ 46444 w 60101"/>
                <a:gd name="connsiteY10" fmla="*/ 56093 h 80828"/>
                <a:gd name="connsiteX11" fmla="*/ 46444 w 60101"/>
                <a:gd name="connsiteY11" fmla="*/ 56093 h 8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101" h="80828">
                  <a:moveTo>
                    <a:pt x="46444" y="56069"/>
                  </a:moveTo>
                  <a:cubicBezTo>
                    <a:pt x="44380" y="63310"/>
                    <a:pt x="38620" y="67732"/>
                    <a:pt x="31347" y="67732"/>
                  </a:cubicBezTo>
                  <a:cubicBezTo>
                    <a:pt x="20066" y="67732"/>
                    <a:pt x="15073" y="58889"/>
                    <a:pt x="15073" y="40725"/>
                  </a:cubicBezTo>
                  <a:cubicBezTo>
                    <a:pt x="15073" y="22561"/>
                    <a:pt x="20282" y="12428"/>
                    <a:pt x="31035" y="12428"/>
                  </a:cubicBezTo>
                  <a:cubicBezTo>
                    <a:pt x="38187" y="12428"/>
                    <a:pt x="42868" y="16324"/>
                    <a:pt x="44812" y="23876"/>
                  </a:cubicBezTo>
                  <a:lnTo>
                    <a:pt x="58493" y="20530"/>
                  </a:lnTo>
                  <a:cubicBezTo>
                    <a:pt x="55445" y="7242"/>
                    <a:pt x="46108" y="0"/>
                    <a:pt x="31899" y="0"/>
                  </a:cubicBezTo>
                  <a:cubicBezTo>
                    <a:pt x="11713" y="0"/>
                    <a:pt x="0" y="14483"/>
                    <a:pt x="0" y="40630"/>
                  </a:cubicBezTo>
                  <a:cubicBezTo>
                    <a:pt x="0" y="66776"/>
                    <a:pt x="10633" y="80829"/>
                    <a:pt x="31035" y="80829"/>
                  </a:cubicBezTo>
                  <a:cubicBezTo>
                    <a:pt x="46012" y="80829"/>
                    <a:pt x="56213" y="73372"/>
                    <a:pt x="60101" y="59869"/>
                  </a:cubicBezTo>
                  <a:lnTo>
                    <a:pt x="46444" y="56093"/>
                  </a:lnTo>
                  <a:lnTo>
                    <a:pt x="46444" y="56093"/>
                  </a:lnTo>
                  <a:close/>
                </a:path>
              </a:pathLst>
            </a:custGeom>
            <a:grpFill/>
            <a:ln w="0" cap="flat">
              <a:noFill/>
              <a:prstDash val="solid"/>
              <a:miter/>
            </a:ln>
          </p:spPr>
          <p:txBody>
            <a:bodyPr rtlCol="0" anchor="ctr"/>
            <a:lstStyle/>
            <a:p>
              <a:endParaRPr lang="en-BG"/>
            </a:p>
          </p:txBody>
        </p:sp>
        <p:sp>
          <p:nvSpPr>
            <p:cNvPr id="52" name="Freeform 51">
              <a:extLst>
                <a:ext uri="{FF2B5EF4-FFF2-40B4-BE49-F238E27FC236}">
                  <a16:creationId xmlns:a16="http://schemas.microsoft.com/office/drawing/2014/main" id="{12880F82-26E0-2C4A-A5CC-6E8461C28510}"/>
                </a:ext>
              </a:extLst>
            </p:cNvPr>
            <p:cNvSpPr/>
            <p:nvPr/>
          </p:nvSpPr>
          <p:spPr>
            <a:xfrm>
              <a:off x="11311756" y="6318040"/>
              <a:ext cx="59765" cy="78558"/>
            </a:xfrm>
            <a:custGeom>
              <a:avLst/>
              <a:gdLst>
                <a:gd name="connsiteX0" fmla="*/ 0 w 59765"/>
                <a:gd name="connsiteY0" fmla="*/ 78558 h 78558"/>
                <a:gd name="connsiteX1" fmla="*/ 14857 w 59765"/>
                <a:gd name="connsiteY1" fmla="*/ 78558 h 78558"/>
                <a:gd name="connsiteX2" fmla="*/ 14857 w 59765"/>
                <a:gd name="connsiteY2" fmla="*/ 44406 h 78558"/>
                <a:gd name="connsiteX3" fmla="*/ 44908 w 59765"/>
                <a:gd name="connsiteY3" fmla="*/ 44406 h 78558"/>
                <a:gd name="connsiteX4" fmla="*/ 44908 w 59765"/>
                <a:gd name="connsiteY4" fmla="*/ 78558 h 78558"/>
                <a:gd name="connsiteX5" fmla="*/ 59765 w 59765"/>
                <a:gd name="connsiteY5" fmla="*/ 78558 h 78558"/>
                <a:gd name="connsiteX6" fmla="*/ 59765 w 59765"/>
                <a:gd name="connsiteY6" fmla="*/ 0 h 78558"/>
                <a:gd name="connsiteX7" fmla="*/ 44908 w 59765"/>
                <a:gd name="connsiteY7" fmla="*/ 0 h 78558"/>
                <a:gd name="connsiteX8" fmla="*/ 44908 w 59765"/>
                <a:gd name="connsiteY8" fmla="*/ 31117 h 78558"/>
                <a:gd name="connsiteX9" fmla="*/ 14857 w 59765"/>
                <a:gd name="connsiteY9" fmla="*/ 31117 h 78558"/>
                <a:gd name="connsiteX10" fmla="*/ 14857 w 59765"/>
                <a:gd name="connsiteY10" fmla="*/ 0 h 78558"/>
                <a:gd name="connsiteX11" fmla="*/ 0 w 59765"/>
                <a:gd name="connsiteY11" fmla="*/ 0 h 78558"/>
                <a:gd name="connsiteX12" fmla="*/ 0 w 59765"/>
                <a:gd name="connsiteY12" fmla="*/ 78558 h 78558"/>
                <a:gd name="connsiteX13" fmla="*/ 0 w 59765"/>
                <a:gd name="connsiteY13" fmla="*/ 78558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765" h="78558">
                  <a:moveTo>
                    <a:pt x="0" y="78558"/>
                  </a:moveTo>
                  <a:lnTo>
                    <a:pt x="14857" y="78558"/>
                  </a:lnTo>
                  <a:lnTo>
                    <a:pt x="14857" y="44406"/>
                  </a:lnTo>
                  <a:lnTo>
                    <a:pt x="44908" y="44406"/>
                  </a:lnTo>
                  <a:lnTo>
                    <a:pt x="44908" y="78558"/>
                  </a:lnTo>
                  <a:lnTo>
                    <a:pt x="59765" y="78558"/>
                  </a:lnTo>
                  <a:lnTo>
                    <a:pt x="59765" y="0"/>
                  </a:lnTo>
                  <a:lnTo>
                    <a:pt x="44908" y="0"/>
                  </a:lnTo>
                  <a:lnTo>
                    <a:pt x="44908" y="31117"/>
                  </a:lnTo>
                  <a:lnTo>
                    <a:pt x="14857" y="31117"/>
                  </a:lnTo>
                  <a:lnTo>
                    <a:pt x="14857" y="0"/>
                  </a:lnTo>
                  <a:lnTo>
                    <a:pt x="0" y="0"/>
                  </a:lnTo>
                  <a:lnTo>
                    <a:pt x="0" y="78558"/>
                  </a:lnTo>
                  <a:lnTo>
                    <a:pt x="0" y="78558"/>
                  </a:lnTo>
                  <a:close/>
                </a:path>
              </a:pathLst>
            </a:custGeom>
            <a:grpFill/>
            <a:ln w="0" cap="flat">
              <a:noFill/>
              <a:prstDash val="solid"/>
              <a:miter/>
            </a:ln>
          </p:spPr>
          <p:txBody>
            <a:bodyPr rtlCol="0" anchor="ctr"/>
            <a:lstStyle/>
            <a:p>
              <a:endParaRPr lang="en-BG"/>
            </a:p>
          </p:txBody>
        </p:sp>
        <p:sp>
          <p:nvSpPr>
            <p:cNvPr id="53" name="Freeform 52">
              <a:extLst>
                <a:ext uri="{FF2B5EF4-FFF2-40B4-BE49-F238E27FC236}">
                  <a16:creationId xmlns:a16="http://schemas.microsoft.com/office/drawing/2014/main" id="{9545765B-CBF4-FF4A-B4CE-5259B6133875}"/>
                </a:ext>
              </a:extLst>
            </p:cNvPr>
            <p:cNvSpPr/>
            <p:nvPr/>
          </p:nvSpPr>
          <p:spPr>
            <a:xfrm>
              <a:off x="11395043" y="6318040"/>
              <a:ext cx="52852" cy="78558"/>
            </a:xfrm>
            <a:custGeom>
              <a:avLst/>
              <a:gdLst>
                <a:gd name="connsiteX0" fmla="*/ 0 w 52852"/>
                <a:gd name="connsiteY0" fmla="*/ 78558 h 78558"/>
                <a:gd name="connsiteX1" fmla="*/ 52853 w 52852"/>
                <a:gd name="connsiteY1" fmla="*/ 78558 h 78558"/>
                <a:gd name="connsiteX2" fmla="*/ 52853 w 52852"/>
                <a:gd name="connsiteY2" fmla="*/ 65151 h 78558"/>
                <a:gd name="connsiteX3" fmla="*/ 14761 w 52852"/>
                <a:gd name="connsiteY3" fmla="*/ 65151 h 78558"/>
                <a:gd name="connsiteX4" fmla="*/ 14761 w 52852"/>
                <a:gd name="connsiteY4" fmla="*/ 43880 h 78558"/>
                <a:gd name="connsiteX5" fmla="*/ 41356 w 52852"/>
                <a:gd name="connsiteY5" fmla="*/ 43880 h 78558"/>
                <a:gd name="connsiteX6" fmla="*/ 41356 w 52852"/>
                <a:gd name="connsiteY6" fmla="*/ 31333 h 78558"/>
                <a:gd name="connsiteX7" fmla="*/ 14761 w 52852"/>
                <a:gd name="connsiteY7" fmla="*/ 31333 h 78558"/>
                <a:gd name="connsiteX8" fmla="*/ 14761 w 52852"/>
                <a:gd name="connsiteY8" fmla="*/ 12762 h 78558"/>
                <a:gd name="connsiteX9" fmla="*/ 51221 w 52852"/>
                <a:gd name="connsiteY9" fmla="*/ 12762 h 78558"/>
                <a:gd name="connsiteX10" fmla="*/ 51221 w 52852"/>
                <a:gd name="connsiteY10" fmla="*/ 0 h 78558"/>
                <a:gd name="connsiteX11" fmla="*/ 0 w 52852"/>
                <a:gd name="connsiteY11" fmla="*/ 0 h 78558"/>
                <a:gd name="connsiteX12" fmla="*/ 0 w 52852"/>
                <a:gd name="connsiteY12" fmla="*/ 78558 h 78558"/>
                <a:gd name="connsiteX13" fmla="*/ 0 w 52852"/>
                <a:gd name="connsiteY13" fmla="*/ 78558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852" h="78558">
                  <a:moveTo>
                    <a:pt x="0" y="78558"/>
                  </a:moveTo>
                  <a:lnTo>
                    <a:pt x="52853" y="78558"/>
                  </a:lnTo>
                  <a:lnTo>
                    <a:pt x="52853" y="65151"/>
                  </a:lnTo>
                  <a:lnTo>
                    <a:pt x="14761" y="65151"/>
                  </a:lnTo>
                  <a:lnTo>
                    <a:pt x="14761" y="43880"/>
                  </a:lnTo>
                  <a:lnTo>
                    <a:pt x="41356" y="43880"/>
                  </a:lnTo>
                  <a:lnTo>
                    <a:pt x="41356" y="31333"/>
                  </a:lnTo>
                  <a:lnTo>
                    <a:pt x="14761" y="31333"/>
                  </a:lnTo>
                  <a:lnTo>
                    <a:pt x="14761" y="12762"/>
                  </a:lnTo>
                  <a:lnTo>
                    <a:pt x="51221" y="12762"/>
                  </a:lnTo>
                  <a:lnTo>
                    <a:pt x="51221" y="0"/>
                  </a:lnTo>
                  <a:lnTo>
                    <a:pt x="0" y="0"/>
                  </a:lnTo>
                  <a:lnTo>
                    <a:pt x="0" y="78558"/>
                  </a:lnTo>
                  <a:lnTo>
                    <a:pt x="0" y="78558"/>
                  </a:lnTo>
                  <a:close/>
                </a:path>
              </a:pathLst>
            </a:custGeom>
            <a:grpFill/>
            <a:ln w="0" cap="flat">
              <a:noFill/>
              <a:prstDash val="solid"/>
              <a:miter/>
            </a:ln>
          </p:spPr>
          <p:txBody>
            <a:bodyPr rtlCol="0" anchor="ctr"/>
            <a:lstStyle/>
            <a:p>
              <a:endParaRPr lang="en-BG"/>
            </a:p>
          </p:txBody>
        </p:sp>
        <p:sp>
          <p:nvSpPr>
            <p:cNvPr id="54" name="Freeform 53">
              <a:extLst>
                <a:ext uri="{FF2B5EF4-FFF2-40B4-BE49-F238E27FC236}">
                  <a16:creationId xmlns:a16="http://schemas.microsoft.com/office/drawing/2014/main" id="{93ED9E5D-78EC-AE45-90C3-8B70DF3157E3}"/>
                </a:ext>
              </a:extLst>
            </p:cNvPr>
            <p:cNvSpPr/>
            <p:nvPr/>
          </p:nvSpPr>
          <p:spPr>
            <a:xfrm>
              <a:off x="11503173" y="6318040"/>
              <a:ext cx="56981" cy="78558"/>
            </a:xfrm>
            <a:custGeom>
              <a:avLst/>
              <a:gdLst>
                <a:gd name="connsiteX0" fmla="*/ 0 w 56981"/>
                <a:gd name="connsiteY0" fmla="*/ 78558 h 78558"/>
                <a:gd name="connsiteX1" fmla="*/ 27890 w 56981"/>
                <a:gd name="connsiteY1" fmla="*/ 78558 h 78558"/>
                <a:gd name="connsiteX2" fmla="*/ 56981 w 56981"/>
                <a:gd name="connsiteY2" fmla="*/ 56523 h 78558"/>
                <a:gd name="connsiteX3" fmla="*/ 43636 w 56981"/>
                <a:gd name="connsiteY3" fmla="*/ 37403 h 78558"/>
                <a:gd name="connsiteX4" fmla="*/ 55157 w 56981"/>
                <a:gd name="connsiteY4" fmla="*/ 20864 h 78558"/>
                <a:gd name="connsiteX5" fmla="*/ 28683 w 56981"/>
                <a:gd name="connsiteY5" fmla="*/ 0 h 78558"/>
                <a:gd name="connsiteX6" fmla="*/ 24 w 56981"/>
                <a:gd name="connsiteY6" fmla="*/ 0 h 78558"/>
                <a:gd name="connsiteX7" fmla="*/ 24 w 56981"/>
                <a:gd name="connsiteY7" fmla="*/ 78558 h 78558"/>
                <a:gd name="connsiteX8" fmla="*/ 24 w 56981"/>
                <a:gd name="connsiteY8" fmla="*/ 78558 h 78558"/>
                <a:gd name="connsiteX9" fmla="*/ 14545 w 56981"/>
                <a:gd name="connsiteY9" fmla="*/ 66441 h 78558"/>
                <a:gd name="connsiteX10" fmla="*/ 14545 w 56981"/>
                <a:gd name="connsiteY10" fmla="*/ 43211 h 78558"/>
                <a:gd name="connsiteX11" fmla="*/ 27338 w 56981"/>
                <a:gd name="connsiteY11" fmla="*/ 43211 h 78558"/>
                <a:gd name="connsiteX12" fmla="*/ 42100 w 56981"/>
                <a:gd name="connsiteY12" fmla="*/ 54659 h 78558"/>
                <a:gd name="connsiteX13" fmla="*/ 26690 w 56981"/>
                <a:gd name="connsiteY13" fmla="*/ 66441 h 78558"/>
                <a:gd name="connsiteX14" fmla="*/ 14545 w 56981"/>
                <a:gd name="connsiteY14" fmla="*/ 66441 h 78558"/>
                <a:gd name="connsiteX15" fmla="*/ 14545 w 56981"/>
                <a:gd name="connsiteY15" fmla="*/ 31428 h 78558"/>
                <a:gd name="connsiteX16" fmla="*/ 14545 w 56981"/>
                <a:gd name="connsiteY16" fmla="*/ 12093 h 78558"/>
                <a:gd name="connsiteX17" fmla="*/ 25826 w 56981"/>
                <a:gd name="connsiteY17" fmla="*/ 12093 h 78558"/>
                <a:gd name="connsiteX18" fmla="*/ 40468 w 56981"/>
                <a:gd name="connsiteY18" fmla="*/ 21701 h 78558"/>
                <a:gd name="connsiteX19" fmla="*/ 26690 w 56981"/>
                <a:gd name="connsiteY19" fmla="*/ 31428 h 78558"/>
                <a:gd name="connsiteX20" fmla="*/ 14545 w 56981"/>
                <a:gd name="connsiteY20" fmla="*/ 31428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981" h="78558">
                  <a:moveTo>
                    <a:pt x="0" y="78558"/>
                  </a:moveTo>
                  <a:lnTo>
                    <a:pt x="27890" y="78558"/>
                  </a:lnTo>
                  <a:cubicBezTo>
                    <a:pt x="47428" y="78558"/>
                    <a:pt x="56981" y="71436"/>
                    <a:pt x="56981" y="56523"/>
                  </a:cubicBezTo>
                  <a:cubicBezTo>
                    <a:pt x="56981" y="46796"/>
                    <a:pt x="52541" y="40414"/>
                    <a:pt x="43636" y="37403"/>
                  </a:cubicBezTo>
                  <a:cubicBezTo>
                    <a:pt x="51677" y="33531"/>
                    <a:pt x="55157" y="28321"/>
                    <a:pt x="55157" y="20864"/>
                  </a:cubicBezTo>
                  <a:cubicBezTo>
                    <a:pt x="55157" y="7361"/>
                    <a:pt x="46036" y="0"/>
                    <a:pt x="28683" y="0"/>
                  </a:cubicBezTo>
                  <a:lnTo>
                    <a:pt x="24" y="0"/>
                  </a:lnTo>
                  <a:lnTo>
                    <a:pt x="24" y="78558"/>
                  </a:lnTo>
                  <a:lnTo>
                    <a:pt x="24" y="78558"/>
                  </a:lnTo>
                  <a:close/>
                  <a:moveTo>
                    <a:pt x="14545" y="66441"/>
                  </a:moveTo>
                  <a:lnTo>
                    <a:pt x="14545" y="43211"/>
                  </a:lnTo>
                  <a:lnTo>
                    <a:pt x="27338" y="43211"/>
                  </a:lnTo>
                  <a:cubicBezTo>
                    <a:pt x="37227" y="43211"/>
                    <a:pt x="42100" y="46891"/>
                    <a:pt x="42100" y="54659"/>
                  </a:cubicBezTo>
                  <a:cubicBezTo>
                    <a:pt x="42100" y="62976"/>
                    <a:pt x="37227" y="66441"/>
                    <a:pt x="26690" y="66441"/>
                  </a:cubicBezTo>
                  <a:lnTo>
                    <a:pt x="14545" y="66441"/>
                  </a:lnTo>
                  <a:close/>
                  <a:moveTo>
                    <a:pt x="14545" y="31428"/>
                  </a:moveTo>
                  <a:lnTo>
                    <a:pt x="14545" y="12093"/>
                  </a:lnTo>
                  <a:lnTo>
                    <a:pt x="25826" y="12093"/>
                  </a:lnTo>
                  <a:cubicBezTo>
                    <a:pt x="35595" y="12093"/>
                    <a:pt x="40468" y="14579"/>
                    <a:pt x="40468" y="21701"/>
                  </a:cubicBezTo>
                  <a:cubicBezTo>
                    <a:pt x="40468" y="28297"/>
                    <a:pt x="35787" y="31428"/>
                    <a:pt x="26690" y="31428"/>
                  </a:cubicBezTo>
                  <a:lnTo>
                    <a:pt x="14545" y="31428"/>
                  </a:lnTo>
                  <a:close/>
                </a:path>
              </a:pathLst>
            </a:custGeom>
            <a:grpFill/>
            <a:ln w="0" cap="flat">
              <a:noFill/>
              <a:prstDash val="solid"/>
              <a:miter/>
            </a:ln>
          </p:spPr>
          <p:txBody>
            <a:bodyPr rtlCol="0" anchor="ctr"/>
            <a:lstStyle/>
            <a:p>
              <a:endParaRPr lang="en-BG"/>
            </a:p>
          </p:txBody>
        </p:sp>
        <p:sp>
          <p:nvSpPr>
            <p:cNvPr id="55" name="Freeform 54">
              <a:extLst>
                <a:ext uri="{FF2B5EF4-FFF2-40B4-BE49-F238E27FC236}">
                  <a16:creationId xmlns:a16="http://schemas.microsoft.com/office/drawing/2014/main" id="{66B97506-80F2-D446-A748-CEE1F52CD344}"/>
                </a:ext>
              </a:extLst>
            </p:cNvPr>
            <p:cNvSpPr/>
            <p:nvPr/>
          </p:nvSpPr>
          <p:spPr>
            <a:xfrm>
              <a:off x="11576067" y="6296005"/>
              <a:ext cx="65525" cy="101884"/>
            </a:xfrm>
            <a:custGeom>
              <a:avLst/>
              <a:gdLst>
                <a:gd name="connsiteX0" fmla="*/ 17570 w 65525"/>
                <a:gd name="connsiteY0" fmla="*/ 12858 h 101884"/>
                <a:gd name="connsiteX1" fmla="*/ 29499 w 65525"/>
                <a:gd name="connsiteY1" fmla="*/ 12858 h 101884"/>
                <a:gd name="connsiteX2" fmla="*/ 29499 w 65525"/>
                <a:gd name="connsiteY2" fmla="*/ 0 h 101884"/>
                <a:gd name="connsiteX3" fmla="*/ 17570 w 65525"/>
                <a:gd name="connsiteY3" fmla="*/ 0 h 101884"/>
                <a:gd name="connsiteX4" fmla="*/ 17570 w 65525"/>
                <a:gd name="connsiteY4" fmla="*/ 12858 h 101884"/>
                <a:gd name="connsiteX5" fmla="*/ 17570 w 65525"/>
                <a:gd name="connsiteY5" fmla="*/ 12858 h 101884"/>
                <a:gd name="connsiteX6" fmla="*/ 36003 w 65525"/>
                <a:gd name="connsiteY6" fmla="*/ 12858 h 101884"/>
                <a:gd name="connsiteX7" fmla="*/ 47956 w 65525"/>
                <a:gd name="connsiteY7" fmla="*/ 12858 h 101884"/>
                <a:gd name="connsiteX8" fmla="*/ 47956 w 65525"/>
                <a:gd name="connsiteY8" fmla="*/ 0 h 101884"/>
                <a:gd name="connsiteX9" fmla="*/ 36003 w 65525"/>
                <a:gd name="connsiteY9" fmla="*/ 0 h 101884"/>
                <a:gd name="connsiteX10" fmla="*/ 36003 w 65525"/>
                <a:gd name="connsiteY10" fmla="*/ 12858 h 101884"/>
                <a:gd name="connsiteX11" fmla="*/ 36003 w 65525"/>
                <a:gd name="connsiteY11" fmla="*/ 12858 h 101884"/>
                <a:gd name="connsiteX12" fmla="*/ 0 w 65525"/>
                <a:gd name="connsiteY12" fmla="*/ 61470 h 101884"/>
                <a:gd name="connsiteX13" fmla="*/ 32763 w 65525"/>
                <a:gd name="connsiteY13" fmla="*/ 101885 h 101884"/>
                <a:gd name="connsiteX14" fmla="*/ 65526 w 65525"/>
                <a:gd name="connsiteY14" fmla="*/ 61470 h 101884"/>
                <a:gd name="connsiteX15" fmla="*/ 32763 w 65525"/>
                <a:gd name="connsiteY15" fmla="*/ 21056 h 101884"/>
                <a:gd name="connsiteX16" fmla="*/ 0 w 65525"/>
                <a:gd name="connsiteY16" fmla="*/ 61470 h 101884"/>
                <a:gd name="connsiteX17" fmla="*/ 0 w 65525"/>
                <a:gd name="connsiteY17" fmla="*/ 61470 h 101884"/>
                <a:gd name="connsiteX18" fmla="*/ 15073 w 65525"/>
                <a:gd name="connsiteY18" fmla="*/ 61470 h 101884"/>
                <a:gd name="connsiteX19" fmla="*/ 32763 w 65525"/>
                <a:gd name="connsiteY19" fmla="*/ 34129 h 101884"/>
                <a:gd name="connsiteX20" fmla="*/ 50453 w 65525"/>
                <a:gd name="connsiteY20" fmla="*/ 61470 h 101884"/>
                <a:gd name="connsiteX21" fmla="*/ 32763 w 65525"/>
                <a:gd name="connsiteY21" fmla="*/ 88596 h 101884"/>
                <a:gd name="connsiteX22" fmla="*/ 15073 w 65525"/>
                <a:gd name="connsiteY22" fmla="*/ 61470 h 101884"/>
                <a:gd name="connsiteX23" fmla="*/ 15073 w 65525"/>
                <a:gd name="connsiteY23" fmla="*/ 61470 h 10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5525" h="101884">
                  <a:moveTo>
                    <a:pt x="17570" y="12858"/>
                  </a:moveTo>
                  <a:lnTo>
                    <a:pt x="29499" y="12858"/>
                  </a:lnTo>
                  <a:lnTo>
                    <a:pt x="29499" y="0"/>
                  </a:lnTo>
                  <a:lnTo>
                    <a:pt x="17570" y="0"/>
                  </a:lnTo>
                  <a:lnTo>
                    <a:pt x="17570" y="12858"/>
                  </a:lnTo>
                  <a:lnTo>
                    <a:pt x="17570" y="12858"/>
                  </a:lnTo>
                  <a:close/>
                  <a:moveTo>
                    <a:pt x="36003" y="12858"/>
                  </a:moveTo>
                  <a:lnTo>
                    <a:pt x="47956" y="12858"/>
                  </a:lnTo>
                  <a:lnTo>
                    <a:pt x="47956" y="0"/>
                  </a:lnTo>
                  <a:lnTo>
                    <a:pt x="36003" y="0"/>
                  </a:lnTo>
                  <a:lnTo>
                    <a:pt x="36003" y="12858"/>
                  </a:lnTo>
                  <a:lnTo>
                    <a:pt x="36003" y="12858"/>
                  </a:lnTo>
                  <a:close/>
                  <a:moveTo>
                    <a:pt x="0" y="61470"/>
                  </a:moveTo>
                  <a:cubicBezTo>
                    <a:pt x="0" y="86971"/>
                    <a:pt x="12601" y="101885"/>
                    <a:pt x="32763" y="101885"/>
                  </a:cubicBezTo>
                  <a:cubicBezTo>
                    <a:pt x="52925" y="101885"/>
                    <a:pt x="65526" y="86971"/>
                    <a:pt x="65526" y="61470"/>
                  </a:cubicBezTo>
                  <a:cubicBezTo>
                    <a:pt x="65526" y="35969"/>
                    <a:pt x="53045" y="21056"/>
                    <a:pt x="32763" y="21056"/>
                  </a:cubicBezTo>
                  <a:cubicBezTo>
                    <a:pt x="12481" y="21056"/>
                    <a:pt x="0" y="35850"/>
                    <a:pt x="0" y="61470"/>
                  </a:cubicBezTo>
                  <a:lnTo>
                    <a:pt x="0" y="61470"/>
                  </a:lnTo>
                  <a:close/>
                  <a:moveTo>
                    <a:pt x="15073" y="61470"/>
                  </a:moveTo>
                  <a:cubicBezTo>
                    <a:pt x="15073" y="43426"/>
                    <a:pt x="21266" y="34129"/>
                    <a:pt x="32763" y="34129"/>
                  </a:cubicBezTo>
                  <a:cubicBezTo>
                    <a:pt x="44260" y="34129"/>
                    <a:pt x="50453" y="43426"/>
                    <a:pt x="50453" y="61470"/>
                  </a:cubicBezTo>
                  <a:cubicBezTo>
                    <a:pt x="50453" y="79514"/>
                    <a:pt x="44260" y="88596"/>
                    <a:pt x="32763" y="88596"/>
                  </a:cubicBezTo>
                  <a:cubicBezTo>
                    <a:pt x="21266" y="88596"/>
                    <a:pt x="15073" y="79419"/>
                    <a:pt x="15073" y="61470"/>
                  </a:cubicBezTo>
                  <a:lnTo>
                    <a:pt x="15073" y="61470"/>
                  </a:lnTo>
                  <a:close/>
                </a:path>
              </a:pathLst>
            </a:custGeom>
            <a:grpFill/>
            <a:ln w="0" cap="flat">
              <a:noFill/>
              <a:prstDash val="solid"/>
              <a:miter/>
            </a:ln>
          </p:spPr>
          <p:txBody>
            <a:bodyPr rtlCol="0" anchor="ctr"/>
            <a:lstStyle/>
            <a:p>
              <a:endParaRPr lang="en-BG"/>
            </a:p>
          </p:txBody>
        </p:sp>
        <p:sp>
          <p:nvSpPr>
            <p:cNvPr id="56" name="Freeform 55">
              <a:extLst>
                <a:ext uri="{FF2B5EF4-FFF2-40B4-BE49-F238E27FC236}">
                  <a16:creationId xmlns:a16="http://schemas.microsoft.com/office/drawing/2014/main" id="{A97EB70E-ACD2-8C46-8EA4-AAFCFA477EC4}"/>
                </a:ext>
              </a:extLst>
            </p:cNvPr>
            <p:cNvSpPr/>
            <p:nvPr/>
          </p:nvSpPr>
          <p:spPr>
            <a:xfrm>
              <a:off x="11659883" y="6318040"/>
              <a:ext cx="59237" cy="78558"/>
            </a:xfrm>
            <a:custGeom>
              <a:avLst/>
              <a:gdLst>
                <a:gd name="connsiteX0" fmla="*/ 0 w 59237"/>
                <a:gd name="connsiteY0" fmla="*/ 78558 h 78558"/>
                <a:gd name="connsiteX1" fmla="*/ 14545 w 59237"/>
                <a:gd name="connsiteY1" fmla="*/ 78558 h 78558"/>
                <a:gd name="connsiteX2" fmla="*/ 14545 w 59237"/>
                <a:gd name="connsiteY2" fmla="*/ 46676 h 78558"/>
                <a:gd name="connsiteX3" fmla="*/ 28106 w 59237"/>
                <a:gd name="connsiteY3" fmla="*/ 46676 h 78558"/>
                <a:gd name="connsiteX4" fmla="*/ 43300 w 59237"/>
                <a:gd name="connsiteY4" fmla="*/ 78558 h 78558"/>
                <a:gd name="connsiteX5" fmla="*/ 59237 w 59237"/>
                <a:gd name="connsiteY5" fmla="*/ 78558 h 78558"/>
                <a:gd name="connsiteX6" fmla="*/ 41764 w 59237"/>
                <a:gd name="connsiteY6" fmla="*/ 43330 h 78558"/>
                <a:gd name="connsiteX7" fmla="*/ 56309 w 59237"/>
                <a:gd name="connsiteY7" fmla="*/ 23446 h 78558"/>
                <a:gd name="connsiteX8" fmla="*/ 26690 w 59237"/>
                <a:gd name="connsiteY8" fmla="*/ 0 h 78558"/>
                <a:gd name="connsiteX9" fmla="*/ 0 w 59237"/>
                <a:gd name="connsiteY9" fmla="*/ 0 h 78558"/>
                <a:gd name="connsiteX10" fmla="*/ 0 w 59237"/>
                <a:gd name="connsiteY10" fmla="*/ 78558 h 78558"/>
                <a:gd name="connsiteX11" fmla="*/ 0 w 59237"/>
                <a:gd name="connsiteY11" fmla="*/ 78558 h 78558"/>
                <a:gd name="connsiteX12" fmla="*/ 14545 w 59237"/>
                <a:gd name="connsiteY12" fmla="*/ 34272 h 78558"/>
                <a:gd name="connsiteX13" fmla="*/ 14545 w 59237"/>
                <a:gd name="connsiteY13" fmla="*/ 12452 h 78558"/>
                <a:gd name="connsiteX14" fmla="*/ 27458 w 59237"/>
                <a:gd name="connsiteY14" fmla="*/ 12452 h 78558"/>
                <a:gd name="connsiteX15" fmla="*/ 41356 w 59237"/>
                <a:gd name="connsiteY15" fmla="*/ 23374 h 78558"/>
                <a:gd name="connsiteX16" fmla="*/ 27458 w 59237"/>
                <a:gd name="connsiteY16" fmla="*/ 34296 h 78558"/>
                <a:gd name="connsiteX17" fmla="*/ 14545 w 59237"/>
                <a:gd name="connsiteY17" fmla="*/ 34296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9237" h="78558">
                  <a:moveTo>
                    <a:pt x="0" y="78558"/>
                  </a:moveTo>
                  <a:lnTo>
                    <a:pt x="14545" y="78558"/>
                  </a:lnTo>
                  <a:lnTo>
                    <a:pt x="14545" y="46676"/>
                  </a:lnTo>
                  <a:lnTo>
                    <a:pt x="28106" y="46676"/>
                  </a:lnTo>
                  <a:lnTo>
                    <a:pt x="43300" y="78558"/>
                  </a:lnTo>
                  <a:lnTo>
                    <a:pt x="59237" y="78558"/>
                  </a:lnTo>
                  <a:lnTo>
                    <a:pt x="41764" y="43330"/>
                  </a:lnTo>
                  <a:cubicBezTo>
                    <a:pt x="51101" y="40725"/>
                    <a:pt x="56309" y="33699"/>
                    <a:pt x="56309" y="23446"/>
                  </a:cubicBezTo>
                  <a:cubicBezTo>
                    <a:pt x="56309" y="7457"/>
                    <a:pt x="46540" y="0"/>
                    <a:pt x="26690" y="0"/>
                  </a:cubicBezTo>
                  <a:lnTo>
                    <a:pt x="0" y="0"/>
                  </a:lnTo>
                  <a:lnTo>
                    <a:pt x="0" y="78558"/>
                  </a:lnTo>
                  <a:lnTo>
                    <a:pt x="0" y="78558"/>
                  </a:lnTo>
                  <a:close/>
                  <a:moveTo>
                    <a:pt x="14545" y="34272"/>
                  </a:moveTo>
                  <a:lnTo>
                    <a:pt x="14545" y="12452"/>
                  </a:lnTo>
                  <a:lnTo>
                    <a:pt x="27458" y="12452"/>
                  </a:lnTo>
                  <a:cubicBezTo>
                    <a:pt x="36795" y="12452"/>
                    <a:pt x="41356" y="15702"/>
                    <a:pt x="41356" y="23374"/>
                  </a:cubicBezTo>
                  <a:cubicBezTo>
                    <a:pt x="41356" y="31046"/>
                    <a:pt x="36891" y="34296"/>
                    <a:pt x="27458" y="34296"/>
                  </a:cubicBezTo>
                  <a:lnTo>
                    <a:pt x="14545" y="34296"/>
                  </a:lnTo>
                  <a:close/>
                </a:path>
              </a:pathLst>
            </a:custGeom>
            <a:grpFill/>
            <a:ln w="0" cap="flat">
              <a:noFill/>
              <a:prstDash val="solid"/>
              <a:miter/>
            </a:ln>
          </p:spPr>
          <p:txBody>
            <a:bodyPr rtlCol="0" anchor="ctr"/>
            <a:lstStyle/>
            <a:p>
              <a:endParaRPr lang="en-BG"/>
            </a:p>
          </p:txBody>
        </p:sp>
        <p:sp>
          <p:nvSpPr>
            <p:cNvPr id="57" name="Freeform 56">
              <a:extLst>
                <a:ext uri="{FF2B5EF4-FFF2-40B4-BE49-F238E27FC236}">
                  <a16:creationId xmlns:a16="http://schemas.microsoft.com/office/drawing/2014/main" id="{692A0604-0439-F34E-9940-3AD8402B995A}"/>
                </a:ext>
              </a:extLst>
            </p:cNvPr>
            <p:cNvSpPr/>
            <p:nvPr/>
          </p:nvSpPr>
          <p:spPr>
            <a:xfrm>
              <a:off x="11731745" y="6317180"/>
              <a:ext cx="56693" cy="80494"/>
            </a:xfrm>
            <a:custGeom>
              <a:avLst/>
              <a:gdLst>
                <a:gd name="connsiteX0" fmla="*/ 48 w 56693"/>
                <a:gd name="connsiteY0" fmla="*/ 61685 h 80494"/>
                <a:gd name="connsiteX1" fmla="*/ 29883 w 56693"/>
                <a:gd name="connsiteY1" fmla="*/ 80494 h 80494"/>
                <a:gd name="connsiteX2" fmla="*/ 56693 w 56693"/>
                <a:gd name="connsiteY2" fmla="*/ 57168 h 80494"/>
                <a:gd name="connsiteX3" fmla="*/ 37059 w 56693"/>
                <a:gd name="connsiteY3" fmla="*/ 34248 h 80494"/>
                <a:gd name="connsiteX4" fmla="*/ 16873 w 56693"/>
                <a:gd name="connsiteY4" fmla="*/ 20315 h 80494"/>
                <a:gd name="connsiteX5" fmla="*/ 27290 w 56693"/>
                <a:gd name="connsiteY5" fmla="*/ 11998 h 80494"/>
                <a:gd name="connsiteX6" fmla="*/ 41500 w 56693"/>
                <a:gd name="connsiteY6" fmla="*/ 22059 h 80494"/>
                <a:gd name="connsiteX7" fmla="*/ 54941 w 56693"/>
                <a:gd name="connsiteY7" fmla="*/ 17184 h 80494"/>
                <a:gd name="connsiteX8" fmla="*/ 28347 w 56693"/>
                <a:gd name="connsiteY8" fmla="*/ 0 h 80494"/>
                <a:gd name="connsiteX9" fmla="*/ 2616 w 56693"/>
                <a:gd name="connsiteY9" fmla="*/ 21390 h 80494"/>
                <a:gd name="connsiteX10" fmla="*/ 11857 w 56693"/>
                <a:gd name="connsiteY10" fmla="*/ 38670 h 80494"/>
                <a:gd name="connsiteX11" fmla="*/ 30627 w 56693"/>
                <a:gd name="connsiteY11" fmla="*/ 46772 h 80494"/>
                <a:gd name="connsiteX12" fmla="*/ 42340 w 56693"/>
                <a:gd name="connsiteY12" fmla="*/ 57790 h 80494"/>
                <a:gd name="connsiteX13" fmla="*/ 29523 w 56693"/>
                <a:gd name="connsiteY13" fmla="*/ 67732 h 80494"/>
                <a:gd name="connsiteX14" fmla="*/ 13465 w 56693"/>
                <a:gd name="connsiteY14" fmla="*/ 55734 h 80494"/>
                <a:gd name="connsiteX15" fmla="*/ 0 w 56693"/>
                <a:gd name="connsiteY15" fmla="*/ 61685 h 80494"/>
                <a:gd name="connsiteX16" fmla="*/ 0 w 56693"/>
                <a:gd name="connsiteY16" fmla="*/ 61685 h 8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693" h="80494">
                  <a:moveTo>
                    <a:pt x="48" y="61685"/>
                  </a:moveTo>
                  <a:cubicBezTo>
                    <a:pt x="5160" y="74017"/>
                    <a:pt x="15337" y="80494"/>
                    <a:pt x="29883" y="80494"/>
                  </a:cubicBezTo>
                  <a:cubicBezTo>
                    <a:pt x="46804" y="80494"/>
                    <a:pt x="56693" y="71412"/>
                    <a:pt x="56693" y="57168"/>
                  </a:cubicBezTo>
                  <a:cubicBezTo>
                    <a:pt x="56693" y="44836"/>
                    <a:pt x="50188" y="39769"/>
                    <a:pt x="37059" y="34248"/>
                  </a:cubicBezTo>
                  <a:cubicBezTo>
                    <a:pt x="24578" y="28966"/>
                    <a:pt x="16873" y="27652"/>
                    <a:pt x="16873" y="20315"/>
                  </a:cubicBezTo>
                  <a:cubicBezTo>
                    <a:pt x="16873" y="15248"/>
                    <a:pt x="20786" y="11998"/>
                    <a:pt x="27290" y="11998"/>
                  </a:cubicBezTo>
                  <a:cubicBezTo>
                    <a:pt x="33795" y="11998"/>
                    <a:pt x="38259" y="15129"/>
                    <a:pt x="41500" y="22059"/>
                  </a:cubicBezTo>
                  <a:lnTo>
                    <a:pt x="54941" y="17184"/>
                  </a:lnTo>
                  <a:cubicBezTo>
                    <a:pt x="50837" y="5832"/>
                    <a:pt x="41812" y="0"/>
                    <a:pt x="28347" y="0"/>
                  </a:cubicBezTo>
                  <a:cubicBezTo>
                    <a:pt x="12721" y="0"/>
                    <a:pt x="2616" y="8962"/>
                    <a:pt x="2616" y="21390"/>
                  </a:cubicBezTo>
                  <a:cubicBezTo>
                    <a:pt x="2616" y="28847"/>
                    <a:pt x="5880" y="34894"/>
                    <a:pt x="11857" y="38670"/>
                  </a:cubicBezTo>
                  <a:cubicBezTo>
                    <a:pt x="17065" y="42016"/>
                    <a:pt x="23570" y="44191"/>
                    <a:pt x="30627" y="46772"/>
                  </a:cubicBezTo>
                  <a:cubicBezTo>
                    <a:pt x="38763" y="49807"/>
                    <a:pt x="42340" y="52508"/>
                    <a:pt x="42340" y="57790"/>
                  </a:cubicBezTo>
                  <a:cubicBezTo>
                    <a:pt x="42340" y="63741"/>
                    <a:pt x="37563" y="67732"/>
                    <a:pt x="29523" y="67732"/>
                  </a:cubicBezTo>
                  <a:cubicBezTo>
                    <a:pt x="22466" y="67732"/>
                    <a:pt x="17593" y="64051"/>
                    <a:pt x="13465" y="55734"/>
                  </a:cubicBezTo>
                  <a:lnTo>
                    <a:pt x="0" y="61685"/>
                  </a:lnTo>
                  <a:lnTo>
                    <a:pt x="0" y="61685"/>
                  </a:lnTo>
                  <a:close/>
                </a:path>
              </a:pathLst>
            </a:custGeom>
            <a:grpFill/>
            <a:ln w="0" cap="flat">
              <a:noFill/>
              <a:prstDash val="solid"/>
              <a:miter/>
            </a:ln>
          </p:spPr>
          <p:txBody>
            <a:bodyPr rtlCol="0" anchor="ctr"/>
            <a:lstStyle/>
            <a:p>
              <a:endParaRPr lang="en-BG"/>
            </a:p>
          </p:txBody>
        </p:sp>
        <p:sp>
          <p:nvSpPr>
            <p:cNvPr id="58" name="Freeform 57">
              <a:extLst>
                <a:ext uri="{FF2B5EF4-FFF2-40B4-BE49-F238E27FC236}">
                  <a16:creationId xmlns:a16="http://schemas.microsoft.com/office/drawing/2014/main" id="{E89D0369-095A-1A42-ABC4-F8645CE36A72}"/>
                </a:ext>
              </a:extLst>
            </p:cNvPr>
            <p:cNvSpPr/>
            <p:nvPr/>
          </p:nvSpPr>
          <p:spPr>
            <a:xfrm>
              <a:off x="11807064" y="6318040"/>
              <a:ext cx="52852" cy="78558"/>
            </a:xfrm>
            <a:custGeom>
              <a:avLst/>
              <a:gdLst>
                <a:gd name="connsiteX0" fmla="*/ 0 w 52852"/>
                <a:gd name="connsiteY0" fmla="*/ 78558 h 78558"/>
                <a:gd name="connsiteX1" fmla="*/ 52853 w 52852"/>
                <a:gd name="connsiteY1" fmla="*/ 78558 h 78558"/>
                <a:gd name="connsiteX2" fmla="*/ 52853 w 52852"/>
                <a:gd name="connsiteY2" fmla="*/ 65151 h 78558"/>
                <a:gd name="connsiteX3" fmla="*/ 14761 w 52852"/>
                <a:gd name="connsiteY3" fmla="*/ 65151 h 78558"/>
                <a:gd name="connsiteX4" fmla="*/ 14761 w 52852"/>
                <a:gd name="connsiteY4" fmla="*/ 43880 h 78558"/>
                <a:gd name="connsiteX5" fmla="*/ 41356 w 52852"/>
                <a:gd name="connsiteY5" fmla="*/ 43880 h 78558"/>
                <a:gd name="connsiteX6" fmla="*/ 41356 w 52852"/>
                <a:gd name="connsiteY6" fmla="*/ 31333 h 78558"/>
                <a:gd name="connsiteX7" fmla="*/ 14761 w 52852"/>
                <a:gd name="connsiteY7" fmla="*/ 31333 h 78558"/>
                <a:gd name="connsiteX8" fmla="*/ 14761 w 52852"/>
                <a:gd name="connsiteY8" fmla="*/ 12762 h 78558"/>
                <a:gd name="connsiteX9" fmla="*/ 51221 w 52852"/>
                <a:gd name="connsiteY9" fmla="*/ 12762 h 78558"/>
                <a:gd name="connsiteX10" fmla="*/ 51221 w 52852"/>
                <a:gd name="connsiteY10" fmla="*/ 0 h 78558"/>
                <a:gd name="connsiteX11" fmla="*/ 0 w 52852"/>
                <a:gd name="connsiteY11" fmla="*/ 0 h 78558"/>
                <a:gd name="connsiteX12" fmla="*/ 0 w 52852"/>
                <a:gd name="connsiteY12" fmla="*/ 78558 h 78558"/>
                <a:gd name="connsiteX13" fmla="*/ 0 w 52852"/>
                <a:gd name="connsiteY13" fmla="*/ 78558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852" h="78558">
                  <a:moveTo>
                    <a:pt x="0" y="78558"/>
                  </a:moveTo>
                  <a:lnTo>
                    <a:pt x="52853" y="78558"/>
                  </a:lnTo>
                  <a:lnTo>
                    <a:pt x="52853" y="65151"/>
                  </a:lnTo>
                  <a:lnTo>
                    <a:pt x="14761" y="65151"/>
                  </a:lnTo>
                  <a:lnTo>
                    <a:pt x="14761" y="43880"/>
                  </a:lnTo>
                  <a:lnTo>
                    <a:pt x="41356" y="43880"/>
                  </a:lnTo>
                  <a:lnTo>
                    <a:pt x="41356" y="31333"/>
                  </a:lnTo>
                  <a:lnTo>
                    <a:pt x="14761" y="31333"/>
                  </a:lnTo>
                  <a:lnTo>
                    <a:pt x="14761" y="12762"/>
                  </a:lnTo>
                  <a:lnTo>
                    <a:pt x="51221" y="12762"/>
                  </a:lnTo>
                  <a:lnTo>
                    <a:pt x="51221" y="0"/>
                  </a:lnTo>
                  <a:lnTo>
                    <a:pt x="0" y="0"/>
                  </a:lnTo>
                  <a:lnTo>
                    <a:pt x="0" y="78558"/>
                  </a:lnTo>
                  <a:lnTo>
                    <a:pt x="0" y="78558"/>
                  </a:lnTo>
                  <a:close/>
                </a:path>
              </a:pathLst>
            </a:custGeom>
            <a:grpFill/>
            <a:ln w="0" cap="flat">
              <a:noFill/>
              <a:prstDash val="solid"/>
              <a:miter/>
            </a:ln>
          </p:spPr>
          <p:txBody>
            <a:bodyPr rtlCol="0" anchor="ctr"/>
            <a:lstStyle/>
            <a:p>
              <a:endParaRPr lang="en-BG"/>
            </a:p>
          </p:txBody>
        </p:sp>
        <p:sp>
          <p:nvSpPr>
            <p:cNvPr id="59" name="Freeform 58">
              <a:extLst>
                <a:ext uri="{FF2B5EF4-FFF2-40B4-BE49-F238E27FC236}">
                  <a16:creationId xmlns:a16="http://schemas.microsoft.com/office/drawing/2014/main" id="{03BAB2A8-0907-4246-8ACB-C9CB2D2E7454}"/>
                </a:ext>
              </a:extLst>
            </p:cNvPr>
            <p:cNvSpPr/>
            <p:nvPr/>
          </p:nvSpPr>
          <p:spPr>
            <a:xfrm>
              <a:off x="10795758" y="6250285"/>
              <a:ext cx="13609" cy="338730"/>
            </a:xfrm>
            <a:custGeom>
              <a:avLst/>
              <a:gdLst>
                <a:gd name="connsiteX0" fmla="*/ 0 w 13609"/>
                <a:gd name="connsiteY0" fmla="*/ 0 h 338730"/>
                <a:gd name="connsiteX1" fmla="*/ 13609 w 13609"/>
                <a:gd name="connsiteY1" fmla="*/ 0 h 338730"/>
                <a:gd name="connsiteX2" fmla="*/ 13609 w 13609"/>
                <a:gd name="connsiteY2" fmla="*/ 338731 h 338730"/>
                <a:gd name="connsiteX3" fmla="*/ 0 w 13609"/>
                <a:gd name="connsiteY3" fmla="*/ 338731 h 338730"/>
              </a:gdLst>
              <a:ahLst/>
              <a:cxnLst>
                <a:cxn ang="0">
                  <a:pos x="connsiteX0" y="connsiteY0"/>
                </a:cxn>
                <a:cxn ang="0">
                  <a:pos x="connsiteX1" y="connsiteY1"/>
                </a:cxn>
                <a:cxn ang="0">
                  <a:pos x="connsiteX2" y="connsiteY2"/>
                </a:cxn>
                <a:cxn ang="0">
                  <a:pos x="connsiteX3" y="connsiteY3"/>
                </a:cxn>
              </a:cxnLst>
              <a:rect l="l" t="t" r="r" b="b"/>
              <a:pathLst>
                <a:path w="13609" h="338730">
                  <a:moveTo>
                    <a:pt x="0" y="0"/>
                  </a:moveTo>
                  <a:lnTo>
                    <a:pt x="13609" y="0"/>
                  </a:lnTo>
                  <a:lnTo>
                    <a:pt x="13609" y="338731"/>
                  </a:lnTo>
                  <a:lnTo>
                    <a:pt x="0" y="338731"/>
                  </a:lnTo>
                  <a:close/>
                </a:path>
              </a:pathLst>
            </a:custGeom>
            <a:grpFill/>
            <a:ln w="0" cap="flat">
              <a:noFill/>
              <a:prstDash val="solid"/>
              <a:miter/>
            </a:ln>
          </p:spPr>
          <p:txBody>
            <a:bodyPr rtlCol="0" anchor="ctr"/>
            <a:lstStyle/>
            <a:p>
              <a:endParaRPr lang="en-BG"/>
            </a:p>
          </p:txBody>
        </p:sp>
      </p:grpSp>
    </p:spTree>
    <p:extLst>
      <p:ext uri="{BB962C8B-B14F-4D97-AF65-F5344CB8AC3E}">
        <p14:creationId xmlns:p14="http://schemas.microsoft.com/office/powerpoint/2010/main" val="27090109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C694A7C9-510D-0947-97D4-EFBD28583AA9}"/>
              </a:ext>
            </a:extLst>
          </p:cNvPr>
          <p:cNvCxnSpPr>
            <a:cxnSpLocks/>
          </p:cNvCxnSpPr>
          <p:nvPr/>
        </p:nvCxnSpPr>
        <p:spPr>
          <a:xfrm>
            <a:off x="6246019" y="931863"/>
            <a:ext cx="0" cy="4994275"/>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F20D5EB-75B9-FA47-B75C-DA533D7867E0}"/>
              </a:ext>
            </a:extLst>
          </p:cNvPr>
          <p:cNvGrpSpPr/>
          <p:nvPr/>
        </p:nvGrpSpPr>
        <p:grpSpPr>
          <a:xfrm>
            <a:off x="6938002" y="1315189"/>
            <a:ext cx="1709855" cy="1120699"/>
            <a:chOff x="6343670" y="1315189"/>
            <a:chExt cx="1709855" cy="1120699"/>
          </a:xfrm>
        </p:grpSpPr>
        <p:sp>
          <p:nvSpPr>
            <p:cNvPr id="14" name="Title 1">
              <a:extLst>
                <a:ext uri="{FF2B5EF4-FFF2-40B4-BE49-F238E27FC236}">
                  <a16:creationId xmlns:a16="http://schemas.microsoft.com/office/drawing/2014/main" id="{A31DB7A8-DA65-9D40-BA79-5A219EC55579}"/>
                </a:ext>
              </a:extLst>
            </p:cNvPr>
            <p:cNvSpPr txBox="1">
              <a:spLocks/>
            </p:cNvSpPr>
            <p:nvPr/>
          </p:nvSpPr>
          <p:spPr>
            <a:xfrm>
              <a:off x="6713100" y="1315189"/>
              <a:ext cx="970994" cy="923330"/>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sz="5400" b="1" dirty="0">
                  <a:solidFill>
                    <a:schemeClr val="accent5"/>
                  </a:solidFill>
                  <a:latin typeface="Nexa Extra Bold"/>
                </a:rPr>
                <a:t>1</a:t>
              </a:r>
              <a:r>
                <a:rPr lang="bg-BG" sz="5400" b="1" dirty="0">
                  <a:solidFill>
                    <a:schemeClr val="accent5"/>
                  </a:solidFill>
                  <a:latin typeface="Nexa Extra Bold"/>
                </a:rPr>
                <a:t>7</a:t>
              </a:r>
              <a:endParaRPr kumimoji="0" lang="ru-RU" sz="5400" b="1" i="0" u="none" strike="noStrike" kern="1200" cap="none" spc="0" normalizeH="0" baseline="0" noProof="0" dirty="0">
                <a:ln>
                  <a:noFill/>
                </a:ln>
                <a:solidFill>
                  <a:schemeClr val="accent5"/>
                </a:solidFill>
                <a:effectLst/>
                <a:uLnTx/>
                <a:uFillTx/>
                <a:latin typeface="Nexa Extra Bold"/>
                <a:ea typeface="+mj-ea"/>
                <a:cs typeface="+mj-cs"/>
              </a:endParaRPr>
            </a:p>
          </p:txBody>
        </p:sp>
        <p:sp>
          <p:nvSpPr>
            <p:cNvPr id="15" name="Content Placeholder 2">
              <a:extLst>
                <a:ext uri="{FF2B5EF4-FFF2-40B4-BE49-F238E27FC236}">
                  <a16:creationId xmlns:a16="http://schemas.microsoft.com/office/drawing/2014/main" id="{2F92E608-713D-1F4A-8011-331C30885987}"/>
                </a:ext>
              </a:extLst>
            </p:cNvPr>
            <p:cNvSpPr txBox="1">
              <a:spLocks/>
            </p:cNvSpPr>
            <p:nvPr/>
          </p:nvSpPr>
          <p:spPr>
            <a:xfrm>
              <a:off x="6343670" y="2158889"/>
              <a:ext cx="1709855" cy="276999"/>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500"/>
                </a:spcBef>
                <a:spcAft>
                  <a:spcPts val="0"/>
                </a:spcAft>
                <a:buClr>
                  <a:srgbClr val="7BB1FF"/>
                </a:buClr>
                <a:buSzPct val="65000"/>
                <a:buFont typeface="Arial" panose="020B0604020202020204" pitchFamily="34" charset="0"/>
                <a:buNone/>
                <a:tabLst/>
                <a:defRPr/>
              </a:pPr>
              <a:r>
                <a:rPr kumimoji="0" lang="en-GB" sz="1200" b="0" i="0" u="none" strike="noStrike" kern="1200" cap="none" spc="0" normalizeH="0" baseline="0" noProof="0" dirty="0">
                  <a:ln>
                    <a:noFill/>
                  </a:ln>
                  <a:solidFill>
                    <a:prstClr val="black"/>
                  </a:solidFill>
                  <a:effectLst/>
                  <a:uLnTx/>
                  <a:uFillTx/>
                  <a:latin typeface="Montserrat" pitchFamily="2" charset="77"/>
                </a:rPr>
                <a:t>Listed</a:t>
              </a:r>
              <a:r>
                <a:rPr lang="en-GB" sz="1200" dirty="0">
                  <a:solidFill>
                    <a:prstClr val="black"/>
                  </a:solidFill>
                  <a:latin typeface="Montserrat" pitchFamily="2" charset="77"/>
                </a:rPr>
                <a:t> companies</a:t>
              </a:r>
              <a:endParaRPr kumimoji="0" lang="ru-RU" sz="1200" b="0" i="0" u="none" strike="noStrike" kern="1200" cap="none" spc="0" normalizeH="0" baseline="0" noProof="0" dirty="0">
                <a:ln>
                  <a:noFill/>
                </a:ln>
                <a:solidFill>
                  <a:prstClr val="black"/>
                </a:solidFill>
                <a:effectLst/>
                <a:uLnTx/>
                <a:uFillTx/>
                <a:latin typeface="Montserrat" pitchFamily="2" charset="77"/>
              </a:endParaRPr>
            </a:p>
          </p:txBody>
        </p:sp>
      </p:grpSp>
      <p:grpSp>
        <p:nvGrpSpPr>
          <p:cNvPr id="16" name="Group 15">
            <a:extLst>
              <a:ext uri="{FF2B5EF4-FFF2-40B4-BE49-F238E27FC236}">
                <a16:creationId xmlns:a16="http://schemas.microsoft.com/office/drawing/2014/main" id="{BA15DEB9-5C53-B64A-A8AA-169D2CF73B0E}"/>
              </a:ext>
            </a:extLst>
          </p:cNvPr>
          <p:cNvGrpSpPr/>
          <p:nvPr/>
        </p:nvGrpSpPr>
        <p:grpSpPr>
          <a:xfrm>
            <a:off x="6613549" y="2945656"/>
            <a:ext cx="2358761" cy="1343255"/>
            <a:chOff x="6318875" y="2945656"/>
            <a:chExt cx="2358761" cy="1343255"/>
          </a:xfrm>
        </p:grpSpPr>
        <p:sp>
          <p:nvSpPr>
            <p:cNvPr id="17" name="Title 1">
              <a:extLst>
                <a:ext uri="{FF2B5EF4-FFF2-40B4-BE49-F238E27FC236}">
                  <a16:creationId xmlns:a16="http://schemas.microsoft.com/office/drawing/2014/main" id="{EF68AC8F-B210-AB46-9FE3-0940AFEB4903}"/>
                </a:ext>
              </a:extLst>
            </p:cNvPr>
            <p:cNvSpPr txBox="1">
              <a:spLocks/>
            </p:cNvSpPr>
            <p:nvPr/>
          </p:nvSpPr>
          <p:spPr>
            <a:xfrm>
              <a:off x="7288886" y="2945656"/>
              <a:ext cx="426904" cy="923330"/>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ru-RU" sz="5400" b="1" i="0" u="none" strike="noStrike" kern="1200" cap="none" spc="0" normalizeH="0" baseline="0" noProof="0" dirty="0">
                  <a:ln>
                    <a:noFill/>
                  </a:ln>
                  <a:solidFill>
                    <a:schemeClr val="accent5"/>
                  </a:solidFill>
                  <a:effectLst/>
                  <a:uLnTx/>
                  <a:uFillTx/>
                  <a:latin typeface="Nexa Extra Bold"/>
                  <a:ea typeface="+mj-ea"/>
                  <a:cs typeface="+mj-cs"/>
                </a:rPr>
                <a:t>4</a:t>
              </a:r>
            </a:p>
          </p:txBody>
        </p:sp>
        <p:sp>
          <p:nvSpPr>
            <p:cNvPr id="18" name="Content Placeholder 2">
              <a:extLst>
                <a:ext uri="{FF2B5EF4-FFF2-40B4-BE49-F238E27FC236}">
                  <a16:creationId xmlns:a16="http://schemas.microsoft.com/office/drawing/2014/main" id="{9A61E51F-AEF8-124B-BA34-28451DF562C7}"/>
                </a:ext>
              </a:extLst>
            </p:cNvPr>
            <p:cNvSpPr txBox="1">
              <a:spLocks/>
            </p:cNvSpPr>
            <p:nvPr/>
          </p:nvSpPr>
          <p:spPr>
            <a:xfrm>
              <a:off x="6318875" y="3827246"/>
              <a:ext cx="2358761" cy="461665"/>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500"/>
                </a:spcBef>
                <a:buClr>
                  <a:schemeClr val="accent3"/>
                </a:buClr>
                <a:buSzPct val="65000"/>
                <a:buNone/>
              </a:pPr>
              <a:r>
                <a:rPr lang="en-GB" sz="1200" dirty="0">
                  <a:latin typeface="Montserrat" pitchFamily="2" charset="77"/>
                </a:rPr>
                <a:t>Companies at maximum funding threshold</a:t>
              </a:r>
              <a:endParaRPr lang="bg-BG" sz="1200" dirty="0">
                <a:latin typeface="Montserrat" pitchFamily="2" charset="77"/>
              </a:endParaRPr>
            </a:p>
          </p:txBody>
        </p:sp>
      </p:grpSp>
      <p:grpSp>
        <p:nvGrpSpPr>
          <p:cNvPr id="19" name="Group 18">
            <a:extLst>
              <a:ext uri="{FF2B5EF4-FFF2-40B4-BE49-F238E27FC236}">
                <a16:creationId xmlns:a16="http://schemas.microsoft.com/office/drawing/2014/main" id="{6F2F3A2D-E5FC-504B-A51E-04B4A0D51A95}"/>
              </a:ext>
            </a:extLst>
          </p:cNvPr>
          <p:cNvGrpSpPr/>
          <p:nvPr/>
        </p:nvGrpSpPr>
        <p:grpSpPr>
          <a:xfrm>
            <a:off x="8955476" y="1328380"/>
            <a:ext cx="2802249" cy="1107508"/>
            <a:chOff x="8819740" y="1328380"/>
            <a:chExt cx="2802249" cy="1107508"/>
          </a:xfrm>
        </p:grpSpPr>
        <p:sp>
          <p:nvSpPr>
            <p:cNvPr id="20" name="Title 1">
              <a:extLst>
                <a:ext uri="{FF2B5EF4-FFF2-40B4-BE49-F238E27FC236}">
                  <a16:creationId xmlns:a16="http://schemas.microsoft.com/office/drawing/2014/main" id="{63E8CE04-9C73-554A-89AF-1CAAF90E3D33}"/>
                </a:ext>
              </a:extLst>
            </p:cNvPr>
            <p:cNvSpPr txBox="1">
              <a:spLocks/>
            </p:cNvSpPr>
            <p:nvPr/>
          </p:nvSpPr>
          <p:spPr>
            <a:xfrm>
              <a:off x="8819740" y="1328380"/>
              <a:ext cx="2802249" cy="923330"/>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defTabSz="914400" rtl="0" eaLnBrk="1" fontAlgn="auto" latinLnBrk="0" hangingPunct="1">
                <a:lnSpc>
                  <a:spcPct val="100000"/>
                </a:lnSpc>
                <a:spcBef>
                  <a:spcPts val="500"/>
                </a:spcBef>
                <a:spcAft>
                  <a:spcPts val="0"/>
                </a:spcAft>
                <a:buClr>
                  <a:srgbClr val="7BB1FF"/>
                </a:buClr>
                <a:buSzPct val="65000"/>
                <a:buFontTx/>
                <a:buNone/>
                <a:tabLst/>
                <a:defRPr/>
              </a:pPr>
              <a:r>
                <a:rPr lang="en-GB" sz="1800" dirty="0">
                  <a:solidFill>
                    <a:schemeClr val="accent5"/>
                  </a:solidFill>
                  <a:latin typeface="Nexa Extra Bold Italic" panose="00000900000000000000" pitchFamily="50" charset="-52"/>
                </a:rPr>
                <a:t>Over EUR </a:t>
              </a:r>
              <a:r>
                <a:rPr lang="bg-BG" sz="1800" dirty="0">
                  <a:solidFill>
                    <a:schemeClr val="accent5"/>
                  </a:solidFill>
                  <a:latin typeface="Nexa Extra Bold Italic" panose="00000900000000000000" pitchFamily="50" charset="-52"/>
                </a:rPr>
                <a:t> </a:t>
              </a:r>
              <a:r>
                <a:rPr lang="en-GB" sz="5400" b="1" dirty="0">
                  <a:solidFill>
                    <a:schemeClr val="accent5"/>
                  </a:solidFill>
                  <a:latin typeface="Nexa Extra Bold"/>
                </a:rPr>
                <a:t>27</a:t>
              </a:r>
              <a:r>
                <a:rPr kumimoji="0" lang="bg-BG" sz="1400" b="0" u="none" strike="noStrike" kern="1200" cap="none" spc="0" normalizeH="0" baseline="0" noProof="0" dirty="0">
                  <a:ln>
                    <a:noFill/>
                  </a:ln>
                  <a:solidFill>
                    <a:schemeClr val="accent5"/>
                  </a:solidFill>
                  <a:effectLst/>
                  <a:uLnTx/>
                  <a:uFillTx/>
                  <a:latin typeface="Nexa Extra Bold Italic"/>
                  <a:ea typeface="+mj-ea"/>
                  <a:cs typeface="+mj-cs"/>
                </a:rPr>
                <a:t> </a:t>
              </a:r>
              <a:r>
                <a:rPr lang="en-US" sz="1800" dirty="0" err="1">
                  <a:solidFill>
                    <a:schemeClr val="accent5"/>
                  </a:solidFill>
                </a:rPr>
                <a:t>mln</a:t>
              </a:r>
              <a:r>
                <a:rPr lang="en-US" sz="1800" dirty="0">
                  <a:solidFill>
                    <a:schemeClr val="accent5"/>
                  </a:solidFill>
                </a:rPr>
                <a:t>.</a:t>
              </a:r>
              <a:endParaRPr lang="ru-RU" sz="1400" dirty="0">
                <a:solidFill>
                  <a:schemeClr val="accent5"/>
                </a:solidFill>
                <a:latin typeface="Nexa Extra Bold Italic" panose="00000900000000000000" pitchFamily="50" charset="-52"/>
              </a:endParaRPr>
            </a:p>
          </p:txBody>
        </p:sp>
        <p:sp>
          <p:nvSpPr>
            <p:cNvPr id="21" name="Content Placeholder 2">
              <a:extLst>
                <a:ext uri="{FF2B5EF4-FFF2-40B4-BE49-F238E27FC236}">
                  <a16:creationId xmlns:a16="http://schemas.microsoft.com/office/drawing/2014/main" id="{80915B24-5D7C-8946-BAC2-DE40143CDB37}"/>
                </a:ext>
              </a:extLst>
            </p:cNvPr>
            <p:cNvSpPr txBox="1">
              <a:spLocks/>
            </p:cNvSpPr>
            <p:nvPr/>
          </p:nvSpPr>
          <p:spPr>
            <a:xfrm>
              <a:off x="9292251" y="2158889"/>
              <a:ext cx="1647235" cy="276999"/>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500"/>
                </a:spcBef>
                <a:spcAft>
                  <a:spcPts val="0"/>
                </a:spcAft>
                <a:buClr>
                  <a:srgbClr val="7BB1FF"/>
                </a:buClr>
                <a:buSzPct val="65000"/>
                <a:buFont typeface="Arial" panose="020B0604020202020204" pitchFamily="34" charset="0"/>
                <a:buNone/>
                <a:tabLst/>
                <a:defRPr/>
              </a:pPr>
              <a:r>
                <a:rPr lang="en-GB" sz="1200" dirty="0">
                  <a:solidFill>
                    <a:prstClr val="black"/>
                  </a:solidFill>
                  <a:latin typeface="Montserrat" pitchFamily="2" charset="77"/>
                </a:rPr>
                <a:t>Raised capital</a:t>
              </a:r>
              <a:endParaRPr kumimoji="0" lang="ru-RU" sz="1200" b="0" i="0" u="none" strike="noStrike" kern="1200" cap="none" spc="0" normalizeH="0" baseline="0" noProof="0" dirty="0">
                <a:ln>
                  <a:noFill/>
                </a:ln>
                <a:solidFill>
                  <a:prstClr val="black"/>
                </a:solidFill>
                <a:effectLst/>
                <a:uLnTx/>
                <a:uFillTx/>
                <a:latin typeface="Montserrat" pitchFamily="2" charset="77"/>
              </a:endParaRPr>
            </a:p>
          </p:txBody>
        </p:sp>
      </p:grpSp>
      <p:grpSp>
        <p:nvGrpSpPr>
          <p:cNvPr id="22" name="Group 21">
            <a:extLst>
              <a:ext uri="{FF2B5EF4-FFF2-40B4-BE49-F238E27FC236}">
                <a16:creationId xmlns:a16="http://schemas.microsoft.com/office/drawing/2014/main" id="{8F48A3FD-2CF0-C441-A10D-DA319E13B635}"/>
              </a:ext>
            </a:extLst>
          </p:cNvPr>
          <p:cNvGrpSpPr/>
          <p:nvPr/>
        </p:nvGrpSpPr>
        <p:grpSpPr>
          <a:xfrm>
            <a:off x="8947241" y="2945656"/>
            <a:ext cx="3053233" cy="1158589"/>
            <a:chOff x="8811505" y="3009357"/>
            <a:chExt cx="3053233" cy="1158589"/>
          </a:xfrm>
        </p:grpSpPr>
        <p:sp>
          <p:nvSpPr>
            <p:cNvPr id="23" name="Content Placeholder 2">
              <a:extLst>
                <a:ext uri="{FF2B5EF4-FFF2-40B4-BE49-F238E27FC236}">
                  <a16:creationId xmlns:a16="http://schemas.microsoft.com/office/drawing/2014/main" id="{2AB4041B-5114-F64E-8AE2-0FB0C9866818}"/>
                </a:ext>
              </a:extLst>
            </p:cNvPr>
            <p:cNvSpPr txBox="1">
              <a:spLocks/>
            </p:cNvSpPr>
            <p:nvPr/>
          </p:nvSpPr>
          <p:spPr>
            <a:xfrm>
              <a:off x="9364172" y="3890947"/>
              <a:ext cx="1767571" cy="276999"/>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500"/>
                </a:spcBef>
                <a:buClr>
                  <a:schemeClr val="accent3"/>
                </a:buClr>
                <a:buSzPct val="65000"/>
                <a:buNone/>
              </a:pPr>
              <a:r>
                <a:rPr lang="en-GB" sz="1200" dirty="0">
                  <a:latin typeface="Montserrat" pitchFamily="2" charset="77"/>
                </a:rPr>
                <a:t>Investors demand</a:t>
              </a:r>
              <a:endParaRPr lang="bg-BG" sz="1200" dirty="0">
                <a:latin typeface="Montserrat" pitchFamily="2" charset="77"/>
              </a:endParaRPr>
            </a:p>
          </p:txBody>
        </p:sp>
        <p:sp>
          <p:nvSpPr>
            <p:cNvPr id="24" name="Title 1">
              <a:extLst>
                <a:ext uri="{FF2B5EF4-FFF2-40B4-BE49-F238E27FC236}">
                  <a16:creationId xmlns:a16="http://schemas.microsoft.com/office/drawing/2014/main" id="{C9A24098-230E-C543-9AB7-61122159002E}"/>
                </a:ext>
              </a:extLst>
            </p:cNvPr>
            <p:cNvSpPr txBox="1">
              <a:spLocks/>
            </p:cNvSpPr>
            <p:nvPr/>
          </p:nvSpPr>
          <p:spPr>
            <a:xfrm>
              <a:off x="8811505" y="3009357"/>
              <a:ext cx="3053233" cy="923330"/>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defTabSz="914400" rtl="0" eaLnBrk="1" fontAlgn="auto" latinLnBrk="0" hangingPunct="1">
                <a:lnSpc>
                  <a:spcPct val="100000"/>
                </a:lnSpc>
                <a:spcBef>
                  <a:spcPts val="500"/>
                </a:spcBef>
                <a:spcAft>
                  <a:spcPts val="0"/>
                </a:spcAft>
                <a:buClr>
                  <a:srgbClr val="7BB1FF"/>
                </a:buClr>
                <a:buSzPct val="65000"/>
                <a:buFontTx/>
                <a:buNone/>
                <a:tabLst/>
                <a:defRPr/>
              </a:pPr>
              <a:r>
                <a:rPr lang="en-GB" sz="1800" dirty="0">
                  <a:solidFill>
                    <a:schemeClr val="accent5"/>
                  </a:solidFill>
                  <a:latin typeface="Nexa Extra Bold Italic" panose="00000900000000000000" pitchFamily="50" charset="-52"/>
                </a:rPr>
                <a:t>Over EUR</a:t>
              </a:r>
              <a:r>
                <a:rPr lang="en-US" sz="5400" b="1" dirty="0">
                  <a:solidFill>
                    <a:schemeClr val="accent5"/>
                  </a:solidFill>
                  <a:latin typeface="Nexa Extra Bold"/>
                </a:rPr>
                <a:t> </a:t>
              </a:r>
              <a:r>
                <a:rPr lang="en-GB" sz="5400" b="1" dirty="0">
                  <a:solidFill>
                    <a:schemeClr val="accent5"/>
                  </a:solidFill>
                  <a:latin typeface="Nexa Extra Bold"/>
                </a:rPr>
                <a:t>56 </a:t>
              </a:r>
              <a:r>
                <a:rPr lang="en-US" sz="1800" dirty="0" err="1">
                  <a:solidFill>
                    <a:schemeClr val="accent5"/>
                  </a:solidFill>
                </a:rPr>
                <a:t>mln</a:t>
              </a:r>
              <a:r>
                <a:rPr lang="en-US" sz="1800" dirty="0">
                  <a:solidFill>
                    <a:schemeClr val="accent5"/>
                  </a:solidFill>
                </a:rPr>
                <a:t>.</a:t>
              </a:r>
              <a:endParaRPr lang="ru-RU" sz="1400" dirty="0">
                <a:solidFill>
                  <a:schemeClr val="accent5"/>
                </a:solidFill>
              </a:endParaRPr>
            </a:p>
          </p:txBody>
        </p:sp>
      </p:grpSp>
      <p:grpSp>
        <p:nvGrpSpPr>
          <p:cNvPr id="25" name="Group 24">
            <a:extLst>
              <a:ext uri="{FF2B5EF4-FFF2-40B4-BE49-F238E27FC236}">
                <a16:creationId xmlns:a16="http://schemas.microsoft.com/office/drawing/2014/main" id="{A670CFCC-3B5F-2847-9879-A5AB944616E8}"/>
              </a:ext>
            </a:extLst>
          </p:cNvPr>
          <p:cNvGrpSpPr/>
          <p:nvPr/>
        </p:nvGrpSpPr>
        <p:grpSpPr>
          <a:xfrm>
            <a:off x="7133728" y="4817502"/>
            <a:ext cx="1318402" cy="1220396"/>
            <a:chOff x="6277489" y="4792510"/>
            <a:chExt cx="1318402" cy="1220396"/>
          </a:xfrm>
        </p:grpSpPr>
        <p:sp>
          <p:nvSpPr>
            <p:cNvPr id="26" name="Content Placeholder 2">
              <a:extLst>
                <a:ext uri="{FF2B5EF4-FFF2-40B4-BE49-F238E27FC236}">
                  <a16:creationId xmlns:a16="http://schemas.microsoft.com/office/drawing/2014/main" id="{7A051798-70F6-2749-A15A-AF7D98C61B0B}"/>
                </a:ext>
              </a:extLst>
            </p:cNvPr>
            <p:cNvSpPr txBox="1">
              <a:spLocks/>
            </p:cNvSpPr>
            <p:nvPr/>
          </p:nvSpPr>
          <p:spPr>
            <a:xfrm>
              <a:off x="6277489" y="5735907"/>
              <a:ext cx="1318402" cy="276999"/>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500"/>
                </a:spcBef>
                <a:spcAft>
                  <a:spcPts val="0"/>
                </a:spcAft>
                <a:buClr>
                  <a:srgbClr val="7BB1FF"/>
                </a:buClr>
                <a:buSzPct val="65000"/>
                <a:buFont typeface="Arial" panose="020B0604020202020204" pitchFamily="34" charset="0"/>
                <a:buNone/>
                <a:tabLst/>
                <a:defRPr/>
              </a:pPr>
              <a:r>
                <a:rPr lang="en-GB" sz="1200" dirty="0">
                  <a:solidFill>
                    <a:prstClr val="black"/>
                  </a:solidFill>
                  <a:latin typeface="Montserrat" pitchFamily="2" charset="77"/>
                </a:rPr>
                <a:t>B</a:t>
              </a:r>
              <a:r>
                <a:rPr kumimoji="0" lang="en-US" sz="1200" b="0" i="0" u="none" strike="noStrike" kern="1200" cap="none" spc="0" normalizeH="0" baseline="0" noProof="0" dirty="0" err="1">
                  <a:ln>
                    <a:noFill/>
                  </a:ln>
                  <a:solidFill>
                    <a:prstClr val="black"/>
                  </a:solidFill>
                  <a:effectLst/>
                  <a:uLnTx/>
                  <a:uFillTx/>
                  <a:latin typeface="Montserrat" pitchFamily="2" charset="77"/>
                </a:rPr>
                <a:t>eamX</a:t>
              </a:r>
              <a:r>
                <a:rPr kumimoji="0" lang="en-US" sz="1200" b="0" i="0" u="none" strike="noStrike" kern="1200" cap="none" spc="0" normalizeH="0" baseline="0" noProof="0" dirty="0">
                  <a:ln>
                    <a:noFill/>
                  </a:ln>
                  <a:solidFill>
                    <a:prstClr val="black"/>
                  </a:solidFill>
                  <a:effectLst/>
                  <a:uLnTx/>
                  <a:uFillTx/>
                  <a:latin typeface="Montserrat" pitchFamily="2" charset="77"/>
                </a:rPr>
                <a:t> Index</a:t>
              </a:r>
              <a:endParaRPr kumimoji="0" lang="ru-RU" sz="1200" b="0" i="0" u="none" strike="noStrike" kern="1200" cap="none" spc="0" normalizeH="0" baseline="0" noProof="0" dirty="0">
                <a:ln>
                  <a:noFill/>
                </a:ln>
                <a:solidFill>
                  <a:prstClr val="black"/>
                </a:solidFill>
                <a:effectLst/>
                <a:uLnTx/>
                <a:uFillTx/>
                <a:latin typeface="Montserrat" pitchFamily="2" charset="77"/>
              </a:endParaRPr>
            </a:p>
          </p:txBody>
        </p:sp>
        <p:pic>
          <p:nvPicPr>
            <p:cNvPr id="27" name="Picture 26">
              <a:extLst>
                <a:ext uri="{FF2B5EF4-FFF2-40B4-BE49-F238E27FC236}">
                  <a16:creationId xmlns:a16="http://schemas.microsoft.com/office/drawing/2014/main" id="{2CD98B37-C5B2-0C42-9892-52E27CD76F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54075" y="4792510"/>
              <a:ext cx="776546" cy="776546"/>
            </a:xfrm>
            <a:prstGeom prst="rect">
              <a:avLst/>
            </a:prstGeom>
          </p:spPr>
        </p:pic>
      </p:grpSp>
      <p:grpSp>
        <p:nvGrpSpPr>
          <p:cNvPr id="28" name="Group 27">
            <a:extLst>
              <a:ext uri="{FF2B5EF4-FFF2-40B4-BE49-F238E27FC236}">
                <a16:creationId xmlns:a16="http://schemas.microsoft.com/office/drawing/2014/main" id="{750166C8-A71C-6249-B05C-9A8F9E1F5F90}"/>
              </a:ext>
            </a:extLst>
          </p:cNvPr>
          <p:cNvGrpSpPr/>
          <p:nvPr/>
        </p:nvGrpSpPr>
        <p:grpSpPr>
          <a:xfrm>
            <a:off x="330429" y="1301737"/>
            <a:ext cx="5370286" cy="4658489"/>
            <a:chOff x="330429" y="1301737"/>
            <a:chExt cx="5370286" cy="4658489"/>
          </a:xfrm>
        </p:grpSpPr>
        <p:pic>
          <p:nvPicPr>
            <p:cNvPr id="29" name="Picture 4" descr="Първично публично предлагане на „Уебит Инвестмънт Нетуърк“ EАД | Karoll  broker">
              <a:extLst>
                <a:ext uri="{FF2B5EF4-FFF2-40B4-BE49-F238E27FC236}">
                  <a16:creationId xmlns:a16="http://schemas.microsoft.com/office/drawing/2014/main" id="{A8B8D673-68AC-2448-AFA9-389061216B6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36683" y="2816440"/>
              <a:ext cx="2165549" cy="970586"/>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descr="Logo&#10;&#10;Description automatically generated">
              <a:extLst>
                <a:ext uri="{FF2B5EF4-FFF2-40B4-BE49-F238E27FC236}">
                  <a16:creationId xmlns:a16="http://schemas.microsoft.com/office/drawing/2014/main" id="{277E46BE-E0D5-A74A-8E9C-4BBA8D7DBE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8384" y="2925990"/>
              <a:ext cx="804391" cy="1219597"/>
            </a:xfrm>
            <a:prstGeom prst="rect">
              <a:avLst/>
            </a:prstGeom>
          </p:spPr>
        </p:pic>
        <p:pic>
          <p:nvPicPr>
            <p:cNvPr id="31" name="Picture 30" descr="Logo, company name&#10;&#10;Description automatically generated">
              <a:extLst>
                <a:ext uri="{FF2B5EF4-FFF2-40B4-BE49-F238E27FC236}">
                  <a16:creationId xmlns:a16="http://schemas.microsoft.com/office/drawing/2014/main" id="{366343A0-150D-7747-93B5-57DF0D7E0EE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5487" y="2191551"/>
              <a:ext cx="1157682" cy="646543"/>
            </a:xfrm>
            <a:prstGeom prst="rect">
              <a:avLst/>
            </a:prstGeom>
          </p:spPr>
        </p:pic>
        <p:pic>
          <p:nvPicPr>
            <p:cNvPr id="32" name="Picture 31" descr="Logo, company name&#10;&#10;Description automatically generated">
              <a:extLst>
                <a:ext uri="{FF2B5EF4-FFF2-40B4-BE49-F238E27FC236}">
                  <a16:creationId xmlns:a16="http://schemas.microsoft.com/office/drawing/2014/main" id="{354CB59D-91E8-A249-982C-E6D89FB93B1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62157" y="1301737"/>
              <a:ext cx="1464867" cy="1016132"/>
            </a:xfrm>
            <a:prstGeom prst="rect">
              <a:avLst/>
            </a:prstGeom>
          </p:spPr>
        </p:pic>
        <p:pic>
          <p:nvPicPr>
            <p:cNvPr id="33" name="Picture 32" descr="Logo&#10;&#10;Description automatically generated">
              <a:extLst>
                <a:ext uri="{FF2B5EF4-FFF2-40B4-BE49-F238E27FC236}">
                  <a16:creationId xmlns:a16="http://schemas.microsoft.com/office/drawing/2014/main" id="{AE33F615-5C55-AF40-A0F9-F9D498083FD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32158" y="4135631"/>
              <a:ext cx="793824" cy="779221"/>
            </a:xfrm>
            <a:prstGeom prst="rect">
              <a:avLst/>
            </a:prstGeom>
          </p:spPr>
        </p:pic>
        <p:pic>
          <p:nvPicPr>
            <p:cNvPr id="34" name="Picture 33">
              <a:extLst>
                <a:ext uri="{FF2B5EF4-FFF2-40B4-BE49-F238E27FC236}">
                  <a16:creationId xmlns:a16="http://schemas.microsoft.com/office/drawing/2014/main" id="{E3D877E7-49BD-994D-85F7-03C2B0C6AAC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19605" y="2529546"/>
              <a:ext cx="2118297" cy="172364"/>
            </a:xfrm>
            <a:prstGeom prst="rect">
              <a:avLst/>
            </a:prstGeom>
          </p:spPr>
        </p:pic>
        <p:pic>
          <p:nvPicPr>
            <p:cNvPr id="35" name="Picture 34" descr="A picture containing text&#10;&#10;Description automatically generated">
              <a:extLst>
                <a:ext uri="{FF2B5EF4-FFF2-40B4-BE49-F238E27FC236}">
                  <a16:creationId xmlns:a16="http://schemas.microsoft.com/office/drawing/2014/main" id="{DECEEDC1-2AAF-504B-BC11-7CA476CF722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37841" y="3976374"/>
              <a:ext cx="1970447" cy="330620"/>
            </a:xfrm>
            <a:prstGeom prst="rect">
              <a:avLst/>
            </a:prstGeom>
          </p:spPr>
        </p:pic>
        <p:pic>
          <p:nvPicPr>
            <p:cNvPr id="36" name="Picture 35">
              <a:extLst>
                <a:ext uri="{FF2B5EF4-FFF2-40B4-BE49-F238E27FC236}">
                  <a16:creationId xmlns:a16="http://schemas.microsoft.com/office/drawing/2014/main" id="{52C8123D-8C18-174F-A61E-2FBB39F9847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021454" y="1339829"/>
              <a:ext cx="1578253" cy="777455"/>
            </a:xfrm>
            <a:prstGeom prst="rect">
              <a:avLst/>
            </a:prstGeom>
          </p:spPr>
        </p:pic>
        <p:pic>
          <p:nvPicPr>
            <p:cNvPr id="37" name="Picture 36">
              <a:extLst>
                <a:ext uri="{FF2B5EF4-FFF2-40B4-BE49-F238E27FC236}">
                  <a16:creationId xmlns:a16="http://schemas.microsoft.com/office/drawing/2014/main" id="{2F596EEF-0BF0-8146-8F7C-E686D429055D}"/>
                </a:ext>
              </a:extLst>
            </p:cNvPr>
            <p:cNvPicPr>
              <a:picLocks noChangeAspect="1"/>
            </p:cNvPicPr>
            <p:nvPr/>
          </p:nvPicPr>
          <p:blipFill>
            <a:blip r:embed="rId12"/>
            <a:stretch>
              <a:fillRect/>
            </a:stretch>
          </p:blipFill>
          <p:spPr>
            <a:xfrm>
              <a:off x="330429" y="1301737"/>
              <a:ext cx="1970447" cy="922169"/>
            </a:xfrm>
            <a:prstGeom prst="rect">
              <a:avLst/>
            </a:prstGeom>
          </p:spPr>
        </p:pic>
        <p:pic>
          <p:nvPicPr>
            <p:cNvPr id="38" name="Picture 37">
              <a:extLst>
                <a:ext uri="{FF2B5EF4-FFF2-40B4-BE49-F238E27FC236}">
                  <a16:creationId xmlns:a16="http://schemas.microsoft.com/office/drawing/2014/main" id="{280B6600-9DBE-FE43-82AA-2FFA39F58C5B}"/>
                </a:ext>
              </a:extLst>
            </p:cNvPr>
            <p:cNvPicPr>
              <a:picLocks noChangeAspect="1"/>
            </p:cNvPicPr>
            <p:nvPr/>
          </p:nvPicPr>
          <p:blipFill>
            <a:blip r:embed="rId13"/>
            <a:stretch>
              <a:fillRect/>
            </a:stretch>
          </p:blipFill>
          <p:spPr>
            <a:xfrm>
              <a:off x="3269937" y="5126471"/>
              <a:ext cx="1004134" cy="766221"/>
            </a:xfrm>
            <a:prstGeom prst="rect">
              <a:avLst/>
            </a:prstGeom>
          </p:spPr>
        </p:pic>
        <p:pic>
          <p:nvPicPr>
            <p:cNvPr id="39" name="Picture 38">
              <a:extLst>
                <a:ext uri="{FF2B5EF4-FFF2-40B4-BE49-F238E27FC236}">
                  <a16:creationId xmlns:a16="http://schemas.microsoft.com/office/drawing/2014/main" id="{BF65A273-8A67-2545-8E7F-CDF1F242C218}"/>
                </a:ext>
              </a:extLst>
            </p:cNvPr>
            <p:cNvPicPr>
              <a:picLocks noChangeAspect="1"/>
            </p:cNvPicPr>
            <p:nvPr/>
          </p:nvPicPr>
          <p:blipFill>
            <a:blip r:embed="rId14"/>
            <a:stretch>
              <a:fillRect/>
            </a:stretch>
          </p:blipFill>
          <p:spPr>
            <a:xfrm>
              <a:off x="4409328" y="3989686"/>
              <a:ext cx="1058730" cy="1071113"/>
            </a:xfrm>
            <a:prstGeom prst="rect">
              <a:avLst/>
            </a:prstGeom>
          </p:spPr>
        </p:pic>
        <p:pic>
          <p:nvPicPr>
            <p:cNvPr id="40" name="Picture 39">
              <a:extLst>
                <a:ext uri="{FF2B5EF4-FFF2-40B4-BE49-F238E27FC236}">
                  <a16:creationId xmlns:a16="http://schemas.microsoft.com/office/drawing/2014/main" id="{F05D705A-8458-DF4B-8ED4-60F8718D0371}"/>
                </a:ext>
              </a:extLst>
            </p:cNvPr>
            <p:cNvPicPr>
              <a:picLocks noChangeAspect="1"/>
            </p:cNvPicPr>
            <p:nvPr/>
          </p:nvPicPr>
          <p:blipFill>
            <a:blip r:embed="rId15"/>
            <a:stretch>
              <a:fillRect/>
            </a:stretch>
          </p:blipFill>
          <p:spPr>
            <a:xfrm>
              <a:off x="4428522" y="3009601"/>
              <a:ext cx="1095555" cy="937121"/>
            </a:xfrm>
            <a:prstGeom prst="rect">
              <a:avLst/>
            </a:prstGeom>
          </p:spPr>
        </p:pic>
        <p:pic>
          <p:nvPicPr>
            <p:cNvPr id="41" name="Picture 40">
              <a:extLst>
                <a:ext uri="{FF2B5EF4-FFF2-40B4-BE49-F238E27FC236}">
                  <a16:creationId xmlns:a16="http://schemas.microsoft.com/office/drawing/2014/main" id="{F5E23A76-D493-214A-888A-2E8F01BBCF9D}"/>
                </a:ext>
              </a:extLst>
            </p:cNvPr>
            <p:cNvPicPr>
              <a:picLocks noChangeAspect="1"/>
            </p:cNvPicPr>
            <p:nvPr/>
          </p:nvPicPr>
          <p:blipFill>
            <a:blip r:embed="rId16"/>
            <a:stretch>
              <a:fillRect/>
            </a:stretch>
          </p:blipFill>
          <p:spPr>
            <a:xfrm>
              <a:off x="2102265" y="4360566"/>
              <a:ext cx="1869839" cy="631771"/>
            </a:xfrm>
            <a:prstGeom prst="rect">
              <a:avLst/>
            </a:prstGeom>
          </p:spPr>
        </p:pic>
        <p:pic>
          <p:nvPicPr>
            <p:cNvPr id="42" name="Picture 41" descr="A picture containing text, sign&#10;&#10;Description automatically generated">
              <a:extLst>
                <a:ext uri="{FF2B5EF4-FFF2-40B4-BE49-F238E27FC236}">
                  <a16:creationId xmlns:a16="http://schemas.microsoft.com/office/drawing/2014/main" id="{FD3F09C4-A810-F849-A1D1-816110E929DC}"/>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372612" y="2367885"/>
              <a:ext cx="1239666" cy="471073"/>
            </a:xfrm>
            <a:prstGeom prst="rect">
              <a:avLst/>
            </a:prstGeom>
          </p:spPr>
        </p:pic>
        <p:pic>
          <p:nvPicPr>
            <p:cNvPr id="43" name="Picture 42" descr="A green frog with a crown&#10;&#10;Description automatically generated">
              <a:extLst>
                <a:ext uri="{FF2B5EF4-FFF2-40B4-BE49-F238E27FC236}">
                  <a16:creationId xmlns:a16="http://schemas.microsoft.com/office/drawing/2014/main" id="{2B93020D-1F21-D04E-9F50-7C2A8CF00FC9}"/>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28524" y="5090643"/>
              <a:ext cx="869583" cy="869583"/>
            </a:xfrm>
            <a:prstGeom prst="rect">
              <a:avLst/>
            </a:prstGeom>
          </p:spPr>
        </p:pic>
        <p:pic>
          <p:nvPicPr>
            <p:cNvPr id="44" name="Picture 43" descr="A green and black logo&#10;&#10;Description automatically generated">
              <a:extLst>
                <a:ext uri="{FF2B5EF4-FFF2-40B4-BE49-F238E27FC236}">
                  <a16:creationId xmlns:a16="http://schemas.microsoft.com/office/drawing/2014/main" id="{3022FD3F-1DB1-9E41-9E7E-9D6083D09A2D}"/>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824495" y="5216466"/>
              <a:ext cx="1255684" cy="660587"/>
            </a:xfrm>
            <a:prstGeom prst="rect">
              <a:avLst/>
            </a:prstGeom>
          </p:spPr>
        </p:pic>
        <p:pic>
          <p:nvPicPr>
            <p:cNvPr id="45" name="Picture 44" descr="A blue sign with white text&#10;&#10;Description automatically generated">
              <a:extLst>
                <a:ext uri="{FF2B5EF4-FFF2-40B4-BE49-F238E27FC236}">
                  <a16:creationId xmlns:a16="http://schemas.microsoft.com/office/drawing/2014/main" id="{6E8CAC17-89DF-2346-9C3F-ABDE6B5E8BAF}"/>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4544825" y="5356757"/>
              <a:ext cx="1155890" cy="485061"/>
            </a:xfrm>
            <a:prstGeom prst="rect">
              <a:avLst/>
            </a:prstGeom>
          </p:spPr>
        </p:pic>
      </p:grpSp>
      <p:sp>
        <p:nvSpPr>
          <p:cNvPr id="46" name="Title 1">
            <a:extLst>
              <a:ext uri="{FF2B5EF4-FFF2-40B4-BE49-F238E27FC236}">
                <a16:creationId xmlns:a16="http://schemas.microsoft.com/office/drawing/2014/main" id="{272A5566-85BD-C54F-8433-8E334927461F}"/>
              </a:ext>
            </a:extLst>
          </p:cNvPr>
          <p:cNvSpPr>
            <a:spLocks noGrp="1"/>
          </p:cNvSpPr>
          <p:nvPr>
            <p:ph type="title"/>
          </p:nvPr>
        </p:nvSpPr>
        <p:spPr>
          <a:xfrm>
            <a:off x="2978623" y="282889"/>
            <a:ext cx="3195242" cy="249299"/>
          </a:xfrm>
        </p:spPr>
        <p:txBody>
          <a:bodyPr wrap="square" lIns="0" tIns="0" rIns="0" bIns="0" anchor="t">
            <a:spAutoFit/>
          </a:bodyPr>
          <a:lstStyle/>
          <a:p>
            <a:r>
              <a:rPr lang="en-GB" sz="1800" b="0" dirty="0">
                <a:solidFill>
                  <a:schemeClr val="accent3"/>
                </a:solidFill>
                <a:latin typeface="Montserrat" pitchFamily="2" charset="77"/>
              </a:rPr>
              <a:t> </a:t>
            </a:r>
            <a:r>
              <a:rPr lang="en-GB" sz="1800" dirty="0">
                <a:solidFill>
                  <a:schemeClr val="accent3"/>
                </a:solidFill>
                <a:latin typeface="Montserrat SemiBold" pitchFamily="2" charset="77"/>
              </a:rPr>
              <a:t>beam</a:t>
            </a:r>
            <a:r>
              <a:rPr lang="en-GB" sz="1800" b="0" dirty="0">
                <a:solidFill>
                  <a:schemeClr val="accent3"/>
                </a:solidFill>
                <a:latin typeface="Montserrat" pitchFamily="2" charset="77"/>
              </a:rPr>
              <a:t> </a:t>
            </a:r>
            <a:r>
              <a:rPr lang="bg-BG" sz="1800" b="0" dirty="0">
                <a:solidFill>
                  <a:schemeClr val="accent3"/>
                </a:solidFill>
                <a:latin typeface="Montserrat" pitchFamily="2" charset="77"/>
              </a:rPr>
              <a:t>- </a:t>
            </a:r>
            <a:r>
              <a:rPr lang="en-GB" sz="1800" b="0" dirty="0">
                <a:solidFill>
                  <a:schemeClr val="accent3"/>
                </a:solidFill>
                <a:latin typeface="Montserrat" pitchFamily="2" charset="77"/>
              </a:rPr>
              <a:t>Success stories</a:t>
            </a:r>
            <a:endParaRPr lang="en-GB" sz="1800" b="0" dirty="0">
              <a:solidFill>
                <a:schemeClr val="accent3"/>
              </a:solidFill>
              <a:effectLst>
                <a:outerShdw blurRad="38100" dist="38100" dir="2700000" algn="tl">
                  <a:srgbClr val="000000">
                    <a:alpha val="43137"/>
                  </a:srgbClr>
                </a:outerShdw>
              </a:effectLst>
              <a:latin typeface="Montserrat" pitchFamily="2" charset="77"/>
            </a:endParaRPr>
          </a:p>
        </p:txBody>
      </p:sp>
    </p:spTree>
    <p:extLst>
      <p:ext uri="{BB962C8B-B14F-4D97-AF65-F5344CB8AC3E}">
        <p14:creationId xmlns:p14="http://schemas.microsoft.com/office/powerpoint/2010/main" val="24377580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1000"/>
                                        <p:tgtEl>
                                          <p:spTgt spid="28"/>
                                        </p:tgtEl>
                                      </p:cBhvr>
                                    </p:animEffect>
                                  </p:childTnLst>
                                </p:cTn>
                              </p:par>
                              <p:par>
                                <p:cTn id="8" presetID="10" presetClass="entr" presetSubtype="0" fill="hold" nodeType="withEffect">
                                  <p:stCondLst>
                                    <p:cond delay="5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1000"/>
                                        <p:tgtEl>
                                          <p:spTgt spid="12"/>
                                        </p:tgtEl>
                                      </p:cBhvr>
                                    </p:animEffect>
                                  </p:childTnLst>
                                </p:cTn>
                              </p:par>
                            </p:childTnLst>
                          </p:cTn>
                        </p:par>
                        <p:par>
                          <p:cTn id="11" fill="hold">
                            <p:stCondLst>
                              <p:cond delay="1500"/>
                            </p:stCondLst>
                            <p:childTnLst>
                              <p:par>
                                <p:cTn id="12" presetID="10" presetClass="entr" presetSubtype="0" fill="hold" nodeType="after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fade">
                                      <p:cBhvr>
                                        <p:cTn id="14" dur="1000"/>
                                        <p:tgtEl>
                                          <p:spTgt spid="13"/>
                                        </p:tgtEl>
                                      </p:cBhvr>
                                    </p:animEffect>
                                  </p:childTnLst>
                                </p:cTn>
                              </p:par>
                            </p:childTnLst>
                          </p:cTn>
                        </p:par>
                        <p:par>
                          <p:cTn id="15" fill="hold">
                            <p:stCondLst>
                              <p:cond delay="2500"/>
                            </p:stCondLst>
                            <p:childTnLst>
                              <p:par>
                                <p:cTn id="16" presetID="10" presetClass="entr" presetSubtype="0" fill="hold"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1000"/>
                                        <p:tgtEl>
                                          <p:spTgt spid="19"/>
                                        </p:tgtEl>
                                      </p:cBhvr>
                                    </p:animEffect>
                                  </p:childTnLst>
                                </p:cTn>
                              </p:par>
                            </p:childTnLst>
                          </p:cTn>
                        </p:par>
                        <p:par>
                          <p:cTn id="19" fill="hold">
                            <p:stCondLst>
                              <p:cond delay="3500"/>
                            </p:stCondLst>
                            <p:childTnLst>
                              <p:par>
                                <p:cTn id="20" presetID="10" presetClass="entr" presetSubtype="0" fill="hold" nodeType="after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1000"/>
                                        <p:tgtEl>
                                          <p:spTgt spid="16"/>
                                        </p:tgtEl>
                                      </p:cBhvr>
                                    </p:animEffect>
                                  </p:childTnLst>
                                </p:cTn>
                              </p:par>
                            </p:childTnLst>
                          </p:cTn>
                        </p:par>
                        <p:par>
                          <p:cTn id="23" fill="hold">
                            <p:stCondLst>
                              <p:cond delay="4500"/>
                            </p:stCondLst>
                            <p:childTnLst>
                              <p:par>
                                <p:cTn id="24" presetID="10" presetClass="entr" presetSubtype="0" fill="hold" nodeType="after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1000"/>
                                        <p:tgtEl>
                                          <p:spTgt spid="22"/>
                                        </p:tgtEl>
                                      </p:cBhvr>
                                    </p:animEffect>
                                  </p:childTnLst>
                                </p:cTn>
                              </p:par>
                            </p:childTnLst>
                          </p:cTn>
                        </p:par>
                        <p:par>
                          <p:cTn id="27" fill="hold">
                            <p:stCondLst>
                              <p:cond delay="5500"/>
                            </p:stCondLst>
                            <p:childTnLst>
                              <p:par>
                                <p:cTn id="28" presetID="10" presetClass="entr" presetSubtype="0" fill="hold" nodeType="afterEffect">
                                  <p:stCondLst>
                                    <p:cond delay="0"/>
                                  </p:stCondLst>
                                  <p:childTnLst>
                                    <p:set>
                                      <p:cBhvr>
                                        <p:cTn id="29" dur="1" fill="hold">
                                          <p:stCondLst>
                                            <p:cond delay="0"/>
                                          </p:stCondLst>
                                        </p:cTn>
                                        <p:tgtEl>
                                          <p:spTgt spid="25"/>
                                        </p:tgtEl>
                                        <p:attrNameLst>
                                          <p:attrName>style.visibility</p:attrName>
                                        </p:attrNameLst>
                                      </p:cBhvr>
                                      <p:to>
                                        <p:strVal val="visible"/>
                                      </p:to>
                                    </p:set>
                                    <p:animEffect transition="in" filter="fade">
                                      <p:cBhvr>
                                        <p:cTn id="30"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 name="Rounded Rectangle"/>
          <p:cNvSpPr/>
          <p:nvPr/>
        </p:nvSpPr>
        <p:spPr>
          <a:xfrm>
            <a:off x="660609" y="2441327"/>
            <a:ext cx="3457032" cy="3502193"/>
          </a:xfrm>
          <a:prstGeom prst="roundRect">
            <a:avLst>
              <a:gd name="adj" fmla="val 15086"/>
            </a:avLst>
          </a:prstGeom>
          <a:solidFill>
            <a:srgbClr val="FFFFFF"/>
          </a:solidFill>
          <a:ln w="50800">
            <a:solidFill>
              <a:schemeClr val="accent1"/>
            </a:solidFill>
          </a:ln>
        </p:spPr>
        <p:txBody>
          <a:bodyPr lIns="27726" tIns="27726" rIns="27726" bIns="27726" anchor="ctr"/>
          <a:lstStyle/>
          <a:p>
            <a:pPr defTabSz="554805" hangingPunct="0"/>
            <a:endParaRPr sz="1000" kern="0">
              <a:solidFill>
                <a:srgbClr val="000000"/>
              </a:solidFill>
              <a:latin typeface="Helvetica Neue"/>
              <a:ea typeface="Helvetica Neue"/>
              <a:cs typeface="Helvetica Neue"/>
              <a:sym typeface="Helvetica Neue"/>
            </a:endParaRPr>
          </a:p>
        </p:txBody>
      </p:sp>
      <p:sp>
        <p:nvSpPr>
          <p:cNvPr id="129" name="Rounded Rectangle"/>
          <p:cNvSpPr/>
          <p:nvPr/>
        </p:nvSpPr>
        <p:spPr>
          <a:xfrm>
            <a:off x="4296702" y="2441327"/>
            <a:ext cx="3457032" cy="3502193"/>
          </a:xfrm>
          <a:prstGeom prst="roundRect">
            <a:avLst>
              <a:gd name="adj" fmla="val 15086"/>
            </a:avLst>
          </a:prstGeom>
          <a:solidFill>
            <a:srgbClr val="FFFFFF"/>
          </a:solidFill>
          <a:ln w="50800">
            <a:solidFill>
              <a:schemeClr val="accent1"/>
            </a:solidFill>
          </a:ln>
        </p:spPr>
        <p:txBody>
          <a:bodyPr lIns="27726" tIns="27726" rIns="27726" bIns="27726" anchor="ctr"/>
          <a:lstStyle/>
          <a:p>
            <a:pPr defTabSz="554805" hangingPunct="0"/>
            <a:endParaRPr sz="1000" kern="0">
              <a:solidFill>
                <a:srgbClr val="000000"/>
              </a:solidFill>
              <a:latin typeface="Helvetica Neue"/>
              <a:ea typeface="Helvetica Neue"/>
              <a:cs typeface="Helvetica Neue"/>
              <a:sym typeface="Helvetica Neue"/>
            </a:endParaRPr>
          </a:p>
        </p:txBody>
      </p:sp>
      <p:sp>
        <p:nvSpPr>
          <p:cNvPr id="130" name="Rounded Rectangle"/>
          <p:cNvSpPr/>
          <p:nvPr/>
        </p:nvSpPr>
        <p:spPr>
          <a:xfrm>
            <a:off x="7895299" y="2441327"/>
            <a:ext cx="3457032" cy="3502193"/>
          </a:xfrm>
          <a:prstGeom prst="roundRect">
            <a:avLst>
              <a:gd name="adj" fmla="val 15086"/>
            </a:avLst>
          </a:prstGeom>
          <a:solidFill>
            <a:srgbClr val="FFFFFF"/>
          </a:solidFill>
          <a:ln w="50800">
            <a:solidFill>
              <a:schemeClr val="accent1"/>
            </a:solidFill>
          </a:ln>
        </p:spPr>
        <p:txBody>
          <a:bodyPr lIns="27726" tIns="27726" rIns="27726" bIns="27726" anchor="ctr"/>
          <a:lstStyle/>
          <a:p>
            <a:pPr defTabSz="554805" hangingPunct="0"/>
            <a:endParaRPr sz="1000" kern="0">
              <a:solidFill>
                <a:srgbClr val="000000"/>
              </a:solidFill>
              <a:latin typeface="Helvetica Neue"/>
              <a:ea typeface="Helvetica Neue"/>
              <a:cs typeface="Helvetica Neue"/>
              <a:sym typeface="Helvetica Neue"/>
            </a:endParaRPr>
          </a:p>
        </p:txBody>
      </p:sp>
      <p:sp>
        <p:nvSpPr>
          <p:cNvPr id="131" name="Freeform 4"/>
          <p:cNvSpPr/>
          <p:nvPr/>
        </p:nvSpPr>
        <p:spPr>
          <a:xfrm>
            <a:off x="1710094" y="1723142"/>
            <a:ext cx="1422401" cy="1422401"/>
          </a:xfrm>
          <a:prstGeom prst="rect">
            <a:avLst/>
          </a:prstGeom>
          <a:blipFill>
            <a:blip r:embed="rId2"/>
            <a:stretch>
              <a:fillRect/>
            </a:stretch>
          </a:blipFill>
          <a:ln w="12700">
            <a:miter lim="400000"/>
          </a:ln>
        </p:spPr>
        <p:txBody>
          <a:bodyPr lIns="27726" tIns="27726" rIns="27726" bIns="27726"/>
          <a:lstStyle/>
          <a:p>
            <a:pPr defTabSz="554805" hangingPunct="0">
              <a:defRPr sz="2600">
                <a:latin typeface="Calibri"/>
                <a:ea typeface="Calibri"/>
                <a:cs typeface="Calibri"/>
                <a:sym typeface="Calibri"/>
              </a:defRPr>
            </a:pPr>
            <a:endParaRPr sz="1300" kern="0">
              <a:solidFill>
                <a:srgbClr val="000000"/>
              </a:solidFill>
              <a:latin typeface="Calibri"/>
              <a:cs typeface="Calibri"/>
              <a:sym typeface="Calibri"/>
            </a:endParaRPr>
          </a:p>
        </p:txBody>
      </p:sp>
      <p:sp>
        <p:nvSpPr>
          <p:cNvPr id="132" name="Freeform 7"/>
          <p:cNvSpPr/>
          <p:nvPr/>
        </p:nvSpPr>
        <p:spPr>
          <a:xfrm>
            <a:off x="5295270" y="1610044"/>
            <a:ext cx="1422401" cy="1422401"/>
          </a:xfrm>
          <a:prstGeom prst="rect">
            <a:avLst/>
          </a:prstGeom>
          <a:blipFill>
            <a:blip r:embed="rId2"/>
            <a:stretch>
              <a:fillRect/>
            </a:stretch>
          </a:blipFill>
          <a:ln w="12700">
            <a:miter lim="400000"/>
          </a:ln>
        </p:spPr>
        <p:txBody>
          <a:bodyPr lIns="27726" tIns="27726" rIns="27726" bIns="27726"/>
          <a:lstStyle/>
          <a:p>
            <a:pPr defTabSz="554805" hangingPunct="0">
              <a:defRPr sz="2600">
                <a:latin typeface="Calibri"/>
                <a:ea typeface="Calibri"/>
                <a:cs typeface="Calibri"/>
                <a:sym typeface="Calibri"/>
              </a:defRPr>
            </a:pPr>
            <a:endParaRPr sz="1300" kern="0">
              <a:solidFill>
                <a:srgbClr val="000000"/>
              </a:solidFill>
              <a:latin typeface="Calibri"/>
              <a:cs typeface="Calibri"/>
              <a:sym typeface="Calibri"/>
            </a:endParaRPr>
          </a:p>
        </p:txBody>
      </p:sp>
      <p:sp>
        <p:nvSpPr>
          <p:cNvPr id="133" name="TextBox 16"/>
          <p:cNvSpPr txBox="1"/>
          <p:nvPr/>
        </p:nvSpPr>
        <p:spPr>
          <a:xfrm>
            <a:off x="1054012" y="3357015"/>
            <a:ext cx="2712173" cy="33701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lgn="ctr">
              <a:lnSpc>
                <a:spcPts val="5600"/>
              </a:lnSpc>
              <a:defRPr sz="4000" b="1">
                <a:solidFill>
                  <a:srgbClr val="5A92CB"/>
                </a:solidFill>
                <a:latin typeface="Uniform"/>
                <a:ea typeface="Uniform"/>
                <a:cs typeface="Uniform"/>
                <a:sym typeface="Uniform"/>
              </a:defRPr>
            </a:lvl1pPr>
          </a:lstStyle>
          <a:p>
            <a:pPr defTabSz="554805" hangingPunct="0">
              <a:lnSpc>
                <a:spcPts val="2800"/>
              </a:lnSpc>
            </a:pPr>
            <a:r>
              <a:rPr lang="en-US" sz="2000" kern="0" dirty="0"/>
              <a:t>Tradability</a:t>
            </a:r>
          </a:p>
        </p:txBody>
      </p:sp>
      <p:sp>
        <p:nvSpPr>
          <p:cNvPr id="134" name="TextBox 17"/>
          <p:cNvSpPr txBox="1"/>
          <p:nvPr/>
        </p:nvSpPr>
        <p:spPr>
          <a:xfrm>
            <a:off x="4651294" y="3357015"/>
            <a:ext cx="2712173" cy="33701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lgn="ctr">
              <a:lnSpc>
                <a:spcPts val="5600"/>
              </a:lnSpc>
              <a:defRPr sz="4000" b="1">
                <a:solidFill>
                  <a:srgbClr val="5A92CB"/>
                </a:solidFill>
                <a:latin typeface="Uniform"/>
                <a:ea typeface="Uniform"/>
                <a:cs typeface="Uniform"/>
                <a:sym typeface="Uniform"/>
              </a:defRPr>
            </a:lvl1pPr>
          </a:lstStyle>
          <a:p>
            <a:pPr defTabSz="554805" hangingPunct="0">
              <a:lnSpc>
                <a:spcPts val="2800"/>
              </a:lnSpc>
            </a:pPr>
            <a:r>
              <a:rPr lang="de-DE" sz="2000" kern="0" dirty="0"/>
              <a:t>Volume</a:t>
            </a:r>
            <a:endParaRPr sz="2000" kern="0" dirty="0">
              <a:latin typeface="Calibri"/>
              <a:ea typeface="Calibri"/>
              <a:cs typeface="Calibri"/>
              <a:sym typeface="Calibri"/>
            </a:endParaRPr>
          </a:p>
        </p:txBody>
      </p:sp>
      <p:sp>
        <p:nvSpPr>
          <p:cNvPr id="135" name="TextBox 18"/>
          <p:cNvSpPr txBox="1"/>
          <p:nvPr/>
        </p:nvSpPr>
        <p:spPr>
          <a:xfrm>
            <a:off x="8246754" y="3357015"/>
            <a:ext cx="2712173" cy="33701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lgn="ctr">
              <a:lnSpc>
                <a:spcPts val="5600"/>
              </a:lnSpc>
              <a:defRPr sz="4000" b="1">
                <a:solidFill>
                  <a:srgbClr val="5A92CB"/>
                </a:solidFill>
                <a:latin typeface="Uniform"/>
                <a:ea typeface="Uniform"/>
                <a:cs typeface="Uniform"/>
                <a:sym typeface="Uniform"/>
              </a:defRPr>
            </a:lvl1pPr>
          </a:lstStyle>
          <a:p>
            <a:pPr defTabSz="554805" hangingPunct="0">
              <a:lnSpc>
                <a:spcPts val="2800"/>
              </a:lnSpc>
            </a:pPr>
            <a:r>
              <a:rPr lang="en-US" sz="2000" kern="0" dirty="0"/>
              <a:t>Stability</a:t>
            </a:r>
          </a:p>
        </p:txBody>
      </p:sp>
      <p:sp>
        <p:nvSpPr>
          <p:cNvPr id="136" name="TextBox 19"/>
          <p:cNvSpPr txBox="1"/>
          <p:nvPr/>
        </p:nvSpPr>
        <p:spPr>
          <a:xfrm>
            <a:off x="892003" y="3815554"/>
            <a:ext cx="3036193" cy="86523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lgn="ctr">
              <a:lnSpc>
                <a:spcPts val="4600"/>
              </a:lnSpc>
              <a:defRPr sz="3200">
                <a:solidFill>
                  <a:srgbClr val="5C5C5C"/>
                </a:solidFill>
                <a:latin typeface="Uniform"/>
                <a:ea typeface="Uniform"/>
                <a:cs typeface="Uniform"/>
                <a:sym typeface="Uniform"/>
              </a:defRPr>
            </a:lvl1pPr>
          </a:lstStyle>
          <a:p>
            <a:pPr defTabSz="554805" hangingPunct="0">
              <a:lnSpc>
                <a:spcPts val="2300"/>
              </a:lnSpc>
            </a:pPr>
            <a:r>
              <a:rPr lang="de-DE" sz="1600" kern="0" dirty="0">
                <a:latin typeface="Uniform-Medium" panose="02000000000000000000" pitchFamily="50" charset="0"/>
              </a:rPr>
              <a:t>For </a:t>
            </a:r>
            <a:r>
              <a:rPr lang="en-US" sz="1600" kern="0" dirty="0">
                <a:latin typeface="Uniform-Medium" panose="02000000000000000000" pitchFamily="50" charset="0"/>
              </a:rPr>
              <a:t>the majority of investors </a:t>
            </a:r>
            <a:r>
              <a:rPr lang="de-DE" sz="1600" kern="0" dirty="0">
                <a:latin typeface="Uniform-Medium" panose="02000000000000000000" pitchFamily="50" charset="0"/>
              </a:rPr>
              <a:t>in Germany a </a:t>
            </a:r>
            <a:r>
              <a:rPr lang="en-US" sz="1600" kern="0" dirty="0">
                <a:latin typeface="Uniform-Black" panose="02000000000000000000" pitchFamily="50" charset="0"/>
              </a:rPr>
              <a:t>listing on </a:t>
            </a:r>
            <a:r>
              <a:rPr lang="en-US" sz="1600" b="1" kern="0" dirty="0">
                <a:latin typeface="Uniform-Black" panose="02000000000000000000" pitchFamily="50" charset="0"/>
              </a:rPr>
              <a:t>Xetra is mandatory</a:t>
            </a:r>
            <a:r>
              <a:rPr sz="1600" b="1" kern="0" dirty="0">
                <a:latin typeface="Uniform-Medium" panose="02000000000000000000" pitchFamily="50" charset="0"/>
              </a:rPr>
              <a:t>.</a:t>
            </a:r>
          </a:p>
        </p:txBody>
      </p:sp>
      <p:sp>
        <p:nvSpPr>
          <p:cNvPr id="137" name="TextBox 20"/>
          <p:cNvSpPr txBox="1"/>
          <p:nvPr/>
        </p:nvSpPr>
        <p:spPr>
          <a:xfrm>
            <a:off x="4489284" y="3815554"/>
            <a:ext cx="3036193" cy="86523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lgn="ctr">
              <a:lnSpc>
                <a:spcPts val="4600"/>
              </a:lnSpc>
              <a:defRPr sz="3200">
                <a:solidFill>
                  <a:srgbClr val="5C5C5C"/>
                </a:solidFill>
                <a:latin typeface="Uniform"/>
                <a:ea typeface="Uniform"/>
                <a:cs typeface="Uniform"/>
                <a:sym typeface="Uniform"/>
              </a:defRPr>
            </a:lvl1pPr>
          </a:lstStyle>
          <a:p>
            <a:pPr defTabSz="554805" hangingPunct="0">
              <a:lnSpc>
                <a:spcPts val="2300"/>
              </a:lnSpc>
            </a:pPr>
            <a:r>
              <a:rPr lang="en-US" sz="1600" kern="0" dirty="0">
                <a:latin typeface="Uniform-Medium" panose="02000000000000000000" pitchFamily="50" charset="0"/>
              </a:rPr>
              <a:t>Expectations</a:t>
            </a:r>
            <a:r>
              <a:rPr lang="de-DE" sz="1600" kern="0" dirty="0">
                <a:latin typeface="Uniform-Medium" panose="02000000000000000000" pitchFamily="50" charset="0"/>
              </a:rPr>
              <a:t> after </a:t>
            </a:r>
            <a:r>
              <a:rPr lang="en-US" sz="1600" kern="0" dirty="0">
                <a:latin typeface="Uniform-Medium" panose="02000000000000000000" pitchFamily="50" charset="0"/>
              </a:rPr>
              <a:t>listing on Xetra is an </a:t>
            </a:r>
            <a:r>
              <a:rPr lang="en-US" sz="1600" kern="0" dirty="0">
                <a:latin typeface="Uniform-Black" panose="02000000000000000000" pitchFamily="50" charset="0"/>
              </a:rPr>
              <a:t>increase of the </a:t>
            </a:r>
            <a:r>
              <a:rPr lang="en-US" sz="1600" b="1" kern="0" dirty="0">
                <a:latin typeface="Uniform-Black" panose="02000000000000000000" pitchFamily="50" charset="0"/>
              </a:rPr>
              <a:t>trading volume by 4x</a:t>
            </a:r>
            <a:r>
              <a:rPr lang="de-DE" sz="1600" b="1" kern="0" dirty="0">
                <a:latin typeface="Uniform-Medium" panose="02000000000000000000" pitchFamily="50" charset="0"/>
              </a:rPr>
              <a:t>.</a:t>
            </a:r>
            <a:endParaRPr sz="1600" kern="0" dirty="0">
              <a:latin typeface="Uniform-Medium" panose="02000000000000000000" pitchFamily="50" charset="0"/>
            </a:endParaRPr>
          </a:p>
        </p:txBody>
      </p:sp>
      <p:sp>
        <p:nvSpPr>
          <p:cNvPr id="138" name="TextBox 21"/>
          <p:cNvSpPr txBox="1"/>
          <p:nvPr/>
        </p:nvSpPr>
        <p:spPr>
          <a:xfrm>
            <a:off x="8084745" y="3815554"/>
            <a:ext cx="3036193" cy="17500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lgn="ctr">
              <a:lnSpc>
                <a:spcPts val="4600"/>
              </a:lnSpc>
              <a:defRPr sz="3200">
                <a:solidFill>
                  <a:srgbClr val="5C5C5C"/>
                </a:solidFill>
                <a:latin typeface="Uniform"/>
                <a:ea typeface="Uniform"/>
                <a:cs typeface="Uniform"/>
                <a:sym typeface="Uniform"/>
              </a:defRPr>
            </a:lvl1pPr>
          </a:lstStyle>
          <a:p>
            <a:pPr defTabSz="554805" hangingPunct="0">
              <a:lnSpc>
                <a:spcPts val="2300"/>
              </a:lnSpc>
            </a:pPr>
            <a:r>
              <a:rPr lang="en-US" sz="1600" kern="0" dirty="0">
                <a:latin typeface="Uniform-Medium" panose="02000000000000000000" pitchFamily="50" charset="0"/>
              </a:rPr>
              <a:t>Different from the „standard“ Frankfurt Stock Exchange, Xetra shows the whole depth of the orderbook. That </a:t>
            </a:r>
            <a:r>
              <a:rPr lang="en-US" sz="1600" kern="0" dirty="0">
                <a:latin typeface="Uniform-Black" panose="02000000000000000000" pitchFamily="50" charset="0"/>
              </a:rPr>
              <a:t>avoids big ups and downs of the share price </a:t>
            </a:r>
            <a:r>
              <a:rPr lang="en-US" sz="1600" kern="0" dirty="0">
                <a:latin typeface="Uniform-Medium" panose="02000000000000000000" pitchFamily="50" charset="0"/>
              </a:rPr>
              <a:t>with smallest volumes.</a:t>
            </a:r>
          </a:p>
        </p:txBody>
      </p:sp>
      <p:sp>
        <p:nvSpPr>
          <p:cNvPr id="139" name="object 3"/>
          <p:cNvSpPr txBox="1"/>
          <p:nvPr/>
        </p:nvSpPr>
        <p:spPr>
          <a:xfrm>
            <a:off x="3432968" y="384335"/>
            <a:ext cx="5326065" cy="61555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indent="12700" algn="ctr">
              <a:defRPr sz="8000" b="1" spc="-374">
                <a:solidFill>
                  <a:srgbClr val="4594D0"/>
                </a:solidFill>
                <a:latin typeface="Uniform-Black"/>
                <a:ea typeface="Uniform-Black"/>
                <a:cs typeface="Uniform-Black"/>
                <a:sym typeface="Uniform Black"/>
              </a:defRPr>
            </a:lvl1pPr>
          </a:lstStyle>
          <a:p>
            <a:pPr indent="6350" defTabSz="554805" hangingPunct="0"/>
            <a:r>
              <a:rPr sz="4000" kern="0" spc="-187" dirty="0"/>
              <a:t>The </a:t>
            </a:r>
            <a:r>
              <a:rPr lang="en-US" sz="4000" kern="0" spc="-187" dirty="0"/>
              <a:t>next level - Xetra</a:t>
            </a:r>
            <a:endParaRPr sz="4000" kern="0" spc="-187" dirty="0"/>
          </a:p>
        </p:txBody>
      </p:sp>
      <p:sp>
        <p:nvSpPr>
          <p:cNvPr id="140" name="Freeform 7"/>
          <p:cNvSpPr/>
          <p:nvPr/>
        </p:nvSpPr>
        <p:spPr>
          <a:xfrm>
            <a:off x="8912614" y="1610044"/>
            <a:ext cx="1422401" cy="1422401"/>
          </a:xfrm>
          <a:prstGeom prst="rect">
            <a:avLst/>
          </a:prstGeom>
          <a:blipFill>
            <a:blip r:embed="rId2"/>
            <a:stretch>
              <a:fillRect/>
            </a:stretch>
          </a:blipFill>
          <a:ln w="12700">
            <a:miter lim="400000"/>
          </a:ln>
        </p:spPr>
        <p:txBody>
          <a:bodyPr lIns="27726" tIns="27726" rIns="27726" bIns="27726"/>
          <a:lstStyle/>
          <a:p>
            <a:pPr defTabSz="554805" hangingPunct="0">
              <a:defRPr sz="2600">
                <a:latin typeface="Calibri"/>
                <a:ea typeface="Calibri"/>
                <a:cs typeface="Calibri"/>
                <a:sym typeface="Calibri"/>
              </a:defRPr>
            </a:pPr>
            <a:endParaRPr sz="1300" kern="0">
              <a:solidFill>
                <a:srgbClr val="000000"/>
              </a:solidFill>
              <a:latin typeface="Calibri"/>
              <a:cs typeface="Calibri"/>
              <a:sym typeface="Calibri"/>
            </a:endParaRPr>
          </a:p>
        </p:txBody>
      </p:sp>
      <p:pic>
        <p:nvPicPr>
          <p:cNvPr id="2" name="Image" descr="Image">
            <a:extLst>
              <a:ext uri="{FF2B5EF4-FFF2-40B4-BE49-F238E27FC236}">
                <a16:creationId xmlns:a16="http://schemas.microsoft.com/office/drawing/2014/main" id="{EE197CC7-1566-713B-0F0E-E17D92E4D625}"/>
              </a:ext>
            </a:extLst>
          </p:cNvPr>
          <p:cNvPicPr>
            <a:picLocks noChangeAspect="1"/>
          </p:cNvPicPr>
          <p:nvPr/>
        </p:nvPicPr>
        <p:blipFill>
          <a:blip r:embed="rId3"/>
          <a:stretch>
            <a:fillRect/>
          </a:stretch>
        </p:blipFill>
        <p:spPr>
          <a:xfrm>
            <a:off x="11288886" y="571589"/>
            <a:ext cx="305388" cy="305387"/>
          </a:xfrm>
          <a:prstGeom prst="rect">
            <a:avLst/>
          </a:prstGeom>
          <a:ln w="12700">
            <a:miter lim="400000"/>
          </a:ln>
        </p:spPr>
      </p:pic>
      <p:sp>
        <p:nvSpPr>
          <p:cNvPr id="3" name="Freeform 29">
            <a:extLst>
              <a:ext uri="{FF2B5EF4-FFF2-40B4-BE49-F238E27FC236}">
                <a16:creationId xmlns:a16="http://schemas.microsoft.com/office/drawing/2014/main" id="{79CAF78F-2C5A-F80C-84F3-2827E040C07A}"/>
              </a:ext>
            </a:extLst>
          </p:cNvPr>
          <p:cNvSpPr/>
          <p:nvPr/>
        </p:nvSpPr>
        <p:spPr>
          <a:xfrm>
            <a:off x="2150316" y="2057765"/>
            <a:ext cx="541956" cy="753154"/>
          </a:xfrm>
          <a:custGeom>
            <a:avLst/>
            <a:gdLst/>
            <a:ahLst/>
            <a:cxnLst/>
            <a:rect l="l" t="t" r="r" b="b"/>
            <a:pathLst>
              <a:path w="490262" h="730742">
                <a:moveTo>
                  <a:pt x="0" y="0"/>
                </a:moveTo>
                <a:lnTo>
                  <a:pt x="490262" y="0"/>
                </a:lnTo>
                <a:lnTo>
                  <a:pt x="490262" y="730742"/>
                </a:lnTo>
                <a:lnTo>
                  <a:pt x="0" y="730742"/>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554805" hangingPunct="0"/>
            <a:endParaRPr lang="bg-BG" sz="1000" kern="0">
              <a:solidFill>
                <a:srgbClr val="000000"/>
              </a:solidFill>
              <a:latin typeface="Helvetica Neue"/>
              <a:ea typeface="Helvetica Neue"/>
              <a:cs typeface="Helvetica Neue"/>
              <a:sym typeface="Helvetica Neue"/>
            </a:endParaRPr>
          </a:p>
        </p:txBody>
      </p:sp>
      <p:sp>
        <p:nvSpPr>
          <p:cNvPr id="5" name="Freeform 8">
            <a:extLst>
              <a:ext uri="{FF2B5EF4-FFF2-40B4-BE49-F238E27FC236}">
                <a16:creationId xmlns:a16="http://schemas.microsoft.com/office/drawing/2014/main" id="{5A7819E2-E6EE-95A3-4049-6D095DF01C05}"/>
              </a:ext>
            </a:extLst>
          </p:cNvPr>
          <p:cNvSpPr/>
          <p:nvPr/>
        </p:nvSpPr>
        <p:spPr>
          <a:xfrm>
            <a:off x="5632620" y="1909878"/>
            <a:ext cx="718065" cy="690648"/>
          </a:xfrm>
          <a:custGeom>
            <a:avLst/>
            <a:gdLst/>
            <a:ahLst/>
            <a:cxnLst/>
            <a:rect l="l" t="t" r="r" b="b"/>
            <a:pathLst>
              <a:path w="771522" h="742064">
                <a:moveTo>
                  <a:pt x="0" y="0"/>
                </a:moveTo>
                <a:lnTo>
                  <a:pt x="771522" y="0"/>
                </a:lnTo>
                <a:lnTo>
                  <a:pt x="771522" y="742064"/>
                </a:lnTo>
                <a:lnTo>
                  <a:pt x="0" y="742064"/>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defTabSz="554805" hangingPunct="0"/>
            <a:endParaRPr lang="bg-BG" sz="1000" kern="0">
              <a:solidFill>
                <a:srgbClr val="000000"/>
              </a:solidFill>
              <a:latin typeface="Helvetica Neue"/>
              <a:ea typeface="Helvetica Neue"/>
              <a:cs typeface="Helvetica Neue"/>
              <a:sym typeface="Helvetica Neue"/>
            </a:endParaRPr>
          </a:p>
        </p:txBody>
      </p:sp>
      <p:sp>
        <p:nvSpPr>
          <p:cNvPr id="6" name="Freeform 26">
            <a:extLst>
              <a:ext uri="{FF2B5EF4-FFF2-40B4-BE49-F238E27FC236}">
                <a16:creationId xmlns:a16="http://schemas.microsoft.com/office/drawing/2014/main" id="{EBDCD0CB-7912-493F-1040-64318A95D6D2}"/>
              </a:ext>
            </a:extLst>
          </p:cNvPr>
          <p:cNvSpPr/>
          <p:nvPr/>
        </p:nvSpPr>
        <p:spPr>
          <a:xfrm>
            <a:off x="9292143" y="1962151"/>
            <a:ext cx="663342" cy="718185"/>
          </a:xfrm>
          <a:custGeom>
            <a:avLst/>
            <a:gdLst/>
            <a:ahLst/>
            <a:cxnLst/>
            <a:rect l="l" t="t" r="r" b="b"/>
            <a:pathLst>
              <a:path w="674940" h="730742">
                <a:moveTo>
                  <a:pt x="0" y="0"/>
                </a:moveTo>
                <a:lnTo>
                  <a:pt x="674940" y="0"/>
                </a:lnTo>
                <a:lnTo>
                  <a:pt x="674940" y="730742"/>
                </a:lnTo>
                <a:lnTo>
                  <a:pt x="0" y="730742"/>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pPr defTabSz="554805" hangingPunct="0"/>
            <a:endParaRPr lang="bg-BG" sz="1000" kern="0">
              <a:solidFill>
                <a:srgbClr val="000000"/>
              </a:solidFill>
              <a:latin typeface="Helvetica Neue"/>
              <a:ea typeface="Helvetica Neue"/>
              <a:cs typeface="Helvetica Neue"/>
              <a:sym typeface="Helvetica Neue"/>
            </a:endParaRPr>
          </a:p>
        </p:txBody>
      </p:sp>
    </p:spTree>
  </p:cSld>
  <p:clrMapOvr>
    <a:masterClrMapping/>
  </p:clrMapOvr>
  <p:transition spd="med"/>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object 3"/>
          <p:cNvSpPr txBox="1"/>
          <p:nvPr/>
        </p:nvSpPr>
        <p:spPr>
          <a:xfrm>
            <a:off x="468366" y="394201"/>
            <a:ext cx="4865635" cy="123110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indent="12700">
              <a:defRPr sz="8000" b="1" spc="-374">
                <a:solidFill>
                  <a:srgbClr val="4594D0"/>
                </a:solidFill>
                <a:latin typeface="Uniform-Black"/>
                <a:ea typeface="Uniform-Black"/>
                <a:cs typeface="Uniform-Black"/>
                <a:sym typeface="Uniform Black"/>
              </a:defRPr>
            </a:lvl1pPr>
          </a:lstStyle>
          <a:p>
            <a:pPr indent="6350" defTabSz="554805" hangingPunct="0"/>
            <a:r>
              <a:rPr lang="sl-SI" sz="4000" kern="0" spc="-187" dirty="0"/>
              <a:t>Appendix</a:t>
            </a:r>
            <a:r>
              <a:rPr lang="sl-SI" sz="4000" kern="0" spc="-303" dirty="0"/>
              <a:t> </a:t>
            </a:r>
            <a:r>
              <a:rPr lang="sl-SI" sz="4000" kern="0" spc="-187" dirty="0"/>
              <a:t>-</a:t>
            </a:r>
            <a:r>
              <a:rPr lang="sl-SI" sz="4000" kern="0" spc="-303" dirty="0"/>
              <a:t> </a:t>
            </a:r>
            <a:r>
              <a:rPr lang="sl-SI" sz="4000" kern="0" spc="-187" dirty="0"/>
              <a:t>Notice</a:t>
            </a:r>
            <a:r>
              <a:rPr lang="sl-SI" sz="4000" kern="0" spc="-303" dirty="0"/>
              <a:t> </a:t>
            </a:r>
            <a:r>
              <a:rPr lang="sl-SI" sz="4000" kern="0" spc="-122" dirty="0"/>
              <a:t>to</a:t>
            </a:r>
            <a:r>
              <a:rPr lang="sl-SI" sz="4000" kern="0" spc="-303" dirty="0"/>
              <a:t> </a:t>
            </a:r>
            <a:r>
              <a:rPr lang="sl-SI" sz="4000" kern="0" spc="-61" dirty="0"/>
              <a:t>reporting</a:t>
            </a:r>
            <a:endParaRPr sz="4000" kern="0" spc="-187" dirty="0"/>
          </a:p>
        </p:txBody>
      </p:sp>
      <p:pic>
        <p:nvPicPr>
          <p:cNvPr id="118" name="Image" descr="Image"/>
          <p:cNvPicPr>
            <a:picLocks noChangeAspect="1"/>
          </p:cNvPicPr>
          <p:nvPr/>
        </p:nvPicPr>
        <p:blipFill>
          <a:blip r:embed="rId2"/>
          <a:stretch>
            <a:fillRect/>
          </a:stretch>
        </p:blipFill>
        <p:spPr>
          <a:xfrm>
            <a:off x="11288886" y="571589"/>
            <a:ext cx="305388" cy="305387"/>
          </a:xfrm>
          <a:prstGeom prst="rect">
            <a:avLst/>
          </a:prstGeom>
          <a:ln w="12700">
            <a:miter lim="400000"/>
          </a:ln>
        </p:spPr>
      </p:pic>
      <p:sp>
        <p:nvSpPr>
          <p:cNvPr id="121" name="Text"/>
          <p:cNvSpPr txBox="1"/>
          <p:nvPr/>
        </p:nvSpPr>
        <p:spPr>
          <a:xfrm>
            <a:off x="5948703" y="3410623"/>
            <a:ext cx="56058" cy="194493"/>
          </a:xfrm>
          <a:prstGeom prst="rect">
            <a:avLst/>
          </a:prstGeom>
          <a:ln w="12700">
            <a:miter lim="400000"/>
          </a:ln>
        </p:spPr>
        <p:txBody>
          <a:bodyPr wrap="none" lIns="27726" tIns="27726" rIns="27726" bIns="27726">
            <a:spAutoFit/>
          </a:bodyPr>
          <a:lstStyle/>
          <a:p>
            <a:pPr defTabSz="554805" hangingPunct="0">
              <a:defRPr sz="1800"/>
            </a:pPr>
            <a:endParaRPr sz="900" kern="0">
              <a:solidFill>
                <a:srgbClr val="000000"/>
              </a:solidFill>
              <a:latin typeface="Helvetica Neue"/>
              <a:ea typeface="Helvetica Neue"/>
              <a:cs typeface="Helvetica Neue"/>
              <a:sym typeface="Helvetica Neue"/>
            </a:endParaRPr>
          </a:p>
        </p:txBody>
      </p:sp>
      <p:sp>
        <p:nvSpPr>
          <p:cNvPr id="2" name="object 12">
            <a:extLst>
              <a:ext uri="{FF2B5EF4-FFF2-40B4-BE49-F238E27FC236}">
                <a16:creationId xmlns:a16="http://schemas.microsoft.com/office/drawing/2014/main" id="{BCB79C55-1BD9-BAFF-2CCD-AA009C3712C8}"/>
              </a:ext>
            </a:extLst>
          </p:cNvPr>
          <p:cNvSpPr txBox="1">
            <a:spLocks noGrp="1"/>
          </p:cNvSpPr>
          <p:nvPr>
            <p:ph type="body" sz="half" idx="1"/>
          </p:nvPr>
        </p:nvSpPr>
        <p:spPr>
          <a:xfrm>
            <a:off x="6378199" y="1790700"/>
            <a:ext cx="4910688" cy="4887191"/>
          </a:xfrm>
          <a:prstGeom prst="rect">
            <a:avLst/>
          </a:prstGeom>
        </p:spPr>
        <p:txBody>
          <a:bodyPr>
            <a:noAutofit/>
          </a:bodyPr>
          <a:lstStyle/>
          <a:p>
            <a:pPr marR="5777" indent="7702" algn="just">
              <a:lnSpc>
                <a:spcPts val="910"/>
              </a:lnSpc>
              <a:spcBef>
                <a:spcPts val="122"/>
              </a:spcBef>
              <a:defRPr sz="1400">
                <a:solidFill>
                  <a:srgbClr val="5C5C5C"/>
                </a:solidFill>
                <a:latin typeface="Uniform-Light"/>
                <a:ea typeface="Uniform-Light"/>
                <a:cs typeface="Uniform-Light"/>
                <a:sym typeface="Uniform-Light"/>
              </a:defRPr>
            </a:pPr>
            <a:r>
              <a:rPr lang="en-US" sz="850" dirty="0">
                <a:latin typeface="Uniform" panose="02000000000000000000" pitchFamily="50" charset="0"/>
              </a:rPr>
              <a:t>The p</a:t>
            </a:r>
            <a:r>
              <a:rPr sz="850" dirty="0">
                <a:latin typeface="Uniform" panose="02000000000000000000" pitchFamily="50" charset="0"/>
              </a:rPr>
              <a:t>resentation includes statistics, data and other information relating to markets, market sizes, market shares, market positions and other industry data pertaining to the Company's business and markets. Unless otherwise indicated, such information is based on analysis by the Company of multiple sources, including certain studies commissioned from third parties (the “Market Repots”). The Market Repots may include and be based on, amongst other things, information obtained from primary interviews and field visits conducted by third parties with industry experts and participants, third parties’ secondary market research and intern al financial and operational information supplied by, or on behalf of, the Company, as well as information obtained from (i) data providers; (ii) industry association s and country organizations; and (iii) publicly available information from other sources, such as information publicly released by the Company’s competitors. To the extent available, the industry, market and competitive position data contained in the Presentation has come from official or </a:t>
            </a:r>
            <a:r>
              <a:rPr lang="sl-SI" sz="850" dirty="0">
                <a:latin typeface="Uniform" panose="02000000000000000000" pitchFamily="50" charset="0"/>
              </a:rPr>
              <a:t>third-party</a:t>
            </a:r>
            <a:r>
              <a:rPr sz="850" dirty="0">
                <a:latin typeface="Uniform" panose="02000000000000000000" pitchFamily="50" charset="0"/>
              </a:rPr>
              <a:t> sources. Third party industry publications, studies and surveys generally state that the data contained in them have been obtained from sources believed to be reliable, but that there is no guarantee of the accuracy or completeness of such data. While the Company believes that each of these publications, studies and surveys has been prepared by a reputable source , the Company has not independently verified the data contained therein. In addition, certain of the industry, market and competitive position data contained in the Presentation come from the Company’s own internal research and estimates based on the knowledge and experience of the Company’s management in the markets in which the Company operates. While the Company believes that such research and estimates are reasonable and reliable, they, and their underlying methodology and assumptions, have not been verified by any independent source for accuracy or completeness and are subject to change without notice. Accordingly, undue reliance should not be placed on any of the industry, market or competitive position data contained in the Presentation. All projections, valuations and statistical analyses are provided to assist the recipient in the evaluation of the matters described in the Presentation. They may be based on subjective assessments and assumptions and may use one among alternative methodologies that produce different results and, to the extent that they are based on historical information, they should no t b e relied upon as an accurate prediction of future performance.</a:t>
            </a:r>
          </a:p>
          <a:p>
            <a:pPr algn="just">
              <a:defRPr sz="1400">
                <a:solidFill>
                  <a:srgbClr val="5C5C5C"/>
                </a:solidFill>
                <a:latin typeface="Uniform-Light"/>
                <a:ea typeface="Uniform-Light"/>
                <a:cs typeface="Uniform-Light"/>
                <a:sym typeface="Uniform-Light"/>
              </a:defRPr>
            </a:pPr>
            <a:endParaRPr sz="850" dirty="0">
              <a:latin typeface="Uniform" panose="02000000000000000000" pitchFamily="50" charset="0"/>
            </a:endParaRPr>
          </a:p>
          <a:p>
            <a:pPr marR="3081" indent="7702" algn="just">
              <a:lnSpc>
                <a:spcPts val="910"/>
              </a:lnSpc>
              <a:defRPr sz="1400">
                <a:solidFill>
                  <a:srgbClr val="5C5C5C"/>
                </a:solidFill>
                <a:latin typeface="Uniform-Light"/>
                <a:ea typeface="Uniform-Light"/>
                <a:cs typeface="Uniform-Light"/>
                <a:sym typeface="Uniform-Light"/>
              </a:defRPr>
            </a:pPr>
            <a:r>
              <a:rPr sz="850" dirty="0">
                <a:latin typeface="Uniform" panose="02000000000000000000" pitchFamily="50" charset="0"/>
              </a:rPr>
              <a:t>The distribution of this Presentation in certain jurisdictions is restricted by law. Therefore, it must not be distributed, published or reproduced (in whole or in pat) or disclosed by its recipients to any other person for any purpose, other than with the consent of the Company. All trademarks remain the property of their respective owners. By accepting receipt of, a ending any delivery of, or electronically accessing, the Presentation, you agree to be bound by the above limitations and conditions and, in particular, you represent, warrant and undertake to the Company that: (i) you will not forward the Presentation to an y other person or reproduce or publish this document, in whole or in pat, for any purpose; and (ii) you have read and agree to comply with the contents of this notice.</a:t>
            </a:r>
          </a:p>
        </p:txBody>
      </p:sp>
      <p:sp>
        <p:nvSpPr>
          <p:cNvPr id="3" name="object 14">
            <a:extLst>
              <a:ext uri="{FF2B5EF4-FFF2-40B4-BE49-F238E27FC236}">
                <a16:creationId xmlns:a16="http://schemas.microsoft.com/office/drawing/2014/main" id="{5E187F90-5763-E767-BB35-7C529318E132}"/>
              </a:ext>
            </a:extLst>
          </p:cNvPr>
          <p:cNvSpPr txBox="1"/>
          <p:nvPr/>
        </p:nvSpPr>
        <p:spPr>
          <a:xfrm>
            <a:off x="468366" y="1790700"/>
            <a:ext cx="5022955" cy="453970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marR="28497" indent="7702" algn="just" defTabSz="554805" hangingPunct="0">
              <a:lnSpc>
                <a:spcPts val="910"/>
              </a:lnSpc>
              <a:spcBef>
                <a:spcPts val="122"/>
              </a:spcBef>
              <a:defRPr sz="1400" spc="-25">
                <a:solidFill>
                  <a:srgbClr val="5C5C5C"/>
                </a:solidFill>
                <a:latin typeface="Uniform-Light"/>
                <a:ea typeface="Uniform-Light"/>
                <a:cs typeface="Uniform-Light"/>
                <a:sym typeface="Uniform-Light"/>
              </a:defRPr>
            </a:pPr>
            <a:r>
              <a:rPr sz="849" kern="0" spc="-13" dirty="0">
                <a:solidFill>
                  <a:srgbClr val="5C5C5C"/>
                </a:solidFill>
                <a:latin typeface="Uniform" panose="02000000000000000000" pitchFamily="50" charset="0"/>
                <a:sym typeface="Uniform-Light"/>
              </a:rPr>
              <a:t>The following presentation, including any printed or electronic copy of these slides, the talks given by the presenters, the information communicated during any delivery of the presentation and any question and answer session and any document or material distributed at or in connection with the presentation (together, the “Presentation”), has been prepared by </a:t>
            </a:r>
            <a:r>
              <a:rPr lang="de-DE" sz="849" kern="0" spc="-13" dirty="0">
                <a:solidFill>
                  <a:srgbClr val="5C5C5C"/>
                </a:solidFill>
                <a:latin typeface="Uniform" panose="02000000000000000000" pitchFamily="50" charset="0"/>
                <a:sym typeface="Uniform-Light"/>
              </a:rPr>
              <a:t>Shelly Group AD</a:t>
            </a:r>
            <a:r>
              <a:rPr sz="849" kern="0" spc="-13" dirty="0">
                <a:solidFill>
                  <a:srgbClr val="5C5C5C"/>
                </a:solidFill>
                <a:latin typeface="Uniform" panose="02000000000000000000" pitchFamily="50" charset="0"/>
                <a:sym typeface="Uniform-Light"/>
              </a:rPr>
              <a:t> (the “Company”), is not an offer to sell any securities or an invitation to purchase securities or the solicitation of an offer to buy securities. This Presentation is not an advertisement and not a prospectus for the purposes of Regulation (EU ) 2 017/1129 of the European Parliament and of the Council of June 14, 2017, as amended.</a:t>
            </a:r>
          </a:p>
          <a:p>
            <a:pPr marR="28497" indent="7702" algn="just" defTabSz="554805" hangingPunct="0">
              <a:lnSpc>
                <a:spcPts val="910"/>
              </a:lnSpc>
              <a:spcBef>
                <a:spcPts val="122"/>
              </a:spcBef>
              <a:defRPr sz="1400" spc="-25">
                <a:solidFill>
                  <a:srgbClr val="5C5C5C"/>
                </a:solidFill>
                <a:latin typeface="Uniform-Light"/>
                <a:ea typeface="Uniform-Light"/>
                <a:cs typeface="Uniform-Light"/>
                <a:sym typeface="Uniform-Light"/>
              </a:defRPr>
            </a:pPr>
            <a:endParaRPr sz="849" kern="0" spc="-13" dirty="0">
              <a:solidFill>
                <a:srgbClr val="5C5C5C"/>
              </a:solidFill>
              <a:latin typeface="Uniform" panose="02000000000000000000" pitchFamily="50" charset="0"/>
              <a:sym typeface="Uniform-Light"/>
            </a:endParaRPr>
          </a:p>
          <a:p>
            <a:pPr marR="28497" indent="7702" algn="just" defTabSz="554805" hangingPunct="0">
              <a:lnSpc>
                <a:spcPts val="910"/>
              </a:lnSpc>
              <a:spcBef>
                <a:spcPts val="122"/>
              </a:spcBef>
              <a:defRPr sz="1400" spc="-25">
                <a:solidFill>
                  <a:srgbClr val="5C5C5C"/>
                </a:solidFill>
                <a:latin typeface="Uniform-Light"/>
                <a:ea typeface="Uniform-Light"/>
                <a:cs typeface="Uniform-Light"/>
                <a:sym typeface="Uniform-Light"/>
              </a:defRPr>
            </a:pPr>
            <a:r>
              <a:rPr sz="849" kern="0" spc="-13" dirty="0">
                <a:solidFill>
                  <a:srgbClr val="5C5C5C"/>
                </a:solidFill>
                <a:latin typeface="Uniform" panose="02000000000000000000" pitchFamily="50" charset="0"/>
                <a:sym typeface="Uniform-Light"/>
              </a:rPr>
              <a:t>The Presentation is provided for general information only and does not purport to contain all the information that may be required to evaluate the Company. The information in the Presentation is subject to updating, completion, revision and verification.</a:t>
            </a:r>
          </a:p>
          <a:p>
            <a:pPr marR="28497" indent="7702" algn="just" defTabSz="554805" hangingPunct="0">
              <a:lnSpc>
                <a:spcPts val="910"/>
              </a:lnSpc>
              <a:spcBef>
                <a:spcPts val="122"/>
              </a:spcBef>
              <a:defRPr sz="1400" spc="-25">
                <a:solidFill>
                  <a:srgbClr val="5C5C5C"/>
                </a:solidFill>
                <a:latin typeface="Uniform-Light"/>
                <a:ea typeface="Uniform-Light"/>
                <a:cs typeface="Uniform-Light"/>
                <a:sym typeface="Uniform-Light"/>
              </a:defRPr>
            </a:pPr>
            <a:r>
              <a:rPr sz="849" kern="0" spc="-13" dirty="0">
                <a:solidFill>
                  <a:srgbClr val="5C5C5C"/>
                </a:solidFill>
                <a:latin typeface="Uniform" panose="02000000000000000000" pitchFamily="50" charset="0"/>
                <a:sym typeface="Uniform-Light"/>
              </a:rPr>
              <a:t>No reliance may be placed for any purpose whatsoever on the information or opinions contained or</a:t>
            </a:r>
          </a:p>
          <a:p>
            <a:pPr marR="28497" indent="7702" algn="just" defTabSz="554805" hangingPunct="0">
              <a:lnSpc>
                <a:spcPts val="910"/>
              </a:lnSpc>
              <a:spcBef>
                <a:spcPts val="122"/>
              </a:spcBef>
              <a:defRPr sz="1400" spc="-25">
                <a:solidFill>
                  <a:srgbClr val="5C5C5C"/>
                </a:solidFill>
                <a:latin typeface="Uniform-Light"/>
                <a:ea typeface="Uniform-Light"/>
                <a:cs typeface="Uniform-Light"/>
                <a:sym typeface="Uniform-Light"/>
              </a:defRPr>
            </a:pPr>
            <a:r>
              <a:rPr sz="849" kern="0" spc="-13" dirty="0">
                <a:solidFill>
                  <a:srgbClr val="5C5C5C"/>
                </a:solidFill>
                <a:latin typeface="Uniform" panose="02000000000000000000" pitchFamily="50" charset="0"/>
                <a:sym typeface="Uniform-Light"/>
              </a:rPr>
              <a:t>expressed in the Presentation or on the accuracy, completeness or fairness of such information and opinions. To the extent permit ed by law and regulation, no undertaking, representation or warranty or other assurance, express or implied, is made or given by or on behalf of the Company, or any of its parent or subsidiary undertakings or the subsidiary undertakings of any such parent</a:t>
            </a:r>
          </a:p>
          <a:p>
            <a:pPr marR="28497" indent="7702" algn="just" defTabSz="554805" hangingPunct="0">
              <a:lnSpc>
                <a:spcPts val="910"/>
              </a:lnSpc>
              <a:spcBef>
                <a:spcPts val="122"/>
              </a:spcBef>
              <a:defRPr sz="1400" spc="-25">
                <a:solidFill>
                  <a:srgbClr val="5C5C5C"/>
                </a:solidFill>
                <a:latin typeface="Uniform-Light"/>
                <a:ea typeface="Uniform-Light"/>
                <a:cs typeface="Uniform-Light"/>
                <a:sym typeface="Uniform-Light"/>
              </a:defRPr>
            </a:pPr>
            <a:r>
              <a:rPr sz="849" kern="0" spc="-13" dirty="0">
                <a:solidFill>
                  <a:srgbClr val="5C5C5C"/>
                </a:solidFill>
                <a:latin typeface="Uniform" panose="02000000000000000000" pitchFamily="50" charset="0"/>
                <a:sym typeface="Uniform-Light"/>
              </a:rPr>
              <a:t>undertakings or any of its respective directors, officers, partners, employees, agents, affiliates,</a:t>
            </a:r>
          </a:p>
          <a:p>
            <a:pPr marR="28497" indent="7702" algn="just" defTabSz="554805" hangingPunct="0">
              <a:lnSpc>
                <a:spcPts val="910"/>
              </a:lnSpc>
              <a:spcBef>
                <a:spcPts val="122"/>
              </a:spcBef>
              <a:defRPr sz="1400" spc="-25">
                <a:solidFill>
                  <a:srgbClr val="5C5C5C"/>
                </a:solidFill>
                <a:latin typeface="Uniform-Light"/>
                <a:ea typeface="Uniform-Light"/>
                <a:cs typeface="Uniform-Light"/>
                <a:sym typeface="Uniform-Light"/>
              </a:defRPr>
            </a:pPr>
            <a:r>
              <a:rPr sz="849" kern="0" spc="-13" dirty="0">
                <a:solidFill>
                  <a:srgbClr val="5C5C5C"/>
                </a:solidFill>
                <a:latin typeface="Uniform" panose="02000000000000000000" pitchFamily="50" charset="0"/>
                <a:sym typeface="Uniform-Light"/>
              </a:rPr>
              <a:t>representatives or advisers, or any other person, as to the accuracy, completeness or fairness of the information or opinions contained in the Presentation.</a:t>
            </a:r>
          </a:p>
          <a:p>
            <a:pPr marR="28497" indent="7702" algn="just" defTabSz="554805" hangingPunct="0">
              <a:lnSpc>
                <a:spcPts val="910"/>
              </a:lnSpc>
              <a:spcBef>
                <a:spcPts val="122"/>
              </a:spcBef>
              <a:defRPr sz="1400" spc="-25">
                <a:solidFill>
                  <a:srgbClr val="5C5C5C"/>
                </a:solidFill>
                <a:latin typeface="Uniform-Light"/>
                <a:ea typeface="Uniform-Light"/>
                <a:cs typeface="Uniform-Light"/>
                <a:sym typeface="Uniform-Light"/>
              </a:defRPr>
            </a:pPr>
            <a:endParaRPr sz="849" kern="0" spc="-13" dirty="0">
              <a:solidFill>
                <a:srgbClr val="5C5C5C"/>
              </a:solidFill>
              <a:latin typeface="Uniform" panose="02000000000000000000" pitchFamily="50" charset="0"/>
              <a:sym typeface="Uniform-Light"/>
            </a:endParaRPr>
          </a:p>
          <a:p>
            <a:pPr marR="28497" indent="7702" algn="just" defTabSz="554805" hangingPunct="0">
              <a:lnSpc>
                <a:spcPts val="910"/>
              </a:lnSpc>
              <a:spcBef>
                <a:spcPts val="122"/>
              </a:spcBef>
              <a:defRPr sz="1400" spc="-25">
                <a:solidFill>
                  <a:srgbClr val="5C5C5C"/>
                </a:solidFill>
                <a:latin typeface="Uniform-Light"/>
                <a:ea typeface="Uniform-Light"/>
                <a:cs typeface="Uniform-Light"/>
                <a:sym typeface="Uniform-Light"/>
              </a:defRPr>
            </a:pPr>
            <a:r>
              <a:rPr sz="849" kern="0" spc="-13" dirty="0">
                <a:solidFill>
                  <a:srgbClr val="5C5C5C"/>
                </a:solidFill>
                <a:latin typeface="Uniform" panose="02000000000000000000" pitchFamily="50" charset="0"/>
                <a:sym typeface="Uniform-Light"/>
              </a:rPr>
              <a:t>None of the Company, its affiliates and advisers, agents and/or any other party undertakes or is under any duty to update the Presentation or to correct any inaccuracies in any such information which may become apparent or to provide you with any additional information. Save in the ca se of fraud, no responsibility or liability is accepted by any such person for any errors, omissions or inaccuracies in such information or opinions or for any loss, cost or damage suffered or incurred,</a:t>
            </a:r>
          </a:p>
          <a:p>
            <a:pPr marR="28497" indent="7702" algn="just" defTabSz="554805" hangingPunct="0">
              <a:lnSpc>
                <a:spcPts val="910"/>
              </a:lnSpc>
              <a:spcBef>
                <a:spcPts val="122"/>
              </a:spcBef>
              <a:defRPr sz="1400" spc="-25">
                <a:solidFill>
                  <a:srgbClr val="5C5C5C"/>
                </a:solidFill>
                <a:latin typeface="Uniform-Light"/>
                <a:ea typeface="Uniform-Light"/>
                <a:cs typeface="Uniform-Light"/>
                <a:sym typeface="Uniform-Light"/>
              </a:defRPr>
            </a:pPr>
            <a:r>
              <a:rPr sz="849" kern="0" spc="-13" dirty="0">
                <a:solidFill>
                  <a:srgbClr val="5C5C5C"/>
                </a:solidFill>
                <a:latin typeface="Uniform" panose="02000000000000000000" pitchFamily="50" charset="0"/>
                <a:sym typeface="Uniform-Light"/>
              </a:rPr>
              <a:t>however</a:t>
            </a:r>
            <a:r>
              <a:rPr lang="en-US" sz="849" kern="0" spc="-13" dirty="0">
                <a:solidFill>
                  <a:srgbClr val="5C5C5C"/>
                </a:solidFill>
                <a:latin typeface="Uniform" panose="02000000000000000000" pitchFamily="50" charset="0"/>
                <a:sym typeface="Uniform-Light"/>
              </a:rPr>
              <a:t>,</a:t>
            </a:r>
            <a:r>
              <a:rPr sz="849" kern="0" spc="-13" dirty="0">
                <a:solidFill>
                  <a:srgbClr val="5C5C5C"/>
                </a:solidFill>
                <a:latin typeface="Uniform" panose="02000000000000000000" pitchFamily="50" charset="0"/>
                <a:sym typeface="Uniform-Light"/>
              </a:rPr>
              <a:t> arising, directly or indirectly, from any use of, as a result of the reliance on, or otherwise in</a:t>
            </a:r>
          </a:p>
          <a:p>
            <a:pPr marR="28497" indent="7702" algn="just" defTabSz="554805" hangingPunct="0">
              <a:lnSpc>
                <a:spcPts val="910"/>
              </a:lnSpc>
              <a:spcBef>
                <a:spcPts val="122"/>
              </a:spcBef>
              <a:defRPr sz="1400" spc="-25">
                <a:solidFill>
                  <a:srgbClr val="5C5C5C"/>
                </a:solidFill>
                <a:latin typeface="Uniform-Light"/>
                <a:ea typeface="Uniform-Light"/>
                <a:cs typeface="Uniform-Light"/>
                <a:sym typeface="Uniform-Light"/>
              </a:defRPr>
            </a:pPr>
            <a:r>
              <a:rPr sz="849" kern="0" spc="-13" dirty="0">
                <a:solidFill>
                  <a:srgbClr val="5C5C5C"/>
                </a:solidFill>
                <a:latin typeface="Uniform" panose="02000000000000000000" pitchFamily="50" charset="0"/>
                <a:sym typeface="Uniform-Light"/>
              </a:rPr>
              <a:t>connection with, the Presentation. In addition, no duty of care or otherwise is owed by any such person to recipients of the Presentation or any other person in relation to the Presentation.</a:t>
            </a:r>
          </a:p>
          <a:p>
            <a:pPr marR="28497" indent="7702" algn="just" defTabSz="554805" hangingPunct="0">
              <a:lnSpc>
                <a:spcPts val="910"/>
              </a:lnSpc>
              <a:spcBef>
                <a:spcPts val="122"/>
              </a:spcBef>
              <a:defRPr sz="1400" spc="-25">
                <a:solidFill>
                  <a:srgbClr val="5C5C5C"/>
                </a:solidFill>
                <a:latin typeface="Uniform-Light"/>
                <a:ea typeface="Uniform-Light"/>
                <a:cs typeface="Uniform-Light"/>
                <a:sym typeface="Uniform-Light"/>
              </a:defRPr>
            </a:pPr>
            <a:endParaRPr sz="849" kern="0" spc="-13" dirty="0">
              <a:solidFill>
                <a:srgbClr val="5C5C5C"/>
              </a:solidFill>
              <a:latin typeface="Uniform" panose="02000000000000000000" pitchFamily="50" charset="0"/>
              <a:sym typeface="Uniform-Light"/>
            </a:endParaRPr>
          </a:p>
          <a:p>
            <a:pPr marR="28497" indent="7702" algn="just" defTabSz="554805" hangingPunct="0">
              <a:lnSpc>
                <a:spcPts val="910"/>
              </a:lnSpc>
              <a:spcBef>
                <a:spcPts val="122"/>
              </a:spcBef>
              <a:defRPr sz="1400" spc="-25">
                <a:solidFill>
                  <a:srgbClr val="5C5C5C"/>
                </a:solidFill>
                <a:latin typeface="Uniform-Light"/>
                <a:ea typeface="Uniform-Light"/>
                <a:cs typeface="Uniform-Light"/>
                <a:sym typeface="Uniform-Light"/>
              </a:defRPr>
            </a:pPr>
            <a:r>
              <a:rPr sz="849" kern="0" spc="-13" dirty="0">
                <a:solidFill>
                  <a:srgbClr val="5C5C5C"/>
                </a:solidFill>
                <a:latin typeface="Uniform" panose="02000000000000000000" pitchFamily="50" charset="0"/>
                <a:sym typeface="Uniform-Light"/>
              </a:rPr>
              <a:t>The Presentation includes statements that are, or may be deemed to be, forward looking statements. These statements are based on the current views, expectations and assumptions of the management of the Company and involve known and unknown risks and uncertainties that could cause actual results, performance or events to differ materially from those expressed or implied in such statements. Actual results, performance or events may differ materially from those described in such statements due to, among other things, changes in the general economic and competitive environment, risks associated with capital markets, currency exchange rate fluctuations and competition from other companies, changes in international and national laws and regulations, in particular wit h respect to tax laws and regulations, affecting the Company and other factors. The Company does not assume any obligations to update any forward</a:t>
            </a:r>
            <a:r>
              <a:rPr lang="en-US" sz="849" kern="0" spc="-13" dirty="0">
                <a:solidFill>
                  <a:srgbClr val="5C5C5C"/>
                </a:solidFill>
                <a:latin typeface="Uniform" panose="02000000000000000000" pitchFamily="50" charset="0"/>
                <a:sym typeface="Uniform-Light"/>
              </a:rPr>
              <a:t>-</a:t>
            </a:r>
            <a:r>
              <a:rPr sz="849" kern="0" spc="-13" dirty="0">
                <a:solidFill>
                  <a:srgbClr val="5C5C5C"/>
                </a:solidFill>
                <a:latin typeface="Uniform" panose="02000000000000000000" pitchFamily="50" charset="0"/>
                <a:sym typeface="Uniform-Light"/>
              </a:rPr>
              <a:t>looking statements. </a:t>
            </a:r>
          </a:p>
        </p:txBody>
      </p:sp>
    </p:spTree>
    <p:extLst>
      <p:ext uri="{BB962C8B-B14F-4D97-AF65-F5344CB8AC3E}">
        <p14:creationId xmlns:p14="http://schemas.microsoft.com/office/powerpoint/2010/main" val="3373703447"/>
      </p:ext>
    </p:extLst>
  </p:cSld>
  <p:clrMapOvr>
    <a:masterClrMapping/>
  </p:clrMapOvr>
  <p:transition spd="med"/>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5" name="Image" descr="Image"/>
          <p:cNvPicPr>
            <a:picLocks noChangeAspect="1"/>
          </p:cNvPicPr>
          <p:nvPr/>
        </p:nvPicPr>
        <p:blipFill>
          <a:blip r:embed="rId2"/>
          <a:stretch>
            <a:fillRect/>
          </a:stretch>
        </p:blipFill>
        <p:spPr>
          <a:xfrm>
            <a:off x="3849867" y="2377511"/>
            <a:ext cx="4492267" cy="1519533"/>
          </a:xfrm>
          <a:prstGeom prst="rect">
            <a:avLst/>
          </a:prstGeom>
          <a:ln w="12700">
            <a:miter lim="400000"/>
          </a:ln>
        </p:spPr>
      </p:pic>
      <p:pic>
        <p:nvPicPr>
          <p:cNvPr id="146" name="Asset 4@8x.png" descr="Asset 4@8x.png"/>
          <p:cNvPicPr>
            <a:picLocks noChangeAspect="1"/>
          </p:cNvPicPr>
          <p:nvPr/>
        </p:nvPicPr>
        <p:blipFill>
          <a:blip r:embed="rId3"/>
          <a:stretch>
            <a:fillRect/>
          </a:stretch>
        </p:blipFill>
        <p:spPr>
          <a:xfrm>
            <a:off x="5186226" y="4655695"/>
            <a:ext cx="1819548" cy="999879"/>
          </a:xfrm>
          <a:prstGeom prst="rect">
            <a:avLst/>
          </a:prstGeom>
          <a:ln w="12700">
            <a:miter lim="400000"/>
          </a:ln>
        </p:spPr>
      </p:pic>
    </p:spTree>
  </p:cSld>
  <p:clrMapOvr>
    <a:masterClrMapping/>
  </p:clrMapOvr>
  <p:transition spd="med"/>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66D78-54A5-1044-A741-2366FF5E52CC}"/>
              </a:ext>
            </a:extLst>
          </p:cNvPr>
          <p:cNvSpPr>
            <a:spLocks noGrp="1"/>
          </p:cNvSpPr>
          <p:nvPr>
            <p:ph type="ctrTitle"/>
          </p:nvPr>
        </p:nvSpPr>
        <p:spPr>
          <a:xfrm>
            <a:off x="1524000" y="2675094"/>
            <a:ext cx="9144000" cy="1277914"/>
          </a:xfrm>
        </p:spPr>
        <p:txBody>
          <a:bodyPr>
            <a:spAutoFit/>
          </a:bodyPr>
          <a:lstStyle/>
          <a:p>
            <a:pPr>
              <a:lnSpc>
                <a:spcPct val="75000"/>
              </a:lnSpc>
            </a:pPr>
            <a:r>
              <a:rPr lang="en-GB" sz="9600" dirty="0"/>
              <a:t>Thank </a:t>
            </a:r>
            <a:r>
              <a:rPr lang="en-GB" sz="9600" dirty="0">
                <a:solidFill>
                  <a:srgbClr val="DA98FF"/>
                </a:solidFill>
              </a:rPr>
              <a:t>you</a:t>
            </a:r>
            <a:r>
              <a:rPr lang="en-GB" sz="9600" dirty="0"/>
              <a:t>!</a:t>
            </a:r>
            <a:endParaRPr lang="en-BG" sz="9600" b="0" dirty="0">
              <a:solidFill>
                <a:schemeClr val="accent5"/>
              </a:solidFill>
              <a:latin typeface="Bebas Neue Book" pitchFamily="2" charset="77"/>
            </a:endParaRPr>
          </a:p>
        </p:txBody>
      </p:sp>
      <p:sp>
        <p:nvSpPr>
          <p:cNvPr id="29" name="Date Placeholder 3">
            <a:extLst>
              <a:ext uri="{FF2B5EF4-FFF2-40B4-BE49-F238E27FC236}">
                <a16:creationId xmlns:a16="http://schemas.microsoft.com/office/drawing/2014/main" id="{CE7E5D16-6771-FB45-AA18-76A4DE746556}"/>
              </a:ext>
            </a:extLst>
          </p:cNvPr>
          <p:cNvSpPr>
            <a:spLocks noGrp="1"/>
          </p:cNvSpPr>
          <p:nvPr>
            <p:ph type="dt" sz="half" idx="10"/>
          </p:nvPr>
        </p:nvSpPr>
        <p:spPr>
          <a:xfrm>
            <a:off x="527105" y="5474223"/>
            <a:ext cx="4717966" cy="993365"/>
          </a:xfrm>
        </p:spPr>
        <p:txBody>
          <a:bodyPr anchor="t"/>
          <a:lstStyle/>
          <a:p>
            <a:pPr defTabSz="360000">
              <a:lnSpc>
                <a:spcPct val="120000"/>
              </a:lnSpc>
            </a:pPr>
            <a:r>
              <a:rPr lang="en-US" dirty="0">
                <a:solidFill>
                  <a:schemeClr val="bg1"/>
                </a:solidFill>
                <a:latin typeface="Montserrat" pitchFamily="2" charset="77"/>
              </a:rPr>
              <a:t>a:	6 Tri </a:t>
            </a:r>
            <a:r>
              <a:rPr lang="en-US" dirty="0" err="1">
                <a:solidFill>
                  <a:schemeClr val="bg1"/>
                </a:solidFill>
                <a:latin typeface="Montserrat" pitchFamily="2" charset="77"/>
              </a:rPr>
              <a:t>Ushi</a:t>
            </a:r>
            <a:r>
              <a:rPr lang="en-US" dirty="0">
                <a:solidFill>
                  <a:schemeClr val="bg1"/>
                </a:solidFill>
                <a:latin typeface="Montserrat" pitchFamily="2" charset="77"/>
              </a:rPr>
              <a:t> str., Sofia</a:t>
            </a:r>
          </a:p>
          <a:p>
            <a:pPr defTabSz="360000">
              <a:lnSpc>
                <a:spcPct val="120000"/>
              </a:lnSpc>
            </a:pPr>
            <a:r>
              <a:rPr lang="en-US" dirty="0">
                <a:solidFill>
                  <a:schemeClr val="bg1"/>
                </a:solidFill>
                <a:latin typeface="Montserrat" pitchFamily="2" charset="77"/>
              </a:rPr>
              <a:t>p:	(+359 2) 937 09 3</a:t>
            </a:r>
            <a:r>
              <a:rPr lang="bg-BG" dirty="0">
                <a:solidFill>
                  <a:schemeClr val="bg1"/>
                </a:solidFill>
                <a:latin typeface="Montserrat" pitchFamily="2" charset="77"/>
              </a:rPr>
              <a:t>4</a:t>
            </a:r>
            <a:endParaRPr lang="en-US" dirty="0">
              <a:solidFill>
                <a:schemeClr val="bg1"/>
              </a:solidFill>
              <a:latin typeface="Montserrat" pitchFamily="2" charset="77"/>
            </a:endParaRPr>
          </a:p>
          <a:p>
            <a:pPr defTabSz="360000">
              <a:lnSpc>
                <a:spcPct val="120000"/>
              </a:lnSpc>
            </a:pPr>
            <a:r>
              <a:rPr lang="en-US" dirty="0">
                <a:solidFill>
                  <a:schemeClr val="bg1"/>
                </a:solidFill>
                <a:latin typeface="Montserrat" pitchFamily="2" charset="77"/>
              </a:rPr>
              <a:t>f:	(+359 2) 937 09 46</a:t>
            </a:r>
          </a:p>
          <a:p>
            <a:pPr defTabSz="360000">
              <a:lnSpc>
                <a:spcPct val="120000"/>
              </a:lnSpc>
            </a:pPr>
            <a:r>
              <a:rPr lang="en-US" dirty="0">
                <a:solidFill>
                  <a:schemeClr val="bg1"/>
                </a:solidFill>
                <a:latin typeface="Montserrat" pitchFamily="2" charset="77"/>
              </a:rPr>
              <a:t>w:	www.bse-sofia.bg</a:t>
            </a:r>
            <a:endParaRPr lang="bg-BG" dirty="0">
              <a:solidFill>
                <a:schemeClr val="bg1"/>
              </a:solidFill>
              <a:latin typeface="Montserrat" pitchFamily="2" charset="77"/>
            </a:endParaRPr>
          </a:p>
        </p:txBody>
      </p:sp>
      <p:grpSp>
        <p:nvGrpSpPr>
          <p:cNvPr id="56" name="Graphic 2">
            <a:extLst>
              <a:ext uri="{FF2B5EF4-FFF2-40B4-BE49-F238E27FC236}">
                <a16:creationId xmlns:a16="http://schemas.microsoft.com/office/drawing/2014/main" id="{158EF570-87E4-B44C-8D5C-6CFBD5A15442}"/>
              </a:ext>
            </a:extLst>
          </p:cNvPr>
          <p:cNvGrpSpPr/>
          <p:nvPr/>
        </p:nvGrpSpPr>
        <p:grpSpPr>
          <a:xfrm>
            <a:off x="8970164" y="5825353"/>
            <a:ext cx="2743199" cy="496809"/>
            <a:chOff x="9989574" y="6250285"/>
            <a:chExt cx="1870343" cy="338730"/>
          </a:xfrm>
          <a:solidFill>
            <a:schemeClr val="bg1"/>
          </a:solidFill>
        </p:grpSpPr>
        <p:sp>
          <p:nvSpPr>
            <p:cNvPr id="57" name="Freeform 56">
              <a:extLst>
                <a:ext uri="{FF2B5EF4-FFF2-40B4-BE49-F238E27FC236}">
                  <a16:creationId xmlns:a16="http://schemas.microsoft.com/office/drawing/2014/main" id="{FF458CD8-DC11-0D43-95DD-946801AAC1EB}"/>
                </a:ext>
              </a:extLst>
            </p:cNvPr>
            <p:cNvSpPr/>
            <p:nvPr/>
          </p:nvSpPr>
          <p:spPr>
            <a:xfrm>
              <a:off x="9989574" y="6459598"/>
              <a:ext cx="126683" cy="97008"/>
            </a:xfrm>
            <a:custGeom>
              <a:avLst/>
              <a:gdLst>
                <a:gd name="connsiteX0" fmla="*/ 82495 w 126683"/>
                <a:gd name="connsiteY0" fmla="*/ 0 h 97008"/>
                <a:gd name="connsiteX1" fmla="*/ 0 w 126683"/>
                <a:gd name="connsiteY1" fmla="*/ 46604 h 97008"/>
                <a:gd name="connsiteX2" fmla="*/ 0 w 126683"/>
                <a:gd name="connsiteY2" fmla="*/ 97009 h 97008"/>
                <a:gd name="connsiteX3" fmla="*/ 126683 w 126683"/>
                <a:gd name="connsiteY3" fmla="*/ 24927 h 97008"/>
                <a:gd name="connsiteX4" fmla="*/ 82495 w 126683"/>
                <a:gd name="connsiteY4" fmla="*/ 0 h 97008"/>
                <a:gd name="connsiteX5" fmla="*/ 82495 w 126683"/>
                <a:gd name="connsiteY5" fmla="*/ 0 h 97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683" h="97008">
                  <a:moveTo>
                    <a:pt x="82495" y="0"/>
                  </a:moveTo>
                  <a:lnTo>
                    <a:pt x="0" y="46604"/>
                  </a:lnTo>
                  <a:lnTo>
                    <a:pt x="0" y="97009"/>
                  </a:lnTo>
                  <a:lnTo>
                    <a:pt x="126683" y="24927"/>
                  </a:lnTo>
                  <a:lnTo>
                    <a:pt x="82495" y="0"/>
                  </a:lnTo>
                  <a:lnTo>
                    <a:pt x="82495" y="0"/>
                  </a:lnTo>
                  <a:close/>
                </a:path>
              </a:pathLst>
            </a:custGeom>
            <a:grpFill/>
            <a:ln w="0" cap="flat">
              <a:noFill/>
              <a:prstDash val="solid"/>
              <a:miter/>
            </a:ln>
          </p:spPr>
          <p:txBody>
            <a:bodyPr rtlCol="0" anchor="ctr"/>
            <a:lstStyle/>
            <a:p>
              <a:endParaRPr lang="en-BG"/>
            </a:p>
          </p:txBody>
        </p:sp>
        <p:sp>
          <p:nvSpPr>
            <p:cNvPr id="58" name="Freeform 57">
              <a:extLst>
                <a:ext uri="{FF2B5EF4-FFF2-40B4-BE49-F238E27FC236}">
                  <a16:creationId xmlns:a16="http://schemas.microsoft.com/office/drawing/2014/main" id="{DB896890-9FDE-0745-916E-058EA18FF74A}"/>
                </a:ext>
              </a:extLst>
            </p:cNvPr>
            <p:cNvSpPr/>
            <p:nvPr/>
          </p:nvSpPr>
          <p:spPr>
            <a:xfrm>
              <a:off x="10078525" y="6455822"/>
              <a:ext cx="126059" cy="46293"/>
            </a:xfrm>
            <a:custGeom>
              <a:avLst/>
              <a:gdLst>
                <a:gd name="connsiteX0" fmla="*/ 126059 w 126059"/>
                <a:gd name="connsiteY0" fmla="*/ 21342 h 46293"/>
                <a:gd name="connsiteX1" fmla="*/ 88352 w 126059"/>
                <a:gd name="connsiteY1" fmla="*/ 0 h 46293"/>
                <a:gd name="connsiteX2" fmla="*/ 0 w 126059"/>
                <a:gd name="connsiteY2" fmla="*/ 0 h 46293"/>
                <a:gd name="connsiteX3" fmla="*/ 81871 w 126059"/>
                <a:gd name="connsiteY3" fmla="*/ 46294 h 46293"/>
                <a:gd name="connsiteX4" fmla="*/ 126059 w 126059"/>
                <a:gd name="connsiteY4" fmla="*/ 21342 h 46293"/>
                <a:gd name="connsiteX5" fmla="*/ 126059 w 126059"/>
                <a:gd name="connsiteY5" fmla="*/ 21342 h 46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059" h="46293">
                  <a:moveTo>
                    <a:pt x="126059" y="21342"/>
                  </a:moveTo>
                  <a:lnTo>
                    <a:pt x="88352" y="0"/>
                  </a:lnTo>
                  <a:lnTo>
                    <a:pt x="0" y="0"/>
                  </a:lnTo>
                  <a:lnTo>
                    <a:pt x="81871" y="46294"/>
                  </a:lnTo>
                  <a:lnTo>
                    <a:pt x="126059" y="21342"/>
                  </a:lnTo>
                  <a:lnTo>
                    <a:pt x="126059" y="21342"/>
                  </a:lnTo>
                  <a:close/>
                </a:path>
              </a:pathLst>
            </a:custGeom>
            <a:grpFill/>
            <a:ln w="0" cap="flat">
              <a:noFill/>
              <a:prstDash val="solid"/>
              <a:miter/>
            </a:ln>
          </p:spPr>
          <p:txBody>
            <a:bodyPr rtlCol="0" anchor="ctr"/>
            <a:lstStyle/>
            <a:p>
              <a:endParaRPr lang="en-BG"/>
            </a:p>
          </p:txBody>
        </p:sp>
        <p:sp>
          <p:nvSpPr>
            <p:cNvPr id="59" name="Freeform 58">
              <a:extLst>
                <a:ext uri="{FF2B5EF4-FFF2-40B4-BE49-F238E27FC236}">
                  <a16:creationId xmlns:a16="http://schemas.microsoft.com/office/drawing/2014/main" id="{363D92CC-4403-1540-9609-A3F801E24072}"/>
                </a:ext>
              </a:extLst>
            </p:cNvPr>
            <p:cNvSpPr/>
            <p:nvPr/>
          </p:nvSpPr>
          <p:spPr>
            <a:xfrm>
              <a:off x="10167165" y="6408787"/>
              <a:ext cx="214339" cy="97200"/>
            </a:xfrm>
            <a:custGeom>
              <a:avLst/>
              <a:gdLst>
                <a:gd name="connsiteX0" fmla="*/ 170751 w 214339"/>
                <a:gd name="connsiteY0" fmla="*/ 0 h 97200"/>
                <a:gd name="connsiteX1" fmla="*/ 0 w 214339"/>
                <a:gd name="connsiteY1" fmla="*/ 97176 h 97200"/>
                <a:gd name="connsiteX2" fmla="*/ 88496 w 214339"/>
                <a:gd name="connsiteY2" fmla="*/ 97200 h 97200"/>
                <a:gd name="connsiteX3" fmla="*/ 214339 w 214339"/>
                <a:gd name="connsiteY3" fmla="*/ 25382 h 97200"/>
                <a:gd name="connsiteX4" fmla="*/ 170751 w 214339"/>
                <a:gd name="connsiteY4" fmla="*/ 0 h 97200"/>
                <a:gd name="connsiteX5" fmla="*/ 170751 w 214339"/>
                <a:gd name="connsiteY5" fmla="*/ 0 h 9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339" h="97200">
                  <a:moveTo>
                    <a:pt x="170751" y="0"/>
                  </a:moveTo>
                  <a:lnTo>
                    <a:pt x="0" y="97176"/>
                  </a:lnTo>
                  <a:lnTo>
                    <a:pt x="88496" y="97200"/>
                  </a:lnTo>
                  <a:lnTo>
                    <a:pt x="214339" y="25382"/>
                  </a:lnTo>
                  <a:lnTo>
                    <a:pt x="170751" y="0"/>
                  </a:lnTo>
                  <a:lnTo>
                    <a:pt x="170751" y="0"/>
                  </a:lnTo>
                  <a:close/>
                </a:path>
              </a:pathLst>
            </a:custGeom>
            <a:grpFill/>
            <a:ln w="0" cap="flat">
              <a:noFill/>
              <a:prstDash val="solid"/>
              <a:miter/>
            </a:ln>
          </p:spPr>
          <p:txBody>
            <a:bodyPr rtlCol="0" anchor="ctr"/>
            <a:lstStyle/>
            <a:p>
              <a:endParaRPr lang="en-BG"/>
            </a:p>
          </p:txBody>
        </p:sp>
        <p:sp>
          <p:nvSpPr>
            <p:cNvPr id="60" name="Freeform 59">
              <a:extLst>
                <a:ext uri="{FF2B5EF4-FFF2-40B4-BE49-F238E27FC236}">
                  <a16:creationId xmlns:a16="http://schemas.microsoft.com/office/drawing/2014/main" id="{A9D5E610-A47A-F344-8C17-5812CA0258E5}"/>
                </a:ext>
              </a:extLst>
            </p:cNvPr>
            <p:cNvSpPr/>
            <p:nvPr/>
          </p:nvSpPr>
          <p:spPr>
            <a:xfrm>
              <a:off x="10344109" y="6405035"/>
              <a:ext cx="126587" cy="47130"/>
            </a:xfrm>
            <a:custGeom>
              <a:avLst/>
              <a:gdLst>
                <a:gd name="connsiteX0" fmla="*/ 126587 w 126587"/>
                <a:gd name="connsiteY0" fmla="*/ 21725 h 47130"/>
                <a:gd name="connsiteX1" fmla="*/ 88064 w 126587"/>
                <a:gd name="connsiteY1" fmla="*/ 0 h 47130"/>
                <a:gd name="connsiteX2" fmla="*/ 0 w 126587"/>
                <a:gd name="connsiteY2" fmla="*/ 0 h 47130"/>
                <a:gd name="connsiteX3" fmla="*/ 82063 w 126587"/>
                <a:gd name="connsiteY3" fmla="*/ 47130 h 47130"/>
                <a:gd name="connsiteX4" fmla="*/ 126587 w 126587"/>
                <a:gd name="connsiteY4" fmla="*/ 21725 h 47130"/>
                <a:gd name="connsiteX5" fmla="*/ 126587 w 126587"/>
                <a:gd name="connsiteY5" fmla="*/ 21725 h 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587" h="47130">
                  <a:moveTo>
                    <a:pt x="126587" y="21725"/>
                  </a:moveTo>
                  <a:lnTo>
                    <a:pt x="88064" y="0"/>
                  </a:lnTo>
                  <a:lnTo>
                    <a:pt x="0" y="0"/>
                  </a:lnTo>
                  <a:lnTo>
                    <a:pt x="82063" y="47130"/>
                  </a:lnTo>
                  <a:lnTo>
                    <a:pt x="126587" y="21725"/>
                  </a:lnTo>
                  <a:lnTo>
                    <a:pt x="126587" y="21725"/>
                  </a:lnTo>
                  <a:close/>
                </a:path>
              </a:pathLst>
            </a:custGeom>
            <a:grpFill/>
            <a:ln w="0" cap="flat">
              <a:noFill/>
              <a:prstDash val="solid"/>
              <a:miter/>
            </a:ln>
          </p:spPr>
          <p:txBody>
            <a:bodyPr rtlCol="0" anchor="ctr"/>
            <a:lstStyle/>
            <a:p>
              <a:endParaRPr lang="en-BG"/>
            </a:p>
          </p:txBody>
        </p:sp>
        <p:sp>
          <p:nvSpPr>
            <p:cNvPr id="61" name="Freeform 60">
              <a:extLst>
                <a:ext uri="{FF2B5EF4-FFF2-40B4-BE49-F238E27FC236}">
                  <a16:creationId xmlns:a16="http://schemas.microsoft.com/office/drawing/2014/main" id="{7916F6C4-E5E9-C34F-A0BD-AE7C2B91AEAD}"/>
                </a:ext>
              </a:extLst>
            </p:cNvPr>
            <p:cNvSpPr/>
            <p:nvPr/>
          </p:nvSpPr>
          <p:spPr>
            <a:xfrm>
              <a:off x="10432725" y="6284150"/>
              <a:ext cx="301802" cy="171695"/>
            </a:xfrm>
            <a:custGeom>
              <a:avLst/>
              <a:gdLst>
                <a:gd name="connsiteX0" fmla="*/ 301803 w 301802"/>
                <a:gd name="connsiteY0" fmla="*/ 49879 h 171695"/>
                <a:gd name="connsiteX1" fmla="*/ 88280 w 301802"/>
                <a:gd name="connsiteY1" fmla="*/ 171672 h 171695"/>
                <a:gd name="connsiteX2" fmla="*/ 0 w 301802"/>
                <a:gd name="connsiteY2" fmla="*/ 171696 h 171695"/>
                <a:gd name="connsiteX3" fmla="*/ 301803 w 301802"/>
                <a:gd name="connsiteY3" fmla="*/ 0 h 171695"/>
                <a:gd name="connsiteX4" fmla="*/ 301803 w 301802"/>
                <a:gd name="connsiteY4" fmla="*/ 49879 h 171695"/>
                <a:gd name="connsiteX5" fmla="*/ 301803 w 301802"/>
                <a:gd name="connsiteY5" fmla="*/ 49879 h 171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802" h="171695">
                  <a:moveTo>
                    <a:pt x="301803" y="49879"/>
                  </a:moveTo>
                  <a:lnTo>
                    <a:pt x="88280" y="171672"/>
                  </a:lnTo>
                  <a:lnTo>
                    <a:pt x="0" y="171696"/>
                  </a:lnTo>
                  <a:lnTo>
                    <a:pt x="301803" y="0"/>
                  </a:lnTo>
                  <a:lnTo>
                    <a:pt x="301803" y="49879"/>
                  </a:lnTo>
                  <a:lnTo>
                    <a:pt x="301803" y="49879"/>
                  </a:lnTo>
                  <a:close/>
                </a:path>
              </a:pathLst>
            </a:custGeom>
            <a:grpFill/>
            <a:ln w="0" cap="flat">
              <a:noFill/>
              <a:prstDash val="solid"/>
              <a:miter/>
            </a:ln>
          </p:spPr>
          <p:txBody>
            <a:bodyPr rtlCol="0" anchor="ctr"/>
            <a:lstStyle/>
            <a:p>
              <a:endParaRPr lang="en-BG"/>
            </a:p>
          </p:txBody>
        </p:sp>
        <p:sp>
          <p:nvSpPr>
            <p:cNvPr id="62" name="Freeform 61">
              <a:extLst>
                <a:ext uri="{FF2B5EF4-FFF2-40B4-BE49-F238E27FC236}">
                  <a16:creationId xmlns:a16="http://schemas.microsoft.com/office/drawing/2014/main" id="{B56777AD-9645-1D45-8C23-6E3E52DC3BB8}"/>
                </a:ext>
              </a:extLst>
            </p:cNvPr>
            <p:cNvSpPr/>
            <p:nvPr/>
          </p:nvSpPr>
          <p:spPr>
            <a:xfrm>
              <a:off x="10865772" y="6441793"/>
              <a:ext cx="62141" cy="80804"/>
            </a:xfrm>
            <a:custGeom>
              <a:avLst/>
              <a:gdLst>
                <a:gd name="connsiteX0" fmla="*/ 51605 w 62141"/>
                <a:gd name="connsiteY0" fmla="*/ 79514 h 80804"/>
                <a:gd name="connsiteX1" fmla="*/ 62142 w 62141"/>
                <a:gd name="connsiteY1" fmla="*/ 79514 h 80804"/>
                <a:gd name="connsiteX2" fmla="*/ 62142 w 62141"/>
                <a:gd name="connsiteY2" fmla="*/ 39650 h 80804"/>
                <a:gd name="connsiteX3" fmla="*/ 32739 w 62141"/>
                <a:gd name="connsiteY3" fmla="*/ 39650 h 80804"/>
                <a:gd name="connsiteX4" fmla="*/ 32739 w 62141"/>
                <a:gd name="connsiteY4" fmla="*/ 51958 h 80804"/>
                <a:gd name="connsiteX5" fmla="*/ 47500 w 62141"/>
                <a:gd name="connsiteY5" fmla="*/ 51958 h 80804"/>
                <a:gd name="connsiteX6" fmla="*/ 31875 w 62141"/>
                <a:gd name="connsiteY6" fmla="*/ 67851 h 80804"/>
                <a:gd name="connsiteX7" fmla="*/ 15049 w 62141"/>
                <a:gd name="connsiteY7" fmla="*/ 40295 h 80804"/>
                <a:gd name="connsiteX8" fmla="*/ 32307 w 62141"/>
                <a:gd name="connsiteY8" fmla="*/ 12308 h 80804"/>
                <a:gd name="connsiteX9" fmla="*/ 46972 w 62141"/>
                <a:gd name="connsiteY9" fmla="*/ 23231 h 80804"/>
                <a:gd name="connsiteX10" fmla="*/ 60437 w 62141"/>
                <a:gd name="connsiteY10" fmla="*/ 19885 h 80804"/>
                <a:gd name="connsiteX11" fmla="*/ 32667 w 62141"/>
                <a:gd name="connsiteY11" fmla="*/ 0 h 80804"/>
                <a:gd name="connsiteX12" fmla="*/ 0 w 62141"/>
                <a:gd name="connsiteY12" fmla="*/ 39435 h 80804"/>
                <a:gd name="connsiteX13" fmla="*/ 30051 w 62141"/>
                <a:gd name="connsiteY13" fmla="*/ 80805 h 80804"/>
                <a:gd name="connsiteX14" fmla="*/ 50885 w 62141"/>
                <a:gd name="connsiteY14" fmla="*/ 71293 h 80804"/>
                <a:gd name="connsiteX15" fmla="*/ 51653 w 62141"/>
                <a:gd name="connsiteY15" fmla="*/ 79514 h 80804"/>
                <a:gd name="connsiteX16" fmla="*/ 51653 w 62141"/>
                <a:gd name="connsiteY16" fmla="*/ 79514 h 8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141" h="80804">
                  <a:moveTo>
                    <a:pt x="51605" y="79514"/>
                  </a:moveTo>
                  <a:lnTo>
                    <a:pt x="62142" y="79514"/>
                  </a:lnTo>
                  <a:lnTo>
                    <a:pt x="62142" y="39650"/>
                  </a:lnTo>
                  <a:lnTo>
                    <a:pt x="32739" y="39650"/>
                  </a:lnTo>
                  <a:lnTo>
                    <a:pt x="32739" y="51958"/>
                  </a:lnTo>
                  <a:lnTo>
                    <a:pt x="47500" y="51958"/>
                  </a:lnTo>
                  <a:cubicBezTo>
                    <a:pt x="46204" y="62020"/>
                    <a:pt x="40228" y="67851"/>
                    <a:pt x="31875" y="67851"/>
                  </a:cubicBezTo>
                  <a:cubicBezTo>
                    <a:pt x="21242" y="67851"/>
                    <a:pt x="15049" y="58339"/>
                    <a:pt x="15049" y="40295"/>
                  </a:cubicBezTo>
                  <a:cubicBezTo>
                    <a:pt x="15049" y="22251"/>
                    <a:pt x="21026" y="12308"/>
                    <a:pt x="32307" y="12308"/>
                  </a:cubicBezTo>
                  <a:cubicBezTo>
                    <a:pt x="39147" y="12308"/>
                    <a:pt x="43828" y="15893"/>
                    <a:pt x="46972" y="23231"/>
                  </a:cubicBezTo>
                  <a:lnTo>
                    <a:pt x="60437" y="19885"/>
                  </a:lnTo>
                  <a:cubicBezTo>
                    <a:pt x="56549" y="7027"/>
                    <a:pt x="46756" y="0"/>
                    <a:pt x="32667" y="0"/>
                  </a:cubicBezTo>
                  <a:cubicBezTo>
                    <a:pt x="12265" y="0"/>
                    <a:pt x="0" y="14364"/>
                    <a:pt x="0" y="39435"/>
                  </a:cubicBezTo>
                  <a:cubicBezTo>
                    <a:pt x="0" y="64505"/>
                    <a:pt x="11497" y="80805"/>
                    <a:pt x="30051" y="80805"/>
                  </a:cubicBezTo>
                  <a:cubicBezTo>
                    <a:pt x="39268" y="80805"/>
                    <a:pt x="45892" y="77794"/>
                    <a:pt x="50885" y="71293"/>
                  </a:cubicBezTo>
                  <a:lnTo>
                    <a:pt x="51653" y="79514"/>
                  </a:lnTo>
                  <a:lnTo>
                    <a:pt x="51653" y="79514"/>
                  </a:lnTo>
                  <a:close/>
                </a:path>
              </a:pathLst>
            </a:custGeom>
            <a:grpFill/>
            <a:ln w="0" cap="flat">
              <a:noFill/>
              <a:prstDash val="solid"/>
              <a:miter/>
            </a:ln>
          </p:spPr>
          <p:txBody>
            <a:bodyPr rtlCol="0" anchor="ctr"/>
            <a:lstStyle/>
            <a:p>
              <a:endParaRPr lang="en-BG"/>
            </a:p>
          </p:txBody>
        </p:sp>
        <p:sp>
          <p:nvSpPr>
            <p:cNvPr id="63" name="Freeform 62">
              <a:extLst>
                <a:ext uri="{FF2B5EF4-FFF2-40B4-BE49-F238E27FC236}">
                  <a16:creationId xmlns:a16="http://schemas.microsoft.com/office/drawing/2014/main" id="{B28F360F-D3DB-BF4B-9802-D9DBF3678DE5}"/>
                </a:ext>
              </a:extLst>
            </p:cNvPr>
            <p:cNvSpPr/>
            <p:nvPr/>
          </p:nvSpPr>
          <p:spPr>
            <a:xfrm>
              <a:off x="10948531" y="6442749"/>
              <a:ext cx="59261" cy="78558"/>
            </a:xfrm>
            <a:custGeom>
              <a:avLst/>
              <a:gdLst>
                <a:gd name="connsiteX0" fmla="*/ 0 w 59261"/>
                <a:gd name="connsiteY0" fmla="*/ 78558 h 78558"/>
                <a:gd name="connsiteX1" fmla="*/ 14545 w 59261"/>
                <a:gd name="connsiteY1" fmla="*/ 78558 h 78558"/>
                <a:gd name="connsiteX2" fmla="*/ 14545 w 59261"/>
                <a:gd name="connsiteY2" fmla="*/ 46676 h 78558"/>
                <a:gd name="connsiteX3" fmla="*/ 28106 w 59261"/>
                <a:gd name="connsiteY3" fmla="*/ 46676 h 78558"/>
                <a:gd name="connsiteX4" fmla="*/ 43300 w 59261"/>
                <a:gd name="connsiteY4" fmla="*/ 78558 h 78558"/>
                <a:gd name="connsiteX5" fmla="*/ 59261 w 59261"/>
                <a:gd name="connsiteY5" fmla="*/ 78558 h 78558"/>
                <a:gd name="connsiteX6" fmla="*/ 41788 w 59261"/>
                <a:gd name="connsiteY6" fmla="*/ 43330 h 78558"/>
                <a:gd name="connsiteX7" fmla="*/ 56333 w 59261"/>
                <a:gd name="connsiteY7" fmla="*/ 23446 h 78558"/>
                <a:gd name="connsiteX8" fmla="*/ 26714 w 59261"/>
                <a:gd name="connsiteY8" fmla="*/ 0 h 78558"/>
                <a:gd name="connsiteX9" fmla="*/ 0 w 59261"/>
                <a:gd name="connsiteY9" fmla="*/ 0 h 78558"/>
                <a:gd name="connsiteX10" fmla="*/ 0 w 59261"/>
                <a:gd name="connsiteY10" fmla="*/ 78558 h 78558"/>
                <a:gd name="connsiteX11" fmla="*/ 0 w 59261"/>
                <a:gd name="connsiteY11" fmla="*/ 78558 h 78558"/>
                <a:gd name="connsiteX12" fmla="*/ 14545 w 59261"/>
                <a:gd name="connsiteY12" fmla="*/ 34248 h 78558"/>
                <a:gd name="connsiteX13" fmla="*/ 14545 w 59261"/>
                <a:gd name="connsiteY13" fmla="*/ 12428 h 78558"/>
                <a:gd name="connsiteX14" fmla="*/ 27458 w 59261"/>
                <a:gd name="connsiteY14" fmla="*/ 12428 h 78558"/>
                <a:gd name="connsiteX15" fmla="*/ 41356 w 59261"/>
                <a:gd name="connsiteY15" fmla="*/ 23350 h 78558"/>
                <a:gd name="connsiteX16" fmla="*/ 27458 w 59261"/>
                <a:gd name="connsiteY16" fmla="*/ 34272 h 78558"/>
                <a:gd name="connsiteX17" fmla="*/ 14545 w 59261"/>
                <a:gd name="connsiteY17" fmla="*/ 34272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9261" h="78558">
                  <a:moveTo>
                    <a:pt x="0" y="78558"/>
                  </a:moveTo>
                  <a:lnTo>
                    <a:pt x="14545" y="78558"/>
                  </a:lnTo>
                  <a:lnTo>
                    <a:pt x="14545" y="46676"/>
                  </a:lnTo>
                  <a:lnTo>
                    <a:pt x="28106" y="46676"/>
                  </a:lnTo>
                  <a:lnTo>
                    <a:pt x="43300" y="78558"/>
                  </a:lnTo>
                  <a:lnTo>
                    <a:pt x="59261" y="78558"/>
                  </a:lnTo>
                  <a:lnTo>
                    <a:pt x="41788" y="43330"/>
                  </a:lnTo>
                  <a:cubicBezTo>
                    <a:pt x="51125" y="40749"/>
                    <a:pt x="56333" y="33723"/>
                    <a:pt x="56333" y="23446"/>
                  </a:cubicBezTo>
                  <a:cubicBezTo>
                    <a:pt x="56333" y="7457"/>
                    <a:pt x="46564" y="0"/>
                    <a:pt x="26714" y="0"/>
                  </a:cubicBezTo>
                  <a:lnTo>
                    <a:pt x="0" y="0"/>
                  </a:lnTo>
                  <a:lnTo>
                    <a:pt x="0" y="78558"/>
                  </a:lnTo>
                  <a:lnTo>
                    <a:pt x="0" y="78558"/>
                  </a:lnTo>
                  <a:close/>
                  <a:moveTo>
                    <a:pt x="14545" y="34248"/>
                  </a:moveTo>
                  <a:lnTo>
                    <a:pt x="14545" y="12428"/>
                  </a:lnTo>
                  <a:lnTo>
                    <a:pt x="27458" y="12428"/>
                  </a:lnTo>
                  <a:cubicBezTo>
                    <a:pt x="36795" y="12428"/>
                    <a:pt x="41356" y="15678"/>
                    <a:pt x="41356" y="23350"/>
                  </a:cubicBezTo>
                  <a:cubicBezTo>
                    <a:pt x="41356" y="31022"/>
                    <a:pt x="36891" y="34272"/>
                    <a:pt x="27458" y="34272"/>
                  </a:cubicBezTo>
                  <a:lnTo>
                    <a:pt x="14545" y="34272"/>
                  </a:lnTo>
                  <a:close/>
                </a:path>
              </a:pathLst>
            </a:custGeom>
            <a:grpFill/>
            <a:ln w="0" cap="flat">
              <a:noFill/>
              <a:prstDash val="solid"/>
              <a:miter/>
            </a:ln>
          </p:spPr>
          <p:txBody>
            <a:bodyPr rtlCol="0" anchor="ctr"/>
            <a:lstStyle/>
            <a:p>
              <a:endParaRPr lang="en-BG"/>
            </a:p>
          </p:txBody>
        </p:sp>
        <p:sp>
          <p:nvSpPr>
            <p:cNvPr id="64" name="Freeform 63">
              <a:extLst>
                <a:ext uri="{FF2B5EF4-FFF2-40B4-BE49-F238E27FC236}">
                  <a16:creationId xmlns:a16="http://schemas.microsoft.com/office/drawing/2014/main" id="{83F600D4-7D2F-EE45-BBE7-C6A399C6010B}"/>
                </a:ext>
              </a:extLst>
            </p:cNvPr>
            <p:cNvSpPr/>
            <p:nvPr/>
          </p:nvSpPr>
          <p:spPr>
            <a:xfrm>
              <a:off x="11021546" y="6441769"/>
              <a:ext cx="65549" cy="80828"/>
            </a:xfrm>
            <a:custGeom>
              <a:avLst/>
              <a:gdLst>
                <a:gd name="connsiteX0" fmla="*/ 0 w 65549"/>
                <a:gd name="connsiteY0" fmla="*/ 40414 h 80828"/>
                <a:gd name="connsiteX1" fmla="*/ 32763 w 65549"/>
                <a:gd name="connsiteY1" fmla="*/ 80829 h 80828"/>
                <a:gd name="connsiteX2" fmla="*/ 65550 w 65549"/>
                <a:gd name="connsiteY2" fmla="*/ 40414 h 80828"/>
                <a:gd name="connsiteX3" fmla="*/ 32763 w 65549"/>
                <a:gd name="connsiteY3" fmla="*/ 0 h 80828"/>
                <a:gd name="connsiteX4" fmla="*/ 0 w 65549"/>
                <a:gd name="connsiteY4" fmla="*/ 40414 h 80828"/>
                <a:gd name="connsiteX5" fmla="*/ 0 w 65549"/>
                <a:gd name="connsiteY5" fmla="*/ 40414 h 80828"/>
                <a:gd name="connsiteX6" fmla="*/ 15097 w 65549"/>
                <a:gd name="connsiteY6" fmla="*/ 40414 h 80828"/>
                <a:gd name="connsiteX7" fmla="*/ 32787 w 65549"/>
                <a:gd name="connsiteY7" fmla="*/ 13073 h 80828"/>
                <a:gd name="connsiteX8" fmla="*/ 50477 w 65549"/>
                <a:gd name="connsiteY8" fmla="*/ 40414 h 80828"/>
                <a:gd name="connsiteX9" fmla="*/ 32787 w 65549"/>
                <a:gd name="connsiteY9" fmla="*/ 67541 h 80828"/>
                <a:gd name="connsiteX10" fmla="*/ 15097 w 65549"/>
                <a:gd name="connsiteY10" fmla="*/ 40414 h 80828"/>
                <a:gd name="connsiteX11" fmla="*/ 15097 w 65549"/>
                <a:gd name="connsiteY11" fmla="*/ 40414 h 8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549" h="80828">
                  <a:moveTo>
                    <a:pt x="0" y="40414"/>
                  </a:moveTo>
                  <a:cubicBezTo>
                    <a:pt x="0" y="65915"/>
                    <a:pt x="12577" y="80829"/>
                    <a:pt x="32763" y="80829"/>
                  </a:cubicBezTo>
                  <a:cubicBezTo>
                    <a:pt x="52949" y="80829"/>
                    <a:pt x="65550" y="65915"/>
                    <a:pt x="65550" y="40414"/>
                  </a:cubicBezTo>
                  <a:cubicBezTo>
                    <a:pt x="65550" y="14913"/>
                    <a:pt x="53069" y="0"/>
                    <a:pt x="32763" y="0"/>
                  </a:cubicBezTo>
                  <a:cubicBezTo>
                    <a:pt x="12457" y="0"/>
                    <a:pt x="0" y="14794"/>
                    <a:pt x="0" y="40414"/>
                  </a:cubicBezTo>
                  <a:lnTo>
                    <a:pt x="0" y="40414"/>
                  </a:lnTo>
                  <a:close/>
                  <a:moveTo>
                    <a:pt x="15097" y="40414"/>
                  </a:moveTo>
                  <a:cubicBezTo>
                    <a:pt x="15097" y="22370"/>
                    <a:pt x="21290" y="13073"/>
                    <a:pt x="32787" y="13073"/>
                  </a:cubicBezTo>
                  <a:cubicBezTo>
                    <a:pt x="44284" y="13073"/>
                    <a:pt x="50477" y="22370"/>
                    <a:pt x="50477" y="40414"/>
                  </a:cubicBezTo>
                  <a:cubicBezTo>
                    <a:pt x="50477" y="58459"/>
                    <a:pt x="44284" y="67541"/>
                    <a:pt x="32787" y="67541"/>
                  </a:cubicBezTo>
                  <a:cubicBezTo>
                    <a:pt x="21290" y="67541"/>
                    <a:pt x="15097" y="58363"/>
                    <a:pt x="15097" y="40414"/>
                  </a:cubicBezTo>
                  <a:lnTo>
                    <a:pt x="15097" y="40414"/>
                  </a:lnTo>
                  <a:close/>
                </a:path>
              </a:pathLst>
            </a:custGeom>
            <a:grpFill/>
            <a:ln w="0" cap="flat">
              <a:noFill/>
              <a:prstDash val="solid"/>
              <a:miter/>
            </a:ln>
          </p:spPr>
          <p:txBody>
            <a:bodyPr rtlCol="0" anchor="ctr"/>
            <a:lstStyle/>
            <a:p>
              <a:endParaRPr lang="en-BG"/>
            </a:p>
          </p:txBody>
        </p:sp>
        <p:sp>
          <p:nvSpPr>
            <p:cNvPr id="65" name="Freeform 64">
              <a:extLst>
                <a:ext uri="{FF2B5EF4-FFF2-40B4-BE49-F238E27FC236}">
                  <a16:creationId xmlns:a16="http://schemas.microsoft.com/office/drawing/2014/main" id="{8504599B-8812-D349-ADD4-3C4F3A761519}"/>
                </a:ext>
              </a:extLst>
            </p:cNvPr>
            <p:cNvSpPr/>
            <p:nvPr/>
          </p:nvSpPr>
          <p:spPr>
            <a:xfrm>
              <a:off x="11105385" y="6442725"/>
              <a:ext cx="59789" cy="79872"/>
            </a:xfrm>
            <a:custGeom>
              <a:avLst/>
              <a:gdLst>
                <a:gd name="connsiteX0" fmla="*/ 0 w 59789"/>
                <a:gd name="connsiteY0" fmla="*/ 49735 h 79872"/>
                <a:gd name="connsiteX1" fmla="*/ 29835 w 59789"/>
                <a:gd name="connsiteY1" fmla="*/ 79873 h 79872"/>
                <a:gd name="connsiteX2" fmla="*/ 59789 w 59789"/>
                <a:gd name="connsiteY2" fmla="*/ 52101 h 79872"/>
                <a:gd name="connsiteX3" fmla="*/ 59789 w 59789"/>
                <a:gd name="connsiteY3" fmla="*/ 0 h 79872"/>
                <a:gd name="connsiteX4" fmla="*/ 45364 w 59789"/>
                <a:gd name="connsiteY4" fmla="*/ 0 h 79872"/>
                <a:gd name="connsiteX5" fmla="*/ 45364 w 59789"/>
                <a:gd name="connsiteY5" fmla="*/ 50357 h 79872"/>
                <a:gd name="connsiteX6" fmla="*/ 29835 w 59789"/>
                <a:gd name="connsiteY6" fmla="*/ 66895 h 79872"/>
                <a:gd name="connsiteX7" fmla="*/ 14857 w 59789"/>
                <a:gd name="connsiteY7" fmla="*/ 50357 h 79872"/>
                <a:gd name="connsiteX8" fmla="*/ 14857 w 59789"/>
                <a:gd name="connsiteY8" fmla="*/ 0 h 79872"/>
                <a:gd name="connsiteX9" fmla="*/ 0 w 59789"/>
                <a:gd name="connsiteY9" fmla="*/ 0 h 79872"/>
                <a:gd name="connsiteX10" fmla="*/ 0 w 59789"/>
                <a:gd name="connsiteY10" fmla="*/ 49711 h 79872"/>
                <a:gd name="connsiteX11" fmla="*/ 0 w 59789"/>
                <a:gd name="connsiteY11" fmla="*/ 49711 h 7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789" h="79872">
                  <a:moveTo>
                    <a:pt x="0" y="49735"/>
                  </a:moveTo>
                  <a:cubicBezTo>
                    <a:pt x="0" y="69954"/>
                    <a:pt x="9649" y="79873"/>
                    <a:pt x="29835" y="79873"/>
                  </a:cubicBezTo>
                  <a:cubicBezTo>
                    <a:pt x="50020" y="79873"/>
                    <a:pt x="59789" y="69931"/>
                    <a:pt x="59789" y="52101"/>
                  </a:cubicBezTo>
                  <a:lnTo>
                    <a:pt x="59789" y="0"/>
                  </a:lnTo>
                  <a:lnTo>
                    <a:pt x="45364" y="0"/>
                  </a:lnTo>
                  <a:lnTo>
                    <a:pt x="45364" y="50357"/>
                  </a:lnTo>
                  <a:cubicBezTo>
                    <a:pt x="45364" y="61829"/>
                    <a:pt x="41452" y="66895"/>
                    <a:pt x="29835" y="66895"/>
                  </a:cubicBezTo>
                  <a:cubicBezTo>
                    <a:pt x="18866" y="66895"/>
                    <a:pt x="14857" y="61494"/>
                    <a:pt x="14857" y="50357"/>
                  </a:cubicBezTo>
                  <a:lnTo>
                    <a:pt x="14857" y="0"/>
                  </a:lnTo>
                  <a:lnTo>
                    <a:pt x="0" y="0"/>
                  </a:lnTo>
                  <a:lnTo>
                    <a:pt x="0" y="49711"/>
                  </a:lnTo>
                  <a:lnTo>
                    <a:pt x="0" y="49711"/>
                  </a:lnTo>
                  <a:close/>
                </a:path>
              </a:pathLst>
            </a:custGeom>
            <a:grpFill/>
            <a:ln w="0" cap="flat">
              <a:noFill/>
              <a:prstDash val="solid"/>
              <a:miter/>
            </a:ln>
          </p:spPr>
          <p:txBody>
            <a:bodyPr rtlCol="0" anchor="ctr"/>
            <a:lstStyle/>
            <a:p>
              <a:endParaRPr lang="en-BG"/>
            </a:p>
          </p:txBody>
        </p:sp>
        <p:sp>
          <p:nvSpPr>
            <p:cNvPr id="66" name="Freeform 65">
              <a:extLst>
                <a:ext uri="{FF2B5EF4-FFF2-40B4-BE49-F238E27FC236}">
                  <a16:creationId xmlns:a16="http://schemas.microsoft.com/office/drawing/2014/main" id="{17315504-CEE7-2B40-B98B-33E987A22E58}"/>
                </a:ext>
              </a:extLst>
            </p:cNvPr>
            <p:cNvSpPr/>
            <p:nvPr/>
          </p:nvSpPr>
          <p:spPr>
            <a:xfrm>
              <a:off x="11188217" y="6442749"/>
              <a:ext cx="55780" cy="78558"/>
            </a:xfrm>
            <a:custGeom>
              <a:avLst/>
              <a:gdLst>
                <a:gd name="connsiteX0" fmla="*/ 0 w 55780"/>
                <a:gd name="connsiteY0" fmla="*/ 78558 h 78558"/>
                <a:gd name="connsiteX1" fmla="*/ 14977 w 55780"/>
                <a:gd name="connsiteY1" fmla="*/ 78558 h 78558"/>
                <a:gd name="connsiteX2" fmla="*/ 14977 w 55780"/>
                <a:gd name="connsiteY2" fmla="*/ 46796 h 78558"/>
                <a:gd name="connsiteX3" fmla="*/ 29619 w 55780"/>
                <a:gd name="connsiteY3" fmla="*/ 46796 h 78558"/>
                <a:gd name="connsiteX4" fmla="*/ 55781 w 55780"/>
                <a:gd name="connsiteY4" fmla="*/ 23350 h 78558"/>
                <a:gd name="connsiteX5" fmla="*/ 28226 w 55780"/>
                <a:gd name="connsiteY5" fmla="*/ 0 h 78558"/>
                <a:gd name="connsiteX6" fmla="*/ 0 w 55780"/>
                <a:gd name="connsiteY6" fmla="*/ 0 h 78558"/>
                <a:gd name="connsiteX7" fmla="*/ 0 w 55780"/>
                <a:gd name="connsiteY7" fmla="*/ 78558 h 78558"/>
                <a:gd name="connsiteX8" fmla="*/ 0 w 55780"/>
                <a:gd name="connsiteY8" fmla="*/ 78558 h 78558"/>
                <a:gd name="connsiteX9" fmla="*/ 14953 w 55780"/>
                <a:gd name="connsiteY9" fmla="*/ 34344 h 78558"/>
                <a:gd name="connsiteX10" fmla="*/ 14953 w 55780"/>
                <a:gd name="connsiteY10" fmla="*/ 12213 h 78558"/>
                <a:gd name="connsiteX11" fmla="*/ 26018 w 55780"/>
                <a:gd name="connsiteY11" fmla="*/ 12213 h 78558"/>
                <a:gd name="connsiteX12" fmla="*/ 40876 w 55780"/>
                <a:gd name="connsiteY12" fmla="*/ 23326 h 78558"/>
                <a:gd name="connsiteX13" fmla="*/ 26018 w 55780"/>
                <a:gd name="connsiteY13" fmla="*/ 34344 h 78558"/>
                <a:gd name="connsiteX14" fmla="*/ 14953 w 55780"/>
                <a:gd name="connsiteY14" fmla="*/ 34344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780" h="78558">
                  <a:moveTo>
                    <a:pt x="0" y="78558"/>
                  </a:moveTo>
                  <a:lnTo>
                    <a:pt x="14977" y="78558"/>
                  </a:lnTo>
                  <a:lnTo>
                    <a:pt x="14977" y="46796"/>
                  </a:lnTo>
                  <a:lnTo>
                    <a:pt x="29619" y="46796"/>
                  </a:lnTo>
                  <a:cubicBezTo>
                    <a:pt x="46756" y="46796"/>
                    <a:pt x="55781" y="38574"/>
                    <a:pt x="55781" y="23350"/>
                  </a:cubicBezTo>
                  <a:cubicBezTo>
                    <a:pt x="55781" y="8126"/>
                    <a:pt x="46660" y="0"/>
                    <a:pt x="28226" y="0"/>
                  </a:cubicBezTo>
                  <a:lnTo>
                    <a:pt x="0" y="0"/>
                  </a:lnTo>
                  <a:lnTo>
                    <a:pt x="0" y="78558"/>
                  </a:lnTo>
                  <a:lnTo>
                    <a:pt x="0" y="78558"/>
                  </a:lnTo>
                  <a:close/>
                  <a:moveTo>
                    <a:pt x="14953" y="34344"/>
                  </a:moveTo>
                  <a:lnTo>
                    <a:pt x="14953" y="12213"/>
                  </a:lnTo>
                  <a:lnTo>
                    <a:pt x="26018" y="12213"/>
                  </a:lnTo>
                  <a:cubicBezTo>
                    <a:pt x="36219" y="12213"/>
                    <a:pt x="40876" y="14818"/>
                    <a:pt x="40876" y="23326"/>
                  </a:cubicBezTo>
                  <a:cubicBezTo>
                    <a:pt x="40876" y="31834"/>
                    <a:pt x="36099" y="34344"/>
                    <a:pt x="26018" y="34344"/>
                  </a:cubicBezTo>
                  <a:lnTo>
                    <a:pt x="14953" y="34344"/>
                  </a:lnTo>
                  <a:close/>
                </a:path>
              </a:pathLst>
            </a:custGeom>
            <a:grpFill/>
            <a:ln w="0" cap="flat">
              <a:noFill/>
              <a:prstDash val="solid"/>
              <a:miter/>
            </a:ln>
          </p:spPr>
          <p:txBody>
            <a:bodyPr rtlCol="0" anchor="ctr"/>
            <a:lstStyle/>
            <a:p>
              <a:endParaRPr lang="en-BG"/>
            </a:p>
          </p:txBody>
        </p:sp>
        <p:sp>
          <p:nvSpPr>
            <p:cNvPr id="67" name="Freeform 66">
              <a:extLst>
                <a:ext uri="{FF2B5EF4-FFF2-40B4-BE49-F238E27FC236}">
                  <a16:creationId xmlns:a16="http://schemas.microsoft.com/office/drawing/2014/main" id="{DD57D3D0-D697-9845-9D5F-C71E948E303D}"/>
                </a:ext>
              </a:extLst>
            </p:cNvPr>
            <p:cNvSpPr/>
            <p:nvPr/>
          </p:nvSpPr>
          <p:spPr>
            <a:xfrm>
              <a:off x="10870596" y="6318040"/>
              <a:ext cx="61109" cy="78558"/>
            </a:xfrm>
            <a:custGeom>
              <a:avLst/>
              <a:gdLst>
                <a:gd name="connsiteX0" fmla="*/ 0 w 61109"/>
                <a:gd name="connsiteY0" fmla="*/ 78558 h 78558"/>
                <a:gd name="connsiteX1" fmla="*/ 23546 w 61109"/>
                <a:gd name="connsiteY1" fmla="*/ 78558 h 78558"/>
                <a:gd name="connsiteX2" fmla="*/ 61109 w 61109"/>
                <a:gd name="connsiteY2" fmla="*/ 39004 h 78558"/>
                <a:gd name="connsiteX3" fmla="*/ 24098 w 61109"/>
                <a:gd name="connsiteY3" fmla="*/ 0 h 78558"/>
                <a:gd name="connsiteX4" fmla="*/ 0 w 61109"/>
                <a:gd name="connsiteY4" fmla="*/ 0 h 78558"/>
                <a:gd name="connsiteX5" fmla="*/ 0 w 61109"/>
                <a:gd name="connsiteY5" fmla="*/ 78558 h 78558"/>
                <a:gd name="connsiteX6" fmla="*/ 0 w 61109"/>
                <a:gd name="connsiteY6" fmla="*/ 78558 h 78558"/>
                <a:gd name="connsiteX7" fmla="*/ 14857 w 61109"/>
                <a:gd name="connsiteY7" fmla="*/ 65605 h 78558"/>
                <a:gd name="connsiteX8" fmla="*/ 14857 w 61109"/>
                <a:gd name="connsiteY8" fmla="*/ 13097 h 78558"/>
                <a:gd name="connsiteX9" fmla="*/ 22778 w 61109"/>
                <a:gd name="connsiteY9" fmla="*/ 13097 h 78558"/>
                <a:gd name="connsiteX10" fmla="*/ 46012 w 61109"/>
                <a:gd name="connsiteY10" fmla="*/ 39028 h 78558"/>
                <a:gd name="connsiteX11" fmla="*/ 22994 w 61109"/>
                <a:gd name="connsiteY11" fmla="*/ 65605 h 78558"/>
                <a:gd name="connsiteX12" fmla="*/ 14857 w 61109"/>
                <a:gd name="connsiteY12" fmla="*/ 65605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109" h="78558">
                  <a:moveTo>
                    <a:pt x="0" y="78558"/>
                  </a:moveTo>
                  <a:lnTo>
                    <a:pt x="23546" y="78558"/>
                  </a:lnTo>
                  <a:cubicBezTo>
                    <a:pt x="48508" y="78558"/>
                    <a:pt x="61109" y="65270"/>
                    <a:pt x="61109" y="39004"/>
                  </a:cubicBezTo>
                  <a:cubicBezTo>
                    <a:pt x="61109" y="12739"/>
                    <a:pt x="48532" y="0"/>
                    <a:pt x="24098" y="0"/>
                  </a:cubicBezTo>
                  <a:lnTo>
                    <a:pt x="0" y="0"/>
                  </a:lnTo>
                  <a:lnTo>
                    <a:pt x="0" y="78558"/>
                  </a:lnTo>
                  <a:lnTo>
                    <a:pt x="0" y="78558"/>
                  </a:lnTo>
                  <a:close/>
                  <a:moveTo>
                    <a:pt x="14857" y="65605"/>
                  </a:moveTo>
                  <a:lnTo>
                    <a:pt x="14857" y="13097"/>
                  </a:lnTo>
                  <a:lnTo>
                    <a:pt x="22778" y="13097"/>
                  </a:lnTo>
                  <a:cubicBezTo>
                    <a:pt x="38739" y="13097"/>
                    <a:pt x="46012" y="21199"/>
                    <a:pt x="46012" y="39028"/>
                  </a:cubicBezTo>
                  <a:cubicBezTo>
                    <a:pt x="46012" y="57718"/>
                    <a:pt x="39268" y="65605"/>
                    <a:pt x="22994" y="65605"/>
                  </a:cubicBezTo>
                  <a:lnTo>
                    <a:pt x="14857" y="65605"/>
                  </a:lnTo>
                  <a:close/>
                </a:path>
              </a:pathLst>
            </a:custGeom>
            <a:grpFill/>
            <a:ln w="0" cap="flat">
              <a:noFill/>
              <a:prstDash val="solid"/>
              <a:miter/>
            </a:ln>
          </p:spPr>
          <p:txBody>
            <a:bodyPr rtlCol="0" anchor="ctr"/>
            <a:lstStyle/>
            <a:p>
              <a:endParaRPr lang="en-BG"/>
            </a:p>
          </p:txBody>
        </p:sp>
        <p:sp>
          <p:nvSpPr>
            <p:cNvPr id="68" name="Freeform 67">
              <a:extLst>
                <a:ext uri="{FF2B5EF4-FFF2-40B4-BE49-F238E27FC236}">
                  <a16:creationId xmlns:a16="http://schemas.microsoft.com/office/drawing/2014/main" id="{32CCB6F3-E2B9-7A4A-B89D-2FF4FE5BB68F}"/>
                </a:ext>
              </a:extLst>
            </p:cNvPr>
            <p:cNvSpPr/>
            <p:nvPr/>
          </p:nvSpPr>
          <p:spPr>
            <a:xfrm>
              <a:off x="10950835" y="6318040"/>
              <a:ext cx="52876" cy="78558"/>
            </a:xfrm>
            <a:custGeom>
              <a:avLst/>
              <a:gdLst>
                <a:gd name="connsiteX0" fmla="*/ 0 w 52876"/>
                <a:gd name="connsiteY0" fmla="*/ 78558 h 78558"/>
                <a:gd name="connsiteX1" fmla="*/ 52877 w 52876"/>
                <a:gd name="connsiteY1" fmla="*/ 78558 h 78558"/>
                <a:gd name="connsiteX2" fmla="*/ 52877 w 52876"/>
                <a:gd name="connsiteY2" fmla="*/ 65151 h 78558"/>
                <a:gd name="connsiteX3" fmla="*/ 14785 w 52876"/>
                <a:gd name="connsiteY3" fmla="*/ 65151 h 78558"/>
                <a:gd name="connsiteX4" fmla="*/ 14785 w 52876"/>
                <a:gd name="connsiteY4" fmla="*/ 43880 h 78558"/>
                <a:gd name="connsiteX5" fmla="*/ 41356 w 52876"/>
                <a:gd name="connsiteY5" fmla="*/ 43880 h 78558"/>
                <a:gd name="connsiteX6" fmla="*/ 41356 w 52876"/>
                <a:gd name="connsiteY6" fmla="*/ 31333 h 78558"/>
                <a:gd name="connsiteX7" fmla="*/ 14785 w 52876"/>
                <a:gd name="connsiteY7" fmla="*/ 31333 h 78558"/>
                <a:gd name="connsiteX8" fmla="*/ 14785 w 52876"/>
                <a:gd name="connsiteY8" fmla="*/ 12762 h 78558"/>
                <a:gd name="connsiteX9" fmla="*/ 51221 w 52876"/>
                <a:gd name="connsiteY9" fmla="*/ 12762 h 78558"/>
                <a:gd name="connsiteX10" fmla="*/ 51221 w 52876"/>
                <a:gd name="connsiteY10" fmla="*/ 0 h 78558"/>
                <a:gd name="connsiteX11" fmla="*/ 0 w 52876"/>
                <a:gd name="connsiteY11" fmla="*/ 0 h 78558"/>
                <a:gd name="connsiteX12" fmla="*/ 0 w 52876"/>
                <a:gd name="connsiteY12" fmla="*/ 78558 h 78558"/>
                <a:gd name="connsiteX13" fmla="*/ 0 w 52876"/>
                <a:gd name="connsiteY13" fmla="*/ 78558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876" h="78558">
                  <a:moveTo>
                    <a:pt x="0" y="78558"/>
                  </a:moveTo>
                  <a:lnTo>
                    <a:pt x="52877" y="78558"/>
                  </a:lnTo>
                  <a:lnTo>
                    <a:pt x="52877" y="65151"/>
                  </a:lnTo>
                  <a:lnTo>
                    <a:pt x="14785" y="65151"/>
                  </a:lnTo>
                  <a:lnTo>
                    <a:pt x="14785" y="43880"/>
                  </a:lnTo>
                  <a:lnTo>
                    <a:pt x="41356" y="43880"/>
                  </a:lnTo>
                  <a:lnTo>
                    <a:pt x="41356" y="31333"/>
                  </a:lnTo>
                  <a:lnTo>
                    <a:pt x="14785" y="31333"/>
                  </a:lnTo>
                  <a:lnTo>
                    <a:pt x="14785" y="12762"/>
                  </a:lnTo>
                  <a:lnTo>
                    <a:pt x="51221" y="12762"/>
                  </a:lnTo>
                  <a:lnTo>
                    <a:pt x="51221" y="0"/>
                  </a:lnTo>
                  <a:lnTo>
                    <a:pt x="0" y="0"/>
                  </a:lnTo>
                  <a:lnTo>
                    <a:pt x="0" y="78558"/>
                  </a:lnTo>
                  <a:lnTo>
                    <a:pt x="0" y="78558"/>
                  </a:lnTo>
                  <a:close/>
                </a:path>
              </a:pathLst>
            </a:custGeom>
            <a:grpFill/>
            <a:ln w="0" cap="flat">
              <a:noFill/>
              <a:prstDash val="solid"/>
              <a:miter/>
            </a:ln>
          </p:spPr>
          <p:txBody>
            <a:bodyPr rtlCol="0" anchor="ctr"/>
            <a:lstStyle/>
            <a:p>
              <a:endParaRPr lang="en-BG"/>
            </a:p>
          </p:txBody>
        </p:sp>
        <p:sp>
          <p:nvSpPr>
            <p:cNvPr id="69" name="Freeform 68">
              <a:extLst>
                <a:ext uri="{FF2B5EF4-FFF2-40B4-BE49-F238E27FC236}">
                  <a16:creationId xmlns:a16="http://schemas.microsoft.com/office/drawing/2014/main" id="{60689470-4105-8D41-AEA2-E531BB7B37B1}"/>
                </a:ext>
              </a:extLst>
            </p:cNvPr>
            <p:cNvSpPr/>
            <p:nvPr/>
          </p:nvSpPr>
          <p:spPr>
            <a:xfrm>
              <a:off x="11021210" y="6318040"/>
              <a:ext cx="59789" cy="79848"/>
            </a:xfrm>
            <a:custGeom>
              <a:avLst/>
              <a:gdLst>
                <a:gd name="connsiteX0" fmla="*/ 0 w 59789"/>
                <a:gd name="connsiteY0" fmla="*/ 49711 h 79848"/>
                <a:gd name="connsiteX1" fmla="*/ 29835 w 59789"/>
                <a:gd name="connsiteY1" fmla="*/ 79849 h 79848"/>
                <a:gd name="connsiteX2" fmla="*/ 59789 w 59789"/>
                <a:gd name="connsiteY2" fmla="*/ 52077 h 79848"/>
                <a:gd name="connsiteX3" fmla="*/ 59789 w 59789"/>
                <a:gd name="connsiteY3" fmla="*/ 0 h 79848"/>
                <a:gd name="connsiteX4" fmla="*/ 45364 w 59789"/>
                <a:gd name="connsiteY4" fmla="*/ 0 h 79848"/>
                <a:gd name="connsiteX5" fmla="*/ 45364 w 59789"/>
                <a:gd name="connsiteY5" fmla="*/ 50357 h 79848"/>
                <a:gd name="connsiteX6" fmla="*/ 29859 w 59789"/>
                <a:gd name="connsiteY6" fmla="*/ 66895 h 79848"/>
                <a:gd name="connsiteX7" fmla="*/ 14881 w 59789"/>
                <a:gd name="connsiteY7" fmla="*/ 50357 h 79848"/>
                <a:gd name="connsiteX8" fmla="*/ 14881 w 59789"/>
                <a:gd name="connsiteY8" fmla="*/ 0 h 79848"/>
                <a:gd name="connsiteX9" fmla="*/ 24 w 59789"/>
                <a:gd name="connsiteY9" fmla="*/ 0 h 79848"/>
                <a:gd name="connsiteX10" fmla="*/ 24 w 59789"/>
                <a:gd name="connsiteY10" fmla="*/ 49711 h 79848"/>
                <a:gd name="connsiteX11" fmla="*/ 24 w 59789"/>
                <a:gd name="connsiteY11" fmla="*/ 49711 h 79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789" h="79848">
                  <a:moveTo>
                    <a:pt x="0" y="49711"/>
                  </a:moveTo>
                  <a:cubicBezTo>
                    <a:pt x="0" y="69907"/>
                    <a:pt x="9649" y="79849"/>
                    <a:pt x="29835" y="79849"/>
                  </a:cubicBezTo>
                  <a:cubicBezTo>
                    <a:pt x="50020" y="79849"/>
                    <a:pt x="59789" y="69907"/>
                    <a:pt x="59789" y="52077"/>
                  </a:cubicBezTo>
                  <a:lnTo>
                    <a:pt x="59789" y="0"/>
                  </a:lnTo>
                  <a:lnTo>
                    <a:pt x="45364" y="0"/>
                  </a:lnTo>
                  <a:lnTo>
                    <a:pt x="45364" y="50357"/>
                  </a:lnTo>
                  <a:cubicBezTo>
                    <a:pt x="45364" y="61805"/>
                    <a:pt x="41452" y="66895"/>
                    <a:pt x="29859" y="66895"/>
                  </a:cubicBezTo>
                  <a:cubicBezTo>
                    <a:pt x="18890" y="66895"/>
                    <a:pt x="14881" y="61494"/>
                    <a:pt x="14881" y="50357"/>
                  </a:cubicBezTo>
                  <a:lnTo>
                    <a:pt x="14881" y="0"/>
                  </a:lnTo>
                  <a:lnTo>
                    <a:pt x="24" y="0"/>
                  </a:lnTo>
                  <a:lnTo>
                    <a:pt x="24" y="49711"/>
                  </a:lnTo>
                  <a:lnTo>
                    <a:pt x="24" y="49711"/>
                  </a:lnTo>
                  <a:close/>
                </a:path>
              </a:pathLst>
            </a:custGeom>
            <a:grpFill/>
            <a:ln w="0" cap="flat">
              <a:noFill/>
              <a:prstDash val="solid"/>
              <a:miter/>
            </a:ln>
          </p:spPr>
          <p:txBody>
            <a:bodyPr rtlCol="0" anchor="ctr"/>
            <a:lstStyle/>
            <a:p>
              <a:endParaRPr lang="en-BG"/>
            </a:p>
          </p:txBody>
        </p:sp>
        <p:sp>
          <p:nvSpPr>
            <p:cNvPr id="70" name="Freeform 69">
              <a:extLst>
                <a:ext uri="{FF2B5EF4-FFF2-40B4-BE49-F238E27FC236}">
                  <a16:creationId xmlns:a16="http://schemas.microsoft.com/office/drawing/2014/main" id="{D4F0900B-8E91-E244-9D72-29C4B8FDB207}"/>
                </a:ext>
              </a:extLst>
            </p:cNvPr>
            <p:cNvSpPr/>
            <p:nvPr/>
          </p:nvSpPr>
          <p:spPr>
            <a:xfrm>
              <a:off x="11097416" y="6318040"/>
              <a:ext cx="56429" cy="78558"/>
            </a:xfrm>
            <a:custGeom>
              <a:avLst/>
              <a:gdLst>
                <a:gd name="connsiteX0" fmla="*/ 20738 w 56429"/>
                <a:gd name="connsiteY0" fmla="*/ 78558 h 78558"/>
                <a:gd name="connsiteX1" fmla="*/ 35715 w 56429"/>
                <a:gd name="connsiteY1" fmla="*/ 78558 h 78558"/>
                <a:gd name="connsiteX2" fmla="*/ 35715 w 56429"/>
                <a:gd name="connsiteY2" fmla="*/ 12978 h 78558"/>
                <a:gd name="connsiteX3" fmla="*/ 56429 w 56429"/>
                <a:gd name="connsiteY3" fmla="*/ 12978 h 78558"/>
                <a:gd name="connsiteX4" fmla="*/ 56429 w 56429"/>
                <a:gd name="connsiteY4" fmla="*/ 0 h 78558"/>
                <a:gd name="connsiteX5" fmla="*/ 0 w 56429"/>
                <a:gd name="connsiteY5" fmla="*/ 0 h 78558"/>
                <a:gd name="connsiteX6" fmla="*/ 0 w 56429"/>
                <a:gd name="connsiteY6" fmla="*/ 12978 h 78558"/>
                <a:gd name="connsiteX7" fmla="*/ 20738 w 56429"/>
                <a:gd name="connsiteY7" fmla="*/ 12978 h 78558"/>
                <a:gd name="connsiteX8" fmla="*/ 20738 w 56429"/>
                <a:gd name="connsiteY8" fmla="*/ 78558 h 78558"/>
                <a:gd name="connsiteX9" fmla="*/ 20738 w 56429"/>
                <a:gd name="connsiteY9" fmla="*/ 78558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29" h="78558">
                  <a:moveTo>
                    <a:pt x="20738" y="78558"/>
                  </a:moveTo>
                  <a:lnTo>
                    <a:pt x="35715" y="78558"/>
                  </a:lnTo>
                  <a:lnTo>
                    <a:pt x="35715" y="12978"/>
                  </a:lnTo>
                  <a:lnTo>
                    <a:pt x="56429" y="12978"/>
                  </a:lnTo>
                  <a:lnTo>
                    <a:pt x="56429" y="0"/>
                  </a:lnTo>
                  <a:lnTo>
                    <a:pt x="0" y="0"/>
                  </a:lnTo>
                  <a:lnTo>
                    <a:pt x="0" y="12978"/>
                  </a:lnTo>
                  <a:lnTo>
                    <a:pt x="20738" y="12978"/>
                  </a:lnTo>
                  <a:lnTo>
                    <a:pt x="20738" y="78558"/>
                  </a:lnTo>
                  <a:lnTo>
                    <a:pt x="20738" y="78558"/>
                  </a:lnTo>
                  <a:close/>
                </a:path>
              </a:pathLst>
            </a:custGeom>
            <a:grpFill/>
            <a:ln w="0" cap="flat">
              <a:noFill/>
              <a:prstDash val="solid"/>
              <a:miter/>
            </a:ln>
          </p:spPr>
          <p:txBody>
            <a:bodyPr rtlCol="0" anchor="ctr"/>
            <a:lstStyle/>
            <a:p>
              <a:endParaRPr lang="en-BG"/>
            </a:p>
          </p:txBody>
        </p:sp>
        <p:sp>
          <p:nvSpPr>
            <p:cNvPr id="71" name="Freeform 70">
              <a:extLst>
                <a:ext uri="{FF2B5EF4-FFF2-40B4-BE49-F238E27FC236}">
                  <a16:creationId xmlns:a16="http://schemas.microsoft.com/office/drawing/2014/main" id="{8EB41EA6-D13C-224D-A52A-A8BB012EE36F}"/>
                </a:ext>
              </a:extLst>
            </p:cNvPr>
            <p:cNvSpPr/>
            <p:nvPr/>
          </p:nvSpPr>
          <p:spPr>
            <a:xfrm>
              <a:off x="11164382" y="6317180"/>
              <a:ext cx="56669" cy="80494"/>
            </a:xfrm>
            <a:custGeom>
              <a:avLst/>
              <a:gdLst>
                <a:gd name="connsiteX0" fmla="*/ 24 w 56669"/>
                <a:gd name="connsiteY0" fmla="*/ 61685 h 80494"/>
                <a:gd name="connsiteX1" fmla="*/ 29859 w 56669"/>
                <a:gd name="connsiteY1" fmla="*/ 80494 h 80494"/>
                <a:gd name="connsiteX2" fmla="*/ 56669 w 56669"/>
                <a:gd name="connsiteY2" fmla="*/ 57168 h 80494"/>
                <a:gd name="connsiteX3" fmla="*/ 37035 w 56669"/>
                <a:gd name="connsiteY3" fmla="*/ 34248 h 80494"/>
                <a:gd name="connsiteX4" fmla="*/ 16850 w 56669"/>
                <a:gd name="connsiteY4" fmla="*/ 20315 h 80494"/>
                <a:gd name="connsiteX5" fmla="*/ 27266 w 56669"/>
                <a:gd name="connsiteY5" fmla="*/ 11998 h 80494"/>
                <a:gd name="connsiteX6" fmla="*/ 41476 w 56669"/>
                <a:gd name="connsiteY6" fmla="*/ 22059 h 80494"/>
                <a:gd name="connsiteX7" fmla="*/ 54917 w 56669"/>
                <a:gd name="connsiteY7" fmla="*/ 17184 h 80494"/>
                <a:gd name="connsiteX8" fmla="*/ 28323 w 56669"/>
                <a:gd name="connsiteY8" fmla="*/ 0 h 80494"/>
                <a:gd name="connsiteX9" fmla="*/ 2592 w 56669"/>
                <a:gd name="connsiteY9" fmla="*/ 21390 h 80494"/>
                <a:gd name="connsiteX10" fmla="*/ 11809 w 56669"/>
                <a:gd name="connsiteY10" fmla="*/ 38670 h 80494"/>
                <a:gd name="connsiteX11" fmla="*/ 30603 w 56669"/>
                <a:gd name="connsiteY11" fmla="*/ 46772 h 80494"/>
                <a:gd name="connsiteX12" fmla="*/ 42316 w 56669"/>
                <a:gd name="connsiteY12" fmla="*/ 57790 h 80494"/>
                <a:gd name="connsiteX13" fmla="*/ 29523 w 56669"/>
                <a:gd name="connsiteY13" fmla="*/ 67732 h 80494"/>
                <a:gd name="connsiteX14" fmla="*/ 13465 w 56669"/>
                <a:gd name="connsiteY14" fmla="*/ 55734 h 80494"/>
                <a:gd name="connsiteX15" fmla="*/ 0 w 56669"/>
                <a:gd name="connsiteY15" fmla="*/ 61685 h 80494"/>
                <a:gd name="connsiteX16" fmla="*/ 0 w 56669"/>
                <a:gd name="connsiteY16" fmla="*/ 61685 h 8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669" h="80494">
                  <a:moveTo>
                    <a:pt x="24" y="61685"/>
                  </a:moveTo>
                  <a:cubicBezTo>
                    <a:pt x="5112" y="74017"/>
                    <a:pt x="15337" y="80494"/>
                    <a:pt x="29859" y="80494"/>
                  </a:cubicBezTo>
                  <a:cubicBezTo>
                    <a:pt x="46780" y="80494"/>
                    <a:pt x="56669" y="71412"/>
                    <a:pt x="56669" y="57168"/>
                  </a:cubicBezTo>
                  <a:cubicBezTo>
                    <a:pt x="56669" y="44836"/>
                    <a:pt x="50141" y="39769"/>
                    <a:pt x="37035" y="34248"/>
                  </a:cubicBezTo>
                  <a:cubicBezTo>
                    <a:pt x="24554" y="28966"/>
                    <a:pt x="16850" y="27652"/>
                    <a:pt x="16850" y="20315"/>
                  </a:cubicBezTo>
                  <a:cubicBezTo>
                    <a:pt x="16850" y="15248"/>
                    <a:pt x="20762" y="11998"/>
                    <a:pt x="27266" y="11998"/>
                  </a:cubicBezTo>
                  <a:cubicBezTo>
                    <a:pt x="33771" y="11998"/>
                    <a:pt x="38235" y="15129"/>
                    <a:pt x="41476" y="22059"/>
                  </a:cubicBezTo>
                  <a:lnTo>
                    <a:pt x="54917" y="17184"/>
                  </a:lnTo>
                  <a:cubicBezTo>
                    <a:pt x="50789" y="5832"/>
                    <a:pt x="41788" y="0"/>
                    <a:pt x="28323" y="0"/>
                  </a:cubicBezTo>
                  <a:cubicBezTo>
                    <a:pt x="12697" y="0"/>
                    <a:pt x="2592" y="8962"/>
                    <a:pt x="2592" y="21390"/>
                  </a:cubicBezTo>
                  <a:cubicBezTo>
                    <a:pt x="2592" y="28847"/>
                    <a:pt x="5857" y="34894"/>
                    <a:pt x="11809" y="38670"/>
                  </a:cubicBezTo>
                  <a:cubicBezTo>
                    <a:pt x="17018" y="42016"/>
                    <a:pt x="23522" y="44191"/>
                    <a:pt x="30603" y="46772"/>
                  </a:cubicBezTo>
                  <a:cubicBezTo>
                    <a:pt x="38739" y="49807"/>
                    <a:pt x="42316" y="52508"/>
                    <a:pt x="42316" y="57790"/>
                  </a:cubicBezTo>
                  <a:cubicBezTo>
                    <a:pt x="42316" y="63741"/>
                    <a:pt x="37539" y="67732"/>
                    <a:pt x="29523" y="67732"/>
                  </a:cubicBezTo>
                  <a:cubicBezTo>
                    <a:pt x="22466" y="67732"/>
                    <a:pt x="17594" y="64051"/>
                    <a:pt x="13465" y="55734"/>
                  </a:cubicBezTo>
                  <a:lnTo>
                    <a:pt x="0" y="61685"/>
                  </a:lnTo>
                  <a:lnTo>
                    <a:pt x="0" y="61685"/>
                  </a:lnTo>
                  <a:close/>
                </a:path>
              </a:pathLst>
            </a:custGeom>
            <a:grpFill/>
            <a:ln w="0" cap="flat">
              <a:noFill/>
              <a:prstDash val="solid"/>
              <a:miter/>
            </a:ln>
          </p:spPr>
          <p:txBody>
            <a:bodyPr rtlCol="0" anchor="ctr"/>
            <a:lstStyle/>
            <a:p>
              <a:endParaRPr lang="en-BG"/>
            </a:p>
          </p:txBody>
        </p:sp>
        <p:sp>
          <p:nvSpPr>
            <p:cNvPr id="72" name="Freeform 71">
              <a:extLst>
                <a:ext uri="{FF2B5EF4-FFF2-40B4-BE49-F238E27FC236}">
                  <a16:creationId xmlns:a16="http://schemas.microsoft.com/office/drawing/2014/main" id="{129C6A62-19EA-AA4B-A660-0E3DD2A4AFC3}"/>
                </a:ext>
              </a:extLst>
            </p:cNvPr>
            <p:cNvSpPr/>
            <p:nvPr/>
          </p:nvSpPr>
          <p:spPr>
            <a:xfrm>
              <a:off x="11234493" y="6317084"/>
              <a:ext cx="60101" cy="80828"/>
            </a:xfrm>
            <a:custGeom>
              <a:avLst/>
              <a:gdLst>
                <a:gd name="connsiteX0" fmla="*/ 46444 w 60101"/>
                <a:gd name="connsiteY0" fmla="*/ 56069 h 80828"/>
                <a:gd name="connsiteX1" fmla="*/ 31347 w 60101"/>
                <a:gd name="connsiteY1" fmla="*/ 67732 h 80828"/>
                <a:gd name="connsiteX2" fmla="*/ 15073 w 60101"/>
                <a:gd name="connsiteY2" fmla="*/ 40725 h 80828"/>
                <a:gd name="connsiteX3" fmla="*/ 31035 w 60101"/>
                <a:gd name="connsiteY3" fmla="*/ 12428 h 80828"/>
                <a:gd name="connsiteX4" fmla="*/ 44812 w 60101"/>
                <a:gd name="connsiteY4" fmla="*/ 23876 h 80828"/>
                <a:gd name="connsiteX5" fmla="*/ 58493 w 60101"/>
                <a:gd name="connsiteY5" fmla="*/ 20530 h 80828"/>
                <a:gd name="connsiteX6" fmla="*/ 31899 w 60101"/>
                <a:gd name="connsiteY6" fmla="*/ 0 h 80828"/>
                <a:gd name="connsiteX7" fmla="*/ 0 w 60101"/>
                <a:gd name="connsiteY7" fmla="*/ 40630 h 80828"/>
                <a:gd name="connsiteX8" fmla="*/ 31035 w 60101"/>
                <a:gd name="connsiteY8" fmla="*/ 80829 h 80828"/>
                <a:gd name="connsiteX9" fmla="*/ 60101 w 60101"/>
                <a:gd name="connsiteY9" fmla="*/ 59869 h 80828"/>
                <a:gd name="connsiteX10" fmla="*/ 46444 w 60101"/>
                <a:gd name="connsiteY10" fmla="*/ 56093 h 80828"/>
                <a:gd name="connsiteX11" fmla="*/ 46444 w 60101"/>
                <a:gd name="connsiteY11" fmla="*/ 56093 h 8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101" h="80828">
                  <a:moveTo>
                    <a:pt x="46444" y="56069"/>
                  </a:moveTo>
                  <a:cubicBezTo>
                    <a:pt x="44380" y="63310"/>
                    <a:pt x="38620" y="67732"/>
                    <a:pt x="31347" y="67732"/>
                  </a:cubicBezTo>
                  <a:cubicBezTo>
                    <a:pt x="20066" y="67732"/>
                    <a:pt x="15073" y="58889"/>
                    <a:pt x="15073" y="40725"/>
                  </a:cubicBezTo>
                  <a:cubicBezTo>
                    <a:pt x="15073" y="22561"/>
                    <a:pt x="20282" y="12428"/>
                    <a:pt x="31035" y="12428"/>
                  </a:cubicBezTo>
                  <a:cubicBezTo>
                    <a:pt x="38187" y="12428"/>
                    <a:pt x="42868" y="16324"/>
                    <a:pt x="44812" y="23876"/>
                  </a:cubicBezTo>
                  <a:lnTo>
                    <a:pt x="58493" y="20530"/>
                  </a:lnTo>
                  <a:cubicBezTo>
                    <a:pt x="55445" y="7242"/>
                    <a:pt x="46108" y="0"/>
                    <a:pt x="31899" y="0"/>
                  </a:cubicBezTo>
                  <a:cubicBezTo>
                    <a:pt x="11713" y="0"/>
                    <a:pt x="0" y="14483"/>
                    <a:pt x="0" y="40630"/>
                  </a:cubicBezTo>
                  <a:cubicBezTo>
                    <a:pt x="0" y="66776"/>
                    <a:pt x="10633" y="80829"/>
                    <a:pt x="31035" y="80829"/>
                  </a:cubicBezTo>
                  <a:cubicBezTo>
                    <a:pt x="46012" y="80829"/>
                    <a:pt x="56213" y="73372"/>
                    <a:pt x="60101" y="59869"/>
                  </a:cubicBezTo>
                  <a:lnTo>
                    <a:pt x="46444" y="56093"/>
                  </a:lnTo>
                  <a:lnTo>
                    <a:pt x="46444" y="56093"/>
                  </a:lnTo>
                  <a:close/>
                </a:path>
              </a:pathLst>
            </a:custGeom>
            <a:grpFill/>
            <a:ln w="0" cap="flat">
              <a:noFill/>
              <a:prstDash val="solid"/>
              <a:miter/>
            </a:ln>
          </p:spPr>
          <p:txBody>
            <a:bodyPr rtlCol="0" anchor="ctr"/>
            <a:lstStyle/>
            <a:p>
              <a:endParaRPr lang="en-BG"/>
            </a:p>
          </p:txBody>
        </p:sp>
        <p:sp>
          <p:nvSpPr>
            <p:cNvPr id="73" name="Freeform 72">
              <a:extLst>
                <a:ext uri="{FF2B5EF4-FFF2-40B4-BE49-F238E27FC236}">
                  <a16:creationId xmlns:a16="http://schemas.microsoft.com/office/drawing/2014/main" id="{F5182457-5A7E-BE47-AEF8-1C5060073BF6}"/>
                </a:ext>
              </a:extLst>
            </p:cNvPr>
            <p:cNvSpPr/>
            <p:nvPr/>
          </p:nvSpPr>
          <p:spPr>
            <a:xfrm>
              <a:off x="11311756" y="6318040"/>
              <a:ext cx="59765" cy="78558"/>
            </a:xfrm>
            <a:custGeom>
              <a:avLst/>
              <a:gdLst>
                <a:gd name="connsiteX0" fmla="*/ 0 w 59765"/>
                <a:gd name="connsiteY0" fmla="*/ 78558 h 78558"/>
                <a:gd name="connsiteX1" fmla="*/ 14857 w 59765"/>
                <a:gd name="connsiteY1" fmla="*/ 78558 h 78558"/>
                <a:gd name="connsiteX2" fmla="*/ 14857 w 59765"/>
                <a:gd name="connsiteY2" fmla="*/ 44406 h 78558"/>
                <a:gd name="connsiteX3" fmla="*/ 44908 w 59765"/>
                <a:gd name="connsiteY3" fmla="*/ 44406 h 78558"/>
                <a:gd name="connsiteX4" fmla="*/ 44908 w 59765"/>
                <a:gd name="connsiteY4" fmla="*/ 78558 h 78558"/>
                <a:gd name="connsiteX5" fmla="*/ 59765 w 59765"/>
                <a:gd name="connsiteY5" fmla="*/ 78558 h 78558"/>
                <a:gd name="connsiteX6" fmla="*/ 59765 w 59765"/>
                <a:gd name="connsiteY6" fmla="*/ 0 h 78558"/>
                <a:gd name="connsiteX7" fmla="*/ 44908 w 59765"/>
                <a:gd name="connsiteY7" fmla="*/ 0 h 78558"/>
                <a:gd name="connsiteX8" fmla="*/ 44908 w 59765"/>
                <a:gd name="connsiteY8" fmla="*/ 31117 h 78558"/>
                <a:gd name="connsiteX9" fmla="*/ 14857 w 59765"/>
                <a:gd name="connsiteY9" fmla="*/ 31117 h 78558"/>
                <a:gd name="connsiteX10" fmla="*/ 14857 w 59765"/>
                <a:gd name="connsiteY10" fmla="*/ 0 h 78558"/>
                <a:gd name="connsiteX11" fmla="*/ 0 w 59765"/>
                <a:gd name="connsiteY11" fmla="*/ 0 h 78558"/>
                <a:gd name="connsiteX12" fmla="*/ 0 w 59765"/>
                <a:gd name="connsiteY12" fmla="*/ 78558 h 78558"/>
                <a:gd name="connsiteX13" fmla="*/ 0 w 59765"/>
                <a:gd name="connsiteY13" fmla="*/ 78558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765" h="78558">
                  <a:moveTo>
                    <a:pt x="0" y="78558"/>
                  </a:moveTo>
                  <a:lnTo>
                    <a:pt x="14857" y="78558"/>
                  </a:lnTo>
                  <a:lnTo>
                    <a:pt x="14857" y="44406"/>
                  </a:lnTo>
                  <a:lnTo>
                    <a:pt x="44908" y="44406"/>
                  </a:lnTo>
                  <a:lnTo>
                    <a:pt x="44908" y="78558"/>
                  </a:lnTo>
                  <a:lnTo>
                    <a:pt x="59765" y="78558"/>
                  </a:lnTo>
                  <a:lnTo>
                    <a:pt x="59765" y="0"/>
                  </a:lnTo>
                  <a:lnTo>
                    <a:pt x="44908" y="0"/>
                  </a:lnTo>
                  <a:lnTo>
                    <a:pt x="44908" y="31117"/>
                  </a:lnTo>
                  <a:lnTo>
                    <a:pt x="14857" y="31117"/>
                  </a:lnTo>
                  <a:lnTo>
                    <a:pt x="14857" y="0"/>
                  </a:lnTo>
                  <a:lnTo>
                    <a:pt x="0" y="0"/>
                  </a:lnTo>
                  <a:lnTo>
                    <a:pt x="0" y="78558"/>
                  </a:lnTo>
                  <a:lnTo>
                    <a:pt x="0" y="78558"/>
                  </a:lnTo>
                  <a:close/>
                </a:path>
              </a:pathLst>
            </a:custGeom>
            <a:grpFill/>
            <a:ln w="0" cap="flat">
              <a:noFill/>
              <a:prstDash val="solid"/>
              <a:miter/>
            </a:ln>
          </p:spPr>
          <p:txBody>
            <a:bodyPr rtlCol="0" anchor="ctr"/>
            <a:lstStyle/>
            <a:p>
              <a:endParaRPr lang="en-BG"/>
            </a:p>
          </p:txBody>
        </p:sp>
        <p:sp>
          <p:nvSpPr>
            <p:cNvPr id="74" name="Freeform 73">
              <a:extLst>
                <a:ext uri="{FF2B5EF4-FFF2-40B4-BE49-F238E27FC236}">
                  <a16:creationId xmlns:a16="http://schemas.microsoft.com/office/drawing/2014/main" id="{AD53D86C-C65B-5B4D-AF89-B8D7BD4B526D}"/>
                </a:ext>
              </a:extLst>
            </p:cNvPr>
            <p:cNvSpPr/>
            <p:nvPr/>
          </p:nvSpPr>
          <p:spPr>
            <a:xfrm>
              <a:off x="11395043" y="6318040"/>
              <a:ext cx="52852" cy="78558"/>
            </a:xfrm>
            <a:custGeom>
              <a:avLst/>
              <a:gdLst>
                <a:gd name="connsiteX0" fmla="*/ 0 w 52852"/>
                <a:gd name="connsiteY0" fmla="*/ 78558 h 78558"/>
                <a:gd name="connsiteX1" fmla="*/ 52853 w 52852"/>
                <a:gd name="connsiteY1" fmla="*/ 78558 h 78558"/>
                <a:gd name="connsiteX2" fmla="*/ 52853 w 52852"/>
                <a:gd name="connsiteY2" fmla="*/ 65151 h 78558"/>
                <a:gd name="connsiteX3" fmla="*/ 14761 w 52852"/>
                <a:gd name="connsiteY3" fmla="*/ 65151 h 78558"/>
                <a:gd name="connsiteX4" fmla="*/ 14761 w 52852"/>
                <a:gd name="connsiteY4" fmla="*/ 43880 h 78558"/>
                <a:gd name="connsiteX5" fmla="*/ 41356 w 52852"/>
                <a:gd name="connsiteY5" fmla="*/ 43880 h 78558"/>
                <a:gd name="connsiteX6" fmla="*/ 41356 w 52852"/>
                <a:gd name="connsiteY6" fmla="*/ 31333 h 78558"/>
                <a:gd name="connsiteX7" fmla="*/ 14761 w 52852"/>
                <a:gd name="connsiteY7" fmla="*/ 31333 h 78558"/>
                <a:gd name="connsiteX8" fmla="*/ 14761 w 52852"/>
                <a:gd name="connsiteY8" fmla="*/ 12762 h 78558"/>
                <a:gd name="connsiteX9" fmla="*/ 51221 w 52852"/>
                <a:gd name="connsiteY9" fmla="*/ 12762 h 78558"/>
                <a:gd name="connsiteX10" fmla="*/ 51221 w 52852"/>
                <a:gd name="connsiteY10" fmla="*/ 0 h 78558"/>
                <a:gd name="connsiteX11" fmla="*/ 0 w 52852"/>
                <a:gd name="connsiteY11" fmla="*/ 0 h 78558"/>
                <a:gd name="connsiteX12" fmla="*/ 0 w 52852"/>
                <a:gd name="connsiteY12" fmla="*/ 78558 h 78558"/>
                <a:gd name="connsiteX13" fmla="*/ 0 w 52852"/>
                <a:gd name="connsiteY13" fmla="*/ 78558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852" h="78558">
                  <a:moveTo>
                    <a:pt x="0" y="78558"/>
                  </a:moveTo>
                  <a:lnTo>
                    <a:pt x="52853" y="78558"/>
                  </a:lnTo>
                  <a:lnTo>
                    <a:pt x="52853" y="65151"/>
                  </a:lnTo>
                  <a:lnTo>
                    <a:pt x="14761" y="65151"/>
                  </a:lnTo>
                  <a:lnTo>
                    <a:pt x="14761" y="43880"/>
                  </a:lnTo>
                  <a:lnTo>
                    <a:pt x="41356" y="43880"/>
                  </a:lnTo>
                  <a:lnTo>
                    <a:pt x="41356" y="31333"/>
                  </a:lnTo>
                  <a:lnTo>
                    <a:pt x="14761" y="31333"/>
                  </a:lnTo>
                  <a:lnTo>
                    <a:pt x="14761" y="12762"/>
                  </a:lnTo>
                  <a:lnTo>
                    <a:pt x="51221" y="12762"/>
                  </a:lnTo>
                  <a:lnTo>
                    <a:pt x="51221" y="0"/>
                  </a:lnTo>
                  <a:lnTo>
                    <a:pt x="0" y="0"/>
                  </a:lnTo>
                  <a:lnTo>
                    <a:pt x="0" y="78558"/>
                  </a:lnTo>
                  <a:lnTo>
                    <a:pt x="0" y="78558"/>
                  </a:lnTo>
                  <a:close/>
                </a:path>
              </a:pathLst>
            </a:custGeom>
            <a:grpFill/>
            <a:ln w="0" cap="flat">
              <a:noFill/>
              <a:prstDash val="solid"/>
              <a:miter/>
            </a:ln>
          </p:spPr>
          <p:txBody>
            <a:bodyPr rtlCol="0" anchor="ctr"/>
            <a:lstStyle/>
            <a:p>
              <a:endParaRPr lang="en-BG"/>
            </a:p>
          </p:txBody>
        </p:sp>
        <p:sp>
          <p:nvSpPr>
            <p:cNvPr id="75" name="Freeform 74">
              <a:extLst>
                <a:ext uri="{FF2B5EF4-FFF2-40B4-BE49-F238E27FC236}">
                  <a16:creationId xmlns:a16="http://schemas.microsoft.com/office/drawing/2014/main" id="{47077098-477F-4441-98DA-20A8BC163801}"/>
                </a:ext>
              </a:extLst>
            </p:cNvPr>
            <p:cNvSpPr/>
            <p:nvPr/>
          </p:nvSpPr>
          <p:spPr>
            <a:xfrm>
              <a:off x="11503173" y="6318040"/>
              <a:ext cx="56981" cy="78558"/>
            </a:xfrm>
            <a:custGeom>
              <a:avLst/>
              <a:gdLst>
                <a:gd name="connsiteX0" fmla="*/ 0 w 56981"/>
                <a:gd name="connsiteY0" fmla="*/ 78558 h 78558"/>
                <a:gd name="connsiteX1" fmla="*/ 27890 w 56981"/>
                <a:gd name="connsiteY1" fmla="*/ 78558 h 78558"/>
                <a:gd name="connsiteX2" fmla="*/ 56981 w 56981"/>
                <a:gd name="connsiteY2" fmla="*/ 56523 h 78558"/>
                <a:gd name="connsiteX3" fmla="*/ 43636 w 56981"/>
                <a:gd name="connsiteY3" fmla="*/ 37403 h 78558"/>
                <a:gd name="connsiteX4" fmla="*/ 55157 w 56981"/>
                <a:gd name="connsiteY4" fmla="*/ 20864 h 78558"/>
                <a:gd name="connsiteX5" fmla="*/ 28683 w 56981"/>
                <a:gd name="connsiteY5" fmla="*/ 0 h 78558"/>
                <a:gd name="connsiteX6" fmla="*/ 24 w 56981"/>
                <a:gd name="connsiteY6" fmla="*/ 0 h 78558"/>
                <a:gd name="connsiteX7" fmla="*/ 24 w 56981"/>
                <a:gd name="connsiteY7" fmla="*/ 78558 h 78558"/>
                <a:gd name="connsiteX8" fmla="*/ 24 w 56981"/>
                <a:gd name="connsiteY8" fmla="*/ 78558 h 78558"/>
                <a:gd name="connsiteX9" fmla="*/ 14545 w 56981"/>
                <a:gd name="connsiteY9" fmla="*/ 66441 h 78558"/>
                <a:gd name="connsiteX10" fmla="*/ 14545 w 56981"/>
                <a:gd name="connsiteY10" fmla="*/ 43211 h 78558"/>
                <a:gd name="connsiteX11" fmla="*/ 27338 w 56981"/>
                <a:gd name="connsiteY11" fmla="*/ 43211 h 78558"/>
                <a:gd name="connsiteX12" fmla="*/ 42100 w 56981"/>
                <a:gd name="connsiteY12" fmla="*/ 54659 h 78558"/>
                <a:gd name="connsiteX13" fmla="*/ 26690 w 56981"/>
                <a:gd name="connsiteY13" fmla="*/ 66441 h 78558"/>
                <a:gd name="connsiteX14" fmla="*/ 14545 w 56981"/>
                <a:gd name="connsiteY14" fmla="*/ 66441 h 78558"/>
                <a:gd name="connsiteX15" fmla="*/ 14545 w 56981"/>
                <a:gd name="connsiteY15" fmla="*/ 31428 h 78558"/>
                <a:gd name="connsiteX16" fmla="*/ 14545 w 56981"/>
                <a:gd name="connsiteY16" fmla="*/ 12093 h 78558"/>
                <a:gd name="connsiteX17" fmla="*/ 25826 w 56981"/>
                <a:gd name="connsiteY17" fmla="*/ 12093 h 78558"/>
                <a:gd name="connsiteX18" fmla="*/ 40468 w 56981"/>
                <a:gd name="connsiteY18" fmla="*/ 21701 h 78558"/>
                <a:gd name="connsiteX19" fmla="*/ 26690 w 56981"/>
                <a:gd name="connsiteY19" fmla="*/ 31428 h 78558"/>
                <a:gd name="connsiteX20" fmla="*/ 14545 w 56981"/>
                <a:gd name="connsiteY20" fmla="*/ 31428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981" h="78558">
                  <a:moveTo>
                    <a:pt x="0" y="78558"/>
                  </a:moveTo>
                  <a:lnTo>
                    <a:pt x="27890" y="78558"/>
                  </a:lnTo>
                  <a:cubicBezTo>
                    <a:pt x="47428" y="78558"/>
                    <a:pt x="56981" y="71436"/>
                    <a:pt x="56981" y="56523"/>
                  </a:cubicBezTo>
                  <a:cubicBezTo>
                    <a:pt x="56981" y="46796"/>
                    <a:pt x="52541" y="40414"/>
                    <a:pt x="43636" y="37403"/>
                  </a:cubicBezTo>
                  <a:cubicBezTo>
                    <a:pt x="51677" y="33531"/>
                    <a:pt x="55157" y="28321"/>
                    <a:pt x="55157" y="20864"/>
                  </a:cubicBezTo>
                  <a:cubicBezTo>
                    <a:pt x="55157" y="7361"/>
                    <a:pt x="46036" y="0"/>
                    <a:pt x="28683" y="0"/>
                  </a:cubicBezTo>
                  <a:lnTo>
                    <a:pt x="24" y="0"/>
                  </a:lnTo>
                  <a:lnTo>
                    <a:pt x="24" y="78558"/>
                  </a:lnTo>
                  <a:lnTo>
                    <a:pt x="24" y="78558"/>
                  </a:lnTo>
                  <a:close/>
                  <a:moveTo>
                    <a:pt x="14545" y="66441"/>
                  </a:moveTo>
                  <a:lnTo>
                    <a:pt x="14545" y="43211"/>
                  </a:lnTo>
                  <a:lnTo>
                    <a:pt x="27338" y="43211"/>
                  </a:lnTo>
                  <a:cubicBezTo>
                    <a:pt x="37227" y="43211"/>
                    <a:pt x="42100" y="46891"/>
                    <a:pt x="42100" y="54659"/>
                  </a:cubicBezTo>
                  <a:cubicBezTo>
                    <a:pt x="42100" y="62976"/>
                    <a:pt x="37227" y="66441"/>
                    <a:pt x="26690" y="66441"/>
                  </a:cubicBezTo>
                  <a:lnTo>
                    <a:pt x="14545" y="66441"/>
                  </a:lnTo>
                  <a:close/>
                  <a:moveTo>
                    <a:pt x="14545" y="31428"/>
                  </a:moveTo>
                  <a:lnTo>
                    <a:pt x="14545" y="12093"/>
                  </a:lnTo>
                  <a:lnTo>
                    <a:pt x="25826" y="12093"/>
                  </a:lnTo>
                  <a:cubicBezTo>
                    <a:pt x="35595" y="12093"/>
                    <a:pt x="40468" y="14579"/>
                    <a:pt x="40468" y="21701"/>
                  </a:cubicBezTo>
                  <a:cubicBezTo>
                    <a:pt x="40468" y="28297"/>
                    <a:pt x="35787" y="31428"/>
                    <a:pt x="26690" y="31428"/>
                  </a:cubicBezTo>
                  <a:lnTo>
                    <a:pt x="14545" y="31428"/>
                  </a:lnTo>
                  <a:close/>
                </a:path>
              </a:pathLst>
            </a:custGeom>
            <a:grpFill/>
            <a:ln w="0" cap="flat">
              <a:noFill/>
              <a:prstDash val="solid"/>
              <a:miter/>
            </a:ln>
          </p:spPr>
          <p:txBody>
            <a:bodyPr rtlCol="0" anchor="ctr"/>
            <a:lstStyle/>
            <a:p>
              <a:endParaRPr lang="en-BG"/>
            </a:p>
          </p:txBody>
        </p:sp>
        <p:sp>
          <p:nvSpPr>
            <p:cNvPr id="76" name="Freeform 75">
              <a:extLst>
                <a:ext uri="{FF2B5EF4-FFF2-40B4-BE49-F238E27FC236}">
                  <a16:creationId xmlns:a16="http://schemas.microsoft.com/office/drawing/2014/main" id="{E41B6434-4329-AA4A-98D5-304189391E90}"/>
                </a:ext>
              </a:extLst>
            </p:cNvPr>
            <p:cNvSpPr/>
            <p:nvPr/>
          </p:nvSpPr>
          <p:spPr>
            <a:xfrm>
              <a:off x="11576067" y="6296005"/>
              <a:ext cx="65525" cy="101884"/>
            </a:xfrm>
            <a:custGeom>
              <a:avLst/>
              <a:gdLst>
                <a:gd name="connsiteX0" fmla="*/ 17570 w 65525"/>
                <a:gd name="connsiteY0" fmla="*/ 12858 h 101884"/>
                <a:gd name="connsiteX1" fmla="*/ 29499 w 65525"/>
                <a:gd name="connsiteY1" fmla="*/ 12858 h 101884"/>
                <a:gd name="connsiteX2" fmla="*/ 29499 w 65525"/>
                <a:gd name="connsiteY2" fmla="*/ 0 h 101884"/>
                <a:gd name="connsiteX3" fmla="*/ 17570 w 65525"/>
                <a:gd name="connsiteY3" fmla="*/ 0 h 101884"/>
                <a:gd name="connsiteX4" fmla="*/ 17570 w 65525"/>
                <a:gd name="connsiteY4" fmla="*/ 12858 h 101884"/>
                <a:gd name="connsiteX5" fmla="*/ 17570 w 65525"/>
                <a:gd name="connsiteY5" fmla="*/ 12858 h 101884"/>
                <a:gd name="connsiteX6" fmla="*/ 36003 w 65525"/>
                <a:gd name="connsiteY6" fmla="*/ 12858 h 101884"/>
                <a:gd name="connsiteX7" fmla="*/ 47956 w 65525"/>
                <a:gd name="connsiteY7" fmla="*/ 12858 h 101884"/>
                <a:gd name="connsiteX8" fmla="*/ 47956 w 65525"/>
                <a:gd name="connsiteY8" fmla="*/ 0 h 101884"/>
                <a:gd name="connsiteX9" fmla="*/ 36003 w 65525"/>
                <a:gd name="connsiteY9" fmla="*/ 0 h 101884"/>
                <a:gd name="connsiteX10" fmla="*/ 36003 w 65525"/>
                <a:gd name="connsiteY10" fmla="*/ 12858 h 101884"/>
                <a:gd name="connsiteX11" fmla="*/ 36003 w 65525"/>
                <a:gd name="connsiteY11" fmla="*/ 12858 h 101884"/>
                <a:gd name="connsiteX12" fmla="*/ 0 w 65525"/>
                <a:gd name="connsiteY12" fmla="*/ 61470 h 101884"/>
                <a:gd name="connsiteX13" fmla="*/ 32763 w 65525"/>
                <a:gd name="connsiteY13" fmla="*/ 101885 h 101884"/>
                <a:gd name="connsiteX14" fmla="*/ 65526 w 65525"/>
                <a:gd name="connsiteY14" fmla="*/ 61470 h 101884"/>
                <a:gd name="connsiteX15" fmla="*/ 32763 w 65525"/>
                <a:gd name="connsiteY15" fmla="*/ 21056 h 101884"/>
                <a:gd name="connsiteX16" fmla="*/ 0 w 65525"/>
                <a:gd name="connsiteY16" fmla="*/ 61470 h 101884"/>
                <a:gd name="connsiteX17" fmla="*/ 0 w 65525"/>
                <a:gd name="connsiteY17" fmla="*/ 61470 h 101884"/>
                <a:gd name="connsiteX18" fmla="*/ 15073 w 65525"/>
                <a:gd name="connsiteY18" fmla="*/ 61470 h 101884"/>
                <a:gd name="connsiteX19" fmla="*/ 32763 w 65525"/>
                <a:gd name="connsiteY19" fmla="*/ 34129 h 101884"/>
                <a:gd name="connsiteX20" fmla="*/ 50453 w 65525"/>
                <a:gd name="connsiteY20" fmla="*/ 61470 h 101884"/>
                <a:gd name="connsiteX21" fmla="*/ 32763 w 65525"/>
                <a:gd name="connsiteY21" fmla="*/ 88596 h 101884"/>
                <a:gd name="connsiteX22" fmla="*/ 15073 w 65525"/>
                <a:gd name="connsiteY22" fmla="*/ 61470 h 101884"/>
                <a:gd name="connsiteX23" fmla="*/ 15073 w 65525"/>
                <a:gd name="connsiteY23" fmla="*/ 61470 h 10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5525" h="101884">
                  <a:moveTo>
                    <a:pt x="17570" y="12858"/>
                  </a:moveTo>
                  <a:lnTo>
                    <a:pt x="29499" y="12858"/>
                  </a:lnTo>
                  <a:lnTo>
                    <a:pt x="29499" y="0"/>
                  </a:lnTo>
                  <a:lnTo>
                    <a:pt x="17570" y="0"/>
                  </a:lnTo>
                  <a:lnTo>
                    <a:pt x="17570" y="12858"/>
                  </a:lnTo>
                  <a:lnTo>
                    <a:pt x="17570" y="12858"/>
                  </a:lnTo>
                  <a:close/>
                  <a:moveTo>
                    <a:pt x="36003" y="12858"/>
                  </a:moveTo>
                  <a:lnTo>
                    <a:pt x="47956" y="12858"/>
                  </a:lnTo>
                  <a:lnTo>
                    <a:pt x="47956" y="0"/>
                  </a:lnTo>
                  <a:lnTo>
                    <a:pt x="36003" y="0"/>
                  </a:lnTo>
                  <a:lnTo>
                    <a:pt x="36003" y="12858"/>
                  </a:lnTo>
                  <a:lnTo>
                    <a:pt x="36003" y="12858"/>
                  </a:lnTo>
                  <a:close/>
                  <a:moveTo>
                    <a:pt x="0" y="61470"/>
                  </a:moveTo>
                  <a:cubicBezTo>
                    <a:pt x="0" y="86971"/>
                    <a:pt x="12601" y="101885"/>
                    <a:pt x="32763" y="101885"/>
                  </a:cubicBezTo>
                  <a:cubicBezTo>
                    <a:pt x="52925" y="101885"/>
                    <a:pt x="65526" y="86971"/>
                    <a:pt x="65526" y="61470"/>
                  </a:cubicBezTo>
                  <a:cubicBezTo>
                    <a:pt x="65526" y="35969"/>
                    <a:pt x="53045" y="21056"/>
                    <a:pt x="32763" y="21056"/>
                  </a:cubicBezTo>
                  <a:cubicBezTo>
                    <a:pt x="12481" y="21056"/>
                    <a:pt x="0" y="35850"/>
                    <a:pt x="0" y="61470"/>
                  </a:cubicBezTo>
                  <a:lnTo>
                    <a:pt x="0" y="61470"/>
                  </a:lnTo>
                  <a:close/>
                  <a:moveTo>
                    <a:pt x="15073" y="61470"/>
                  </a:moveTo>
                  <a:cubicBezTo>
                    <a:pt x="15073" y="43426"/>
                    <a:pt x="21266" y="34129"/>
                    <a:pt x="32763" y="34129"/>
                  </a:cubicBezTo>
                  <a:cubicBezTo>
                    <a:pt x="44260" y="34129"/>
                    <a:pt x="50453" y="43426"/>
                    <a:pt x="50453" y="61470"/>
                  </a:cubicBezTo>
                  <a:cubicBezTo>
                    <a:pt x="50453" y="79514"/>
                    <a:pt x="44260" y="88596"/>
                    <a:pt x="32763" y="88596"/>
                  </a:cubicBezTo>
                  <a:cubicBezTo>
                    <a:pt x="21266" y="88596"/>
                    <a:pt x="15073" y="79419"/>
                    <a:pt x="15073" y="61470"/>
                  </a:cubicBezTo>
                  <a:lnTo>
                    <a:pt x="15073" y="61470"/>
                  </a:lnTo>
                  <a:close/>
                </a:path>
              </a:pathLst>
            </a:custGeom>
            <a:grpFill/>
            <a:ln w="0" cap="flat">
              <a:noFill/>
              <a:prstDash val="solid"/>
              <a:miter/>
            </a:ln>
          </p:spPr>
          <p:txBody>
            <a:bodyPr rtlCol="0" anchor="ctr"/>
            <a:lstStyle/>
            <a:p>
              <a:endParaRPr lang="en-BG"/>
            </a:p>
          </p:txBody>
        </p:sp>
        <p:sp>
          <p:nvSpPr>
            <p:cNvPr id="77" name="Freeform 76">
              <a:extLst>
                <a:ext uri="{FF2B5EF4-FFF2-40B4-BE49-F238E27FC236}">
                  <a16:creationId xmlns:a16="http://schemas.microsoft.com/office/drawing/2014/main" id="{5599F5A0-F2B9-F74D-BF08-D255D98C7C77}"/>
                </a:ext>
              </a:extLst>
            </p:cNvPr>
            <p:cNvSpPr/>
            <p:nvPr/>
          </p:nvSpPr>
          <p:spPr>
            <a:xfrm>
              <a:off x="11659883" y="6318040"/>
              <a:ext cx="59237" cy="78558"/>
            </a:xfrm>
            <a:custGeom>
              <a:avLst/>
              <a:gdLst>
                <a:gd name="connsiteX0" fmla="*/ 0 w 59237"/>
                <a:gd name="connsiteY0" fmla="*/ 78558 h 78558"/>
                <a:gd name="connsiteX1" fmla="*/ 14545 w 59237"/>
                <a:gd name="connsiteY1" fmla="*/ 78558 h 78558"/>
                <a:gd name="connsiteX2" fmla="*/ 14545 w 59237"/>
                <a:gd name="connsiteY2" fmla="*/ 46676 h 78558"/>
                <a:gd name="connsiteX3" fmla="*/ 28106 w 59237"/>
                <a:gd name="connsiteY3" fmla="*/ 46676 h 78558"/>
                <a:gd name="connsiteX4" fmla="*/ 43300 w 59237"/>
                <a:gd name="connsiteY4" fmla="*/ 78558 h 78558"/>
                <a:gd name="connsiteX5" fmla="*/ 59237 w 59237"/>
                <a:gd name="connsiteY5" fmla="*/ 78558 h 78558"/>
                <a:gd name="connsiteX6" fmla="*/ 41764 w 59237"/>
                <a:gd name="connsiteY6" fmla="*/ 43330 h 78558"/>
                <a:gd name="connsiteX7" fmla="*/ 56309 w 59237"/>
                <a:gd name="connsiteY7" fmla="*/ 23446 h 78558"/>
                <a:gd name="connsiteX8" fmla="*/ 26690 w 59237"/>
                <a:gd name="connsiteY8" fmla="*/ 0 h 78558"/>
                <a:gd name="connsiteX9" fmla="*/ 0 w 59237"/>
                <a:gd name="connsiteY9" fmla="*/ 0 h 78558"/>
                <a:gd name="connsiteX10" fmla="*/ 0 w 59237"/>
                <a:gd name="connsiteY10" fmla="*/ 78558 h 78558"/>
                <a:gd name="connsiteX11" fmla="*/ 0 w 59237"/>
                <a:gd name="connsiteY11" fmla="*/ 78558 h 78558"/>
                <a:gd name="connsiteX12" fmla="*/ 14545 w 59237"/>
                <a:gd name="connsiteY12" fmla="*/ 34272 h 78558"/>
                <a:gd name="connsiteX13" fmla="*/ 14545 w 59237"/>
                <a:gd name="connsiteY13" fmla="*/ 12452 h 78558"/>
                <a:gd name="connsiteX14" fmla="*/ 27458 w 59237"/>
                <a:gd name="connsiteY14" fmla="*/ 12452 h 78558"/>
                <a:gd name="connsiteX15" fmla="*/ 41356 w 59237"/>
                <a:gd name="connsiteY15" fmla="*/ 23374 h 78558"/>
                <a:gd name="connsiteX16" fmla="*/ 27458 w 59237"/>
                <a:gd name="connsiteY16" fmla="*/ 34296 h 78558"/>
                <a:gd name="connsiteX17" fmla="*/ 14545 w 59237"/>
                <a:gd name="connsiteY17" fmla="*/ 34296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9237" h="78558">
                  <a:moveTo>
                    <a:pt x="0" y="78558"/>
                  </a:moveTo>
                  <a:lnTo>
                    <a:pt x="14545" y="78558"/>
                  </a:lnTo>
                  <a:lnTo>
                    <a:pt x="14545" y="46676"/>
                  </a:lnTo>
                  <a:lnTo>
                    <a:pt x="28106" y="46676"/>
                  </a:lnTo>
                  <a:lnTo>
                    <a:pt x="43300" y="78558"/>
                  </a:lnTo>
                  <a:lnTo>
                    <a:pt x="59237" y="78558"/>
                  </a:lnTo>
                  <a:lnTo>
                    <a:pt x="41764" y="43330"/>
                  </a:lnTo>
                  <a:cubicBezTo>
                    <a:pt x="51101" y="40725"/>
                    <a:pt x="56309" y="33699"/>
                    <a:pt x="56309" y="23446"/>
                  </a:cubicBezTo>
                  <a:cubicBezTo>
                    <a:pt x="56309" y="7457"/>
                    <a:pt x="46540" y="0"/>
                    <a:pt x="26690" y="0"/>
                  </a:cubicBezTo>
                  <a:lnTo>
                    <a:pt x="0" y="0"/>
                  </a:lnTo>
                  <a:lnTo>
                    <a:pt x="0" y="78558"/>
                  </a:lnTo>
                  <a:lnTo>
                    <a:pt x="0" y="78558"/>
                  </a:lnTo>
                  <a:close/>
                  <a:moveTo>
                    <a:pt x="14545" y="34272"/>
                  </a:moveTo>
                  <a:lnTo>
                    <a:pt x="14545" y="12452"/>
                  </a:lnTo>
                  <a:lnTo>
                    <a:pt x="27458" y="12452"/>
                  </a:lnTo>
                  <a:cubicBezTo>
                    <a:pt x="36795" y="12452"/>
                    <a:pt x="41356" y="15702"/>
                    <a:pt x="41356" y="23374"/>
                  </a:cubicBezTo>
                  <a:cubicBezTo>
                    <a:pt x="41356" y="31046"/>
                    <a:pt x="36891" y="34296"/>
                    <a:pt x="27458" y="34296"/>
                  </a:cubicBezTo>
                  <a:lnTo>
                    <a:pt x="14545" y="34296"/>
                  </a:lnTo>
                  <a:close/>
                </a:path>
              </a:pathLst>
            </a:custGeom>
            <a:grpFill/>
            <a:ln w="0" cap="flat">
              <a:noFill/>
              <a:prstDash val="solid"/>
              <a:miter/>
            </a:ln>
          </p:spPr>
          <p:txBody>
            <a:bodyPr rtlCol="0" anchor="ctr"/>
            <a:lstStyle/>
            <a:p>
              <a:endParaRPr lang="en-BG"/>
            </a:p>
          </p:txBody>
        </p:sp>
        <p:sp>
          <p:nvSpPr>
            <p:cNvPr id="78" name="Freeform 77">
              <a:extLst>
                <a:ext uri="{FF2B5EF4-FFF2-40B4-BE49-F238E27FC236}">
                  <a16:creationId xmlns:a16="http://schemas.microsoft.com/office/drawing/2014/main" id="{85D49852-C480-0443-BD95-6542A0EA9093}"/>
                </a:ext>
              </a:extLst>
            </p:cNvPr>
            <p:cNvSpPr/>
            <p:nvPr/>
          </p:nvSpPr>
          <p:spPr>
            <a:xfrm>
              <a:off x="11731745" y="6317180"/>
              <a:ext cx="56693" cy="80494"/>
            </a:xfrm>
            <a:custGeom>
              <a:avLst/>
              <a:gdLst>
                <a:gd name="connsiteX0" fmla="*/ 48 w 56693"/>
                <a:gd name="connsiteY0" fmla="*/ 61685 h 80494"/>
                <a:gd name="connsiteX1" fmla="*/ 29883 w 56693"/>
                <a:gd name="connsiteY1" fmla="*/ 80494 h 80494"/>
                <a:gd name="connsiteX2" fmla="*/ 56693 w 56693"/>
                <a:gd name="connsiteY2" fmla="*/ 57168 h 80494"/>
                <a:gd name="connsiteX3" fmla="*/ 37059 w 56693"/>
                <a:gd name="connsiteY3" fmla="*/ 34248 h 80494"/>
                <a:gd name="connsiteX4" fmla="*/ 16873 w 56693"/>
                <a:gd name="connsiteY4" fmla="*/ 20315 h 80494"/>
                <a:gd name="connsiteX5" fmla="*/ 27290 w 56693"/>
                <a:gd name="connsiteY5" fmla="*/ 11998 h 80494"/>
                <a:gd name="connsiteX6" fmla="*/ 41500 w 56693"/>
                <a:gd name="connsiteY6" fmla="*/ 22059 h 80494"/>
                <a:gd name="connsiteX7" fmla="*/ 54941 w 56693"/>
                <a:gd name="connsiteY7" fmla="*/ 17184 h 80494"/>
                <a:gd name="connsiteX8" fmla="*/ 28347 w 56693"/>
                <a:gd name="connsiteY8" fmla="*/ 0 h 80494"/>
                <a:gd name="connsiteX9" fmla="*/ 2616 w 56693"/>
                <a:gd name="connsiteY9" fmla="*/ 21390 h 80494"/>
                <a:gd name="connsiteX10" fmla="*/ 11857 w 56693"/>
                <a:gd name="connsiteY10" fmla="*/ 38670 h 80494"/>
                <a:gd name="connsiteX11" fmla="*/ 30627 w 56693"/>
                <a:gd name="connsiteY11" fmla="*/ 46772 h 80494"/>
                <a:gd name="connsiteX12" fmla="*/ 42340 w 56693"/>
                <a:gd name="connsiteY12" fmla="*/ 57790 h 80494"/>
                <a:gd name="connsiteX13" fmla="*/ 29523 w 56693"/>
                <a:gd name="connsiteY13" fmla="*/ 67732 h 80494"/>
                <a:gd name="connsiteX14" fmla="*/ 13465 w 56693"/>
                <a:gd name="connsiteY14" fmla="*/ 55734 h 80494"/>
                <a:gd name="connsiteX15" fmla="*/ 0 w 56693"/>
                <a:gd name="connsiteY15" fmla="*/ 61685 h 80494"/>
                <a:gd name="connsiteX16" fmla="*/ 0 w 56693"/>
                <a:gd name="connsiteY16" fmla="*/ 61685 h 8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693" h="80494">
                  <a:moveTo>
                    <a:pt x="48" y="61685"/>
                  </a:moveTo>
                  <a:cubicBezTo>
                    <a:pt x="5160" y="74017"/>
                    <a:pt x="15337" y="80494"/>
                    <a:pt x="29883" y="80494"/>
                  </a:cubicBezTo>
                  <a:cubicBezTo>
                    <a:pt x="46804" y="80494"/>
                    <a:pt x="56693" y="71412"/>
                    <a:pt x="56693" y="57168"/>
                  </a:cubicBezTo>
                  <a:cubicBezTo>
                    <a:pt x="56693" y="44836"/>
                    <a:pt x="50188" y="39769"/>
                    <a:pt x="37059" y="34248"/>
                  </a:cubicBezTo>
                  <a:cubicBezTo>
                    <a:pt x="24578" y="28966"/>
                    <a:pt x="16873" y="27652"/>
                    <a:pt x="16873" y="20315"/>
                  </a:cubicBezTo>
                  <a:cubicBezTo>
                    <a:pt x="16873" y="15248"/>
                    <a:pt x="20786" y="11998"/>
                    <a:pt x="27290" y="11998"/>
                  </a:cubicBezTo>
                  <a:cubicBezTo>
                    <a:pt x="33795" y="11998"/>
                    <a:pt x="38259" y="15129"/>
                    <a:pt x="41500" y="22059"/>
                  </a:cubicBezTo>
                  <a:lnTo>
                    <a:pt x="54941" y="17184"/>
                  </a:lnTo>
                  <a:cubicBezTo>
                    <a:pt x="50837" y="5832"/>
                    <a:pt x="41812" y="0"/>
                    <a:pt x="28347" y="0"/>
                  </a:cubicBezTo>
                  <a:cubicBezTo>
                    <a:pt x="12721" y="0"/>
                    <a:pt x="2616" y="8962"/>
                    <a:pt x="2616" y="21390"/>
                  </a:cubicBezTo>
                  <a:cubicBezTo>
                    <a:pt x="2616" y="28847"/>
                    <a:pt x="5880" y="34894"/>
                    <a:pt x="11857" y="38670"/>
                  </a:cubicBezTo>
                  <a:cubicBezTo>
                    <a:pt x="17065" y="42016"/>
                    <a:pt x="23570" y="44191"/>
                    <a:pt x="30627" y="46772"/>
                  </a:cubicBezTo>
                  <a:cubicBezTo>
                    <a:pt x="38763" y="49807"/>
                    <a:pt x="42340" y="52508"/>
                    <a:pt x="42340" y="57790"/>
                  </a:cubicBezTo>
                  <a:cubicBezTo>
                    <a:pt x="42340" y="63741"/>
                    <a:pt x="37563" y="67732"/>
                    <a:pt x="29523" y="67732"/>
                  </a:cubicBezTo>
                  <a:cubicBezTo>
                    <a:pt x="22466" y="67732"/>
                    <a:pt x="17593" y="64051"/>
                    <a:pt x="13465" y="55734"/>
                  </a:cubicBezTo>
                  <a:lnTo>
                    <a:pt x="0" y="61685"/>
                  </a:lnTo>
                  <a:lnTo>
                    <a:pt x="0" y="61685"/>
                  </a:lnTo>
                  <a:close/>
                </a:path>
              </a:pathLst>
            </a:custGeom>
            <a:grpFill/>
            <a:ln w="0" cap="flat">
              <a:noFill/>
              <a:prstDash val="solid"/>
              <a:miter/>
            </a:ln>
          </p:spPr>
          <p:txBody>
            <a:bodyPr rtlCol="0" anchor="ctr"/>
            <a:lstStyle/>
            <a:p>
              <a:endParaRPr lang="en-BG"/>
            </a:p>
          </p:txBody>
        </p:sp>
        <p:sp>
          <p:nvSpPr>
            <p:cNvPr id="79" name="Freeform 78">
              <a:extLst>
                <a:ext uri="{FF2B5EF4-FFF2-40B4-BE49-F238E27FC236}">
                  <a16:creationId xmlns:a16="http://schemas.microsoft.com/office/drawing/2014/main" id="{5F180632-1FE7-F04A-9126-394D6D812ADD}"/>
                </a:ext>
              </a:extLst>
            </p:cNvPr>
            <p:cNvSpPr/>
            <p:nvPr/>
          </p:nvSpPr>
          <p:spPr>
            <a:xfrm>
              <a:off x="11807064" y="6318040"/>
              <a:ext cx="52852" cy="78558"/>
            </a:xfrm>
            <a:custGeom>
              <a:avLst/>
              <a:gdLst>
                <a:gd name="connsiteX0" fmla="*/ 0 w 52852"/>
                <a:gd name="connsiteY0" fmla="*/ 78558 h 78558"/>
                <a:gd name="connsiteX1" fmla="*/ 52853 w 52852"/>
                <a:gd name="connsiteY1" fmla="*/ 78558 h 78558"/>
                <a:gd name="connsiteX2" fmla="*/ 52853 w 52852"/>
                <a:gd name="connsiteY2" fmla="*/ 65151 h 78558"/>
                <a:gd name="connsiteX3" fmla="*/ 14761 w 52852"/>
                <a:gd name="connsiteY3" fmla="*/ 65151 h 78558"/>
                <a:gd name="connsiteX4" fmla="*/ 14761 w 52852"/>
                <a:gd name="connsiteY4" fmla="*/ 43880 h 78558"/>
                <a:gd name="connsiteX5" fmla="*/ 41356 w 52852"/>
                <a:gd name="connsiteY5" fmla="*/ 43880 h 78558"/>
                <a:gd name="connsiteX6" fmla="*/ 41356 w 52852"/>
                <a:gd name="connsiteY6" fmla="*/ 31333 h 78558"/>
                <a:gd name="connsiteX7" fmla="*/ 14761 w 52852"/>
                <a:gd name="connsiteY7" fmla="*/ 31333 h 78558"/>
                <a:gd name="connsiteX8" fmla="*/ 14761 w 52852"/>
                <a:gd name="connsiteY8" fmla="*/ 12762 h 78558"/>
                <a:gd name="connsiteX9" fmla="*/ 51221 w 52852"/>
                <a:gd name="connsiteY9" fmla="*/ 12762 h 78558"/>
                <a:gd name="connsiteX10" fmla="*/ 51221 w 52852"/>
                <a:gd name="connsiteY10" fmla="*/ 0 h 78558"/>
                <a:gd name="connsiteX11" fmla="*/ 0 w 52852"/>
                <a:gd name="connsiteY11" fmla="*/ 0 h 78558"/>
                <a:gd name="connsiteX12" fmla="*/ 0 w 52852"/>
                <a:gd name="connsiteY12" fmla="*/ 78558 h 78558"/>
                <a:gd name="connsiteX13" fmla="*/ 0 w 52852"/>
                <a:gd name="connsiteY13" fmla="*/ 78558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852" h="78558">
                  <a:moveTo>
                    <a:pt x="0" y="78558"/>
                  </a:moveTo>
                  <a:lnTo>
                    <a:pt x="52853" y="78558"/>
                  </a:lnTo>
                  <a:lnTo>
                    <a:pt x="52853" y="65151"/>
                  </a:lnTo>
                  <a:lnTo>
                    <a:pt x="14761" y="65151"/>
                  </a:lnTo>
                  <a:lnTo>
                    <a:pt x="14761" y="43880"/>
                  </a:lnTo>
                  <a:lnTo>
                    <a:pt x="41356" y="43880"/>
                  </a:lnTo>
                  <a:lnTo>
                    <a:pt x="41356" y="31333"/>
                  </a:lnTo>
                  <a:lnTo>
                    <a:pt x="14761" y="31333"/>
                  </a:lnTo>
                  <a:lnTo>
                    <a:pt x="14761" y="12762"/>
                  </a:lnTo>
                  <a:lnTo>
                    <a:pt x="51221" y="12762"/>
                  </a:lnTo>
                  <a:lnTo>
                    <a:pt x="51221" y="0"/>
                  </a:lnTo>
                  <a:lnTo>
                    <a:pt x="0" y="0"/>
                  </a:lnTo>
                  <a:lnTo>
                    <a:pt x="0" y="78558"/>
                  </a:lnTo>
                  <a:lnTo>
                    <a:pt x="0" y="78558"/>
                  </a:lnTo>
                  <a:close/>
                </a:path>
              </a:pathLst>
            </a:custGeom>
            <a:grpFill/>
            <a:ln w="0" cap="flat">
              <a:noFill/>
              <a:prstDash val="solid"/>
              <a:miter/>
            </a:ln>
          </p:spPr>
          <p:txBody>
            <a:bodyPr rtlCol="0" anchor="ctr"/>
            <a:lstStyle/>
            <a:p>
              <a:endParaRPr lang="en-BG"/>
            </a:p>
          </p:txBody>
        </p:sp>
        <p:sp>
          <p:nvSpPr>
            <p:cNvPr id="80" name="Freeform 79">
              <a:extLst>
                <a:ext uri="{FF2B5EF4-FFF2-40B4-BE49-F238E27FC236}">
                  <a16:creationId xmlns:a16="http://schemas.microsoft.com/office/drawing/2014/main" id="{8E01FA83-BEDE-344F-AF2D-ADDDE3AC1811}"/>
                </a:ext>
              </a:extLst>
            </p:cNvPr>
            <p:cNvSpPr/>
            <p:nvPr/>
          </p:nvSpPr>
          <p:spPr>
            <a:xfrm>
              <a:off x="10795758" y="6250285"/>
              <a:ext cx="13609" cy="338730"/>
            </a:xfrm>
            <a:custGeom>
              <a:avLst/>
              <a:gdLst>
                <a:gd name="connsiteX0" fmla="*/ 0 w 13609"/>
                <a:gd name="connsiteY0" fmla="*/ 0 h 338730"/>
                <a:gd name="connsiteX1" fmla="*/ 13609 w 13609"/>
                <a:gd name="connsiteY1" fmla="*/ 0 h 338730"/>
                <a:gd name="connsiteX2" fmla="*/ 13609 w 13609"/>
                <a:gd name="connsiteY2" fmla="*/ 338731 h 338730"/>
                <a:gd name="connsiteX3" fmla="*/ 0 w 13609"/>
                <a:gd name="connsiteY3" fmla="*/ 338731 h 338730"/>
              </a:gdLst>
              <a:ahLst/>
              <a:cxnLst>
                <a:cxn ang="0">
                  <a:pos x="connsiteX0" y="connsiteY0"/>
                </a:cxn>
                <a:cxn ang="0">
                  <a:pos x="connsiteX1" y="connsiteY1"/>
                </a:cxn>
                <a:cxn ang="0">
                  <a:pos x="connsiteX2" y="connsiteY2"/>
                </a:cxn>
                <a:cxn ang="0">
                  <a:pos x="connsiteX3" y="connsiteY3"/>
                </a:cxn>
              </a:cxnLst>
              <a:rect l="l" t="t" r="r" b="b"/>
              <a:pathLst>
                <a:path w="13609" h="338730">
                  <a:moveTo>
                    <a:pt x="0" y="0"/>
                  </a:moveTo>
                  <a:lnTo>
                    <a:pt x="13609" y="0"/>
                  </a:lnTo>
                  <a:lnTo>
                    <a:pt x="13609" y="338731"/>
                  </a:lnTo>
                  <a:lnTo>
                    <a:pt x="0" y="338731"/>
                  </a:lnTo>
                  <a:close/>
                </a:path>
              </a:pathLst>
            </a:custGeom>
            <a:grpFill/>
            <a:ln w="0" cap="flat">
              <a:noFill/>
              <a:prstDash val="solid"/>
              <a:miter/>
            </a:ln>
          </p:spPr>
          <p:txBody>
            <a:bodyPr rtlCol="0" anchor="ctr"/>
            <a:lstStyle/>
            <a:p>
              <a:endParaRPr lang="en-BG"/>
            </a:p>
          </p:txBody>
        </p:sp>
      </p:grpSp>
      <p:grpSp>
        <p:nvGrpSpPr>
          <p:cNvPr id="81" name="Graphic 29">
            <a:extLst>
              <a:ext uri="{FF2B5EF4-FFF2-40B4-BE49-F238E27FC236}">
                <a16:creationId xmlns:a16="http://schemas.microsoft.com/office/drawing/2014/main" id="{72074B5F-6D00-CF47-97AF-AAA03730A091}"/>
              </a:ext>
            </a:extLst>
          </p:cNvPr>
          <p:cNvGrpSpPr/>
          <p:nvPr/>
        </p:nvGrpSpPr>
        <p:grpSpPr>
          <a:xfrm>
            <a:off x="6532783" y="5733843"/>
            <a:ext cx="1956632" cy="679829"/>
            <a:chOff x="1158727" y="2044081"/>
            <a:chExt cx="1558436" cy="541476"/>
          </a:xfrm>
          <a:solidFill>
            <a:schemeClr val="bg1"/>
          </a:solidFill>
        </p:grpSpPr>
        <p:sp>
          <p:nvSpPr>
            <p:cNvPr id="82" name="Freeform 81">
              <a:extLst>
                <a:ext uri="{FF2B5EF4-FFF2-40B4-BE49-F238E27FC236}">
                  <a16:creationId xmlns:a16="http://schemas.microsoft.com/office/drawing/2014/main" id="{FB4233BC-1961-8B45-92A3-8CFC0F4DF7DF}"/>
                </a:ext>
              </a:extLst>
            </p:cNvPr>
            <p:cNvSpPr/>
            <p:nvPr/>
          </p:nvSpPr>
          <p:spPr>
            <a:xfrm>
              <a:off x="1158727" y="2085362"/>
              <a:ext cx="505038" cy="500195"/>
            </a:xfrm>
            <a:custGeom>
              <a:avLst/>
              <a:gdLst>
                <a:gd name="connsiteX0" fmla="*/ 462544 w 505038"/>
                <a:gd name="connsiteY0" fmla="*/ 41732 h 500195"/>
                <a:gd name="connsiteX1" fmla="*/ 479917 w 505038"/>
                <a:gd name="connsiteY1" fmla="*/ 45697 h 500195"/>
                <a:gd name="connsiteX2" fmla="*/ 428729 w 505038"/>
                <a:gd name="connsiteY2" fmla="*/ 44067 h 500195"/>
                <a:gd name="connsiteX3" fmla="*/ 415300 w 505038"/>
                <a:gd name="connsiteY3" fmla="*/ 48699 h 500195"/>
                <a:gd name="connsiteX4" fmla="*/ 414073 w 505038"/>
                <a:gd name="connsiteY4" fmla="*/ 110589 h 500195"/>
                <a:gd name="connsiteX5" fmla="*/ 413812 w 505038"/>
                <a:gd name="connsiteY5" fmla="*/ 118075 h 500195"/>
                <a:gd name="connsiteX6" fmla="*/ 390786 w 505038"/>
                <a:gd name="connsiteY6" fmla="*/ 119705 h 500195"/>
                <a:gd name="connsiteX7" fmla="*/ 403545 w 505038"/>
                <a:gd name="connsiteY7" fmla="*/ 38322 h 500195"/>
                <a:gd name="connsiteX8" fmla="*/ 420917 w 505038"/>
                <a:gd name="connsiteY8" fmla="*/ 23610 h 500195"/>
                <a:gd name="connsiteX9" fmla="*/ 449227 w 505038"/>
                <a:gd name="connsiteY9" fmla="*/ 25537 h 500195"/>
                <a:gd name="connsiteX10" fmla="*/ 487431 w 505038"/>
                <a:gd name="connsiteY10" fmla="*/ 21312 h 500195"/>
                <a:gd name="connsiteX11" fmla="*/ 462507 w 505038"/>
                <a:gd name="connsiteY11" fmla="*/ 41769 h 500195"/>
                <a:gd name="connsiteX12" fmla="*/ 421066 w 505038"/>
                <a:gd name="connsiteY12" fmla="*/ 130452 h 500195"/>
                <a:gd name="connsiteX13" fmla="*/ 446771 w 505038"/>
                <a:gd name="connsiteY13" fmla="*/ 152392 h 500195"/>
                <a:gd name="connsiteX14" fmla="*/ 446251 w 505038"/>
                <a:gd name="connsiteY14" fmla="*/ 213873 h 500195"/>
                <a:gd name="connsiteX15" fmla="*/ 450231 w 505038"/>
                <a:gd name="connsiteY15" fmla="*/ 277134 h 500195"/>
                <a:gd name="connsiteX16" fmla="*/ 466115 w 505038"/>
                <a:gd name="connsiteY16" fmla="*/ 295812 h 500195"/>
                <a:gd name="connsiteX17" fmla="*/ 480214 w 505038"/>
                <a:gd name="connsiteY17" fmla="*/ 419331 h 500195"/>
                <a:gd name="connsiteX18" fmla="*/ 483637 w 505038"/>
                <a:gd name="connsiteY18" fmla="*/ 424372 h 500195"/>
                <a:gd name="connsiteX19" fmla="*/ 476829 w 505038"/>
                <a:gd name="connsiteY19" fmla="*/ 455464 h 500195"/>
                <a:gd name="connsiteX20" fmla="*/ 447404 w 505038"/>
                <a:gd name="connsiteY20" fmla="*/ 455464 h 500195"/>
                <a:gd name="connsiteX21" fmla="*/ 451533 w 505038"/>
                <a:gd name="connsiteY21" fmla="*/ 439381 h 500195"/>
                <a:gd name="connsiteX22" fmla="*/ 440038 w 505038"/>
                <a:gd name="connsiteY22" fmla="*/ 439381 h 500195"/>
                <a:gd name="connsiteX23" fmla="*/ 436058 w 505038"/>
                <a:gd name="connsiteY23" fmla="*/ 455464 h 500195"/>
                <a:gd name="connsiteX24" fmla="*/ 415003 w 505038"/>
                <a:gd name="connsiteY24" fmla="*/ 455464 h 500195"/>
                <a:gd name="connsiteX25" fmla="*/ 438401 w 505038"/>
                <a:gd name="connsiteY25" fmla="*/ 417034 h 500195"/>
                <a:gd name="connsiteX26" fmla="*/ 440038 w 505038"/>
                <a:gd name="connsiteY26" fmla="*/ 415107 h 500195"/>
                <a:gd name="connsiteX27" fmla="*/ 443312 w 505038"/>
                <a:gd name="connsiteY27" fmla="*/ 405434 h 500195"/>
                <a:gd name="connsiteX28" fmla="*/ 443312 w 505038"/>
                <a:gd name="connsiteY28" fmla="*/ 311896 h 500195"/>
                <a:gd name="connsiteX29" fmla="*/ 434012 w 505038"/>
                <a:gd name="connsiteY29" fmla="*/ 310821 h 500195"/>
                <a:gd name="connsiteX30" fmla="*/ 380630 w 505038"/>
                <a:gd name="connsiteY30" fmla="*/ 278505 h 500195"/>
                <a:gd name="connsiteX31" fmla="*/ 355855 w 505038"/>
                <a:gd name="connsiteY31" fmla="*/ 225733 h 500195"/>
                <a:gd name="connsiteX32" fmla="*/ 344360 w 505038"/>
                <a:gd name="connsiteY32" fmla="*/ 225733 h 500195"/>
                <a:gd name="connsiteX33" fmla="*/ 356562 w 505038"/>
                <a:gd name="connsiteY33" fmla="*/ 264163 h 500195"/>
                <a:gd name="connsiteX34" fmla="*/ 347671 w 505038"/>
                <a:gd name="connsiteY34" fmla="*/ 298110 h 500195"/>
                <a:gd name="connsiteX35" fmla="*/ 324272 w 505038"/>
                <a:gd name="connsiteY35" fmla="*/ 318159 h 500195"/>
                <a:gd name="connsiteX36" fmla="*/ 229040 w 505038"/>
                <a:gd name="connsiteY36" fmla="*/ 349363 h 500195"/>
                <a:gd name="connsiteX37" fmla="*/ 231086 w 505038"/>
                <a:gd name="connsiteY37" fmla="*/ 337652 h 500195"/>
                <a:gd name="connsiteX38" fmla="*/ 231086 w 505038"/>
                <a:gd name="connsiteY38" fmla="*/ 337096 h 500195"/>
                <a:gd name="connsiteX39" fmla="*/ 219591 w 505038"/>
                <a:gd name="connsiteY39" fmla="*/ 337096 h 500195"/>
                <a:gd name="connsiteX40" fmla="*/ 198387 w 505038"/>
                <a:gd name="connsiteY40" fmla="*/ 367374 h 500195"/>
                <a:gd name="connsiteX41" fmla="*/ 188790 w 505038"/>
                <a:gd name="connsiteY41" fmla="*/ 373637 h 500195"/>
                <a:gd name="connsiteX42" fmla="*/ 187413 w 505038"/>
                <a:gd name="connsiteY42" fmla="*/ 376231 h 500195"/>
                <a:gd name="connsiteX43" fmla="*/ 182652 w 505038"/>
                <a:gd name="connsiteY43" fmla="*/ 386719 h 500195"/>
                <a:gd name="connsiteX44" fmla="*/ 169781 w 505038"/>
                <a:gd name="connsiteY44" fmla="*/ 446422 h 500195"/>
                <a:gd name="connsiteX45" fmla="*/ 170599 w 505038"/>
                <a:gd name="connsiteY45" fmla="*/ 447904 h 500195"/>
                <a:gd name="connsiteX46" fmla="*/ 186037 w 505038"/>
                <a:gd name="connsiteY46" fmla="*/ 471363 h 500195"/>
                <a:gd name="connsiteX47" fmla="*/ 192770 w 505038"/>
                <a:gd name="connsiteY47" fmla="*/ 488670 h 500195"/>
                <a:gd name="connsiteX48" fmla="*/ 176291 w 505038"/>
                <a:gd name="connsiteY48" fmla="*/ 488670 h 500195"/>
                <a:gd name="connsiteX49" fmla="*/ 174579 w 505038"/>
                <a:gd name="connsiteY49" fmla="*/ 474328 h 500195"/>
                <a:gd name="connsiteX50" fmla="*/ 163233 w 505038"/>
                <a:gd name="connsiteY50" fmla="*/ 474328 h 500195"/>
                <a:gd name="connsiteX51" fmla="*/ 164982 w 505038"/>
                <a:gd name="connsiteY51" fmla="*/ 488670 h 500195"/>
                <a:gd name="connsiteX52" fmla="*/ 134217 w 505038"/>
                <a:gd name="connsiteY52" fmla="*/ 488670 h 500195"/>
                <a:gd name="connsiteX53" fmla="*/ 138347 w 505038"/>
                <a:gd name="connsiteY53" fmla="*/ 462617 h 500195"/>
                <a:gd name="connsiteX54" fmla="*/ 147907 w 505038"/>
                <a:gd name="connsiteY54" fmla="*/ 436453 h 500195"/>
                <a:gd name="connsiteX55" fmla="*/ 159811 w 505038"/>
                <a:gd name="connsiteY55" fmla="*/ 398986 h 500195"/>
                <a:gd name="connsiteX56" fmla="*/ 152297 w 505038"/>
                <a:gd name="connsiteY56" fmla="*/ 355886 h 500195"/>
                <a:gd name="connsiteX57" fmla="*/ 139983 w 505038"/>
                <a:gd name="connsiteY57" fmla="*/ 355886 h 500195"/>
                <a:gd name="connsiteX58" fmla="*/ 143034 w 505038"/>
                <a:gd name="connsiteY58" fmla="*/ 363372 h 500195"/>
                <a:gd name="connsiteX59" fmla="*/ 100179 w 505038"/>
                <a:gd name="connsiteY59" fmla="*/ 363372 h 500195"/>
                <a:gd name="connsiteX60" fmla="*/ 100179 w 505038"/>
                <a:gd name="connsiteY60" fmla="*/ 319901 h 500195"/>
                <a:gd name="connsiteX61" fmla="*/ 88833 w 505038"/>
                <a:gd name="connsiteY61" fmla="*/ 319901 h 500195"/>
                <a:gd name="connsiteX62" fmla="*/ 88833 w 505038"/>
                <a:gd name="connsiteY62" fmla="*/ 340506 h 500195"/>
                <a:gd name="connsiteX63" fmla="*/ 39990 w 505038"/>
                <a:gd name="connsiteY63" fmla="*/ 358369 h 500195"/>
                <a:gd name="connsiteX64" fmla="*/ 33554 w 505038"/>
                <a:gd name="connsiteY64" fmla="*/ 360666 h 500195"/>
                <a:gd name="connsiteX65" fmla="*/ 36977 w 505038"/>
                <a:gd name="connsiteY65" fmla="*/ 366522 h 500195"/>
                <a:gd name="connsiteX66" fmla="*/ 48472 w 505038"/>
                <a:gd name="connsiteY66" fmla="*/ 386423 h 500195"/>
                <a:gd name="connsiteX67" fmla="*/ 50815 w 505038"/>
                <a:gd name="connsiteY67" fmla="*/ 388609 h 500195"/>
                <a:gd name="connsiteX68" fmla="*/ 76818 w 505038"/>
                <a:gd name="connsiteY68" fmla="*/ 402099 h 500195"/>
                <a:gd name="connsiteX69" fmla="*/ 49327 w 505038"/>
                <a:gd name="connsiteY69" fmla="*/ 436156 h 500195"/>
                <a:gd name="connsiteX70" fmla="*/ 12760 w 505038"/>
                <a:gd name="connsiteY70" fmla="*/ 365966 h 500195"/>
                <a:gd name="connsiteX71" fmla="*/ 12350 w 505038"/>
                <a:gd name="connsiteY71" fmla="*/ 355589 h 500195"/>
                <a:gd name="connsiteX72" fmla="*/ 18377 w 505038"/>
                <a:gd name="connsiteY72" fmla="*/ 347547 h 500195"/>
                <a:gd name="connsiteX73" fmla="*/ 59148 w 505038"/>
                <a:gd name="connsiteY73" fmla="*/ 324385 h 500195"/>
                <a:gd name="connsiteX74" fmla="*/ 63389 w 505038"/>
                <a:gd name="connsiteY74" fmla="*/ 321939 h 500195"/>
                <a:gd name="connsiteX75" fmla="*/ 61603 w 505038"/>
                <a:gd name="connsiteY75" fmla="*/ 317418 h 500195"/>
                <a:gd name="connsiteX76" fmla="*/ 56804 w 505038"/>
                <a:gd name="connsiteY76" fmla="*/ 286732 h 500195"/>
                <a:gd name="connsiteX77" fmla="*/ 58925 w 505038"/>
                <a:gd name="connsiteY77" fmla="*/ 268388 h 500195"/>
                <a:gd name="connsiteX78" fmla="*/ 68560 w 505038"/>
                <a:gd name="connsiteY78" fmla="*/ 283434 h 500195"/>
                <a:gd name="connsiteX79" fmla="*/ 82770 w 505038"/>
                <a:gd name="connsiteY79" fmla="*/ 283434 h 500195"/>
                <a:gd name="connsiteX80" fmla="*/ 48137 w 505038"/>
                <a:gd name="connsiteY80" fmla="*/ 205869 h 500195"/>
                <a:gd name="connsiteX81" fmla="*/ 45942 w 505038"/>
                <a:gd name="connsiteY81" fmla="*/ 190785 h 500195"/>
                <a:gd name="connsiteX82" fmla="*/ 63352 w 505038"/>
                <a:gd name="connsiteY82" fmla="*/ 190859 h 500195"/>
                <a:gd name="connsiteX83" fmla="*/ 129158 w 505038"/>
                <a:gd name="connsiteY83" fmla="*/ 222212 h 500195"/>
                <a:gd name="connsiteX84" fmla="*/ 129158 w 505038"/>
                <a:gd name="connsiteY84" fmla="*/ 296146 h 500195"/>
                <a:gd name="connsiteX85" fmla="*/ 154417 w 505038"/>
                <a:gd name="connsiteY85" fmla="*/ 321309 h 500195"/>
                <a:gd name="connsiteX86" fmla="*/ 266947 w 505038"/>
                <a:gd name="connsiteY86" fmla="*/ 321309 h 500195"/>
                <a:gd name="connsiteX87" fmla="*/ 272006 w 505038"/>
                <a:gd name="connsiteY87" fmla="*/ 320901 h 500195"/>
                <a:gd name="connsiteX88" fmla="*/ 300204 w 505038"/>
                <a:gd name="connsiteY88" fmla="*/ 290364 h 500195"/>
                <a:gd name="connsiteX89" fmla="*/ 300613 w 505038"/>
                <a:gd name="connsiteY89" fmla="*/ 284917 h 500195"/>
                <a:gd name="connsiteX90" fmla="*/ 288969 w 505038"/>
                <a:gd name="connsiteY90" fmla="*/ 261754 h 500195"/>
                <a:gd name="connsiteX91" fmla="*/ 281046 w 505038"/>
                <a:gd name="connsiteY91" fmla="*/ 237369 h 500195"/>
                <a:gd name="connsiteX92" fmla="*/ 270630 w 505038"/>
                <a:gd name="connsiteY92" fmla="*/ 217468 h 500195"/>
                <a:gd name="connsiteX93" fmla="*/ 270630 w 505038"/>
                <a:gd name="connsiteY93" fmla="*/ 204534 h 500195"/>
                <a:gd name="connsiteX94" fmla="*/ 270072 w 505038"/>
                <a:gd name="connsiteY94" fmla="*/ 202348 h 500195"/>
                <a:gd name="connsiteX95" fmla="*/ 265161 w 505038"/>
                <a:gd name="connsiteY95" fmla="*/ 190785 h 500195"/>
                <a:gd name="connsiteX96" fmla="*/ 300873 w 505038"/>
                <a:gd name="connsiteY96" fmla="*/ 190785 h 500195"/>
                <a:gd name="connsiteX97" fmla="*/ 317018 w 505038"/>
                <a:gd name="connsiteY97" fmla="*/ 189303 h 500195"/>
                <a:gd name="connsiteX98" fmla="*/ 331117 w 505038"/>
                <a:gd name="connsiteY98" fmla="*/ 181780 h 500195"/>
                <a:gd name="connsiteX99" fmla="*/ 336697 w 505038"/>
                <a:gd name="connsiteY99" fmla="*/ 166808 h 500195"/>
                <a:gd name="connsiteX100" fmla="*/ 335618 w 505038"/>
                <a:gd name="connsiteY100" fmla="*/ 157543 h 500195"/>
                <a:gd name="connsiteX101" fmla="*/ 318357 w 505038"/>
                <a:gd name="connsiteY101" fmla="*/ 118779 h 500195"/>
                <a:gd name="connsiteX102" fmla="*/ 371181 w 505038"/>
                <a:gd name="connsiteY102" fmla="*/ 125598 h 500195"/>
                <a:gd name="connsiteX103" fmla="*/ 371367 w 505038"/>
                <a:gd name="connsiteY103" fmla="*/ 125820 h 500195"/>
                <a:gd name="connsiteX104" fmla="*/ 344360 w 505038"/>
                <a:gd name="connsiteY104" fmla="*/ 141756 h 500195"/>
                <a:gd name="connsiteX105" fmla="*/ 358310 w 505038"/>
                <a:gd name="connsiteY105" fmla="*/ 147870 h 500195"/>
                <a:gd name="connsiteX106" fmla="*/ 386917 w 505038"/>
                <a:gd name="connsiteY106" fmla="*/ 132194 h 500195"/>
                <a:gd name="connsiteX107" fmla="*/ 421141 w 505038"/>
                <a:gd name="connsiteY107" fmla="*/ 130415 h 500195"/>
                <a:gd name="connsiteX108" fmla="*/ 403694 w 505038"/>
                <a:gd name="connsiteY108" fmla="*/ 323088 h 500195"/>
                <a:gd name="connsiteX109" fmla="*/ 393018 w 505038"/>
                <a:gd name="connsiteY109" fmla="*/ 328536 h 500195"/>
                <a:gd name="connsiteX110" fmla="*/ 384685 w 505038"/>
                <a:gd name="connsiteY110" fmla="*/ 325941 h 500195"/>
                <a:gd name="connsiteX111" fmla="*/ 378249 w 505038"/>
                <a:gd name="connsiteY111" fmla="*/ 317640 h 500195"/>
                <a:gd name="connsiteX112" fmla="*/ 375794 w 505038"/>
                <a:gd name="connsiteY112" fmla="*/ 311785 h 500195"/>
                <a:gd name="connsiteX113" fmla="*/ 370474 w 505038"/>
                <a:gd name="connsiteY113" fmla="*/ 315194 h 500195"/>
                <a:gd name="connsiteX114" fmla="*/ 336139 w 505038"/>
                <a:gd name="connsiteY114" fmla="*/ 336615 h 500195"/>
                <a:gd name="connsiteX115" fmla="*/ 341905 w 505038"/>
                <a:gd name="connsiteY115" fmla="*/ 345472 h 500195"/>
                <a:gd name="connsiteX116" fmla="*/ 356822 w 505038"/>
                <a:gd name="connsiteY116" fmla="*/ 336207 h 500195"/>
                <a:gd name="connsiteX117" fmla="*/ 360765 w 505038"/>
                <a:gd name="connsiteY117" fmla="*/ 343285 h 500195"/>
                <a:gd name="connsiteX118" fmla="*/ 348712 w 505038"/>
                <a:gd name="connsiteY118" fmla="*/ 361963 h 500195"/>
                <a:gd name="connsiteX119" fmla="*/ 331489 w 505038"/>
                <a:gd name="connsiteY119" fmla="*/ 417997 h 500195"/>
                <a:gd name="connsiteX120" fmla="*/ 325314 w 505038"/>
                <a:gd name="connsiteY120" fmla="*/ 418146 h 500195"/>
                <a:gd name="connsiteX121" fmla="*/ 319585 w 505038"/>
                <a:gd name="connsiteY121" fmla="*/ 418294 h 500195"/>
                <a:gd name="connsiteX122" fmla="*/ 319734 w 505038"/>
                <a:gd name="connsiteY122" fmla="*/ 423853 h 500195"/>
                <a:gd name="connsiteX123" fmla="*/ 319734 w 505038"/>
                <a:gd name="connsiteY123" fmla="*/ 455502 h 500195"/>
                <a:gd name="connsiteX124" fmla="*/ 258986 w 505038"/>
                <a:gd name="connsiteY124" fmla="*/ 455502 h 500195"/>
                <a:gd name="connsiteX125" fmla="*/ 270741 w 505038"/>
                <a:gd name="connsiteY125" fmla="*/ 435341 h 500195"/>
                <a:gd name="connsiteX126" fmla="*/ 301803 w 505038"/>
                <a:gd name="connsiteY126" fmla="*/ 416923 h 500195"/>
                <a:gd name="connsiteX127" fmla="*/ 303738 w 505038"/>
                <a:gd name="connsiteY127" fmla="*/ 415144 h 500195"/>
                <a:gd name="connsiteX128" fmla="*/ 323714 w 505038"/>
                <a:gd name="connsiteY128" fmla="*/ 361148 h 500195"/>
                <a:gd name="connsiteX129" fmla="*/ 323974 w 505038"/>
                <a:gd name="connsiteY129" fmla="*/ 359110 h 500195"/>
                <a:gd name="connsiteX130" fmla="*/ 311401 w 505038"/>
                <a:gd name="connsiteY130" fmla="*/ 334280 h 500195"/>
                <a:gd name="connsiteX131" fmla="*/ 328364 w 505038"/>
                <a:gd name="connsiteY131" fmla="*/ 328721 h 500195"/>
                <a:gd name="connsiteX132" fmla="*/ 357380 w 505038"/>
                <a:gd name="connsiteY132" fmla="*/ 303928 h 500195"/>
                <a:gd name="connsiteX133" fmla="*/ 366606 w 505038"/>
                <a:gd name="connsiteY133" fmla="*/ 279691 h 500195"/>
                <a:gd name="connsiteX134" fmla="*/ 372297 w 505038"/>
                <a:gd name="connsiteY134" fmla="*/ 286325 h 500195"/>
                <a:gd name="connsiteX135" fmla="*/ 408009 w 505038"/>
                <a:gd name="connsiteY135" fmla="*/ 313489 h 500195"/>
                <a:gd name="connsiteX136" fmla="*/ 403806 w 505038"/>
                <a:gd name="connsiteY136" fmla="*/ 323125 h 500195"/>
                <a:gd name="connsiteX137" fmla="*/ 35600 w 505038"/>
                <a:gd name="connsiteY137" fmla="*/ 179408 h 500195"/>
                <a:gd name="connsiteX138" fmla="*/ 28198 w 505038"/>
                <a:gd name="connsiteY138" fmla="*/ 175999 h 500195"/>
                <a:gd name="connsiteX139" fmla="*/ 26300 w 505038"/>
                <a:gd name="connsiteY139" fmla="*/ 166585 h 500195"/>
                <a:gd name="connsiteX140" fmla="*/ 37237 w 505038"/>
                <a:gd name="connsiteY140" fmla="*/ 147240 h 500195"/>
                <a:gd name="connsiteX141" fmla="*/ 51038 w 505038"/>
                <a:gd name="connsiteY141" fmla="*/ 131972 h 500195"/>
                <a:gd name="connsiteX142" fmla="*/ 90321 w 505038"/>
                <a:gd name="connsiteY142" fmla="*/ 98841 h 500195"/>
                <a:gd name="connsiteX143" fmla="*/ 69638 w 505038"/>
                <a:gd name="connsiteY143" fmla="*/ 140014 h 500195"/>
                <a:gd name="connsiteX144" fmla="*/ 63872 w 505038"/>
                <a:gd name="connsiteY144" fmla="*/ 151206 h 500195"/>
                <a:gd name="connsiteX145" fmla="*/ 75925 w 505038"/>
                <a:gd name="connsiteY145" fmla="*/ 148056 h 500195"/>
                <a:gd name="connsiteX146" fmla="*/ 132023 w 505038"/>
                <a:gd name="connsiteY146" fmla="*/ 140681 h 500195"/>
                <a:gd name="connsiteX147" fmla="*/ 152408 w 505038"/>
                <a:gd name="connsiteY147" fmla="*/ 146944 h 500195"/>
                <a:gd name="connsiteX148" fmla="*/ 154194 w 505038"/>
                <a:gd name="connsiteY148" fmla="*/ 153763 h 500195"/>
                <a:gd name="connsiteX149" fmla="*/ 148577 w 505038"/>
                <a:gd name="connsiteY149" fmla="*/ 170959 h 500195"/>
                <a:gd name="connsiteX150" fmla="*/ 133399 w 505038"/>
                <a:gd name="connsiteY150" fmla="*/ 179816 h 500195"/>
                <a:gd name="connsiteX151" fmla="*/ 35563 w 505038"/>
                <a:gd name="connsiteY151" fmla="*/ 179408 h 500195"/>
                <a:gd name="connsiteX152" fmla="*/ 57325 w 505038"/>
                <a:gd name="connsiteY152" fmla="*/ 107809 h 500195"/>
                <a:gd name="connsiteX153" fmla="*/ 112493 w 505038"/>
                <a:gd name="connsiteY153" fmla="*/ 58594 h 500195"/>
                <a:gd name="connsiteX154" fmla="*/ 181871 w 505038"/>
                <a:gd name="connsiteY154" fmla="*/ 84647 h 500195"/>
                <a:gd name="connsiteX155" fmla="*/ 209771 w 505038"/>
                <a:gd name="connsiteY155" fmla="*/ 123893 h 500195"/>
                <a:gd name="connsiteX156" fmla="*/ 222344 w 505038"/>
                <a:gd name="connsiteY156" fmla="*/ 123893 h 500195"/>
                <a:gd name="connsiteX157" fmla="*/ 212189 w 505038"/>
                <a:gd name="connsiteY157" fmla="*/ 105067 h 500195"/>
                <a:gd name="connsiteX158" fmla="*/ 284617 w 505038"/>
                <a:gd name="connsiteY158" fmla="*/ 114443 h 500195"/>
                <a:gd name="connsiteX159" fmla="*/ 287072 w 505038"/>
                <a:gd name="connsiteY159" fmla="*/ 137531 h 500195"/>
                <a:gd name="connsiteX160" fmla="*/ 281604 w 505038"/>
                <a:gd name="connsiteY160" fmla="*/ 136456 h 500195"/>
                <a:gd name="connsiteX161" fmla="*/ 216169 w 505038"/>
                <a:gd name="connsiteY161" fmla="*/ 139161 h 500195"/>
                <a:gd name="connsiteX162" fmla="*/ 161039 w 505038"/>
                <a:gd name="connsiteY162" fmla="*/ 139161 h 500195"/>
                <a:gd name="connsiteX163" fmla="*/ 132432 w 505038"/>
                <a:gd name="connsiteY163" fmla="*/ 129341 h 500195"/>
                <a:gd name="connsiteX164" fmla="*/ 85076 w 505038"/>
                <a:gd name="connsiteY164" fmla="*/ 134381 h 500195"/>
                <a:gd name="connsiteX165" fmla="*/ 115171 w 505038"/>
                <a:gd name="connsiteY165" fmla="*/ 72232 h 500195"/>
                <a:gd name="connsiteX166" fmla="*/ 111897 w 505038"/>
                <a:gd name="connsiteY166" fmla="*/ 72232 h 500195"/>
                <a:gd name="connsiteX167" fmla="*/ 77674 w 505038"/>
                <a:gd name="connsiteY167" fmla="*/ 94579 h 500195"/>
                <a:gd name="connsiteX168" fmla="*/ 55354 w 505038"/>
                <a:gd name="connsiteY168" fmla="*/ 112404 h 500195"/>
                <a:gd name="connsiteX169" fmla="*/ 57288 w 505038"/>
                <a:gd name="connsiteY169" fmla="*/ 107809 h 500195"/>
                <a:gd name="connsiteX170" fmla="*/ 268472 w 505038"/>
                <a:gd name="connsiteY170" fmla="*/ 238592 h 500195"/>
                <a:gd name="connsiteX171" fmla="*/ 259060 w 505038"/>
                <a:gd name="connsiteY171" fmla="*/ 245411 h 500195"/>
                <a:gd name="connsiteX172" fmla="*/ 241800 w 505038"/>
                <a:gd name="connsiteY172" fmla="*/ 238296 h 500195"/>
                <a:gd name="connsiteX173" fmla="*/ 207167 w 505038"/>
                <a:gd name="connsiteY173" fmla="*/ 262014 h 500195"/>
                <a:gd name="connsiteX174" fmla="*/ 213193 w 505038"/>
                <a:gd name="connsiteY174" fmla="*/ 275652 h 500195"/>
                <a:gd name="connsiteX175" fmla="*/ 210031 w 505038"/>
                <a:gd name="connsiteY175" fmla="*/ 278765 h 500195"/>
                <a:gd name="connsiteX176" fmla="*/ 204153 w 505038"/>
                <a:gd name="connsiteY176" fmla="*/ 294181 h 500195"/>
                <a:gd name="connsiteX177" fmla="*/ 208283 w 505038"/>
                <a:gd name="connsiteY177" fmla="*/ 310006 h 500195"/>
                <a:gd name="connsiteX178" fmla="*/ 158211 w 505038"/>
                <a:gd name="connsiteY178" fmla="*/ 310006 h 500195"/>
                <a:gd name="connsiteX179" fmla="*/ 140541 w 505038"/>
                <a:gd name="connsiteY179" fmla="*/ 292403 h 500195"/>
                <a:gd name="connsiteX180" fmla="*/ 140541 w 505038"/>
                <a:gd name="connsiteY180" fmla="*/ 208018 h 500195"/>
                <a:gd name="connsiteX181" fmla="*/ 133585 w 505038"/>
                <a:gd name="connsiteY181" fmla="*/ 209797 h 500195"/>
                <a:gd name="connsiteX182" fmla="*/ 75144 w 505038"/>
                <a:gd name="connsiteY182" fmla="*/ 190971 h 500195"/>
                <a:gd name="connsiteX183" fmla="*/ 133697 w 505038"/>
                <a:gd name="connsiteY183" fmla="*/ 191230 h 500195"/>
                <a:gd name="connsiteX184" fmla="*/ 134106 w 505038"/>
                <a:gd name="connsiteY184" fmla="*/ 191230 h 500195"/>
                <a:gd name="connsiteX185" fmla="*/ 138347 w 505038"/>
                <a:gd name="connsiteY185" fmla="*/ 190563 h 500195"/>
                <a:gd name="connsiteX186" fmla="*/ 157244 w 505038"/>
                <a:gd name="connsiteY186" fmla="*/ 178148 h 500195"/>
                <a:gd name="connsiteX187" fmla="*/ 165577 w 505038"/>
                <a:gd name="connsiteY187" fmla="*/ 153059 h 500195"/>
                <a:gd name="connsiteX188" fmla="*/ 165317 w 505038"/>
                <a:gd name="connsiteY188" fmla="*/ 150613 h 500195"/>
                <a:gd name="connsiteX189" fmla="*/ 172161 w 505038"/>
                <a:gd name="connsiteY189" fmla="*/ 150761 h 500195"/>
                <a:gd name="connsiteX190" fmla="*/ 217731 w 505038"/>
                <a:gd name="connsiteY190" fmla="*/ 150761 h 500195"/>
                <a:gd name="connsiteX191" fmla="*/ 254001 w 505038"/>
                <a:gd name="connsiteY191" fmla="*/ 193565 h 500195"/>
                <a:gd name="connsiteX192" fmla="*/ 259098 w 505038"/>
                <a:gd name="connsiteY192" fmla="*/ 205832 h 500195"/>
                <a:gd name="connsiteX193" fmla="*/ 259098 w 505038"/>
                <a:gd name="connsiteY193" fmla="*/ 218802 h 500195"/>
                <a:gd name="connsiteX194" fmla="*/ 259618 w 505038"/>
                <a:gd name="connsiteY194" fmla="*/ 221248 h 500195"/>
                <a:gd name="connsiteX195" fmla="*/ 269067 w 505038"/>
                <a:gd name="connsiteY195" fmla="*/ 238555 h 500195"/>
                <a:gd name="connsiteX196" fmla="*/ 268509 w 505038"/>
                <a:gd name="connsiteY196" fmla="*/ 238555 h 500195"/>
                <a:gd name="connsiteX197" fmla="*/ 278888 w 505038"/>
                <a:gd name="connsiteY197" fmla="*/ 268425 h 500195"/>
                <a:gd name="connsiteX198" fmla="*/ 283129 w 505038"/>
                <a:gd name="connsiteY198" fmla="*/ 271427 h 500195"/>
                <a:gd name="connsiteX199" fmla="*/ 288709 w 505038"/>
                <a:gd name="connsiteY199" fmla="*/ 287659 h 500195"/>
                <a:gd name="connsiteX200" fmla="*/ 266686 w 505038"/>
                <a:gd name="connsiteY200" fmla="*/ 309895 h 500195"/>
                <a:gd name="connsiteX201" fmla="*/ 228929 w 505038"/>
                <a:gd name="connsiteY201" fmla="*/ 309895 h 500195"/>
                <a:gd name="connsiteX202" fmla="*/ 215797 w 505038"/>
                <a:gd name="connsiteY202" fmla="*/ 297072 h 500195"/>
                <a:gd name="connsiteX203" fmla="*/ 215797 w 505038"/>
                <a:gd name="connsiteY203" fmla="*/ 294478 h 500195"/>
                <a:gd name="connsiteX204" fmla="*/ 228929 w 505038"/>
                <a:gd name="connsiteY204" fmla="*/ 281544 h 500195"/>
                <a:gd name="connsiteX205" fmla="*/ 233281 w 505038"/>
                <a:gd name="connsiteY205" fmla="*/ 281285 h 500195"/>
                <a:gd name="connsiteX206" fmla="*/ 234099 w 505038"/>
                <a:gd name="connsiteY206" fmla="*/ 278023 h 500195"/>
                <a:gd name="connsiteX207" fmla="*/ 219852 w 505038"/>
                <a:gd name="connsiteY207" fmla="*/ 262903 h 500195"/>
                <a:gd name="connsiteX208" fmla="*/ 237782 w 505038"/>
                <a:gd name="connsiteY208" fmla="*/ 247227 h 500195"/>
                <a:gd name="connsiteX209" fmla="*/ 261292 w 505038"/>
                <a:gd name="connsiteY209" fmla="*/ 264274 h 500195"/>
                <a:gd name="connsiteX210" fmla="*/ 264715 w 505038"/>
                <a:gd name="connsiteY210" fmla="*/ 264274 h 500195"/>
                <a:gd name="connsiteX211" fmla="*/ 267616 w 505038"/>
                <a:gd name="connsiteY211" fmla="*/ 249673 h 500195"/>
                <a:gd name="connsiteX212" fmla="*/ 276656 w 505038"/>
                <a:gd name="connsiteY212" fmla="*/ 256492 h 500195"/>
                <a:gd name="connsiteX213" fmla="*/ 278851 w 505038"/>
                <a:gd name="connsiteY213" fmla="*/ 268499 h 500195"/>
                <a:gd name="connsiteX214" fmla="*/ 308611 w 505038"/>
                <a:gd name="connsiteY214" fmla="*/ 124745 h 500195"/>
                <a:gd name="connsiteX215" fmla="*/ 324495 w 505038"/>
                <a:gd name="connsiteY215" fmla="*/ 160026 h 500195"/>
                <a:gd name="connsiteX216" fmla="*/ 325314 w 505038"/>
                <a:gd name="connsiteY216" fmla="*/ 166845 h 500195"/>
                <a:gd name="connsiteX217" fmla="*/ 322858 w 505038"/>
                <a:gd name="connsiteY217" fmla="*/ 174072 h 500195"/>
                <a:gd name="connsiteX218" fmla="*/ 314228 w 505038"/>
                <a:gd name="connsiteY218" fmla="*/ 178296 h 500195"/>
                <a:gd name="connsiteX219" fmla="*/ 301096 w 505038"/>
                <a:gd name="connsiteY219" fmla="*/ 179371 h 500195"/>
                <a:gd name="connsiteX220" fmla="*/ 260734 w 505038"/>
                <a:gd name="connsiteY220" fmla="*/ 179371 h 500195"/>
                <a:gd name="connsiteX221" fmla="*/ 232797 w 505038"/>
                <a:gd name="connsiteY221" fmla="*/ 143794 h 500195"/>
                <a:gd name="connsiteX222" fmla="*/ 279186 w 505038"/>
                <a:gd name="connsiteY222" fmla="*/ 147463 h 500195"/>
                <a:gd name="connsiteX223" fmla="*/ 293694 w 505038"/>
                <a:gd name="connsiteY223" fmla="*/ 150316 h 500195"/>
                <a:gd name="connsiteX224" fmla="*/ 301766 w 505038"/>
                <a:gd name="connsiteY224" fmla="*/ 151688 h 500195"/>
                <a:gd name="connsiteX225" fmla="*/ 300129 w 505038"/>
                <a:gd name="connsiteY225" fmla="*/ 143646 h 500195"/>
                <a:gd name="connsiteX226" fmla="*/ 292057 w 505038"/>
                <a:gd name="connsiteY226" fmla="*/ 98804 h 500195"/>
                <a:gd name="connsiteX227" fmla="*/ 308648 w 505038"/>
                <a:gd name="connsiteY227" fmla="*/ 124708 h 500195"/>
                <a:gd name="connsiteX228" fmla="*/ 502609 w 505038"/>
                <a:gd name="connsiteY228" fmla="*/ 1226 h 500195"/>
                <a:gd name="connsiteX229" fmla="*/ 455662 w 505038"/>
                <a:gd name="connsiteY229" fmla="*/ 15827 h 500195"/>
                <a:gd name="connsiteX230" fmla="*/ 418425 w 505038"/>
                <a:gd name="connsiteY230" fmla="*/ 14456 h 500195"/>
                <a:gd name="connsiteX231" fmla="*/ 393538 w 505038"/>
                <a:gd name="connsiteY231" fmla="*/ 33690 h 500195"/>
                <a:gd name="connsiteX232" fmla="*/ 389446 w 505038"/>
                <a:gd name="connsiteY232" fmla="*/ 45809 h 500195"/>
                <a:gd name="connsiteX233" fmla="*/ 385206 w 505038"/>
                <a:gd name="connsiteY233" fmla="*/ 103621 h 500195"/>
                <a:gd name="connsiteX234" fmla="*/ 382750 w 505038"/>
                <a:gd name="connsiteY234" fmla="*/ 111812 h 500195"/>
                <a:gd name="connsiteX235" fmla="*/ 379328 w 505038"/>
                <a:gd name="connsiteY235" fmla="*/ 114962 h 500195"/>
                <a:gd name="connsiteX236" fmla="*/ 375980 w 505038"/>
                <a:gd name="connsiteY236" fmla="*/ 115221 h 500195"/>
                <a:gd name="connsiteX237" fmla="*/ 308834 w 505038"/>
                <a:gd name="connsiteY237" fmla="*/ 106327 h 500195"/>
                <a:gd name="connsiteX238" fmla="*/ 283092 w 505038"/>
                <a:gd name="connsiteY238" fmla="*/ 72269 h 500195"/>
                <a:gd name="connsiteX239" fmla="*/ 280078 w 505038"/>
                <a:gd name="connsiteY239" fmla="*/ 72269 h 500195"/>
                <a:gd name="connsiteX240" fmla="*/ 283352 w 505038"/>
                <a:gd name="connsiteY240" fmla="*/ 102917 h 500195"/>
                <a:gd name="connsiteX241" fmla="*/ 203447 w 505038"/>
                <a:gd name="connsiteY241" fmla="*/ 92318 h 500195"/>
                <a:gd name="connsiteX242" fmla="*/ 189794 w 505038"/>
                <a:gd name="connsiteY242" fmla="*/ 76642 h 500195"/>
                <a:gd name="connsiteX243" fmla="*/ 110409 w 505038"/>
                <a:gd name="connsiteY243" fmla="*/ 47476 h 500195"/>
                <a:gd name="connsiteX244" fmla="*/ 46909 w 505038"/>
                <a:gd name="connsiteY244" fmla="*/ 103251 h 500195"/>
                <a:gd name="connsiteX245" fmla="*/ 38279 w 505038"/>
                <a:gd name="connsiteY245" fmla="*/ 128970 h 500195"/>
                <a:gd name="connsiteX246" fmla="*/ 28309 w 505038"/>
                <a:gd name="connsiteY246" fmla="*/ 140347 h 500195"/>
                <a:gd name="connsiteX247" fmla="*/ 15289 w 505038"/>
                <a:gd name="connsiteY247" fmla="*/ 163510 h 500195"/>
                <a:gd name="connsiteX248" fmla="*/ 14210 w 505038"/>
                <a:gd name="connsiteY248" fmla="*/ 170180 h 500195"/>
                <a:gd name="connsiteX249" fmla="*/ 14210 w 505038"/>
                <a:gd name="connsiteY249" fmla="*/ 171663 h 500195"/>
                <a:gd name="connsiteX250" fmla="*/ 20497 w 505038"/>
                <a:gd name="connsiteY250" fmla="*/ 184633 h 500195"/>
                <a:gd name="connsiteX251" fmla="*/ 33629 w 505038"/>
                <a:gd name="connsiteY251" fmla="*/ 190748 h 500195"/>
                <a:gd name="connsiteX252" fmla="*/ 34336 w 505038"/>
                <a:gd name="connsiteY252" fmla="*/ 190822 h 500195"/>
                <a:gd name="connsiteX253" fmla="*/ 36791 w 505038"/>
                <a:gd name="connsiteY253" fmla="*/ 208055 h 500195"/>
                <a:gd name="connsiteX254" fmla="*/ 51968 w 505038"/>
                <a:gd name="connsiteY254" fmla="*/ 255417 h 500195"/>
                <a:gd name="connsiteX255" fmla="*/ 45272 w 505038"/>
                <a:gd name="connsiteY255" fmla="*/ 286844 h 500195"/>
                <a:gd name="connsiteX256" fmla="*/ 49253 w 505038"/>
                <a:gd name="connsiteY256" fmla="*/ 316973 h 500195"/>
                <a:gd name="connsiteX257" fmla="*/ 12574 w 505038"/>
                <a:gd name="connsiteY257" fmla="*/ 337838 h 500195"/>
                <a:gd name="connsiteX258" fmla="*/ 1376 w 505038"/>
                <a:gd name="connsiteY258" fmla="*/ 352291 h 500195"/>
                <a:gd name="connsiteX259" fmla="*/ 2195 w 505038"/>
                <a:gd name="connsiteY259" fmla="*/ 370821 h 500195"/>
                <a:gd name="connsiteX260" fmla="*/ 2344 w 505038"/>
                <a:gd name="connsiteY260" fmla="*/ 371080 h 500195"/>
                <a:gd name="connsiteX261" fmla="*/ 43003 w 505038"/>
                <a:gd name="connsiteY261" fmla="*/ 449053 h 500195"/>
                <a:gd name="connsiteX262" fmla="*/ 46388 w 505038"/>
                <a:gd name="connsiteY262" fmla="*/ 455464 h 500195"/>
                <a:gd name="connsiteX263" fmla="*/ 0 w 505038"/>
                <a:gd name="connsiteY263" fmla="*/ 455464 h 500195"/>
                <a:gd name="connsiteX264" fmla="*/ 0 w 505038"/>
                <a:gd name="connsiteY264" fmla="*/ 466768 h 500195"/>
                <a:gd name="connsiteX265" fmla="*/ 114539 w 505038"/>
                <a:gd name="connsiteY265" fmla="*/ 466768 h 500195"/>
                <a:gd name="connsiteX266" fmla="*/ 114539 w 505038"/>
                <a:gd name="connsiteY266" fmla="*/ 455464 h 500195"/>
                <a:gd name="connsiteX267" fmla="*/ 48174 w 505038"/>
                <a:gd name="connsiteY267" fmla="*/ 455464 h 500195"/>
                <a:gd name="connsiteX268" fmla="*/ 52564 w 505038"/>
                <a:gd name="connsiteY268" fmla="*/ 450017 h 500195"/>
                <a:gd name="connsiteX269" fmla="*/ 89912 w 505038"/>
                <a:gd name="connsiteY269" fmla="*/ 403915 h 500195"/>
                <a:gd name="connsiteX270" fmla="*/ 94302 w 505038"/>
                <a:gd name="connsiteY270" fmla="*/ 398615 h 500195"/>
                <a:gd name="connsiteX271" fmla="*/ 88164 w 505038"/>
                <a:gd name="connsiteY271" fmla="*/ 395354 h 500195"/>
                <a:gd name="connsiteX272" fmla="*/ 57362 w 505038"/>
                <a:gd name="connsiteY272" fmla="*/ 379270 h 500195"/>
                <a:gd name="connsiteX273" fmla="*/ 50108 w 505038"/>
                <a:gd name="connsiteY273" fmla="*/ 366744 h 500195"/>
                <a:gd name="connsiteX274" fmla="*/ 88722 w 505038"/>
                <a:gd name="connsiteY274" fmla="*/ 352624 h 500195"/>
                <a:gd name="connsiteX275" fmla="*/ 88722 w 505038"/>
                <a:gd name="connsiteY275" fmla="*/ 374934 h 500195"/>
                <a:gd name="connsiteX276" fmla="*/ 146196 w 505038"/>
                <a:gd name="connsiteY276" fmla="*/ 374934 h 500195"/>
                <a:gd name="connsiteX277" fmla="*/ 148242 w 505038"/>
                <a:gd name="connsiteY277" fmla="*/ 398504 h 500195"/>
                <a:gd name="connsiteX278" fmla="*/ 137565 w 505038"/>
                <a:gd name="connsiteY278" fmla="*/ 431746 h 500195"/>
                <a:gd name="connsiteX279" fmla="*/ 127038 w 505038"/>
                <a:gd name="connsiteY279" fmla="*/ 460912 h 500195"/>
                <a:gd name="connsiteX280" fmla="*/ 121830 w 505038"/>
                <a:gd name="connsiteY280" fmla="*/ 493636 h 500195"/>
                <a:gd name="connsiteX281" fmla="*/ 120900 w 505038"/>
                <a:gd name="connsiteY281" fmla="*/ 500195 h 500195"/>
                <a:gd name="connsiteX282" fmla="*/ 205604 w 505038"/>
                <a:gd name="connsiteY282" fmla="*/ 500195 h 500195"/>
                <a:gd name="connsiteX283" fmla="*/ 205083 w 505038"/>
                <a:gd name="connsiteY283" fmla="*/ 493932 h 500195"/>
                <a:gd name="connsiteX284" fmla="*/ 196193 w 505038"/>
                <a:gd name="connsiteY284" fmla="*/ 466101 h 500195"/>
                <a:gd name="connsiteX285" fmla="*/ 180159 w 505038"/>
                <a:gd name="connsiteY285" fmla="*/ 441827 h 500195"/>
                <a:gd name="connsiteX286" fmla="*/ 192882 w 505038"/>
                <a:gd name="connsiteY286" fmla="*/ 391796 h 500195"/>
                <a:gd name="connsiteX287" fmla="*/ 197941 w 505038"/>
                <a:gd name="connsiteY287" fmla="*/ 380752 h 500195"/>
                <a:gd name="connsiteX288" fmla="*/ 203819 w 505038"/>
                <a:gd name="connsiteY288" fmla="*/ 377343 h 500195"/>
                <a:gd name="connsiteX289" fmla="*/ 221563 w 505038"/>
                <a:gd name="connsiteY289" fmla="*/ 363779 h 500195"/>
                <a:gd name="connsiteX290" fmla="*/ 297897 w 505038"/>
                <a:gd name="connsiteY290" fmla="*/ 338690 h 500195"/>
                <a:gd name="connsiteX291" fmla="*/ 301357 w 505038"/>
                <a:gd name="connsiteY291" fmla="*/ 340839 h 500195"/>
                <a:gd name="connsiteX292" fmla="*/ 312442 w 505038"/>
                <a:gd name="connsiteY292" fmla="*/ 358813 h 500195"/>
                <a:gd name="connsiteX293" fmla="*/ 295182 w 505038"/>
                <a:gd name="connsiteY293" fmla="*/ 407472 h 500195"/>
                <a:gd name="connsiteX294" fmla="*/ 261813 w 505038"/>
                <a:gd name="connsiteY294" fmla="*/ 428077 h 500195"/>
                <a:gd name="connsiteX295" fmla="*/ 247119 w 505038"/>
                <a:gd name="connsiteY295" fmla="*/ 455464 h 500195"/>
                <a:gd name="connsiteX296" fmla="*/ 215165 w 505038"/>
                <a:gd name="connsiteY296" fmla="*/ 455464 h 500195"/>
                <a:gd name="connsiteX297" fmla="*/ 215165 w 505038"/>
                <a:gd name="connsiteY297" fmla="*/ 466768 h 500195"/>
                <a:gd name="connsiteX298" fmla="*/ 331191 w 505038"/>
                <a:gd name="connsiteY298" fmla="*/ 466768 h 500195"/>
                <a:gd name="connsiteX299" fmla="*/ 331191 w 505038"/>
                <a:gd name="connsiteY299" fmla="*/ 461172 h 500195"/>
                <a:gd name="connsiteX300" fmla="*/ 331080 w 505038"/>
                <a:gd name="connsiteY300" fmla="*/ 429412 h 500195"/>
                <a:gd name="connsiteX301" fmla="*/ 338743 w 505038"/>
                <a:gd name="connsiteY301" fmla="*/ 429263 h 500195"/>
                <a:gd name="connsiteX302" fmla="*/ 346257 w 505038"/>
                <a:gd name="connsiteY302" fmla="*/ 429115 h 500195"/>
                <a:gd name="connsiteX303" fmla="*/ 344211 w 505038"/>
                <a:gd name="connsiteY303" fmla="*/ 422000 h 500195"/>
                <a:gd name="connsiteX304" fmla="*/ 357231 w 505038"/>
                <a:gd name="connsiteY304" fmla="*/ 369375 h 500195"/>
                <a:gd name="connsiteX305" fmla="*/ 372148 w 505038"/>
                <a:gd name="connsiteY305" fmla="*/ 342952 h 500195"/>
                <a:gd name="connsiteX306" fmla="*/ 365862 w 505038"/>
                <a:gd name="connsiteY306" fmla="*/ 330500 h 500195"/>
                <a:gd name="connsiteX307" fmla="*/ 371330 w 505038"/>
                <a:gd name="connsiteY307" fmla="*/ 327127 h 500195"/>
                <a:gd name="connsiteX308" fmla="*/ 378584 w 505038"/>
                <a:gd name="connsiteY308" fmla="*/ 334502 h 500195"/>
                <a:gd name="connsiteX309" fmla="*/ 393501 w 505038"/>
                <a:gd name="connsiteY309" fmla="*/ 339135 h 500195"/>
                <a:gd name="connsiteX310" fmla="*/ 412101 w 505038"/>
                <a:gd name="connsiteY310" fmla="*/ 329722 h 500195"/>
                <a:gd name="connsiteX311" fmla="*/ 417718 w 505038"/>
                <a:gd name="connsiteY311" fmla="*/ 318937 h 500195"/>
                <a:gd name="connsiteX312" fmla="*/ 417569 w 505038"/>
                <a:gd name="connsiteY312" fmla="*/ 317751 h 500195"/>
                <a:gd name="connsiteX313" fmla="*/ 426869 w 505038"/>
                <a:gd name="connsiteY313" fmla="*/ 320827 h 500195"/>
                <a:gd name="connsiteX314" fmla="*/ 432077 w 505038"/>
                <a:gd name="connsiteY314" fmla="*/ 322050 h 500195"/>
                <a:gd name="connsiteX315" fmla="*/ 432077 w 505038"/>
                <a:gd name="connsiteY315" fmla="*/ 402766 h 500195"/>
                <a:gd name="connsiteX316" fmla="*/ 431110 w 505038"/>
                <a:gd name="connsiteY316" fmla="*/ 407954 h 500195"/>
                <a:gd name="connsiteX317" fmla="*/ 429883 w 505038"/>
                <a:gd name="connsiteY317" fmla="*/ 409437 h 500195"/>
                <a:gd name="connsiteX318" fmla="*/ 402503 w 505038"/>
                <a:gd name="connsiteY318" fmla="*/ 460430 h 500195"/>
                <a:gd name="connsiteX319" fmla="*/ 401685 w 505038"/>
                <a:gd name="connsiteY319" fmla="*/ 466694 h 500195"/>
                <a:gd name="connsiteX320" fmla="*/ 485980 w 505038"/>
                <a:gd name="connsiteY320" fmla="*/ 466694 h 500195"/>
                <a:gd name="connsiteX321" fmla="*/ 486947 w 505038"/>
                <a:gd name="connsiteY321" fmla="*/ 462320 h 500195"/>
                <a:gd name="connsiteX322" fmla="*/ 495280 w 505038"/>
                <a:gd name="connsiteY322" fmla="*/ 424297 h 500195"/>
                <a:gd name="connsiteX323" fmla="*/ 495838 w 505038"/>
                <a:gd name="connsiteY323" fmla="*/ 421963 h 500195"/>
                <a:gd name="connsiteX324" fmla="*/ 494462 w 505038"/>
                <a:gd name="connsiteY324" fmla="*/ 419924 h 500195"/>
                <a:gd name="connsiteX325" fmla="*/ 489700 w 505038"/>
                <a:gd name="connsiteY325" fmla="*/ 412846 h 500195"/>
                <a:gd name="connsiteX326" fmla="*/ 477796 w 505038"/>
                <a:gd name="connsiteY326" fmla="*/ 292884 h 500195"/>
                <a:gd name="connsiteX327" fmla="*/ 478205 w 505038"/>
                <a:gd name="connsiteY327" fmla="*/ 288400 h 500195"/>
                <a:gd name="connsiteX328" fmla="*/ 473853 w 505038"/>
                <a:gd name="connsiteY328" fmla="*/ 287029 h 500195"/>
                <a:gd name="connsiteX329" fmla="*/ 460573 w 505038"/>
                <a:gd name="connsiteY329" fmla="*/ 272020 h 500195"/>
                <a:gd name="connsiteX330" fmla="*/ 457559 w 505038"/>
                <a:gd name="connsiteY330" fmla="*/ 215578 h 500195"/>
                <a:gd name="connsiteX331" fmla="*/ 457857 w 505038"/>
                <a:gd name="connsiteY331" fmla="*/ 149205 h 500195"/>
                <a:gd name="connsiteX332" fmla="*/ 424972 w 505038"/>
                <a:gd name="connsiteY332" fmla="*/ 119668 h 500195"/>
                <a:gd name="connsiteX333" fmla="*/ 425419 w 505038"/>
                <a:gd name="connsiteY333" fmla="*/ 108291 h 500195"/>
                <a:gd name="connsiteX334" fmla="*/ 419690 w 505038"/>
                <a:gd name="connsiteY334" fmla="*/ 71491 h 500195"/>
                <a:gd name="connsiteX335" fmla="*/ 425567 w 505038"/>
                <a:gd name="connsiteY335" fmla="*/ 57334 h 500195"/>
                <a:gd name="connsiteX336" fmla="*/ 465929 w 505038"/>
                <a:gd name="connsiteY336" fmla="*/ 69860 h 500195"/>
                <a:gd name="connsiteX337" fmla="*/ 493457 w 505038"/>
                <a:gd name="connsiteY337" fmla="*/ 34024 h 500195"/>
                <a:gd name="connsiteX338" fmla="*/ 504952 w 505038"/>
                <a:gd name="connsiteY338" fmla="*/ 2671 h 500195"/>
                <a:gd name="connsiteX339" fmla="*/ 502757 w 505038"/>
                <a:gd name="connsiteY339" fmla="*/ 1189 h 500195"/>
                <a:gd name="connsiteX340" fmla="*/ 253592 w 505038"/>
                <a:gd name="connsiteY340" fmla="*/ 284509 h 500195"/>
                <a:gd name="connsiteX341" fmla="*/ 236331 w 505038"/>
                <a:gd name="connsiteY341" fmla="*/ 298406 h 500195"/>
                <a:gd name="connsiteX342" fmla="*/ 237671 w 505038"/>
                <a:gd name="connsiteY342" fmla="*/ 299073 h 500195"/>
                <a:gd name="connsiteX343" fmla="*/ 243288 w 505038"/>
                <a:gd name="connsiteY343" fmla="*/ 296071 h 500195"/>
                <a:gd name="connsiteX344" fmla="*/ 273643 w 505038"/>
                <a:gd name="connsiteY344" fmla="*/ 296071 h 500195"/>
                <a:gd name="connsiteX345" fmla="*/ 277065 w 505038"/>
                <a:gd name="connsiteY345" fmla="*/ 299333 h 500195"/>
                <a:gd name="connsiteX346" fmla="*/ 277214 w 505038"/>
                <a:gd name="connsiteY346" fmla="*/ 300296 h 500195"/>
                <a:gd name="connsiteX347" fmla="*/ 272676 w 505038"/>
                <a:gd name="connsiteY347" fmla="*/ 284472 h 500195"/>
                <a:gd name="connsiteX348" fmla="*/ 253555 w 505038"/>
                <a:gd name="connsiteY348" fmla="*/ 284472 h 500195"/>
                <a:gd name="connsiteX349" fmla="*/ 191171 w 505038"/>
                <a:gd name="connsiteY349" fmla="*/ 207203 h 500195"/>
                <a:gd name="connsiteX350" fmla="*/ 173649 w 505038"/>
                <a:gd name="connsiteY350" fmla="*/ 195344 h 500195"/>
                <a:gd name="connsiteX351" fmla="*/ 167363 w 505038"/>
                <a:gd name="connsiteY351" fmla="*/ 213725 h 500195"/>
                <a:gd name="connsiteX352" fmla="*/ 179267 w 505038"/>
                <a:gd name="connsiteY352" fmla="*/ 208685 h 500195"/>
                <a:gd name="connsiteX353" fmla="*/ 188827 w 505038"/>
                <a:gd name="connsiteY353" fmla="*/ 215504 h 500195"/>
                <a:gd name="connsiteX354" fmla="*/ 185814 w 505038"/>
                <a:gd name="connsiteY354" fmla="*/ 219062 h 500195"/>
                <a:gd name="connsiteX355" fmla="*/ 177890 w 505038"/>
                <a:gd name="connsiteY355" fmla="*/ 216171 h 500195"/>
                <a:gd name="connsiteX356" fmla="*/ 177890 w 505038"/>
                <a:gd name="connsiteY356" fmla="*/ 211279 h 500195"/>
                <a:gd name="connsiteX357" fmla="*/ 171752 w 505038"/>
                <a:gd name="connsiteY357" fmla="*/ 215356 h 500195"/>
                <a:gd name="connsiteX358" fmla="*/ 180494 w 505038"/>
                <a:gd name="connsiteY358" fmla="*/ 226140 h 500195"/>
                <a:gd name="connsiteX359" fmla="*/ 198164 w 505038"/>
                <a:gd name="connsiteY359" fmla="*/ 222175 h 500195"/>
                <a:gd name="connsiteX360" fmla="*/ 198425 w 505038"/>
                <a:gd name="connsiteY360" fmla="*/ 221767 h 500195"/>
                <a:gd name="connsiteX361" fmla="*/ 204711 w 505038"/>
                <a:gd name="connsiteY361" fmla="*/ 220952 h 500195"/>
                <a:gd name="connsiteX362" fmla="*/ 191171 w 505038"/>
                <a:gd name="connsiteY362" fmla="*/ 207166 h 500195"/>
                <a:gd name="connsiteX363" fmla="*/ 242916 w 505038"/>
                <a:gd name="connsiteY363" fmla="*/ 273058 h 500195"/>
                <a:gd name="connsiteX364" fmla="*/ 251806 w 505038"/>
                <a:gd name="connsiteY364" fmla="*/ 266794 h 500195"/>
                <a:gd name="connsiteX365" fmla="*/ 254931 w 505038"/>
                <a:gd name="connsiteY365" fmla="*/ 265720 h 500195"/>
                <a:gd name="connsiteX366" fmla="*/ 232649 w 505038"/>
                <a:gd name="connsiteY366" fmla="*/ 255899 h 500195"/>
                <a:gd name="connsiteX367" fmla="*/ 233207 w 505038"/>
                <a:gd name="connsiteY367" fmla="*/ 267202 h 500195"/>
                <a:gd name="connsiteX368" fmla="*/ 240460 w 505038"/>
                <a:gd name="connsiteY368" fmla="*/ 262421 h 500195"/>
                <a:gd name="connsiteX369" fmla="*/ 242916 w 505038"/>
                <a:gd name="connsiteY369" fmla="*/ 273058 h 500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Lst>
              <a:rect l="l" t="t" r="r" b="b"/>
              <a:pathLst>
                <a:path w="505038" h="500195">
                  <a:moveTo>
                    <a:pt x="462544" y="41732"/>
                  </a:moveTo>
                  <a:cubicBezTo>
                    <a:pt x="467603" y="49626"/>
                    <a:pt x="472811" y="46772"/>
                    <a:pt x="479917" y="45697"/>
                  </a:cubicBezTo>
                  <a:cubicBezTo>
                    <a:pt x="461317" y="69823"/>
                    <a:pt x="443089" y="60039"/>
                    <a:pt x="428729" y="44067"/>
                  </a:cubicBezTo>
                  <a:cubicBezTo>
                    <a:pt x="423819" y="41473"/>
                    <a:pt x="419690" y="43807"/>
                    <a:pt x="415300" y="48699"/>
                  </a:cubicBezTo>
                  <a:cubicBezTo>
                    <a:pt x="405033" y="60151"/>
                    <a:pt x="411766" y="95320"/>
                    <a:pt x="414073" y="110589"/>
                  </a:cubicBezTo>
                  <a:cubicBezTo>
                    <a:pt x="414370" y="112590"/>
                    <a:pt x="414221" y="115221"/>
                    <a:pt x="413812" y="118075"/>
                  </a:cubicBezTo>
                  <a:cubicBezTo>
                    <a:pt x="406558" y="117556"/>
                    <a:pt x="398746" y="118075"/>
                    <a:pt x="390786" y="119705"/>
                  </a:cubicBezTo>
                  <a:cubicBezTo>
                    <a:pt x="403433" y="102065"/>
                    <a:pt x="394543" y="53517"/>
                    <a:pt x="403545" y="38322"/>
                  </a:cubicBezTo>
                  <a:cubicBezTo>
                    <a:pt x="406558" y="32208"/>
                    <a:pt x="413403" y="25500"/>
                    <a:pt x="420917" y="23610"/>
                  </a:cubicBezTo>
                  <a:cubicBezTo>
                    <a:pt x="427055" y="21979"/>
                    <a:pt x="434867" y="20089"/>
                    <a:pt x="449227" y="25537"/>
                  </a:cubicBezTo>
                  <a:cubicBezTo>
                    <a:pt x="463474" y="28391"/>
                    <a:pt x="475527" y="27575"/>
                    <a:pt x="487431" y="21312"/>
                  </a:cubicBezTo>
                  <a:cubicBezTo>
                    <a:pt x="488398" y="22127"/>
                    <a:pt x="476345" y="45586"/>
                    <a:pt x="462507" y="41769"/>
                  </a:cubicBezTo>
                  <a:moveTo>
                    <a:pt x="421066" y="130452"/>
                  </a:moveTo>
                  <a:cubicBezTo>
                    <a:pt x="434049" y="133454"/>
                    <a:pt x="442940" y="140384"/>
                    <a:pt x="446771" y="152392"/>
                  </a:cubicBezTo>
                  <a:cubicBezTo>
                    <a:pt x="452798" y="173923"/>
                    <a:pt x="449375" y="194640"/>
                    <a:pt x="446251" y="213873"/>
                  </a:cubicBezTo>
                  <a:cubicBezTo>
                    <a:pt x="442679" y="234997"/>
                    <a:pt x="441191" y="259012"/>
                    <a:pt x="450231" y="277134"/>
                  </a:cubicBezTo>
                  <a:cubicBezTo>
                    <a:pt x="455588" y="287918"/>
                    <a:pt x="461875" y="293218"/>
                    <a:pt x="466115" y="295812"/>
                  </a:cubicBezTo>
                  <a:cubicBezTo>
                    <a:pt x="461317" y="346250"/>
                    <a:pt x="448297" y="372822"/>
                    <a:pt x="480214" y="419331"/>
                  </a:cubicBezTo>
                  <a:cubicBezTo>
                    <a:pt x="481144" y="420703"/>
                    <a:pt x="482111" y="422037"/>
                    <a:pt x="483637" y="424372"/>
                  </a:cubicBezTo>
                  <a:lnTo>
                    <a:pt x="476829" y="455464"/>
                  </a:lnTo>
                  <a:lnTo>
                    <a:pt x="447404" y="455464"/>
                  </a:lnTo>
                  <a:lnTo>
                    <a:pt x="451533" y="439381"/>
                  </a:lnTo>
                  <a:cubicBezTo>
                    <a:pt x="453579" y="431190"/>
                    <a:pt x="442084" y="431190"/>
                    <a:pt x="440038" y="439381"/>
                  </a:cubicBezTo>
                  <a:lnTo>
                    <a:pt x="436058" y="455464"/>
                  </a:lnTo>
                  <a:lnTo>
                    <a:pt x="415003" y="455464"/>
                  </a:lnTo>
                  <a:cubicBezTo>
                    <a:pt x="418983" y="438973"/>
                    <a:pt x="429659" y="426966"/>
                    <a:pt x="438401" y="417034"/>
                  </a:cubicBezTo>
                  <a:cubicBezTo>
                    <a:pt x="439220" y="416070"/>
                    <a:pt x="439629" y="415663"/>
                    <a:pt x="440038" y="415107"/>
                  </a:cubicBezTo>
                  <a:cubicBezTo>
                    <a:pt x="444986" y="409511"/>
                    <a:pt x="443312" y="405434"/>
                    <a:pt x="443312" y="405434"/>
                  </a:cubicBezTo>
                  <a:lnTo>
                    <a:pt x="443312" y="311896"/>
                  </a:lnTo>
                  <a:lnTo>
                    <a:pt x="434012" y="310821"/>
                  </a:lnTo>
                  <a:cubicBezTo>
                    <a:pt x="415003" y="307004"/>
                    <a:pt x="394729" y="293514"/>
                    <a:pt x="380630" y="278505"/>
                  </a:cubicBezTo>
                  <a:cubicBezTo>
                    <a:pt x="368168" y="265423"/>
                    <a:pt x="357789" y="244410"/>
                    <a:pt x="355855" y="225733"/>
                  </a:cubicBezTo>
                  <a:lnTo>
                    <a:pt x="344360" y="225733"/>
                  </a:lnTo>
                  <a:cubicBezTo>
                    <a:pt x="345476" y="238629"/>
                    <a:pt x="350052" y="252156"/>
                    <a:pt x="356562" y="264163"/>
                  </a:cubicBezTo>
                  <a:cubicBezTo>
                    <a:pt x="356748" y="275244"/>
                    <a:pt x="353883" y="287622"/>
                    <a:pt x="347671" y="298110"/>
                  </a:cubicBezTo>
                  <a:cubicBezTo>
                    <a:pt x="342314" y="306819"/>
                    <a:pt x="334651" y="314045"/>
                    <a:pt x="324272" y="318159"/>
                  </a:cubicBezTo>
                  <a:lnTo>
                    <a:pt x="229040" y="349363"/>
                  </a:lnTo>
                  <a:cubicBezTo>
                    <a:pt x="230045" y="345917"/>
                    <a:pt x="230789" y="342062"/>
                    <a:pt x="231086" y="337652"/>
                  </a:cubicBezTo>
                  <a:lnTo>
                    <a:pt x="231086" y="337096"/>
                  </a:lnTo>
                  <a:lnTo>
                    <a:pt x="219591" y="337096"/>
                  </a:lnTo>
                  <a:cubicBezTo>
                    <a:pt x="218475" y="355626"/>
                    <a:pt x="207018" y="362704"/>
                    <a:pt x="198387" y="367374"/>
                  </a:cubicBezTo>
                  <a:cubicBezTo>
                    <a:pt x="194556" y="369412"/>
                    <a:pt x="191245" y="371191"/>
                    <a:pt x="188790" y="373637"/>
                  </a:cubicBezTo>
                  <a:lnTo>
                    <a:pt x="187413" y="376231"/>
                  </a:lnTo>
                  <a:cubicBezTo>
                    <a:pt x="186893" y="378158"/>
                    <a:pt x="185070" y="381975"/>
                    <a:pt x="182652" y="386719"/>
                  </a:cubicBezTo>
                  <a:cubicBezTo>
                    <a:pt x="174989" y="402395"/>
                    <a:pt x="162675" y="427077"/>
                    <a:pt x="169781" y="446422"/>
                  </a:cubicBezTo>
                  <a:lnTo>
                    <a:pt x="170599" y="447904"/>
                  </a:lnTo>
                  <a:cubicBezTo>
                    <a:pt x="176328" y="455390"/>
                    <a:pt x="181796" y="463284"/>
                    <a:pt x="186037" y="471363"/>
                  </a:cubicBezTo>
                  <a:cubicBezTo>
                    <a:pt x="189050" y="477070"/>
                    <a:pt x="191357" y="482963"/>
                    <a:pt x="192770" y="488670"/>
                  </a:cubicBezTo>
                  <a:lnTo>
                    <a:pt x="176291" y="488670"/>
                  </a:lnTo>
                  <a:lnTo>
                    <a:pt x="174579" y="474328"/>
                  </a:lnTo>
                  <a:cubicBezTo>
                    <a:pt x="173612" y="466138"/>
                    <a:pt x="162266" y="466286"/>
                    <a:pt x="163233" y="474328"/>
                  </a:cubicBezTo>
                  <a:lnTo>
                    <a:pt x="164982" y="488670"/>
                  </a:lnTo>
                  <a:lnTo>
                    <a:pt x="134217" y="488670"/>
                  </a:lnTo>
                  <a:lnTo>
                    <a:pt x="138347" y="462617"/>
                  </a:lnTo>
                  <a:cubicBezTo>
                    <a:pt x="139723" y="454167"/>
                    <a:pt x="143815" y="445310"/>
                    <a:pt x="147907" y="436453"/>
                  </a:cubicBezTo>
                  <a:cubicBezTo>
                    <a:pt x="153524" y="424594"/>
                    <a:pt x="159141" y="412438"/>
                    <a:pt x="159811" y="398986"/>
                  </a:cubicBezTo>
                  <a:cubicBezTo>
                    <a:pt x="160629" y="380604"/>
                    <a:pt x="155570" y="364372"/>
                    <a:pt x="152297" y="355886"/>
                  </a:cubicBezTo>
                  <a:lnTo>
                    <a:pt x="139983" y="355886"/>
                  </a:lnTo>
                  <a:cubicBezTo>
                    <a:pt x="140616" y="357220"/>
                    <a:pt x="141769" y="359814"/>
                    <a:pt x="143034" y="363372"/>
                  </a:cubicBezTo>
                  <a:lnTo>
                    <a:pt x="100179" y="363372"/>
                  </a:lnTo>
                  <a:lnTo>
                    <a:pt x="100179" y="319901"/>
                  </a:lnTo>
                  <a:lnTo>
                    <a:pt x="88833" y="319901"/>
                  </a:lnTo>
                  <a:lnTo>
                    <a:pt x="88833" y="340506"/>
                  </a:lnTo>
                  <a:lnTo>
                    <a:pt x="39990" y="358369"/>
                  </a:lnTo>
                  <a:lnTo>
                    <a:pt x="33554" y="360666"/>
                  </a:lnTo>
                  <a:lnTo>
                    <a:pt x="36977" y="366522"/>
                  </a:lnTo>
                  <a:lnTo>
                    <a:pt x="48472" y="386423"/>
                  </a:lnTo>
                  <a:lnTo>
                    <a:pt x="50815" y="388609"/>
                  </a:lnTo>
                  <a:lnTo>
                    <a:pt x="76818" y="402099"/>
                  </a:lnTo>
                  <a:lnTo>
                    <a:pt x="49327" y="436156"/>
                  </a:lnTo>
                  <a:lnTo>
                    <a:pt x="12760" y="365966"/>
                  </a:lnTo>
                  <a:cubicBezTo>
                    <a:pt x="11383" y="362667"/>
                    <a:pt x="11272" y="358999"/>
                    <a:pt x="12350" y="355589"/>
                  </a:cubicBezTo>
                  <a:cubicBezTo>
                    <a:pt x="13429" y="352180"/>
                    <a:pt x="15475" y="349178"/>
                    <a:pt x="18377" y="347547"/>
                  </a:cubicBezTo>
                  <a:lnTo>
                    <a:pt x="59148" y="324385"/>
                  </a:lnTo>
                  <a:lnTo>
                    <a:pt x="63389" y="321939"/>
                  </a:lnTo>
                  <a:lnTo>
                    <a:pt x="61603" y="317418"/>
                  </a:lnTo>
                  <a:cubicBezTo>
                    <a:pt x="58441" y="309228"/>
                    <a:pt x="56804" y="297776"/>
                    <a:pt x="56804" y="286732"/>
                  </a:cubicBezTo>
                  <a:cubicBezTo>
                    <a:pt x="56804" y="280025"/>
                    <a:pt x="57511" y="273613"/>
                    <a:pt x="58925" y="268388"/>
                  </a:cubicBezTo>
                  <a:cubicBezTo>
                    <a:pt x="61938" y="273650"/>
                    <a:pt x="65137" y="278691"/>
                    <a:pt x="68560" y="283434"/>
                  </a:cubicBezTo>
                  <a:lnTo>
                    <a:pt x="82770" y="283434"/>
                  </a:lnTo>
                  <a:cubicBezTo>
                    <a:pt x="66476" y="263274"/>
                    <a:pt x="53903" y="236554"/>
                    <a:pt x="48137" y="205869"/>
                  </a:cubicBezTo>
                  <a:cubicBezTo>
                    <a:pt x="47207" y="200829"/>
                    <a:pt x="46463" y="195751"/>
                    <a:pt x="45942" y="190785"/>
                  </a:cubicBezTo>
                  <a:lnTo>
                    <a:pt x="63352" y="190859"/>
                  </a:lnTo>
                  <a:cubicBezTo>
                    <a:pt x="70196" y="216208"/>
                    <a:pt x="90731" y="229587"/>
                    <a:pt x="129158" y="222212"/>
                  </a:cubicBezTo>
                  <a:lnTo>
                    <a:pt x="129158" y="296146"/>
                  </a:lnTo>
                  <a:cubicBezTo>
                    <a:pt x="129158" y="310043"/>
                    <a:pt x="140467" y="321309"/>
                    <a:pt x="154417" y="321309"/>
                  </a:cubicBezTo>
                  <a:lnTo>
                    <a:pt x="266947" y="321309"/>
                  </a:lnTo>
                  <a:cubicBezTo>
                    <a:pt x="268732" y="321309"/>
                    <a:pt x="270369" y="321161"/>
                    <a:pt x="272006" y="320901"/>
                  </a:cubicBezTo>
                  <a:cubicBezTo>
                    <a:pt x="287593" y="317900"/>
                    <a:pt x="297711" y="305633"/>
                    <a:pt x="300204" y="290364"/>
                  </a:cubicBezTo>
                  <a:cubicBezTo>
                    <a:pt x="300464" y="288474"/>
                    <a:pt x="300464" y="286547"/>
                    <a:pt x="300613" y="284917"/>
                  </a:cubicBezTo>
                  <a:cubicBezTo>
                    <a:pt x="300352" y="275503"/>
                    <a:pt x="297190" y="266757"/>
                    <a:pt x="288969" y="261754"/>
                  </a:cubicBezTo>
                  <a:cubicBezTo>
                    <a:pt x="289639" y="253861"/>
                    <a:pt x="287593" y="242002"/>
                    <a:pt x="281046" y="237369"/>
                  </a:cubicBezTo>
                  <a:lnTo>
                    <a:pt x="270630" y="217468"/>
                  </a:lnTo>
                  <a:lnTo>
                    <a:pt x="270630" y="204534"/>
                  </a:lnTo>
                  <a:lnTo>
                    <a:pt x="270072" y="202348"/>
                  </a:lnTo>
                  <a:cubicBezTo>
                    <a:pt x="268435" y="198531"/>
                    <a:pt x="266947" y="194714"/>
                    <a:pt x="265161" y="190785"/>
                  </a:cubicBezTo>
                  <a:lnTo>
                    <a:pt x="300873" y="190785"/>
                  </a:lnTo>
                  <a:cubicBezTo>
                    <a:pt x="306751" y="190934"/>
                    <a:pt x="312219" y="190526"/>
                    <a:pt x="317018" y="189303"/>
                  </a:cubicBezTo>
                  <a:cubicBezTo>
                    <a:pt x="322896" y="187932"/>
                    <a:pt x="327546" y="185486"/>
                    <a:pt x="331117" y="181780"/>
                  </a:cubicBezTo>
                  <a:cubicBezTo>
                    <a:pt x="334651" y="177963"/>
                    <a:pt x="336585" y="173071"/>
                    <a:pt x="336697" y="166808"/>
                  </a:cubicBezTo>
                  <a:cubicBezTo>
                    <a:pt x="336846" y="164065"/>
                    <a:pt x="336436" y="160952"/>
                    <a:pt x="335618" y="157543"/>
                  </a:cubicBezTo>
                  <a:cubicBezTo>
                    <a:pt x="332493" y="144535"/>
                    <a:pt x="326095" y="131268"/>
                    <a:pt x="318357" y="118779"/>
                  </a:cubicBezTo>
                  <a:lnTo>
                    <a:pt x="371181" y="125598"/>
                  </a:lnTo>
                  <a:lnTo>
                    <a:pt x="371367" y="125820"/>
                  </a:lnTo>
                  <a:cubicBezTo>
                    <a:pt x="361695" y="129934"/>
                    <a:pt x="352321" y="135455"/>
                    <a:pt x="344360" y="141756"/>
                  </a:cubicBezTo>
                  <a:lnTo>
                    <a:pt x="358310" y="147870"/>
                  </a:lnTo>
                  <a:cubicBezTo>
                    <a:pt x="366531" y="140940"/>
                    <a:pt x="376650" y="135344"/>
                    <a:pt x="386917" y="132194"/>
                  </a:cubicBezTo>
                  <a:cubicBezTo>
                    <a:pt x="399230" y="128785"/>
                    <a:pt x="411134" y="128229"/>
                    <a:pt x="421141" y="130415"/>
                  </a:cubicBezTo>
                  <a:moveTo>
                    <a:pt x="403694" y="323088"/>
                  </a:moveTo>
                  <a:cubicBezTo>
                    <a:pt x="401090" y="326349"/>
                    <a:pt x="397258" y="328424"/>
                    <a:pt x="393018" y="328536"/>
                  </a:cubicBezTo>
                  <a:cubicBezTo>
                    <a:pt x="390004" y="328684"/>
                    <a:pt x="387140" y="327720"/>
                    <a:pt x="384685" y="325941"/>
                  </a:cubicBezTo>
                  <a:cubicBezTo>
                    <a:pt x="381820" y="324014"/>
                    <a:pt x="379737" y="321161"/>
                    <a:pt x="378249" y="317640"/>
                  </a:cubicBezTo>
                  <a:lnTo>
                    <a:pt x="375794" y="311785"/>
                  </a:lnTo>
                  <a:lnTo>
                    <a:pt x="370474" y="315194"/>
                  </a:lnTo>
                  <a:lnTo>
                    <a:pt x="336139" y="336615"/>
                  </a:lnTo>
                  <a:lnTo>
                    <a:pt x="341905" y="345472"/>
                  </a:lnTo>
                  <a:lnTo>
                    <a:pt x="356822" y="336207"/>
                  </a:lnTo>
                  <a:lnTo>
                    <a:pt x="360765" y="343285"/>
                  </a:lnTo>
                  <a:cubicBezTo>
                    <a:pt x="360877" y="348881"/>
                    <a:pt x="353920" y="356108"/>
                    <a:pt x="348712" y="361963"/>
                  </a:cubicBezTo>
                  <a:cubicBezTo>
                    <a:pt x="338185" y="373971"/>
                    <a:pt x="325462" y="388424"/>
                    <a:pt x="331489" y="417997"/>
                  </a:cubicBezTo>
                  <a:lnTo>
                    <a:pt x="325314" y="418146"/>
                  </a:lnTo>
                  <a:lnTo>
                    <a:pt x="319585" y="418294"/>
                  </a:lnTo>
                  <a:lnTo>
                    <a:pt x="319734" y="423853"/>
                  </a:lnTo>
                  <a:lnTo>
                    <a:pt x="319734" y="455502"/>
                  </a:lnTo>
                  <a:lnTo>
                    <a:pt x="258986" y="455502"/>
                  </a:lnTo>
                  <a:cubicBezTo>
                    <a:pt x="261888" y="448683"/>
                    <a:pt x="265682" y="441715"/>
                    <a:pt x="270741" y="435341"/>
                  </a:cubicBezTo>
                  <a:cubicBezTo>
                    <a:pt x="276656" y="428115"/>
                    <a:pt x="292503" y="421555"/>
                    <a:pt x="301803" y="416923"/>
                  </a:cubicBezTo>
                  <a:lnTo>
                    <a:pt x="303738" y="415144"/>
                  </a:lnTo>
                  <a:cubicBezTo>
                    <a:pt x="313968" y="400987"/>
                    <a:pt x="320031" y="377936"/>
                    <a:pt x="323714" y="361148"/>
                  </a:cubicBezTo>
                  <a:lnTo>
                    <a:pt x="323974" y="359110"/>
                  </a:lnTo>
                  <a:cubicBezTo>
                    <a:pt x="323230" y="349030"/>
                    <a:pt x="318692" y="340691"/>
                    <a:pt x="311401" y="334280"/>
                  </a:cubicBezTo>
                  <a:lnTo>
                    <a:pt x="328364" y="328721"/>
                  </a:lnTo>
                  <a:cubicBezTo>
                    <a:pt x="341384" y="323792"/>
                    <a:pt x="350796" y="314675"/>
                    <a:pt x="357380" y="303928"/>
                  </a:cubicBezTo>
                  <a:cubicBezTo>
                    <a:pt x="361956" y="296405"/>
                    <a:pt x="364969" y="288030"/>
                    <a:pt x="366606" y="279691"/>
                  </a:cubicBezTo>
                  <a:cubicBezTo>
                    <a:pt x="368466" y="282063"/>
                    <a:pt x="370326" y="284249"/>
                    <a:pt x="372297" y="286325"/>
                  </a:cubicBezTo>
                  <a:cubicBezTo>
                    <a:pt x="382155" y="296701"/>
                    <a:pt x="394766" y="306596"/>
                    <a:pt x="408009" y="313489"/>
                  </a:cubicBezTo>
                  <a:cubicBezTo>
                    <a:pt x="407414" y="317195"/>
                    <a:pt x="405926" y="320531"/>
                    <a:pt x="403806" y="323125"/>
                  </a:cubicBezTo>
                  <a:moveTo>
                    <a:pt x="35600" y="179408"/>
                  </a:moveTo>
                  <a:cubicBezTo>
                    <a:pt x="32178" y="178593"/>
                    <a:pt x="29574" y="177481"/>
                    <a:pt x="28198" y="175999"/>
                  </a:cubicBezTo>
                  <a:cubicBezTo>
                    <a:pt x="25594" y="173960"/>
                    <a:pt x="25184" y="170662"/>
                    <a:pt x="26300" y="166585"/>
                  </a:cubicBezTo>
                  <a:cubicBezTo>
                    <a:pt x="27937" y="160990"/>
                    <a:pt x="31918" y="154467"/>
                    <a:pt x="37237" y="147240"/>
                  </a:cubicBezTo>
                  <a:cubicBezTo>
                    <a:pt x="41218" y="142349"/>
                    <a:pt x="45310" y="136753"/>
                    <a:pt x="51038" y="131972"/>
                  </a:cubicBezTo>
                  <a:lnTo>
                    <a:pt x="90321" y="98841"/>
                  </a:lnTo>
                  <a:lnTo>
                    <a:pt x="69638" y="140014"/>
                  </a:lnTo>
                  <a:lnTo>
                    <a:pt x="63872" y="151206"/>
                  </a:lnTo>
                  <a:lnTo>
                    <a:pt x="75925" y="148056"/>
                  </a:lnTo>
                  <a:cubicBezTo>
                    <a:pt x="84555" y="146166"/>
                    <a:pt x="111637" y="140162"/>
                    <a:pt x="132023" y="140681"/>
                  </a:cubicBezTo>
                  <a:cubicBezTo>
                    <a:pt x="142401" y="141089"/>
                    <a:pt x="150623" y="142719"/>
                    <a:pt x="152408" y="146944"/>
                  </a:cubicBezTo>
                  <a:cubicBezTo>
                    <a:pt x="153227" y="149538"/>
                    <a:pt x="154045" y="151020"/>
                    <a:pt x="154194" y="153763"/>
                  </a:cubicBezTo>
                  <a:cubicBezTo>
                    <a:pt x="154603" y="160582"/>
                    <a:pt x="152259" y="166437"/>
                    <a:pt x="148577" y="170959"/>
                  </a:cubicBezTo>
                  <a:cubicBezTo>
                    <a:pt x="144894" y="175183"/>
                    <a:pt x="139128" y="179408"/>
                    <a:pt x="133399" y="179816"/>
                  </a:cubicBezTo>
                  <a:lnTo>
                    <a:pt x="35563" y="179408"/>
                  </a:lnTo>
                  <a:close/>
                  <a:moveTo>
                    <a:pt x="57325" y="107809"/>
                  </a:moveTo>
                  <a:cubicBezTo>
                    <a:pt x="69080" y="81645"/>
                    <a:pt x="88387" y="63115"/>
                    <a:pt x="112493" y="58594"/>
                  </a:cubicBezTo>
                  <a:cubicBezTo>
                    <a:pt x="136561" y="54110"/>
                    <a:pt x="161336" y="64449"/>
                    <a:pt x="181871" y="84647"/>
                  </a:cubicBezTo>
                  <a:cubicBezTo>
                    <a:pt x="192547" y="95283"/>
                    <a:pt x="202107" y="108624"/>
                    <a:pt x="209771" y="123893"/>
                  </a:cubicBezTo>
                  <a:lnTo>
                    <a:pt x="222344" y="123893"/>
                  </a:lnTo>
                  <a:cubicBezTo>
                    <a:pt x="219294" y="117296"/>
                    <a:pt x="215871" y="111033"/>
                    <a:pt x="212189" y="105067"/>
                  </a:cubicBezTo>
                  <a:lnTo>
                    <a:pt x="284617" y="114443"/>
                  </a:lnTo>
                  <a:lnTo>
                    <a:pt x="287072" y="137531"/>
                  </a:lnTo>
                  <a:cubicBezTo>
                    <a:pt x="285435" y="137271"/>
                    <a:pt x="283501" y="136864"/>
                    <a:pt x="281604" y="136456"/>
                  </a:cubicBezTo>
                  <a:cubicBezTo>
                    <a:pt x="259990" y="131675"/>
                    <a:pt x="234099" y="125820"/>
                    <a:pt x="216169" y="139161"/>
                  </a:cubicBezTo>
                  <a:lnTo>
                    <a:pt x="161039" y="139161"/>
                  </a:lnTo>
                  <a:cubicBezTo>
                    <a:pt x="155831" y="132342"/>
                    <a:pt x="145043" y="129637"/>
                    <a:pt x="132432" y="129341"/>
                  </a:cubicBezTo>
                  <a:cubicBezTo>
                    <a:pt x="116845" y="128933"/>
                    <a:pt x="97947" y="131935"/>
                    <a:pt x="85076" y="134381"/>
                  </a:cubicBezTo>
                  <a:lnTo>
                    <a:pt x="115171" y="72232"/>
                  </a:lnTo>
                  <a:lnTo>
                    <a:pt x="111897" y="72232"/>
                  </a:lnTo>
                  <a:lnTo>
                    <a:pt x="77674" y="94579"/>
                  </a:lnTo>
                  <a:cubicBezTo>
                    <a:pt x="69899" y="100175"/>
                    <a:pt x="62384" y="106216"/>
                    <a:pt x="55354" y="112404"/>
                  </a:cubicBezTo>
                  <a:cubicBezTo>
                    <a:pt x="55986" y="110848"/>
                    <a:pt x="56618" y="109291"/>
                    <a:pt x="57288" y="107809"/>
                  </a:cubicBezTo>
                  <a:moveTo>
                    <a:pt x="268472" y="238592"/>
                  </a:moveTo>
                  <a:cubicBezTo>
                    <a:pt x="263152" y="240779"/>
                    <a:pt x="259432" y="244855"/>
                    <a:pt x="259060" y="245411"/>
                  </a:cubicBezTo>
                  <a:cubicBezTo>
                    <a:pt x="255340" y="242817"/>
                    <a:pt x="245222" y="238852"/>
                    <a:pt x="241800" y="238296"/>
                  </a:cubicBezTo>
                  <a:cubicBezTo>
                    <a:pt x="224985" y="235442"/>
                    <a:pt x="205530" y="241965"/>
                    <a:pt x="207167" y="262014"/>
                  </a:cubicBezTo>
                  <a:cubicBezTo>
                    <a:pt x="207576" y="267202"/>
                    <a:pt x="210329" y="271279"/>
                    <a:pt x="213193" y="275652"/>
                  </a:cubicBezTo>
                  <a:lnTo>
                    <a:pt x="210031" y="278765"/>
                  </a:lnTo>
                  <a:cubicBezTo>
                    <a:pt x="206348" y="283545"/>
                    <a:pt x="204414" y="287918"/>
                    <a:pt x="204153" y="294181"/>
                  </a:cubicBezTo>
                  <a:cubicBezTo>
                    <a:pt x="204302" y="300741"/>
                    <a:pt x="205418" y="305225"/>
                    <a:pt x="208283" y="310006"/>
                  </a:cubicBezTo>
                  <a:lnTo>
                    <a:pt x="158211" y="310006"/>
                  </a:lnTo>
                  <a:cubicBezTo>
                    <a:pt x="148465" y="310006"/>
                    <a:pt x="140541" y="302112"/>
                    <a:pt x="140541" y="292403"/>
                  </a:cubicBezTo>
                  <a:lnTo>
                    <a:pt x="140541" y="208018"/>
                  </a:lnTo>
                  <a:lnTo>
                    <a:pt x="133585" y="209797"/>
                  </a:lnTo>
                  <a:cubicBezTo>
                    <a:pt x="99919" y="217987"/>
                    <a:pt x="81840" y="209389"/>
                    <a:pt x="75144" y="190971"/>
                  </a:cubicBezTo>
                  <a:lnTo>
                    <a:pt x="133697" y="191230"/>
                  </a:lnTo>
                  <a:lnTo>
                    <a:pt x="134106" y="191230"/>
                  </a:lnTo>
                  <a:cubicBezTo>
                    <a:pt x="135333" y="191230"/>
                    <a:pt x="136710" y="190971"/>
                    <a:pt x="138347" y="190563"/>
                  </a:cubicBezTo>
                  <a:cubicBezTo>
                    <a:pt x="144633" y="188932"/>
                    <a:pt x="151887" y="184559"/>
                    <a:pt x="157244" y="178148"/>
                  </a:cubicBezTo>
                  <a:cubicBezTo>
                    <a:pt x="162601" y="171737"/>
                    <a:pt x="166284" y="162880"/>
                    <a:pt x="165577" y="153059"/>
                  </a:cubicBezTo>
                  <a:cubicBezTo>
                    <a:pt x="165577" y="152095"/>
                    <a:pt x="165428" y="151280"/>
                    <a:pt x="165317" y="150613"/>
                  </a:cubicBezTo>
                  <a:lnTo>
                    <a:pt x="172161" y="150761"/>
                  </a:lnTo>
                  <a:lnTo>
                    <a:pt x="217731" y="150761"/>
                  </a:lnTo>
                  <a:cubicBezTo>
                    <a:pt x="239233" y="154838"/>
                    <a:pt x="246747" y="174479"/>
                    <a:pt x="254001" y="193565"/>
                  </a:cubicBezTo>
                  <a:cubicBezTo>
                    <a:pt x="255787" y="197790"/>
                    <a:pt x="257312" y="202014"/>
                    <a:pt x="259098" y="205832"/>
                  </a:cubicBezTo>
                  <a:lnTo>
                    <a:pt x="259098" y="218802"/>
                  </a:lnTo>
                  <a:lnTo>
                    <a:pt x="259618" y="221248"/>
                  </a:lnTo>
                  <a:cubicBezTo>
                    <a:pt x="262520" y="227252"/>
                    <a:pt x="266054" y="232848"/>
                    <a:pt x="269067" y="238555"/>
                  </a:cubicBezTo>
                  <a:lnTo>
                    <a:pt x="268509" y="238555"/>
                  </a:lnTo>
                  <a:close/>
                  <a:moveTo>
                    <a:pt x="278888" y="268425"/>
                  </a:moveTo>
                  <a:cubicBezTo>
                    <a:pt x="280376" y="270463"/>
                    <a:pt x="282459" y="271019"/>
                    <a:pt x="283129" y="271427"/>
                  </a:cubicBezTo>
                  <a:cubicBezTo>
                    <a:pt x="287072" y="274540"/>
                    <a:pt x="289416" y="280025"/>
                    <a:pt x="288709" y="287659"/>
                  </a:cubicBezTo>
                  <a:cubicBezTo>
                    <a:pt x="287481" y="299110"/>
                    <a:pt x="278851" y="309895"/>
                    <a:pt x="266686" y="309895"/>
                  </a:cubicBezTo>
                  <a:lnTo>
                    <a:pt x="228929" y="309895"/>
                  </a:lnTo>
                  <a:cubicBezTo>
                    <a:pt x="221786" y="309895"/>
                    <a:pt x="215797" y="304150"/>
                    <a:pt x="215797" y="297072"/>
                  </a:cubicBezTo>
                  <a:lnTo>
                    <a:pt x="215797" y="294478"/>
                  </a:lnTo>
                  <a:cubicBezTo>
                    <a:pt x="215797" y="287251"/>
                    <a:pt x="221823" y="281952"/>
                    <a:pt x="228929" y="281544"/>
                  </a:cubicBezTo>
                  <a:lnTo>
                    <a:pt x="233281" y="281285"/>
                  </a:lnTo>
                  <a:lnTo>
                    <a:pt x="234099" y="278023"/>
                  </a:lnTo>
                  <a:cubicBezTo>
                    <a:pt x="231905" y="276652"/>
                    <a:pt x="222865" y="272724"/>
                    <a:pt x="219852" y="262903"/>
                  </a:cubicBezTo>
                  <a:cubicBezTo>
                    <a:pt x="217136" y="253082"/>
                    <a:pt x="226697" y="246263"/>
                    <a:pt x="237782" y="247227"/>
                  </a:cubicBezTo>
                  <a:cubicBezTo>
                    <a:pt x="248458" y="247931"/>
                    <a:pt x="259395" y="253898"/>
                    <a:pt x="261292" y="264274"/>
                  </a:cubicBezTo>
                  <a:lnTo>
                    <a:pt x="264715" y="264274"/>
                  </a:lnTo>
                  <a:cubicBezTo>
                    <a:pt x="263636" y="260457"/>
                    <a:pt x="264045" y="252823"/>
                    <a:pt x="267616" y="249673"/>
                  </a:cubicBezTo>
                  <a:cubicBezTo>
                    <a:pt x="272936" y="246819"/>
                    <a:pt x="277177" y="250636"/>
                    <a:pt x="276656" y="256492"/>
                  </a:cubicBezTo>
                  <a:cubicBezTo>
                    <a:pt x="275986" y="262903"/>
                    <a:pt x="277177" y="266461"/>
                    <a:pt x="278851" y="268499"/>
                  </a:cubicBezTo>
                  <a:moveTo>
                    <a:pt x="308611" y="124745"/>
                  </a:moveTo>
                  <a:cubicBezTo>
                    <a:pt x="315865" y="136197"/>
                    <a:pt x="321631" y="148352"/>
                    <a:pt x="324495" y="160026"/>
                  </a:cubicBezTo>
                  <a:cubicBezTo>
                    <a:pt x="325016" y="162620"/>
                    <a:pt x="325314" y="164807"/>
                    <a:pt x="325314" y="166845"/>
                  </a:cubicBezTo>
                  <a:cubicBezTo>
                    <a:pt x="325202" y="169847"/>
                    <a:pt x="324384" y="172293"/>
                    <a:pt x="322858" y="174072"/>
                  </a:cubicBezTo>
                  <a:cubicBezTo>
                    <a:pt x="320812" y="175962"/>
                    <a:pt x="317948" y="177333"/>
                    <a:pt x="314228" y="178296"/>
                  </a:cubicBezTo>
                  <a:cubicBezTo>
                    <a:pt x="310508" y="179260"/>
                    <a:pt x="306156" y="179519"/>
                    <a:pt x="301096" y="179371"/>
                  </a:cubicBezTo>
                  <a:lnTo>
                    <a:pt x="260734" y="179371"/>
                  </a:lnTo>
                  <a:cubicBezTo>
                    <a:pt x="254596" y="164770"/>
                    <a:pt x="247342" y="151020"/>
                    <a:pt x="232797" y="143794"/>
                  </a:cubicBezTo>
                  <a:cubicBezTo>
                    <a:pt x="246078" y="140125"/>
                    <a:pt x="263859" y="144053"/>
                    <a:pt x="279186" y="147463"/>
                  </a:cubicBezTo>
                  <a:cubicBezTo>
                    <a:pt x="284394" y="148575"/>
                    <a:pt x="289453" y="149798"/>
                    <a:pt x="293694" y="150316"/>
                  </a:cubicBezTo>
                  <a:lnTo>
                    <a:pt x="301766" y="151688"/>
                  </a:lnTo>
                  <a:lnTo>
                    <a:pt x="300129" y="143646"/>
                  </a:lnTo>
                  <a:lnTo>
                    <a:pt x="292057" y="98804"/>
                  </a:lnTo>
                  <a:lnTo>
                    <a:pt x="308648" y="124708"/>
                  </a:lnTo>
                  <a:close/>
                  <a:moveTo>
                    <a:pt x="502609" y="1226"/>
                  </a:moveTo>
                  <a:cubicBezTo>
                    <a:pt x="486985" y="16494"/>
                    <a:pt x="461428" y="16902"/>
                    <a:pt x="455662" y="15827"/>
                  </a:cubicBezTo>
                  <a:cubicBezTo>
                    <a:pt x="453467" y="15309"/>
                    <a:pt x="436653" y="11047"/>
                    <a:pt x="418425" y="14456"/>
                  </a:cubicBezTo>
                  <a:cubicBezTo>
                    <a:pt x="407228" y="16643"/>
                    <a:pt x="398598" y="23869"/>
                    <a:pt x="393538" y="33690"/>
                  </a:cubicBezTo>
                  <a:cubicBezTo>
                    <a:pt x="391492" y="37767"/>
                    <a:pt x="390414" y="41473"/>
                    <a:pt x="389446" y="45809"/>
                  </a:cubicBezTo>
                  <a:cubicBezTo>
                    <a:pt x="386284" y="65042"/>
                    <a:pt x="388479" y="84387"/>
                    <a:pt x="385206" y="103621"/>
                  </a:cubicBezTo>
                  <a:cubicBezTo>
                    <a:pt x="384648" y="106475"/>
                    <a:pt x="383978" y="109069"/>
                    <a:pt x="382750" y="111812"/>
                  </a:cubicBezTo>
                  <a:cubicBezTo>
                    <a:pt x="381634" y="113850"/>
                    <a:pt x="381374" y="114554"/>
                    <a:pt x="379328" y="114962"/>
                  </a:cubicBezTo>
                  <a:cubicBezTo>
                    <a:pt x="378212" y="115073"/>
                    <a:pt x="377096" y="115147"/>
                    <a:pt x="375980" y="115221"/>
                  </a:cubicBezTo>
                  <a:lnTo>
                    <a:pt x="308834" y="106327"/>
                  </a:lnTo>
                  <a:lnTo>
                    <a:pt x="283092" y="72269"/>
                  </a:lnTo>
                  <a:lnTo>
                    <a:pt x="280078" y="72269"/>
                  </a:lnTo>
                  <a:lnTo>
                    <a:pt x="283352" y="102917"/>
                  </a:lnTo>
                  <a:lnTo>
                    <a:pt x="203447" y="92318"/>
                  </a:lnTo>
                  <a:cubicBezTo>
                    <a:pt x="199131" y="86648"/>
                    <a:pt x="194556" y="81386"/>
                    <a:pt x="189794" y="76642"/>
                  </a:cubicBezTo>
                  <a:cubicBezTo>
                    <a:pt x="166805" y="53887"/>
                    <a:pt x="138495" y="42288"/>
                    <a:pt x="110409" y="47476"/>
                  </a:cubicBezTo>
                  <a:cubicBezTo>
                    <a:pt x="82509" y="52813"/>
                    <a:pt x="60190" y="73640"/>
                    <a:pt x="46909" y="103251"/>
                  </a:cubicBezTo>
                  <a:cubicBezTo>
                    <a:pt x="43338" y="111219"/>
                    <a:pt x="40474" y="119853"/>
                    <a:pt x="38279" y="128970"/>
                  </a:cubicBezTo>
                  <a:cubicBezTo>
                    <a:pt x="34670" y="132787"/>
                    <a:pt x="31322" y="136604"/>
                    <a:pt x="28309" y="140347"/>
                  </a:cubicBezTo>
                  <a:cubicBezTo>
                    <a:pt x="21874" y="148686"/>
                    <a:pt x="17224" y="156691"/>
                    <a:pt x="15289" y="163510"/>
                  </a:cubicBezTo>
                  <a:cubicBezTo>
                    <a:pt x="14620" y="165955"/>
                    <a:pt x="14322" y="168142"/>
                    <a:pt x="14210" y="170180"/>
                  </a:cubicBezTo>
                  <a:lnTo>
                    <a:pt x="14210" y="171663"/>
                  </a:lnTo>
                  <a:cubicBezTo>
                    <a:pt x="14508" y="176555"/>
                    <a:pt x="16405" y="181076"/>
                    <a:pt x="20497" y="184633"/>
                  </a:cubicBezTo>
                  <a:cubicBezTo>
                    <a:pt x="23659" y="187487"/>
                    <a:pt x="28012" y="189414"/>
                    <a:pt x="33629" y="190748"/>
                  </a:cubicBezTo>
                  <a:lnTo>
                    <a:pt x="34336" y="190822"/>
                  </a:lnTo>
                  <a:cubicBezTo>
                    <a:pt x="34894" y="196530"/>
                    <a:pt x="35675" y="202274"/>
                    <a:pt x="36791" y="208055"/>
                  </a:cubicBezTo>
                  <a:cubicBezTo>
                    <a:pt x="39990" y="225140"/>
                    <a:pt x="45235" y="241038"/>
                    <a:pt x="51968" y="255417"/>
                  </a:cubicBezTo>
                  <a:cubicBezTo>
                    <a:pt x="47616" y="263237"/>
                    <a:pt x="45272" y="276133"/>
                    <a:pt x="45272" y="286844"/>
                  </a:cubicBezTo>
                  <a:cubicBezTo>
                    <a:pt x="45124" y="297220"/>
                    <a:pt x="46649" y="308116"/>
                    <a:pt x="49253" y="316973"/>
                  </a:cubicBezTo>
                  <a:lnTo>
                    <a:pt x="12574" y="337838"/>
                  </a:lnTo>
                  <a:cubicBezTo>
                    <a:pt x="7105" y="340988"/>
                    <a:pt x="3162" y="346287"/>
                    <a:pt x="1376" y="352291"/>
                  </a:cubicBezTo>
                  <a:cubicBezTo>
                    <a:pt x="-521" y="358294"/>
                    <a:pt x="-409" y="364965"/>
                    <a:pt x="2195" y="370821"/>
                  </a:cubicBezTo>
                  <a:lnTo>
                    <a:pt x="2344" y="371080"/>
                  </a:lnTo>
                  <a:lnTo>
                    <a:pt x="43003" y="449053"/>
                  </a:lnTo>
                  <a:lnTo>
                    <a:pt x="46388" y="455464"/>
                  </a:lnTo>
                  <a:lnTo>
                    <a:pt x="0" y="455464"/>
                  </a:lnTo>
                  <a:lnTo>
                    <a:pt x="0" y="466768"/>
                  </a:lnTo>
                  <a:lnTo>
                    <a:pt x="114539" y="466768"/>
                  </a:lnTo>
                  <a:lnTo>
                    <a:pt x="114539" y="455464"/>
                  </a:lnTo>
                  <a:lnTo>
                    <a:pt x="48174" y="455464"/>
                  </a:lnTo>
                  <a:lnTo>
                    <a:pt x="52564" y="450017"/>
                  </a:lnTo>
                  <a:lnTo>
                    <a:pt x="89912" y="403915"/>
                  </a:lnTo>
                  <a:lnTo>
                    <a:pt x="94302" y="398615"/>
                  </a:lnTo>
                  <a:lnTo>
                    <a:pt x="88164" y="395354"/>
                  </a:lnTo>
                  <a:lnTo>
                    <a:pt x="57362" y="379270"/>
                  </a:lnTo>
                  <a:lnTo>
                    <a:pt x="50108" y="366744"/>
                  </a:lnTo>
                  <a:lnTo>
                    <a:pt x="88722" y="352624"/>
                  </a:lnTo>
                  <a:lnTo>
                    <a:pt x="88722" y="374934"/>
                  </a:lnTo>
                  <a:lnTo>
                    <a:pt x="146196" y="374934"/>
                  </a:lnTo>
                  <a:cubicBezTo>
                    <a:pt x="147684" y="381716"/>
                    <a:pt x="148688" y="389832"/>
                    <a:pt x="148242" y="398504"/>
                  </a:cubicBezTo>
                  <a:cubicBezTo>
                    <a:pt x="147833" y="409807"/>
                    <a:pt x="142662" y="420851"/>
                    <a:pt x="137565" y="431746"/>
                  </a:cubicBezTo>
                  <a:cubicBezTo>
                    <a:pt x="133064" y="441271"/>
                    <a:pt x="128675" y="450832"/>
                    <a:pt x="127038" y="460912"/>
                  </a:cubicBezTo>
                  <a:lnTo>
                    <a:pt x="121830" y="493636"/>
                  </a:lnTo>
                  <a:lnTo>
                    <a:pt x="120900" y="500195"/>
                  </a:lnTo>
                  <a:lnTo>
                    <a:pt x="205604" y="500195"/>
                  </a:lnTo>
                  <a:lnTo>
                    <a:pt x="205083" y="493932"/>
                  </a:lnTo>
                  <a:cubicBezTo>
                    <a:pt x="204116" y="484371"/>
                    <a:pt x="200843" y="475106"/>
                    <a:pt x="196193" y="466101"/>
                  </a:cubicBezTo>
                  <a:cubicBezTo>
                    <a:pt x="191654" y="457651"/>
                    <a:pt x="186037" y="449609"/>
                    <a:pt x="180159" y="441827"/>
                  </a:cubicBezTo>
                  <a:cubicBezTo>
                    <a:pt x="175361" y="426966"/>
                    <a:pt x="186037" y="405545"/>
                    <a:pt x="192882" y="391796"/>
                  </a:cubicBezTo>
                  <a:cubicBezTo>
                    <a:pt x="195077" y="387312"/>
                    <a:pt x="196862" y="383606"/>
                    <a:pt x="197941" y="380752"/>
                  </a:cubicBezTo>
                  <a:cubicBezTo>
                    <a:pt x="199280" y="379641"/>
                    <a:pt x="201363" y="378566"/>
                    <a:pt x="203819" y="377343"/>
                  </a:cubicBezTo>
                  <a:cubicBezTo>
                    <a:pt x="209547" y="374267"/>
                    <a:pt x="216243" y="370339"/>
                    <a:pt x="221563" y="363779"/>
                  </a:cubicBezTo>
                  <a:lnTo>
                    <a:pt x="297897" y="338690"/>
                  </a:lnTo>
                  <a:cubicBezTo>
                    <a:pt x="299088" y="339357"/>
                    <a:pt x="300278" y="340061"/>
                    <a:pt x="301357" y="340839"/>
                  </a:cubicBezTo>
                  <a:cubicBezTo>
                    <a:pt x="307681" y="345324"/>
                    <a:pt x="311624" y="351327"/>
                    <a:pt x="312442" y="358813"/>
                  </a:cubicBezTo>
                  <a:cubicBezTo>
                    <a:pt x="309987" y="374786"/>
                    <a:pt x="304668" y="393316"/>
                    <a:pt x="295182" y="407472"/>
                  </a:cubicBezTo>
                  <a:cubicBezTo>
                    <a:pt x="285063" y="412920"/>
                    <a:pt x="268249" y="420147"/>
                    <a:pt x="261813" y="428077"/>
                  </a:cubicBezTo>
                  <a:cubicBezTo>
                    <a:pt x="254894" y="436712"/>
                    <a:pt x="250281" y="446311"/>
                    <a:pt x="247119" y="455464"/>
                  </a:cubicBezTo>
                  <a:lnTo>
                    <a:pt x="215165" y="455464"/>
                  </a:lnTo>
                  <a:lnTo>
                    <a:pt x="215165" y="466768"/>
                  </a:lnTo>
                  <a:lnTo>
                    <a:pt x="331191" y="466768"/>
                  </a:lnTo>
                  <a:lnTo>
                    <a:pt x="331191" y="461172"/>
                  </a:lnTo>
                  <a:lnTo>
                    <a:pt x="331080" y="429412"/>
                  </a:lnTo>
                  <a:lnTo>
                    <a:pt x="338743" y="429263"/>
                  </a:lnTo>
                  <a:lnTo>
                    <a:pt x="346257" y="429115"/>
                  </a:lnTo>
                  <a:lnTo>
                    <a:pt x="344211" y="422000"/>
                  </a:lnTo>
                  <a:cubicBezTo>
                    <a:pt x="336139" y="393390"/>
                    <a:pt x="347782" y="380160"/>
                    <a:pt x="357231" y="369375"/>
                  </a:cubicBezTo>
                  <a:cubicBezTo>
                    <a:pt x="364076" y="361593"/>
                    <a:pt x="372558" y="352735"/>
                    <a:pt x="372148" y="342952"/>
                  </a:cubicBezTo>
                  <a:lnTo>
                    <a:pt x="365862" y="330500"/>
                  </a:lnTo>
                  <a:lnTo>
                    <a:pt x="371330" y="327127"/>
                  </a:lnTo>
                  <a:cubicBezTo>
                    <a:pt x="373376" y="329981"/>
                    <a:pt x="375720" y="332575"/>
                    <a:pt x="378584" y="334502"/>
                  </a:cubicBezTo>
                  <a:cubicBezTo>
                    <a:pt x="382974" y="337615"/>
                    <a:pt x="388033" y="339394"/>
                    <a:pt x="393501" y="339135"/>
                  </a:cubicBezTo>
                  <a:cubicBezTo>
                    <a:pt x="400904" y="338875"/>
                    <a:pt x="407451" y="335318"/>
                    <a:pt x="412101" y="329722"/>
                  </a:cubicBezTo>
                  <a:cubicBezTo>
                    <a:pt x="414556" y="326571"/>
                    <a:pt x="416491" y="322903"/>
                    <a:pt x="417718" y="318937"/>
                  </a:cubicBezTo>
                  <a:cubicBezTo>
                    <a:pt x="417830" y="318567"/>
                    <a:pt x="417718" y="318159"/>
                    <a:pt x="417569" y="317751"/>
                  </a:cubicBezTo>
                  <a:cubicBezTo>
                    <a:pt x="420657" y="318974"/>
                    <a:pt x="423782" y="320012"/>
                    <a:pt x="426869" y="320827"/>
                  </a:cubicBezTo>
                  <a:cubicBezTo>
                    <a:pt x="430292" y="321643"/>
                    <a:pt x="432077" y="322050"/>
                    <a:pt x="432077" y="322050"/>
                  </a:cubicBezTo>
                  <a:lnTo>
                    <a:pt x="432077" y="402766"/>
                  </a:lnTo>
                  <a:cubicBezTo>
                    <a:pt x="432077" y="402766"/>
                    <a:pt x="432338" y="406694"/>
                    <a:pt x="431110" y="407954"/>
                  </a:cubicBezTo>
                  <a:cubicBezTo>
                    <a:pt x="429473" y="409844"/>
                    <a:pt x="430180" y="409177"/>
                    <a:pt x="429883" y="409437"/>
                  </a:cubicBezTo>
                  <a:cubicBezTo>
                    <a:pt x="418946" y="421851"/>
                    <a:pt x="405405" y="436972"/>
                    <a:pt x="402503" y="460430"/>
                  </a:cubicBezTo>
                  <a:lnTo>
                    <a:pt x="401685" y="466694"/>
                  </a:lnTo>
                  <a:lnTo>
                    <a:pt x="485980" y="466694"/>
                  </a:lnTo>
                  <a:lnTo>
                    <a:pt x="486947" y="462320"/>
                  </a:lnTo>
                  <a:lnTo>
                    <a:pt x="495280" y="424297"/>
                  </a:lnTo>
                  <a:lnTo>
                    <a:pt x="495838" y="421963"/>
                  </a:lnTo>
                  <a:lnTo>
                    <a:pt x="494462" y="419924"/>
                  </a:lnTo>
                  <a:cubicBezTo>
                    <a:pt x="493383" y="418294"/>
                    <a:pt x="491449" y="415551"/>
                    <a:pt x="489700" y="412846"/>
                  </a:cubicBezTo>
                  <a:cubicBezTo>
                    <a:pt x="458489" y="367337"/>
                    <a:pt x="474076" y="341840"/>
                    <a:pt x="477796" y="292884"/>
                  </a:cubicBezTo>
                  <a:lnTo>
                    <a:pt x="478205" y="288400"/>
                  </a:lnTo>
                  <a:lnTo>
                    <a:pt x="473853" y="287029"/>
                  </a:lnTo>
                  <a:cubicBezTo>
                    <a:pt x="473853" y="287029"/>
                    <a:pt x="467008" y="285139"/>
                    <a:pt x="460573" y="272020"/>
                  </a:cubicBezTo>
                  <a:cubicBezTo>
                    <a:pt x="453058" y="257159"/>
                    <a:pt x="454397" y="234812"/>
                    <a:pt x="457559" y="215578"/>
                  </a:cubicBezTo>
                  <a:cubicBezTo>
                    <a:pt x="460982" y="195270"/>
                    <a:pt x="464553" y="173182"/>
                    <a:pt x="457857" y="149205"/>
                  </a:cubicBezTo>
                  <a:cubicBezTo>
                    <a:pt x="453170" y="133677"/>
                    <a:pt x="441005" y="123596"/>
                    <a:pt x="424972" y="119668"/>
                  </a:cubicBezTo>
                  <a:cubicBezTo>
                    <a:pt x="425530" y="115851"/>
                    <a:pt x="425828" y="112034"/>
                    <a:pt x="425419" y="108291"/>
                  </a:cubicBezTo>
                  <a:cubicBezTo>
                    <a:pt x="423373" y="96024"/>
                    <a:pt x="419950" y="84017"/>
                    <a:pt x="419690" y="71491"/>
                  </a:cubicBezTo>
                  <a:cubicBezTo>
                    <a:pt x="418983" y="67118"/>
                    <a:pt x="420508" y="54184"/>
                    <a:pt x="425567" y="57334"/>
                  </a:cubicBezTo>
                  <a:cubicBezTo>
                    <a:pt x="439108" y="66747"/>
                    <a:pt x="443237" y="71935"/>
                    <a:pt x="465929" y="69860"/>
                  </a:cubicBezTo>
                  <a:cubicBezTo>
                    <a:pt x="490444" y="63041"/>
                    <a:pt x="491932" y="46550"/>
                    <a:pt x="493457" y="34024"/>
                  </a:cubicBezTo>
                  <a:cubicBezTo>
                    <a:pt x="497438" y="32096"/>
                    <a:pt x="503725" y="14790"/>
                    <a:pt x="504952" y="2671"/>
                  </a:cubicBezTo>
                  <a:cubicBezTo>
                    <a:pt x="505101" y="781"/>
                    <a:pt x="505361" y="-1405"/>
                    <a:pt x="502757" y="1189"/>
                  </a:cubicBezTo>
                  <a:moveTo>
                    <a:pt x="253592" y="284509"/>
                  </a:moveTo>
                  <a:cubicBezTo>
                    <a:pt x="246487" y="284249"/>
                    <a:pt x="239493" y="289697"/>
                    <a:pt x="236331" y="298406"/>
                  </a:cubicBezTo>
                  <a:cubicBezTo>
                    <a:pt x="235922" y="299370"/>
                    <a:pt x="237001" y="299926"/>
                    <a:pt x="237671" y="299073"/>
                  </a:cubicBezTo>
                  <a:cubicBezTo>
                    <a:pt x="239047" y="297702"/>
                    <a:pt x="242060" y="296071"/>
                    <a:pt x="243288" y="296071"/>
                  </a:cubicBezTo>
                  <a:lnTo>
                    <a:pt x="273643" y="296071"/>
                  </a:lnTo>
                  <a:cubicBezTo>
                    <a:pt x="277326" y="296071"/>
                    <a:pt x="278181" y="296331"/>
                    <a:pt x="277065" y="299333"/>
                  </a:cubicBezTo>
                  <a:cubicBezTo>
                    <a:pt x="276805" y="299740"/>
                    <a:pt x="277065" y="300296"/>
                    <a:pt x="277214" y="300296"/>
                  </a:cubicBezTo>
                  <a:cubicBezTo>
                    <a:pt x="280078" y="301260"/>
                    <a:pt x="285993" y="283545"/>
                    <a:pt x="272676" y="284472"/>
                  </a:cubicBezTo>
                  <a:lnTo>
                    <a:pt x="253555" y="284472"/>
                  </a:lnTo>
                  <a:close/>
                  <a:moveTo>
                    <a:pt x="191171" y="207203"/>
                  </a:moveTo>
                  <a:cubicBezTo>
                    <a:pt x="187748" y="203941"/>
                    <a:pt x="179006" y="196307"/>
                    <a:pt x="173649" y="195344"/>
                  </a:cubicBezTo>
                  <a:cubicBezTo>
                    <a:pt x="165317" y="193157"/>
                    <a:pt x="164870" y="206128"/>
                    <a:pt x="167363" y="213725"/>
                  </a:cubicBezTo>
                  <a:cubicBezTo>
                    <a:pt x="169148" y="208833"/>
                    <a:pt x="172161" y="204609"/>
                    <a:pt x="179267" y="208685"/>
                  </a:cubicBezTo>
                  <a:cubicBezTo>
                    <a:pt x="182838" y="210872"/>
                    <a:pt x="185963" y="213318"/>
                    <a:pt x="188827" y="215504"/>
                  </a:cubicBezTo>
                  <a:cubicBezTo>
                    <a:pt x="188418" y="217023"/>
                    <a:pt x="187339" y="218246"/>
                    <a:pt x="185814" y="219062"/>
                  </a:cubicBezTo>
                  <a:cubicBezTo>
                    <a:pt x="182912" y="220433"/>
                    <a:pt x="179378" y="219210"/>
                    <a:pt x="177890" y="216171"/>
                  </a:cubicBezTo>
                  <a:cubicBezTo>
                    <a:pt x="177183" y="214541"/>
                    <a:pt x="177332" y="212650"/>
                    <a:pt x="177890" y="211279"/>
                  </a:cubicBezTo>
                  <a:cubicBezTo>
                    <a:pt x="175137" y="212095"/>
                    <a:pt x="172943" y="213466"/>
                    <a:pt x="171752" y="215356"/>
                  </a:cubicBezTo>
                  <a:cubicBezTo>
                    <a:pt x="169297" y="219432"/>
                    <a:pt x="173240" y="224213"/>
                    <a:pt x="180494" y="226140"/>
                  </a:cubicBezTo>
                  <a:cubicBezTo>
                    <a:pt x="187748" y="228030"/>
                    <a:pt x="195560" y="226251"/>
                    <a:pt x="198164" y="222175"/>
                  </a:cubicBezTo>
                  <a:cubicBezTo>
                    <a:pt x="198313" y="222027"/>
                    <a:pt x="198313" y="221915"/>
                    <a:pt x="198425" y="221767"/>
                  </a:cubicBezTo>
                  <a:cubicBezTo>
                    <a:pt x="200768" y="222842"/>
                    <a:pt x="202963" y="222842"/>
                    <a:pt x="204711" y="220952"/>
                  </a:cubicBezTo>
                  <a:cubicBezTo>
                    <a:pt x="205009" y="220804"/>
                    <a:pt x="196937" y="212502"/>
                    <a:pt x="191171" y="207166"/>
                  </a:cubicBezTo>
                  <a:moveTo>
                    <a:pt x="242916" y="273058"/>
                  </a:moveTo>
                  <a:cubicBezTo>
                    <a:pt x="245929" y="273206"/>
                    <a:pt x="251806" y="271019"/>
                    <a:pt x="251806" y="266794"/>
                  </a:cubicBezTo>
                  <a:cubicBezTo>
                    <a:pt x="253034" y="266943"/>
                    <a:pt x="254410" y="267091"/>
                    <a:pt x="254931" y="265720"/>
                  </a:cubicBezTo>
                  <a:cubicBezTo>
                    <a:pt x="253852" y="260420"/>
                    <a:pt x="239754" y="249488"/>
                    <a:pt x="232649" y="255899"/>
                  </a:cubicBezTo>
                  <a:cubicBezTo>
                    <a:pt x="229487" y="259049"/>
                    <a:pt x="230603" y="263126"/>
                    <a:pt x="233207" y="267202"/>
                  </a:cubicBezTo>
                  <a:cubicBezTo>
                    <a:pt x="232649" y="263793"/>
                    <a:pt x="232500" y="259160"/>
                    <a:pt x="240460" y="262421"/>
                  </a:cubicBezTo>
                  <a:cubicBezTo>
                    <a:pt x="234992" y="264460"/>
                    <a:pt x="235811" y="272798"/>
                    <a:pt x="242916" y="273058"/>
                  </a:cubicBezTo>
                </a:path>
              </a:pathLst>
            </a:custGeom>
            <a:grpFill/>
            <a:ln w="0" cap="flat">
              <a:noFill/>
              <a:prstDash val="solid"/>
              <a:miter/>
            </a:ln>
          </p:spPr>
          <p:txBody>
            <a:bodyPr rtlCol="0" anchor="ctr"/>
            <a:lstStyle/>
            <a:p>
              <a:endParaRPr lang="en-BG"/>
            </a:p>
          </p:txBody>
        </p:sp>
        <p:sp>
          <p:nvSpPr>
            <p:cNvPr id="83" name="Freeform 82">
              <a:extLst>
                <a:ext uri="{FF2B5EF4-FFF2-40B4-BE49-F238E27FC236}">
                  <a16:creationId xmlns:a16="http://schemas.microsoft.com/office/drawing/2014/main" id="{0E6A343B-1D2E-4940-B8CD-BF00FFA384F0}"/>
                </a:ext>
              </a:extLst>
            </p:cNvPr>
            <p:cNvSpPr/>
            <p:nvPr/>
          </p:nvSpPr>
          <p:spPr>
            <a:xfrm>
              <a:off x="1777101" y="2044081"/>
              <a:ext cx="11234" cy="541476"/>
            </a:xfrm>
            <a:custGeom>
              <a:avLst/>
              <a:gdLst>
                <a:gd name="connsiteX0" fmla="*/ 0 w 11234"/>
                <a:gd name="connsiteY0" fmla="*/ 0 h 541476"/>
                <a:gd name="connsiteX1" fmla="*/ 11234 w 11234"/>
                <a:gd name="connsiteY1" fmla="*/ 0 h 541476"/>
                <a:gd name="connsiteX2" fmla="*/ 11234 w 11234"/>
                <a:gd name="connsiteY2" fmla="*/ 541477 h 541476"/>
                <a:gd name="connsiteX3" fmla="*/ 0 w 11234"/>
                <a:gd name="connsiteY3" fmla="*/ 541477 h 541476"/>
              </a:gdLst>
              <a:ahLst/>
              <a:cxnLst>
                <a:cxn ang="0">
                  <a:pos x="connsiteX0" y="connsiteY0"/>
                </a:cxn>
                <a:cxn ang="0">
                  <a:pos x="connsiteX1" y="connsiteY1"/>
                </a:cxn>
                <a:cxn ang="0">
                  <a:pos x="connsiteX2" y="connsiteY2"/>
                </a:cxn>
                <a:cxn ang="0">
                  <a:pos x="connsiteX3" y="connsiteY3"/>
                </a:cxn>
              </a:cxnLst>
              <a:rect l="l" t="t" r="r" b="b"/>
              <a:pathLst>
                <a:path w="11234" h="541476">
                  <a:moveTo>
                    <a:pt x="0" y="0"/>
                  </a:moveTo>
                  <a:lnTo>
                    <a:pt x="11234" y="0"/>
                  </a:lnTo>
                  <a:lnTo>
                    <a:pt x="11234" y="541477"/>
                  </a:lnTo>
                  <a:lnTo>
                    <a:pt x="0" y="541477"/>
                  </a:lnTo>
                  <a:close/>
                </a:path>
              </a:pathLst>
            </a:custGeom>
            <a:grpFill/>
            <a:ln w="0" cap="flat">
              <a:noFill/>
              <a:prstDash val="solid"/>
              <a:miter/>
            </a:ln>
          </p:spPr>
          <p:txBody>
            <a:bodyPr rtlCol="0" anchor="ctr"/>
            <a:lstStyle/>
            <a:p>
              <a:endParaRPr lang="en-BG"/>
            </a:p>
          </p:txBody>
        </p:sp>
        <p:sp>
          <p:nvSpPr>
            <p:cNvPr id="84" name="Freeform 83">
              <a:extLst>
                <a:ext uri="{FF2B5EF4-FFF2-40B4-BE49-F238E27FC236}">
                  <a16:creationId xmlns:a16="http://schemas.microsoft.com/office/drawing/2014/main" id="{A296B859-0495-1944-9596-A8E9ABB770E6}"/>
                </a:ext>
              </a:extLst>
            </p:cNvPr>
            <p:cNvSpPr/>
            <p:nvPr/>
          </p:nvSpPr>
          <p:spPr>
            <a:xfrm>
              <a:off x="1917420" y="2211330"/>
              <a:ext cx="62830" cy="73414"/>
            </a:xfrm>
            <a:custGeom>
              <a:avLst/>
              <a:gdLst>
                <a:gd name="connsiteX0" fmla="*/ 62831 w 62830"/>
                <a:gd name="connsiteY0" fmla="*/ 52958 h 73414"/>
                <a:gd name="connsiteX1" fmla="*/ 35675 w 62830"/>
                <a:gd name="connsiteY1" fmla="*/ 73415 h 73414"/>
                <a:gd name="connsiteX2" fmla="*/ 0 w 62830"/>
                <a:gd name="connsiteY2" fmla="*/ 73415 h 73414"/>
                <a:gd name="connsiteX3" fmla="*/ 0 w 62830"/>
                <a:gd name="connsiteY3" fmla="*/ 0 h 73414"/>
                <a:gd name="connsiteX4" fmla="*/ 35675 w 62830"/>
                <a:gd name="connsiteY4" fmla="*/ 0 h 73414"/>
                <a:gd name="connsiteX5" fmla="*/ 60524 w 62830"/>
                <a:gd name="connsiteY5" fmla="*/ 19493 h 73414"/>
                <a:gd name="connsiteX6" fmla="*/ 51150 w 62830"/>
                <a:gd name="connsiteY6" fmla="*/ 35244 h 73414"/>
                <a:gd name="connsiteX7" fmla="*/ 62831 w 62830"/>
                <a:gd name="connsiteY7" fmla="*/ 52958 h 73414"/>
                <a:gd name="connsiteX8" fmla="*/ 14285 w 62830"/>
                <a:gd name="connsiteY8" fmla="*/ 12452 h 73414"/>
                <a:gd name="connsiteX9" fmla="*/ 14285 w 62830"/>
                <a:gd name="connsiteY9" fmla="*/ 29536 h 73414"/>
                <a:gd name="connsiteX10" fmla="*/ 35972 w 62830"/>
                <a:gd name="connsiteY10" fmla="*/ 29536 h 73414"/>
                <a:gd name="connsiteX11" fmla="*/ 46202 w 62830"/>
                <a:gd name="connsiteY11" fmla="*/ 21050 h 73414"/>
                <a:gd name="connsiteX12" fmla="*/ 35972 w 62830"/>
                <a:gd name="connsiteY12" fmla="*/ 12452 h 73414"/>
                <a:gd name="connsiteX13" fmla="*/ 14285 w 62830"/>
                <a:gd name="connsiteY13" fmla="*/ 12452 h 73414"/>
                <a:gd name="connsiteX14" fmla="*/ 48397 w 62830"/>
                <a:gd name="connsiteY14" fmla="*/ 51068 h 73414"/>
                <a:gd name="connsiteX15" fmla="*/ 37014 w 62830"/>
                <a:gd name="connsiteY15" fmla="*/ 41618 h 73414"/>
                <a:gd name="connsiteX16" fmla="*/ 14285 w 62830"/>
                <a:gd name="connsiteY16" fmla="*/ 41618 h 73414"/>
                <a:gd name="connsiteX17" fmla="*/ 14285 w 62830"/>
                <a:gd name="connsiteY17" fmla="*/ 60703 h 73414"/>
                <a:gd name="connsiteX18" fmla="*/ 36940 w 62830"/>
                <a:gd name="connsiteY18" fmla="*/ 60703 h 73414"/>
                <a:gd name="connsiteX19" fmla="*/ 48397 w 62830"/>
                <a:gd name="connsiteY19" fmla="*/ 51068 h 7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2830" h="73414">
                  <a:moveTo>
                    <a:pt x="62831" y="52958"/>
                  </a:moveTo>
                  <a:cubicBezTo>
                    <a:pt x="62831" y="65855"/>
                    <a:pt x="52824" y="73415"/>
                    <a:pt x="35675" y="73415"/>
                  </a:cubicBezTo>
                  <a:lnTo>
                    <a:pt x="0" y="73415"/>
                  </a:lnTo>
                  <a:lnTo>
                    <a:pt x="0" y="0"/>
                  </a:lnTo>
                  <a:lnTo>
                    <a:pt x="35675" y="0"/>
                  </a:lnTo>
                  <a:cubicBezTo>
                    <a:pt x="51038" y="0"/>
                    <a:pt x="60524" y="7338"/>
                    <a:pt x="60524" y="19493"/>
                  </a:cubicBezTo>
                  <a:cubicBezTo>
                    <a:pt x="60524" y="26720"/>
                    <a:pt x="57065" y="32279"/>
                    <a:pt x="51150" y="35244"/>
                  </a:cubicBezTo>
                  <a:cubicBezTo>
                    <a:pt x="57995" y="37986"/>
                    <a:pt x="62831" y="44990"/>
                    <a:pt x="62831" y="52958"/>
                  </a:cubicBezTo>
                  <a:close/>
                  <a:moveTo>
                    <a:pt x="14285" y="12452"/>
                  </a:moveTo>
                  <a:lnTo>
                    <a:pt x="14285" y="29536"/>
                  </a:lnTo>
                  <a:lnTo>
                    <a:pt x="35972" y="29536"/>
                  </a:lnTo>
                  <a:cubicBezTo>
                    <a:pt x="42482" y="29536"/>
                    <a:pt x="46202" y="26386"/>
                    <a:pt x="46202" y="21050"/>
                  </a:cubicBezTo>
                  <a:cubicBezTo>
                    <a:pt x="46202" y="15713"/>
                    <a:pt x="42408" y="12452"/>
                    <a:pt x="35972" y="12452"/>
                  </a:cubicBezTo>
                  <a:lnTo>
                    <a:pt x="14285" y="12452"/>
                  </a:lnTo>
                  <a:close/>
                  <a:moveTo>
                    <a:pt x="48397" y="51068"/>
                  </a:moveTo>
                  <a:cubicBezTo>
                    <a:pt x="48397" y="45101"/>
                    <a:pt x="44082" y="41618"/>
                    <a:pt x="37014" y="41618"/>
                  </a:cubicBezTo>
                  <a:lnTo>
                    <a:pt x="14285" y="41618"/>
                  </a:lnTo>
                  <a:lnTo>
                    <a:pt x="14285" y="60703"/>
                  </a:lnTo>
                  <a:lnTo>
                    <a:pt x="36940" y="60703"/>
                  </a:lnTo>
                  <a:cubicBezTo>
                    <a:pt x="44082" y="60703"/>
                    <a:pt x="48397" y="57035"/>
                    <a:pt x="48397" y="51068"/>
                  </a:cubicBezTo>
                  <a:close/>
                </a:path>
              </a:pathLst>
            </a:custGeom>
            <a:grpFill/>
            <a:ln w="0" cap="flat">
              <a:noFill/>
              <a:prstDash val="solid"/>
              <a:miter/>
            </a:ln>
          </p:spPr>
          <p:txBody>
            <a:bodyPr rtlCol="0" anchor="ctr"/>
            <a:lstStyle/>
            <a:p>
              <a:endParaRPr lang="en-BG"/>
            </a:p>
          </p:txBody>
        </p:sp>
        <p:sp>
          <p:nvSpPr>
            <p:cNvPr id="85" name="Freeform 84">
              <a:extLst>
                <a:ext uri="{FF2B5EF4-FFF2-40B4-BE49-F238E27FC236}">
                  <a16:creationId xmlns:a16="http://schemas.microsoft.com/office/drawing/2014/main" id="{8C2236CE-5782-D44A-AF10-1B2C446508F7}"/>
                </a:ext>
              </a:extLst>
            </p:cNvPr>
            <p:cNvSpPr/>
            <p:nvPr/>
          </p:nvSpPr>
          <p:spPr>
            <a:xfrm>
              <a:off x="1991038" y="2232899"/>
              <a:ext cx="51484" cy="52883"/>
            </a:xfrm>
            <a:custGeom>
              <a:avLst/>
              <a:gdLst>
                <a:gd name="connsiteX0" fmla="*/ 51485 w 51484"/>
                <a:gd name="connsiteY0" fmla="*/ 0 h 52883"/>
                <a:gd name="connsiteX1" fmla="*/ 51485 w 51484"/>
                <a:gd name="connsiteY1" fmla="*/ 51809 h 52883"/>
                <a:gd name="connsiteX2" fmla="*/ 39358 w 51484"/>
                <a:gd name="connsiteY2" fmla="*/ 51809 h 52883"/>
                <a:gd name="connsiteX3" fmla="*/ 38428 w 51484"/>
                <a:gd name="connsiteY3" fmla="*/ 45843 h 52883"/>
                <a:gd name="connsiteX4" fmla="*/ 21464 w 51484"/>
                <a:gd name="connsiteY4" fmla="*/ 52884 h 52883"/>
                <a:gd name="connsiteX5" fmla="*/ 0 w 51484"/>
                <a:gd name="connsiteY5" fmla="*/ 28981 h 52883"/>
                <a:gd name="connsiteX6" fmla="*/ 0 w 51484"/>
                <a:gd name="connsiteY6" fmla="*/ 37 h 52883"/>
                <a:gd name="connsiteX7" fmla="*/ 13987 w 51484"/>
                <a:gd name="connsiteY7" fmla="*/ 37 h 52883"/>
                <a:gd name="connsiteX8" fmla="*/ 13987 w 51484"/>
                <a:gd name="connsiteY8" fmla="*/ 28128 h 52883"/>
                <a:gd name="connsiteX9" fmla="*/ 25036 w 51484"/>
                <a:gd name="connsiteY9" fmla="*/ 40728 h 52883"/>
                <a:gd name="connsiteX10" fmla="*/ 37460 w 51484"/>
                <a:gd name="connsiteY10" fmla="*/ 27202 h 52883"/>
                <a:gd name="connsiteX11" fmla="*/ 37460 w 51484"/>
                <a:gd name="connsiteY11" fmla="*/ 37 h 52883"/>
                <a:gd name="connsiteX12" fmla="*/ 51448 w 51484"/>
                <a:gd name="connsiteY12" fmla="*/ 37 h 52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484" h="52883">
                  <a:moveTo>
                    <a:pt x="51485" y="0"/>
                  </a:moveTo>
                  <a:lnTo>
                    <a:pt x="51485" y="51809"/>
                  </a:lnTo>
                  <a:lnTo>
                    <a:pt x="39358" y="51809"/>
                  </a:lnTo>
                  <a:lnTo>
                    <a:pt x="38428" y="45843"/>
                  </a:lnTo>
                  <a:cubicBezTo>
                    <a:pt x="34336" y="50364"/>
                    <a:pt x="28309" y="52884"/>
                    <a:pt x="21464" y="52884"/>
                  </a:cubicBezTo>
                  <a:cubicBezTo>
                    <a:pt x="8519" y="52884"/>
                    <a:pt x="0" y="43656"/>
                    <a:pt x="0" y="28981"/>
                  </a:cubicBezTo>
                  <a:lnTo>
                    <a:pt x="0" y="37"/>
                  </a:lnTo>
                  <a:lnTo>
                    <a:pt x="13987" y="37"/>
                  </a:lnTo>
                  <a:lnTo>
                    <a:pt x="13987" y="28128"/>
                  </a:lnTo>
                  <a:cubicBezTo>
                    <a:pt x="13987" y="36096"/>
                    <a:pt x="18302" y="40728"/>
                    <a:pt x="25036" y="40728"/>
                  </a:cubicBezTo>
                  <a:cubicBezTo>
                    <a:pt x="32513" y="40728"/>
                    <a:pt x="37460" y="35169"/>
                    <a:pt x="37460" y="27202"/>
                  </a:cubicBezTo>
                  <a:lnTo>
                    <a:pt x="37460" y="37"/>
                  </a:lnTo>
                  <a:lnTo>
                    <a:pt x="51448" y="37"/>
                  </a:lnTo>
                  <a:close/>
                </a:path>
              </a:pathLst>
            </a:custGeom>
            <a:grpFill/>
            <a:ln w="0" cap="flat">
              <a:noFill/>
              <a:prstDash val="solid"/>
              <a:miter/>
            </a:ln>
          </p:spPr>
          <p:txBody>
            <a:bodyPr rtlCol="0" anchor="ctr"/>
            <a:lstStyle/>
            <a:p>
              <a:endParaRPr lang="en-BG"/>
            </a:p>
          </p:txBody>
        </p:sp>
        <p:sp>
          <p:nvSpPr>
            <p:cNvPr id="86" name="Freeform 85">
              <a:extLst>
                <a:ext uri="{FF2B5EF4-FFF2-40B4-BE49-F238E27FC236}">
                  <a16:creationId xmlns:a16="http://schemas.microsoft.com/office/drawing/2014/main" id="{7AE7A57A-CC9D-B74B-B305-FDDD45BF4F88}"/>
                </a:ext>
              </a:extLst>
            </p:cNvPr>
            <p:cNvSpPr/>
            <p:nvPr/>
          </p:nvSpPr>
          <p:spPr>
            <a:xfrm>
              <a:off x="2055878" y="2211293"/>
              <a:ext cx="13987" cy="73414"/>
            </a:xfrm>
            <a:custGeom>
              <a:avLst/>
              <a:gdLst>
                <a:gd name="connsiteX0" fmla="*/ 0 w 13987"/>
                <a:gd name="connsiteY0" fmla="*/ 0 h 73414"/>
                <a:gd name="connsiteX1" fmla="*/ 13987 w 13987"/>
                <a:gd name="connsiteY1" fmla="*/ 0 h 73414"/>
                <a:gd name="connsiteX2" fmla="*/ 13987 w 13987"/>
                <a:gd name="connsiteY2" fmla="*/ 73415 h 73414"/>
                <a:gd name="connsiteX3" fmla="*/ 0 w 13987"/>
                <a:gd name="connsiteY3" fmla="*/ 73415 h 73414"/>
                <a:gd name="connsiteX4" fmla="*/ 0 w 13987"/>
                <a:gd name="connsiteY4" fmla="*/ 0 h 73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87" h="73414">
                  <a:moveTo>
                    <a:pt x="0" y="0"/>
                  </a:moveTo>
                  <a:lnTo>
                    <a:pt x="13987" y="0"/>
                  </a:lnTo>
                  <a:lnTo>
                    <a:pt x="13987" y="73415"/>
                  </a:lnTo>
                  <a:lnTo>
                    <a:pt x="0" y="73415"/>
                  </a:lnTo>
                  <a:lnTo>
                    <a:pt x="0" y="0"/>
                  </a:lnTo>
                  <a:close/>
                </a:path>
              </a:pathLst>
            </a:custGeom>
            <a:grpFill/>
            <a:ln w="0" cap="flat">
              <a:noFill/>
              <a:prstDash val="solid"/>
              <a:miter/>
            </a:ln>
          </p:spPr>
          <p:txBody>
            <a:bodyPr rtlCol="0" anchor="ctr"/>
            <a:lstStyle/>
            <a:p>
              <a:endParaRPr lang="en-BG"/>
            </a:p>
          </p:txBody>
        </p:sp>
        <p:sp>
          <p:nvSpPr>
            <p:cNvPr id="87" name="Freeform 86">
              <a:extLst>
                <a:ext uri="{FF2B5EF4-FFF2-40B4-BE49-F238E27FC236}">
                  <a16:creationId xmlns:a16="http://schemas.microsoft.com/office/drawing/2014/main" id="{D1D910BE-CA1D-784A-BDE3-02AEB4377FCD}"/>
                </a:ext>
              </a:extLst>
            </p:cNvPr>
            <p:cNvSpPr/>
            <p:nvPr/>
          </p:nvSpPr>
          <p:spPr>
            <a:xfrm>
              <a:off x="2079872" y="2226784"/>
              <a:ext cx="57734" cy="88349"/>
            </a:xfrm>
            <a:custGeom>
              <a:avLst/>
              <a:gdLst>
                <a:gd name="connsiteX0" fmla="*/ 44417 w 57734"/>
                <a:gd name="connsiteY0" fmla="*/ 50290 h 88349"/>
                <a:gd name="connsiteX1" fmla="*/ 56321 w 57734"/>
                <a:gd name="connsiteY1" fmla="*/ 66744 h 88349"/>
                <a:gd name="connsiteX2" fmla="*/ 28198 w 57734"/>
                <a:gd name="connsiteY2" fmla="*/ 88350 h 88349"/>
                <a:gd name="connsiteX3" fmla="*/ 521 w 57734"/>
                <a:gd name="connsiteY3" fmla="*/ 64521 h 88349"/>
                <a:gd name="connsiteX4" fmla="*/ 14099 w 57734"/>
                <a:gd name="connsiteY4" fmla="*/ 64521 h 88349"/>
                <a:gd name="connsiteX5" fmla="*/ 28198 w 57734"/>
                <a:gd name="connsiteY5" fmla="*/ 76268 h 88349"/>
                <a:gd name="connsiteX6" fmla="*/ 42110 w 57734"/>
                <a:gd name="connsiteY6" fmla="*/ 66411 h 88349"/>
                <a:gd name="connsiteX7" fmla="*/ 28421 w 57734"/>
                <a:gd name="connsiteY7" fmla="*/ 56960 h 88349"/>
                <a:gd name="connsiteX8" fmla="*/ 0 w 57734"/>
                <a:gd name="connsiteY8" fmla="*/ 30945 h 88349"/>
                <a:gd name="connsiteX9" fmla="*/ 28123 w 57734"/>
                <a:gd name="connsiteY9" fmla="*/ 4818 h 88349"/>
                <a:gd name="connsiteX10" fmla="*/ 41180 w 57734"/>
                <a:gd name="connsiteY10" fmla="*/ 7857 h 88349"/>
                <a:gd name="connsiteX11" fmla="*/ 47616 w 57734"/>
                <a:gd name="connsiteY11" fmla="*/ 0 h 88349"/>
                <a:gd name="connsiteX12" fmla="*/ 57734 w 57734"/>
                <a:gd name="connsiteY12" fmla="*/ 7560 h 88349"/>
                <a:gd name="connsiteX13" fmla="*/ 50666 w 57734"/>
                <a:gd name="connsiteY13" fmla="*/ 15861 h 88349"/>
                <a:gd name="connsiteX14" fmla="*/ 56358 w 57734"/>
                <a:gd name="connsiteY14" fmla="*/ 30982 h 88349"/>
                <a:gd name="connsiteX15" fmla="*/ 44454 w 57734"/>
                <a:gd name="connsiteY15" fmla="*/ 50290 h 88349"/>
                <a:gd name="connsiteX16" fmla="*/ 42557 w 57734"/>
                <a:gd name="connsiteY16" fmla="*/ 30982 h 88349"/>
                <a:gd name="connsiteX17" fmla="*/ 28235 w 57734"/>
                <a:gd name="connsiteY17" fmla="*/ 17047 h 88349"/>
                <a:gd name="connsiteX18" fmla="*/ 13913 w 57734"/>
                <a:gd name="connsiteY18" fmla="*/ 30982 h 88349"/>
                <a:gd name="connsiteX19" fmla="*/ 28235 w 57734"/>
                <a:gd name="connsiteY19" fmla="*/ 44842 h 88349"/>
                <a:gd name="connsiteX20" fmla="*/ 42557 w 57734"/>
                <a:gd name="connsiteY20" fmla="*/ 30982 h 88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7734" h="88349">
                  <a:moveTo>
                    <a:pt x="44417" y="50290"/>
                  </a:moveTo>
                  <a:cubicBezTo>
                    <a:pt x="52006" y="53440"/>
                    <a:pt x="56321" y="59221"/>
                    <a:pt x="56321" y="66744"/>
                  </a:cubicBezTo>
                  <a:cubicBezTo>
                    <a:pt x="56321" y="79863"/>
                    <a:pt x="45272" y="88350"/>
                    <a:pt x="28198" y="88350"/>
                  </a:cubicBezTo>
                  <a:cubicBezTo>
                    <a:pt x="11123" y="88350"/>
                    <a:pt x="-446" y="78714"/>
                    <a:pt x="521" y="64521"/>
                  </a:cubicBezTo>
                  <a:lnTo>
                    <a:pt x="14099" y="64521"/>
                  </a:lnTo>
                  <a:cubicBezTo>
                    <a:pt x="13876" y="71747"/>
                    <a:pt x="19270" y="76268"/>
                    <a:pt x="28198" y="76268"/>
                  </a:cubicBezTo>
                  <a:cubicBezTo>
                    <a:pt x="36530" y="76268"/>
                    <a:pt x="42110" y="72266"/>
                    <a:pt x="42110" y="66411"/>
                  </a:cubicBezTo>
                  <a:cubicBezTo>
                    <a:pt x="42110" y="60555"/>
                    <a:pt x="37051" y="56960"/>
                    <a:pt x="28421" y="56960"/>
                  </a:cubicBezTo>
                  <a:cubicBezTo>
                    <a:pt x="11048" y="56960"/>
                    <a:pt x="0" y="46806"/>
                    <a:pt x="0" y="30945"/>
                  </a:cubicBezTo>
                  <a:cubicBezTo>
                    <a:pt x="0" y="15083"/>
                    <a:pt x="11681" y="4818"/>
                    <a:pt x="28123" y="4818"/>
                  </a:cubicBezTo>
                  <a:cubicBezTo>
                    <a:pt x="32959" y="4818"/>
                    <a:pt x="37498" y="5855"/>
                    <a:pt x="41180" y="7857"/>
                  </a:cubicBezTo>
                  <a:lnTo>
                    <a:pt x="47616" y="0"/>
                  </a:lnTo>
                  <a:lnTo>
                    <a:pt x="57734" y="7560"/>
                  </a:lnTo>
                  <a:lnTo>
                    <a:pt x="50666" y="15861"/>
                  </a:lnTo>
                  <a:cubicBezTo>
                    <a:pt x="54684" y="20494"/>
                    <a:pt x="56358" y="25089"/>
                    <a:pt x="56358" y="30982"/>
                  </a:cubicBezTo>
                  <a:cubicBezTo>
                    <a:pt x="56358" y="39468"/>
                    <a:pt x="52154" y="46287"/>
                    <a:pt x="44454" y="50290"/>
                  </a:cubicBezTo>
                  <a:close/>
                  <a:moveTo>
                    <a:pt x="42557" y="30982"/>
                  </a:moveTo>
                  <a:cubicBezTo>
                    <a:pt x="42557" y="22606"/>
                    <a:pt x="36865" y="17047"/>
                    <a:pt x="28235" y="17047"/>
                  </a:cubicBezTo>
                  <a:cubicBezTo>
                    <a:pt x="19604" y="17047"/>
                    <a:pt x="13913" y="22606"/>
                    <a:pt x="13913" y="30982"/>
                  </a:cubicBezTo>
                  <a:cubicBezTo>
                    <a:pt x="13913" y="39357"/>
                    <a:pt x="19716" y="44842"/>
                    <a:pt x="28235" y="44842"/>
                  </a:cubicBezTo>
                  <a:cubicBezTo>
                    <a:pt x="36754" y="44842"/>
                    <a:pt x="42557" y="39172"/>
                    <a:pt x="42557" y="30982"/>
                  </a:cubicBezTo>
                  <a:close/>
                </a:path>
              </a:pathLst>
            </a:custGeom>
            <a:grpFill/>
            <a:ln w="0" cap="flat">
              <a:noFill/>
              <a:prstDash val="solid"/>
              <a:miter/>
            </a:ln>
          </p:spPr>
          <p:txBody>
            <a:bodyPr rtlCol="0" anchor="ctr"/>
            <a:lstStyle/>
            <a:p>
              <a:endParaRPr lang="en-BG"/>
            </a:p>
          </p:txBody>
        </p:sp>
        <p:sp>
          <p:nvSpPr>
            <p:cNvPr id="88" name="Freeform 87">
              <a:extLst>
                <a:ext uri="{FF2B5EF4-FFF2-40B4-BE49-F238E27FC236}">
                  <a16:creationId xmlns:a16="http://schemas.microsoft.com/office/drawing/2014/main" id="{CDAD3C28-D740-5E40-93B1-B1B837CABC11}"/>
                </a:ext>
              </a:extLst>
            </p:cNvPr>
            <p:cNvSpPr/>
            <p:nvPr/>
          </p:nvSpPr>
          <p:spPr>
            <a:xfrm>
              <a:off x="2144414" y="2231750"/>
              <a:ext cx="56320" cy="54106"/>
            </a:xfrm>
            <a:custGeom>
              <a:avLst/>
              <a:gdLst>
                <a:gd name="connsiteX0" fmla="*/ 56321 w 56320"/>
                <a:gd name="connsiteY0" fmla="*/ 1149 h 54106"/>
                <a:gd name="connsiteX1" fmla="*/ 56321 w 56320"/>
                <a:gd name="connsiteY1" fmla="*/ 52958 h 54106"/>
                <a:gd name="connsiteX2" fmla="*/ 44194 w 56320"/>
                <a:gd name="connsiteY2" fmla="*/ 52958 h 54106"/>
                <a:gd name="connsiteX3" fmla="*/ 43264 w 56320"/>
                <a:gd name="connsiteY3" fmla="*/ 46658 h 54106"/>
                <a:gd name="connsiteX4" fmla="*/ 25259 w 56320"/>
                <a:gd name="connsiteY4" fmla="*/ 54107 h 54106"/>
                <a:gd name="connsiteX5" fmla="*/ 0 w 56320"/>
                <a:gd name="connsiteY5" fmla="*/ 27053 h 54106"/>
                <a:gd name="connsiteX6" fmla="*/ 25259 w 56320"/>
                <a:gd name="connsiteY6" fmla="*/ 0 h 54106"/>
                <a:gd name="connsiteX7" fmla="*/ 43264 w 56320"/>
                <a:gd name="connsiteY7" fmla="*/ 7338 h 54106"/>
                <a:gd name="connsiteX8" fmla="*/ 44194 w 56320"/>
                <a:gd name="connsiteY8" fmla="*/ 1149 h 54106"/>
                <a:gd name="connsiteX9" fmla="*/ 56321 w 56320"/>
                <a:gd name="connsiteY9" fmla="*/ 1149 h 54106"/>
                <a:gd name="connsiteX10" fmla="*/ 42408 w 56320"/>
                <a:gd name="connsiteY10" fmla="*/ 27053 h 54106"/>
                <a:gd name="connsiteX11" fmla="*/ 28086 w 56320"/>
                <a:gd name="connsiteY11" fmla="*/ 12156 h 54106"/>
                <a:gd name="connsiteX12" fmla="*/ 13876 w 56320"/>
                <a:gd name="connsiteY12" fmla="*/ 27053 h 54106"/>
                <a:gd name="connsiteX13" fmla="*/ 28086 w 56320"/>
                <a:gd name="connsiteY13" fmla="*/ 41951 h 54106"/>
                <a:gd name="connsiteX14" fmla="*/ 42408 w 56320"/>
                <a:gd name="connsiteY14" fmla="*/ 27053 h 54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320" h="54106">
                  <a:moveTo>
                    <a:pt x="56321" y="1149"/>
                  </a:moveTo>
                  <a:lnTo>
                    <a:pt x="56321" y="52958"/>
                  </a:lnTo>
                  <a:lnTo>
                    <a:pt x="44194" y="52958"/>
                  </a:lnTo>
                  <a:lnTo>
                    <a:pt x="43264" y="46658"/>
                  </a:lnTo>
                  <a:cubicBezTo>
                    <a:pt x="38948" y="51476"/>
                    <a:pt x="32624" y="54107"/>
                    <a:pt x="25259" y="54107"/>
                  </a:cubicBezTo>
                  <a:cubicBezTo>
                    <a:pt x="10304" y="54107"/>
                    <a:pt x="0" y="42989"/>
                    <a:pt x="0" y="27053"/>
                  </a:cubicBezTo>
                  <a:cubicBezTo>
                    <a:pt x="0" y="11118"/>
                    <a:pt x="10304" y="0"/>
                    <a:pt x="25259" y="0"/>
                  </a:cubicBezTo>
                  <a:cubicBezTo>
                    <a:pt x="32624" y="0"/>
                    <a:pt x="39060" y="2631"/>
                    <a:pt x="43264" y="7338"/>
                  </a:cubicBezTo>
                  <a:lnTo>
                    <a:pt x="44194" y="1149"/>
                  </a:lnTo>
                  <a:lnTo>
                    <a:pt x="56321" y="1149"/>
                  </a:lnTo>
                  <a:close/>
                  <a:moveTo>
                    <a:pt x="42408" y="27053"/>
                  </a:moveTo>
                  <a:cubicBezTo>
                    <a:pt x="42408" y="18344"/>
                    <a:pt x="36530" y="12156"/>
                    <a:pt x="28086" y="12156"/>
                  </a:cubicBezTo>
                  <a:cubicBezTo>
                    <a:pt x="19642" y="12156"/>
                    <a:pt x="13876" y="18344"/>
                    <a:pt x="13876" y="27053"/>
                  </a:cubicBezTo>
                  <a:cubicBezTo>
                    <a:pt x="13876" y="35762"/>
                    <a:pt x="19790" y="41951"/>
                    <a:pt x="28086" y="41951"/>
                  </a:cubicBezTo>
                  <a:cubicBezTo>
                    <a:pt x="36382" y="41951"/>
                    <a:pt x="42408" y="35762"/>
                    <a:pt x="42408" y="27053"/>
                  </a:cubicBezTo>
                  <a:close/>
                </a:path>
              </a:pathLst>
            </a:custGeom>
            <a:grpFill/>
            <a:ln w="0" cap="flat">
              <a:noFill/>
              <a:prstDash val="solid"/>
              <a:miter/>
            </a:ln>
          </p:spPr>
          <p:txBody>
            <a:bodyPr rtlCol="0" anchor="ctr"/>
            <a:lstStyle/>
            <a:p>
              <a:endParaRPr lang="en-BG"/>
            </a:p>
          </p:txBody>
        </p:sp>
        <p:sp>
          <p:nvSpPr>
            <p:cNvPr id="89" name="Freeform 88">
              <a:extLst>
                <a:ext uri="{FF2B5EF4-FFF2-40B4-BE49-F238E27FC236}">
                  <a16:creationId xmlns:a16="http://schemas.microsoft.com/office/drawing/2014/main" id="{21CA00DD-580E-6749-B7E8-460EAD8B4AE4}"/>
                </a:ext>
              </a:extLst>
            </p:cNvPr>
            <p:cNvSpPr/>
            <p:nvPr/>
          </p:nvSpPr>
          <p:spPr>
            <a:xfrm>
              <a:off x="2214238" y="2231824"/>
              <a:ext cx="41143" cy="52883"/>
            </a:xfrm>
            <a:custGeom>
              <a:avLst/>
              <a:gdLst>
                <a:gd name="connsiteX0" fmla="*/ 41143 w 41143"/>
                <a:gd name="connsiteY0" fmla="*/ 4744 h 52883"/>
                <a:gd name="connsiteX1" fmla="*/ 35042 w 41143"/>
                <a:gd name="connsiteY1" fmla="*/ 15565 h 52883"/>
                <a:gd name="connsiteX2" fmla="*/ 26635 w 41143"/>
                <a:gd name="connsiteY2" fmla="*/ 12823 h 52883"/>
                <a:gd name="connsiteX3" fmla="*/ 13987 w 41143"/>
                <a:gd name="connsiteY3" fmla="*/ 27609 h 52883"/>
                <a:gd name="connsiteX4" fmla="*/ 13987 w 41143"/>
                <a:gd name="connsiteY4" fmla="*/ 52884 h 52883"/>
                <a:gd name="connsiteX5" fmla="*/ 0 w 41143"/>
                <a:gd name="connsiteY5" fmla="*/ 52884 h 52883"/>
                <a:gd name="connsiteX6" fmla="*/ 0 w 41143"/>
                <a:gd name="connsiteY6" fmla="*/ 1075 h 52883"/>
                <a:gd name="connsiteX7" fmla="*/ 12090 w 41143"/>
                <a:gd name="connsiteY7" fmla="*/ 1075 h 52883"/>
                <a:gd name="connsiteX8" fmla="*/ 13243 w 41143"/>
                <a:gd name="connsiteY8" fmla="*/ 7560 h 52883"/>
                <a:gd name="connsiteX9" fmla="*/ 27863 w 41143"/>
                <a:gd name="connsiteY9" fmla="*/ 0 h 52883"/>
                <a:gd name="connsiteX10" fmla="*/ 41143 w 41143"/>
                <a:gd name="connsiteY10" fmla="*/ 4707 h 52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143" h="52883">
                  <a:moveTo>
                    <a:pt x="41143" y="4744"/>
                  </a:moveTo>
                  <a:lnTo>
                    <a:pt x="35042" y="15565"/>
                  </a:lnTo>
                  <a:cubicBezTo>
                    <a:pt x="32104" y="13564"/>
                    <a:pt x="29574" y="12823"/>
                    <a:pt x="26635" y="12823"/>
                  </a:cubicBezTo>
                  <a:cubicBezTo>
                    <a:pt x="18935" y="12823"/>
                    <a:pt x="13987" y="18159"/>
                    <a:pt x="13987" y="27609"/>
                  </a:cubicBezTo>
                  <a:lnTo>
                    <a:pt x="13987" y="52884"/>
                  </a:lnTo>
                  <a:lnTo>
                    <a:pt x="0" y="52884"/>
                  </a:lnTo>
                  <a:lnTo>
                    <a:pt x="0" y="1075"/>
                  </a:lnTo>
                  <a:lnTo>
                    <a:pt x="12090" y="1075"/>
                  </a:lnTo>
                  <a:lnTo>
                    <a:pt x="13243" y="7560"/>
                  </a:lnTo>
                  <a:cubicBezTo>
                    <a:pt x="17261" y="2224"/>
                    <a:pt x="22208" y="0"/>
                    <a:pt x="27863" y="0"/>
                  </a:cubicBezTo>
                  <a:cubicBezTo>
                    <a:pt x="32699" y="0"/>
                    <a:pt x="37758" y="1594"/>
                    <a:pt x="41143" y="4707"/>
                  </a:cubicBezTo>
                  <a:close/>
                </a:path>
              </a:pathLst>
            </a:custGeom>
            <a:grpFill/>
            <a:ln w="0" cap="flat">
              <a:noFill/>
              <a:prstDash val="solid"/>
              <a:miter/>
            </a:ln>
          </p:spPr>
          <p:txBody>
            <a:bodyPr rtlCol="0" anchor="ctr"/>
            <a:lstStyle/>
            <a:p>
              <a:endParaRPr lang="en-BG"/>
            </a:p>
          </p:txBody>
        </p:sp>
        <p:sp>
          <p:nvSpPr>
            <p:cNvPr id="90" name="Freeform 89">
              <a:extLst>
                <a:ext uri="{FF2B5EF4-FFF2-40B4-BE49-F238E27FC236}">
                  <a16:creationId xmlns:a16="http://schemas.microsoft.com/office/drawing/2014/main" id="{5328730B-B0D5-504F-9C77-25CDA1DAC934}"/>
                </a:ext>
              </a:extLst>
            </p:cNvPr>
            <p:cNvSpPr/>
            <p:nvPr/>
          </p:nvSpPr>
          <p:spPr>
            <a:xfrm>
              <a:off x="2260775" y="2210255"/>
              <a:ext cx="17149" cy="74452"/>
            </a:xfrm>
            <a:custGeom>
              <a:avLst/>
              <a:gdLst>
                <a:gd name="connsiteX0" fmla="*/ 0 w 17149"/>
                <a:gd name="connsiteY0" fmla="*/ 8190 h 74452"/>
                <a:gd name="connsiteX1" fmla="*/ 8519 w 17149"/>
                <a:gd name="connsiteY1" fmla="*/ 0 h 74452"/>
                <a:gd name="connsiteX2" fmla="*/ 17149 w 17149"/>
                <a:gd name="connsiteY2" fmla="*/ 8190 h 74452"/>
                <a:gd name="connsiteX3" fmla="*/ 8519 w 17149"/>
                <a:gd name="connsiteY3" fmla="*/ 16158 h 74452"/>
                <a:gd name="connsiteX4" fmla="*/ 0 w 17149"/>
                <a:gd name="connsiteY4" fmla="*/ 8190 h 74452"/>
                <a:gd name="connsiteX5" fmla="*/ 1488 w 17149"/>
                <a:gd name="connsiteY5" fmla="*/ 22643 h 74452"/>
                <a:gd name="connsiteX6" fmla="*/ 15475 w 17149"/>
                <a:gd name="connsiteY6" fmla="*/ 22643 h 74452"/>
                <a:gd name="connsiteX7" fmla="*/ 15475 w 17149"/>
                <a:gd name="connsiteY7" fmla="*/ 74453 h 74452"/>
                <a:gd name="connsiteX8" fmla="*/ 1488 w 17149"/>
                <a:gd name="connsiteY8" fmla="*/ 74453 h 74452"/>
                <a:gd name="connsiteX9" fmla="*/ 1488 w 17149"/>
                <a:gd name="connsiteY9" fmla="*/ 22643 h 74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49" h="74452">
                  <a:moveTo>
                    <a:pt x="0" y="8190"/>
                  </a:moveTo>
                  <a:cubicBezTo>
                    <a:pt x="0" y="3372"/>
                    <a:pt x="3571" y="0"/>
                    <a:pt x="8519" y="0"/>
                  </a:cubicBezTo>
                  <a:cubicBezTo>
                    <a:pt x="13466" y="0"/>
                    <a:pt x="17149" y="3372"/>
                    <a:pt x="17149" y="8190"/>
                  </a:cubicBezTo>
                  <a:cubicBezTo>
                    <a:pt x="17149" y="13008"/>
                    <a:pt x="13466" y="16158"/>
                    <a:pt x="8519" y="16158"/>
                  </a:cubicBezTo>
                  <a:cubicBezTo>
                    <a:pt x="3571" y="16158"/>
                    <a:pt x="0" y="12786"/>
                    <a:pt x="0" y="8190"/>
                  </a:cubicBezTo>
                  <a:close/>
                  <a:moveTo>
                    <a:pt x="1488" y="22643"/>
                  </a:moveTo>
                  <a:lnTo>
                    <a:pt x="15475" y="22643"/>
                  </a:lnTo>
                  <a:lnTo>
                    <a:pt x="15475" y="74453"/>
                  </a:lnTo>
                  <a:lnTo>
                    <a:pt x="1488" y="74453"/>
                  </a:lnTo>
                  <a:lnTo>
                    <a:pt x="1488" y="22643"/>
                  </a:lnTo>
                  <a:close/>
                </a:path>
              </a:pathLst>
            </a:custGeom>
            <a:grpFill/>
            <a:ln w="0" cap="flat">
              <a:noFill/>
              <a:prstDash val="solid"/>
              <a:miter/>
            </a:ln>
          </p:spPr>
          <p:txBody>
            <a:bodyPr rtlCol="0" anchor="ctr"/>
            <a:lstStyle/>
            <a:p>
              <a:endParaRPr lang="en-BG"/>
            </a:p>
          </p:txBody>
        </p:sp>
        <p:sp>
          <p:nvSpPr>
            <p:cNvPr id="91" name="Freeform 90">
              <a:extLst>
                <a:ext uri="{FF2B5EF4-FFF2-40B4-BE49-F238E27FC236}">
                  <a16:creationId xmlns:a16="http://schemas.microsoft.com/office/drawing/2014/main" id="{083140CC-80B6-7749-BB1A-4EFD65054E33}"/>
                </a:ext>
              </a:extLst>
            </p:cNvPr>
            <p:cNvSpPr/>
            <p:nvPr/>
          </p:nvSpPr>
          <p:spPr>
            <a:xfrm>
              <a:off x="2286518" y="2231750"/>
              <a:ext cx="56320" cy="54106"/>
            </a:xfrm>
            <a:custGeom>
              <a:avLst/>
              <a:gdLst>
                <a:gd name="connsiteX0" fmla="*/ 56321 w 56320"/>
                <a:gd name="connsiteY0" fmla="*/ 1149 h 54106"/>
                <a:gd name="connsiteX1" fmla="*/ 56321 w 56320"/>
                <a:gd name="connsiteY1" fmla="*/ 52958 h 54106"/>
                <a:gd name="connsiteX2" fmla="*/ 44193 w 56320"/>
                <a:gd name="connsiteY2" fmla="*/ 52958 h 54106"/>
                <a:gd name="connsiteX3" fmla="*/ 43263 w 56320"/>
                <a:gd name="connsiteY3" fmla="*/ 46658 h 54106"/>
                <a:gd name="connsiteX4" fmla="*/ 25259 w 56320"/>
                <a:gd name="connsiteY4" fmla="*/ 54107 h 54106"/>
                <a:gd name="connsiteX5" fmla="*/ 0 w 56320"/>
                <a:gd name="connsiteY5" fmla="*/ 27053 h 54106"/>
                <a:gd name="connsiteX6" fmla="*/ 25259 w 56320"/>
                <a:gd name="connsiteY6" fmla="*/ 0 h 54106"/>
                <a:gd name="connsiteX7" fmla="*/ 43263 w 56320"/>
                <a:gd name="connsiteY7" fmla="*/ 7338 h 54106"/>
                <a:gd name="connsiteX8" fmla="*/ 44193 w 56320"/>
                <a:gd name="connsiteY8" fmla="*/ 1149 h 54106"/>
                <a:gd name="connsiteX9" fmla="*/ 56321 w 56320"/>
                <a:gd name="connsiteY9" fmla="*/ 1149 h 54106"/>
                <a:gd name="connsiteX10" fmla="*/ 42445 w 56320"/>
                <a:gd name="connsiteY10" fmla="*/ 27053 h 54106"/>
                <a:gd name="connsiteX11" fmla="*/ 28123 w 56320"/>
                <a:gd name="connsiteY11" fmla="*/ 12156 h 54106"/>
                <a:gd name="connsiteX12" fmla="*/ 13913 w 56320"/>
                <a:gd name="connsiteY12" fmla="*/ 27053 h 54106"/>
                <a:gd name="connsiteX13" fmla="*/ 28123 w 56320"/>
                <a:gd name="connsiteY13" fmla="*/ 41951 h 54106"/>
                <a:gd name="connsiteX14" fmla="*/ 42445 w 56320"/>
                <a:gd name="connsiteY14" fmla="*/ 27053 h 54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320" h="54106">
                  <a:moveTo>
                    <a:pt x="56321" y="1149"/>
                  </a:moveTo>
                  <a:lnTo>
                    <a:pt x="56321" y="52958"/>
                  </a:lnTo>
                  <a:lnTo>
                    <a:pt x="44193" y="52958"/>
                  </a:lnTo>
                  <a:lnTo>
                    <a:pt x="43263" y="46658"/>
                  </a:lnTo>
                  <a:cubicBezTo>
                    <a:pt x="38948" y="51476"/>
                    <a:pt x="32624" y="54107"/>
                    <a:pt x="25259" y="54107"/>
                  </a:cubicBezTo>
                  <a:cubicBezTo>
                    <a:pt x="10304" y="54107"/>
                    <a:pt x="0" y="42989"/>
                    <a:pt x="0" y="27053"/>
                  </a:cubicBezTo>
                  <a:cubicBezTo>
                    <a:pt x="0" y="11118"/>
                    <a:pt x="10304" y="0"/>
                    <a:pt x="25259" y="0"/>
                  </a:cubicBezTo>
                  <a:cubicBezTo>
                    <a:pt x="32624" y="0"/>
                    <a:pt x="39060" y="2631"/>
                    <a:pt x="43263" y="7338"/>
                  </a:cubicBezTo>
                  <a:lnTo>
                    <a:pt x="44193" y="1149"/>
                  </a:lnTo>
                  <a:lnTo>
                    <a:pt x="56321" y="1149"/>
                  </a:lnTo>
                  <a:close/>
                  <a:moveTo>
                    <a:pt x="42445" y="27053"/>
                  </a:moveTo>
                  <a:cubicBezTo>
                    <a:pt x="42445" y="18344"/>
                    <a:pt x="36530" y="12156"/>
                    <a:pt x="28123" y="12156"/>
                  </a:cubicBezTo>
                  <a:cubicBezTo>
                    <a:pt x="19716" y="12156"/>
                    <a:pt x="13913" y="18344"/>
                    <a:pt x="13913" y="27053"/>
                  </a:cubicBezTo>
                  <a:cubicBezTo>
                    <a:pt x="13913" y="35762"/>
                    <a:pt x="19828" y="41951"/>
                    <a:pt x="28123" y="41951"/>
                  </a:cubicBezTo>
                  <a:cubicBezTo>
                    <a:pt x="36419" y="41951"/>
                    <a:pt x="42445" y="35762"/>
                    <a:pt x="42445" y="27053"/>
                  </a:cubicBezTo>
                  <a:close/>
                </a:path>
              </a:pathLst>
            </a:custGeom>
            <a:grpFill/>
            <a:ln w="0" cap="flat">
              <a:noFill/>
              <a:prstDash val="solid"/>
              <a:miter/>
            </a:ln>
          </p:spPr>
          <p:txBody>
            <a:bodyPr rtlCol="0" anchor="ctr"/>
            <a:lstStyle/>
            <a:p>
              <a:endParaRPr lang="en-BG"/>
            </a:p>
          </p:txBody>
        </p:sp>
        <p:sp>
          <p:nvSpPr>
            <p:cNvPr id="92" name="Freeform 91">
              <a:extLst>
                <a:ext uri="{FF2B5EF4-FFF2-40B4-BE49-F238E27FC236}">
                  <a16:creationId xmlns:a16="http://schemas.microsoft.com/office/drawing/2014/main" id="{E3EB5791-10C4-6042-92B6-E2887866B35A}"/>
                </a:ext>
              </a:extLst>
            </p:cNvPr>
            <p:cNvSpPr/>
            <p:nvPr/>
          </p:nvSpPr>
          <p:spPr>
            <a:xfrm>
              <a:off x="2356342" y="2231824"/>
              <a:ext cx="51931" cy="52883"/>
            </a:xfrm>
            <a:custGeom>
              <a:avLst/>
              <a:gdLst>
                <a:gd name="connsiteX0" fmla="*/ 51894 w 51931"/>
                <a:gd name="connsiteY0" fmla="*/ 23940 h 52883"/>
                <a:gd name="connsiteX1" fmla="*/ 51894 w 51931"/>
                <a:gd name="connsiteY1" fmla="*/ 52884 h 52883"/>
                <a:gd name="connsiteX2" fmla="*/ 37907 w 51931"/>
                <a:gd name="connsiteY2" fmla="*/ 52884 h 52883"/>
                <a:gd name="connsiteX3" fmla="*/ 37907 w 51931"/>
                <a:gd name="connsiteY3" fmla="*/ 24793 h 52883"/>
                <a:gd name="connsiteX4" fmla="*/ 26635 w 51931"/>
                <a:gd name="connsiteY4" fmla="*/ 12193 h 52883"/>
                <a:gd name="connsiteX5" fmla="*/ 13987 w 51931"/>
                <a:gd name="connsiteY5" fmla="*/ 25719 h 52883"/>
                <a:gd name="connsiteX6" fmla="*/ 13987 w 51931"/>
                <a:gd name="connsiteY6" fmla="*/ 52884 h 52883"/>
                <a:gd name="connsiteX7" fmla="*/ 0 w 51931"/>
                <a:gd name="connsiteY7" fmla="*/ 52884 h 52883"/>
                <a:gd name="connsiteX8" fmla="*/ 0 w 51931"/>
                <a:gd name="connsiteY8" fmla="*/ 1075 h 52883"/>
                <a:gd name="connsiteX9" fmla="*/ 12127 w 51931"/>
                <a:gd name="connsiteY9" fmla="*/ 1075 h 52883"/>
                <a:gd name="connsiteX10" fmla="*/ 13057 w 51931"/>
                <a:gd name="connsiteY10" fmla="*/ 7041 h 52883"/>
                <a:gd name="connsiteX11" fmla="*/ 30132 w 51931"/>
                <a:gd name="connsiteY11" fmla="*/ 0 h 52883"/>
                <a:gd name="connsiteX12" fmla="*/ 51931 w 51931"/>
                <a:gd name="connsiteY12" fmla="*/ 23903 h 52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931" h="52883">
                  <a:moveTo>
                    <a:pt x="51894" y="23940"/>
                  </a:moveTo>
                  <a:lnTo>
                    <a:pt x="51894" y="52884"/>
                  </a:lnTo>
                  <a:lnTo>
                    <a:pt x="37907" y="52884"/>
                  </a:lnTo>
                  <a:lnTo>
                    <a:pt x="37907" y="24793"/>
                  </a:lnTo>
                  <a:cubicBezTo>
                    <a:pt x="37907" y="16825"/>
                    <a:pt x="33592" y="12193"/>
                    <a:pt x="26635" y="12193"/>
                  </a:cubicBezTo>
                  <a:cubicBezTo>
                    <a:pt x="19046" y="12193"/>
                    <a:pt x="13987" y="17752"/>
                    <a:pt x="13987" y="25719"/>
                  </a:cubicBezTo>
                  <a:lnTo>
                    <a:pt x="13987" y="52884"/>
                  </a:lnTo>
                  <a:lnTo>
                    <a:pt x="0" y="52884"/>
                  </a:lnTo>
                  <a:lnTo>
                    <a:pt x="0" y="1075"/>
                  </a:lnTo>
                  <a:lnTo>
                    <a:pt x="12127" y="1075"/>
                  </a:lnTo>
                  <a:lnTo>
                    <a:pt x="13057" y="7041"/>
                  </a:lnTo>
                  <a:cubicBezTo>
                    <a:pt x="17149" y="2520"/>
                    <a:pt x="23287" y="0"/>
                    <a:pt x="30132" y="0"/>
                  </a:cubicBezTo>
                  <a:cubicBezTo>
                    <a:pt x="43412" y="0"/>
                    <a:pt x="51931" y="9228"/>
                    <a:pt x="51931" y="23903"/>
                  </a:cubicBezTo>
                  <a:close/>
                </a:path>
              </a:pathLst>
            </a:custGeom>
            <a:grpFill/>
            <a:ln w="0" cap="flat">
              <a:noFill/>
              <a:prstDash val="solid"/>
              <a:miter/>
            </a:ln>
          </p:spPr>
          <p:txBody>
            <a:bodyPr rtlCol="0" anchor="ctr"/>
            <a:lstStyle/>
            <a:p>
              <a:endParaRPr lang="en-BG"/>
            </a:p>
          </p:txBody>
        </p:sp>
        <p:sp>
          <p:nvSpPr>
            <p:cNvPr id="93" name="Freeform 92">
              <a:extLst>
                <a:ext uri="{FF2B5EF4-FFF2-40B4-BE49-F238E27FC236}">
                  <a16:creationId xmlns:a16="http://schemas.microsoft.com/office/drawing/2014/main" id="{062EA6F5-9296-8743-ACB2-E97C5BB86B76}"/>
                </a:ext>
              </a:extLst>
            </p:cNvPr>
            <p:cNvSpPr/>
            <p:nvPr/>
          </p:nvSpPr>
          <p:spPr>
            <a:xfrm>
              <a:off x="1912770" y="2329216"/>
              <a:ext cx="61937" cy="76564"/>
            </a:xfrm>
            <a:custGeom>
              <a:avLst/>
              <a:gdLst>
                <a:gd name="connsiteX0" fmla="*/ 0 w 61937"/>
                <a:gd name="connsiteY0" fmla="*/ 66337 h 76564"/>
                <a:gd name="connsiteX1" fmla="*/ 7589 w 61937"/>
                <a:gd name="connsiteY1" fmla="*/ 55515 h 76564"/>
                <a:gd name="connsiteX2" fmla="*/ 31397 w 61937"/>
                <a:gd name="connsiteY2" fmla="*/ 63483 h 76564"/>
                <a:gd name="connsiteX3" fmla="*/ 47393 w 61937"/>
                <a:gd name="connsiteY3" fmla="*/ 53922 h 76564"/>
                <a:gd name="connsiteX4" fmla="*/ 30653 w 61937"/>
                <a:gd name="connsiteY4" fmla="*/ 44064 h 76564"/>
                <a:gd name="connsiteX5" fmla="*/ 1786 w 61937"/>
                <a:gd name="connsiteY5" fmla="*/ 21828 h 76564"/>
                <a:gd name="connsiteX6" fmla="*/ 31174 w 61937"/>
                <a:gd name="connsiteY6" fmla="*/ 0 h 76564"/>
                <a:gd name="connsiteX7" fmla="*/ 58776 w 61937"/>
                <a:gd name="connsiteY7" fmla="*/ 8820 h 76564"/>
                <a:gd name="connsiteX8" fmla="*/ 51634 w 61937"/>
                <a:gd name="connsiteY8" fmla="*/ 19086 h 76564"/>
                <a:gd name="connsiteX9" fmla="*/ 31620 w 61937"/>
                <a:gd name="connsiteY9" fmla="*/ 12489 h 76564"/>
                <a:gd name="connsiteX10" fmla="*/ 16145 w 61937"/>
                <a:gd name="connsiteY10" fmla="*/ 21606 h 76564"/>
                <a:gd name="connsiteX11" fmla="*/ 32364 w 61937"/>
                <a:gd name="connsiteY11" fmla="*/ 31241 h 76564"/>
                <a:gd name="connsiteX12" fmla="*/ 61938 w 61937"/>
                <a:gd name="connsiteY12" fmla="*/ 53699 h 76564"/>
                <a:gd name="connsiteX13" fmla="*/ 31397 w 61937"/>
                <a:gd name="connsiteY13" fmla="*/ 76565 h 76564"/>
                <a:gd name="connsiteX14" fmla="*/ 37 w 61937"/>
                <a:gd name="connsiteY14" fmla="*/ 66299 h 7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1937" h="76564">
                  <a:moveTo>
                    <a:pt x="0" y="66337"/>
                  </a:moveTo>
                  <a:lnTo>
                    <a:pt x="7589" y="55515"/>
                  </a:lnTo>
                  <a:cubicBezTo>
                    <a:pt x="13801" y="60555"/>
                    <a:pt x="22543" y="63483"/>
                    <a:pt x="31397" y="63483"/>
                  </a:cubicBezTo>
                  <a:cubicBezTo>
                    <a:pt x="41180" y="63483"/>
                    <a:pt x="47393" y="59814"/>
                    <a:pt x="47393" y="53922"/>
                  </a:cubicBezTo>
                  <a:cubicBezTo>
                    <a:pt x="47393" y="48363"/>
                    <a:pt x="42222" y="45435"/>
                    <a:pt x="30653" y="44064"/>
                  </a:cubicBezTo>
                  <a:cubicBezTo>
                    <a:pt x="10528" y="41655"/>
                    <a:pt x="1786" y="34947"/>
                    <a:pt x="1786" y="21828"/>
                  </a:cubicBezTo>
                  <a:cubicBezTo>
                    <a:pt x="1786" y="8709"/>
                    <a:pt x="13801" y="0"/>
                    <a:pt x="31174" y="0"/>
                  </a:cubicBezTo>
                  <a:cubicBezTo>
                    <a:pt x="41180" y="0"/>
                    <a:pt x="51187" y="3261"/>
                    <a:pt x="58776" y="8820"/>
                  </a:cubicBezTo>
                  <a:lnTo>
                    <a:pt x="51634" y="19086"/>
                  </a:lnTo>
                  <a:cubicBezTo>
                    <a:pt x="45719" y="14787"/>
                    <a:pt x="38576" y="12489"/>
                    <a:pt x="31620" y="12489"/>
                  </a:cubicBezTo>
                  <a:cubicBezTo>
                    <a:pt x="22469" y="12489"/>
                    <a:pt x="16145" y="16269"/>
                    <a:pt x="16145" y="21606"/>
                  </a:cubicBezTo>
                  <a:cubicBezTo>
                    <a:pt x="16145" y="26942"/>
                    <a:pt x="20869" y="29796"/>
                    <a:pt x="32364" y="31241"/>
                  </a:cubicBezTo>
                  <a:cubicBezTo>
                    <a:pt x="52787" y="33984"/>
                    <a:pt x="61938" y="40877"/>
                    <a:pt x="61938" y="53699"/>
                  </a:cubicBezTo>
                  <a:cubicBezTo>
                    <a:pt x="61938" y="67448"/>
                    <a:pt x="49736" y="76565"/>
                    <a:pt x="31397" y="76565"/>
                  </a:cubicBezTo>
                  <a:cubicBezTo>
                    <a:pt x="19902" y="76565"/>
                    <a:pt x="8333" y="72896"/>
                    <a:pt x="37" y="66299"/>
                  </a:cubicBezTo>
                  <a:close/>
                </a:path>
              </a:pathLst>
            </a:custGeom>
            <a:grpFill/>
            <a:ln w="0" cap="flat">
              <a:noFill/>
              <a:prstDash val="solid"/>
              <a:miter/>
            </a:ln>
          </p:spPr>
          <p:txBody>
            <a:bodyPr rtlCol="0" anchor="ctr"/>
            <a:lstStyle/>
            <a:p>
              <a:endParaRPr lang="en-BG"/>
            </a:p>
          </p:txBody>
        </p:sp>
        <p:sp>
          <p:nvSpPr>
            <p:cNvPr id="94" name="Freeform 93">
              <a:extLst>
                <a:ext uri="{FF2B5EF4-FFF2-40B4-BE49-F238E27FC236}">
                  <a16:creationId xmlns:a16="http://schemas.microsoft.com/office/drawing/2014/main" id="{5923B72E-EA63-CF42-B396-137ADD5A51EC}"/>
                </a:ext>
              </a:extLst>
            </p:cNvPr>
            <p:cNvSpPr/>
            <p:nvPr/>
          </p:nvSpPr>
          <p:spPr>
            <a:xfrm>
              <a:off x="1978539" y="2337777"/>
              <a:ext cx="39803" cy="67337"/>
            </a:xfrm>
            <a:custGeom>
              <a:avLst/>
              <a:gdLst>
                <a:gd name="connsiteX0" fmla="*/ 39804 w 39803"/>
                <a:gd name="connsiteY0" fmla="*/ 64595 h 67337"/>
                <a:gd name="connsiteX1" fmla="*/ 27082 w 39803"/>
                <a:gd name="connsiteY1" fmla="*/ 67337 h 67337"/>
                <a:gd name="connsiteX2" fmla="*/ 9374 w 39803"/>
                <a:gd name="connsiteY2" fmla="*/ 48140 h 67337"/>
                <a:gd name="connsiteX3" fmla="*/ 9374 w 39803"/>
                <a:gd name="connsiteY3" fmla="*/ 26127 h 67337"/>
                <a:gd name="connsiteX4" fmla="*/ 0 w 39803"/>
                <a:gd name="connsiteY4" fmla="*/ 26127 h 67337"/>
                <a:gd name="connsiteX5" fmla="*/ 0 w 39803"/>
                <a:gd name="connsiteY5" fmla="*/ 14713 h 67337"/>
                <a:gd name="connsiteX6" fmla="*/ 9374 w 39803"/>
                <a:gd name="connsiteY6" fmla="*/ 14713 h 67337"/>
                <a:gd name="connsiteX7" fmla="*/ 9374 w 39803"/>
                <a:gd name="connsiteY7" fmla="*/ 1482 h 67337"/>
                <a:gd name="connsiteX8" fmla="*/ 23287 w 39803"/>
                <a:gd name="connsiteY8" fmla="*/ 0 h 67337"/>
                <a:gd name="connsiteX9" fmla="*/ 23287 w 39803"/>
                <a:gd name="connsiteY9" fmla="*/ 14676 h 67337"/>
                <a:gd name="connsiteX10" fmla="*/ 37274 w 39803"/>
                <a:gd name="connsiteY10" fmla="*/ 14676 h 67337"/>
                <a:gd name="connsiteX11" fmla="*/ 37274 w 39803"/>
                <a:gd name="connsiteY11" fmla="*/ 26090 h 67337"/>
                <a:gd name="connsiteX12" fmla="*/ 23287 w 39803"/>
                <a:gd name="connsiteY12" fmla="*/ 26090 h 67337"/>
                <a:gd name="connsiteX13" fmla="*/ 23287 w 39803"/>
                <a:gd name="connsiteY13" fmla="*/ 48103 h 67337"/>
                <a:gd name="connsiteX14" fmla="*/ 29909 w 39803"/>
                <a:gd name="connsiteY14" fmla="*/ 55219 h 67337"/>
                <a:gd name="connsiteX15" fmla="*/ 36121 w 39803"/>
                <a:gd name="connsiteY15" fmla="*/ 53736 h 67337"/>
                <a:gd name="connsiteX16" fmla="*/ 39804 w 39803"/>
                <a:gd name="connsiteY16" fmla="*/ 64558 h 67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803" h="67337">
                  <a:moveTo>
                    <a:pt x="39804" y="64595"/>
                  </a:moveTo>
                  <a:cubicBezTo>
                    <a:pt x="35489" y="66596"/>
                    <a:pt x="31694" y="67337"/>
                    <a:pt x="27082" y="67337"/>
                  </a:cubicBezTo>
                  <a:cubicBezTo>
                    <a:pt x="16442" y="67337"/>
                    <a:pt x="9374" y="61667"/>
                    <a:pt x="9374" y="48140"/>
                  </a:cubicBezTo>
                  <a:lnTo>
                    <a:pt x="9374" y="26127"/>
                  </a:lnTo>
                  <a:lnTo>
                    <a:pt x="0" y="26127"/>
                  </a:lnTo>
                  <a:lnTo>
                    <a:pt x="0" y="14713"/>
                  </a:lnTo>
                  <a:lnTo>
                    <a:pt x="9374" y="14713"/>
                  </a:lnTo>
                  <a:lnTo>
                    <a:pt x="9374" y="1482"/>
                  </a:lnTo>
                  <a:lnTo>
                    <a:pt x="23287" y="0"/>
                  </a:lnTo>
                  <a:lnTo>
                    <a:pt x="23287" y="14676"/>
                  </a:lnTo>
                  <a:lnTo>
                    <a:pt x="37274" y="14676"/>
                  </a:lnTo>
                  <a:lnTo>
                    <a:pt x="37274" y="26090"/>
                  </a:lnTo>
                  <a:lnTo>
                    <a:pt x="23287" y="26090"/>
                  </a:lnTo>
                  <a:lnTo>
                    <a:pt x="23287" y="48103"/>
                  </a:lnTo>
                  <a:cubicBezTo>
                    <a:pt x="23287" y="52810"/>
                    <a:pt x="25705" y="55219"/>
                    <a:pt x="29909" y="55219"/>
                  </a:cubicBezTo>
                  <a:cubicBezTo>
                    <a:pt x="31918" y="55219"/>
                    <a:pt x="34336" y="54589"/>
                    <a:pt x="36121" y="53736"/>
                  </a:cubicBezTo>
                  <a:lnTo>
                    <a:pt x="39804" y="64558"/>
                  </a:lnTo>
                  <a:close/>
                </a:path>
              </a:pathLst>
            </a:custGeom>
            <a:grpFill/>
            <a:ln w="0" cap="flat">
              <a:noFill/>
              <a:prstDash val="solid"/>
              <a:miter/>
            </a:ln>
          </p:spPr>
          <p:txBody>
            <a:bodyPr rtlCol="0" anchor="ctr"/>
            <a:lstStyle/>
            <a:p>
              <a:endParaRPr lang="en-BG"/>
            </a:p>
          </p:txBody>
        </p:sp>
        <p:sp>
          <p:nvSpPr>
            <p:cNvPr id="95" name="Freeform 94">
              <a:extLst>
                <a:ext uri="{FF2B5EF4-FFF2-40B4-BE49-F238E27FC236}">
                  <a16:creationId xmlns:a16="http://schemas.microsoft.com/office/drawing/2014/main" id="{D25E1FBA-A548-BA44-8AA1-E8E2078FCBEF}"/>
                </a:ext>
              </a:extLst>
            </p:cNvPr>
            <p:cNvSpPr/>
            <p:nvPr/>
          </p:nvSpPr>
          <p:spPr>
            <a:xfrm>
              <a:off x="2022323" y="2351304"/>
              <a:ext cx="56246" cy="54106"/>
            </a:xfrm>
            <a:custGeom>
              <a:avLst/>
              <a:gdLst>
                <a:gd name="connsiteX0" fmla="*/ 0 w 56246"/>
                <a:gd name="connsiteY0" fmla="*/ 27053 h 54106"/>
                <a:gd name="connsiteX1" fmla="*/ 28123 w 56246"/>
                <a:gd name="connsiteY1" fmla="*/ 0 h 54106"/>
                <a:gd name="connsiteX2" fmla="*/ 56246 w 56246"/>
                <a:gd name="connsiteY2" fmla="*/ 27053 h 54106"/>
                <a:gd name="connsiteX3" fmla="*/ 28123 w 56246"/>
                <a:gd name="connsiteY3" fmla="*/ 54107 h 54106"/>
                <a:gd name="connsiteX4" fmla="*/ 0 w 56246"/>
                <a:gd name="connsiteY4" fmla="*/ 27053 h 54106"/>
                <a:gd name="connsiteX5" fmla="*/ 42296 w 56246"/>
                <a:gd name="connsiteY5" fmla="*/ 27053 h 54106"/>
                <a:gd name="connsiteX6" fmla="*/ 28086 w 56246"/>
                <a:gd name="connsiteY6" fmla="*/ 12156 h 54106"/>
                <a:gd name="connsiteX7" fmla="*/ 13876 w 56246"/>
                <a:gd name="connsiteY7" fmla="*/ 27053 h 54106"/>
                <a:gd name="connsiteX8" fmla="*/ 28086 w 56246"/>
                <a:gd name="connsiteY8" fmla="*/ 41951 h 54106"/>
                <a:gd name="connsiteX9" fmla="*/ 42296 w 56246"/>
                <a:gd name="connsiteY9" fmla="*/ 27053 h 54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246" h="54106">
                  <a:moveTo>
                    <a:pt x="0" y="27053"/>
                  </a:moveTo>
                  <a:cubicBezTo>
                    <a:pt x="0" y="11229"/>
                    <a:pt x="10937" y="0"/>
                    <a:pt x="28123" y="0"/>
                  </a:cubicBezTo>
                  <a:cubicBezTo>
                    <a:pt x="45310" y="0"/>
                    <a:pt x="56246" y="11229"/>
                    <a:pt x="56246" y="27053"/>
                  </a:cubicBezTo>
                  <a:cubicBezTo>
                    <a:pt x="56246" y="42878"/>
                    <a:pt x="45310" y="54107"/>
                    <a:pt x="28123" y="54107"/>
                  </a:cubicBezTo>
                  <a:cubicBezTo>
                    <a:pt x="10937" y="54107"/>
                    <a:pt x="0" y="42878"/>
                    <a:pt x="0" y="27053"/>
                  </a:cubicBezTo>
                  <a:close/>
                  <a:moveTo>
                    <a:pt x="42296" y="27053"/>
                  </a:moveTo>
                  <a:cubicBezTo>
                    <a:pt x="42296" y="18752"/>
                    <a:pt x="36716" y="12156"/>
                    <a:pt x="28086" y="12156"/>
                  </a:cubicBezTo>
                  <a:cubicBezTo>
                    <a:pt x="19456" y="12156"/>
                    <a:pt x="13876" y="18752"/>
                    <a:pt x="13876" y="27053"/>
                  </a:cubicBezTo>
                  <a:cubicBezTo>
                    <a:pt x="13876" y="35355"/>
                    <a:pt x="19456" y="41951"/>
                    <a:pt x="28086" y="41951"/>
                  </a:cubicBezTo>
                  <a:cubicBezTo>
                    <a:pt x="36716" y="41951"/>
                    <a:pt x="42296" y="35355"/>
                    <a:pt x="42296" y="27053"/>
                  </a:cubicBezTo>
                  <a:close/>
                </a:path>
              </a:pathLst>
            </a:custGeom>
            <a:grpFill/>
            <a:ln w="0" cap="flat">
              <a:noFill/>
              <a:prstDash val="solid"/>
              <a:miter/>
            </a:ln>
          </p:spPr>
          <p:txBody>
            <a:bodyPr rtlCol="0" anchor="ctr"/>
            <a:lstStyle/>
            <a:p>
              <a:endParaRPr lang="en-BG"/>
            </a:p>
          </p:txBody>
        </p:sp>
        <p:sp>
          <p:nvSpPr>
            <p:cNvPr id="96" name="Freeform 95">
              <a:extLst>
                <a:ext uri="{FF2B5EF4-FFF2-40B4-BE49-F238E27FC236}">
                  <a16:creationId xmlns:a16="http://schemas.microsoft.com/office/drawing/2014/main" id="{762E42E9-2334-974B-A23E-9B8FCC8EB30A}"/>
                </a:ext>
              </a:extLst>
            </p:cNvPr>
            <p:cNvSpPr/>
            <p:nvPr/>
          </p:nvSpPr>
          <p:spPr>
            <a:xfrm>
              <a:off x="2085824" y="2351304"/>
              <a:ext cx="48769" cy="54106"/>
            </a:xfrm>
            <a:custGeom>
              <a:avLst/>
              <a:gdLst>
                <a:gd name="connsiteX0" fmla="*/ 0 w 48769"/>
                <a:gd name="connsiteY0" fmla="*/ 27053 h 54106"/>
                <a:gd name="connsiteX1" fmla="*/ 28012 w 48769"/>
                <a:gd name="connsiteY1" fmla="*/ 0 h 54106"/>
                <a:gd name="connsiteX2" fmla="*/ 48025 w 48769"/>
                <a:gd name="connsiteY2" fmla="*/ 8079 h 54106"/>
                <a:gd name="connsiteX3" fmla="*/ 39916 w 48769"/>
                <a:gd name="connsiteY3" fmla="*/ 16788 h 54106"/>
                <a:gd name="connsiteX4" fmla="*/ 28532 w 48769"/>
                <a:gd name="connsiteY4" fmla="*/ 12156 h 54106"/>
                <a:gd name="connsiteX5" fmla="*/ 13913 w 48769"/>
                <a:gd name="connsiteY5" fmla="*/ 27053 h 54106"/>
                <a:gd name="connsiteX6" fmla="*/ 28532 w 48769"/>
                <a:gd name="connsiteY6" fmla="*/ 41951 h 54106"/>
                <a:gd name="connsiteX7" fmla="*/ 40548 w 48769"/>
                <a:gd name="connsiteY7" fmla="*/ 36911 h 54106"/>
                <a:gd name="connsiteX8" fmla="*/ 48769 w 48769"/>
                <a:gd name="connsiteY8" fmla="*/ 45731 h 54106"/>
                <a:gd name="connsiteX9" fmla="*/ 28235 w 48769"/>
                <a:gd name="connsiteY9" fmla="*/ 54107 h 54106"/>
                <a:gd name="connsiteX10" fmla="*/ 0 w 48769"/>
                <a:gd name="connsiteY10" fmla="*/ 27053 h 54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769" h="54106">
                  <a:moveTo>
                    <a:pt x="0" y="27053"/>
                  </a:moveTo>
                  <a:cubicBezTo>
                    <a:pt x="0" y="10895"/>
                    <a:pt x="11272" y="0"/>
                    <a:pt x="28012" y="0"/>
                  </a:cubicBezTo>
                  <a:cubicBezTo>
                    <a:pt x="35712" y="0"/>
                    <a:pt x="42445" y="2742"/>
                    <a:pt x="48025" y="8079"/>
                  </a:cubicBezTo>
                  <a:lnTo>
                    <a:pt x="39916" y="16788"/>
                  </a:lnTo>
                  <a:cubicBezTo>
                    <a:pt x="36977" y="13860"/>
                    <a:pt x="32848" y="12156"/>
                    <a:pt x="28532" y="12156"/>
                  </a:cubicBezTo>
                  <a:cubicBezTo>
                    <a:pt x="19902" y="12156"/>
                    <a:pt x="13913" y="18233"/>
                    <a:pt x="13913" y="27053"/>
                  </a:cubicBezTo>
                  <a:cubicBezTo>
                    <a:pt x="13913" y="35874"/>
                    <a:pt x="19828" y="41951"/>
                    <a:pt x="28532" y="41951"/>
                  </a:cubicBezTo>
                  <a:cubicBezTo>
                    <a:pt x="33182" y="41951"/>
                    <a:pt x="37386" y="40173"/>
                    <a:pt x="40548" y="36911"/>
                  </a:cubicBezTo>
                  <a:lnTo>
                    <a:pt x="48769" y="45731"/>
                  </a:lnTo>
                  <a:cubicBezTo>
                    <a:pt x="42854" y="51402"/>
                    <a:pt x="36233" y="54107"/>
                    <a:pt x="28235" y="54107"/>
                  </a:cubicBezTo>
                  <a:cubicBezTo>
                    <a:pt x="11086" y="54107"/>
                    <a:pt x="0" y="43508"/>
                    <a:pt x="0" y="27053"/>
                  </a:cubicBezTo>
                  <a:close/>
                </a:path>
              </a:pathLst>
            </a:custGeom>
            <a:grpFill/>
            <a:ln w="0" cap="flat">
              <a:noFill/>
              <a:prstDash val="solid"/>
              <a:miter/>
            </a:ln>
          </p:spPr>
          <p:txBody>
            <a:bodyPr rtlCol="0" anchor="ctr"/>
            <a:lstStyle/>
            <a:p>
              <a:endParaRPr lang="en-BG"/>
            </a:p>
          </p:txBody>
        </p:sp>
        <p:sp>
          <p:nvSpPr>
            <p:cNvPr id="97" name="Freeform 96">
              <a:extLst>
                <a:ext uri="{FF2B5EF4-FFF2-40B4-BE49-F238E27FC236}">
                  <a16:creationId xmlns:a16="http://schemas.microsoft.com/office/drawing/2014/main" id="{E3F3716C-5A03-4A42-88EC-900CB7A2E923}"/>
                </a:ext>
              </a:extLst>
            </p:cNvPr>
            <p:cNvSpPr/>
            <p:nvPr/>
          </p:nvSpPr>
          <p:spPr>
            <a:xfrm>
              <a:off x="2142814" y="2330847"/>
              <a:ext cx="50257" cy="73414"/>
            </a:xfrm>
            <a:custGeom>
              <a:avLst/>
              <a:gdLst>
                <a:gd name="connsiteX0" fmla="*/ 32550 w 50257"/>
                <a:gd name="connsiteY0" fmla="*/ 73415 h 73414"/>
                <a:gd name="connsiteX1" fmla="*/ 13913 w 50257"/>
                <a:gd name="connsiteY1" fmla="*/ 51402 h 73414"/>
                <a:gd name="connsiteX2" fmla="*/ 13913 w 50257"/>
                <a:gd name="connsiteY2" fmla="*/ 73415 h 73414"/>
                <a:gd name="connsiteX3" fmla="*/ 0 w 50257"/>
                <a:gd name="connsiteY3" fmla="*/ 73415 h 73414"/>
                <a:gd name="connsiteX4" fmla="*/ 0 w 50257"/>
                <a:gd name="connsiteY4" fmla="*/ 0 h 73414"/>
                <a:gd name="connsiteX5" fmla="*/ 13913 w 50257"/>
                <a:gd name="connsiteY5" fmla="*/ 0 h 73414"/>
                <a:gd name="connsiteX6" fmla="*/ 13913 w 50257"/>
                <a:gd name="connsiteY6" fmla="*/ 42470 h 73414"/>
                <a:gd name="connsiteX7" fmla="*/ 30653 w 50257"/>
                <a:gd name="connsiteY7" fmla="*/ 21606 h 73414"/>
                <a:gd name="connsiteX8" fmla="*/ 47095 w 50257"/>
                <a:gd name="connsiteY8" fmla="*/ 21606 h 73414"/>
                <a:gd name="connsiteX9" fmla="*/ 26784 w 50257"/>
                <a:gd name="connsiteY9" fmla="*/ 46361 h 73414"/>
                <a:gd name="connsiteX10" fmla="*/ 50257 w 50257"/>
                <a:gd name="connsiteY10" fmla="*/ 73415 h 73414"/>
                <a:gd name="connsiteX11" fmla="*/ 32587 w 50257"/>
                <a:gd name="connsiteY11" fmla="*/ 73415 h 7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257" h="73414">
                  <a:moveTo>
                    <a:pt x="32550" y="73415"/>
                  </a:moveTo>
                  <a:lnTo>
                    <a:pt x="13913" y="51402"/>
                  </a:lnTo>
                  <a:lnTo>
                    <a:pt x="13913" y="73415"/>
                  </a:lnTo>
                  <a:lnTo>
                    <a:pt x="0" y="73415"/>
                  </a:lnTo>
                  <a:lnTo>
                    <a:pt x="0" y="0"/>
                  </a:lnTo>
                  <a:lnTo>
                    <a:pt x="13913" y="0"/>
                  </a:lnTo>
                  <a:lnTo>
                    <a:pt x="13913" y="42470"/>
                  </a:lnTo>
                  <a:lnTo>
                    <a:pt x="30653" y="21606"/>
                  </a:lnTo>
                  <a:lnTo>
                    <a:pt x="47095" y="21606"/>
                  </a:lnTo>
                  <a:lnTo>
                    <a:pt x="26784" y="46361"/>
                  </a:lnTo>
                  <a:lnTo>
                    <a:pt x="50257" y="73415"/>
                  </a:lnTo>
                  <a:lnTo>
                    <a:pt x="32587" y="73415"/>
                  </a:lnTo>
                  <a:close/>
                </a:path>
              </a:pathLst>
            </a:custGeom>
            <a:grpFill/>
            <a:ln w="0" cap="flat">
              <a:noFill/>
              <a:prstDash val="solid"/>
              <a:miter/>
            </a:ln>
          </p:spPr>
          <p:txBody>
            <a:bodyPr rtlCol="0" anchor="ctr"/>
            <a:lstStyle/>
            <a:p>
              <a:endParaRPr lang="en-BG"/>
            </a:p>
          </p:txBody>
        </p:sp>
        <p:sp>
          <p:nvSpPr>
            <p:cNvPr id="98" name="Freeform 97">
              <a:extLst>
                <a:ext uri="{FF2B5EF4-FFF2-40B4-BE49-F238E27FC236}">
                  <a16:creationId xmlns:a16="http://schemas.microsoft.com/office/drawing/2014/main" id="{3B986813-A634-514F-934C-5313F52887BE}"/>
                </a:ext>
              </a:extLst>
            </p:cNvPr>
            <p:cNvSpPr/>
            <p:nvPr/>
          </p:nvSpPr>
          <p:spPr>
            <a:xfrm>
              <a:off x="2228411" y="2330810"/>
              <a:ext cx="56023" cy="73414"/>
            </a:xfrm>
            <a:custGeom>
              <a:avLst/>
              <a:gdLst>
                <a:gd name="connsiteX0" fmla="*/ 56023 w 56023"/>
                <a:gd name="connsiteY0" fmla="*/ 60741 h 73414"/>
                <a:gd name="connsiteX1" fmla="*/ 56023 w 56023"/>
                <a:gd name="connsiteY1" fmla="*/ 73415 h 73414"/>
                <a:gd name="connsiteX2" fmla="*/ 0 w 56023"/>
                <a:gd name="connsiteY2" fmla="*/ 73415 h 73414"/>
                <a:gd name="connsiteX3" fmla="*/ 0 w 56023"/>
                <a:gd name="connsiteY3" fmla="*/ 0 h 73414"/>
                <a:gd name="connsiteX4" fmla="*/ 55056 w 56023"/>
                <a:gd name="connsiteY4" fmla="*/ 0 h 73414"/>
                <a:gd name="connsiteX5" fmla="*/ 55056 w 56023"/>
                <a:gd name="connsiteY5" fmla="*/ 12600 h 73414"/>
                <a:gd name="connsiteX6" fmla="*/ 14322 w 56023"/>
                <a:gd name="connsiteY6" fmla="*/ 12600 h 73414"/>
                <a:gd name="connsiteX7" fmla="*/ 14322 w 56023"/>
                <a:gd name="connsiteY7" fmla="*/ 30129 h 73414"/>
                <a:gd name="connsiteX8" fmla="*/ 53159 w 56023"/>
                <a:gd name="connsiteY8" fmla="*/ 30129 h 73414"/>
                <a:gd name="connsiteX9" fmla="*/ 53159 w 56023"/>
                <a:gd name="connsiteY9" fmla="*/ 42396 h 73414"/>
                <a:gd name="connsiteX10" fmla="*/ 14322 w 56023"/>
                <a:gd name="connsiteY10" fmla="*/ 42396 h 73414"/>
                <a:gd name="connsiteX11" fmla="*/ 14322 w 56023"/>
                <a:gd name="connsiteY11" fmla="*/ 60741 h 73414"/>
                <a:gd name="connsiteX12" fmla="*/ 56023 w 56023"/>
                <a:gd name="connsiteY12" fmla="*/ 60741 h 7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023" h="73414">
                  <a:moveTo>
                    <a:pt x="56023" y="60741"/>
                  </a:moveTo>
                  <a:lnTo>
                    <a:pt x="56023" y="73415"/>
                  </a:lnTo>
                  <a:lnTo>
                    <a:pt x="0" y="73415"/>
                  </a:lnTo>
                  <a:lnTo>
                    <a:pt x="0" y="0"/>
                  </a:lnTo>
                  <a:lnTo>
                    <a:pt x="55056" y="0"/>
                  </a:lnTo>
                  <a:lnTo>
                    <a:pt x="55056" y="12600"/>
                  </a:lnTo>
                  <a:lnTo>
                    <a:pt x="14322" y="12600"/>
                  </a:lnTo>
                  <a:lnTo>
                    <a:pt x="14322" y="30129"/>
                  </a:lnTo>
                  <a:lnTo>
                    <a:pt x="53159" y="30129"/>
                  </a:lnTo>
                  <a:lnTo>
                    <a:pt x="53159" y="42396"/>
                  </a:lnTo>
                  <a:lnTo>
                    <a:pt x="14322" y="42396"/>
                  </a:lnTo>
                  <a:lnTo>
                    <a:pt x="14322" y="60741"/>
                  </a:lnTo>
                  <a:lnTo>
                    <a:pt x="56023" y="60741"/>
                  </a:lnTo>
                  <a:close/>
                </a:path>
              </a:pathLst>
            </a:custGeom>
            <a:grpFill/>
            <a:ln w="0" cap="flat">
              <a:noFill/>
              <a:prstDash val="solid"/>
              <a:miter/>
            </a:ln>
          </p:spPr>
          <p:txBody>
            <a:bodyPr rtlCol="0" anchor="ctr"/>
            <a:lstStyle/>
            <a:p>
              <a:endParaRPr lang="en-BG"/>
            </a:p>
          </p:txBody>
        </p:sp>
        <p:sp>
          <p:nvSpPr>
            <p:cNvPr id="99" name="Freeform 98">
              <a:extLst>
                <a:ext uri="{FF2B5EF4-FFF2-40B4-BE49-F238E27FC236}">
                  <a16:creationId xmlns:a16="http://schemas.microsoft.com/office/drawing/2014/main" id="{D23D3AE8-4A6B-8B4F-B043-F9DAADE821FC}"/>
                </a:ext>
              </a:extLst>
            </p:cNvPr>
            <p:cNvSpPr/>
            <p:nvPr/>
          </p:nvSpPr>
          <p:spPr>
            <a:xfrm>
              <a:off x="2291428" y="2352453"/>
              <a:ext cx="54869" cy="51809"/>
            </a:xfrm>
            <a:custGeom>
              <a:avLst/>
              <a:gdLst>
                <a:gd name="connsiteX0" fmla="*/ 54833 w 54869"/>
                <a:gd name="connsiteY0" fmla="*/ 51809 h 51809"/>
                <a:gd name="connsiteX1" fmla="*/ 38502 w 54869"/>
                <a:gd name="connsiteY1" fmla="*/ 51809 h 51809"/>
                <a:gd name="connsiteX2" fmla="*/ 32699 w 54869"/>
                <a:gd name="connsiteY2" fmla="*/ 42878 h 51809"/>
                <a:gd name="connsiteX3" fmla="*/ 27342 w 54869"/>
                <a:gd name="connsiteY3" fmla="*/ 34169 h 51809"/>
                <a:gd name="connsiteX4" fmla="*/ 21985 w 54869"/>
                <a:gd name="connsiteY4" fmla="*/ 42878 h 51809"/>
                <a:gd name="connsiteX5" fmla="*/ 15996 w 54869"/>
                <a:gd name="connsiteY5" fmla="*/ 51809 h 51809"/>
                <a:gd name="connsiteX6" fmla="*/ 0 w 54869"/>
                <a:gd name="connsiteY6" fmla="*/ 51809 h 51809"/>
                <a:gd name="connsiteX7" fmla="*/ 18228 w 54869"/>
                <a:gd name="connsiteY7" fmla="*/ 25275 h 51809"/>
                <a:gd name="connsiteX8" fmla="*/ 1265 w 54869"/>
                <a:gd name="connsiteY8" fmla="*/ 0 h 51809"/>
                <a:gd name="connsiteX9" fmla="*/ 17484 w 54869"/>
                <a:gd name="connsiteY9" fmla="*/ 0 h 51809"/>
                <a:gd name="connsiteX10" fmla="*/ 23585 w 54869"/>
                <a:gd name="connsiteY10" fmla="*/ 9450 h 51809"/>
                <a:gd name="connsiteX11" fmla="*/ 27491 w 54869"/>
                <a:gd name="connsiteY11" fmla="*/ 16047 h 51809"/>
                <a:gd name="connsiteX12" fmla="*/ 31508 w 54869"/>
                <a:gd name="connsiteY12" fmla="*/ 9450 h 51809"/>
                <a:gd name="connsiteX13" fmla="*/ 37721 w 54869"/>
                <a:gd name="connsiteY13" fmla="*/ 0 h 51809"/>
                <a:gd name="connsiteX14" fmla="*/ 53605 w 54869"/>
                <a:gd name="connsiteY14" fmla="*/ 0 h 51809"/>
                <a:gd name="connsiteX15" fmla="*/ 36754 w 54869"/>
                <a:gd name="connsiteY15" fmla="*/ 25275 h 51809"/>
                <a:gd name="connsiteX16" fmla="*/ 54870 w 54869"/>
                <a:gd name="connsiteY16" fmla="*/ 51809 h 5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4869" h="51809">
                  <a:moveTo>
                    <a:pt x="54833" y="51809"/>
                  </a:moveTo>
                  <a:lnTo>
                    <a:pt x="38502" y="51809"/>
                  </a:lnTo>
                  <a:lnTo>
                    <a:pt x="32699" y="42878"/>
                  </a:lnTo>
                  <a:lnTo>
                    <a:pt x="27342" y="34169"/>
                  </a:lnTo>
                  <a:lnTo>
                    <a:pt x="21985" y="42878"/>
                  </a:lnTo>
                  <a:lnTo>
                    <a:pt x="15996" y="51809"/>
                  </a:lnTo>
                  <a:lnTo>
                    <a:pt x="0" y="51809"/>
                  </a:lnTo>
                  <a:lnTo>
                    <a:pt x="18228" y="25275"/>
                  </a:lnTo>
                  <a:lnTo>
                    <a:pt x="1265" y="0"/>
                  </a:lnTo>
                  <a:lnTo>
                    <a:pt x="17484" y="0"/>
                  </a:lnTo>
                  <a:lnTo>
                    <a:pt x="23585" y="9450"/>
                  </a:lnTo>
                  <a:lnTo>
                    <a:pt x="27491" y="16047"/>
                  </a:lnTo>
                  <a:lnTo>
                    <a:pt x="31508" y="9450"/>
                  </a:lnTo>
                  <a:lnTo>
                    <a:pt x="37721" y="0"/>
                  </a:lnTo>
                  <a:lnTo>
                    <a:pt x="53605" y="0"/>
                  </a:lnTo>
                  <a:lnTo>
                    <a:pt x="36754" y="25275"/>
                  </a:lnTo>
                  <a:lnTo>
                    <a:pt x="54870" y="51809"/>
                  </a:lnTo>
                  <a:close/>
                </a:path>
              </a:pathLst>
            </a:custGeom>
            <a:grpFill/>
            <a:ln w="0" cap="flat">
              <a:noFill/>
              <a:prstDash val="solid"/>
              <a:miter/>
            </a:ln>
          </p:spPr>
          <p:txBody>
            <a:bodyPr rtlCol="0" anchor="ctr"/>
            <a:lstStyle/>
            <a:p>
              <a:endParaRPr lang="en-BG"/>
            </a:p>
          </p:txBody>
        </p:sp>
        <p:sp>
          <p:nvSpPr>
            <p:cNvPr id="100" name="Freeform 99">
              <a:extLst>
                <a:ext uri="{FF2B5EF4-FFF2-40B4-BE49-F238E27FC236}">
                  <a16:creationId xmlns:a16="http://schemas.microsoft.com/office/drawing/2014/main" id="{F97955F8-9495-D142-8CF4-C156EF2D81FC}"/>
                </a:ext>
              </a:extLst>
            </p:cNvPr>
            <p:cNvSpPr/>
            <p:nvPr/>
          </p:nvSpPr>
          <p:spPr>
            <a:xfrm>
              <a:off x="2348493" y="2351304"/>
              <a:ext cx="48769" cy="54106"/>
            </a:xfrm>
            <a:custGeom>
              <a:avLst/>
              <a:gdLst>
                <a:gd name="connsiteX0" fmla="*/ 0 w 48769"/>
                <a:gd name="connsiteY0" fmla="*/ 27053 h 54106"/>
                <a:gd name="connsiteX1" fmla="*/ 28012 w 48769"/>
                <a:gd name="connsiteY1" fmla="*/ 0 h 54106"/>
                <a:gd name="connsiteX2" fmla="*/ 48025 w 48769"/>
                <a:gd name="connsiteY2" fmla="*/ 8079 h 54106"/>
                <a:gd name="connsiteX3" fmla="*/ 39916 w 48769"/>
                <a:gd name="connsiteY3" fmla="*/ 16788 h 54106"/>
                <a:gd name="connsiteX4" fmla="*/ 28532 w 48769"/>
                <a:gd name="connsiteY4" fmla="*/ 12156 h 54106"/>
                <a:gd name="connsiteX5" fmla="*/ 13913 w 48769"/>
                <a:gd name="connsiteY5" fmla="*/ 27053 h 54106"/>
                <a:gd name="connsiteX6" fmla="*/ 28532 w 48769"/>
                <a:gd name="connsiteY6" fmla="*/ 41951 h 54106"/>
                <a:gd name="connsiteX7" fmla="*/ 40548 w 48769"/>
                <a:gd name="connsiteY7" fmla="*/ 36911 h 54106"/>
                <a:gd name="connsiteX8" fmla="*/ 48769 w 48769"/>
                <a:gd name="connsiteY8" fmla="*/ 45731 h 54106"/>
                <a:gd name="connsiteX9" fmla="*/ 28235 w 48769"/>
                <a:gd name="connsiteY9" fmla="*/ 54107 h 54106"/>
                <a:gd name="connsiteX10" fmla="*/ 0 w 48769"/>
                <a:gd name="connsiteY10" fmla="*/ 27053 h 54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769" h="54106">
                  <a:moveTo>
                    <a:pt x="0" y="27053"/>
                  </a:moveTo>
                  <a:cubicBezTo>
                    <a:pt x="0" y="10895"/>
                    <a:pt x="11272" y="0"/>
                    <a:pt x="28012" y="0"/>
                  </a:cubicBezTo>
                  <a:cubicBezTo>
                    <a:pt x="35712" y="0"/>
                    <a:pt x="42445" y="2742"/>
                    <a:pt x="48025" y="8079"/>
                  </a:cubicBezTo>
                  <a:lnTo>
                    <a:pt x="39916" y="16788"/>
                  </a:lnTo>
                  <a:cubicBezTo>
                    <a:pt x="36977" y="13860"/>
                    <a:pt x="32848" y="12156"/>
                    <a:pt x="28532" y="12156"/>
                  </a:cubicBezTo>
                  <a:cubicBezTo>
                    <a:pt x="19902" y="12156"/>
                    <a:pt x="13913" y="18233"/>
                    <a:pt x="13913" y="27053"/>
                  </a:cubicBezTo>
                  <a:cubicBezTo>
                    <a:pt x="13913" y="35874"/>
                    <a:pt x="19828" y="41951"/>
                    <a:pt x="28532" y="41951"/>
                  </a:cubicBezTo>
                  <a:cubicBezTo>
                    <a:pt x="33182" y="41951"/>
                    <a:pt x="37386" y="40173"/>
                    <a:pt x="40548" y="36911"/>
                  </a:cubicBezTo>
                  <a:lnTo>
                    <a:pt x="48769" y="45731"/>
                  </a:lnTo>
                  <a:cubicBezTo>
                    <a:pt x="42854" y="51402"/>
                    <a:pt x="36233" y="54107"/>
                    <a:pt x="28235" y="54107"/>
                  </a:cubicBezTo>
                  <a:cubicBezTo>
                    <a:pt x="11086" y="54107"/>
                    <a:pt x="0" y="43508"/>
                    <a:pt x="0" y="27053"/>
                  </a:cubicBezTo>
                  <a:close/>
                </a:path>
              </a:pathLst>
            </a:custGeom>
            <a:grpFill/>
            <a:ln w="0" cap="flat">
              <a:noFill/>
              <a:prstDash val="solid"/>
              <a:miter/>
            </a:ln>
          </p:spPr>
          <p:txBody>
            <a:bodyPr rtlCol="0" anchor="ctr"/>
            <a:lstStyle/>
            <a:p>
              <a:endParaRPr lang="en-BG"/>
            </a:p>
          </p:txBody>
        </p:sp>
        <p:sp>
          <p:nvSpPr>
            <p:cNvPr id="101" name="Freeform 100">
              <a:extLst>
                <a:ext uri="{FF2B5EF4-FFF2-40B4-BE49-F238E27FC236}">
                  <a16:creationId xmlns:a16="http://schemas.microsoft.com/office/drawing/2014/main" id="{ED909EE0-5E0E-6A4A-9090-E8A06B0A65AE}"/>
                </a:ext>
              </a:extLst>
            </p:cNvPr>
            <p:cNvSpPr/>
            <p:nvPr/>
          </p:nvSpPr>
          <p:spPr>
            <a:xfrm>
              <a:off x="2405520" y="2330847"/>
              <a:ext cx="51893" cy="73414"/>
            </a:xfrm>
            <a:custGeom>
              <a:avLst/>
              <a:gdLst>
                <a:gd name="connsiteX0" fmla="*/ 51857 w 51893"/>
                <a:gd name="connsiteY0" fmla="*/ 44471 h 73414"/>
                <a:gd name="connsiteX1" fmla="*/ 51857 w 51893"/>
                <a:gd name="connsiteY1" fmla="*/ 73415 h 73414"/>
                <a:gd name="connsiteX2" fmla="*/ 37870 w 51893"/>
                <a:gd name="connsiteY2" fmla="*/ 73415 h 73414"/>
                <a:gd name="connsiteX3" fmla="*/ 37870 w 51893"/>
                <a:gd name="connsiteY3" fmla="*/ 45324 h 73414"/>
                <a:gd name="connsiteX4" fmla="*/ 26821 w 51893"/>
                <a:gd name="connsiteY4" fmla="*/ 32724 h 73414"/>
                <a:gd name="connsiteX5" fmla="*/ 13987 w 51893"/>
                <a:gd name="connsiteY5" fmla="*/ 46139 h 73414"/>
                <a:gd name="connsiteX6" fmla="*/ 13987 w 51893"/>
                <a:gd name="connsiteY6" fmla="*/ 73415 h 73414"/>
                <a:gd name="connsiteX7" fmla="*/ 0 w 51893"/>
                <a:gd name="connsiteY7" fmla="*/ 73415 h 73414"/>
                <a:gd name="connsiteX8" fmla="*/ 0 w 51893"/>
                <a:gd name="connsiteY8" fmla="*/ 0 h 73414"/>
                <a:gd name="connsiteX9" fmla="*/ 13987 w 51893"/>
                <a:gd name="connsiteY9" fmla="*/ 0 h 73414"/>
                <a:gd name="connsiteX10" fmla="*/ 13987 w 51893"/>
                <a:gd name="connsiteY10" fmla="*/ 27498 h 73414"/>
                <a:gd name="connsiteX11" fmla="*/ 30318 w 51893"/>
                <a:gd name="connsiteY11" fmla="*/ 20568 h 73414"/>
                <a:gd name="connsiteX12" fmla="*/ 51894 w 51893"/>
                <a:gd name="connsiteY12" fmla="*/ 44471 h 7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893" h="73414">
                  <a:moveTo>
                    <a:pt x="51857" y="44471"/>
                  </a:moveTo>
                  <a:lnTo>
                    <a:pt x="51857" y="73415"/>
                  </a:lnTo>
                  <a:lnTo>
                    <a:pt x="37870" y="73415"/>
                  </a:lnTo>
                  <a:lnTo>
                    <a:pt x="37870" y="45324"/>
                  </a:lnTo>
                  <a:cubicBezTo>
                    <a:pt x="37870" y="37356"/>
                    <a:pt x="33778" y="32724"/>
                    <a:pt x="26821" y="32724"/>
                  </a:cubicBezTo>
                  <a:cubicBezTo>
                    <a:pt x="19121" y="32724"/>
                    <a:pt x="13987" y="38171"/>
                    <a:pt x="13987" y="46139"/>
                  </a:cubicBezTo>
                  <a:lnTo>
                    <a:pt x="13987" y="73415"/>
                  </a:lnTo>
                  <a:lnTo>
                    <a:pt x="0" y="73415"/>
                  </a:lnTo>
                  <a:lnTo>
                    <a:pt x="0" y="0"/>
                  </a:lnTo>
                  <a:lnTo>
                    <a:pt x="13987" y="0"/>
                  </a:lnTo>
                  <a:lnTo>
                    <a:pt x="13987" y="27498"/>
                  </a:lnTo>
                  <a:cubicBezTo>
                    <a:pt x="18005" y="22977"/>
                    <a:pt x="23473" y="20568"/>
                    <a:pt x="30318" y="20568"/>
                  </a:cubicBezTo>
                  <a:cubicBezTo>
                    <a:pt x="43598" y="20568"/>
                    <a:pt x="51894" y="29907"/>
                    <a:pt x="51894" y="44471"/>
                  </a:cubicBezTo>
                  <a:close/>
                </a:path>
              </a:pathLst>
            </a:custGeom>
            <a:grpFill/>
            <a:ln w="0" cap="flat">
              <a:noFill/>
              <a:prstDash val="solid"/>
              <a:miter/>
            </a:ln>
          </p:spPr>
          <p:txBody>
            <a:bodyPr rtlCol="0" anchor="ctr"/>
            <a:lstStyle/>
            <a:p>
              <a:endParaRPr lang="en-BG"/>
            </a:p>
          </p:txBody>
        </p:sp>
        <p:sp>
          <p:nvSpPr>
            <p:cNvPr id="102" name="Freeform 101">
              <a:extLst>
                <a:ext uri="{FF2B5EF4-FFF2-40B4-BE49-F238E27FC236}">
                  <a16:creationId xmlns:a16="http://schemas.microsoft.com/office/drawing/2014/main" id="{875A79B5-77EC-6645-9A07-905F82111EC1}"/>
                </a:ext>
              </a:extLst>
            </p:cNvPr>
            <p:cNvSpPr/>
            <p:nvPr/>
          </p:nvSpPr>
          <p:spPr>
            <a:xfrm>
              <a:off x="2467160" y="2351304"/>
              <a:ext cx="56320" cy="54106"/>
            </a:xfrm>
            <a:custGeom>
              <a:avLst/>
              <a:gdLst>
                <a:gd name="connsiteX0" fmla="*/ 56321 w 56320"/>
                <a:gd name="connsiteY0" fmla="*/ 1149 h 54106"/>
                <a:gd name="connsiteX1" fmla="*/ 56321 w 56320"/>
                <a:gd name="connsiteY1" fmla="*/ 52958 h 54106"/>
                <a:gd name="connsiteX2" fmla="*/ 44193 w 56320"/>
                <a:gd name="connsiteY2" fmla="*/ 52958 h 54106"/>
                <a:gd name="connsiteX3" fmla="*/ 43263 w 56320"/>
                <a:gd name="connsiteY3" fmla="*/ 46658 h 54106"/>
                <a:gd name="connsiteX4" fmla="*/ 25259 w 56320"/>
                <a:gd name="connsiteY4" fmla="*/ 54107 h 54106"/>
                <a:gd name="connsiteX5" fmla="*/ 0 w 56320"/>
                <a:gd name="connsiteY5" fmla="*/ 27053 h 54106"/>
                <a:gd name="connsiteX6" fmla="*/ 25259 w 56320"/>
                <a:gd name="connsiteY6" fmla="*/ 0 h 54106"/>
                <a:gd name="connsiteX7" fmla="*/ 43263 w 56320"/>
                <a:gd name="connsiteY7" fmla="*/ 7338 h 54106"/>
                <a:gd name="connsiteX8" fmla="*/ 44193 w 56320"/>
                <a:gd name="connsiteY8" fmla="*/ 1149 h 54106"/>
                <a:gd name="connsiteX9" fmla="*/ 56321 w 56320"/>
                <a:gd name="connsiteY9" fmla="*/ 1149 h 54106"/>
                <a:gd name="connsiteX10" fmla="*/ 42445 w 56320"/>
                <a:gd name="connsiteY10" fmla="*/ 27053 h 54106"/>
                <a:gd name="connsiteX11" fmla="*/ 28123 w 56320"/>
                <a:gd name="connsiteY11" fmla="*/ 12156 h 54106"/>
                <a:gd name="connsiteX12" fmla="*/ 13913 w 56320"/>
                <a:gd name="connsiteY12" fmla="*/ 27053 h 54106"/>
                <a:gd name="connsiteX13" fmla="*/ 28123 w 56320"/>
                <a:gd name="connsiteY13" fmla="*/ 41951 h 54106"/>
                <a:gd name="connsiteX14" fmla="*/ 42445 w 56320"/>
                <a:gd name="connsiteY14" fmla="*/ 27053 h 54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320" h="54106">
                  <a:moveTo>
                    <a:pt x="56321" y="1149"/>
                  </a:moveTo>
                  <a:lnTo>
                    <a:pt x="56321" y="52958"/>
                  </a:lnTo>
                  <a:lnTo>
                    <a:pt x="44193" y="52958"/>
                  </a:lnTo>
                  <a:lnTo>
                    <a:pt x="43263" y="46658"/>
                  </a:lnTo>
                  <a:cubicBezTo>
                    <a:pt x="38948" y="51476"/>
                    <a:pt x="32624" y="54107"/>
                    <a:pt x="25259" y="54107"/>
                  </a:cubicBezTo>
                  <a:cubicBezTo>
                    <a:pt x="10304" y="54107"/>
                    <a:pt x="0" y="42989"/>
                    <a:pt x="0" y="27053"/>
                  </a:cubicBezTo>
                  <a:cubicBezTo>
                    <a:pt x="0" y="11118"/>
                    <a:pt x="10304" y="0"/>
                    <a:pt x="25259" y="0"/>
                  </a:cubicBezTo>
                  <a:cubicBezTo>
                    <a:pt x="32624" y="0"/>
                    <a:pt x="39060" y="2631"/>
                    <a:pt x="43263" y="7338"/>
                  </a:cubicBezTo>
                  <a:lnTo>
                    <a:pt x="44193" y="1149"/>
                  </a:lnTo>
                  <a:lnTo>
                    <a:pt x="56321" y="1149"/>
                  </a:lnTo>
                  <a:close/>
                  <a:moveTo>
                    <a:pt x="42445" y="27053"/>
                  </a:moveTo>
                  <a:cubicBezTo>
                    <a:pt x="42445" y="18344"/>
                    <a:pt x="36568" y="12156"/>
                    <a:pt x="28123" y="12156"/>
                  </a:cubicBezTo>
                  <a:cubicBezTo>
                    <a:pt x="19679" y="12156"/>
                    <a:pt x="13913" y="18344"/>
                    <a:pt x="13913" y="27053"/>
                  </a:cubicBezTo>
                  <a:cubicBezTo>
                    <a:pt x="13913" y="35762"/>
                    <a:pt x="19828" y="41951"/>
                    <a:pt x="28123" y="41951"/>
                  </a:cubicBezTo>
                  <a:cubicBezTo>
                    <a:pt x="36419" y="41951"/>
                    <a:pt x="42445" y="35762"/>
                    <a:pt x="42445" y="27053"/>
                  </a:cubicBezTo>
                  <a:close/>
                </a:path>
              </a:pathLst>
            </a:custGeom>
            <a:grpFill/>
            <a:ln w="0" cap="flat">
              <a:noFill/>
              <a:prstDash val="solid"/>
              <a:miter/>
            </a:ln>
          </p:spPr>
          <p:txBody>
            <a:bodyPr rtlCol="0" anchor="ctr"/>
            <a:lstStyle/>
            <a:p>
              <a:endParaRPr lang="en-BG"/>
            </a:p>
          </p:txBody>
        </p:sp>
        <p:sp>
          <p:nvSpPr>
            <p:cNvPr id="103" name="Freeform 102">
              <a:extLst>
                <a:ext uri="{FF2B5EF4-FFF2-40B4-BE49-F238E27FC236}">
                  <a16:creationId xmlns:a16="http://schemas.microsoft.com/office/drawing/2014/main" id="{7AF94587-284C-4142-9DC6-327E2179643E}"/>
                </a:ext>
              </a:extLst>
            </p:cNvPr>
            <p:cNvSpPr/>
            <p:nvPr/>
          </p:nvSpPr>
          <p:spPr>
            <a:xfrm>
              <a:off x="2536985" y="2351378"/>
              <a:ext cx="51931" cy="52883"/>
            </a:xfrm>
            <a:custGeom>
              <a:avLst/>
              <a:gdLst>
                <a:gd name="connsiteX0" fmla="*/ 51894 w 51931"/>
                <a:gd name="connsiteY0" fmla="*/ 23940 h 52883"/>
                <a:gd name="connsiteX1" fmla="*/ 51894 w 51931"/>
                <a:gd name="connsiteY1" fmla="*/ 52884 h 52883"/>
                <a:gd name="connsiteX2" fmla="*/ 37907 w 51931"/>
                <a:gd name="connsiteY2" fmla="*/ 52884 h 52883"/>
                <a:gd name="connsiteX3" fmla="*/ 37907 w 51931"/>
                <a:gd name="connsiteY3" fmla="*/ 24793 h 52883"/>
                <a:gd name="connsiteX4" fmla="*/ 26635 w 51931"/>
                <a:gd name="connsiteY4" fmla="*/ 12193 h 52883"/>
                <a:gd name="connsiteX5" fmla="*/ 13987 w 51931"/>
                <a:gd name="connsiteY5" fmla="*/ 25719 h 52883"/>
                <a:gd name="connsiteX6" fmla="*/ 13987 w 51931"/>
                <a:gd name="connsiteY6" fmla="*/ 52884 h 52883"/>
                <a:gd name="connsiteX7" fmla="*/ 0 w 51931"/>
                <a:gd name="connsiteY7" fmla="*/ 52884 h 52883"/>
                <a:gd name="connsiteX8" fmla="*/ 0 w 51931"/>
                <a:gd name="connsiteY8" fmla="*/ 1075 h 52883"/>
                <a:gd name="connsiteX9" fmla="*/ 12090 w 51931"/>
                <a:gd name="connsiteY9" fmla="*/ 1075 h 52883"/>
                <a:gd name="connsiteX10" fmla="*/ 13057 w 51931"/>
                <a:gd name="connsiteY10" fmla="*/ 7041 h 52883"/>
                <a:gd name="connsiteX11" fmla="*/ 30132 w 51931"/>
                <a:gd name="connsiteY11" fmla="*/ 0 h 52883"/>
                <a:gd name="connsiteX12" fmla="*/ 51931 w 51931"/>
                <a:gd name="connsiteY12" fmla="*/ 23903 h 52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931" h="52883">
                  <a:moveTo>
                    <a:pt x="51894" y="23940"/>
                  </a:moveTo>
                  <a:lnTo>
                    <a:pt x="51894" y="52884"/>
                  </a:lnTo>
                  <a:lnTo>
                    <a:pt x="37907" y="52884"/>
                  </a:lnTo>
                  <a:lnTo>
                    <a:pt x="37907" y="24793"/>
                  </a:lnTo>
                  <a:cubicBezTo>
                    <a:pt x="37907" y="16825"/>
                    <a:pt x="33592" y="12193"/>
                    <a:pt x="26635" y="12193"/>
                  </a:cubicBezTo>
                  <a:cubicBezTo>
                    <a:pt x="19046" y="12193"/>
                    <a:pt x="13987" y="17752"/>
                    <a:pt x="13987" y="25719"/>
                  </a:cubicBezTo>
                  <a:lnTo>
                    <a:pt x="13987" y="52884"/>
                  </a:lnTo>
                  <a:lnTo>
                    <a:pt x="0" y="52884"/>
                  </a:lnTo>
                  <a:lnTo>
                    <a:pt x="0" y="1075"/>
                  </a:lnTo>
                  <a:lnTo>
                    <a:pt x="12090" y="1075"/>
                  </a:lnTo>
                  <a:lnTo>
                    <a:pt x="13057" y="7041"/>
                  </a:lnTo>
                  <a:cubicBezTo>
                    <a:pt x="17149" y="2520"/>
                    <a:pt x="23287" y="0"/>
                    <a:pt x="30132" y="0"/>
                  </a:cubicBezTo>
                  <a:cubicBezTo>
                    <a:pt x="43412" y="0"/>
                    <a:pt x="51931" y="9228"/>
                    <a:pt x="51931" y="23903"/>
                  </a:cubicBezTo>
                  <a:close/>
                </a:path>
              </a:pathLst>
            </a:custGeom>
            <a:grpFill/>
            <a:ln w="0" cap="flat">
              <a:noFill/>
              <a:prstDash val="solid"/>
              <a:miter/>
            </a:ln>
          </p:spPr>
          <p:txBody>
            <a:bodyPr rtlCol="0" anchor="ctr"/>
            <a:lstStyle/>
            <a:p>
              <a:endParaRPr lang="en-BG"/>
            </a:p>
          </p:txBody>
        </p:sp>
        <p:sp>
          <p:nvSpPr>
            <p:cNvPr id="104" name="Freeform 103">
              <a:extLst>
                <a:ext uri="{FF2B5EF4-FFF2-40B4-BE49-F238E27FC236}">
                  <a16:creationId xmlns:a16="http://schemas.microsoft.com/office/drawing/2014/main" id="{51458D2D-7E9B-D74A-8308-90ABF795279E}"/>
                </a:ext>
              </a:extLst>
            </p:cNvPr>
            <p:cNvSpPr/>
            <p:nvPr/>
          </p:nvSpPr>
          <p:spPr>
            <a:xfrm>
              <a:off x="2598253" y="2346301"/>
              <a:ext cx="57734" cy="88349"/>
            </a:xfrm>
            <a:custGeom>
              <a:avLst/>
              <a:gdLst>
                <a:gd name="connsiteX0" fmla="*/ 44417 w 57734"/>
                <a:gd name="connsiteY0" fmla="*/ 50290 h 88349"/>
                <a:gd name="connsiteX1" fmla="*/ 56321 w 57734"/>
                <a:gd name="connsiteY1" fmla="*/ 66744 h 88349"/>
                <a:gd name="connsiteX2" fmla="*/ 28198 w 57734"/>
                <a:gd name="connsiteY2" fmla="*/ 88350 h 88349"/>
                <a:gd name="connsiteX3" fmla="*/ 521 w 57734"/>
                <a:gd name="connsiteY3" fmla="*/ 64521 h 88349"/>
                <a:gd name="connsiteX4" fmla="*/ 14099 w 57734"/>
                <a:gd name="connsiteY4" fmla="*/ 64521 h 88349"/>
                <a:gd name="connsiteX5" fmla="*/ 28198 w 57734"/>
                <a:gd name="connsiteY5" fmla="*/ 76268 h 88349"/>
                <a:gd name="connsiteX6" fmla="*/ 42110 w 57734"/>
                <a:gd name="connsiteY6" fmla="*/ 66411 h 88349"/>
                <a:gd name="connsiteX7" fmla="*/ 28421 w 57734"/>
                <a:gd name="connsiteY7" fmla="*/ 56960 h 88349"/>
                <a:gd name="connsiteX8" fmla="*/ 0 w 57734"/>
                <a:gd name="connsiteY8" fmla="*/ 30945 h 88349"/>
                <a:gd name="connsiteX9" fmla="*/ 28123 w 57734"/>
                <a:gd name="connsiteY9" fmla="*/ 4818 h 88349"/>
                <a:gd name="connsiteX10" fmla="*/ 41180 w 57734"/>
                <a:gd name="connsiteY10" fmla="*/ 7857 h 88349"/>
                <a:gd name="connsiteX11" fmla="*/ 47616 w 57734"/>
                <a:gd name="connsiteY11" fmla="*/ 0 h 88349"/>
                <a:gd name="connsiteX12" fmla="*/ 57734 w 57734"/>
                <a:gd name="connsiteY12" fmla="*/ 7560 h 88349"/>
                <a:gd name="connsiteX13" fmla="*/ 50666 w 57734"/>
                <a:gd name="connsiteY13" fmla="*/ 15861 h 88349"/>
                <a:gd name="connsiteX14" fmla="*/ 56358 w 57734"/>
                <a:gd name="connsiteY14" fmla="*/ 30982 h 88349"/>
                <a:gd name="connsiteX15" fmla="*/ 44454 w 57734"/>
                <a:gd name="connsiteY15" fmla="*/ 50290 h 88349"/>
                <a:gd name="connsiteX16" fmla="*/ 42520 w 57734"/>
                <a:gd name="connsiteY16" fmla="*/ 30982 h 88349"/>
                <a:gd name="connsiteX17" fmla="*/ 28198 w 57734"/>
                <a:gd name="connsiteY17" fmla="*/ 17047 h 88349"/>
                <a:gd name="connsiteX18" fmla="*/ 13876 w 57734"/>
                <a:gd name="connsiteY18" fmla="*/ 30982 h 88349"/>
                <a:gd name="connsiteX19" fmla="*/ 28198 w 57734"/>
                <a:gd name="connsiteY19" fmla="*/ 44842 h 88349"/>
                <a:gd name="connsiteX20" fmla="*/ 42520 w 57734"/>
                <a:gd name="connsiteY20" fmla="*/ 30982 h 88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7734" h="88349">
                  <a:moveTo>
                    <a:pt x="44417" y="50290"/>
                  </a:moveTo>
                  <a:cubicBezTo>
                    <a:pt x="52006" y="53440"/>
                    <a:pt x="56321" y="59221"/>
                    <a:pt x="56321" y="66744"/>
                  </a:cubicBezTo>
                  <a:cubicBezTo>
                    <a:pt x="56321" y="79863"/>
                    <a:pt x="45272" y="88350"/>
                    <a:pt x="28198" y="88350"/>
                  </a:cubicBezTo>
                  <a:cubicBezTo>
                    <a:pt x="11123" y="88350"/>
                    <a:pt x="-446" y="78714"/>
                    <a:pt x="521" y="64521"/>
                  </a:cubicBezTo>
                  <a:lnTo>
                    <a:pt x="14099" y="64521"/>
                  </a:lnTo>
                  <a:cubicBezTo>
                    <a:pt x="13876" y="71747"/>
                    <a:pt x="19270" y="76268"/>
                    <a:pt x="28198" y="76268"/>
                  </a:cubicBezTo>
                  <a:cubicBezTo>
                    <a:pt x="36530" y="76268"/>
                    <a:pt x="42110" y="72266"/>
                    <a:pt x="42110" y="66411"/>
                  </a:cubicBezTo>
                  <a:cubicBezTo>
                    <a:pt x="42110" y="60555"/>
                    <a:pt x="37051" y="56960"/>
                    <a:pt x="28421" y="56960"/>
                  </a:cubicBezTo>
                  <a:cubicBezTo>
                    <a:pt x="11048" y="56960"/>
                    <a:pt x="0" y="46806"/>
                    <a:pt x="0" y="30945"/>
                  </a:cubicBezTo>
                  <a:cubicBezTo>
                    <a:pt x="0" y="15083"/>
                    <a:pt x="11681" y="4818"/>
                    <a:pt x="28123" y="4818"/>
                  </a:cubicBezTo>
                  <a:cubicBezTo>
                    <a:pt x="32959" y="4818"/>
                    <a:pt x="37498" y="5855"/>
                    <a:pt x="41180" y="7857"/>
                  </a:cubicBezTo>
                  <a:lnTo>
                    <a:pt x="47616" y="0"/>
                  </a:lnTo>
                  <a:lnTo>
                    <a:pt x="57734" y="7560"/>
                  </a:lnTo>
                  <a:lnTo>
                    <a:pt x="50666" y="15861"/>
                  </a:lnTo>
                  <a:cubicBezTo>
                    <a:pt x="54684" y="20494"/>
                    <a:pt x="56358" y="25089"/>
                    <a:pt x="56358" y="30982"/>
                  </a:cubicBezTo>
                  <a:cubicBezTo>
                    <a:pt x="56358" y="39468"/>
                    <a:pt x="52154" y="46287"/>
                    <a:pt x="44454" y="50290"/>
                  </a:cubicBezTo>
                  <a:close/>
                  <a:moveTo>
                    <a:pt x="42520" y="30982"/>
                  </a:moveTo>
                  <a:cubicBezTo>
                    <a:pt x="42520" y="22606"/>
                    <a:pt x="36828" y="17047"/>
                    <a:pt x="28198" y="17047"/>
                  </a:cubicBezTo>
                  <a:cubicBezTo>
                    <a:pt x="19567" y="17047"/>
                    <a:pt x="13876" y="22606"/>
                    <a:pt x="13876" y="30982"/>
                  </a:cubicBezTo>
                  <a:cubicBezTo>
                    <a:pt x="13876" y="39357"/>
                    <a:pt x="19679" y="44842"/>
                    <a:pt x="28198" y="44842"/>
                  </a:cubicBezTo>
                  <a:cubicBezTo>
                    <a:pt x="36716" y="44842"/>
                    <a:pt x="42520" y="39172"/>
                    <a:pt x="42520" y="30982"/>
                  </a:cubicBezTo>
                  <a:close/>
                </a:path>
              </a:pathLst>
            </a:custGeom>
            <a:grpFill/>
            <a:ln w="0" cap="flat">
              <a:noFill/>
              <a:prstDash val="solid"/>
              <a:miter/>
            </a:ln>
          </p:spPr>
          <p:txBody>
            <a:bodyPr rtlCol="0" anchor="ctr"/>
            <a:lstStyle/>
            <a:p>
              <a:endParaRPr lang="en-BG"/>
            </a:p>
          </p:txBody>
        </p:sp>
        <p:sp>
          <p:nvSpPr>
            <p:cNvPr id="105" name="Freeform 104">
              <a:extLst>
                <a:ext uri="{FF2B5EF4-FFF2-40B4-BE49-F238E27FC236}">
                  <a16:creationId xmlns:a16="http://schemas.microsoft.com/office/drawing/2014/main" id="{343EEB34-F0DB-9946-8660-4E8E211BF778}"/>
                </a:ext>
              </a:extLst>
            </p:cNvPr>
            <p:cNvSpPr/>
            <p:nvPr/>
          </p:nvSpPr>
          <p:spPr>
            <a:xfrm>
              <a:off x="2662497" y="2351415"/>
              <a:ext cx="54666" cy="54218"/>
            </a:xfrm>
            <a:custGeom>
              <a:avLst/>
              <a:gdLst>
                <a:gd name="connsiteX0" fmla="*/ 54312 w 54666"/>
                <a:gd name="connsiteY0" fmla="*/ 31538 h 54218"/>
                <a:gd name="connsiteX1" fmla="*/ 14210 w 54666"/>
                <a:gd name="connsiteY1" fmla="*/ 31538 h 54218"/>
                <a:gd name="connsiteX2" fmla="*/ 29276 w 54666"/>
                <a:gd name="connsiteY2" fmla="*/ 42359 h 54218"/>
                <a:gd name="connsiteX3" fmla="*/ 43822 w 54666"/>
                <a:gd name="connsiteY3" fmla="*/ 37430 h 54218"/>
                <a:gd name="connsiteX4" fmla="*/ 51596 w 54666"/>
                <a:gd name="connsiteY4" fmla="*/ 45398 h 54218"/>
                <a:gd name="connsiteX5" fmla="*/ 28756 w 54666"/>
                <a:gd name="connsiteY5" fmla="*/ 54218 h 54218"/>
                <a:gd name="connsiteX6" fmla="*/ 0 w 54666"/>
                <a:gd name="connsiteY6" fmla="*/ 27053 h 54218"/>
                <a:gd name="connsiteX7" fmla="*/ 27379 w 54666"/>
                <a:gd name="connsiteY7" fmla="*/ 0 h 54218"/>
                <a:gd name="connsiteX8" fmla="*/ 54349 w 54666"/>
                <a:gd name="connsiteY8" fmla="*/ 31575 h 54218"/>
                <a:gd name="connsiteX9" fmla="*/ 14396 w 54666"/>
                <a:gd name="connsiteY9" fmla="*/ 22310 h 54218"/>
                <a:gd name="connsiteX10" fmla="*/ 41143 w 54666"/>
                <a:gd name="connsiteY10" fmla="*/ 22310 h 54218"/>
                <a:gd name="connsiteX11" fmla="*/ 27788 w 54666"/>
                <a:gd name="connsiteY11" fmla="*/ 11414 h 54218"/>
                <a:gd name="connsiteX12" fmla="*/ 14434 w 54666"/>
                <a:gd name="connsiteY12" fmla="*/ 22310 h 54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666" h="54218">
                  <a:moveTo>
                    <a:pt x="54312" y="31538"/>
                  </a:moveTo>
                  <a:lnTo>
                    <a:pt x="14210" y="31538"/>
                  </a:lnTo>
                  <a:cubicBezTo>
                    <a:pt x="15140" y="38023"/>
                    <a:pt x="20832" y="42359"/>
                    <a:pt x="29276" y="42359"/>
                  </a:cubicBezTo>
                  <a:cubicBezTo>
                    <a:pt x="34856" y="42359"/>
                    <a:pt x="40436" y="40469"/>
                    <a:pt x="43822" y="37430"/>
                  </a:cubicBezTo>
                  <a:lnTo>
                    <a:pt x="51596" y="45398"/>
                  </a:lnTo>
                  <a:cubicBezTo>
                    <a:pt x="46128" y="50957"/>
                    <a:pt x="37795" y="54218"/>
                    <a:pt x="28756" y="54218"/>
                  </a:cubicBezTo>
                  <a:cubicBezTo>
                    <a:pt x="11160" y="54218"/>
                    <a:pt x="0" y="43619"/>
                    <a:pt x="0" y="27053"/>
                  </a:cubicBezTo>
                  <a:cubicBezTo>
                    <a:pt x="0" y="10488"/>
                    <a:pt x="11048" y="0"/>
                    <a:pt x="27379" y="0"/>
                  </a:cubicBezTo>
                  <a:cubicBezTo>
                    <a:pt x="46240" y="0"/>
                    <a:pt x="56656" y="12378"/>
                    <a:pt x="54349" y="31575"/>
                  </a:cubicBezTo>
                  <a:close/>
                  <a:moveTo>
                    <a:pt x="14396" y="22310"/>
                  </a:moveTo>
                  <a:lnTo>
                    <a:pt x="41143" y="22310"/>
                  </a:lnTo>
                  <a:cubicBezTo>
                    <a:pt x="40622" y="15602"/>
                    <a:pt x="35563" y="11414"/>
                    <a:pt x="27788" y="11414"/>
                  </a:cubicBezTo>
                  <a:cubicBezTo>
                    <a:pt x="20423" y="11414"/>
                    <a:pt x="15475" y="15417"/>
                    <a:pt x="14434" y="22310"/>
                  </a:cubicBezTo>
                  <a:close/>
                </a:path>
              </a:pathLst>
            </a:custGeom>
            <a:grpFill/>
            <a:ln w="0" cap="flat">
              <a:noFill/>
              <a:prstDash val="solid"/>
              <a:miter/>
            </a:ln>
          </p:spPr>
          <p:txBody>
            <a:bodyPr rtlCol="0" anchor="ctr"/>
            <a:lstStyle/>
            <a:p>
              <a:endParaRPr lang="en-BG"/>
            </a:p>
          </p:txBody>
        </p:sp>
      </p:grpSp>
    </p:spTree>
    <p:extLst>
      <p:ext uri="{BB962C8B-B14F-4D97-AF65-F5344CB8AC3E}">
        <p14:creationId xmlns:p14="http://schemas.microsoft.com/office/powerpoint/2010/main" val="35101612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78623" y="282889"/>
            <a:ext cx="6477104" cy="249299"/>
          </a:xfrm>
        </p:spPr>
        <p:txBody>
          <a:bodyPr wrap="square" lIns="0" tIns="0" rIns="0" bIns="0" anchor="t">
            <a:spAutoFit/>
          </a:bodyPr>
          <a:lstStyle/>
          <a:p>
            <a:r>
              <a:rPr lang="en-US" sz="1800" dirty="0">
                <a:solidFill>
                  <a:schemeClr val="accent3"/>
                </a:solidFill>
                <a:latin typeface="Montserrat SemiBold" pitchFamily="2" charset="77"/>
              </a:rPr>
              <a:t>Green Finance &amp; Energy Centre</a:t>
            </a:r>
            <a:r>
              <a:rPr lang="en-US" sz="1800" b="0" dirty="0">
                <a:solidFill>
                  <a:schemeClr val="accent3"/>
                </a:solidFill>
                <a:latin typeface="Montserrat" pitchFamily="2" charset="77"/>
              </a:rPr>
              <a:t> </a:t>
            </a:r>
            <a:r>
              <a:rPr lang="bg-BG" sz="1800" b="0" dirty="0">
                <a:solidFill>
                  <a:schemeClr val="accent3"/>
                </a:solidFill>
                <a:latin typeface="Montserrat" pitchFamily="2" charset="77"/>
              </a:rPr>
              <a:t>- </a:t>
            </a:r>
            <a:r>
              <a:rPr lang="en-US" sz="1800" b="0" dirty="0">
                <a:solidFill>
                  <a:schemeClr val="accent3"/>
                </a:solidFill>
                <a:latin typeface="Montserrat" pitchFamily="2" charset="77"/>
              </a:rPr>
              <a:t>Participants</a:t>
            </a:r>
            <a:endParaRPr lang="en-GB" sz="1800" b="0" dirty="0">
              <a:solidFill>
                <a:schemeClr val="accent3"/>
              </a:solidFill>
              <a:effectLst>
                <a:outerShdw blurRad="38100" dist="38100" dir="2700000" algn="tl">
                  <a:srgbClr val="000000">
                    <a:alpha val="43137"/>
                  </a:srgbClr>
                </a:outerShdw>
              </a:effectLst>
              <a:latin typeface="Montserrat" pitchFamily="2" charset="77"/>
            </a:endParaRPr>
          </a:p>
        </p:txBody>
      </p:sp>
      <p:pic>
        <p:nvPicPr>
          <p:cNvPr id="1028" name="Picture 4" descr="http://www.caceis.de/fileadmin/templates/images/caceis.gif">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87500" y="-630238"/>
            <a:ext cx="2286000" cy="66675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caceis.de/fileadmin/templates/images/caceis.gif">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39900" y="-477838"/>
            <a:ext cx="2286000" cy="666751"/>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15751D45-2F18-E746-B80D-72436BDCFAD8}"/>
              </a:ext>
            </a:extLst>
          </p:cNvPr>
          <p:cNvSpPr txBox="1"/>
          <p:nvPr/>
        </p:nvSpPr>
        <p:spPr>
          <a:xfrm>
            <a:off x="3896681" y="3399370"/>
            <a:ext cx="4398640" cy="492443"/>
          </a:xfrm>
          <a:prstGeom prst="rect">
            <a:avLst/>
          </a:prstGeom>
          <a:noFill/>
        </p:spPr>
        <p:txBody>
          <a:bodyPr wrap="none" lIns="0" tIns="0" rIns="0" bIns="0" rtlCol="0">
            <a:spAutoFit/>
          </a:bodyPr>
          <a:lstStyle/>
          <a:p>
            <a:pPr algn="ctr"/>
            <a:r>
              <a:rPr lang="en-GB" sz="3200" b="1" dirty="0">
                <a:latin typeface="Bebas Neue Bold" pitchFamily="2" charset="77"/>
              </a:rPr>
              <a:t>4</a:t>
            </a:r>
            <a:r>
              <a:rPr lang="bg-BG" sz="3200" b="1" dirty="0">
                <a:latin typeface="Bebas Neue Bold" pitchFamily="2" charset="77"/>
              </a:rPr>
              <a:t>9</a:t>
            </a:r>
            <a:r>
              <a:rPr lang="en-GB" sz="3200" b="1" dirty="0">
                <a:latin typeface="Bebas Neue Bold" pitchFamily="2" charset="77"/>
              </a:rPr>
              <a:t> Participants as of April, 2024</a:t>
            </a:r>
          </a:p>
        </p:txBody>
      </p:sp>
      <p:pic>
        <p:nvPicPr>
          <p:cNvPr id="4" name="Graphic 3">
            <a:extLst>
              <a:ext uri="{FF2B5EF4-FFF2-40B4-BE49-F238E27FC236}">
                <a16:creationId xmlns:a16="http://schemas.microsoft.com/office/drawing/2014/main" id="{C45D9A80-E988-5E42-8F85-5C1458D1644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57248" y="1976185"/>
            <a:ext cx="1277505" cy="1277505"/>
          </a:xfrm>
          <a:prstGeom prst="rect">
            <a:avLst/>
          </a:prstGeom>
        </p:spPr>
      </p:pic>
      <p:pic>
        <p:nvPicPr>
          <p:cNvPr id="6" name="Graphic 5">
            <a:extLst>
              <a:ext uri="{FF2B5EF4-FFF2-40B4-BE49-F238E27FC236}">
                <a16:creationId xmlns:a16="http://schemas.microsoft.com/office/drawing/2014/main" id="{9D49BD72-2B2F-B24A-8996-7AB8093E008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559422" y="4671415"/>
            <a:ext cx="768267" cy="582020"/>
          </a:xfrm>
          <a:prstGeom prst="rect">
            <a:avLst/>
          </a:prstGeom>
        </p:spPr>
      </p:pic>
      <p:pic>
        <p:nvPicPr>
          <p:cNvPr id="15" name="Graphic 14">
            <a:extLst>
              <a:ext uri="{FF2B5EF4-FFF2-40B4-BE49-F238E27FC236}">
                <a16:creationId xmlns:a16="http://schemas.microsoft.com/office/drawing/2014/main" id="{05EE76E1-9815-C241-8B68-7EC4DE692FC2}"/>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t="6302" r="66831" b="1"/>
          <a:stretch/>
        </p:blipFill>
        <p:spPr>
          <a:xfrm>
            <a:off x="793065" y="4671415"/>
            <a:ext cx="593535" cy="582020"/>
          </a:xfrm>
          <a:prstGeom prst="rect">
            <a:avLst/>
          </a:prstGeom>
        </p:spPr>
      </p:pic>
      <p:sp>
        <p:nvSpPr>
          <p:cNvPr id="16" name="TextBox 15">
            <a:extLst>
              <a:ext uri="{FF2B5EF4-FFF2-40B4-BE49-F238E27FC236}">
                <a16:creationId xmlns:a16="http://schemas.microsoft.com/office/drawing/2014/main" id="{2FFA6CE1-727F-B648-978C-FA020182E7B2}"/>
              </a:ext>
            </a:extLst>
          </p:cNvPr>
          <p:cNvSpPr txBox="1"/>
          <p:nvPr/>
        </p:nvSpPr>
        <p:spPr>
          <a:xfrm>
            <a:off x="863092" y="5481568"/>
            <a:ext cx="1420261" cy="492443"/>
          </a:xfrm>
          <a:prstGeom prst="rect">
            <a:avLst/>
          </a:prstGeom>
          <a:noFill/>
        </p:spPr>
        <p:txBody>
          <a:bodyPr wrap="none" lIns="0" tIns="0" rIns="0" bIns="0" rtlCol="0">
            <a:spAutoFit/>
          </a:bodyPr>
          <a:lstStyle/>
          <a:p>
            <a:pPr algn="ctr"/>
            <a:r>
              <a:rPr lang="en-GB" sz="1600" dirty="0">
                <a:solidFill>
                  <a:schemeClr val="bg1">
                    <a:lumMod val="50000"/>
                  </a:schemeClr>
                </a:solidFill>
                <a:latin typeface="Montserrat" pitchFamily="2" charset="77"/>
              </a:rPr>
              <a:t>BSE and IBEX</a:t>
            </a:r>
            <a:endParaRPr lang="bg-BG" sz="1600" dirty="0">
              <a:solidFill>
                <a:schemeClr val="bg1">
                  <a:lumMod val="50000"/>
                </a:schemeClr>
              </a:solidFill>
              <a:latin typeface="Montserrat" pitchFamily="2" charset="77"/>
            </a:endParaRPr>
          </a:p>
          <a:p>
            <a:pPr algn="ctr"/>
            <a:r>
              <a:rPr lang="en-GB" sz="1600" b="1" dirty="0">
                <a:solidFill>
                  <a:schemeClr val="accent5"/>
                </a:solidFill>
                <a:latin typeface="Montserrat SemiBold" pitchFamily="2" charset="77"/>
              </a:rPr>
              <a:t>2</a:t>
            </a:r>
          </a:p>
        </p:txBody>
      </p:sp>
      <p:pic>
        <p:nvPicPr>
          <p:cNvPr id="14" name="Graphic 13">
            <a:extLst>
              <a:ext uri="{FF2B5EF4-FFF2-40B4-BE49-F238E27FC236}">
                <a16:creationId xmlns:a16="http://schemas.microsoft.com/office/drawing/2014/main" id="{E14A34F4-3548-B746-8EF8-EF2E11BBBC9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04368" y="4710425"/>
            <a:ext cx="504000" cy="504000"/>
          </a:xfrm>
          <a:prstGeom prst="rect">
            <a:avLst/>
          </a:prstGeom>
        </p:spPr>
      </p:pic>
      <p:sp>
        <p:nvSpPr>
          <p:cNvPr id="19" name="TextBox 18">
            <a:extLst>
              <a:ext uri="{FF2B5EF4-FFF2-40B4-BE49-F238E27FC236}">
                <a16:creationId xmlns:a16="http://schemas.microsoft.com/office/drawing/2014/main" id="{49A60472-A08B-D944-98F8-5A1F2D6F7BDF}"/>
              </a:ext>
            </a:extLst>
          </p:cNvPr>
          <p:cNvSpPr txBox="1"/>
          <p:nvPr/>
        </p:nvSpPr>
        <p:spPr>
          <a:xfrm>
            <a:off x="3013880" y="5481568"/>
            <a:ext cx="1155766" cy="738664"/>
          </a:xfrm>
          <a:prstGeom prst="rect">
            <a:avLst/>
          </a:prstGeom>
          <a:noFill/>
        </p:spPr>
        <p:txBody>
          <a:bodyPr wrap="none" lIns="0" tIns="0" rIns="0" bIns="0" rtlCol="0">
            <a:spAutoFit/>
          </a:bodyPr>
          <a:lstStyle/>
          <a:p>
            <a:pPr algn="ctr"/>
            <a:r>
              <a:rPr lang="en-GB" sz="1600" dirty="0">
                <a:solidFill>
                  <a:schemeClr val="bg1">
                    <a:lumMod val="50000"/>
                  </a:schemeClr>
                </a:solidFill>
                <a:latin typeface="Montserrat" pitchFamily="2" charset="77"/>
              </a:rPr>
              <a:t>Business / </a:t>
            </a:r>
          </a:p>
          <a:p>
            <a:pPr algn="ctr"/>
            <a:r>
              <a:rPr lang="en-GB" sz="1600" dirty="0">
                <a:solidFill>
                  <a:schemeClr val="bg1">
                    <a:lumMod val="50000"/>
                  </a:schemeClr>
                </a:solidFill>
                <a:latin typeface="Montserrat" pitchFamily="2" charset="77"/>
              </a:rPr>
              <a:t>incl. Banks </a:t>
            </a:r>
            <a:endParaRPr lang="bg-BG" sz="1600" dirty="0">
              <a:solidFill>
                <a:schemeClr val="bg1">
                  <a:lumMod val="50000"/>
                </a:schemeClr>
              </a:solidFill>
              <a:latin typeface="Montserrat" pitchFamily="2" charset="77"/>
            </a:endParaRPr>
          </a:p>
          <a:p>
            <a:pPr algn="ctr"/>
            <a:r>
              <a:rPr lang="en-GB" sz="1600" b="1" dirty="0">
                <a:solidFill>
                  <a:schemeClr val="accent5"/>
                </a:solidFill>
                <a:latin typeface="Montserrat SemiBold" pitchFamily="2" charset="77"/>
              </a:rPr>
              <a:t>20</a:t>
            </a:r>
          </a:p>
        </p:txBody>
      </p:sp>
      <p:sp>
        <p:nvSpPr>
          <p:cNvPr id="20" name="TextBox 19">
            <a:extLst>
              <a:ext uri="{FF2B5EF4-FFF2-40B4-BE49-F238E27FC236}">
                <a16:creationId xmlns:a16="http://schemas.microsoft.com/office/drawing/2014/main" id="{7076A88E-C567-5646-B375-8D5C89569E2B}"/>
              </a:ext>
            </a:extLst>
          </p:cNvPr>
          <p:cNvSpPr txBox="1"/>
          <p:nvPr/>
        </p:nvSpPr>
        <p:spPr>
          <a:xfrm>
            <a:off x="4753877" y="5481568"/>
            <a:ext cx="1804981" cy="738664"/>
          </a:xfrm>
          <a:prstGeom prst="rect">
            <a:avLst/>
          </a:prstGeom>
          <a:noFill/>
        </p:spPr>
        <p:txBody>
          <a:bodyPr wrap="none" lIns="0" tIns="0" rIns="0" bIns="0" rtlCol="0">
            <a:spAutoFit/>
          </a:bodyPr>
          <a:lstStyle/>
          <a:p>
            <a:pPr algn="ctr"/>
            <a:r>
              <a:rPr lang="en-GB" sz="1600" dirty="0">
                <a:solidFill>
                  <a:schemeClr val="bg1">
                    <a:lumMod val="50000"/>
                  </a:schemeClr>
                </a:solidFill>
                <a:latin typeface="Montserrat" pitchFamily="2" charset="77"/>
              </a:rPr>
              <a:t>State institutions </a:t>
            </a:r>
          </a:p>
          <a:p>
            <a:pPr algn="ctr"/>
            <a:r>
              <a:rPr lang="en-GB" sz="1600" dirty="0">
                <a:solidFill>
                  <a:schemeClr val="bg1">
                    <a:lumMod val="50000"/>
                  </a:schemeClr>
                </a:solidFill>
                <a:latin typeface="Montserrat" pitchFamily="2" charset="77"/>
              </a:rPr>
              <a:t>– Partners </a:t>
            </a:r>
            <a:endParaRPr lang="bg-BG" sz="1600" dirty="0">
              <a:solidFill>
                <a:schemeClr val="bg1">
                  <a:lumMod val="50000"/>
                </a:schemeClr>
              </a:solidFill>
              <a:latin typeface="Montserrat" pitchFamily="2" charset="77"/>
            </a:endParaRPr>
          </a:p>
          <a:p>
            <a:pPr algn="ctr"/>
            <a:r>
              <a:rPr lang="en-GB" sz="1600" b="1" dirty="0">
                <a:solidFill>
                  <a:schemeClr val="accent5"/>
                </a:solidFill>
                <a:latin typeface="Montserrat SemiBold" pitchFamily="2" charset="77"/>
              </a:rPr>
              <a:t>5</a:t>
            </a:r>
          </a:p>
        </p:txBody>
      </p:sp>
      <p:pic>
        <p:nvPicPr>
          <p:cNvPr id="18" name="Graphic 17">
            <a:extLst>
              <a:ext uri="{FF2B5EF4-FFF2-40B4-BE49-F238E27FC236}">
                <a16:creationId xmlns:a16="http://schemas.microsoft.com/office/drawing/2014/main" id="{419F63BD-CB5B-854D-8345-F1C3B241830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339763" y="4710425"/>
            <a:ext cx="504000" cy="504000"/>
          </a:xfrm>
          <a:prstGeom prst="rect">
            <a:avLst/>
          </a:prstGeom>
        </p:spPr>
      </p:pic>
      <p:sp>
        <p:nvSpPr>
          <p:cNvPr id="24" name="TextBox 23">
            <a:extLst>
              <a:ext uri="{FF2B5EF4-FFF2-40B4-BE49-F238E27FC236}">
                <a16:creationId xmlns:a16="http://schemas.microsoft.com/office/drawing/2014/main" id="{5C9BC363-41A5-AB4E-9704-C0CE4A3CBD72}"/>
              </a:ext>
            </a:extLst>
          </p:cNvPr>
          <p:cNvSpPr txBox="1"/>
          <p:nvPr/>
        </p:nvSpPr>
        <p:spPr>
          <a:xfrm>
            <a:off x="8779030" y="5480053"/>
            <a:ext cx="650819" cy="492443"/>
          </a:xfrm>
          <a:prstGeom prst="rect">
            <a:avLst/>
          </a:prstGeom>
          <a:noFill/>
        </p:spPr>
        <p:txBody>
          <a:bodyPr wrap="none" lIns="0" tIns="0" rIns="0" bIns="0" rtlCol="0">
            <a:spAutoFit/>
          </a:bodyPr>
          <a:lstStyle/>
          <a:p>
            <a:pPr algn="ctr"/>
            <a:r>
              <a:rPr lang="en-GB" sz="1600" dirty="0">
                <a:solidFill>
                  <a:schemeClr val="bg1">
                    <a:lumMod val="50000"/>
                  </a:schemeClr>
                </a:solidFill>
                <a:latin typeface="Montserrat" pitchFamily="2" charset="77"/>
              </a:rPr>
              <a:t>NGOs </a:t>
            </a:r>
            <a:endParaRPr lang="bg-BG" sz="1600" dirty="0">
              <a:solidFill>
                <a:schemeClr val="bg1">
                  <a:lumMod val="50000"/>
                </a:schemeClr>
              </a:solidFill>
              <a:latin typeface="Montserrat" pitchFamily="2" charset="77"/>
            </a:endParaRPr>
          </a:p>
          <a:p>
            <a:pPr algn="ctr"/>
            <a:r>
              <a:rPr lang="en-GB" sz="1600" b="1" dirty="0">
                <a:solidFill>
                  <a:schemeClr val="accent5"/>
                </a:solidFill>
                <a:latin typeface="Montserrat SemiBold" pitchFamily="2" charset="77"/>
              </a:rPr>
              <a:t>9</a:t>
            </a:r>
          </a:p>
        </p:txBody>
      </p:sp>
      <p:sp>
        <p:nvSpPr>
          <p:cNvPr id="25" name="TextBox 24">
            <a:extLst>
              <a:ext uri="{FF2B5EF4-FFF2-40B4-BE49-F238E27FC236}">
                <a16:creationId xmlns:a16="http://schemas.microsoft.com/office/drawing/2014/main" id="{2CA79379-0914-3244-96BE-D51B3BD670E3}"/>
              </a:ext>
            </a:extLst>
          </p:cNvPr>
          <p:cNvSpPr txBox="1"/>
          <p:nvPr/>
        </p:nvSpPr>
        <p:spPr>
          <a:xfrm>
            <a:off x="10062536" y="5481568"/>
            <a:ext cx="1288814" cy="492443"/>
          </a:xfrm>
          <a:prstGeom prst="rect">
            <a:avLst/>
          </a:prstGeom>
          <a:noFill/>
        </p:spPr>
        <p:txBody>
          <a:bodyPr wrap="none" lIns="0" tIns="0" rIns="0" bIns="0" rtlCol="0">
            <a:spAutoFit/>
          </a:bodyPr>
          <a:lstStyle/>
          <a:p>
            <a:pPr algn="ctr"/>
            <a:r>
              <a:rPr lang="en-GB" sz="1600" dirty="0">
                <a:solidFill>
                  <a:schemeClr val="bg1">
                    <a:lumMod val="50000"/>
                  </a:schemeClr>
                </a:solidFill>
                <a:latin typeface="Montserrat" pitchFamily="2" charset="77"/>
              </a:rPr>
              <a:t>Consultants </a:t>
            </a:r>
            <a:endParaRPr lang="bg-BG" sz="1600" dirty="0">
              <a:solidFill>
                <a:schemeClr val="bg1">
                  <a:lumMod val="50000"/>
                </a:schemeClr>
              </a:solidFill>
              <a:latin typeface="Montserrat" pitchFamily="2" charset="77"/>
            </a:endParaRPr>
          </a:p>
          <a:p>
            <a:pPr algn="ctr"/>
            <a:r>
              <a:rPr lang="en-GB" sz="1600" b="1" dirty="0">
                <a:solidFill>
                  <a:schemeClr val="accent5"/>
                </a:solidFill>
                <a:latin typeface="Montserrat SemiBold" pitchFamily="2" charset="77"/>
              </a:rPr>
              <a:t>9</a:t>
            </a:r>
          </a:p>
        </p:txBody>
      </p:sp>
      <p:sp>
        <p:nvSpPr>
          <p:cNvPr id="27" name="TextBox 26">
            <a:extLst>
              <a:ext uri="{FF2B5EF4-FFF2-40B4-BE49-F238E27FC236}">
                <a16:creationId xmlns:a16="http://schemas.microsoft.com/office/drawing/2014/main" id="{11EE62C7-408A-3F46-B0F9-1B338CD3EB84}"/>
              </a:ext>
            </a:extLst>
          </p:cNvPr>
          <p:cNvSpPr txBox="1"/>
          <p:nvPr/>
        </p:nvSpPr>
        <p:spPr>
          <a:xfrm>
            <a:off x="7054698" y="5478992"/>
            <a:ext cx="1096454" cy="492443"/>
          </a:xfrm>
          <a:prstGeom prst="rect">
            <a:avLst/>
          </a:prstGeom>
          <a:noFill/>
        </p:spPr>
        <p:txBody>
          <a:bodyPr wrap="none" lIns="0" tIns="0" rIns="0" bIns="0" rtlCol="0">
            <a:spAutoFit/>
          </a:bodyPr>
          <a:lstStyle/>
          <a:p>
            <a:pPr algn="ctr"/>
            <a:r>
              <a:rPr lang="en-GB" sz="1600" dirty="0">
                <a:solidFill>
                  <a:schemeClr val="bg1">
                    <a:lumMod val="50000"/>
                  </a:schemeClr>
                </a:solidFill>
                <a:latin typeface="Montserrat" pitchFamily="2" charset="77"/>
              </a:rPr>
              <a:t>Academia </a:t>
            </a:r>
            <a:endParaRPr lang="bg-BG" sz="1600" dirty="0">
              <a:solidFill>
                <a:schemeClr val="bg1">
                  <a:lumMod val="50000"/>
                </a:schemeClr>
              </a:solidFill>
              <a:latin typeface="Montserrat" pitchFamily="2" charset="77"/>
            </a:endParaRPr>
          </a:p>
          <a:p>
            <a:pPr algn="ctr"/>
            <a:r>
              <a:rPr lang="en-GB" sz="1600" b="1">
                <a:solidFill>
                  <a:schemeClr val="accent5"/>
                </a:solidFill>
                <a:latin typeface="Montserrat SemiBold" pitchFamily="2" charset="77"/>
              </a:rPr>
              <a:t>4</a:t>
            </a:r>
            <a:endParaRPr lang="en-GB" sz="1600" b="1" dirty="0">
              <a:solidFill>
                <a:schemeClr val="accent5"/>
              </a:solidFill>
              <a:latin typeface="Montserrat SemiBold" pitchFamily="2" charset="77"/>
            </a:endParaRPr>
          </a:p>
        </p:txBody>
      </p:sp>
      <p:pic>
        <p:nvPicPr>
          <p:cNvPr id="22" name="Graphic 21">
            <a:extLst>
              <a:ext uri="{FF2B5EF4-FFF2-40B4-BE49-F238E27FC236}">
                <a16:creationId xmlns:a16="http://schemas.microsoft.com/office/drawing/2014/main" id="{FD4BF845-E15E-8542-8679-6FEE70018FC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350014" y="4710425"/>
            <a:ext cx="504000" cy="504000"/>
          </a:xfrm>
          <a:prstGeom prst="rect">
            <a:avLst/>
          </a:prstGeom>
        </p:spPr>
      </p:pic>
      <p:pic>
        <p:nvPicPr>
          <p:cNvPr id="36" name="Graphic 35">
            <a:extLst>
              <a:ext uri="{FF2B5EF4-FFF2-40B4-BE49-F238E27FC236}">
                <a16:creationId xmlns:a16="http://schemas.microsoft.com/office/drawing/2014/main" id="{320459B7-A1BF-C94D-BDE8-3FF9E447EBF6}"/>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852439" y="4710425"/>
            <a:ext cx="504000" cy="504000"/>
          </a:xfrm>
          <a:prstGeom prst="rect">
            <a:avLst/>
          </a:prstGeom>
        </p:spPr>
      </p:pic>
      <p:pic>
        <p:nvPicPr>
          <p:cNvPr id="41" name="Graphic 40">
            <a:extLst>
              <a:ext uri="{FF2B5EF4-FFF2-40B4-BE49-F238E27FC236}">
                <a16:creationId xmlns:a16="http://schemas.microsoft.com/office/drawing/2014/main" id="{36516130-E6F3-9046-B6EA-B7A0192D4C83}"/>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454943" y="4710425"/>
            <a:ext cx="504000" cy="504000"/>
          </a:xfrm>
          <a:prstGeom prst="rect">
            <a:avLst/>
          </a:prstGeom>
        </p:spPr>
      </p:pic>
    </p:spTree>
    <p:extLst>
      <p:ext uri="{BB962C8B-B14F-4D97-AF65-F5344CB8AC3E}">
        <p14:creationId xmlns:p14="http://schemas.microsoft.com/office/powerpoint/2010/main" val="4912691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78623" y="282889"/>
            <a:ext cx="6477104" cy="249299"/>
          </a:xfrm>
        </p:spPr>
        <p:txBody>
          <a:bodyPr wrap="square" lIns="0" tIns="0" rIns="0" bIns="0" anchor="t">
            <a:spAutoFit/>
          </a:bodyPr>
          <a:lstStyle/>
          <a:p>
            <a:r>
              <a:rPr lang="en-US" sz="1800" dirty="0">
                <a:solidFill>
                  <a:schemeClr val="accent3"/>
                </a:solidFill>
                <a:latin typeface="Montserrat SemiBold" pitchFamily="2" charset="77"/>
              </a:rPr>
              <a:t>Green Finance &amp; Energy Centre</a:t>
            </a:r>
            <a:r>
              <a:rPr lang="en-US" sz="1800" b="0" dirty="0">
                <a:solidFill>
                  <a:schemeClr val="accent3"/>
                </a:solidFill>
                <a:latin typeface="Montserrat" pitchFamily="2" charset="77"/>
              </a:rPr>
              <a:t> - Activity of the Centre</a:t>
            </a:r>
            <a:endParaRPr lang="en-GB" sz="1800" b="0" dirty="0">
              <a:solidFill>
                <a:schemeClr val="accent3"/>
              </a:solidFill>
              <a:effectLst>
                <a:outerShdw blurRad="38100" dist="38100" dir="2700000" algn="tl">
                  <a:srgbClr val="000000">
                    <a:alpha val="43137"/>
                  </a:srgbClr>
                </a:outerShdw>
              </a:effectLst>
              <a:latin typeface="Montserrat" pitchFamily="2" charset="77"/>
            </a:endParaRPr>
          </a:p>
        </p:txBody>
      </p:sp>
      <p:pic>
        <p:nvPicPr>
          <p:cNvPr id="1028" name="Picture 4" descr="http://www.caceis.de/fileadmin/templates/images/caceis.gif">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87500" y="-630238"/>
            <a:ext cx="2286000" cy="66675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caceis.de/fileadmin/templates/images/caceis.gif">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39900" y="-477838"/>
            <a:ext cx="2286000" cy="666751"/>
          </a:xfrm>
          <a:prstGeom prst="rect">
            <a:avLst/>
          </a:prstGeom>
          <a:noFill/>
          <a:extLst>
            <a:ext uri="{909E8E84-426E-40DD-AFC4-6F175D3DCCD1}">
              <a14:hiddenFill xmlns:a14="http://schemas.microsoft.com/office/drawing/2010/main">
                <a:solidFill>
                  <a:srgbClr val="FFFFFF"/>
                </a:solidFill>
              </a14:hiddenFill>
            </a:ext>
          </a:extLst>
        </p:spPr>
      </p:pic>
      <p:pic>
        <p:nvPicPr>
          <p:cNvPr id="4" name="Graphic 3">
            <a:extLst>
              <a:ext uri="{FF2B5EF4-FFF2-40B4-BE49-F238E27FC236}">
                <a16:creationId xmlns:a16="http://schemas.microsoft.com/office/drawing/2014/main" id="{C45D9A80-E988-5E42-8F85-5C1458D1644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57248" y="1976185"/>
            <a:ext cx="1277505" cy="1277505"/>
          </a:xfrm>
          <a:prstGeom prst="rect">
            <a:avLst/>
          </a:prstGeom>
        </p:spPr>
      </p:pic>
      <p:sp>
        <p:nvSpPr>
          <p:cNvPr id="19" name="TextBox 18">
            <a:extLst>
              <a:ext uri="{FF2B5EF4-FFF2-40B4-BE49-F238E27FC236}">
                <a16:creationId xmlns:a16="http://schemas.microsoft.com/office/drawing/2014/main" id="{49A60472-A08B-D944-98F8-5A1F2D6F7BDF}"/>
              </a:ext>
            </a:extLst>
          </p:cNvPr>
          <p:cNvSpPr txBox="1"/>
          <p:nvPr/>
        </p:nvSpPr>
        <p:spPr>
          <a:xfrm>
            <a:off x="1386017" y="5481568"/>
            <a:ext cx="1562928" cy="246221"/>
          </a:xfrm>
          <a:prstGeom prst="rect">
            <a:avLst/>
          </a:prstGeom>
          <a:noFill/>
        </p:spPr>
        <p:txBody>
          <a:bodyPr wrap="none" lIns="0" tIns="0" rIns="0" bIns="0" rtlCol="0">
            <a:spAutoFit/>
          </a:bodyPr>
          <a:lstStyle/>
          <a:p>
            <a:pPr algn="ctr"/>
            <a:r>
              <a:rPr lang="en-GB" sz="1600" dirty="0">
                <a:solidFill>
                  <a:schemeClr val="bg1">
                    <a:lumMod val="50000"/>
                  </a:schemeClr>
                </a:solidFill>
                <a:latin typeface="Montserrat" pitchFamily="2" charset="77"/>
              </a:rPr>
              <a:t>ESG Guidelines</a:t>
            </a:r>
            <a:endParaRPr lang="bg-BG" sz="1600" dirty="0">
              <a:solidFill>
                <a:schemeClr val="bg1">
                  <a:lumMod val="50000"/>
                </a:schemeClr>
              </a:solidFill>
              <a:latin typeface="Montserrat" pitchFamily="2" charset="77"/>
            </a:endParaRPr>
          </a:p>
        </p:txBody>
      </p:sp>
      <p:sp>
        <p:nvSpPr>
          <p:cNvPr id="20" name="TextBox 19">
            <a:extLst>
              <a:ext uri="{FF2B5EF4-FFF2-40B4-BE49-F238E27FC236}">
                <a16:creationId xmlns:a16="http://schemas.microsoft.com/office/drawing/2014/main" id="{7076A88E-C567-5646-B375-8D5C89569E2B}"/>
              </a:ext>
            </a:extLst>
          </p:cNvPr>
          <p:cNvSpPr txBox="1"/>
          <p:nvPr/>
        </p:nvSpPr>
        <p:spPr>
          <a:xfrm>
            <a:off x="4104236" y="5481568"/>
            <a:ext cx="1404231" cy="492443"/>
          </a:xfrm>
          <a:prstGeom prst="rect">
            <a:avLst/>
          </a:prstGeom>
          <a:noFill/>
        </p:spPr>
        <p:txBody>
          <a:bodyPr wrap="none" lIns="0" tIns="0" rIns="0" bIns="0" rtlCol="0">
            <a:spAutoFit/>
          </a:bodyPr>
          <a:lstStyle/>
          <a:p>
            <a:pPr algn="ctr"/>
            <a:r>
              <a:rPr lang="en-GB" sz="1600" dirty="0">
                <a:solidFill>
                  <a:schemeClr val="bg1">
                    <a:lumMod val="50000"/>
                  </a:schemeClr>
                </a:solidFill>
                <a:latin typeface="Montserrat" pitchFamily="2" charset="77"/>
              </a:rPr>
              <a:t>Seminars </a:t>
            </a:r>
          </a:p>
          <a:p>
            <a:pPr algn="ctr"/>
            <a:r>
              <a:rPr lang="en-GB" sz="1600" dirty="0">
                <a:solidFill>
                  <a:schemeClr val="bg1">
                    <a:lumMod val="50000"/>
                  </a:schemeClr>
                </a:solidFill>
                <a:latin typeface="Montserrat" pitchFamily="2" charset="77"/>
              </a:rPr>
              <a:t>and Trainings</a:t>
            </a:r>
            <a:endParaRPr lang="en-GB" sz="1600" b="1" dirty="0">
              <a:solidFill>
                <a:schemeClr val="accent5"/>
              </a:solidFill>
              <a:latin typeface="Montserrat SemiBold" pitchFamily="2" charset="77"/>
            </a:endParaRPr>
          </a:p>
        </p:txBody>
      </p:sp>
      <p:sp>
        <p:nvSpPr>
          <p:cNvPr id="24" name="TextBox 23">
            <a:extLst>
              <a:ext uri="{FF2B5EF4-FFF2-40B4-BE49-F238E27FC236}">
                <a16:creationId xmlns:a16="http://schemas.microsoft.com/office/drawing/2014/main" id="{5C9BC363-41A5-AB4E-9704-C0CE4A3CBD72}"/>
              </a:ext>
            </a:extLst>
          </p:cNvPr>
          <p:cNvSpPr txBox="1"/>
          <p:nvPr/>
        </p:nvSpPr>
        <p:spPr>
          <a:xfrm>
            <a:off x="9494188" y="5480053"/>
            <a:ext cx="1197444" cy="246221"/>
          </a:xfrm>
          <a:prstGeom prst="rect">
            <a:avLst/>
          </a:prstGeom>
          <a:noFill/>
        </p:spPr>
        <p:txBody>
          <a:bodyPr wrap="none" lIns="0" tIns="0" rIns="0" bIns="0" rtlCol="0">
            <a:spAutoFit/>
          </a:bodyPr>
          <a:lstStyle/>
          <a:p>
            <a:pPr algn="ctr"/>
            <a:r>
              <a:rPr lang="en-GB" sz="1600" dirty="0">
                <a:solidFill>
                  <a:schemeClr val="bg1">
                    <a:lumMod val="50000"/>
                  </a:schemeClr>
                </a:solidFill>
                <a:latin typeface="Montserrat" pitchFamily="2" charset="77"/>
              </a:rPr>
              <a:t>Green Talks</a:t>
            </a:r>
            <a:endParaRPr lang="bg-BG" sz="1600" dirty="0">
              <a:solidFill>
                <a:schemeClr val="bg1">
                  <a:lumMod val="50000"/>
                </a:schemeClr>
              </a:solidFill>
              <a:latin typeface="Montserrat" pitchFamily="2" charset="77"/>
            </a:endParaRPr>
          </a:p>
        </p:txBody>
      </p:sp>
      <p:sp>
        <p:nvSpPr>
          <p:cNvPr id="27" name="TextBox 26">
            <a:extLst>
              <a:ext uri="{FF2B5EF4-FFF2-40B4-BE49-F238E27FC236}">
                <a16:creationId xmlns:a16="http://schemas.microsoft.com/office/drawing/2014/main" id="{11EE62C7-408A-3F46-B0F9-1B338CD3EB84}"/>
              </a:ext>
            </a:extLst>
          </p:cNvPr>
          <p:cNvSpPr txBox="1"/>
          <p:nvPr/>
        </p:nvSpPr>
        <p:spPr>
          <a:xfrm>
            <a:off x="6663758" y="5478992"/>
            <a:ext cx="1675139" cy="246221"/>
          </a:xfrm>
          <a:prstGeom prst="rect">
            <a:avLst/>
          </a:prstGeom>
          <a:noFill/>
        </p:spPr>
        <p:txBody>
          <a:bodyPr wrap="none" lIns="0" tIns="0" rIns="0" bIns="0" rtlCol="0">
            <a:spAutoFit/>
          </a:bodyPr>
          <a:lstStyle/>
          <a:p>
            <a:pPr algn="ctr"/>
            <a:r>
              <a:rPr lang="en-GB" sz="1600" dirty="0">
                <a:solidFill>
                  <a:schemeClr val="bg1">
                    <a:lumMod val="50000"/>
                  </a:schemeClr>
                </a:solidFill>
                <a:latin typeface="Montserrat" pitchFamily="2" charset="77"/>
              </a:rPr>
              <a:t>Knowledge Hub</a:t>
            </a:r>
            <a:endParaRPr lang="bg-BG" sz="1600" dirty="0">
              <a:solidFill>
                <a:schemeClr val="bg1">
                  <a:lumMod val="50000"/>
                </a:schemeClr>
              </a:solidFill>
              <a:latin typeface="Montserrat" pitchFamily="2" charset="77"/>
            </a:endParaRPr>
          </a:p>
        </p:txBody>
      </p:sp>
      <p:pic>
        <p:nvPicPr>
          <p:cNvPr id="22" name="Graphic 21">
            <a:extLst>
              <a:ext uri="{FF2B5EF4-FFF2-40B4-BE49-F238E27FC236}">
                <a16:creationId xmlns:a16="http://schemas.microsoft.com/office/drawing/2014/main" id="{FD4BF845-E15E-8542-8679-6FEE70018FC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94414" y="4206425"/>
            <a:ext cx="1008000" cy="1008000"/>
          </a:xfrm>
          <a:prstGeom prst="rect">
            <a:avLst/>
          </a:prstGeom>
        </p:spPr>
      </p:pic>
      <p:sp>
        <p:nvSpPr>
          <p:cNvPr id="8" name="Graphic 6">
            <a:extLst>
              <a:ext uri="{FF2B5EF4-FFF2-40B4-BE49-F238E27FC236}">
                <a16:creationId xmlns:a16="http://schemas.microsoft.com/office/drawing/2014/main" id="{0060BF1A-1B85-6149-8442-940466889C49}"/>
              </a:ext>
            </a:extLst>
          </p:cNvPr>
          <p:cNvSpPr/>
          <p:nvPr/>
        </p:nvSpPr>
        <p:spPr>
          <a:xfrm>
            <a:off x="1773731" y="4329859"/>
            <a:ext cx="771750" cy="945000"/>
          </a:xfrm>
          <a:custGeom>
            <a:avLst/>
            <a:gdLst>
              <a:gd name="connsiteX0" fmla="*/ 496125 w 771750"/>
              <a:gd name="connsiteY0" fmla="*/ 756000 h 945000"/>
              <a:gd name="connsiteX1" fmla="*/ 567000 w 771750"/>
              <a:gd name="connsiteY1" fmla="*/ 567000 h 945000"/>
              <a:gd name="connsiteX2" fmla="*/ 571961 w 771750"/>
              <a:gd name="connsiteY2" fmla="*/ 215539 h 945000"/>
              <a:gd name="connsiteX3" fmla="*/ 215618 w 771750"/>
              <a:gd name="connsiteY3" fmla="*/ 215539 h 945000"/>
              <a:gd name="connsiteX4" fmla="*/ 220500 w 771750"/>
              <a:gd name="connsiteY4" fmla="*/ 567000 h 945000"/>
              <a:gd name="connsiteX5" fmla="*/ 291375 w 771750"/>
              <a:gd name="connsiteY5" fmla="*/ 756000 h 945000"/>
              <a:gd name="connsiteX6" fmla="*/ 441000 w 771750"/>
              <a:gd name="connsiteY6" fmla="*/ 945000 h 945000"/>
              <a:gd name="connsiteX7" fmla="*/ 346500 w 771750"/>
              <a:gd name="connsiteY7" fmla="*/ 945000 h 945000"/>
              <a:gd name="connsiteX8" fmla="*/ 472500 w 771750"/>
              <a:gd name="connsiteY8" fmla="*/ 850500 h 945000"/>
              <a:gd name="connsiteX9" fmla="*/ 315000 w 771750"/>
              <a:gd name="connsiteY9" fmla="*/ 850500 h 945000"/>
              <a:gd name="connsiteX10" fmla="*/ 385875 w 771750"/>
              <a:gd name="connsiteY10" fmla="*/ 0 h 945000"/>
              <a:gd name="connsiteX11" fmla="*/ 385875 w 771750"/>
              <a:gd name="connsiteY11" fmla="*/ 47250 h 945000"/>
              <a:gd name="connsiteX12" fmla="*/ 0 w 771750"/>
              <a:gd name="connsiteY12" fmla="*/ 385875 h 945000"/>
              <a:gd name="connsiteX13" fmla="*/ 47250 w 771750"/>
              <a:gd name="connsiteY13" fmla="*/ 385875 h 945000"/>
              <a:gd name="connsiteX14" fmla="*/ 740250 w 771750"/>
              <a:gd name="connsiteY14" fmla="*/ 385875 h 945000"/>
              <a:gd name="connsiteX15" fmla="*/ 771750 w 771750"/>
              <a:gd name="connsiteY15" fmla="*/ 385875 h 945000"/>
              <a:gd name="connsiteX16" fmla="*/ 113006 w 771750"/>
              <a:gd name="connsiteY16" fmla="*/ 658744 h 945000"/>
              <a:gd name="connsiteX17" fmla="*/ 146396 w 771750"/>
              <a:gd name="connsiteY17" fmla="*/ 625354 h 945000"/>
              <a:gd name="connsiteX18" fmla="*/ 636458 w 771750"/>
              <a:gd name="connsiteY18" fmla="*/ 135293 h 945000"/>
              <a:gd name="connsiteX19" fmla="*/ 658744 w 771750"/>
              <a:gd name="connsiteY19" fmla="*/ 113006 h 945000"/>
              <a:gd name="connsiteX20" fmla="*/ 113006 w 771750"/>
              <a:gd name="connsiteY20" fmla="*/ 113006 h 945000"/>
              <a:gd name="connsiteX21" fmla="*/ 146396 w 771750"/>
              <a:gd name="connsiteY21" fmla="*/ 146396 h 945000"/>
              <a:gd name="connsiteX22" fmla="*/ 636458 w 771750"/>
              <a:gd name="connsiteY22" fmla="*/ 636458 h 945000"/>
              <a:gd name="connsiteX23" fmla="*/ 658744 w 771750"/>
              <a:gd name="connsiteY23" fmla="*/ 658744 h 94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71750" h="945000">
                <a:moveTo>
                  <a:pt x="496125" y="756000"/>
                </a:moveTo>
                <a:cubicBezTo>
                  <a:pt x="496125" y="606375"/>
                  <a:pt x="567000" y="567000"/>
                  <a:pt x="567000" y="567000"/>
                </a:cubicBezTo>
                <a:cubicBezTo>
                  <a:pt x="665438" y="468563"/>
                  <a:pt x="670320" y="313976"/>
                  <a:pt x="571961" y="215539"/>
                </a:cubicBezTo>
                <a:cubicBezTo>
                  <a:pt x="473554" y="117152"/>
                  <a:pt x="314025" y="117152"/>
                  <a:pt x="215618" y="215539"/>
                </a:cubicBezTo>
                <a:cubicBezTo>
                  <a:pt x="117180" y="313976"/>
                  <a:pt x="122063" y="468563"/>
                  <a:pt x="220500" y="567000"/>
                </a:cubicBezTo>
                <a:cubicBezTo>
                  <a:pt x="220500" y="567000"/>
                  <a:pt x="291375" y="606375"/>
                  <a:pt x="291375" y="756000"/>
                </a:cubicBezTo>
                <a:close/>
                <a:moveTo>
                  <a:pt x="441000" y="945000"/>
                </a:moveTo>
                <a:lnTo>
                  <a:pt x="346500" y="945000"/>
                </a:lnTo>
                <a:moveTo>
                  <a:pt x="472500" y="850500"/>
                </a:moveTo>
                <a:lnTo>
                  <a:pt x="315000" y="850500"/>
                </a:lnTo>
                <a:moveTo>
                  <a:pt x="385875" y="0"/>
                </a:moveTo>
                <a:lnTo>
                  <a:pt x="385875" y="47250"/>
                </a:lnTo>
                <a:moveTo>
                  <a:pt x="0" y="385875"/>
                </a:moveTo>
                <a:lnTo>
                  <a:pt x="47250" y="385875"/>
                </a:lnTo>
                <a:moveTo>
                  <a:pt x="740250" y="385875"/>
                </a:moveTo>
                <a:lnTo>
                  <a:pt x="771750" y="385875"/>
                </a:lnTo>
                <a:moveTo>
                  <a:pt x="113006" y="658744"/>
                </a:moveTo>
                <a:lnTo>
                  <a:pt x="146396" y="625354"/>
                </a:lnTo>
                <a:moveTo>
                  <a:pt x="636458" y="135293"/>
                </a:moveTo>
                <a:lnTo>
                  <a:pt x="658744" y="113006"/>
                </a:lnTo>
                <a:moveTo>
                  <a:pt x="113006" y="113006"/>
                </a:moveTo>
                <a:lnTo>
                  <a:pt x="146396" y="146396"/>
                </a:lnTo>
                <a:moveTo>
                  <a:pt x="636458" y="636458"/>
                </a:moveTo>
                <a:lnTo>
                  <a:pt x="658744" y="658744"/>
                </a:lnTo>
              </a:path>
            </a:pathLst>
          </a:custGeom>
          <a:noFill/>
          <a:ln w="62508" cap="rnd">
            <a:solidFill>
              <a:schemeClr val="accent3"/>
            </a:solidFill>
            <a:prstDash val="solid"/>
            <a:round/>
          </a:ln>
        </p:spPr>
        <p:txBody>
          <a:bodyPr rtlCol="0" anchor="ctr"/>
          <a:lstStyle/>
          <a:p>
            <a:endParaRPr lang="en-BG"/>
          </a:p>
        </p:txBody>
      </p:sp>
      <p:pic>
        <p:nvPicPr>
          <p:cNvPr id="10" name="Graphic 9">
            <a:extLst>
              <a:ext uri="{FF2B5EF4-FFF2-40B4-BE49-F238E27FC236}">
                <a16:creationId xmlns:a16="http://schemas.microsoft.com/office/drawing/2014/main" id="{C841DDB5-7A30-6B42-BD0D-A485D4629BA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02351" y="4271152"/>
            <a:ext cx="1008000" cy="1008000"/>
          </a:xfrm>
          <a:prstGeom prst="rect">
            <a:avLst/>
          </a:prstGeom>
        </p:spPr>
      </p:pic>
      <p:pic>
        <p:nvPicPr>
          <p:cNvPr id="12" name="Graphic 11">
            <a:extLst>
              <a:ext uri="{FF2B5EF4-FFF2-40B4-BE49-F238E27FC236}">
                <a16:creationId xmlns:a16="http://schemas.microsoft.com/office/drawing/2014/main" id="{FF1A78F9-0F3C-D94E-8CF8-C789DE2AB38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588910" y="4206425"/>
            <a:ext cx="1008000" cy="1008000"/>
          </a:xfrm>
          <a:prstGeom prst="rect">
            <a:avLst/>
          </a:prstGeom>
        </p:spPr>
      </p:pic>
    </p:spTree>
    <p:extLst>
      <p:ext uri="{BB962C8B-B14F-4D97-AF65-F5344CB8AC3E}">
        <p14:creationId xmlns:p14="http://schemas.microsoft.com/office/powerpoint/2010/main" val="17898127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78623" y="282889"/>
            <a:ext cx="6477104" cy="249299"/>
          </a:xfrm>
        </p:spPr>
        <p:txBody>
          <a:bodyPr wrap="square" lIns="0" tIns="0" rIns="0" bIns="0" anchor="t">
            <a:spAutoFit/>
          </a:bodyPr>
          <a:lstStyle/>
          <a:p>
            <a:r>
              <a:rPr lang="en-US" sz="1800" b="0" dirty="0">
                <a:solidFill>
                  <a:schemeClr val="accent3"/>
                </a:solidFill>
                <a:latin typeface="Montserrat" pitchFamily="2" charset="77"/>
              </a:rPr>
              <a:t>Variety of Tools</a:t>
            </a:r>
            <a:endParaRPr lang="en-GB" sz="1800" b="0" dirty="0">
              <a:solidFill>
                <a:schemeClr val="accent3"/>
              </a:solidFill>
              <a:effectLst>
                <a:outerShdw blurRad="38100" dist="38100" dir="2700000" algn="tl">
                  <a:srgbClr val="000000">
                    <a:alpha val="43137"/>
                  </a:srgbClr>
                </a:outerShdw>
              </a:effectLst>
              <a:latin typeface="Montserrat" pitchFamily="2" charset="77"/>
            </a:endParaRPr>
          </a:p>
        </p:txBody>
      </p:sp>
      <p:grpSp>
        <p:nvGrpSpPr>
          <p:cNvPr id="31" name="Group 30">
            <a:extLst>
              <a:ext uri="{FF2B5EF4-FFF2-40B4-BE49-F238E27FC236}">
                <a16:creationId xmlns:a16="http://schemas.microsoft.com/office/drawing/2014/main" id="{2E1AE435-3096-BA40-8961-5E21E61C9E39}"/>
              </a:ext>
            </a:extLst>
          </p:cNvPr>
          <p:cNvGrpSpPr/>
          <p:nvPr/>
        </p:nvGrpSpPr>
        <p:grpSpPr>
          <a:xfrm>
            <a:off x="443132" y="1647633"/>
            <a:ext cx="2137242" cy="4469411"/>
            <a:chOff x="7290101" y="1772893"/>
            <a:chExt cx="2137242" cy="4469411"/>
          </a:xfrm>
        </p:grpSpPr>
        <p:sp>
          <p:nvSpPr>
            <p:cNvPr id="32" name="Content Placeholder 2">
              <a:extLst>
                <a:ext uri="{FF2B5EF4-FFF2-40B4-BE49-F238E27FC236}">
                  <a16:creationId xmlns:a16="http://schemas.microsoft.com/office/drawing/2014/main" id="{72756020-2048-BD43-9B1C-BD0D898A5C8A}"/>
                </a:ext>
              </a:extLst>
            </p:cNvPr>
            <p:cNvSpPr txBox="1">
              <a:spLocks/>
            </p:cNvSpPr>
            <p:nvPr/>
          </p:nvSpPr>
          <p:spPr>
            <a:xfrm>
              <a:off x="7290101" y="3281101"/>
              <a:ext cx="2137242" cy="2961203"/>
            </a:xfrm>
            <a:prstGeom prst="rect">
              <a:avLst/>
            </a:prstGeom>
          </p:spPr>
          <p:txBody>
            <a:bodyPr vert="horz" lIns="0" tIns="0" rIns="0" bIns="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30000"/>
                </a:lnSpc>
                <a:spcBef>
                  <a:spcPts val="1000"/>
                </a:spcBef>
                <a:spcAft>
                  <a:spcPts val="0"/>
                </a:spcAft>
                <a:buClrTx/>
                <a:buSzTx/>
                <a:buFont typeface="Arial" panose="020B0604020202020204" pitchFamily="34" charset="0"/>
                <a:buNone/>
                <a:tabLst/>
                <a:defRPr/>
              </a:pPr>
              <a:r>
                <a:rPr kumimoji="0" lang="en-US" sz="1200" b="1" u="none" strike="noStrike" kern="1200" cap="none" spc="0" normalizeH="0" baseline="0" noProof="0" dirty="0">
                  <a:ln>
                    <a:noFill/>
                  </a:ln>
                  <a:solidFill>
                    <a:prstClr val="black"/>
                  </a:solidFill>
                  <a:effectLst/>
                  <a:uLnTx/>
                  <a:uFillTx/>
                  <a:latin typeface="Montserrat SemiBold" pitchFamily="2" charset="77"/>
                </a:rPr>
                <a:t>Licensed with GRI technology-based reporting platform </a:t>
              </a:r>
              <a:r>
                <a:rPr kumimoji="0" lang="en-US" sz="1200" i="0" u="none" strike="noStrike" kern="1200" cap="none" spc="0" normalizeH="0" baseline="0" noProof="0" dirty="0">
                  <a:ln>
                    <a:noFill/>
                  </a:ln>
                  <a:solidFill>
                    <a:prstClr val="black"/>
                  </a:solidFill>
                  <a:effectLst/>
                  <a:uLnTx/>
                  <a:uFillTx/>
                  <a:latin typeface="Montserrat" pitchFamily="2" charset="77"/>
                </a:rPr>
                <a:t>with built-in emission calculator intended for both public and private companies to assess the impact of their business across leading ESG metrics</a:t>
              </a:r>
              <a:endParaRPr kumimoji="0" lang="en-GB" sz="700" i="0" u="none" strike="noStrike" kern="1200" cap="none" spc="0" normalizeH="0" baseline="0" noProof="0" dirty="0">
                <a:ln>
                  <a:noFill/>
                </a:ln>
                <a:solidFill>
                  <a:srgbClr val="FF0000"/>
                </a:solidFill>
                <a:effectLst/>
                <a:uLnTx/>
                <a:uFillTx/>
                <a:latin typeface="Montserrat" pitchFamily="2" charset="77"/>
              </a:endParaRPr>
            </a:p>
          </p:txBody>
        </p:sp>
        <p:sp>
          <p:nvSpPr>
            <p:cNvPr id="33" name="Oval 32">
              <a:extLst>
                <a:ext uri="{FF2B5EF4-FFF2-40B4-BE49-F238E27FC236}">
                  <a16:creationId xmlns:a16="http://schemas.microsoft.com/office/drawing/2014/main" id="{65106505-E5BB-AF42-8DDE-06B2D2AD6EC9}"/>
                </a:ext>
              </a:extLst>
            </p:cNvPr>
            <p:cNvSpPr/>
            <p:nvPr/>
          </p:nvSpPr>
          <p:spPr>
            <a:xfrm>
              <a:off x="7684571" y="1772893"/>
              <a:ext cx="1348302" cy="1348302"/>
            </a:xfrm>
            <a:prstGeom prst="ellipse">
              <a:avLst/>
            </a:prstGeom>
            <a:solidFill>
              <a:srgbClr val="193754"/>
            </a:solidFill>
            <a:ln w="158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bg-BG" sz="1800" b="0"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pic>
          <p:nvPicPr>
            <p:cNvPr id="34" name="Graphic 33">
              <a:extLst>
                <a:ext uri="{FF2B5EF4-FFF2-40B4-BE49-F238E27FC236}">
                  <a16:creationId xmlns:a16="http://schemas.microsoft.com/office/drawing/2014/main" id="{605A37F7-2876-4E4A-AC91-5D909185557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90962" y="2231795"/>
              <a:ext cx="1135520" cy="430499"/>
            </a:xfrm>
            <a:prstGeom prst="rect">
              <a:avLst/>
            </a:prstGeom>
          </p:spPr>
        </p:pic>
      </p:grpSp>
      <p:grpSp>
        <p:nvGrpSpPr>
          <p:cNvPr id="13" name="Group 12">
            <a:extLst>
              <a:ext uri="{FF2B5EF4-FFF2-40B4-BE49-F238E27FC236}">
                <a16:creationId xmlns:a16="http://schemas.microsoft.com/office/drawing/2014/main" id="{22A8C3E2-398D-7A49-AA27-5573A5031B66}"/>
              </a:ext>
            </a:extLst>
          </p:cNvPr>
          <p:cNvGrpSpPr/>
          <p:nvPr/>
        </p:nvGrpSpPr>
        <p:grpSpPr>
          <a:xfrm>
            <a:off x="2813260" y="1647633"/>
            <a:ext cx="2052478" cy="2468850"/>
            <a:chOff x="2813260" y="1647633"/>
            <a:chExt cx="2052478" cy="2468850"/>
          </a:xfrm>
        </p:grpSpPr>
        <p:sp>
          <p:nvSpPr>
            <p:cNvPr id="15" name="Content Placeholder 2">
              <a:extLst>
                <a:ext uri="{FF2B5EF4-FFF2-40B4-BE49-F238E27FC236}">
                  <a16:creationId xmlns:a16="http://schemas.microsoft.com/office/drawing/2014/main" id="{16C91E86-65FD-ED4A-B71B-5D75E92ECB3D}"/>
                </a:ext>
              </a:extLst>
            </p:cNvPr>
            <p:cNvSpPr txBox="1">
              <a:spLocks/>
            </p:cNvSpPr>
            <p:nvPr/>
          </p:nvSpPr>
          <p:spPr>
            <a:xfrm>
              <a:off x="2813260" y="3178213"/>
              <a:ext cx="2052478" cy="938270"/>
            </a:xfrm>
            <a:prstGeom prst="rect">
              <a:avLst/>
            </a:prstGeom>
          </p:spPr>
          <p:txBody>
            <a:bodyPr vert="horz"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buNone/>
              </a:pPr>
              <a:r>
                <a:rPr lang="en-US" sz="1200" b="1" dirty="0">
                  <a:latin typeface="Montserrat SemiBold" pitchFamily="2" charset="77"/>
                </a:rPr>
                <a:t>Integrated system for information disclosure </a:t>
              </a:r>
              <a:r>
                <a:rPr lang="en-US" sz="1200" dirty="0">
                  <a:latin typeface="Montserrat" pitchFamily="2" charset="77"/>
                </a:rPr>
                <a:t>by the public companies and other issuers of securities</a:t>
              </a:r>
            </a:p>
          </p:txBody>
        </p:sp>
        <p:sp>
          <p:nvSpPr>
            <p:cNvPr id="16" name="Oval 15">
              <a:extLst>
                <a:ext uri="{FF2B5EF4-FFF2-40B4-BE49-F238E27FC236}">
                  <a16:creationId xmlns:a16="http://schemas.microsoft.com/office/drawing/2014/main" id="{01977D2D-D39F-E34A-9AB9-A5DF1DF1DC15}"/>
                </a:ext>
              </a:extLst>
            </p:cNvPr>
            <p:cNvSpPr/>
            <p:nvPr/>
          </p:nvSpPr>
          <p:spPr>
            <a:xfrm>
              <a:off x="3165348" y="1647633"/>
              <a:ext cx="1348302" cy="134830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pic>
          <p:nvPicPr>
            <p:cNvPr id="5" name="Graphic 4">
              <a:extLst>
                <a:ext uri="{FF2B5EF4-FFF2-40B4-BE49-F238E27FC236}">
                  <a16:creationId xmlns:a16="http://schemas.microsoft.com/office/drawing/2014/main" id="{909C9606-72CB-8345-8906-55AC36C1047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31572" y="2171287"/>
              <a:ext cx="1015854" cy="300994"/>
            </a:xfrm>
            <a:prstGeom prst="rect">
              <a:avLst/>
            </a:prstGeom>
          </p:spPr>
        </p:pic>
      </p:grpSp>
      <p:grpSp>
        <p:nvGrpSpPr>
          <p:cNvPr id="40" name="Group 39">
            <a:extLst>
              <a:ext uri="{FF2B5EF4-FFF2-40B4-BE49-F238E27FC236}">
                <a16:creationId xmlns:a16="http://schemas.microsoft.com/office/drawing/2014/main" id="{7EBDEE83-3237-E44A-9476-970C1CD14CB9}"/>
              </a:ext>
            </a:extLst>
          </p:cNvPr>
          <p:cNvGrpSpPr/>
          <p:nvPr/>
        </p:nvGrpSpPr>
        <p:grpSpPr>
          <a:xfrm>
            <a:off x="5098624" y="1647633"/>
            <a:ext cx="2052478" cy="2948981"/>
            <a:chOff x="5098624" y="1647633"/>
            <a:chExt cx="2052478" cy="2948981"/>
          </a:xfrm>
        </p:grpSpPr>
        <p:sp>
          <p:nvSpPr>
            <p:cNvPr id="21" name="Content Placeholder 2">
              <a:extLst>
                <a:ext uri="{FF2B5EF4-FFF2-40B4-BE49-F238E27FC236}">
                  <a16:creationId xmlns:a16="http://schemas.microsoft.com/office/drawing/2014/main" id="{82D26331-C1F4-1641-BC6B-FA2505F1E837}"/>
                </a:ext>
              </a:extLst>
            </p:cNvPr>
            <p:cNvSpPr txBox="1">
              <a:spLocks/>
            </p:cNvSpPr>
            <p:nvPr/>
          </p:nvSpPr>
          <p:spPr>
            <a:xfrm>
              <a:off x="5098624" y="3178212"/>
              <a:ext cx="2052478" cy="1418402"/>
            </a:xfrm>
            <a:prstGeom prst="rect">
              <a:avLst/>
            </a:prstGeom>
          </p:spPr>
          <p:txBody>
            <a:bodyPr vert="horz"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en-US" sz="1200" b="1" dirty="0">
                  <a:latin typeface="Montserrat SemiBold" pitchFamily="2" charset="77"/>
                </a:rPr>
                <a:t>Specialized media</a:t>
              </a:r>
              <a:r>
                <a:rPr lang="en-US" sz="1200" dirty="0">
                  <a:latin typeface="Montserrat" pitchFamily="2" charset="77"/>
                </a:rPr>
                <a:t>, intended for public companies and other issuers of securities to  disclose regulated information to the public</a:t>
              </a:r>
              <a:endParaRPr lang="bg-BG" sz="1200" dirty="0">
                <a:latin typeface="Montserrat" pitchFamily="2" charset="77"/>
              </a:endParaRPr>
            </a:p>
          </p:txBody>
        </p:sp>
        <p:sp>
          <p:nvSpPr>
            <p:cNvPr id="23" name="Oval 22">
              <a:extLst>
                <a:ext uri="{FF2B5EF4-FFF2-40B4-BE49-F238E27FC236}">
                  <a16:creationId xmlns:a16="http://schemas.microsoft.com/office/drawing/2014/main" id="{811438FA-422F-944D-A017-3CD7D02521E0}"/>
                </a:ext>
              </a:extLst>
            </p:cNvPr>
            <p:cNvSpPr/>
            <p:nvPr/>
          </p:nvSpPr>
          <p:spPr>
            <a:xfrm>
              <a:off x="5450712" y="1647633"/>
              <a:ext cx="1348302" cy="134830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pic>
          <p:nvPicPr>
            <p:cNvPr id="7" name="Graphic 6">
              <a:extLst>
                <a:ext uri="{FF2B5EF4-FFF2-40B4-BE49-F238E27FC236}">
                  <a16:creationId xmlns:a16="http://schemas.microsoft.com/office/drawing/2014/main" id="{0C37296E-EE42-9640-875F-723DEED498D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507880" y="2169774"/>
              <a:ext cx="1233965" cy="304020"/>
            </a:xfrm>
            <a:prstGeom prst="rect">
              <a:avLst/>
            </a:prstGeom>
          </p:spPr>
        </p:pic>
      </p:grpSp>
      <p:grpSp>
        <p:nvGrpSpPr>
          <p:cNvPr id="42" name="Group 41">
            <a:extLst>
              <a:ext uri="{FF2B5EF4-FFF2-40B4-BE49-F238E27FC236}">
                <a16:creationId xmlns:a16="http://schemas.microsoft.com/office/drawing/2014/main" id="{45297342-9B2A-6E43-8441-31F060759E98}"/>
              </a:ext>
            </a:extLst>
          </p:cNvPr>
          <p:cNvGrpSpPr/>
          <p:nvPr/>
        </p:nvGrpSpPr>
        <p:grpSpPr>
          <a:xfrm>
            <a:off x="7383988" y="1647633"/>
            <a:ext cx="2040833" cy="4478793"/>
            <a:chOff x="7383988" y="1647633"/>
            <a:chExt cx="2040833" cy="4478793"/>
          </a:xfrm>
        </p:grpSpPr>
        <p:sp>
          <p:nvSpPr>
            <p:cNvPr id="28" name="Content Placeholder 2">
              <a:extLst>
                <a:ext uri="{FF2B5EF4-FFF2-40B4-BE49-F238E27FC236}">
                  <a16:creationId xmlns:a16="http://schemas.microsoft.com/office/drawing/2014/main" id="{613EDD3C-409A-7240-9246-FBC4D9EEFB08}"/>
                </a:ext>
              </a:extLst>
            </p:cNvPr>
            <p:cNvSpPr txBox="1">
              <a:spLocks/>
            </p:cNvSpPr>
            <p:nvPr/>
          </p:nvSpPr>
          <p:spPr>
            <a:xfrm>
              <a:off x="7383988" y="3178212"/>
              <a:ext cx="2040833" cy="2948214"/>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buSzPct val="50000"/>
                <a:buNone/>
              </a:pPr>
              <a:r>
                <a:rPr lang="en-US" sz="1200" b="1" dirty="0">
                  <a:latin typeface="Montserrat SemiBold" pitchFamily="2" charset="77"/>
                </a:rPr>
                <a:t>Electronic platform providing structured financial data and news </a:t>
              </a:r>
              <a:r>
                <a:rPr lang="en-US" sz="1200" dirty="0">
                  <a:latin typeface="Montserrat" pitchFamily="2" charset="77"/>
                </a:rPr>
                <a:t>on all Bulgarian public companies and intended individual and institutional investors, analysts and data providers, issuers, state institutions, as well as media</a:t>
              </a:r>
              <a:endParaRPr lang="bg-BG" sz="1200" dirty="0">
                <a:latin typeface="Montserrat" pitchFamily="2" charset="77"/>
              </a:endParaRPr>
            </a:p>
          </p:txBody>
        </p:sp>
        <p:sp>
          <p:nvSpPr>
            <p:cNvPr id="29" name="Oval 28">
              <a:extLst>
                <a:ext uri="{FF2B5EF4-FFF2-40B4-BE49-F238E27FC236}">
                  <a16:creationId xmlns:a16="http://schemas.microsoft.com/office/drawing/2014/main" id="{865ED4AC-6657-0945-914A-E9FEC26DDE87}"/>
                </a:ext>
              </a:extLst>
            </p:cNvPr>
            <p:cNvSpPr/>
            <p:nvPr/>
          </p:nvSpPr>
          <p:spPr>
            <a:xfrm>
              <a:off x="7730253" y="1647633"/>
              <a:ext cx="1348302" cy="134830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pic>
          <p:nvPicPr>
            <p:cNvPr id="11" name="Graphic 10">
              <a:extLst>
                <a:ext uri="{FF2B5EF4-FFF2-40B4-BE49-F238E27FC236}">
                  <a16:creationId xmlns:a16="http://schemas.microsoft.com/office/drawing/2014/main" id="{C458C36A-CB3E-204B-B83A-F0048704024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630342" y="2172687"/>
              <a:ext cx="1548124" cy="302507"/>
            </a:xfrm>
            <a:prstGeom prst="rect">
              <a:avLst/>
            </a:prstGeom>
          </p:spPr>
        </p:pic>
      </p:grpSp>
      <p:grpSp>
        <p:nvGrpSpPr>
          <p:cNvPr id="43" name="Group 42">
            <a:extLst>
              <a:ext uri="{FF2B5EF4-FFF2-40B4-BE49-F238E27FC236}">
                <a16:creationId xmlns:a16="http://schemas.microsoft.com/office/drawing/2014/main" id="{6F5EE861-6265-F14F-B56A-6C3E062A4E70}"/>
              </a:ext>
            </a:extLst>
          </p:cNvPr>
          <p:cNvGrpSpPr/>
          <p:nvPr/>
        </p:nvGrpSpPr>
        <p:grpSpPr>
          <a:xfrm>
            <a:off x="9657706" y="1647633"/>
            <a:ext cx="2052478" cy="3401833"/>
            <a:chOff x="9657706" y="1647633"/>
            <a:chExt cx="2052478" cy="3401833"/>
          </a:xfrm>
        </p:grpSpPr>
        <p:sp>
          <p:nvSpPr>
            <p:cNvPr id="36" name="Content Placeholder 2">
              <a:extLst>
                <a:ext uri="{FF2B5EF4-FFF2-40B4-BE49-F238E27FC236}">
                  <a16:creationId xmlns:a16="http://schemas.microsoft.com/office/drawing/2014/main" id="{9E084376-B738-C44F-8DAB-7B3871A2DDE6}"/>
                </a:ext>
              </a:extLst>
            </p:cNvPr>
            <p:cNvSpPr txBox="1">
              <a:spLocks/>
            </p:cNvSpPr>
            <p:nvPr/>
          </p:nvSpPr>
          <p:spPr>
            <a:xfrm>
              <a:off x="9657706" y="3150933"/>
              <a:ext cx="2052478" cy="1898533"/>
            </a:xfrm>
            <a:prstGeom prst="rect">
              <a:avLst/>
            </a:prstGeom>
          </p:spPr>
          <p:txBody>
            <a:bodyPr vert="horz"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en-GB" sz="1200" b="1" dirty="0">
                  <a:latin typeface="Montserrat SemiBold" pitchFamily="2" charset="77"/>
                </a:rPr>
                <a:t>Automated stock lending platform </a:t>
              </a:r>
              <a:r>
                <a:rPr lang="en-GB" sz="1200" dirty="0">
                  <a:latin typeface="Montserrat" pitchFamily="2" charset="77"/>
                </a:rPr>
                <a:t>intended to facilitate stock lenders (e. g. holders of large portfolios of securities) and borrowers (e.g. counterparties in short selling transactions)</a:t>
              </a:r>
              <a:endParaRPr lang="bg-BG" sz="1200" dirty="0">
                <a:latin typeface="Montserrat" pitchFamily="2" charset="77"/>
              </a:endParaRPr>
            </a:p>
          </p:txBody>
        </p:sp>
        <p:sp>
          <p:nvSpPr>
            <p:cNvPr id="37" name="Oval 36">
              <a:extLst>
                <a:ext uri="{FF2B5EF4-FFF2-40B4-BE49-F238E27FC236}">
                  <a16:creationId xmlns:a16="http://schemas.microsoft.com/office/drawing/2014/main" id="{508C083F-6C44-7E48-AC8D-1602F5379668}"/>
                </a:ext>
              </a:extLst>
            </p:cNvPr>
            <p:cNvSpPr/>
            <p:nvPr/>
          </p:nvSpPr>
          <p:spPr>
            <a:xfrm>
              <a:off x="10009794" y="1647633"/>
              <a:ext cx="1348302" cy="134830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1" name="Content Placeholder 2">
              <a:extLst>
                <a:ext uri="{FF2B5EF4-FFF2-40B4-BE49-F238E27FC236}">
                  <a16:creationId xmlns:a16="http://schemas.microsoft.com/office/drawing/2014/main" id="{68D886A0-0938-324B-86DD-ACBA424D16B7}"/>
                </a:ext>
              </a:extLst>
            </p:cNvPr>
            <p:cNvSpPr txBox="1">
              <a:spLocks/>
            </p:cNvSpPr>
            <p:nvPr/>
          </p:nvSpPr>
          <p:spPr>
            <a:xfrm>
              <a:off x="9767544" y="1952452"/>
              <a:ext cx="1832801" cy="646331"/>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SzPct val="50000"/>
                <a:buNone/>
              </a:pPr>
              <a:r>
                <a:rPr lang="en-US" sz="1400" b="1" dirty="0">
                  <a:latin typeface="Montserrat" pitchFamily="2" charset="77"/>
                </a:rPr>
                <a:t>STOCK</a:t>
              </a:r>
              <a:br>
                <a:rPr lang="en-US" sz="1400" b="1" dirty="0">
                  <a:latin typeface="Montserrat" pitchFamily="2" charset="77"/>
                </a:rPr>
              </a:br>
              <a:r>
                <a:rPr lang="en-US" sz="1400" b="1" dirty="0">
                  <a:latin typeface="Montserrat" pitchFamily="2" charset="77"/>
                </a:rPr>
                <a:t>LENDING PLATFORM</a:t>
              </a:r>
              <a:endParaRPr lang="bg-BG" sz="1400" b="1" dirty="0">
                <a:latin typeface="Montserrat" pitchFamily="2" charset="77"/>
              </a:endParaRPr>
            </a:p>
          </p:txBody>
        </p:sp>
      </p:grpSp>
    </p:spTree>
    <p:extLst>
      <p:ext uri="{BB962C8B-B14F-4D97-AF65-F5344CB8AC3E}">
        <p14:creationId xmlns:p14="http://schemas.microsoft.com/office/powerpoint/2010/main" val="36739580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0"/>
                                        </p:tgtEl>
                                        <p:attrNameLst>
                                          <p:attrName>style.visibility</p:attrName>
                                        </p:attrNameLst>
                                      </p:cBhvr>
                                      <p:to>
                                        <p:strVal val="visible"/>
                                      </p:to>
                                    </p:set>
                                    <p:animEffect transition="in" filter="fade">
                                      <p:cBhvr>
                                        <p:cTn id="17" dur="500"/>
                                        <p:tgtEl>
                                          <p:spTgt spid="4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3"/>
                                        </p:tgtEl>
                                        <p:attrNameLst>
                                          <p:attrName>style.visibility</p:attrName>
                                        </p:attrNameLst>
                                      </p:cBhvr>
                                      <p:to>
                                        <p:strVal val="visible"/>
                                      </p:to>
                                    </p:set>
                                    <p:animEffect transition="in" filter="fade">
                                      <p:cBhvr>
                                        <p:cTn id="27"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78623" y="282889"/>
            <a:ext cx="6477104" cy="249299"/>
          </a:xfrm>
        </p:spPr>
        <p:txBody>
          <a:bodyPr wrap="square" lIns="0" tIns="0" rIns="0" bIns="0" anchor="t">
            <a:spAutoFit/>
          </a:bodyPr>
          <a:lstStyle/>
          <a:p>
            <a:r>
              <a:rPr lang="en-US" sz="1800" b="0" dirty="0">
                <a:solidFill>
                  <a:schemeClr val="accent3"/>
                </a:solidFill>
                <a:latin typeface="Montserrat" pitchFamily="2" charset="77"/>
              </a:rPr>
              <a:t>BSE Approach to Sustainability</a:t>
            </a:r>
            <a:endParaRPr lang="en-GB" sz="1800" b="0" dirty="0">
              <a:solidFill>
                <a:schemeClr val="accent3"/>
              </a:solidFill>
              <a:effectLst>
                <a:outerShdw blurRad="38100" dist="38100" dir="2700000" algn="tl">
                  <a:srgbClr val="000000">
                    <a:alpha val="43137"/>
                  </a:srgbClr>
                </a:outerShdw>
              </a:effectLst>
              <a:latin typeface="Montserrat" pitchFamily="2" charset="77"/>
            </a:endParaRPr>
          </a:p>
        </p:txBody>
      </p:sp>
      <p:pic>
        <p:nvPicPr>
          <p:cNvPr id="1028" name="Picture 4" descr="http://www.caceis.de/fileadmin/templates/images/caceis.gif">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87500" y="-630238"/>
            <a:ext cx="2286000" cy="66675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caceis.de/fileadmin/templates/images/caceis.gif">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39900" y="-477838"/>
            <a:ext cx="2286000" cy="666751"/>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15751D45-2F18-E746-B80D-72436BDCFAD8}"/>
              </a:ext>
            </a:extLst>
          </p:cNvPr>
          <p:cNvSpPr txBox="1"/>
          <p:nvPr/>
        </p:nvSpPr>
        <p:spPr>
          <a:xfrm>
            <a:off x="5217557" y="3237194"/>
            <a:ext cx="1756891" cy="677108"/>
          </a:xfrm>
          <a:prstGeom prst="rect">
            <a:avLst/>
          </a:prstGeom>
          <a:noFill/>
        </p:spPr>
        <p:txBody>
          <a:bodyPr wrap="none" lIns="0" tIns="0" rIns="0" bIns="0" rtlCol="0">
            <a:spAutoFit/>
          </a:bodyPr>
          <a:lstStyle/>
          <a:p>
            <a:pPr algn="ctr"/>
            <a:r>
              <a:rPr lang="en-GB" sz="4400" b="1" dirty="0">
                <a:latin typeface="Bebas Neue Bold" pitchFamily="2" charset="77"/>
              </a:rPr>
              <a:t>ESG Index</a:t>
            </a:r>
          </a:p>
        </p:txBody>
      </p:sp>
      <p:sp>
        <p:nvSpPr>
          <p:cNvPr id="21" name="Graphic 6">
            <a:extLst>
              <a:ext uri="{FF2B5EF4-FFF2-40B4-BE49-F238E27FC236}">
                <a16:creationId xmlns:a16="http://schemas.microsoft.com/office/drawing/2014/main" id="{48B910B1-34EB-DA48-962E-A46123C5E8A1}"/>
              </a:ext>
            </a:extLst>
          </p:cNvPr>
          <p:cNvSpPr>
            <a:spLocks noChangeAspect="1"/>
          </p:cNvSpPr>
          <p:nvPr/>
        </p:nvSpPr>
        <p:spPr>
          <a:xfrm>
            <a:off x="5478600" y="1458051"/>
            <a:ext cx="1234800" cy="1512000"/>
          </a:xfrm>
          <a:custGeom>
            <a:avLst/>
            <a:gdLst>
              <a:gd name="connsiteX0" fmla="*/ 496125 w 771750"/>
              <a:gd name="connsiteY0" fmla="*/ 756000 h 945000"/>
              <a:gd name="connsiteX1" fmla="*/ 567000 w 771750"/>
              <a:gd name="connsiteY1" fmla="*/ 567000 h 945000"/>
              <a:gd name="connsiteX2" fmla="*/ 571961 w 771750"/>
              <a:gd name="connsiteY2" fmla="*/ 215539 h 945000"/>
              <a:gd name="connsiteX3" fmla="*/ 215618 w 771750"/>
              <a:gd name="connsiteY3" fmla="*/ 215539 h 945000"/>
              <a:gd name="connsiteX4" fmla="*/ 220500 w 771750"/>
              <a:gd name="connsiteY4" fmla="*/ 567000 h 945000"/>
              <a:gd name="connsiteX5" fmla="*/ 291375 w 771750"/>
              <a:gd name="connsiteY5" fmla="*/ 756000 h 945000"/>
              <a:gd name="connsiteX6" fmla="*/ 441000 w 771750"/>
              <a:gd name="connsiteY6" fmla="*/ 945000 h 945000"/>
              <a:gd name="connsiteX7" fmla="*/ 346500 w 771750"/>
              <a:gd name="connsiteY7" fmla="*/ 945000 h 945000"/>
              <a:gd name="connsiteX8" fmla="*/ 472500 w 771750"/>
              <a:gd name="connsiteY8" fmla="*/ 850500 h 945000"/>
              <a:gd name="connsiteX9" fmla="*/ 315000 w 771750"/>
              <a:gd name="connsiteY9" fmla="*/ 850500 h 945000"/>
              <a:gd name="connsiteX10" fmla="*/ 385875 w 771750"/>
              <a:gd name="connsiteY10" fmla="*/ 0 h 945000"/>
              <a:gd name="connsiteX11" fmla="*/ 385875 w 771750"/>
              <a:gd name="connsiteY11" fmla="*/ 47250 h 945000"/>
              <a:gd name="connsiteX12" fmla="*/ 0 w 771750"/>
              <a:gd name="connsiteY12" fmla="*/ 385875 h 945000"/>
              <a:gd name="connsiteX13" fmla="*/ 47250 w 771750"/>
              <a:gd name="connsiteY13" fmla="*/ 385875 h 945000"/>
              <a:gd name="connsiteX14" fmla="*/ 740250 w 771750"/>
              <a:gd name="connsiteY14" fmla="*/ 385875 h 945000"/>
              <a:gd name="connsiteX15" fmla="*/ 771750 w 771750"/>
              <a:gd name="connsiteY15" fmla="*/ 385875 h 945000"/>
              <a:gd name="connsiteX16" fmla="*/ 113006 w 771750"/>
              <a:gd name="connsiteY16" fmla="*/ 658744 h 945000"/>
              <a:gd name="connsiteX17" fmla="*/ 146396 w 771750"/>
              <a:gd name="connsiteY17" fmla="*/ 625354 h 945000"/>
              <a:gd name="connsiteX18" fmla="*/ 636458 w 771750"/>
              <a:gd name="connsiteY18" fmla="*/ 135293 h 945000"/>
              <a:gd name="connsiteX19" fmla="*/ 658744 w 771750"/>
              <a:gd name="connsiteY19" fmla="*/ 113006 h 945000"/>
              <a:gd name="connsiteX20" fmla="*/ 113006 w 771750"/>
              <a:gd name="connsiteY20" fmla="*/ 113006 h 945000"/>
              <a:gd name="connsiteX21" fmla="*/ 146396 w 771750"/>
              <a:gd name="connsiteY21" fmla="*/ 146396 h 945000"/>
              <a:gd name="connsiteX22" fmla="*/ 636458 w 771750"/>
              <a:gd name="connsiteY22" fmla="*/ 636458 h 945000"/>
              <a:gd name="connsiteX23" fmla="*/ 658744 w 771750"/>
              <a:gd name="connsiteY23" fmla="*/ 658744 h 94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71750" h="945000">
                <a:moveTo>
                  <a:pt x="496125" y="756000"/>
                </a:moveTo>
                <a:cubicBezTo>
                  <a:pt x="496125" y="606375"/>
                  <a:pt x="567000" y="567000"/>
                  <a:pt x="567000" y="567000"/>
                </a:cubicBezTo>
                <a:cubicBezTo>
                  <a:pt x="665438" y="468563"/>
                  <a:pt x="670320" y="313976"/>
                  <a:pt x="571961" y="215539"/>
                </a:cubicBezTo>
                <a:cubicBezTo>
                  <a:pt x="473554" y="117152"/>
                  <a:pt x="314025" y="117152"/>
                  <a:pt x="215618" y="215539"/>
                </a:cubicBezTo>
                <a:cubicBezTo>
                  <a:pt x="117180" y="313976"/>
                  <a:pt x="122063" y="468563"/>
                  <a:pt x="220500" y="567000"/>
                </a:cubicBezTo>
                <a:cubicBezTo>
                  <a:pt x="220500" y="567000"/>
                  <a:pt x="291375" y="606375"/>
                  <a:pt x="291375" y="756000"/>
                </a:cubicBezTo>
                <a:close/>
                <a:moveTo>
                  <a:pt x="441000" y="945000"/>
                </a:moveTo>
                <a:lnTo>
                  <a:pt x="346500" y="945000"/>
                </a:lnTo>
                <a:moveTo>
                  <a:pt x="472500" y="850500"/>
                </a:moveTo>
                <a:lnTo>
                  <a:pt x="315000" y="850500"/>
                </a:lnTo>
                <a:moveTo>
                  <a:pt x="385875" y="0"/>
                </a:moveTo>
                <a:lnTo>
                  <a:pt x="385875" y="47250"/>
                </a:lnTo>
                <a:moveTo>
                  <a:pt x="0" y="385875"/>
                </a:moveTo>
                <a:lnTo>
                  <a:pt x="47250" y="385875"/>
                </a:lnTo>
                <a:moveTo>
                  <a:pt x="740250" y="385875"/>
                </a:moveTo>
                <a:lnTo>
                  <a:pt x="771750" y="385875"/>
                </a:lnTo>
                <a:moveTo>
                  <a:pt x="113006" y="658744"/>
                </a:moveTo>
                <a:lnTo>
                  <a:pt x="146396" y="625354"/>
                </a:lnTo>
                <a:moveTo>
                  <a:pt x="636458" y="135293"/>
                </a:moveTo>
                <a:lnTo>
                  <a:pt x="658744" y="113006"/>
                </a:lnTo>
                <a:moveTo>
                  <a:pt x="113006" y="113006"/>
                </a:moveTo>
                <a:lnTo>
                  <a:pt x="146396" y="146396"/>
                </a:lnTo>
                <a:moveTo>
                  <a:pt x="636458" y="636458"/>
                </a:moveTo>
                <a:lnTo>
                  <a:pt x="658744" y="658744"/>
                </a:lnTo>
              </a:path>
            </a:pathLst>
          </a:custGeom>
          <a:noFill/>
          <a:ln w="62508" cap="rnd">
            <a:solidFill>
              <a:srgbClr val="00FC9B"/>
            </a:solidFill>
            <a:prstDash val="solid"/>
            <a:round/>
          </a:ln>
        </p:spPr>
        <p:txBody>
          <a:bodyPr rtlCol="0" anchor="ctr"/>
          <a:lstStyle/>
          <a:p>
            <a:endParaRPr lang="en-BG"/>
          </a:p>
        </p:txBody>
      </p:sp>
      <p:sp>
        <p:nvSpPr>
          <p:cNvPr id="23" name="Content Placeholder 2">
            <a:extLst>
              <a:ext uri="{FF2B5EF4-FFF2-40B4-BE49-F238E27FC236}">
                <a16:creationId xmlns:a16="http://schemas.microsoft.com/office/drawing/2014/main" id="{7E6B7AA2-9B76-EA44-8C4A-6978626F2E77}"/>
              </a:ext>
            </a:extLst>
          </p:cNvPr>
          <p:cNvSpPr txBox="1">
            <a:spLocks/>
          </p:cNvSpPr>
          <p:nvPr/>
        </p:nvSpPr>
        <p:spPr>
          <a:xfrm>
            <a:off x="930149" y="5089163"/>
            <a:ext cx="2286000" cy="814518"/>
          </a:xfrm>
          <a:prstGeom prst="rect">
            <a:avLst/>
          </a:prstGeom>
        </p:spPr>
        <p:txBody>
          <a:bodyPr vert="horz"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30000"/>
              </a:lnSpc>
              <a:spcBef>
                <a:spcPts val="1000"/>
              </a:spcBef>
              <a:spcAft>
                <a:spcPts val="0"/>
              </a:spcAft>
              <a:buClrTx/>
              <a:buSzTx/>
              <a:buFont typeface="Arial" panose="020B0604020202020204" pitchFamily="34" charset="0"/>
              <a:buNone/>
              <a:tabLst/>
              <a:defRPr/>
            </a:pPr>
            <a:r>
              <a:rPr kumimoji="0" lang="en-US" sz="1400" i="0" u="none" strike="noStrike" kern="1200" cap="none" spc="0" normalizeH="0" baseline="0" noProof="0" dirty="0">
                <a:ln>
                  <a:noFill/>
                </a:ln>
                <a:solidFill>
                  <a:prstClr val="black"/>
                </a:solidFill>
                <a:effectLst/>
                <a:uLnTx/>
                <a:uFillTx/>
                <a:latin typeface="Montserrat" pitchFamily="2" charset="77"/>
              </a:rPr>
              <a:t>Bulgarian public companies will receive ESG scores by LSEG D&amp;A</a:t>
            </a:r>
            <a:endParaRPr kumimoji="0" lang="en-GB" sz="800" i="0" u="none" strike="noStrike" kern="1200" cap="none" spc="0" normalizeH="0" baseline="0" noProof="0" dirty="0">
              <a:ln>
                <a:noFill/>
              </a:ln>
              <a:solidFill>
                <a:srgbClr val="FF0000"/>
              </a:solidFill>
              <a:effectLst/>
              <a:uLnTx/>
              <a:uFillTx/>
              <a:latin typeface="Montserrat" pitchFamily="2" charset="77"/>
            </a:endParaRPr>
          </a:p>
        </p:txBody>
      </p:sp>
      <p:sp>
        <p:nvSpPr>
          <p:cNvPr id="26" name="Content Placeholder 2">
            <a:extLst>
              <a:ext uri="{FF2B5EF4-FFF2-40B4-BE49-F238E27FC236}">
                <a16:creationId xmlns:a16="http://schemas.microsoft.com/office/drawing/2014/main" id="{FEAD9BF7-CC0B-7240-818E-A415CF1A89F1}"/>
              </a:ext>
            </a:extLst>
          </p:cNvPr>
          <p:cNvSpPr txBox="1">
            <a:spLocks/>
          </p:cNvSpPr>
          <p:nvPr/>
        </p:nvSpPr>
        <p:spPr>
          <a:xfrm>
            <a:off x="3653471" y="5089163"/>
            <a:ext cx="2286000" cy="1094595"/>
          </a:xfrm>
          <a:prstGeom prst="rect">
            <a:avLst/>
          </a:prstGeom>
        </p:spPr>
        <p:txBody>
          <a:bodyPr vert="horz"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30000"/>
              </a:lnSpc>
              <a:spcBef>
                <a:spcPts val="1000"/>
              </a:spcBef>
              <a:spcAft>
                <a:spcPts val="0"/>
              </a:spcAft>
              <a:buClrTx/>
              <a:buSzTx/>
              <a:buFont typeface="Arial" panose="020B0604020202020204" pitchFamily="34" charset="0"/>
              <a:buNone/>
              <a:tabLst/>
              <a:defRPr/>
            </a:pPr>
            <a:r>
              <a:rPr kumimoji="0" lang="en-US" sz="1400" i="0" u="none" strike="noStrike" kern="1200" cap="none" spc="0" normalizeH="0" baseline="0" noProof="0" dirty="0">
                <a:ln>
                  <a:noFill/>
                </a:ln>
                <a:solidFill>
                  <a:prstClr val="black"/>
                </a:solidFill>
                <a:effectLst/>
                <a:uLnTx/>
                <a:uFillTx/>
                <a:latin typeface="Montserrat" pitchFamily="2" charset="77"/>
              </a:rPr>
              <a:t>Companies with the highest ESG scores will be selected for index constituents</a:t>
            </a:r>
            <a:endParaRPr kumimoji="0" lang="en-GB" sz="800" i="0" u="none" strike="noStrike" kern="1200" cap="none" spc="0" normalizeH="0" baseline="0" noProof="0" dirty="0">
              <a:ln>
                <a:noFill/>
              </a:ln>
              <a:solidFill>
                <a:srgbClr val="FF0000"/>
              </a:solidFill>
              <a:effectLst/>
              <a:uLnTx/>
              <a:uFillTx/>
              <a:latin typeface="Montserrat" pitchFamily="2" charset="77"/>
            </a:endParaRPr>
          </a:p>
        </p:txBody>
      </p:sp>
      <p:sp>
        <p:nvSpPr>
          <p:cNvPr id="28" name="Content Placeholder 2">
            <a:extLst>
              <a:ext uri="{FF2B5EF4-FFF2-40B4-BE49-F238E27FC236}">
                <a16:creationId xmlns:a16="http://schemas.microsoft.com/office/drawing/2014/main" id="{B59AAAA3-BCB9-094E-BA64-02F2BD1E3CC2}"/>
              </a:ext>
            </a:extLst>
          </p:cNvPr>
          <p:cNvSpPr txBox="1">
            <a:spLocks/>
          </p:cNvSpPr>
          <p:nvPr/>
        </p:nvSpPr>
        <p:spPr>
          <a:xfrm>
            <a:off x="6356914" y="5089163"/>
            <a:ext cx="2286000" cy="814518"/>
          </a:xfrm>
          <a:prstGeom prst="rect">
            <a:avLst/>
          </a:prstGeom>
        </p:spPr>
        <p:txBody>
          <a:bodyPr vert="horz"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30000"/>
              </a:lnSpc>
              <a:spcBef>
                <a:spcPts val="1000"/>
              </a:spcBef>
              <a:spcAft>
                <a:spcPts val="0"/>
              </a:spcAft>
              <a:buClrTx/>
              <a:buSzTx/>
              <a:buFont typeface="Arial" panose="020B0604020202020204" pitchFamily="34" charset="0"/>
              <a:buNone/>
              <a:tabLst/>
              <a:defRPr/>
            </a:pPr>
            <a:r>
              <a:rPr kumimoji="0" lang="en-US" sz="1400" i="0" u="none" strike="noStrike" kern="1200" cap="none" spc="0" normalizeH="0" baseline="0" noProof="0" dirty="0">
                <a:ln>
                  <a:noFill/>
                </a:ln>
                <a:solidFill>
                  <a:prstClr val="black"/>
                </a:solidFill>
                <a:effectLst/>
                <a:uLnTx/>
                <a:uFillTx/>
                <a:latin typeface="Montserrat" pitchFamily="2" charset="77"/>
              </a:rPr>
              <a:t>Approved methodology for calculation of an ESG index</a:t>
            </a:r>
            <a:endParaRPr kumimoji="0" lang="en-GB" sz="800" i="0" u="none" strike="noStrike" kern="1200" cap="none" spc="0" normalizeH="0" baseline="0" noProof="0" dirty="0">
              <a:ln>
                <a:noFill/>
              </a:ln>
              <a:solidFill>
                <a:srgbClr val="FF0000"/>
              </a:solidFill>
              <a:effectLst/>
              <a:uLnTx/>
              <a:uFillTx/>
              <a:latin typeface="Montserrat" pitchFamily="2" charset="77"/>
            </a:endParaRPr>
          </a:p>
        </p:txBody>
      </p:sp>
      <p:sp>
        <p:nvSpPr>
          <p:cNvPr id="29" name="Content Placeholder 2">
            <a:extLst>
              <a:ext uri="{FF2B5EF4-FFF2-40B4-BE49-F238E27FC236}">
                <a16:creationId xmlns:a16="http://schemas.microsoft.com/office/drawing/2014/main" id="{9D3E1D9B-C831-B043-BA38-11DC65BD1126}"/>
              </a:ext>
            </a:extLst>
          </p:cNvPr>
          <p:cNvSpPr txBox="1">
            <a:spLocks/>
          </p:cNvSpPr>
          <p:nvPr/>
        </p:nvSpPr>
        <p:spPr>
          <a:xfrm>
            <a:off x="9139870" y="5089163"/>
            <a:ext cx="2286000" cy="534442"/>
          </a:xfrm>
          <a:prstGeom prst="rect">
            <a:avLst/>
          </a:prstGeom>
        </p:spPr>
        <p:txBody>
          <a:bodyPr vert="horz"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30000"/>
              </a:lnSpc>
              <a:spcBef>
                <a:spcPts val="1000"/>
              </a:spcBef>
              <a:spcAft>
                <a:spcPts val="0"/>
              </a:spcAft>
              <a:buClrTx/>
              <a:buSzTx/>
              <a:buFont typeface="Arial" panose="020B0604020202020204" pitchFamily="34" charset="0"/>
              <a:buNone/>
              <a:tabLst/>
              <a:defRPr/>
            </a:pPr>
            <a:r>
              <a:rPr kumimoji="0" lang="en-US" sz="1400" i="0" u="none" strike="noStrike" kern="1200" cap="none" spc="0" normalizeH="0" baseline="0" noProof="0" dirty="0">
                <a:ln>
                  <a:noFill/>
                </a:ln>
                <a:solidFill>
                  <a:prstClr val="black"/>
                </a:solidFill>
                <a:effectLst/>
                <a:uLnTx/>
                <a:uFillTx/>
                <a:latin typeface="Montserrat" pitchFamily="2" charset="77"/>
              </a:rPr>
              <a:t>Official launch of the index in June 2024</a:t>
            </a:r>
            <a:endParaRPr kumimoji="0" lang="en-GB" sz="800" i="0" u="none" strike="noStrike" kern="1200" cap="none" spc="0" normalizeH="0" baseline="0" noProof="0" dirty="0">
              <a:ln>
                <a:noFill/>
              </a:ln>
              <a:solidFill>
                <a:srgbClr val="FF0000"/>
              </a:solidFill>
              <a:effectLst/>
              <a:uLnTx/>
              <a:uFillTx/>
              <a:latin typeface="Montserrat" pitchFamily="2" charset="77"/>
            </a:endParaRPr>
          </a:p>
        </p:txBody>
      </p:sp>
      <p:cxnSp>
        <p:nvCxnSpPr>
          <p:cNvPr id="30" name="Straight Arrow Connector 29">
            <a:extLst>
              <a:ext uri="{FF2B5EF4-FFF2-40B4-BE49-F238E27FC236}">
                <a16:creationId xmlns:a16="http://schemas.microsoft.com/office/drawing/2014/main" id="{A6DAA470-9B0A-BD43-93B8-302E42D4EBF3}"/>
              </a:ext>
            </a:extLst>
          </p:cNvPr>
          <p:cNvCxnSpPr>
            <a:cxnSpLocks/>
            <a:stCxn id="13" idx="2"/>
            <a:endCxn id="23" idx="0"/>
          </p:cNvCxnSpPr>
          <p:nvPr/>
        </p:nvCxnSpPr>
        <p:spPr>
          <a:xfrm flipH="1">
            <a:off x="2073149" y="3914302"/>
            <a:ext cx="4022854" cy="1174861"/>
          </a:xfrm>
          <a:prstGeom prst="straightConnector1">
            <a:avLst/>
          </a:prstGeom>
          <a:ln>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6FD3070A-2BB7-CA4B-9BB0-DFA09D1010C0}"/>
              </a:ext>
            </a:extLst>
          </p:cNvPr>
          <p:cNvCxnSpPr>
            <a:cxnSpLocks/>
            <a:stCxn id="13" idx="2"/>
            <a:endCxn id="26" idx="0"/>
          </p:cNvCxnSpPr>
          <p:nvPr/>
        </p:nvCxnSpPr>
        <p:spPr>
          <a:xfrm flipH="1">
            <a:off x="4796471" y="3914302"/>
            <a:ext cx="1299532" cy="1174861"/>
          </a:xfrm>
          <a:prstGeom prst="straightConnector1">
            <a:avLst/>
          </a:prstGeom>
          <a:ln>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D51C752B-E252-AA43-AA22-4AE2D5C1FB80}"/>
              </a:ext>
            </a:extLst>
          </p:cNvPr>
          <p:cNvCxnSpPr>
            <a:cxnSpLocks/>
            <a:stCxn id="13" idx="2"/>
            <a:endCxn id="28" idx="0"/>
          </p:cNvCxnSpPr>
          <p:nvPr/>
        </p:nvCxnSpPr>
        <p:spPr>
          <a:xfrm>
            <a:off x="6096003" y="3914302"/>
            <a:ext cx="1403911" cy="1174861"/>
          </a:xfrm>
          <a:prstGeom prst="straightConnector1">
            <a:avLst/>
          </a:prstGeom>
          <a:ln>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CE4BD5D8-5185-E340-AE94-FFA5AE9027B8}"/>
              </a:ext>
            </a:extLst>
          </p:cNvPr>
          <p:cNvCxnSpPr>
            <a:cxnSpLocks/>
            <a:stCxn id="13" idx="2"/>
            <a:endCxn id="29" idx="0"/>
          </p:cNvCxnSpPr>
          <p:nvPr/>
        </p:nvCxnSpPr>
        <p:spPr>
          <a:xfrm>
            <a:off x="6096003" y="3914302"/>
            <a:ext cx="4186867" cy="1174861"/>
          </a:xfrm>
          <a:prstGeom prst="straightConnector1">
            <a:avLst/>
          </a:prstGeom>
          <a:ln>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58635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66D78-54A5-1044-A741-2366FF5E52CC}"/>
              </a:ext>
            </a:extLst>
          </p:cNvPr>
          <p:cNvSpPr>
            <a:spLocks noGrp="1"/>
          </p:cNvSpPr>
          <p:nvPr>
            <p:ph type="ctrTitle"/>
          </p:nvPr>
        </p:nvSpPr>
        <p:spPr>
          <a:xfrm>
            <a:off x="1524000" y="2968577"/>
            <a:ext cx="9144000" cy="1080296"/>
          </a:xfrm>
        </p:spPr>
        <p:txBody>
          <a:bodyPr>
            <a:spAutoFit/>
          </a:bodyPr>
          <a:lstStyle/>
          <a:p>
            <a:pPr>
              <a:lnSpc>
                <a:spcPct val="75000"/>
              </a:lnSpc>
            </a:pPr>
            <a:r>
              <a:rPr lang="en-GB" sz="8000" dirty="0"/>
              <a:t>Deutsche </a:t>
            </a:r>
            <a:r>
              <a:rPr lang="en-GB" sz="8000" dirty="0" err="1"/>
              <a:t>Börse</a:t>
            </a:r>
            <a:r>
              <a:rPr lang="en-GB" sz="8000" dirty="0">
                <a:solidFill>
                  <a:schemeClr val="accent5"/>
                </a:solidFill>
              </a:rPr>
              <a:t> </a:t>
            </a:r>
            <a:r>
              <a:rPr lang="en-GB" sz="8000" dirty="0">
                <a:solidFill>
                  <a:srgbClr val="DA98FF"/>
                </a:solidFill>
              </a:rPr>
              <a:t>&amp; </a:t>
            </a:r>
            <a:r>
              <a:rPr lang="en-GB" sz="8000" dirty="0"/>
              <a:t>BSE</a:t>
            </a:r>
            <a:endParaRPr lang="en-BG" sz="8000" b="0" dirty="0">
              <a:solidFill>
                <a:schemeClr val="accent5"/>
              </a:solidFill>
              <a:latin typeface="Bebas Neue Book" pitchFamily="2" charset="77"/>
            </a:endParaRPr>
          </a:p>
        </p:txBody>
      </p:sp>
      <p:grpSp>
        <p:nvGrpSpPr>
          <p:cNvPr id="4" name="Graphic 2">
            <a:extLst>
              <a:ext uri="{FF2B5EF4-FFF2-40B4-BE49-F238E27FC236}">
                <a16:creationId xmlns:a16="http://schemas.microsoft.com/office/drawing/2014/main" id="{0AF7E463-844B-E149-98B3-F5B054FA0250}"/>
              </a:ext>
            </a:extLst>
          </p:cNvPr>
          <p:cNvGrpSpPr/>
          <p:nvPr/>
        </p:nvGrpSpPr>
        <p:grpSpPr>
          <a:xfrm>
            <a:off x="9989574" y="6250285"/>
            <a:ext cx="1870343" cy="338730"/>
            <a:chOff x="9989574" y="6250285"/>
            <a:chExt cx="1870343" cy="338730"/>
          </a:xfrm>
          <a:solidFill>
            <a:schemeClr val="bg1"/>
          </a:solidFill>
        </p:grpSpPr>
        <p:sp>
          <p:nvSpPr>
            <p:cNvPr id="5" name="Freeform 4">
              <a:extLst>
                <a:ext uri="{FF2B5EF4-FFF2-40B4-BE49-F238E27FC236}">
                  <a16:creationId xmlns:a16="http://schemas.microsoft.com/office/drawing/2014/main" id="{0407E192-792A-C643-8E3D-F10FE5F29637}"/>
                </a:ext>
              </a:extLst>
            </p:cNvPr>
            <p:cNvSpPr/>
            <p:nvPr/>
          </p:nvSpPr>
          <p:spPr>
            <a:xfrm>
              <a:off x="9989574" y="6459598"/>
              <a:ext cx="126683" cy="97008"/>
            </a:xfrm>
            <a:custGeom>
              <a:avLst/>
              <a:gdLst>
                <a:gd name="connsiteX0" fmla="*/ 82495 w 126683"/>
                <a:gd name="connsiteY0" fmla="*/ 0 h 97008"/>
                <a:gd name="connsiteX1" fmla="*/ 0 w 126683"/>
                <a:gd name="connsiteY1" fmla="*/ 46604 h 97008"/>
                <a:gd name="connsiteX2" fmla="*/ 0 w 126683"/>
                <a:gd name="connsiteY2" fmla="*/ 97009 h 97008"/>
                <a:gd name="connsiteX3" fmla="*/ 126683 w 126683"/>
                <a:gd name="connsiteY3" fmla="*/ 24927 h 97008"/>
                <a:gd name="connsiteX4" fmla="*/ 82495 w 126683"/>
                <a:gd name="connsiteY4" fmla="*/ 0 h 97008"/>
                <a:gd name="connsiteX5" fmla="*/ 82495 w 126683"/>
                <a:gd name="connsiteY5" fmla="*/ 0 h 97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683" h="97008">
                  <a:moveTo>
                    <a:pt x="82495" y="0"/>
                  </a:moveTo>
                  <a:lnTo>
                    <a:pt x="0" y="46604"/>
                  </a:lnTo>
                  <a:lnTo>
                    <a:pt x="0" y="97009"/>
                  </a:lnTo>
                  <a:lnTo>
                    <a:pt x="126683" y="24927"/>
                  </a:lnTo>
                  <a:lnTo>
                    <a:pt x="82495" y="0"/>
                  </a:lnTo>
                  <a:lnTo>
                    <a:pt x="82495" y="0"/>
                  </a:lnTo>
                  <a:close/>
                </a:path>
              </a:pathLst>
            </a:custGeom>
            <a:grpFill/>
            <a:ln w="0" cap="flat">
              <a:noFill/>
              <a:prstDash val="solid"/>
              <a:miter/>
            </a:ln>
          </p:spPr>
          <p:txBody>
            <a:bodyPr rtlCol="0" anchor="ctr"/>
            <a:lstStyle/>
            <a:p>
              <a:endParaRPr lang="en-BG"/>
            </a:p>
          </p:txBody>
        </p:sp>
        <p:sp>
          <p:nvSpPr>
            <p:cNvPr id="6" name="Freeform 5">
              <a:extLst>
                <a:ext uri="{FF2B5EF4-FFF2-40B4-BE49-F238E27FC236}">
                  <a16:creationId xmlns:a16="http://schemas.microsoft.com/office/drawing/2014/main" id="{F3A40E5C-F5AA-E24B-AB8B-3E2A3BE01918}"/>
                </a:ext>
              </a:extLst>
            </p:cNvPr>
            <p:cNvSpPr/>
            <p:nvPr/>
          </p:nvSpPr>
          <p:spPr>
            <a:xfrm>
              <a:off x="10078525" y="6455822"/>
              <a:ext cx="126059" cy="46293"/>
            </a:xfrm>
            <a:custGeom>
              <a:avLst/>
              <a:gdLst>
                <a:gd name="connsiteX0" fmla="*/ 126059 w 126059"/>
                <a:gd name="connsiteY0" fmla="*/ 21342 h 46293"/>
                <a:gd name="connsiteX1" fmla="*/ 88352 w 126059"/>
                <a:gd name="connsiteY1" fmla="*/ 0 h 46293"/>
                <a:gd name="connsiteX2" fmla="*/ 0 w 126059"/>
                <a:gd name="connsiteY2" fmla="*/ 0 h 46293"/>
                <a:gd name="connsiteX3" fmla="*/ 81871 w 126059"/>
                <a:gd name="connsiteY3" fmla="*/ 46294 h 46293"/>
                <a:gd name="connsiteX4" fmla="*/ 126059 w 126059"/>
                <a:gd name="connsiteY4" fmla="*/ 21342 h 46293"/>
                <a:gd name="connsiteX5" fmla="*/ 126059 w 126059"/>
                <a:gd name="connsiteY5" fmla="*/ 21342 h 46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059" h="46293">
                  <a:moveTo>
                    <a:pt x="126059" y="21342"/>
                  </a:moveTo>
                  <a:lnTo>
                    <a:pt x="88352" y="0"/>
                  </a:lnTo>
                  <a:lnTo>
                    <a:pt x="0" y="0"/>
                  </a:lnTo>
                  <a:lnTo>
                    <a:pt x="81871" y="46294"/>
                  </a:lnTo>
                  <a:lnTo>
                    <a:pt x="126059" y="21342"/>
                  </a:lnTo>
                  <a:lnTo>
                    <a:pt x="126059" y="21342"/>
                  </a:lnTo>
                  <a:close/>
                </a:path>
              </a:pathLst>
            </a:custGeom>
            <a:grpFill/>
            <a:ln w="0" cap="flat">
              <a:noFill/>
              <a:prstDash val="solid"/>
              <a:miter/>
            </a:ln>
          </p:spPr>
          <p:txBody>
            <a:bodyPr rtlCol="0" anchor="ctr"/>
            <a:lstStyle/>
            <a:p>
              <a:endParaRPr lang="en-BG"/>
            </a:p>
          </p:txBody>
        </p:sp>
        <p:sp>
          <p:nvSpPr>
            <p:cNvPr id="7" name="Freeform 6">
              <a:extLst>
                <a:ext uri="{FF2B5EF4-FFF2-40B4-BE49-F238E27FC236}">
                  <a16:creationId xmlns:a16="http://schemas.microsoft.com/office/drawing/2014/main" id="{C29D60A3-56FA-1D46-8DBE-9DCE5AD9D13A}"/>
                </a:ext>
              </a:extLst>
            </p:cNvPr>
            <p:cNvSpPr/>
            <p:nvPr/>
          </p:nvSpPr>
          <p:spPr>
            <a:xfrm>
              <a:off x="10167165" y="6408787"/>
              <a:ext cx="214339" cy="97200"/>
            </a:xfrm>
            <a:custGeom>
              <a:avLst/>
              <a:gdLst>
                <a:gd name="connsiteX0" fmla="*/ 170751 w 214339"/>
                <a:gd name="connsiteY0" fmla="*/ 0 h 97200"/>
                <a:gd name="connsiteX1" fmla="*/ 0 w 214339"/>
                <a:gd name="connsiteY1" fmla="*/ 97176 h 97200"/>
                <a:gd name="connsiteX2" fmla="*/ 88496 w 214339"/>
                <a:gd name="connsiteY2" fmla="*/ 97200 h 97200"/>
                <a:gd name="connsiteX3" fmla="*/ 214339 w 214339"/>
                <a:gd name="connsiteY3" fmla="*/ 25382 h 97200"/>
                <a:gd name="connsiteX4" fmla="*/ 170751 w 214339"/>
                <a:gd name="connsiteY4" fmla="*/ 0 h 97200"/>
                <a:gd name="connsiteX5" fmla="*/ 170751 w 214339"/>
                <a:gd name="connsiteY5" fmla="*/ 0 h 9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339" h="97200">
                  <a:moveTo>
                    <a:pt x="170751" y="0"/>
                  </a:moveTo>
                  <a:lnTo>
                    <a:pt x="0" y="97176"/>
                  </a:lnTo>
                  <a:lnTo>
                    <a:pt x="88496" y="97200"/>
                  </a:lnTo>
                  <a:lnTo>
                    <a:pt x="214339" y="25382"/>
                  </a:lnTo>
                  <a:lnTo>
                    <a:pt x="170751" y="0"/>
                  </a:lnTo>
                  <a:lnTo>
                    <a:pt x="170751" y="0"/>
                  </a:lnTo>
                  <a:close/>
                </a:path>
              </a:pathLst>
            </a:custGeom>
            <a:grpFill/>
            <a:ln w="0" cap="flat">
              <a:noFill/>
              <a:prstDash val="solid"/>
              <a:miter/>
            </a:ln>
          </p:spPr>
          <p:txBody>
            <a:bodyPr rtlCol="0" anchor="ctr"/>
            <a:lstStyle/>
            <a:p>
              <a:endParaRPr lang="en-BG"/>
            </a:p>
          </p:txBody>
        </p:sp>
        <p:sp>
          <p:nvSpPr>
            <p:cNvPr id="8" name="Freeform 7">
              <a:extLst>
                <a:ext uri="{FF2B5EF4-FFF2-40B4-BE49-F238E27FC236}">
                  <a16:creationId xmlns:a16="http://schemas.microsoft.com/office/drawing/2014/main" id="{597C9E8F-3DE8-EE4E-837E-C59AE4F93430}"/>
                </a:ext>
              </a:extLst>
            </p:cNvPr>
            <p:cNvSpPr/>
            <p:nvPr/>
          </p:nvSpPr>
          <p:spPr>
            <a:xfrm>
              <a:off x="10344109" y="6405035"/>
              <a:ext cx="126587" cy="47130"/>
            </a:xfrm>
            <a:custGeom>
              <a:avLst/>
              <a:gdLst>
                <a:gd name="connsiteX0" fmla="*/ 126587 w 126587"/>
                <a:gd name="connsiteY0" fmla="*/ 21725 h 47130"/>
                <a:gd name="connsiteX1" fmla="*/ 88064 w 126587"/>
                <a:gd name="connsiteY1" fmla="*/ 0 h 47130"/>
                <a:gd name="connsiteX2" fmla="*/ 0 w 126587"/>
                <a:gd name="connsiteY2" fmla="*/ 0 h 47130"/>
                <a:gd name="connsiteX3" fmla="*/ 82063 w 126587"/>
                <a:gd name="connsiteY3" fmla="*/ 47130 h 47130"/>
                <a:gd name="connsiteX4" fmla="*/ 126587 w 126587"/>
                <a:gd name="connsiteY4" fmla="*/ 21725 h 47130"/>
                <a:gd name="connsiteX5" fmla="*/ 126587 w 126587"/>
                <a:gd name="connsiteY5" fmla="*/ 21725 h 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587" h="47130">
                  <a:moveTo>
                    <a:pt x="126587" y="21725"/>
                  </a:moveTo>
                  <a:lnTo>
                    <a:pt x="88064" y="0"/>
                  </a:lnTo>
                  <a:lnTo>
                    <a:pt x="0" y="0"/>
                  </a:lnTo>
                  <a:lnTo>
                    <a:pt x="82063" y="47130"/>
                  </a:lnTo>
                  <a:lnTo>
                    <a:pt x="126587" y="21725"/>
                  </a:lnTo>
                  <a:lnTo>
                    <a:pt x="126587" y="21725"/>
                  </a:lnTo>
                  <a:close/>
                </a:path>
              </a:pathLst>
            </a:custGeom>
            <a:grpFill/>
            <a:ln w="0" cap="flat">
              <a:noFill/>
              <a:prstDash val="solid"/>
              <a:miter/>
            </a:ln>
          </p:spPr>
          <p:txBody>
            <a:bodyPr rtlCol="0" anchor="ctr"/>
            <a:lstStyle/>
            <a:p>
              <a:endParaRPr lang="en-BG"/>
            </a:p>
          </p:txBody>
        </p:sp>
        <p:sp>
          <p:nvSpPr>
            <p:cNvPr id="9" name="Freeform 8">
              <a:extLst>
                <a:ext uri="{FF2B5EF4-FFF2-40B4-BE49-F238E27FC236}">
                  <a16:creationId xmlns:a16="http://schemas.microsoft.com/office/drawing/2014/main" id="{FA215789-1335-0044-A613-ED5F5D387B72}"/>
                </a:ext>
              </a:extLst>
            </p:cNvPr>
            <p:cNvSpPr/>
            <p:nvPr/>
          </p:nvSpPr>
          <p:spPr>
            <a:xfrm>
              <a:off x="10432725" y="6284150"/>
              <a:ext cx="301802" cy="171695"/>
            </a:xfrm>
            <a:custGeom>
              <a:avLst/>
              <a:gdLst>
                <a:gd name="connsiteX0" fmla="*/ 301803 w 301802"/>
                <a:gd name="connsiteY0" fmla="*/ 49879 h 171695"/>
                <a:gd name="connsiteX1" fmla="*/ 88280 w 301802"/>
                <a:gd name="connsiteY1" fmla="*/ 171672 h 171695"/>
                <a:gd name="connsiteX2" fmla="*/ 0 w 301802"/>
                <a:gd name="connsiteY2" fmla="*/ 171696 h 171695"/>
                <a:gd name="connsiteX3" fmla="*/ 301803 w 301802"/>
                <a:gd name="connsiteY3" fmla="*/ 0 h 171695"/>
                <a:gd name="connsiteX4" fmla="*/ 301803 w 301802"/>
                <a:gd name="connsiteY4" fmla="*/ 49879 h 171695"/>
                <a:gd name="connsiteX5" fmla="*/ 301803 w 301802"/>
                <a:gd name="connsiteY5" fmla="*/ 49879 h 171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802" h="171695">
                  <a:moveTo>
                    <a:pt x="301803" y="49879"/>
                  </a:moveTo>
                  <a:lnTo>
                    <a:pt x="88280" y="171672"/>
                  </a:lnTo>
                  <a:lnTo>
                    <a:pt x="0" y="171696"/>
                  </a:lnTo>
                  <a:lnTo>
                    <a:pt x="301803" y="0"/>
                  </a:lnTo>
                  <a:lnTo>
                    <a:pt x="301803" y="49879"/>
                  </a:lnTo>
                  <a:lnTo>
                    <a:pt x="301803" y="49879"/>
                  </a:lnTo>
                  <a:close/>
                </a:path>
              </a:pathLst>
            </a:custGeom>
            <a:grpFill/>
            <a:ln w="0" cap="flat">
              <a:noFill/>
              <a:prstDash val="solid"/>
              <a:miter/>
            </a:ln>
          </p:spPr>
          <p:txBody>
            <a:bodyPr rtlCol="0" anchor="ctr"/>
            <a:lstStyle/>
            <a:p>
              <a:endParaRPr lang="en-BG"/>
            </a:p>
          </p:txBody>
        </p:sp>
        <p:sp>
          <p:nvSpPr>
            <p:cNvPr id="10" name="Freeform 9">
              <a:extLst>
                <a:ext uri="{FF2B5EF4-FFF2-40B4-BE49-F238E27FC236}">
                  <a16:creationId xmlns:a16="http://schemas.microsoft.com/office/drawing/2014/main" id="{8D610594-1E15-E34D-BF97-1687F9A44D77}"/>
                </a:ext>
              </a:extLst>
            </p:cNvPr>
            <p:cNvSpPr/>
            <p:nvPr/>
          </p:nvSpPr>
          <p:spPr>
            <a:xfrm>
              <a:off x="10865772" y="6441793"/>
              <a:ext cx="62141" cy="80804"/>
            </a:xfrm>
            <a:custGeom>
              <a:avLst/>
              <a:gdLst>
                <a:gd name="connsiteX0" fmla="*/ 51605 w 62141"/>
                <a:gd name="connsiteY0" fmla="*/ 79514 h 80804"/>
                <a:gd name="connsiteX1" fmla="*/ 62142 w 62141"/>
                <a:gd name="connsiteY1" fmla="*/ 79514 h 80804"/>
                <a:gd name="connsiteX2" fmla="*/ 62142 w 62141"/>
                <a:gd name="connsiteY2" fmla="*/ 39650 h 80804"/>
                <a:gd name="connsiteX3" fmla="*/ 32739 w 62141"/>
                <a:gd name="connsiteY3" fmla="*/ 39650 h 80804"/>
                <a:gd name="connsiteX4" fmla="*/ 32739 w 62141"/>
                <a:gd name="connsiteY4" fmla="*/ 51958 h 80804"/>
                <a:gd name="connsiteX5" fmla="*/ 47500 w 62141"/>
                <a:gd name="connsiteY5" fmla="*/ 51958 h 80804"/>
                <a:gd name="connsiteX6" fmla="*/ 31875 w 62141"/>
                <a:gd name="connsiteY6" fmla="*/ 67851 h 80804"/>
                <a:gd name="connsiteX7" fmla="*/ 15049 w 62141"/>
                <a:gd name="connsiteY7" fmla="*/ 40295 h 80804"/>
                <a:gd name="connsiteX8" fmla="*/ 32307 w 62141"/>
                <a:gd name="connsiteY8" fmla="*/ 12308 h 80804"/>
                <a:gd name="connsiteX9" fmla="*/ 46972 w 62141"/>
                <a:gd name="connsiteY9" fmla="*/ 23231 h 80804"/>
                <a:gd name="connsiteX10" fmla="*/ 60437 w 62141"/>
                <a:gd name="connsiteY10" fmla="*/ 19885 h 80804"/>
                <a:gd name="connsiteX11" fmla="*/ 32667 w 62141"/>
                <a:gd name="connsiteY11" fmla="*/ 0 h 80804"/>
                <a:gd name="connsiteX12" fmla="*/ 0 w 62141"/>
                <a:gd name="connsiteY12" fmla="*/ 39435 h 80804"/>
                <a:gd name="connsiteX13" fmla="*/ 30051 w 62141"/>
                <a:gd name="connsiteY13" fmla="*/ 80805 h 80804"/>
                <a:gd name="connsiteX14" fmla="*/ 50885 w 62141"/>
                <a:gd name="connsiteY14" fmla="*/ 71293 h 80804"/>
                <a:gd name="connsiteX15" fmla="*/ 51653 w 62141"/>
                <a:gd name="connsiteY15" fmla="*/ 79514 h 80804"/>
                <a:gd name="connsiteX16" fmla="*/ 51653 w 62141"/>
                <a:gd name="connsiteY16" fmla="*/ 79514 h 8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141" h="80804">
                  <a:moveTo>
                    <a:pt x="51605" y="79514"/>
                  </a:moveTo>
                  <a:lnTo>
                    <a:pt x="62142" y="79514"/>
                  </a:lnTo>
                  <a:lnTo>
                    <a:pt x="62142" y="39650"/>
                  </a:lnTo>
                  <a:lnTo>
                    <a:pt x="32739" y="39650"/>
                  </a:lnTo>
                  <a:lnTo>
                    <a:pt x="32739" y="51958"/>
                  </a:lnTo>
                  <a:lnTo>
                    <a:pt x="47500" y="51958"/>
                  </a:lnTo>
                  <a:cubicBezTo>
                    <a:pt x="46204" y="62020"/>
                    <a:pt x="40228" y="67851"/>
                    <a:pt x="31875" y="67851"/>
                  </a:cubicBezTo>
                  <a:cubicBezTo>
                    <a:pt x="21242" y="67851"/>
                    <a:pt x="15049" y="58339"/>
                    <a:pt x="15049" y="40295"/>
                  </a:cubicBezTo>
                  <a:cubicBezTo>
                    <a:pt x="15049" y="22251"/>
                    <a:pt x="21026" y="12308"/>
                    <a:pt x="32307" y="12308"/>
                  </a:cubicBezTo>
                  <a:cubicBezTo>
                    <a:pt x="39147" y="12308"/>
                    <a:pt x="43828" y="15893"/>
                    <a:pt x="46972" y="23231"/>
                  </a:cubicBezTo>
                  <a:lnTo>
                    <a:pt x="60437" y="19885"/>
                  </a:lnTo>
                  <a:cubicBezTo>
                    <a:pt x="56549" y="7027"/>
                    <a:pt x="46756" y="0"/>
                    <a:pt x="32667" y="0"/>
                  </a:cubicBezTo>
                  <a:cubicBezTo>
                    <a:pt x="12265" y="0"/>
                    <a:pt x="0" y="14364"/>
                    <a:pt x="0" y="39435"/>
                  </a:cubicBezTo>
                  <a:cubicBezTo>
                    <a:pt x="0" y="64505"/>
                    <a:pt x="11497" y="80805"/>
                    <a:pt x="30051" y="80805"/>
                  </a:cubicBezTo>
                  <a:cubicBezTo>
                    <a:pt x="39268" y="80805"/>
                    <a:pt x="45892" y="77794"/>
                    <a:pt x="50885" y="71293"/>
                  </a:cubicBezTo>
                  <a:lnTo>
                    <a:pt x="51653" y="79514"/>
                  </a:lnTo>
                  <a:lnTo>
                    <a:pt x="51653" y="79514"/>
                  </a:lnTo>
                  <a:close/>
                </a:path>
              </a:pathLst>
            </a:custGeom>
            <a:grpFill/>
            <a:ln w="0" cap="flat">
              <a:noFill/>
              <a:prstDash val="solid"/>
              <a:miter/>
            </a:ln>
          </p:spPr>
          <p:txBody>
            <a:bodyPr rtlCol="0" anchor="ctr"/>
            <a:lstStyle/>
            <a:p>
              <a:endParaRPr lang="en-BG"/>
            </a:p>
          </p:txBody>
        </p:sp>
        <p:sp>
          <p:nvSpPr>
            <p:cNvPr id="11" name="Freeform 10">
              <a:extLst>
                <a:ext uri="{FF2B5EF4-FFF2-40B4-BE49-F238E27FC236}">
                  <a16:creationId xmlns:a16="http://schemas.microsoft.com/office/drawing/2014/main" id="{35E1992E-5D3B-714D-8120-042F2890C961}"/>
                </a:ext>
              </a:extLst>
            </p:cNvPr>
            <p:cNvSpPr/>
            <p:nvPr/>
          </p:nvSpPr>
          <p:spPr>
            <a:xfrm>
              <a:off x="10948531" y="6442749"/>
              <a:ext cx="59261" cy="78558"/>
            </a:xfrm>
            <a:custGeom>
              <a:avLst/>
              <a:gdLst>
                <a:gd name="connsiteX0" fmla="*/ 0 w 59261"/>
                <a:gd name="connsiteY0" fmla="*/ 78558 h 78558"/>
                <a:gd name="connsiteX1" fmla="*/ 14545 w 59261"/>
                <a:gd name="connsiteY1" fmla="*/ 78558 h 78558"/>
                <a:gd name="connsiteX2" fmla="*/ 14545 w 59261"/>
                <a:gd name="connsiteY2" fmla="*/ 46676 h 78558"/>
                <a:gd name="connsiteX3" fmla="*/ 28106 w 59261"/>
                <a:gd name="connsiteY3" fmla="*/ 46676 h 78558"/>
                <a:gd name="connsiteX4" fmla="*/ 43300 w 59261"/>
                <a:gd name="connsiteY4" fmla="*/ 78558 h 78558"/>
                <a:gd name="connsiteX5" fmla="*/ 59261 w 59261"/>
                <a:gd name="connsiteY5" fmla="*/ 78558 h 78558"/>
                <a:gd name="connsiteX6" fmla="*/ 41788 w 59261"/>
                <a:gd name="connsiteY6" fmla="*/ 43330 h 78558"/>
                <a:gd name="connsiteX7" fmla="*/ 56333 w 59261"/>
                <a:gd name="connsiteY7" fmla="*/ 23446 h 78558"/>
                <a:gd name="connsiteX8" fmla="*/ 26714 w 59261"/>
                <a:gd name="connsiteY8" fmla="*/ 0 h 78558"/>
                <a:gd name="connsiteX9" fmla="*/ 0 w 59261"/>
                <a:gd name="connsiteY9" fmla="*/ 0 h 78558"/>
                <a:gd name="connsiteX10" fmla="*/ 0 w 59261"/>
                <a:gd name="connsiteY10" fmla="*/ 78558 h 78558"/>
                <a:gd name="connsiteX11" fmla="*/ 0 w 59261"/>
                <a:gd name="connsiteY11" fmla="*/ 78558 h 78558"/>
                <a:gd name="connsiteX12" fmla="*/ 14545 w 59261"/>
                <a:gd name="connsiteY12" fmla="*/ 34248 h 78558"/>
                <a:gd name="connsiteX13" fmla="*/ 14545 w 59261"/>
                <a:gd name="connsiteY13" fmla="*/ 12428 h 78558"/>
                <a:gd name="connsiteX14" fmla="*/ 27458 w 59261"/>
                <a:gd name="connsiteY14" fmla="*/ 12428 h 78558"/>
                <a:gd name="connsiteX15" fmla="*/ 41356 w 59261"/>
                <a:gd name="connsiteY15" fmla="*/ 23350 h 78558"/>
                <a:gd name="connsiteX16" fmla="*/ 27458 w 59261"/>
                <a:gd name="connsiteY16" fmla="*/ 34272 h 78558"/>
                <a:gd name="connsiteX17" fmla="*/ 14545 w 59261"/>
                <a:gd name="connsiteY17" fmla="*/ 34272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9261" h="78558">
                  <a:moveTo>
                    <a:pt x="0" y="78558"/>
                  </a:moveTo>
                  <a:lnTo>
                    <a:pt x="14545" y="78558"/>
                  </a:lnTo>
                  <a:lnTo>
                    <a:pt x="14545" y="46676"/>
                  </a:lnTo>
                  <a:lnTo>
                    <a:pt x="28106" y="46676"/>
                  </a:lnTo>
                  <a:lnTo>
                    <a:pt x="43300" y="78558"/>
                  </a:lnTo>
                  <a:lnTo>
                    <a:pt x="59261" y="78558"/>
                  </a:lnTo>
                  <a:lnTo>
                    <a:pt x="41788" y="43330"/>
                  </a:lnTo>
                  <a:cubicBezTo>
                    <a:pt x="51125" y="40749"/>
                    <a:pt x="56333" y="33723"/>
                    <a:pt x="56333" y="23446"/>
                  </a:cubicBezTo>
                  <a:cubicBezTo>
                    <a:pt x="56333" y="7457"/>
                    <a:pt x="46564" y="0"/>
                    <a:pt x="26714" y="0"/>
                  </a:cubicBezTo>
                  <a:lnTo>
                    <a:pt x="0" y="0"/>
                  </a:lnTo>
                  <a:lnTo>
                    <a:pt x="0" y="78558"/>
                  </a:lnTo>
                  <a:lnTo>
                    <a:pt x="0" y="78558"/>
                  </a:lnTo>
                  <a:close/>
                  <a:moveTo>
                    <a:pt x="14545" y="34248"/>
                  </a:moveTo>
                  <a:lnTo>
                    <a:pt x="14545" y="12428"/>
                  </a:lnTo>
                  <a:lnTo>
                    <a:pt x="27458" y="12428"/>
                  </a:lnTo>
                  <a:cubicBezTo>
                    <a:pt x="36795" y="12428"/>
                    <a:pt x="41356" y="15678"/>
                    <a:pt x="41356" y="23350"/>
                  </a:cubicBezTo>
                  <a:cubicBezTo>
                    <a:pt x="41356" y="31022"/>
                    <a:pt x="36891" y="34272"/>
                    <a:pt x="27458" y="34272"/>
                  </a:cubicBezTo>
                  <a:lnTo>
                    <a:pt x="14545" y="34272"/>
                  </a:lnTo>
                  <a:close/>
                </a:path>
              </a:pathLst>
            </a:custGeom>
            <a:grpFill/>
            <a:ln w="0" cap="flat">
              <a:noFill/>
              <a:prstDash val="solid"/>
              <a:miter/>
            </a:ln>
          </p:spPr>
          <p:txBody>
            <a:bodyPr rtlCol="0" anchor="ctr"/>
            <a:lstStyle/>
            <a:p>
              <a:endParaRPr lang="en-BG"/>
            </a:p>
          </p:txBody>
        </p:sp>
        <p:sp>
          <p:nvSpPr>
            <p:cNvPr id="12" name="Freeform 11">
              <a:extLst>
                <a:ext uri="{FF2B5EF4-FFF2-40B4-BE49-F238E27FC236}">
                  <a16:creationId xmlns:a16="http://schemas.microsoft.com/office/drawing/2014/main" id="{5B77C502-1FF2-8D49-8392-AF7A29E5B9CD}"/>
                </a:ext>
              </a:extLst>
            </p:cNvPr>
            <p:cNvSpPr/>
            <p:nvPr/>
          </p:nvSpPr>
          <p:spPr>
            <a:xfrm>
              <a:off x="11021546" y="6441769"/>
              <a:ext cx="65549" cy="80828"/>
            </a:xfrm>
            <a:custGeom>
              <a:avLst/>
              <a:gdLst>
                <a:gd name="connsiteX0" fmla="*/ 0 w 65549"/>
                <a:gd name="connsiteY0" fmla="*/ 40414 h 80828"/>
                <a:gd name="connsiteX1" fmla="*/ 32763 w 65549"/>
                <a:gd name="connsiteY1" fmla="*/ 80829 h 80828"/>
                <a:gd name="connsiteX2" fmla="*/ 65550 w 65549"/>
                <a:gd name="connsiteY2" fmla="*/ 40414 h 80828"/>
                <a:gd name="connsiteX3" fmla="*/ 32763 w 65549"/>
                <a:gd name="connsiteY3" fmla="*/ 0 h 80828"/>
                <a:gd name="connsiteX4" fmla="*/ 0 w 65549"/>
                <a:gd name="connsiteY4" fmla="*/ 40414 h 80828"/>
                <a:gd name="connsiteX5" fmla="*/ 0 w 65549"/>
                <a:gd name="connsiteY5" fmla="*/ 40414 h 80828"/>
                <a:gd name="connsiteX6" fmla="*/ 15097 w 65549"/>
                <a:gd name="connsiteY6" fmla="*/ 40414 h 80828"/>
                <a:gd name="connsiteX7" fmla="*/ 32787 w 65549"/>
                <a:gd name="connsiteY7" fmla="*/ 13073 h 80828"/>
                <a:gd name="connsiteX8" fmla="*/ 50477 w 65549"/>
                <a:gd name="connsiteY8" fmla="*/ 40414 h 80828"/>
                <a:gd name="connsiteX9" fmla="*/ 32787 w 65549"/>
                <a:gd name="connsiteY9" fmla="*/ 67541 h 80828"/>
                <a:gd name="connsiteX10" fmla="*/ 15097 w 65549"/>
                <a:gd name="connsiteY10" fmla="*/ 40414 h 80828"/>
                <a:gd name="connsiteX11" fmla="*/ 15097 w 65549"/>
                <a:gd name="connsiteY11" fmla="*/ 40414 h 8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549" h="80828">
                  <a:moveTo>
                    <a:pt x="0" y="40414"/>
                  </a:moveTo>
                  <a:cubicBezTo>
                    <a:pt x="0" y="65915"/>
                    <a:pt x="12577" y="80829"/>
                    <a:pt x="32763" y="80829"/>
                  </a:cubicBezTo>
                  <a:cubicBezTo>
                    <a:pt x="52949" y="80829"/>
                    <a:pt x="65550" y="65915"/>
                    <a:pt x="65550" y="40414"/>
                  </a:cubicBezTo>
                  <a:cubicBezTo>
                    <a:pt x="65550" y="14913"/>
                    <a:pt x="53069" y="0"/>
                    <a:pt x="32763" y="0"/>
                  </a:cubicBezTo>
                  <a:cubicBezTo>
                    <a:pt x="12457" y="0"/>
                    <a:pt x="0" y="14794"/>
                    <a:pt x="0" y="40414"/>
                  </a:cubicBezTo>
                  <a:lnTo>
                    <a:pt x="0" y="40414"/>
                  </a:lnTo>
                  <a:close/>
                  <a:moveTo>
                    <a:pt x="15097" y="40414"/>
                  </a:moveTo>
                  <a:cubicBezTo>
                    <a:pt x="15097" y="22370"/>
                    <a:pt x="21290" y="13073"/>
                    <a:pt x="32787" y="13073"/>
                  </a:cubicBezTo>
                  <a:cubicBezTo>
                    <a:pt x="44284" y="13073"/>
                    <a:pt x="50477" y="22370"/>
                    <a:pt x="50477" y="40414"/>
                  </a:cubicBezTo>
                  <a:cubicBezTo>
                    <a:pt x="50477" y="58459"/>
                    <a:pt x="44284" y="67541"/>
                    <a:pt x="32787" y="67541"/>
                  </a:cubicBezTo>
                  <a:cubicBezTo>
                    <a:pt x="21290" y="67541"/>
                    <a:pt x="15097" y="58363"/>
                    <a:pt x="15097" y="40414"/>
                  </a:cubicBezTo>
                  <a:lnTo>
                    <a:pt x="15097" y="40414"/>
                  </a:lnTo>
                  <a:close/>
                </a:path>
              </a:pathLst>
            </a:custGeom>
            <a:grpFill/>
            <a:ln w="0" cap="flat">
              <a:noFill/>
              <a:prstDash val="solid"/>
              <a:miter/>
            </a:ln>
          </p:spPr>
          <p:txBody>
            <a:bodyPr rtlCol="0" anchor="ctr"/>
            <a:lstStyle/>
            <a:p>
              <a:endParaRPr lang="en-BG"/>
            </a:p>
          </p:txBody>
        </p:sp>
        <p:sp>
          <p:nvSpPr>
            <p:cNvPr id="13" name="Freeform 12">
              <a:extLst>
                <a:ext uri="{FF2B5EF4-FFF2-40B4-BE49-F238E27FC236}">
                  <a16:creationId xmlns:a16="http://schemas.microsoft.com/office/drawing/2014/main" id="{D4D0FC16-AF72-5D44-8105-360005480F99}"/>
                </a:ext>
              </a:extLst>
            </p:cNvPr>
            <p:cNvSpPr/>
            <p:nvPr/>
          </p:nvSpPr>
          <p:spPr>
            <a:xfrm>
              <a:off x="11105385" y="6442725"/>
              <a:ext cx="59789" cy="79872"/>
            </a:xfrm>
            <a:custGeom>
              <a:avLst/>
              <a:gdLst>
                <a:gd name="connsiteX0" fmla="*/ 0 w 59789"/>
                <a:gd name="connsiteY0" fmla="*/ 49735 h 79872"/>
                <a:gd name="connsiteX1" fmla="*/ 29835 w 59789"/>
                <a:gd name="connsiteY1" fmla="*/ 79873 h 79872"/>
                <a:gd name="connsiteX2" fmla="*/ 59789 w 59789"/>
                <a:gd name="connsiteY2" fmla="*/ 52101 h 79872"/>
                <a:gd name="connsiteX3" fmla="*/ 59789 w 59789"/>
                <a:gd name="connsiteY3" fmla="*/ 0 h 79872"/>
                <a:gd name="connsiteX4" fmla="*/ 45364 w 59789"/>
                <a:gd name="connsiteY4" fmla="*/ 0 h 79872"/>
                <a:gd name="connsiteX5" fmla="*/ 45364 w 59789"/>
                <a:gd name="connsiteY5" fmla="*/ 50357 h 79872"/>
                <a:gd name="connsiteX6" fmla="*/ 29835 w 59789"/>
                <a:gd name="connsiteY6" fmla="*/ 66895 h 79872"/>
                <a:gd name="connsiteX7" fmla="*/ 14857 w 59789"/>
                <a:gd name="connsiteY7" fmla="*/ 50357 h 79872"/>
                <a:gd name="connsiteX8" fmla="*/ 14857 w 59789"/>
                <a:gd name="connsiteY8" fmla="*/ 0 h 79872"/>
                <a:gd name="connsiteX9" fmla="*/ 0 w 59789"/>
                <a:gd name="connsiteY9" fmla="*/ 0 h 79872"/>
                <a:gd name="connsiteX10" fmla="*/ 0 w 59789"/>
                <a:gd name="connsiteY10" fmla="*/ 49711 h 79872"/>
                <a:gd name="connsiteX11" fmla="*/ 0 w 59789"/>
                <a:gd name="connsiteY11" fmla="*/ 49711 h 7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789" h="79872">
                  <a:moveTo>
                    <a:pt x="0" y="49735"/>
                  </a:moveTo>
                  <a:cubicBezTo>
                    <a:pt x="0" y="69954"/>
                    <a:pt x="9649" y="79873"/>
                    <a:pt x="29835" y="79873"/>
                  </a:cubicBezTo>
                  <a:cubicBezTo>
                    <a:pt x="50020" y="79873"/>
                    <a:pt x="59789" y="69931"/>
                    <a:pt x="59789" y="52101"/>
                  </a:cubicBezTo>
                  <a:lnTo>
                    <a:pt x="59789" y="0"/>
                  </a:lnTo>
                  <a:lnTo>
                    <a:pt x="45364" y="0"/>
                  </a:lnTo>
                  <a:lnTo>
                    <a:pt x="45364" y="50357"/>
                  </a:lnTo>
                  <a:cubicBezTo>
                    <a:pt x="45364" y="61829"/>
                    <a:pt x="41452" y="66895"/>
                    <a:pt x="29835" y="66895"/>
                  </a:cubicBezTo>
                  <a:cubicBezTo>
                    <a:pt x="18866" y="66895"/>
                    <a:pt x="14857" y="61494"/>
                    <a:pt x="14857" y="50357"/>
                  </a:cubicBezTo>
                  <a:lnTo>
                    <a:pt x="14857" y="0"/>
                  </a:lnTo>
                  <a:lnTo>
                    <a:pt x="0" y="0"/>
                  </a:lnTo>
                  <a:lnTo>
                    <a:pt x="0" y="49711"/>
                  </a:lnTo>
                  <a:lnTo>
                    <a:pt x="0" y="49711"/>
                  </a:lnTo>
                  <a:close/>
                </a:path>
              </a:pathLst>
            </a:custGeom>
            <a:grpFill/>
            <a:ln w="0" cap="flat">
              <a:noFill/>
              <a:prstDash val="solid"/>
              <a:miter/>
            </a:ln>
          </p:spPr>
          <p:txBody>
            <a:bodyPr rtlCol="0" anchor="ctr"/>
            <a:lstStyle/>
            <a:p>
              <a:endParaRPr lang="en-BG"/>
            </a:p>
          </p:txBody>
        </p:sp>
        <p:sp>
          <p:nvSpPr>
            <p:cNvPr id="14" name="Freeform 13">
              <a:extLst>
                <a:ext uri="{FF2B5EF4-FFF2-40B4-BE49-F238E27FC236}">
                  <a16:creationId xmlns:a16="http://schemas.microsoft.com/office/drawing/2014/main" id="{26589EB1-E837-DB46-ACA1-F94EE96575FA}"/>
                </a:ext>
              </a:extLst>
            </p:cNvPr>
            <p:cNvSpPr/>
            <p:nvPr/>
          </p:nvSpPr>
          <p:spPr>
            <a:xfrm>
              <a:off x="11188217" y="6442749"/>
              <a:ext cx="55780" cy="78558"/>
            </a:xfrm>
            <a:custGeom>
              <a:avLst/>
              <a:gdLst>
                <a:gd name="connsiteX0" fmla="*/ 0 w 55780"/>
                <a:gd name="connsiteY0" fmla="*/ 78558 h 78558"/>
                <a:gd name="connsiteX1" fmla="*/ 14977 w 55780"/>
                <a:gd name="connsiteY1" fmla="*/ 78558 h 78558"/>
                <a:gd name="connsiteX2" fmla="*/ 14977 w 55780"/>
                <a:gd name="connsiteY2" fmla="*/ 46796 h 78558"/>
                <a:gd name="connsiteX3" fmla="*/ 29619 w 55780"/>
                <a:gd name="connsiteY3" fmla="*/ 46796 h 78558"/>
                <a:gd name="connsiteX4" fmla="*/ 55781 w 55780"/>
                <a:gd name="connsiteY4" fmla="*/ 23350 h 78558"/>
                <a:gd name="connsiteX5" fmla="*/ 28226 w 55780"/>
                <a:gd name="connsiteY5" fmla="*/ 0 h 78558"/>
                <a:gd name="connsiteX6" fmla="*/ 0 w 55780"/>
                <a:gd name="connsiteY6" fmla="*/ 0 h 78558"/>
                <a:gd name="connsiteX7" fmla="*/ 0 w 55780"/>
                <a:gd name="connsiteY7" fmla="*/ 78558 h 78558"/>
                <a:gd name="connsiteX8" fmla="*/ 0 w 55780"/>
                <a:gd name="connsiteY8" fmla="*/ 78558 h 78558"/>
                <a:gd name="connsiteX9" fmla="*/ 14953 w 55780"/>
                <a:gd name="connsiteY9" fmla="*/ 34344 h 78558"/>
                <a:gd name="connsiteX10" fmla="*/ 14953 w 55780"/>
                <a:gd name="connsiteY10" fmla="*/ 12213 h 78558"/>
                <a:gd name="connsiteX11" fmla="*/ 26018 w 55780"/>
                <a:gd name="connsiteY11" fmla="*/ 12213 h 78558"/>
                <a:gd name="connsiteX12" fmla="*/ 40876 w 55780"/>
                <a:gd name="connsiteY12" fmla="*/ 23326 h 78558"/>
                <a:gd name="connsiteX13" fmla="*/ 26018 w 55780"/>
                <a:gd name="connsiteY13" fmla="*/ 34344 h 78558"/>
                <a:gd name="connsiteX14" fmla="*/ 14953 w 55780"/>
                <a:gd name="connsiteY14" fmla="*/ 34344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780" h="78558">
                  <a:moveTo>
                    <a:pt x="0" y="78558"/>
                  </a:moveTo>
                  <a:lnTo>
                    <a:pt x="14977" y="78558"/>
                  </a:lnTo>
                  <a:lnTo>
                    <a:pt x="14977" y="46796"/>
                  </a:lnTo>
                  <a:lnTo>
                    <a:pt x="29619" y="46796"/>
                  </a:lnTo>
                  <a:cubicBezTo>
                    <a:pt x="46756" y="46796"/>
                    <a:pt x="55781" y="38574"/>
                    <a:pt x="55781" y="23350"/>
                  </a:cubicBezTo>
                  <a:cubicBezTo>
                    <a:pt x="55781" y="8126"/>
                    <a:pt x="46660" y="0"/>
                    <a:pt x="28226" y="0"/>
                  </a:cubicBezTo>
                  <a:lnTo>
                    <a:pt x="0" y="0"/>
                  </a:lnTo>
                  <a:lnTo>
                    <a:pt x="0" y="78558"/>
                  </a:lnTo>
                  <a:lnTo>
                    <a:pt x="0" y="78558"/>
                  </a:lnTo>
                  <a:close/>
                  <a:moveTo>
                    <a:pt x="14953" y="34344"/>
                  </a:moveTo>
                  <a:lnTo>
                    <a:pt x="14953" y="12213"/>
                  </a:lnTo>
                  <a:lnTo>
                    <a:pt x="26018" y="12213"/>
                  </a:lnTo>
                  <a:cubicBezTo>
                    <a:pt x="36219" y="12213"/>
                    <a:pt x="40876" y="14818"/>
                    <a:pt x="40876" y="23326"/>
                  </a:cubicBezTo>
                  <a:cubicBezTo>
                    <a:pt x="40876" y="31834"/>
                    <a:pt x="36099" y="34344"/>
                    <a:pt x="26018" y="34344"/>
                  </a:cubicBezTo>
                  <a:lnTo>
                    <a:pt x="14953" y="34344"/>
                  </a:lnTo>
                  <a:close/>
                </a:path>
              </a:pathLst>
            </a:custGeom>
            <a:grpFill/>
            <a:ln w="0" cap="flat">
              <a:noFill/>
              <a:prstDash val="solid"/>
              <a:miter/>
            </a:ln>
          </p:spPr>
          <p:txBody>
            <a:bodyPr rtlCol="0" anchor="ctr"/>
            <a:lstStyle/>
            <a:p>
              <a:endParaRPr lang="en-BG"/>
            </a:p>
          </p:txBody>
        </p:sp>
        <p:sp>
          <p:nvSpPr>
            <p:cNvPr id="15" name="Freeform 14">
              <a:extLst>
                <a:ext uri="{FF2B5EF4-FFF2-40B4-BE49-F238E27FC236}">
                  <a16:creationId xmlns:a16="http://schemas.microsoft.com/office/drawing/2014/main" id="{A8BDECB1-BF40-CB44-A1F4-3FA241F20AE0}"/>
                </a:ext>
              </a:extLst>
            </p:cNvPr>
            <p:cNvSpPr/>
            <p:nvPr/>
          </p:nvSpPr>
          <p:spPr>
            <a:xfrm>
              <a:off x="10870596" y="6318040"/>
              <a:ext cx="61109" cy="78558"/>
            </a:xfrm>
            <a:custGeom>
              <a:avLst/>
              <a:gdLst>
                <a:gd name="connsiteX0" fmla="*/ 0 w 61109"/>
                <a:gd name="connsiteY0" fmla="*/ 78558 h 78558"/>
                <a:gd name="connsiteX1" fmla="*/ 23546 w 61109"/>
                <a:gd name="connsiteY1" fmla="*/ 78558 h 78558"/>
                <a:gd name="connsiteX2" fmla="*/ 61109 w 61109"/>
                <a:gd name="connsiteY2" fmla="*/ 39004 h 78558"/>
                <a:gd name="connsiteX3" fmla="*/ 24098 w 61109"/>
                <a:gd name="connsiteY3" fmla="*/ 0 h 78558"/>
                <a:gd name="connsiteX4" fmla="*/ 0 w 61109"/>
                <a:gd name="connsiteY4" fmla="*/ 0 h 78558"/>
                <a:gd name="connsiteX5" fmla="*/ 0 w 61109"/>
                <a:gd name="connsiteY5" fmla="*/ 78558 h 78558"/>
                <a:gd name="connsiteX6" fmla="*/ 0 w 61109"/>
                <a:gd name="connsiteY6" fmla="*/ 78558 h 78558"/>
                <a:gd name="connsiteX7" fmla="*/ 14857 w 61109"/>
                <a:gd name="connsiteY7" fmla="*/ 65605 h 78558"/>
                <a:gd name="connsiteX8" fmla="*/ 14857 w 61109"/>
                <a:gd name="connsiteY8" fmla="*/ 13097 h 78558"/>
                <a:gd name="connsiteX9" fmla="*/ 22778 w 61109"/>
                <a:gd name="connsiteY9" fmla="*/ 13097 h 78558"/>
                <a:gd name="connsiteX10" fmla="*/ 46012 w 61109"/>
                <a:gd name="connsiteY10" fmla="*/ 39028 h 78558"/>
                <a:gd name="connsiteX11" fmla="*/ 22994 w 61109"/>
                <a:gd name="connsiteY11" fmla="*/ 65605 h 78558"/>
                <a:gd name="connsiteX12" fmla="*/ 14857 w 61109"/>
                <a:gd name="connsiteY12" fmla="*/ 65605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109" h="78558">
                  <a:moveTo>
                    <a:pt x="0" y="78558"/>
                  </a:moveTo>
                  <a:lnTo>
                    <a:pt x="23546" y="78558"/>
                  </a:lnTo>
                  <a:cubicBezTo>
                    <a:pt x="48508" y="78558"/>
                    <a:pt x="61109" y="65270"/>
                    <a:pt x="61109" y="39004"/>
                  </a:cubicBezTo>
                  <a:cubicBezTo>
                    <a:pt x="61109" y="12739"/>
                    <a:pt x="48532" y="0"/>
                    <a:pt x="24098" y="0"/>
                  </a:cubicBezTo>
                  <a:lnTo>
                    <a:pt x="0" y="0"/>
                  </a:lnTo>
                  <a:lnTo>
                    <a:pt x="0" y="78558"/>
                  </a:lnTo>
                  <a:lnTo>
                    <a:pt x="0" y="78558"/>
                  </a:lnTo>
                  <a:close/>
                  <a:moveTo>
                    <a:pt x="14857" y="65605"/>
                  </a:moveTo>
                  <a:lnTo>
                    <a:pt x="14857" y="13097"/>
                  </a:lnTo>
                  <a:lnTo>
                    <a:pt x="22778" y="13097"/>
                  </a:lnTo>
                  <a:cubicBezTo>
                    <a:pt x="38739" y="13097"/>
                    <a:pt x="46012" y="21199"/>
                    <a:pt x="46012" y="39028"/>
                  </a:cubicBezTo>
                  <a:cubicBezTo>
                    <a:pt x="46012" y="57718"/>
                    <a:pt x="39268" y="65605"/>
                    <a:pt x="22994" y="65605"/>
                  </a:cubicBezTo>
                  <a:lnTo>
                    <a:pt x="14857" y="65605"/>
                  </a:lnTo>
                  <a:close/>
                </a:path>
              </a:pathLst>
            </a:custGeom>
            <a:grpFill/>
            <a:ln w="0" cap="flat">
              <a:noFill/>
              <a:prstDash val="solid"/>
              <a:miter/>
            </a:ln>
          </p:spPr>
          <p:txBody>
            <a:bodyPr rtlCol="0" anchor="ctr"/>
            <a:lstStyle/>
            <a:p>
              <a:endParaRPr lang="en-BG"/>
            </a:p>
          </p:txBody>
        </p:sp>
        <p:sp>
          <p:nvSpPr>
            <p:cNvPr id="16" name="Freeform 15">
              <a:extLst>
                <a:ext uri="{FF2B5EF4-FFF2-40B4-BE49-F238E27FC236}">
                  <a16:creationId xmlns:a16="http://schemas.microsoft.com/office/drawing/2014/main" id="{13A4E43B-FBCC-EB4B-A2F3-9FAAE3B6DE1A}"/>
                </a:ext>
              </a:extLst>
            </p:cNvPr>
            <p:cNvSpPr/>
            <p:nvPr/>
          </p:nvSpPr>
          <p:spPr>
            <a:xfrm>
              <a:off x="10950835" y="6318040"/>
              <a:ext cx="52876" cy="78558"/>
            </a:xfrm>
            <a:custGeom>
              <a:avLst/>
              <a:gdLst>
                <a:gd name="connsiteX0" fmla="*/ 0 w 52876"/>
                <a:gd name="connsiteY0" fmla="*/ 78558 h 78558"/>
                <a:gd name="connsiteX1" fmla="*/ 52877 w 52876"/>
                <a:gd name="connsiteY1" fmla="*/ 78558 h 78558"/>
                <a:gd name="connsiteX2" fmla="*/ 52877 w 52876"/>
                <a:gd name="connsiteY2" fmla="*/ 65151 h 78558"/>
                <a:gd name="connsiteX3" fmla="*/ 14785 w 52876"/>
                <a:gd name="connsiteY3" fmla="*/ 65151 h 78558"/>
                <a:gd name="connsiteX4" fmla="*/ 14785 w 52876"/>
                <a:gd name="connsiteY4" fmla="*/ 43880 h 78558"/>
                <a:gd name="connsiteX5" fmla="*/ 41356 w 52876"/>
                <a:gd name="connsiteY5" fmla="*/ 43880 h 78558"/>
                <a:gd name="connsiteX6" fmla="*/ 41356 w 52876"/>
                <a:gd name="connsiteY6" fmla="*/ 31333 h 78558"/>
                <a:gd name="connsiteX7" fmla="*/ 14785 w 52876"/>
                <a:gd name="connsiteY7" fmla="*/ 31333 h 78558"/>
                <a:gd name="connsiteX8" fmla="*/ 14785 w 52876"/>
                <a:gd name="connsiteY8" fmla="*/ 12762 h 78558"/>
                <a:gd name="connsiteX9" fmla="*/ 51221 w 52876"/>
                <a:gd name="connsiteY9" fmla="*/ 12762 h 78558"/>
                <a:gd name="connsiteX10" fmla="*/ 51221 w 52876"/>
                <a:gd name="connsiteY10" fmla="*/ 0 h 78558"/>
                <a:gd name="connsiteX11" fmla="*/ 0 w 52876"/>
                <a:gd name="connsiteY11" fmla="*/ 0 h 78558"/>
                <a:gd name="connsiteX12" fmla="*/ 0 w 52876"/>
                <a:gd name="connsiteY12" fmla="*/ 78558 h 78558"/>
                <a:gd name="connsiteX13" fmla="*/ 0 w 52876"/>
                <a:gd name="connsiteY13" fmla="*/ 78558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876" h="78558">
                  <a:moveTo>
                    <a:pt x="0" y="78558"/>
                  </a:moveTo>
                  <a:lnTo>
                    <a:pt x="52877" y="78558"/>
                  </a:lnTo>
                  <a:lnTo>
                    <a:pt x="52877" y="65151"/>
                  </a:lnTo>
                  <a:lnTo>
                    <a:pt x="14785" y="65151"/>
                  </a:lnTo>
                  <a:lnTo>
                    <a:pt x="14785" y="43880"/>
                  </a:lnTo>
                  <a:lnTo>
                    <a:pt x="41356" y="43880"/>
                  </a:lnTo>
                  <a:lnTo>
                    <a:pt x="41356" y="31333"/>
                  </a:lnTo>
                  <a:lnTo>
                    <a:pt x="14785" y="31333"/>
                  </a:lnTo>
                  <a:lnTo>
                    <a:pt x="14785" y="12762"/>
                  </a:lnTo>
                  <a:lnTo>
                    <a:pt x="51221" y="12762"/>
                  </a:lnTo>
                  <a:lnTo>
                    <a:pt x="51221" y="0"/>
                  </a:lnTo>
                  <a:lnTo>
                    <a:pt x="0" y="0"/>
                  </a:lnTo>
                  <a:lnTo>
                    <a:pt x="0" y="78558"/>
                  </a:lnTo>
                  <a:lnTo>
                    <a:pt x="0" y="78558"/>
                  </a:lnTo>
                  <a:close/>
                </a:path>
              </a:pathLst>
            </a:custGeom>
            <a:grpFill/>
            <a:ln w="0" cap="flat">
              <a:noFill/>
              <a:prstDash val="solid"/>
              <a:miter/>
            </a:ln>
          </p:spPr>
          <p:txBody>
            <a:bodyPr rtlCol="0" anchor="ctr"/>
            <a:lstStyle/>
            <a:p>
              <a:endParaRPr lang="en-BG"/>
            </a:p>
          </p:txBody>
        </p:sp>
        <p:sp>
          <p:nvSpPr>
            <p:cNvPr id="17" name="Freeform 16">
              <a:extLst>
                <a:ext uri="{FF2B5EF4-FFF2-40B4-BE49-F238E27FC236}">
                  <a16:creationId xmlns:a16="http://schemas.microsoft.com/office/drawing/2014/main" id="{BACD5228-0026-9D41-869F-BB2D6F984CFC}"/>
                </a:ext>
              </a:extLst>
            </p:cNvPr>
            <p:cNvSpPr/>
            <p:nvPr/>
          </p:nvSpPr>
          <p:spPr>
            <a:xfrm>
              <a:off x="11021210" y="6318040"/>
              <a:ext cx="59789" cy="79848"/>
            </a:xfrm>
            <a:custGeom>
              <a:avLst/>
              <a:gdLst>
                <a:gd name="connsiteX0" fmla="*/ 0 w 59789"/>
                <a:gd name="connsiteY0" fmla="*/ 49711 h 79848"/>
                <a:gd name="connsiteX1" fmla="*/ 29835 w 59789"/>
                <a:gd name="connsiteY1" fmla="*/ 79849 h 79848"/>
                <a:gd name="connsiteX2" fmla="*/ 59789 w 59789"/>
                <a:gd name="connsiteY2" fmla="*/ 52077 h 79848"/>
                <a:gd name="connsiteX3" fmla="*/ 59789 w 59789"/>
                <a:gd name="connsiteY3" fmla="*/ 0 h 79848"/>
                <a:gd name="connsiteX4" fmla="*/ 45364 w 59789"/>
                <a:gd name="connsiteY4" fmla="*/ 0 h 79848"/>
                <a:gd name="connsiteX5" fmla="*/ 45364 w 59789"/>
                <a:gd name="connsiteY5" fmla="*/ 50357 h 79848"/>
                <a:gd name="connsiteX6" fmla="*/ 29859 w 59789"/>
                <a:gd name="connsiteY6" fmla="*/ 66895 h 79848"/>
                <a:gd name="connsiteX7" fmla="*/ 14881 w 59789"/>
                <a:gd name="connsiteY7" fmla="*/ 50357 h 79848"/>
                <a:gd name="connsiteX8" fmla="*/ 14881 w 59789"/>
                <a:gd name="connsiteY8" fmla="*/ 0 h 79848"/>
                <a:gd name="connsiteX9" fmla="*/ 24 w 59789"/>
                <a:gd name="connsiteY9" fmla="*/ 0 h 79848"/>
                <a:gd name="connsiteX10" fmla="*/ 24 w 59789"/>
                <a:gd name="connsiteY10" fmla="*/ 49711 h 79848"/>
                <a:gd name="connsiteX11" fmla="*/ 24 w 59789"/>
                <a:gd name="connsiteY11" fmla="*/ 49711 h 79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789" h="79848">
                  <a:moveTo>
                    <a:pt x="0" y="49711"/>
                  </a:moveTo>
                  <a:cubicBezTo>
                    <a:pt x="0" y="69907"/>
                    <a:pt x="9649" y="79849"/>
                    <a:pt x="29835" y="79849"/>
                  </a:cubicBezTo>
                  <a:cubicBezTo>
                    <a:pt x="50020" y="79849"/>
                    <a:pt x="59789" y="69907"/>
                    <a:pt x="59789" y="52077"/>
                  </a:cubicBezTo>
                  <a:lnTo>
                    <a:pt x="59789" y="0"/>
                  </a:lnTo>
                  <a:lnTo>
                    <a:pt x="45364" y="0"/>
                  </a:lnTo>
                  <a:lnTo>
                    <a:pt x="45364" y="50357"/>
                  </a:lnTo>
                  <a:cubicBezTo>
                    <a:pt x="45364" y="61805"/>
                    <a:pt x="41452" y="66895"/>
                    <a:pt x="29859" y="66895"/>
                  </a:cubicBezTo>
                  <a:cubicBezTo>
                    <a:pt x="18890" y="66895"/>
                    <a:pt x="14881" y="61494"/>
                    <a:pt x="14881" y="50357"/>
                  </a:cubicBezTo>
                  <a:lnTo>
                    <a:pt x="14881" y="0"/>
                  </a:lnTo>
                  <a:lnTo>
                    <a:pt x="24" y="0"/>
                  </a:lnTo>
                  <a:lnTo>
                    <a:pt x="24" y="49711"/>
                  </a:lnTo>
                  <a:lnTo>
                    <a:pt x="24" y="49711"/>
                  </a:lnTo>
                  <a:close/>
                </a:path>
              </a:pathLst>
            </a:custGeom>
            <a:grpFill/>
            <a:ln w="0" cap="flat">
              <a:noFill/>
              <a:prstDash val="solid"/>
              <a:miter/>
            </a:ln>
          </p:spPr>
          <p:txBody>
            <a:bodyPr rtlCol="0" anchor="ctr"/>
            <a:lstStyle/>
            <a:p>
              <a:endParaRPr lang="en-BG"/>
            </a:p>
          </p:txBody>
        </p:sp>
        <p:sp>
          <p:nvSpPr>
            <p:cNvPr id="18" name="Freeform 17">
              <a:extLst>
                <a:ext uri="{FF2B5EF4-FFF2-40B4-BE49-F238E27FC236}">
                  <a16:creationId xmlns:a16="http://schemas.microsoft.com/office/drawing/2014/main" id="{11B3D05C-20EB-8C4C-AEF7-D9C7D5FF80DB}"/>
                </a:ext>
              </a:extLst>
            </p:cNvPr>
            <p:cNvSpPr/>
            <p:nvPr/>
          </p:nvSpPr>
          <p:spPr>
            <a:xfrm>
              <a:off x="11097416" y="6318040"/>
              <a:ext cx="56429" cy="78558"/>
            </a:xfrm>
            <a:custGeom>
              <a:avLst/>
              <a:gdLst>
                <a:gd name="connsiteX0" fmla="*/ 20738 w 56429"/>
                <a:gd name="connsiteY0" fmla="*/ 78558 h 78558"/>
                <a:gd name="connsiteX1" fmla="*/ 35715 w 56429"/>
                <a:gd name="connsiteY1" fmla="*/ 78558 h 78558"/>
                <a:gd name="connsiteX2" fmla="*/ 35715 w 56429"/>
                <a:gd name="connsiteY2" fmla="*/ 12978 h 78558"/>
                <a:gd name="connsiteX3" fmla="*/ 56429 w 56429"/>
                <a:gd name="connsiteY3" fmla="*/ 12978 h 78558"/>
                <a:gd name="connsiteX4" fmla="*/ 56429 w 56429"/>
                <a:gd name="connsiteY4" fmla="*/ 0 h 78558"/>
                <a:gd name="connsiteX5" fmla="*/ 0 w 56429"/>
                <a:gd name="connsiteY5" fmla="*/ 0 h 78558"/>
                <a:gd name="connsiteX6" fmla="*/ 0 w 56429"/>
                <a:gd name="connsiteY6" fmla="*/ 12978 h 78558"/>
                <a:gd name="connsiteX7" fmla="*/ 20738 w 56429"/>
                <a:gd name="connsiteY7" fmla="*/ 12978 h 78558"/>
                <a:gd name="connsiteX8" fmla="*/ 20738 w 56429"/>
                <a:gd name="connsiteY8" fmla="*/ 78558 h 78558"/>
                <a:gd name="connsiteX9" fmla="*/ 20738 w 56429"/>
                <a:gd name="connsiteY9" fmla="*/ 78558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29" h="78558">
                  <a:moveTo>
                    <a:pt x="20738" y="78558"/>
                  </a:moveTo>
                  <a:lnTo>
                    <a:pt x="35715" y="78558"/>
                  </a:lnTo>
                  <a:lnTo>
                    <a:pt x="35715" y="12978"/>
                  </a:lnTo>
                  <a:lnTo>
                    <a:pt x="56429" y="12978"/>
                  </a:lnTo>
                  <a:lnTo>
                    <a:pt x="56429" y="0"/>
                  </a:lnTo>
                  <a:lnTo>
                    <a:pt x="0" y="0"/>
                  </a:lnTo>
                  <a:lnTo>
                    <a:pt x="0" y="12978"/>
                  </a:lnTo>
                  <a:lnTo>
                    <a:pt x="20738" y="12978"/>
                  </a:lnTo>
                  <a:lnTo>
                    <a:pt x="20738" y="78558"/>
                  </a:lnTo>
                  <a:lnTo>
                    <a:pt x="20738" y="78558"/>
                  </a:lnTo>
                  <a:close/>
                </a:path>
              </a:pathLst>
            </a:custGeom>
            <a:grpFill/>
            <a:ln w="0" cap="flat">
              <a:noFill/>
              <a:prstDash val="solid"/>
              <a:miter/>
            </a:ln>
          </p:spPr>
          <p:txBody>
            <a:bodyPr rtlCol="0" anchor="ctr"/>
            <a:lstStyle/>
            <a:p>
              <a:endParaRPr lang="en-BG"/>
            </a:p>
          </p:txBody>
        </p:sp>
        <p:sp>
          <p:nvSpPr>
            <p:cNvPr id="19" name="Freeform 18">
              <a:extLst>
                <a:ext uri="{FF2B5EF4-FFF2-40B4-BE49-F238E27FC236}">
                  <a16:creationId xmlns:a16="http://schemas.microsoft.com/office/drawing/2014/main" id="{475D06A8-76B4-7547-9735-E121F88142AC}"/>
                </a:ext>
              </a:extLst>
            </p:cNvPr>
            <p:cNvSpPr/>
            <p:nvPr/>
          </p:nvSpPr>
          <p:spPr>
            <a:xfrm>
              <a:off x="11164382" y="6317180"/>
              <a:ext cx="56669" cy="80494"/>
            </a:xfrm>
            <a:custGeom>
              <a:avLst/>
              <a:gdLst>
                <a:gd name="connsiteX0" fmla="*/ 24 w 56669"/>
                <a:gd name="connsiteY0" fmla="*/ 61685 h 80494"/>
                <a:gd name="connsiteX1" fmla="*/ 29859 w 56669"/>
                <a:gd name="connsiteY1" fmla="*/ 80494 h 80494"/>
                <a:gd name="connsiteX2" fmla="*/ 56669 w 56669"/>
                <a:gd name="connsiteY2" fmla="*/ 57168 h 80494"/>
                <a:gd name="connsiteX3" fmla="*/ 37035 w 56669"/>
                <a:gd name="connsiteY3" fmla="*/ 34248 h 80494"/>
                <a:gd name="connsiteX4" fmla="*/ 16850 w 56669"/>
                <a:gd name="connsiteY4" fmla="*/ 20315 h 80494"/>
                <a:gd name="connsiteX5" fmla="*/ 27266 w 56669"/>
                <a:gd name="connsiteY5" fmla="*/ 11998 h 80494"/>
                <a:gd name="connsiteX6" fmla="*/ 41476 w 56669"/>
                <a:gd name="connsiteY6" fmla="*/ 22059 h 80494"/>
                <a:gd name="connsiteX7" fmla="*/ 54917 w 56669"/>
                <a:gd name="connsiteY7" fmla="*/ 17184 h 80494"/>
                <a:gd name="connsiteX8" fmla="*/ 28323 w 56669"/>
                <a:gd name="connsiteY8" fmla="*/ 0 h 80494"/>
                <a:gd name="connsiteX9" fmla="*/ 2592 w 56669"/>
                <a:gd name="connsiteY9" fmla="*/ 21390 h 80494"/>
                <a:gd name="connsiteX10" fmla="*/ 11809 w 56669"/>
                <a:gd name="connsiteY10" fmla="*/ 38670 h 80494"/>
                <a:gd name="connsiteX11" fmla="*/ 30603 w 56669"/>
                <a:gd name="connsiteY11" fmla="*/ 46772 h 80494"/>
                <a:gd name="connsiteX12" fmla="*/ 42316 w 56669"/>
                <a:gd name="connsiteY12" fmla="*/ 57790 h 80494"/>
                <a:gd name="connsiteX13" fmla="*/ 29523 w 56669"/>
                <a:gd name="connsiteY13" fmla="*/ 67732 h 80494"/>
                <a:gd name="connsiteX14" fmla="*/ 13465 w 56669"/>
                <a:gd name="connsiteY14" fmla="*/ 55734 h 80494"/>
                <a:gd name="connsiteX15" fmla="*/ 0 w 56669"/>
                <a:gd name="connsiteY15" fmla="*/ 61685 h 80494"/>
                <a:gd name="connsiteX16" fmla="*/ 0 w 56669"/>
                <a:gd name="connsiteY16" fmla="*/ 61685 h 8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669" h="80494">
                  <a:moveTo>
                    <a:pt x="24" y="61685"/>
                  </a:moveTo>
                  <a:cubicBezTo>
                    <a:pt x="5112" y="74017"/>
                    <a:pt x="15337" y="80494"/>
                    <a:pt x="29859" y="80494"/>
                  </a:cubicBezTo>
                  <a:cubicBezTo>
                    <a:pt x="46780" y="80494"/>
                    <a:pt x="56669" y="71412"/>
                    <a:pt x="56669" y="57168"/>
                  </a:cubicBezTo>
                  <a:cubicBezTo>
                    <a:pt x="56669" y="44836"/>
                    <a:pt x="50141" y="39769"/>
                    <a:pt x="37035" y="34248"/>
                  </a:cubicBezTo>
                  <a:cubicBezTo>
                    <a:pt x="24554" y="28966"/>
                    <a:pt x="16850" y="27652"/>
                    <a:pt x="16850" y="20315"/>
                  </a:cubicBezTo>
                  <a:cubicBezTo>
                    <a:pt x="16850" y="15248"/>
                    <a:pt x="20762" y="11998"/>
                    <a:pt x="27266" y="11998"/>
                  </a:cubicBezTo>
                  <a:cubicBezTo>
                    <a:pt x="33771" y="11998"/>
                    <a:pt x="38235" y="15129"/>
                    <a:pt x="41476" y="22059"/>
                  </a:cubicBezTo>
                  <a:lnTo>
                    <a:pt x="54917" y="17184"/>
                  </a:lnTo>
                  <a:cubicBezTo>
                    <a:pt x="50789" y="5832"/>
                    <a:pt x="41788" y="0"/>
                    <a:pt x="28323" y="0"/>
                  </a:cubicBezTo>
                  <a:cubicBezTo>
                    <a:pt x="12697" y="0"/>
                    <a:pt x="2592" y="8962"/>
                    <a:pt x="2592" y="21390"/>
                  </a:cubicBezTo>
                  <a:cubicBezTo>
                    <a:pt x="2592" y="28847"/>
                    <a:pt x="5857" y="34894"/>
                    <a:pt x="11809" y="38670"/>
                  </a:cubicBezTo>
                  <a:cubicBezTo>
                    <a:pt x="17018" y="42016"/>
                    <a:pt x="23522" y="44191"/>
                    <a:pt x="30603" y="46772"/>
                  </a:cubicBezTo>
                  <a:cubicBezTo>
                    <a:pt x="38739" y="49807"/>
                    <a:pt x="42316" y="52508"/>
                    <a:pt x="42316" y="57790"/>
                  </a:cubicBezTo>
                  <a:cubicBezTo>
                    <a:pt x="42316" y="63741"/>
                    <a:pt x="37539" y="67732"/>
                    <a:pt x="29523" y="67732"/>
                  </a:cubicBezTo>
                  <a:cubicBezTo>
                    <a:pt x="22466" y="67732"/>
                    <a:pt x="17594" y="64051"/>
                    <a:pt x="13465" y="55734"/>
                  </a:cubicBezTo>
                  <a:lnTo>
                    <a:pt x="0" y="61685"/>
                  </a:lnTo>
                  <a:lnTo>
                    <a:pt x="0" y="61685"/>
                  </a:lnTo>
                  <a:close/>
                </a:path>
              </a:pathLst>
            </a:custGeom>
            <a:grpFill/>
            <a:ln w="0" cap="flat">
              <a:noFill/>
              <a:prstDash val="solid"/>
              <a:miter/>
            </a:ln>
          </p:spPr>
          <p:txBody>
            <a:bodyPr rtlCol="0" anchor="ctr"/>
            <a:lstStyle/>
            <a:p>
              <a:endParaRPr lang="en-BG"/>
            </a:p>
          </p:txBody>
        </p:sp>
        <p:sp>
          <p:nvSpPr>
            <p:cNvPr id="20" name="Freeform 19">
              <a:extLst>
                <a:ext uri="{FF2B5EF4-FFF2-40B4-BE49-F238E27FC236}">
                  <a16:creationId xmlns:a16="http://schemas.microsoft.com/office/drawing/2014/main" id="{F8AB1BEA-BF23-0F45-A1E2-7D635F7F3271}"/>
                </a:ext>
              </a:extLst>
            </p:cNvPr>
            <p:cNvSpPr/>
            <p:nvPr/>
          </p:nvSpPr>
          <p:spPr>
            <a:xfrm>
              <a:off x="11234493" y="6317084"/>
              <a:ext cx="60101" cy="80828"/>
            </a:xfrm>
            <a:custGeom>
              <a:avLst/>
              <a:gdLst>
                <a:gd name="connsiteX0" fmla="*/ 46444 w 60101"/>
                <a:gd name="connsiteY0" fmla="*/ 56069 h 80828"/>
                <a:gd name="connsiteX1" fmla="*/ 31347 w 60101"/>
                <a:gd name="connsiteY1" fmla="*/ 67732 h 80828"/>
                <a:gd name="connsiteX2" fmla="*/ 15073 w 60101"/>
                <a:gd name="connsiteY2" fmla="*/ 40725 h 80828"/>
                <a:gd name="connsiteX3" fmla="*/ 31035 w 60101"/>
                <a:gd name="connsiteY3" fmla="*/ 12428 h 80828"/>
                <a:gd name="connsiteX4" fmla="*/ 44812 w 60101"/>
                <a:gd name="connsiteY4" fmla="*/ 23876 h 80828"/>
                <a:gd name="connsiteX5" fmla="*/ 58493 w 60101"/>
                <a:gd name="connsiteY5" fmla="*/ 20530 h 80828"/>
                <a:gd name="connsiteX6" fmla="*/ 31899 w 60101"/>
                <a:gd name="connsiteY6" fmla="*/ 0 h 80828"/>
                <a:gd name="connsiteX7" fmla="*/ 0 w 60101"/>
                <a:gd name="connsiteY7" fmla="*/ 40630 h 80828"/>
                <a:gd name="connsiteX8" fmla="*/ 31035 w 60101"/>
                <a:gd name="connsiteY8" fmla="*/ 80829 h 80828"/>
                <a:gd name="connsiteX9" fmla="*/ 60101 w 60101"/>
                <a:gd name="connsiteY9" fmla="*/ 59869 h 80828"/>
                <a:gd name="connsiteX10" fmla="*/ 46444 w 60101"/>
                <a:gd name="connsiteY10" fmla="*/ 56093 h 80828"/>
                <a:gd name="connsiteX11" fmla="*/ 46444 w 60101"/>
                <a:gd name="connsiteY11" fmla="*/ 56093 h 8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101" h="80828">
                  <a:moveTo>
                    <a:pt x="46444" y="56069"/>
                  </a:moveTo>
                  <a:cubicBezTo>
                    <a:pt x="44380" y="63310"/>
                    <a:pt x="38620" y="67732"/>
                    <a:pt x="31347" y="67732"/>
                  </a:cubicBezTo>
                  <a:cubicBezTo>
                    <a:pt x="20066" y="67732"/>
                    <a:pt x="15073" y="58889"/>
                    <a:pt x="15073" y="40725"/>
                  </a:cubicBezTo>
                  <a:cubicBezTo>
                    <a:pt x="15073" y="22561"/>
                    <a:pt x="20282" y="12428"/>
                    <a:pt x="31035" y="12428"/>
                  </a:cubicBezTo>
                  <a:cubicBezTo>
                    <a:pt x="38187" y="12428"/>
                    <a:pt x="42868" y="16324"/>
                    <a:pt x="44812" y="23876"/>
                  </a:cubicBezTo>
                  <a:lnTo>
                    <a:pt x="58493" y="20530"/>
                  </a:lnTo>
                  <a:cubicBezTo>
                    <a:pt x="55445" y="7242"/>
                    <a:pt x="46108" y="0"/>
                    <a:pt x="31899" y="0"/>
                  </a:cubicBezTo>
                  <a:cubicBezTo>
                    <a:pt x="11713" y="0"/>
                    <a:pt x="0" y="14483"/>
                    <a:pt x="0" y="40630"/>
                  </a:cubicBezTo>
                  <a:cubicBezTo>
                    <a:pt x="0" y="66776"/>
                    <a:pt x="10633" y="80829"/>
                    <a:pt x="31035" y="80829"/>
                  </a:cubicBezTo>
                  <a:cubicBezTo>
                    <a:pt x="46012" y="80829"/>
                    <a:pt x="56213" y="73372"/>
                    <a:pt x="60101" y="59869"/>
                  </a:cubicBezTo>
                  <a:lnTo>
                    <a:pt x="46444" y="56093"/>
                  </a:lnTo>
                  <a:lnTo>
                    <a:pt x="46444" y="56093"/>
                  </a:lnTo>
                  <a:close/>
                </a:path>
              </a:pathLst>
            </a:custGeom>
            <a:grpFill/>
            <a:ln w="0" cap="flat">
              <a:noFill/>
              <a:prstDash val="solid"/>
              <a:miter/>
            </a:ln>
          </p:spPr>
          <p:txBody>
            <a:bodyPr rtlCol="0" anchor="ctr"/>
            <a:lstStyle/>
            <a:p>
              <a:endParaRPr lang="en-BG"/>
            </a:p>
          </p:txBody>
        </p:sp>
        <p:sp>
          <p:nvSpPr>
            <p:cNvPr id="21" name="Freeform 20">
              <a:extLst>
                <a:ext uri="{FF2B5EF4-FFF2-40B4-BE49-F238E27FC236}">
                  <a16:creationId xmlns:a16="http://schemas.microsoft.com/office/drawing/2014/main" id="{95202BCE-76CE-6345-AA34-AA8AE1E98B88}"/>
                </a:ext>
              </a:extLst>
            </p:cNvPr>
            <p:cNvSpPr/>
            <p:nvPr/>
          </p:nvSpPr>
          <p:spPr>
            <a:xfrm>
              <a:off x="11311756" y="6318040"/>
              <a:ext cx="59765" cy="78558"/>
            </a:xfrm>
            <a:custGeom>
              <a:avLst/>
              <a:gdLst>
                <a:gd name="connsiteX0" fmla="*/ 0 w 59765"/>
                <a:gd name="connsiteY0" fmla="*/ 78558 h 78558"/>
                <a:gd name="connsiteX1" fmla="*/ 14857 w 59765"/>
                <a:gd name="connsiteY1" fmla="*/ 78558 h 78558"/>
                <a:gd name="connsiteX2" fmla="*/ 14857 w 59765"/>
                <a:gd name="connsiteY2" fmla="*/ 44406 h 78558"/>
                <a:gd name="connsiteX3" fmla="*/ 44908 w 59765"/>
                <a:gd name="connsiteY3" fmla="*/ 44406 h 78558"/>
                <a:gd name="connsiteX4" fmla="*/ 44908 w 59765"/>
                <a:gd name="connsiteY4" fmla="*/ 78558 h 78558"/>
                <a:gd name="connsiteX5" fmla="*/ 59765 w 59765"/>
                <a:gd name="connsiteY5" fmla="*/ 78558 h 78558"/>
                <a:gd name="connsiteX6" fmla="*/ 59765 w 59765"/>
                <a:gd name="connsiteY6" fmla="*/ 0 h 78558"/>
                <a:gd name="connsiteX7" fmla="*/ 44908 w 59765"/>
                <a:gd name="connsiteY7" fmla="*/ 0 h 78558"/>
                <a:gd name="connsiteX8" fmla="*/ 44908 w 59765"/>
                <a:gd name="connsiteY8" fmla="*/ 31117 h 78558"/>
                <a:gd name="connsiteX9" fmla="*/ 14857 w 59765"/>
                <a:gd name="connsiteY9" fmla="*/ 31117 h 78558"/>
                <a:gd name="connsiteX10" fmla="*/ 14857 w 59765"/>
                <a:gd name="connsiteY10" fmla="*/ 0 h 78558"/>
                <a:gd name="connsiteX11" fmla="*/ 0 w 59765"/>
                <a:gd name="connsiteY11" fmla="*/ 0 h 78558"/>
                <a:gd name="connsiteX12" fmla="*/ 0 w 59765"/>
                <a:gd name="connsiteY12" fmla="*/ 78558 h 78558"/>
                <a:gd name="connsiteX13" fmla="*/ 0 w 59765"/>
                <a:gd name="connsiteY13" fmla="*/ 78558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765" h="78558">
                  <a:moveTo>
                    <a:pt x="0" y="78558"/>
                  </a:moveTo>
                  <a:lnTo>
                    <a:pt x="14857" y="78558"/>
                  </a:lnTo>
                  <a:lnTo>
                    <a:pt x="14857" y="44406"/>
                  </a:lnTo>
                  <a:lnTo>
                    <a:pt x="44908" y="44406"/>
                  </a:lnTo>
                  <a:lnTo>
                    <a:pt x="44908" y="78558"/>
                  </a:lnTo>
                  <a:lnTo>
                    <a:pt x="59765" y="78558"/>
                  </a:lnTo>
                  <a:lnTo>
                    <a:pt x="59765" y="0"/>
                  </a:lnTo>
                  <a:lnTo>
                    <a:pt x="44908" y="0"/>
                  </a:lnTo>
                  <a:lnTo>
                    <a:pt x="44908" y="31117"/>
                  </a:lnTo>
                  <a:lnTo>
                    <a:pt x="14857" y="31117"/>
                  </a:lnTo>
                  <a:lnTo>
                    <a:pt x="14857" y="0"/>
                  </a:lnTo>
                  <a:lnTo>
                    <a:pt x="0" y="0"/>
                  </a:lnTo>
                  <a:lnTo>
                    <a:pt x="0" y="78558"/>
                  </a:lnTo>
                  <a:lnTo>
                    <a:pt x="0" y="78558"/>
                  </a:lnTo>
                  <a:close/>
                </a:path>
              </a:pathLst>
            </a:custGeom>
            <a:grpFill/>
            <a:ln w="0" cap="flat">
              <a:noFill/>
              <a:prstDash val="solid"/>
              <a:miter/>
            </a:ln>
          </p:spPr>
          <p:txBody>
            <a:bodyPr rtlCol="0" anchor="ctr"/>
            <a:lstStyle/>
            <a:p>
              <a:endParaRPr lang="en-BG"/>
            </a:p>
          </p:txBody>
        </p:sp>
        <p:sp>
          <p:nvSpPr>
            <p:cNvPr id="22" name="Freeform 21">
              <a:extLst>
                <a:ext uri="{FF2B5EF4-FFF2-40B4-BE49-F238E27FC236}">
                  <a16:creationId xmlns:a16="http://schemas.microsoft.com/office/drawing/2014/main" id="{EB736780-B9CB-B244-9ADB-7A7A4009C63D}"/>
                </a:ext>
              </a:extLst>
            </p:cNvPr>
            <p:cNvSpPr/>
            <p:nvPr/>
          </p:nvSpPr>
          <p:spPr>
            <a:xfrm>
              <a:off x="11395043" y="6318040"/>
              <a:ext cx="52852" cy="78558"/>
            </a:xfrm>
            <a:custGeom>
              <a:avLst/>
              <a:gdLst>
                <a:gd name="connsiteX0" fmla="*/ 0 w 52852"/>
                <a:gd name="connsiteY0" fmla="*/ 78558 h 78558"/>
                <a:gd name="connsiteX1" fmla="*/ 52853 w 52852"/>
                <a:gd name="connsiteY1" fmla="*/ 78558 h 78558"/>
                <a:gd name="connsiteX2" fmla="*/ 52853 w 52852"/>
                <a:gd name="connsiteY2" fmla="*/ 65151 h 78558"/>
                <a:gd name="connsiteX3" fmla="*/ 14761 w 52852"/>
                <a:gd name="connsiteY3" fmla="*/ 65151 h 78558"/>
                <a:gd name="connsiteX4" fmla="*/ 14761 w 52852"/>
                <a:gd name="connsiteY4" fmla="*/ 43880 h 78558"/>
                <a:gd name="connsiteX5" fmla="*/ 41356 w 52852"/>
                <a:gd name="connsiteY5" fmla="*/ 43880 h 78558"/>
                <a:gd name="connsiteX6" fmla="*/ 41356 w 52852"/>
                <a:gd name="connsiteY6" fmla="*/ 31333 h 78558"/>
                <a:gd name="connsiteX7" fmla="*/ 14761 w 52852"/>
                <a:gd name="connsiteY7" fmla="*/ 31333 h 78558"/>
                <a:gd name="connsiteX8" fmla="*/ 14761 w 52852"/>
                <a:gd name="connsiteY8" fmla="*/ 12762 h 78558"/>
                <a:gd name="connsiteX9" fmla="*/ 51221 w 52852"/>
                <a:gd name="connsiteY9" fmla="*/ 12762 h 78558"/>
                <a:gd name="connsiteX10" fmla="*/ 51221 w 52852"/>
                <a:gd name="connsiteY10" fmla="*/ 0 h 78558"/>
                <a:gd name="connsiteX11" fmla="*/ 0 w 52852"/>
                <a:gd name="connsiteY11" fmla="*/ 0 h 78558"/>
                <a:gd name="connsiteX12" fmla="*/ 0 w 52852"/>
                <a:gd name="connsiteY12" fmla="*/ 78558 h 78558"/>
                <a:gd name="connsiteX13" fmla="*/ 0 w 52852"/>
                <a:gd name="connsiteY13" fmla="*/ 78558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852" h="78558">
                  <a:moveTo>
                    <a:pt x="0" y="78558"/>
                  </a:moveTo>
                  <a:lnTo>
                    <a:pt x="52853" y="78558"/>
                  </a:lnTo>
                  <a:lnTo>
                    <a:pt x="52853" y="65151"/>
                  </a:lnTo>
                  <a:lnTo>
                    <a:pt x="14761" y="65151"/>
                  </a:lnTo>
                  <a:lnTo>
                    <a:pt x="14761" y="43880"/>
                  </a:lnTo>
                  <a:lnTo>
                    <a:pt x="41356" y="43880"/>
                  </a:lnTo>
                  <a:lnTo>
                    <a:pt x="41356" y="31333"/>
                  </a:lnTo>
                  <a:lnTo>
                    <a:pt x="14761" y="31333"/>
                  </a:lnTo>
                  <a:lnTo>
                    <a:pt x="14761" y="12762"/>
                  </a:lnTo>
                  <a:lnTo>
                    <a:pt x="51221" y="12762"/>
                  </a:lnTo>
                  <a:lnTo>
                    <a:pt x="51221" y="0"/>
                  </a:lnTo>
                  <a:lnTo>
                    <a:pt x="0" y="0"/>
                  </a:lnTo>
                  <a:lnTo>
                    <a:pt x="0" y="78558"/>
                  </a:lnTo>
                  <a:lnTo>
                    <a:pt x="0" y="78558"/>
                  </a:lnTo>
                  <a:close/>
                </a:path>
              </a:pathLst>
            </a:custGeom>
            <a:grpFill/>
            <a:ln w="0" cap="flat">
              <a:noFill/>
              <a:prstDash val="solid"/>
              <a:miter/>
            </a:ln>
          </p:spPr>
          <p:txBody>
            <a:bodyPr rtlCol="0" anchor="ctr"/>
            <a:lstStyle/>
            <a:p>
              <a:endParaRPr lang="en-BG"/>
            </a:p>
          </p:txBody>
        </p:sp>
        <p:sp>
          <p:nvSpPr>
            <p:cNvPr id="23" name="Freeform 22">
              <a:extLst>
                <a:ext uri="{FF2B5EF4-FFF2-40B4-BE49-F238E27FC236}">
                  <a16:creationId xmlns:a16="http://schemas.microsoft.com/office/drawing/2014/main" id="{4BD45335-0458-5E40-A5A2-3723DEB2A9BA}"/>
                </a:ext>
              </a:extLst>
            </p:cNvPr>
            <p:cNvSpPr/>
            <p:nvPr/>
          </p:nvSpPr>
          <p:spPr>
            <a:xfrm>
              <a:off x="11503173" y="6318040"/>
              <a:ext cx="56981" cy="78558"/>
            </a:xfrm>
            <a:custGeom>
              <a:avLst/>
              <a:gdLst>
                <a:gd name="connsiteX0" fmla="*/ 0 w 56981"/>
                <a:gd name="connsiteY0" fmla="*/ 78558 h 78558"/>
                <a:gd name="connsiteX1" fmla="*/ 27890 w 56981"/>
                <a:gd name="connsiteY1" fmla="*/ 78558 h 78558"/>
                <a:gd name="connsiteX2" fmla="*/ 56981 w 56981"/>
                <a:gd name="connsiteY2" fmla="*/ 56523 h 78558"/>
                <a:gd name="connsiteX3" fmla="*/ 43636 w 56981"/>
                <a:gd name="connsiteY3" fmla="*/ 37403 h 78558"/>
                <a:gd name="connsiteX4" fmla="*/ 55157 w 56981"/>
                <a:gd name="connsiteY4" fmla="*/ 20864 h 78558"/>
                <a:gd name="connsiteX5" fmla="*/ 28683 w 56981"/>
                <a:gd name="connsiteY5" fmla="*/ 0 h 78558"/>
                <a:gd name="connsiteX6" fmla="*/ 24 w 56981"/>
                <a:gd name="connsiteY6" fmla="*/ 0 h 78558"/>
                <a:gd name="connsiteX7" fmla="*/ 24 w 56981"/>
                <a:gd name="connsiteY7" fmla="*/ 78558 h 78558"/>
                <a:gd name="connsiteX8" fmla="*/ 24 w 56981"/>
                <a:gd name="connsiteY8" fmla="*/ 78558 h 78558"/>
                <a:gd name="connsiteX9" fmla="*/ 14545 w 56981"/>
                <a:gd name="connsiteY9" fmla="*/ 66441 h 78558"/>
                <a:gd name="connsiteX10" fmla="*/ 14545 w 56981"/>
                <a:gd name="connsiteY10" fmla="*/ 43211 h 78558"/>
                <a:gd name="connsiteX11" fmla="*/ 27338 w 56981"/>
                <a:gd name="connsiteY11" fmla="*/ 43211 h 78558"/>
                <a:gd name="connsiteX12" fmla="*/ 42100 w 56981"/>
                <a:gd name="connsiteY12" fmla="*/ 54659 h 78558"/>
                <a:gd name="connsiteX13" fmla="*/ 26690 w 56981"/>
                <a:gd name="connsiteY13" fmla="*/ 66441 h 78558"/>
                <a:gd name="connsiteX14" fmla="*/ 14545 w 56981"/>
                <a:gd name="connsiteY14" fmla="*/ 66441 h 78558"/>
                <a:gd name="connsiteX15" fmla="*/ 14545 w 56981"/>
                <a:gd name="connsiteY15" fmla="*/ 31428 h 78558"/>
                <a:gd name="connsiteX16" fmla="*/ 14545 w 56981"/>
                <a:gd name="connsiteY16" fmla="*/ 12093 h 78558"/>
                <a:gd name="connsiteX17" fmla="*/ 25826 w 56981"/>
                <a:gd name="connsiteY17" fmla="*/ 12093 h 78558"/>
                <a:gd name="connsiteX18" fmla="*/ 40468 w 56981"/>
                <a:gd name="connsiteY18" fmla="*/ 21701 h 78558"/>
                <a:gd name="connsiteX19" fmla="*/ 26690 w 56981"/>
                <a:gd name="connsiteY19" fmla="*/ 31428 h 78558"/>
                <a:gd name="connsiteX20" fmla="*/ 14545 w 56981"/>
                <a:gd name="connsiteY20" fmla="*/ 31428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981" h="78558">
                  <a:moveTo>
                    <a:pt x="0" y="78558"/>
                  </a:moveTo>
                  <a:lnTo>
                    <a:pt x="27890" y="78558"/>
                  </a:lnTo>
                  <a:cubicBezTo>
                    <a:pt x="47428" y="78558"/>
                    <a:pt x="56981" y="71436"/>
                    <a:pt x="56981" y="56523"/>
                  </a:cubicBezTo>
                  <a:cubicBezTo>
                    <a:pt x="56981" y="46796"/>
                    <a:pt x="52541" y="40414"/>
                    <a:pt x="43636" y="37403"/>
                  </a:cubicBezTo>
                  <a:cubicBezTo>
                    <a:pt x="51677" y="33531"/>
                    <a:pt x="55157" y="28321"/>
                    <a:pt x="55157" y="20864"/>
                  </a:cubicBezTo>
                  <a:cubicBezTo>
                    <a:pt x="55157" y="7361"/>
                    <a:pt x="46036" y="0"/>
                    <a:pt x="28683" y="0"/>
                  </a:cubicBezTo>
                  <a:lnTo>
                    <a:pt x="24" y="0"/>
                  </a:lnTo>
                  <a:lnTo>
                    <a:pt x="24" y="78558"/>
                  </a:lnTo>
                  <a:lnTo>
                    <a:pt x="24" y="78558"/>
                  </a:lnTo>
                  <a:close/>
                  <a:moveTo>
                    <a:pt x="14545" y="66441"/>
                  </a:moveTo>
                  <a:lnTo>
                    <a:pt x="14545" y="43211"/>
                  </a:lnTo>
                  <a:lnTo>
                    <a:pt x="27338" y="43211"/>
                  </a:lnTo>
                  <a:cubicBezTo>
                    <a:pt x="37227" y="43211"/>
                    <a:pt x="42100" y="46891"/>
                    <a:pt x="42100" y="54659"/>
                  </a:cubicBezTo>
                  <a:cubicBezTo>
                    <a:pt x="42100" y="62976"/>
                    <a:pt x="37227" y="66441"/>
                    <a:pt x="26690" y="66441"/>
                  </a:cubicBezTo>
                  <a:lnTo>
                    <a:pt x="14545" y="66441"/>
                  </a:lnTo>
                  <a:close/>
                  <a:moveTo>
                    <a:pt x="14545" y="31428"/>
                  </a:moveTo>
                  <a:lnTo>
                    <a:pt x="14545" y="12093"/>
                  </a:lnTo>
                  <a:lnTo>
                    <a:pt x="25826" y="12093"/>
                  </a:lnTo>
                  <a:cubicBezTo>
                    <a:pt x="35595" y="12093"/>
                    <a:pt x="40468" y="14579"/>
                    <a:pt x="40468" y="21701"/>
                  </a:cubicBezTo>
                  <a:cubicBezTo>
                    <a:pt x="40468" y="28297"/>
                    <a:pt x="35787" y="31428"/>
                    <a:pt x="26690" y="31428"/>
                  </a:cubicBezTo>
                  <a:lnTo>
                    <a:pt x="14545" y="31428"/>
                  </a:lnTo>
                  <a:close/>
                </a:path>
              </a:pathLst>
            </a:custGeom>
            <a:grpFill/>
            <a:ln w="0" cap="flat">
              <a:noFill/>
              <a:prstDash val="solid"/>
              <a:miter/>
            </a:ln>
          </p:spPr>
          <p:txBody>
            <a:bodyPr rtlCol="0" anchor="ctr"/>
            <a:lstStyle/>
            <a:p>
              <a:endParaRPr lang="en-BG"/>
            </a:p>
          </p:txBody>
        </p:sp>
        <p:sp>
          <p:nvSpPr>
            <p:cNvPr id="24" name="Freeform 23">
              <a:extLst>
                <a:ext uri="{FF2B5EF4-FFF2-40B4-BE49-F238E27FC236}">
                  <a16:creationId xmlns:a16="http://schemas.microsoft.com/office/drawing/2014/main" id="{25E957D3-BAFE-A34F-8496-ED27AD2CF7DF}"/>
                </a:ext>
              </a:extLst>
            </p:cNvPr>
            <p:cNvSpPr/>
            <p:nvPr/>
          </p:nvSpPr>
          <p:spPr>
            <a:xfrm>
              <a:off x="11576067" y="6296005"/>
              <a:ext cx="65525" cy="101884"/>
            </a:xfrm>
            <a:custGeom>
              <a:avLst/>
              <a:gdLst>
                <a:gd name="connsiteX0" fmla="*/ 17570 w 65525"/>
                <a:gd name="connsiteY0" fmla="*/ 12858 h 101884"/>
                <a:gd name="connsiteX1" fmla="*/ 29499 w 65525"/>
                <a:gd name="connsiteY1" fmla="*/ 12858 h 101884"/>
                <a:gd name="connsiteX2" fmla="*/ 29499 w 65525"/>
                <a:gd name="connsiteY2" fmla="*/ 0 h 101884"/>
                <a:gd name="connsiteX3" fmla="*/ 17570 w 65525"/>
                <a:gd name="connsiteY3" fmla="*/ 0 h 101884"/>
                <a:gd name="connsiteX4" fmla="*/ 17570 w 65525"/>
                <a:gd name="connsiteY4" fmla="*/ 12858 h 101884"/>
                <a:gd name="connsiteX5" fmla="*/ 17570 w 65525"/>
                <a:gd name="connsiteY5" fmla="*/ 12858 h 101884"/>
                <a:gd name="connsiteX6" fmla="*/ 36003 w 65525"/>
                <a:gd name="connsiteY6" fmla="*/ 12858 h 101884"/>
                <a:gd name="connsiteX7" fmla="*/ 47956 w 65525"/>
                <a:gd name="connsiteY7" fmla="*/ 12858 h 101884"/>
                <a:gd name="connsiteX8" fmla="*/ 47956 w 65525"/>
                <a:gd name="connsiteY8" fmla="*/ 0 h 101884"/>
                <a:gd name="connsiteX9" fmla="*/ 36003 w 65525"/>
                <a:gd name="connsiteY9" fmla="*/ 0 h 101884"/>
                <a:gd name="connsiteX10" fmla="*/ 36003 w 65525"/>
                <a:gd name="connsiteY10" fmla="*/ 12858 h 101884"/>
                <a:gd name="connsiteX11" fmla="*/ 36003 w 65525"/>
                <a:gd name="connsiteY11" fmla="*/ 12858 h 101884"/>
                <a:gd name="connsiteX12" fmla="*/ 0 w 65525"/>
                <a:gd name="connsiteY12" fmla="*/ 61470 h 101884"/>
                <a:gd name="connsiteX13" fmla="*/ 32763 w 65525"/>
                <a:gd name="connsiteY13" fmla="*/ 101885 h 101884"/>
                <a:gd name="connsiteX14" fmla="*/ 65526 w 65525"/>
                <a:gd name="connsiteY14" fmla="*/ 61470 h 101884"/>
                <a:gd name="connsiteX15" fmla="*/ 32763 w 65525"/>
                <a:gd name="connsiteY15" fmla="*/ 21056 h 101884"/>
                <a:gd name="connsiteX16" fmla="*/ 0 w 65525"/>
                <a:gd name="connsiteY16" fmla="*/ 61470 h 101884"/>
                <a:gd name="connsiteX17" fmla="*/ 0 w 65525"/>
                <a:gd name="connsiteY17" fmla="*/ 61470 h 101884"/>
                <a:gd name="connsiteX18" fmla="*/ 15073 w 65525"/>
                <a:gd name="connsiteY18" fmla="*/ 61470 h 101884"/>
                <a:gd name="connsiteX19" fmla="*/ 32763 w 65525"/>
                <a:gd name="connsiteY19" fmla="*/ 34129 h 101884"/>
                <a:gd name="connsiteX20" fmla="*/ 50453 w 65525"/>
                <a:gd name="connsiteY20" fmla="*/ 61470 h 101884"/>
                <a:gd name="connsiteX21" fmla="*/ 32763 w 65525"/>
                <a:gd name="connsiteY21" fmla="*/ 88596 h 101884"/>
                <a:gd name="connsiteX22" fmla="*/ 15073 w 65525"/>
                <a:gd name="connsiteY22" fmla="*/ 61470 h 101884"/>
                <a:gd name="connsiteX23" fmla="*/ 15073 w 65525"/>
                <a:gd name="connsiteY23" fmla="*/ 61470 h 10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5525" h="101884">
                  <a:moveTo>
                    <a:pt x="17570" y="12858"/>
                  </a:moveTo>
                  <a:lnTo>
                    <a:pt x="29499" y="12858"/>
                  </a:lnTo>
                  <a:lnTo>
                    <a:pt x="29499" y="0"/>
                  </a:lnTo>
                  <a:lnTo>
                    <a:pt x="17570" y="0"/>
                  </a:lnTo>
                  <a:lnTo>
                    <a:pt x="17570" y="12858"/>
                  </a:lnTo>
                  <a:lnTo>
                    <a:pt x="17570" y="12858"/>
                  </a:lnTo>
                  <a:close/>
                  <a:moveTo>
                    <a:pt x="36003" y="12858"/>
                  </a:moveTo>
                  <a:lnTo>
                    <a:pt x="47956" y="12858"/>
                  </a:lnTo>
                  <a:lnTo>
                    <a:pt x="47956" y="0"/>
                  </a:lnTo>
                  <a:lnTo>
                    <a:pt x="36003" y="0"/>
                  </a:lnTo>
                  <a:lnTo>
                    <a:pt x="36003" y="12858"/>
                  </a:lnTo>
                  <a:lnTo>
                    <a:pt x="36003" y="12858"/>
                  </a:lnTo>
                  <a:close/>
                  <a:moveTo>
                    <a:pt x="0" y="61470"/>
                  </a:moveTo>
                  <a:cubicBezTo>
                    <a:pt x="0" y="86971"/>
                    <a:pt x="12601" y="101885"/>
                    <a:pt x="32763" y="101885"/>
                  </a:cubicBezTo>
                  <a:cubicBezTo>
                    <a:pt x="52925" y="101885"/>
                    <a:pt x="65526" y="86971"/>
                    <a:pt x="65526" y="61470"/>
                  </a:cubicBezTo>
                  <a:cubicBezTo>
                    <a:pt x="65526" y="35969"/>
                    <a:pt x="53045" y="21056"/>
                    <a:pt x="32763" y="21056"/>
                  </a:cubicBezTo>
                  <a:cubicBezTo>
                    <a:pt x="12481" y="21056"/>
                    <a:pt x="0" y="35850"/>
                    <a:pt x="0" y="61470"/>
                  </a:cubicBezTo>
                  <a:lnTo>
                    <a:pt x="0" y="61470"/>
                  </a:lnTo>
                  <a:close/>
                  <a:moveTo>
                    <a:pt x="15073" y="61470"/>
                  </a:moveTo>
                  <a:cubicBezTo>
                    <a:pt x="15073" y="43426"/>
                    <a:pt x="21266" y="34129"/>
                    <a:pt x="32763" y="34129"/>
                  </a:cubicBezTo>
                  <a:cubicBezTo>
                    <a:pt x="44260" y="34129"/>
                    <a:pt x="50453" y="43426"/>
                    <a:pt x="50453" y="61470"/>
                  </a:cubicBezTo>
                  <a:cubicBezTo>
                    <a:pt x="50453" y="79514"/>
                    <a:pt x="44260" y="88596"/>
                    <a:pt x="32763" y="88596"/>
                  </a:cubicBezTo>
                  <a:cubicBezTo>
                    <a:pt x="21266" y="88596"/>
                    <a:pt x="15073" y="79419"/>
                    <a:pt x="15073" y="61470"/>
                  </a:cubicBezTo>
                  <a:lnTo>
                    <a:pt x="15073" y="61470"/>
                  </a:lnTo>
                  <a:close/>
                </a:path>
              </a:pathLst>
            </a:custGeom>
            <a:grpFill/>
            <a:ln w="0" cap="flat">
              <a:noFill/>
              <a:prstDash val="solid"/>
              <a:miter/>
            </a:ln>
          </p:spPr>
          <p:txBody>
            <a:bodyPr rtlCol="0" anchor="ctr"/>
            <a:lstStyle/>
            <a:p>
              <a:endParaRPr lang="en-BG"/>
            </a:p>
          </p:txBody>
        </p:sp>
        <p:sp>
          <p:nvSpPr>
            <p:cNvPr id="25" name="Freeform 24">
              <a:extLst>
                <a:ext uri="{FF2B5EF4-FFF2-40B4-BE49-F238E27FC236}">
                  <a16:creationId xmlns:a16="http://schemas.microsoft.com/office/drawing/2014/main" id="{AAA448B8-0F28-3449-A55B-90C36094CF45}"/>
                </a:ext>
              </a:extLst>
            </p:cNvPr>
            <p:cNvSpPr/>
            <p:nvPr/>
          </p:nvSpPr>
          <p:spPr>
            <a:xfrm>
              <a:off x="11659883" y="6318040"/>
              <a:ext cx="59237" cy="78558"/>
            </a:xfrm>
            <a:custGeom>
              <a:avLst/>
              <a:gdLst>
                <a:gd name="connsiteX0" fmla="*/ 0 w 59237"/>
                <a:gd name="connsiteY0" fmla="*/ 78558 h 78558"/>
                <a:gd name="connsiteX1" fmla="*/ 14545 w 59237"/>
                <a:gd name="connsiteY1" fmla="*/ 78558 h 78558"/>
                <a:gd name="connsiteX2" fmla="*/ 14545 w 59237"/>
                <a:gd name="connsiteY2" fmla="*/ 46676 h 78558"/>
                <a:gd name="connsiteX3" fmla="*/ 28106 w 59237"/>
                <a:gd name="connsiteY3" fmla="*/ 46676 h 78558"/>
                <a:gd name="connsiteX4" fmla="*/ 43300 w 59237"/>
                <a:gd name="connsiteY4" fmla="*/ 78558 h 78558"/>
                <a:gd name="connsiteX5" fmla="*/ 59237 w 59237"/>
                <a:gd name="connsiteY5" fmla="*/ 78558 h 78558"/>
                <a:gd name="connsiteX6" fmla="*/ 41764 w 59237"/>
                <a:gd name="connsiteY6" fmla="*/ 43330 h 78558"/>
                <a:gd name="connsiteX7" fmla="*/ 56309 w 59237"/>
                <a:gd name="connsiteY7" fmla="*/ 23446 h 78558"/>
                <a:gd name="connsiteX8" fmla="*/ 26690 w 59237"/>
                <a:gd name="connsiteY8" fmla="*/ 0 h 78558"/>
                <a:gd name="connsiteX9" fmla="*/ 0 w 59237"/>
                <a:gd name="connsiteY9" fmla="*/ 0 h 78558"/>
                <a:gd name="connsiteX10" fmla="*/ 0 w 59237"/>
                <a:gd name="connsiteY10" fmla="*/ 78558 h 78558"/>
                <a:gd name="connsiteX11" fmla="*/ 0 w 59237"/>
                <a:gd name="connsiteY11" fmla="*/ 78558 h 78558"/>
                <a:gd name="connsiteX12" fmla="*/ 14545 w 59237"/>
                <a:gd name="connsiteY12" fmla="*/ 34272 h 78558"/>
                <a:gd name="connsiteX13" fmla="*/ 14545 w 59237"/>
                <a:gd name="connsiteY13" fmla="*/ 12452 h 78558"/>
                <a:gd name="connsiteX14" fmla="*/ 27458 w 59237"/>
                <a:gd name="connsiteY14" fmla="*/ 12452 h 78558"/>
                <a:gd name="connsiteX15" fmla="*/ 41356 w 59237"/>
                <a:gd name="connsiteY15" fmla="*/ 23374 h 78558"/>
                <a:gd name="connsiteX16" fmla="*/ 27458 w 59237"/>
                <a:gd name="connsiteY16" fmla="*/ 34296 h 78558"/>
                <a:gd name="connsiteX17" fmla="*/ 14545 w 59237"/>
                <a:gd name="connsiteY17" fmla="*/ 34296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9237" h="78558">
                  <a:moveTo>
                    <a:pt x="0" y="78558"/>
                  </a:moveTo>
                  <a:lnTo>
                    <a:pt x="14545" y="78558"/>
                  </a:lnTo>
                  <a:lnTo>
                    <a:pt x="14545" y="46676"/>
                  </a:lnTo>
                  <a:lnTo>
                    <a:pt x="28106" y="46676"/>
                  </a:lnTo>
                  <a:lnTo>
                    <a:pt x="43300" y="78558"/>
                  </a:lnTo>
                  <a:lnTo>
                    <a:pt x="59237" y="78558"/>
                  </a:lnTo>
                  <a:lnTo>
                    <a:pt x="41764" y="43330"/>
                  </a:lnTo>
                  <a:cubicBezTo>
                    <a:pt x="51101" y="40725"/>
                    <a:pt x="56309" y="33699"/>
                    <a:pt x="56309" y="23446"/>
                  </a:cubicBezTo>
                  <a:cubicBezTo>
                    <a:pt x="56309" y="7457"/>
                    <a:pt x="46540" y="0"/>
                    <a:pt x="26690" y="0"/>
                  </a:cubicBezTo>
                  <a:lnTo>
                    <a:pt x="0" y="0"/>
                  </a:lnTo>
                  <a:lnTo>
                    <a:pt x="0" y="78558"/>
                  </a:lnTo>
                  <a:lnTo>
                    <a:pt x="0" y="78558"/>
                  </a:lnTo>
                  <a:close/>
                  <a:moveTo>
                    <a:pt x="14545" y="34272"/>
                  </a:moveTo>
                  <a:lnTo>
                    <a:pt x="14545" y="12452"/>
                  </a:lnTo>
                  <a:lnTo>
                    <a:pt x="27458" y="12452"/>
                  </a:lnTo>
                  <a:cubicBezTo>
                    <a:pt x="36795" y="12452"/>
                    <a:pt x="41356" y="15702"/>
                    <a:pt x="41356" y="23374"/>
                  </a:cubicBezTo>
                  <a:cubicBezTo>
                    <a:pt x="41356" y="31046"/>
                    <a:pt x="36891" y="34296"/>
                    <a:pt x="27458" y="34296"/>
                  </a:cubicBezTo>
                  <a:lnTo>
                    <a:pt x="14545" y="34296"/>
                  </a:lnTo>
                  <a:close/>
                </a:path>
              </a:pathLst>
            </a:custGeom>
            <a:grpFill/>
            <a:ln w="0" cap="flat">
              <a:noFill/>
              <a:prstDash val="solid"/>
              <a:miter/>
            </a:ln>
          </p:spPr>
          <p:txBody>
            <a:bodyPr rtlCol="0" anchor="ctr"/>
            <a:lstStyle/>
            <a:p>
              <a:endParaRPr lang="en-BG"/>
            </a:p>
          </p:txBody>
        </p:sp>
        <p:sp>
          <p:nvSpPr>
            <p:cNvPr id="26" name="Freeform 25">
              <a:extLst>
                <a:ext uri="{FF2B5EF4-FFF2-40B4-BE49-F238E27FC236}">
                  <a16:creationId xmlns:a16="http://schemas.microsoft.com/office/drawing/2014/main" id="{59889EFA-45A8-7B49-8552-50BAC14E99BD}"/>
                </a:ext>
              </a:extLst>
            </p:cNvPr>
            <p:cNvSpPr/>
            <p:nvPr/>
          </p:nvSpPr>
          <p:spPr>
            <a:xfrm>
              <a:off x="11731745" y="6317180"/>
              <a:ext cx="56693" cy="80494"/>
            </a:xfrm>
            <a:custGeom>
              <a:avLst/>
              <a:gdLst>
                <a:gd name="connsiteX0" fmla="*/ 48 w 56693"/>
                <a:gd name="connsiteY0" fmla="*/ 61685 h 80494"/>
                <a:gd name="connsiteX1" fmla="*/ 29883 w 56693"/>
                <a:gd name="connsiteY1" fmla="*/ 80494 h 80494"/>
                <a:gd name="connsiteX2" fmla="*/ 56693 w 56693"/>
                <a:gd name="connsiteY2" fmla="*/ 57168 h 80494"/>
                <a:gd name="connsiteX3" fmla="*/ 37059 w 56693"/>
                <a:gd name="connsiteY3" fmla="*/ 34248 h 80494"/>
                <a:gd name="connsiteX4" fmla="*/ 16873 w 56693"/>
                <a:gd name="connsiteY4" fmla="*/ 20315 h 80494"/>
                <a:gd name="connsiteX5" fmla="*/ 27290 w 56693"/>
                <a:gd name="connsiteY5" fmla="*/ 11998 h 80494"/>
                <a:gd name="connsiteX6" fmla="*/ 41500 w 56693"/>
                <a:gd name="connsiteY6" fmla="*/ 22059 h 80494"/>
                <a:gd name="connsiteX7" fmla="*/ 54941 w 56693"/>
                <a:gd name="connsiteY7" fmla="*/ 17184 h 80494"/>
                <a:gd name="connsiteX8" fmla="*/ 28347 w 56693"/>
                <a:gd name="connsiteY8" fmla="*/ 0 h 80494"/>
                <a:gd name="connsiteX9" fmla="*/ 2616 w 56693"/>
                <a:gd name="connsiteY9" fmla="*/ 21390 h 80494"/>
                <a:gd name="connsiteX10" fmla="*/ 11857 w 56693"/>
                <a:gd name="connsiteY10" fmla="*/ 38670 h 80494"/>
                <a:gd name="connsiteX11" fmla="*/ 30627 w 56693"/>
                <a:gd name="connsiteY11" fmla="*/ 46772 h 80494"/>
                <a:gd name="connsiteX12" fmla="*/ 42340 w 56693"/>
                <a:gd name="connsiteY12" fmla="*/ 57790 h 80494"/>
                <a:gd name="connsiteX13" fmla="*/ 29523 w 56693"/>
                <a:gd name="connsiteY13" fmla="*/ 67732 h 80494"/>
                <a:gd name="connsiteX14" fmla="*/ 13465 w 56693"/>
                <a:gd name="connsiteY14" fmla="*/ 55734 h 80494"/>
                <a:gd name="connsiteX15" fmla="*/ 0 w 56693"/>
                <a:gd name="connsiteY15" fmla="*/ 61685 h 80494"/>
                <a:gd name="connsiteX16" fmla="*/ 0 w 56693"/>
                <a:gd name="connsiteY16" fmla="*/ 61685 h 8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693" h="80494">
                  <a:moveTo>
                    <a:pt x="48" y="61685"/>
                  </a:moveTo>
                  <a:cubicBezTo>
                    <a:pt x="5160" y="74017"/>
                    <a:pt x="15337" y="80494"/>
                    <a:pt x="29883" y="80494"/>
                  </a:cubicBezTo>
                  <a:cubicBezTo>
                    <a:pt x="46804" y="80494"/>
                    <a:pt x="56693" y="71412"/>
                    <a:pt x="56693" y="57168"/>
                  </a:cubicBezTo>
                  <a:cubicBezTo>
                    <a:pt x="56693" y="44836"/>
                    <a:pt x="50188" y="39769"/>
                    <a:pt x="37059" y="34248"/>
                  </a:cubicBezTo>
                  <a:cubicBezTo>
                    <a:pt x="24578" y="28966"/>
                    <a:pt x="16873" y="27652"/>
                    <a:pt x="16873" y="20315"/>
                  </a:cubicBezTo>
                  <a:cubicBezTo>
                    <a:pt x="16873" y="15248"/>
                    <a:pt x="20786" y="11998"/>
                    <a:pt x="27290" y="11998"/>
                  </a:cubicBezTo>
                  <a:cubicBezTo>
                    <a:pt x="33795" y="11998"/>
                    <a:pt x="38259" y="15129"/>
                    <a:pt x="41500" y="22059"/>
                  </a:cubicBezTo>
                  <a:lnTo>
                    <a:pt x="54941" y="17184"/>
                  </a:lnTo>
                  <a:cubicBezTo>
                    <a:pt x="50837" y="5832"/>
                    <a:pt x="41812" y="0"/>
                    <a:pt x="28347" y="0"/>
                  </a:cubicBezTo>
                  <a:cubicBezTo>
                    <a:pt x="12721" y="0"/>
                    <a:pt x="2616" y="8962"/>
                    <a:pt x="2616" y="21390"/>
                  </a:cubicBezTo>
                  <a:cubicBezTo>
                    <a:pt x="2616" y="28847"/>
                    <a:pt x="5880" y="34894"/>
                    <a:pt x="11857" y="38670"/>
                  </a:cubicBezTo>
                  <a:cubicBezTo>
                    <a:pt x="17065" y="42016"/>
                    <a:pt x="23570" y="44191"/>
                    <a:pt x="30627" y="46772"/>
                  </a:cubicBezTo>
                  <a:cubicBezTo>
                    <a:pt x="38763" y="49807"/>
                    <a:pt x="42340" y="52508"/>
                    <a:pt x="42340" y="57790"/>
                  </a:cubicBezTo>
                  <a:cubicBezTo>
                    <a:pt x="42340" y="63741"/>
                    <a:pt x="37563" y="67732"/>
                    <a:pt x="29523" y="67732"/>
                  </a:cubicBezTo>
                  <a:cubicBezTo>
                    <a:pt x="22466" y="67732"/>
                    <a:pt x="17593" y="64051"/>
                    <a:pt x="13465" y="55734"/>
                  </a:cubicBezTo>
                  <a:lnTo>
                    <a:pt x="0" y="61685"/>
                  </a:lnTo>
                  <a:lnTo>
                    <a:pt x="0" y="61685"/>
                  </a:lnTo>
                  <a:close/>
                </a:path>
              </a:pathLst>
            </a:custGeom>
            <a:grpFill/>
            <a:ln w="0" cap="flat">
              <a:noFill/>
              <a:prstDash val="solid"/>
              <a:miter/>
            </a:ln>
          </p:spPr>
          <p:txBody>
            <a:bodyPr rtlCol="0" anchor="ctr"/>
            <a:lstStyle/>
            <a:p>
              <a:endParaRPr lang="en-BG"/>
            </a:p>
          </p:txBody>
        </p:sp>
        <p:sp>
          <p:nvSpPr>
            <p:cNvPr id="27" name="Freeform 26">
              <a:extLst>
                <a:ext uri="{FF2B5EF4-FFF2-40B4-BE49-F238E27FC236}">
                  <a16:creationId xmlns:a16="http://schemas.microsoft.com/office/drawing/2014/main" id="{C2C6F7CA-AB58-404E-8CE3-9BBBD089CE7C}"/>
                </a:ext>
              </a:extLst>
            </p:cNvPr>
            <p:cNvSpPr/>
            <p:nvPr/>
          </p:nvSpPr>
          <p:spPr>
            <a:xfrm>
              <a:off x="11807064" y="6318040"/>
              <a:ext cx="52852" cy="78558"/>
            </a:xfrm>
            <a:custGeom>
              <a:avLst/>
              <a:gdLst>
                <a:gd name="connsiteX0" fmla="*/ 0 w 52852"/>
                <a:gd name="connsiteY0" fmla="*/ 78558 h 78558"/>
                <a:gd name="connsiteX1" fmla="*/ 52853 w 52852"/>
                <a:gd name="connsiteY1" fmla="*/ 78558 h 78558"/>
                <a:gd name="connsiteX2" fmla="*/ 52853 w 52852"/>
                <a:gd name="connsiteY2" fmla="*/ 65151 h 78558"/>
                <a:gd name="connsiteX3" fmla="*/ 14761 w 52852"/>
                <a:gd name="connsiteY3" fmla="*/ 65151 h 78558"/>
                <a:gd name="connsiteX4" fmla="*/ 14761 w 52852"/>
                <a:gd name="connsiteY4" fmla="*/ 43880 h 78558"/>
                <a:gd name="connsiteX5" fmla="*/ 41356 w 52852"/>
                <a:gd name="connsiteY5" fmla="*/ 43880 h 78558"/>
                <a:gd name="connsiteX6" fmla="*/ 41356 w 52852"/>
                <a:gd name="connsiteY6" fmla="*/ 31333 h 78558"/>
                <a:gd name="connsiteX7" fmla="*/ 14761 w 52852"/>
                <a:gd name="connsiteY7" fmla="*/ 31333 h 78558"/>
                <a:gd name="connsiteX8" fmla="*/ 14761 w 52852"/>
                <a:gd name="connsiteY8" fmla="*/ 12762 h 78558"/>
                <a:gd name="connsiteX9" fmla="*/ 51221 w 52852"/>
                <a:gd name="connsiteY9" fmla="*/ 12762 h 78558"/>
                <a:gd name="connsiteX10" fmla="*/ 51221 w 52852"/>
                <a:gd name="connsiteY10" fmla="*/ 0 h 78558"/>
                <a:gd name="connsiteX11" fmla="*/ 0 w 52852"/>
                <a:gd name="connsiteY11" fmla="*/ 0 h 78558"/>
                <a:gd name="connsiteX12" fmla="*/ 0 w 52852"/>
                <a:gd name="connsiteY12" fmla="*/ 78558 h 78558"/>
                <a:gd name="connsiteX13" fmla="*/ 0 w 52852"/>
                <a:gd name="connsiteY13" fmla="*/ 78558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852" h="78558">
                  <a:moveTo>
                    <a:pt x="0" y="78558"/>
                  </a:moveTo>
                  <a:lnTo>
                    <a:pt x="52853" y="78558"/>
                  </a:lnTo>
                  <a:lnTo>
                    <a:pt x="52853" y="65151"/>
                  </a:lnTo>
                  <a:lnTo>
                    <a:pt x="14761" y="65151"/>
                  </a:lnTo>
                  <a:lnTo>
                    <a:pt x="14761" y="43880"/>
                  </a:lnTo>
                  <a:lnTo>
                    <a:pt x="41356" y="43880"/>
                  </a:lnTo>
                  <a:lnTo>
                    <a:pt x="41356" y="31333"/>
                  </a:lnTo>
                  <a:lnTo>
                    <a:pt x="14761" y="31333"/>
                  </a:lnTo>
                  <a:lnTo>
                    <a:pt x="14761" y="12762"/>
                  </a:lnTo>
                  <a:lnTo>
                    <a:pt x="51221" y="12762"/>
                  </a:lnTo>
                  <a:lnTo>
                    <a:pt x="51221" y="0"/>
                  </a:lnTo>
                  <a:lnTo>
                    <a:pt x="0" y="0"/>
                  </a:lnTo>
                  <a:lnTo>
                    <a:pt x="0" y="78558"/>
                  </a:lnTo>
                  <a:lnTo>
                    <a:pt x="0" y="78558"/>
                  </a:lnTo>
                  <a:close/>
                </a:path>
              </a:pathLst>
            </a:custGeom>
            <a:grpFill/>
            <a:ln w="0" cap="flat">
              <a:noFill/>
              <a:prstDash val="solid"/>
              <a:miter/>
            </a:ln>
          </p:spPr>
          <p:txBody>
            <a:bodyPr rtlCol="0" anchor="ctr"/>
            <a:lstStyle/>
            <a:p>
              <a:endParaRPr lang="en-BG"/>
            </a:p>
          </p:txBody>
        </p:sp>
        <p:sp>
          <p:nvSpPr>
            <p:cNvPr id="28" name="Freeform 27">
              <a:extLst>
                <a:ext uri="{FF2B5EF4-FFF2-40B4-BE49-F238E27FC236}">
                  <a16:creationId xmlns:a16="http://schemas.microsoft.com/office/drawing/2014/main" id="{3A391D52-1A2D-1047-8912-6E7855831A51}"/>
                </a:ext>
              </a:extLst>
            </p:cNvPr>
            <p:cNvSpPr/>
            <p:nvPr/>
          </p:nvSpPr>
          <p:spPr>
            <a:xfrm>
              <a:off x="10795758" y="6250285"/>
              <a:ext cx="13609" cy="338730"/>
            </a:xfrm>
            <a:custGeom>
              <a:avLst/>
              <a:gdLst>
                <a:gd name="connsiteX0" fmla="*/ 0 w 13609"/>
                <a:gd name="connsiteY0" fmla="*/ 0 h 338730"/>
                <a:gd name="connsiteX1" fmla="*/ 13609 w 13609"/>
                <a:gd name="connsiteY1" fmla="*/ 0 h 338730"/>
                <a:gd name="connsiteX2" fmla="*/ 13609 w 13609"/>
                <a:gd name="connsiteY2" fmla="*/ 338731 h 338730"/>
                <a:gd name="connsiteX3" fmla="*/ 0 w 13609"/>
                <a:gd name="connsiteY3" fmla="*/ 338731 h 338730"/>
              </a:gdLst>
              <a:ahLst/>
              <a:cxnLst>
                <a:cxn ang="0">
                  <a:pos x="connsiteX0" y="connsiteY0"/>
                </a:cxn>
                <a:cxn ang="0">
                  <a:pos x="connsiteX1" y="connsiteY1"/>
                </a:cxn>
                <a:cxn ang="0">
                  <a:pos x="connsiteX2" y="connsiteY2"/>
                </a:cxn>
                <a:cxn ang="0">
                  <a:pos x="connsiteX3" y="connsiteY3"/>
                </a:cxn>
              </a:cxnLst>
              <a:rect l="l" t="t" r="r" b="b"/>
              <a:pathLst>
                <a:path w="13609" h="338730">
                  <a:moveTo>
                    <a:pt x="0" y="0"/>
                  </a:moveTo>
                  <a:lnTo>
                    <a:pt x="13609" y="0"/>
                  </a:lnTo>
                  <a:lnTo>
                    <a:pt x="13609" y="338731"/>
                  </a:lnTo>
                  <a:lnTo>
                    <a:pt x="0" y="338731"/>
                  </a:lnTo>
                  <a:close/>
                </a:path>
              </a:pathLst>
            </a:custGeom>
            <a:grpFill/>
            <a:ln w="0" cap="flat">
              <a:noFill/>
              <a:prstDash val="solid"/>
              <a:miter/>
            </a:ln>
          </p:spPr>
          <p:txBody>
            <a:bodyPr rtlCol="0" anchor="ctr"/>
            <a:lstStyle/>
            <a:p>
              <a:endParaRPr lang="en-BG"/>
            </a:p>
          </p:txBody>
        </p:sp>
      </p:grpSp>
    </p:spTree>
    <p:extLst>
      <p:ext uri="{BB962C8B-B14F-4D97-AF65-F5344CB8AC3E}">
        <p14:creationId xmlns:p14="http://schemas.microsoft.com/office/powerpoint/2010/main" val="7158307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78623" y="282889"/>
            <a:ext cx="6477104" cy="249299"/>
          </a:xfrm>
        </p:spPr>
        <p:txBody>
          <a:bodyPr wrap="square" lIns="0" tIns="0" rIns="0" bIns="0" anchor="t">
            <a:spAutoFit/>
          </a:bodyPr>
          <a:lstStyle/>
          <a:p>
            <a:r>
              <a:rPr lang="en-US" sz="1800" b="0" dirty="0">
                <a:solidFill>
                  <a:schemeClr val="accent3"/>
                </a:solidFill>
                <a:latin typeface="Montserrat" pitchFamily="2" charset="77"/>
              </a:rPr>
              <a:t>More than 15 years successful cooperation (1/</a:t>
            </a:r>
            <a:r>
              <a:rPr lang="bg-BG" sz="1800" b="0" dirty="0">
                <a:solidFill>
                  <a:schemeClr val="accent3"/>
                </a:solidFill>
                <a:latin typeface="Montserrat" pitchFamily="2" charset="77"/>
              </a:rPr>
              <a:t>2</a:t>
            </a:r>
            <a:r>
              <a:rPr lang="en-US" sz="1800" b="0" dirty="0">
                <a:solidFill>
                  <a:schemeClr val="accent3"/>
                </a:solidFill>
                <a:latin typeface="Montserrat" pitchFamily="2" charset="77"/>
              </a:rPr>
              <a:t>)</a:t>
            </a:r>
            <a:endParaRPr lang="en-GB" sz="1800" b="0" dirty="0">
              <a:solidFill>
                <a:schemeClr val="accent3"/>
              </a:solidFill>
              <a:effectLst>
                <a:outerShdw blurRad="38100" dist="38100" dir="2700000" algn="tl">
                  <a:srgbClr val="000000">
                    <a:alpha val="43137"/>
                  </a:srgbClr>
                </a:outerShdw>
              </a:effectLst>
              <a:latin typeface="Montserrat" pitchFamily="2" charset="77"/>
            </a:endParaRPr>
          </a:p>
        </p:txBody>
      </p:sp>
      <p:sp>
        <p:nvSpPr>
          <p:cNvPr id="13" name="TextBox 12">
            <a:extLst>
              <a:ext uri="{FF2B5EF4-FFF2-40B4-BE49-F238E27FC236}">
                <a16:creationId xmlns:a16="http://schemas.microsoft.com/office/drawing/2014/main" id="{15751D45-2F18-E746-B80D-72436BDCFAD8}"/>
              </a:ext>
            </a:extLst>
          </p:cNvPr>
          <p:cNvSpPr txBox="1"/>
          <p:nvPr/>
        </p:nvSpPr>
        <p:spPr>
          <a:xfrm>
            <a:off x="457423" y="1664033"/>
            <a:ext cx="6885731" cy="923330"/>
          </a:xfrm>
          <a:prstGeom prst="rect">
            <a:avLst/>
          </a:prstGeom>
          <a:noFill/>
        </p:spPr>
        <p:txBody>
          <a:bodyPr wrap="none" lIns="0" tIns="0" rIns="0" bIns="0" rtlCol="0">
            <a:spAutoFit/>
          </a:bodyPr>
          <a:lstStyle/>
          <a:p>
            <a:r>
              <a:rPr lang="en-GB" sz="6000" dirty="0">
                <a:solidFill>
                  <a:schemeClr val="accent1"/>
                </a:solidFill>
                <a:latin typeface="Bebas Neue Book" pitchFamily="2" charset="77"/>
              </a:rPr>
              <a:t>Long-standing</a:t>
            </a:r>
            <a:r>
              <a:rPr lang="en-GB" sz="6000" dirty="0">
                <a:solidFill>
                  <a:schemeClr val="accent5"/>
                </a:solidFill>
                <a:latin typeface="Bebas Neue Book" pitchFamily="2" charset="77"/>
              </a:rPr>
              <a:t> </a:t>
            </a:r>
            <a:r>
              <a:rPr lang="en-GB" sz="6000" b="1" dirty="0">
                <a:solidFill>
                  <a:srgbClr val="DA98FF"/>
                </a:solidFill>
                <a:latin typeface="Bebas Neue Bold" pitchFamily="2" charset="77"/>
              </a:rPr>
              <a:t>partnership</a:t>
            </a:r>
            <a:r>
              <a:rPr lang="en-GB" sz="6000" b="1" dirty="0">
                <a:solidFill>
                  <a:schemeClr val="accent5"/>
                </a:solidFill>
                <a:latin typeface="Bebas Neue Bold" pitchFamily="2" charset="77"/>
              </a:rPr>
              <a:t> </a:t>
            </a:r>
          </a:p>
        </p:txBody>
      </p:sp>
      <p:sp>
        <p:nvSpPr>
          <p:cNvPr id="15" name="TextBox 14">
            <a:extLst>
              <a:ext uri="{FF2B5EF4-FFF2-40B4-BE49-F238E27FC236}">
                <a16:creationId xmlns:a16="http://schemas.microsoft.com/office/drawing/2014/main" id="{E55EF866-2E20-C54C-A3E9-E714DD2B0CD7}"/>
              </a:ext>
            </a:extLst>
          </p:cNvPr>
          <p:cNvSpPr txBox="1"/>
          <p:nvPr/>
        </p:nvSpPr>
        <p:spPr>
          <a:xfrm>
            <a:off x="457423" y="2922317"/>
            <a:ext cx="8244788" cy="2938625"/>
          </a:xfrm>
          <a:prstGeom prst="rect">
            <a:avLst/>
          </a:prstGeom>
          <a:noFill/>
        </p:spPr>
        <p:txBody>
          <a:bodyPr wrap="square" rtlCol="0">
            <a:spAutoFit/>
          </a:bodyPr>
          <a:lstStyle/>
          <a:p>
            <a:pPr marL="228600" indent="-228600">
              <a:lnSpc>
                <a:spcPct val="250000"/>
              </a:lnSpc>
              <a:spcBef>
                <a:spcPts val="500"/>
              </a:spcBef>
              <a:buClr>
                <a:schemeClr val="accent3"/>
              </a:buClr>
              <a:buSzPct val="65000"/>
              <a:buFont typeface="Arial" panose="020B0604020202020204" pitchFamily="34" charset="0"/>
              <a:buChar char="►"/>
            </a:pPr>
            <a:r>
              <a:rPr lang="en-GB" dirty="0">
                <a:latin typeface="Montserrat" pitchFamily="2" charset="77"/>
              </a:rPr>
              <a:t>Trading and surveillance infrastructure - </a:t>
            </a:r>
            <a:r>
              <a:rPr kumimoji="0" lang="bg-BG" b="1" i="0" u="none" strike="noStrike" kern="1200" cap="none" spc="0" normalizeH="0" baseline="0" noProof="0" dirty="0">
                <a:ln>
                  <a:noFill/>
                </a:ln>
                <a:solidFill>
                  <a:schemeClr val="tx1"/>
                </a:solidFill>
                <a:effectLst/>
                <a:uLnTx/>
                <a:uFillTx/>
                <a:latin typeface="Montserrat SemiBold" pitchFamily="2" charset="77"/>
                <a:ea typeface="+mn-ea"/>
                <a:cs typeface="+mn-cs"/>
              </a:rPr>
              <a:t>Т7®</a:t>
            </a:r>
            <a:r>
              <a:rPr kumimoji="0" lang="en-US" u="none" strike="noStrike" kern="1200" cap="none" spc="0" normalizeH="0" baseline="0" noProof="0" dirty="0">
                <a:ln>
                  <a:noFill/>
                </a:ln>
                <a:solidFill>
                  <a:schemeClr val="tx1"/>
                </a:solidFill>
                <a:effectLst/>
                <a:uLnTx/>
                <a:uFillTx/>
                <a:latin typeface="Montserrat" pitchFamily="2" charset="77"/>
              </a:rPr>
              <a:t> &amp; </a:t>
            </a:r>
            <a:r>
              <a:rPr kumimoji="0" lang="en-US" b="1" i="0" u="none" strike="noStrike" kern="1200" cap="none" spc="0" normalizeH="0" baseline="0" noProof="0" dirty="0">
                <a:ln>
                  <a:noFill/>
                </a:ln>
                <a:solidFill>
                  <a:schemeClr val="tx1"/>
                </a:solidFill>
                <a:effectLst/>
                <a:uLnTx/>
                <a:uFillTx/>
                <a:latin typeface="Montserrat SemiBold" pitchFamily="2" charset="77"/>
                <a:ea typeface="+mn-ea"/>
                <a:cs typeface="+mn-cs"/>
              </a:rPr>
              <a:t>Observer</a:t>
            </a:r>
            <a:endParaRPr lang="en-GB" dirty="0">
              <a:latin typeface="Montserrat" pitchFamily="2" charset="77"/>
            </a:endParaRPr>
          </a:p>
          <a:p>
            <a:pPr marL="228600" indent="-228600">
              <a:lnSpc>
                <a:spcPct val="250000"/>
              </a:lnSpc>
              <a:spcBef>
                <a:spcPts val="500"/>
              </a:spcBef>
              <a:buClr>
                <a:schemeClr val="accent3"/>
              </a:buClr>
              <a:buSzPct val="65000"/>
              <a:buFont typeface="Arial" panose="020B0604020202020204" pitchFamily="34" charset="0"/>
              <a:buChar char="►"/>
            </a:pPr>
            <a:r>
              <a:rPr lang="en-GB" dirty="0">
                <a:latin typeface="Montserrat" pitchFamily="2" charset="77"/>
              </a:rPr>
              <a:t>Index calculation services – </a:t>
            </a:r>
            <a:endParaRPr lang="en-GB" b="1" dirty="0">
              <a:latin typeface="Montserrat" pitchFamily="2" charset="77"/>
            </a:endParaRPr>
          </a:p>
          <a:p>
            <a:pPr marL="228600" indent="-228600">
              <a:lnSpc>
                <a:spcPct val="250000"/>
              </a:lnSpc>
              <a:spcBef>
                <a:spcPts val="500"/>
              </a:spcBef>
              <a:buClr>
                <a:schemeClr val="accent3"/>
              </a:buClr>
              <a:buSzPct val="65000"/>
              <a:buFont typeface="Arial" panose="020B0604020202020204" pitchFamily="34" charset="0"/>
              <a:buChar char="►"/>
            </a:pPr>
            <a:r>
              <a:rPr lang="en-GB" dirty="0">
                <a:latin typeface="Montserrat" pitchFamily="2" charset="77"/>
              </a:rPr>
              <a:t>Market data distribution – </a:t>
            </a:r>
            <a:r>
              <a:rPr lang="en-GB" b="1" dirty="0">
                <a:latin typeface="Montserrat" pitchFamily="2" charset="77"/>
              </a:rPr>
              <a:t>CEF</a:t>
            </a:r>
            <a:r>
              <a:rPr kumimoji="0" lang="bg-BG" b="1" i="0" u="none" strike="noStrike" kern="1200" cap="none" spc="0" normalizeH="0" baseline="0" noProof="0" dirty="0">
                <a:ln>
                  <a:noFill/>
                </a:ln>
                <a:solidFill>
                  <a:schemeClr val="tx1"/>
                </a:solidFill>
                <a:effectLst/>
                <a:uLnTx/>
                <a:uFillTx/>
                <a:latin typeface="Montserrat SemiBold" pitchFamily="2" charset="77"/>
                <a:ea typeface="+mn-ea"/>
                <a:cs typeface="+mn-cs"/>
              </a:rPr>
              <a:t>®</a:t>
            </a:r>
            <a:endParaRPr lang="en-GB" b="1" dirty="0">
              <a:latin typeface="Montserrat" pitchFamily="2" charset="77"/>
            </a:endParaRPr>
          </a:p>
          <a:p>
            <a:pPr marL="228600" indent="-228600">
              <a:lnSpc>
                <a:spcPct val="250000"/>
              </a:lnSpc>
              <a:spcBef>
                <a:spcPts val="500"/>
              </a:spcBef>
              <a:buClr>
                <a:schemeClr val="accent3"/>
              </a:buClr>
              <a:buSzPct val="65000"/>
              <a:buFont typeface="Arial" panose="020B0604020202020204" pitchFamily="34" charset="0"/>
              <a:buChar char="►"/>
            </a:pPr>
            <a:r>
              <a:rPr lang="en-GB" dirty="0">
                <a:latin typeface="Montserrat" pitchFamily="2" charset="77"/>
              </a:rPr>
              <a:t>Markets development – </a:t>
            </a:r>
            <a:r>
              <a:rPr lang="en-GB" b="1" dirty="0" err="1">
                <a:latin typeface="Montserrat" pitchFamily="2" charset="77"/>
              </a:rPr>
              <a:t>EuroBridge</a:t>
            </a:r>
            <a:r>
              <a:rPr lang="en-GB" b="1" dirty="0">
                <a:latin typeface="Montserrat" pitchFamily="2" charset="77"/>
              </a:rPr>
              <a:t> Market</a:t>
            </a:r>
            <a:r>
              <a:rPr lang="en-GB" dirty="0">
                <a:latin typeface="Montserrat" pitchFamily="2" charset="77"/>
              </a:rPr>
              <a:t>&amp; </a:t>
            </a:r>
            <a:r>
              <a:rPr lang="en-GB" b="1" dirty="0">
                <a:latin typeface="Montserrat" pitchFamily="2" charset="77"/>
              </a:rPr>
              <a:t>BSE International</a:t>
            </a:r>
          </a:p>
        </p:txBody>
      </p:sp>
      <p:pic>
        <p:nvPicPr>
          <p:cNvPr id="4" name="Graphic 3">
            <a:extLst>
              <a:ext uri="{FF2B5EF4-FFF2-40B4-BE49-F238E27FC236}">
                <a16:creationId xmlns:a16="http://schemas.microsoft.com/office/drawing/2014/main" id="{8604C9FB-3E17-6D4D-B727-10BFA96CD60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89574" y="6250285"/>
            <a:ext cx="1869767" cy="339376"/>
          </a:xfrm>
          <a:prstGeom prst="rect">
            <a:avLst/>
          </a:prstGeom>
        </p:spPr>
      </p:pic>
      <p:pic>
        <p:nvPicPr>
          <p:cNvPr id="5" name="Picture 4">
            <a:extLst>
              <a:ext uri="{FF2B5EF4-FFF2-40B4-BE49-F238E27FC236}">
                <a16:creationId xmlns:a16="http://schemas.microsoft.com/office/drawing/2014/main" id="{D648613A-3EA6-8A46-BCC3-DB26AD55CC4A}"/>
              </a:ext>
            </a:extLst>
          </p:cNvPr>
          <p:cNvPicPr>
            <a:picLocks noChangeAspect="1"/>
          </p:cNvPicPr>
          <p:nvPr/>
        </p:nvPicPr>
        <p:blipFill rotWithShape="1">
          <a:blip r:embed="rId5">
            <a:extLst>
              <a:ext uri="{28A0092B-C50C-407E-A947-70E740481C1C}">
                <a14:useLocalDpi xmlns:a14="http://schemas.microsoft.com/office/drawing/2010/main" val="0"/>
              </a:ext>
            </a:extLst>
          </a:blip>
          <a:srcRect l="69686" t="-14828" b="1"/>
          <a:stretch/>
        </p:blipFill>
        <p:spPr>
          <a:xfrm>
            <a:off x="3900288" y="3974682"/>
            <a:ext cx="1177859" cy="289094"/>
          </a:xfrm>
          <a:prstGeom prst="rect">
            <a:avLst/>
          </a:prstGeom>
        </p:spPr>
      </p:pic>
    </p:spTree>
    <p:extLst>
      <p:ext uri="{BB962C8B-B14F-4D97-AF65-F5344CB8AC3E}">
        <p14:creationId xmlns:p14="http://schemas.microsoft.com/office/powerpoint/2010/main" val="46662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78623" y="282889"/>
            <a:ext cx="6477104" cy="249299"/>
          </a:xfrm>
        </p:spPr>
        <p:txBody>
          <a:bodyPr wrap="square" lIns="0" tIns="0" rIns="0" bIns="0" anchor="t">
            <a:spAutoFit/>
          </a:bodyPr>
          <a:lstStyle/>
          <a:p>
            <a:r>
              <a:rPr lang="en-US" sz="1800" b="0" dirty="0">
                <a:solidFill>
                  <a:schemeClr val="accent3"/>
                </a:solidFill>
                <a:latin typeface="Montserrat" pitchFamily="2" charset="77"/>
              </a:rPr>
              <a:t>More than 15 years successful cooperation (2/</a:t>
            </a:r>
            <a:r>
              <a:rPr lang="bg-BG" sz="1800" b="0" dirty="0">
                <a:solidFill>
                  <a:schemeClr val="accent3"/>
                </a:solidFill>
                <a:latin typeface="Montserrat" pitchFamily="2" charset="77"/>
              </a:rPr>
              <a:t>2</a:t>
            </a:r>
            <a:r>
              <a:rPr lang="en-US" sz="1800" b="0" dirty="0">
                <a:solidFill>
                  <a:schemeClr val="accent3"/>
                </a:solidFill>
                <a:latin typeface="Montserrat" pitchFamily="2" charset="77"/>
              </a:rPr>
              <a:t>)</a:t>
            </a:r>
            <a:endParaRPr lang="en-GB" sz="1800" b="0" dirty="0">
              <a:solidFill>
                <a:schemeClr val="accent3"/>
              </a:solidFill>
              <a:effectLst>
                <a:outerShdw blurRad="38100" dist="38100" dir="2700000" algn="tl">
                  <a:srgbClr val="000000">
                    <a:alpha val="43137"/>
                  </a:srgbClr>
                </a:outerShdw>
              </a:effectLst>
              <a:latin typeface="Montserrat" pitchFamily="2" charset="77"/>
            </a:endParaRPr>
          </a:p>
        </p:txBody>
      </p:sp>
      <p:sp>
        <p:nvSpPr>
          <p:cNvPr id="13" name="TextBox 12">
            <a:extLst>
              <a:ext uri="{FF2B5EF4-FFF2-40B4-BE49-F238E27FC236}">
                <a16:creationId xmlns:a16="http://schemas.microsoft.com/office/drawing/2014/main" id="{15751D45-2F18-E746-B80D-72436BDCFAD8}"/>
              </a:ext>
            </a:extLst>
          </p:cNvPr>
          <p:cNvSpPr txBox="1"/>
          <p:nvPr/>
        </p:nvSpPr>
        <p:spPr>
          <a:xfrm>
            <a:off x="457423" y="1664033"/>
            <a:ext cx="4131965" cy="677108"/>
          </a:xfrm>
          <a:prstGeom prst="rect">
            <a:avLst/>
          </a:prstGeom>
          <a:noFill/>
        </p:spPr>
        <p:txBody>
          <a:bodyPr wrap="none" lIns="0" tIns="0" rIns="0" bIns="0" rtlCol="0">
            <a:spAutoFit/>
          </a:bodyPr>
          <a:lstStyle/>
          <a:p>
            <a:r>
              <a:rPr lang="en-GB" sz="4400" dirty="0">
                <a:solidFill>
                  <a:schemeClr val="accent1"/>
                </a:solidFill>
                <a:latin typeface="Bebas Neue Book" pitchFamily="2" charset="77"/>
              </a:rPr>
              <a:t>MTF </a:t>
            </a:r>
            <a:r>
              <a:rPr lang="en-GB" sz="4400" b="1" dirty="0">
                <a:solidFill>
                  <a:srgbClr val="DA98FF"/>
                </a:solidFill>
                <a:latin typeface="Bebas Neue Bold" pitchFamily="2" charset="77"/>
              </a:rPr>
              <a:t>BSE International</a:t>
            </a:r>
          </a:p>
        </p:txBody>
      </p:sp>
      <p:sp>
        <p:nvSpPr>
          <p:cNvPr id="15" name="TextBox 14">
            <a:extLst>
              <a:ext uri="{FF2B5EF4-FFF2-40B4-BE49-F238E27FC236}">
                <a16:creationId xmlns:a16="http://schemas.microsoft.com/office/drawing/2014/main" id="{E55EF866-2E20-C54C-A3E9-E714DD2B0CD7}"/>
              </a:ext>
            </a:extLst>
          </p:cNvPr>
          <p:cNvSpPr txBox="1"/>
          <p:nvPr/>
        </p:nvSpPr>
        <p:spPr>
          <a:xfrm>
            <a:off x="457425" y="2657763"/>
            <a:ext cx="4235156" cy="3592522"/>
          </a:xfrm>
          <a:prstGeom prst="rect">
            <a:avLst/>
          </a:prstGeom>
          <a:noFill/>
        </p:spPr>
        <p:txBody>
          <a:bodyPr wrap="square" rtlCol="0">
            <a:spAutoFit/>
          </a:bodyPr>
          <a:lstStyle/>
          <a:p>
            <a:pPr marL="228600" indent="-228600">
              <a:lnSpc>
                <a:spcPct val="130000"/>
              </a:lnSpc>
              <a:spcAft>
                <a:spcPts val="1800"/>
              </a:spcAft>
              <a:buClr>
                <a:schemeClr val="accent3"/>
              </a:buClr>
              <a:buSzPct val="65000"/>
              <a:buFont typeface="Arial" panose="020B0604020202020204" pitchFamily="34" charset="0"/>
              <a:buChar char="►"/>
            </a:pPr>
            <a:r>
              <a:rPr lang="en-GB" sz="1300" dirty="0">
                <a:latin typeface="Montserrat" pitchFamily="2" charset="77"/>
              </a:rPr>
              <a:t>Access to nearly </a:t>
            </a:r>
            <a:r>
              <a:rPr lang="en-GB" sz="1300" b="1" dirty="0">
                <a:latin typeface="Montserrat SemiBold" pitchFamily="2" charset="77"/>
              </a:rPr>
              <a:t>400 top global companies and ETFs</a:t>
            </a:r>
            <a:r>
              <a:rPr lang="en-GB" sz="1300" dirty="0">
                <a:latin typeface="Montserrat" pitchFamily="2" charset="77"/>
              </a:rPr>
              <a:t>;</a:t>
            </a:r>
          </a:p>
          <a:p>
            <a:pPr marL="228600" indent="-228600">
              <a:lnSpc>
                <a:spcPct val="130000"/>
              </a:lnSpc>
              <a:spcAft>
                <a:spcPts val="1800"/>
              </a:spcAft>
              <a:buClr>
                <a:schemeClr val="accent3"/>
              </a:buClr>
              <a:buSzPct val="65000"/>
              <a:buFont typeface="Arial" panose="020B0604020202020204" pitchFamily="34" charset="0"/>
              <a:buChar char="►"/>
            </a:pPr>
            <a:r>
              <a:rPr lang="en-GB" sz="1300" dirty="0">
                <a:latin typeface="Montserrat" pitchFamily="2" charset="77"/>
              </a:rPr>
              <a:t>Narrow bid-ask spreads by </a:t>
            </a:r>
            <a:r>
              <a:rPr lang="en-GB" sz="1300" dirty="0" err="1">
                <a:latin typeface="Montserrat" pitchFamily="2" charset="77"/>
              </a:rPr>
              <a:t>Tradegate</a:t>
            </a:r>
            <a:r>
              <a:rPr lang="en-GB" sz="1300" dirty="0">
                <a:latin typeface="Montserrat" pitchFamily="2" charset="77"/>
              </a:rPr>
              <a:t> as a market market;</a:t>
            </a:r>
          </a:p>
          <a:p>
            <a:pPr marL="228600" indent="-228600">
              <a:lnSpc>
                <a:spcPct val="130000"/>
              </a:lnSpc>
              <a:spcAft>
                <a:spcPts val="1800"/>
              </a:spcAft>
              <a:buClr>
                <a:schemeClr val="accent3"/>
              </a:buClr>
              <a:buSzPct val="65000"/>
              <a:buFont typeface="Arial" panose="020B0604020202020204" pitchFamily="34" charset="0"/>
              <a:buChar char="►"/>
            </a:pPr>
            <a:r>
              <a:rPr lang="en-GB" sz="1300" dirty="0">
                <a:latin typeface="Montserrat" pitchFamily="2" charset="77"/>
              </a:rPr>
              <a:t>10% weight of the BSE's total trading for 2023;</a:t>
            </a:r>
          </a:p>
          <a:p>
            <a:pPr marL="228600" indent="-228600">
              <a:lnSpc>
                <a:spcPct val="130000"/>
              </a:lnSpc>
              <a:spcAft>
                <a:spcPts val="1800"/>
              </a:spcAft>
              <a:buClr>
                <a:schemeClr val="accent3"/>
              </a:buClr>
              <a:buSzPct val="65000"/>
              <a:buFont typeface="Arial" panose="020B0604020202020204" pitchFamily="34" charset="0"/>
              <a:buChar char="►"/>
            </a:pPr>
            <a:r>
              <a:rPr lang="en-GB" sz="1300" dirty="0">
                <a:latin typeface="Montserrat" pitchFamily="2" charset="77"/>
              </a:rPr>
              <a:t>Top 10 companies – 64% from the total turnover on BSE International;</a:t>
            </a:r>
          </a:p>
          <a:p>
            <a:pPr marL="228600" indent="-228600">
              <a:lnSpc>
                <a:spcPct val="130000"/>
              </a:lnSpc>
              <a:spcAft>
                <a:spcPts val="1800"/>
              </a:spcAft>
              <a:buClr>
                <a:schemeClr val="accent3"/>
              </a:buClr>
              <a:buSzPct val="65000"/>
              <a:buFont typeface="Arial" panose="020B0604020202020204" pitchFamily="34" charset="0"/>
              <a:buChar char="►"/>
            </a:pPr>
            <a:r>
              <a:rPr lang="en-GB" sz="1300" dirty="0">
                <a:latin typeface="Montserrat" pitchFamily="2" charset="77"/>
              </a:rPr>
              <a:t>Opportunities for further increase in turnover after transferring instruments from MTF to the regulated market;</a:t>
            </a:r>
          </a:p>
        </p:txBody>
      </p:sp>
      <p:pic>
        <p:nvPicPr>
          <p:cNvPr id="4" name="Graphic 3">
            <a:extLst>
              <a:ext uri="{FF2B5EF4-FFF2-40B4-BE49-F238E27FC236}">
                <a16:creationId xmlns:a16="http://schemas.microsoft.com/office/drawing/2014/main" id="{8604C9FB-3E17-6D4D-B727-10BFA96CD60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89574" y="6250285"/>
            <a:ext cx="1869767" cy="339376"/>
          </a:xfrm>
          <a:prstGeom prst="rect">
            <a:avLst/>
          </a:prstGeom>
        </p:spPr>
      </p:pic>
      <p:graphicFrame>
        <p:nvGraphicFramePr>
          <p:cNvPr id="6" name="Chart 5">
            <a:extLst>
              <a:ext uri="{FF2B5EF4-FFF2-40B4-BE49-F238E27FC236}">
                <a16:creationId xmlns:a16="http://schemas.microsoft.com/office/drawing/2014/main" id="{75C50B79-27C6-8E48-BF40-9FBF3D046DA4}"/>
              </a:ext>
            </a:extLst>
          </p:cNvPr>
          <p:cNvGraphicFramePr>
            <a:graphicFrameLocks/>
          </p:cNvGraphicFramePr>
          <p:nvPr>
            <p:extLst>
              <p:ext uri="{D42A27DB-BD31-4B8C-83A1-F6EECF244321}">
                <p14:modId xmlns:p14="http://schemas.microsoft.com/office/powerpoint/2010/main" val="1938176789"/>
              </p:ext>
            </p:extLst>
          </p:nvPr>
        </p:nvGraphicFramePr>
        <p:xfrm>
          <a:off x="5331384" y="1477108"/>
          <a:ext cx="6256020" cy="410977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712508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78623" y="282889"/>
            <a:ext cx="3195242" cy="249299"/>
          </a:xfrm>
        </p:spPr>
        <p:txBody>
          <a:bodyPr wrap="square" lIns="0" tIns="0" rIns="0" bIns="0" anchor="t">
            <a:spAutoFit/>
          </a:bodyPr>
          <a:lstStyle/>
          <a:p>
            <a:r>
              <a:rPr lang="en-GB" sz="1800" b="0" dirty="0" err="1">
                <a:solidFill>
                  <a:schemeClr val="accent3"/>
                </a:solidFill>
                <a:latin typeface="Montserrat" pitchFamily="2" charset="77"/>
              </a:rPr>
              <a:t>EuroBridge</a:t>
            </a:r>
            <a:r>
              <a:rPr lang="en-GB" sz="1800" b="0" dirty="0">
                <a:solidFill>
                  <a:schemeClr val="accent3"/>
                </a:solidFill>
                <a:latin typeface="Montserrat" pitchFamily="2" charset="77"/>
              </a:rPr>
              <a:t> Market</a:t>
            </a:r>
            <a:r>
              <a:rPr lang="bg-BG" sz="1800" b="0" dirty="0">
                <a:solidFill>
                  <a:schemeClr val="accent3"/>
                </a:solidFill>
                <a:latin typeface="Montserrat" pitchFamily="2" charset="77"/>
              </a:rPr>
              <a:t> </a:t>
            </a:r>
            <a:r>
              <a:rPr lang="en-GB" sz="1800" b="0" dirty="0">
                <a:solidFill>
                  <a:schemeClr val="accent3"/>
                </a:solidFill>
                <a:latin typeface="Montserrat" pitchFamily="2" charset="77"/>
              </a:rPr>
              <a:t>(1/</a:t>
            </a:r>
            <a:r>
              <a:rPr lang="bg-BG" sz="1800" b="0" dirty="0">
                <a:solidFill>
                  <a:schemeClr val="accent3"/>
                </a:solidFill>
                <a:latin typeface="Montserrat" pitchFamily="2" charset="77"/>
              </a:rPr>
              <a:t>2</a:t>
            </a:r>
            <a:r>
              <a:rPr lang="en-GB" sz="1800" b="0" dirty="0">
                <a:solidFill>
                  <a:schemeClr val="accent3"/>
                </a:solidFill>
                <a:latin typeface="Montserrat" pitchFamily="2" charset="77"/>
              </a:rPr>
              <a:t>)</a:t>
            </a:r>
            <a:endParaRPr lang="en-GB" sz="1800" b="0" dirty="0">
              <a:solidFill>
                <a:schemeClr val="accent3"/>
              </a:solidFill>
              <a:effectLst>
                <a:outerShdw blurRad="38100" dist="38100" dir="2700000" algn="tl">
                  <a:srgbClr val="000000">
                    <a:alpha val="43137"/>
                  </a:srgbClr>
                </a:outerShdw>
              </a:effectLst>
              <a:latin typeface="Montserrat" pitchFamily="2" charset="77"/>
            </a:endParaRPr>
          </a:p>
        </p:txBody>
      </p:sp>
      <p:sp>
        <p:nvSpPr>
          <p:cNvPr id="5" name="Rectangle 4"/>
          <p:cNvSpPr/>
          <p:nvPr/>
        </p:nvSpPr>
        <p:spPr>
          <a:xfrm>
            <a:off x="385775" y="1891723"/>
            <a:ext cx="1962000" cy="720000"/>
          </a:xfrm>
          <a:prstGeom prst="rect">
            <a:avLst/>
          </a:prstGeom>
          <a:solidFill>
            <a:schemeClr val="accent5">
              <a:lumMod val="20000"/>
              <a:lumOff val="80000"/>
            </a:schemeClr>
          </a:solidFill>
          <a:ln>
            <a:solidFill>
              <a:schemeClr val="bg2">
                <a:lumMod val="75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bg-BG" sz="2400" b="1" i="0" u="none" strike="noStrike" kern="1200" cap="none" spc="0" normalizeH="0" baseline="0" noProof="0" dirty="0">
                <a:ln>
                  <a:noFill/>
                </a:ln>
                <a:solidFill>
                  <a:schemeClr val="tx1"/>
                </a:solidFill>
                <a:effectLst/>
                <a:uLnTx/>
                <a:uFillTx/>
                <a:latin typeface="Montserrat SemiBold" pitchFamily="2" charset="77"/>
                <a:ea typeface="+mn-ea"/>
                <a:cs typeface="+mn-cs"/>
              </a:rPr>
              <a:t>Т7®</a:t>
            </a:r>
            <a:endParaRPr kumimoji="0" lang="en-US" sz="2400" b="1" i="0" u="none" strike="noStrike" kern="1200" cap="none" spc="0" normalizeH="0" baseline="0" noProof="0" dirty="0">
              <a:ln>
                <a:noFill/>
              </a:ln>
              <a:solidFill>
                <a:schemeClr val="tx1"/>
              </a:solidFill>
              <a:effectLst/>
              <a:uLnTx/>
              <a:uFillTx/>
              <a:latin typeface="Montserrat SemiBold" pitchFamily="2" charset="77"/>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i="0" u="none" strike="noStrike" kern="1200" cap="none" spc="0" normalizeH="0" baseline="0" noProof="0" dirty="0">
                <a:ln>
                  <a:noFill/>
                </a:ln>
                <a:solidFill>
                  <a:schemeClr val="tx1"/>
                </a:solidFill>
                <a:effectLst/>
                <a:uLnTx/>
                <a:uFillTx/>
                <a:latin typeface="Montserrat" pitchFamily="2" charset="77"/>
              </a:rPr>
              <a:t>FSE </a:t>
            </a:r>
            <a:r>
              <a:rPr kumimoji="0" lang="en-GB" sz="1100" i="0" u="none" strike="noStrike" kern="1200" cap="none" spc="0" normalizeH="0" baseline="0" noProof="0" dirty="0" err="1">
                <a:ln>
                  <a:noFill/>
                </a:ln>
                <a:solidFill>
                  <a:schemeClr val="tx1"/>
                </a:solidFill>
                <a:effectLst/>
                <a:uLnTx/>
                <a:uFillTx/>
                <a:latin typeface="Montserrat" pitchFamily="2" charset="77"/>
              </a:rPr>
              <a:t>Xetra</a:t>
            </a:r>
            <a:endParaRPr kumimoji="0" lang="en-GB" sz="1100" i="0" u="none" strike="noStrike" kern="1200" cap="none" spc="0" normalizeH="0" baseline="0" noProof="0" dirty="0">
              <a:ln>
                <a:noFill/>
              </a:ln>
              <a:solidFill>
                <a:schemeClr val="tx1"/>
              </a:solidFill>
              <a:effectLst/>
              <a:uLnTx/>
              <a:uFillTx/>
              <a:latin typeface="Montserrat" pitchFamily="2" charset="77"/>
            </a:endParaRPr>
          </a:p>
        </p:txBody>
      </p:sp>
      <p:sp>
        <p:nvSpPr>
          <p:cNvPr id="6" name="Rectangle 5"/>
          <p:cNvSpPr/>
          <p:nvPr/>
        </p:nvSpPr>
        <p:spPr>
          <a:xfrm>
            <a:off x="3215321" y="1891723"/>
            <a:ext cx="2016000" cy="72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200" b="1" dirty="0">
                <a:latin typeface="Montserrat SemiBold" pitchFamily="2" charset="77"/>
              </a:rPr>
              <a:t>Bulgarian public company</a:t>
            </a:r>
            <a:endParaRPr lang="en-GB" sz="1200" b="1" dirty="0">
              <a:solidFill>
                <a:schemeClr val="tx2"/>
              </a:solidFill>
              <a:latin typeface="Montserrat SemiBold" pitchFamily="2" charset="77"/>
            </a:endParaRPr>
          </a:p>
        </p:txBody>
      </p:sp>
      <p:cxnSp>
        <p:nvCxnSpPr>
          <p:cNvPr id="10" name="Straight Arrow Connector 9"/>
          <p:cNvCxnSpPr>
            <a:cxnSpLocks/>
            <a:stCxn id="6" idx="1"/>
            <a:endCxn id="5" idx="3"/>
          </p:cNvCxnSpPr>
          <p:nvPr/>
        </p:nvCxnSpPr>
        <p:spPr>
          <a:xfrm flipH="1">
            <a:off x="2347775" y="2251723"/>
            <a:ext cx="867546" cy="0"/>
          </a:xfrm>
          <a:prstGeom prst="straightConnector1">
            <a:avLst/>
          </a:prstGeom>
          <a:ln>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1028" name="Picture 4" descr="http://www.caceis.de/fileadmin/templates/images/caceis.gif">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87500" y="-630238"/>
            <a:ext cx="2286000" cy="66675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caceis.de/fileadmin/templates/images/caceis.gif">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39900" y="-477838"/>
            <a:ext cx="2286000" cy="66675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www.caceis.de/fileadmin/templates/images/caceis.gif">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92300" y="-325438"/>
            <a:ext cx="2286000" cy="666751"/>
          </a:xfrm>
          <a:prstGeom prst="rect">
            <a:avLst/>
          </a:prstGeom>
          <a:noFill/>
          <a:extLst>
            <a:ext uri="{909E8E84-426E-40DD-AFC4-6F175D3DCCD1}">
              <a14:hiddenFill xmlns:a14="http://schemas.microsoft.com/office/drawing/2010/main">
                <a:solidFill>
                  <a:srgbClr val="FFFFFF"/>
                </a:solidFill>
              </a14:hiddenFill>
            </a:ext>
          </a:extLst>
        </p:spPr>
      </p:pic>
      <p:sp>
        <p:nvSpPr>
          <p:cNvPr id="174" name="Rectangle 173"/>
          <p:cNvSpPr/>
          <p:nvPr/>
        </p:nvSpPr>
        <p:spPr>
          <a:xfrm>
            <a:off x="6096000" y="1891723"/>
            <a:ext cx="1958400" cy="720000"/>
          </a:xfrm>
          <a:prstGeom prst="rect">
            <a:avLst/>
          </a:prstGeom>
          <a:solidFill>
            <a:schemeClr val="accent5">
              <a:lumMod val="20000"/>
              <a:lumOff val="80000"/>
            </a:schemeClr>
          </a:solidFill>
          <a:ln>
            <a:solidFill>
              <a:schemeClr val="bg2">
                <a:lumMod val="75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algn="ctr"/>
            <a:r>
              <a:rPr lang="en-GB" sz="1400" b="1" dirty="0" err="1">
                <a:latin typeface="Montserrat SemiBold" pitchFamily="2" charset="77"/>
              </a:rPr>
              <a:t>EuroBridge</a:t>
            </a:r>
            <a:r>
              <a:rPr lang="en-GB" sz="1400" b="1" dirty="0">
                <a:latin typeface="Montserrat SemiBold" pitchFamily="2" charset="77"/>
              </a:rPr>
              <a:t> Market</a:t>
            </a:r>
          </a:p>
        </p:txBody>
      </p:sp>
      <p:cxnSp>
        <p:nvCxnSpPr>
          <p:cNvPr id="12" name="Straight Arrow Connector 11">
            <a:extLst>
              <a:ext uri="{FF2B5EF4-FFF2-40B4-BE49-F238E27FC236}">
                <a16:creationId xmlns:a16="http://schemas.microsoft.com/office/drawing/2014/main" id="{964F123D-3CF4-CE99-ECB1-A781DB744CE4}"/>
              </a:ext>
            </a:extLst>
          </p:cNvPr>
          <p:cNvCxnSpPr>
            <a:cxnSpLocks/>
            <a:stCxn id="6" idx="3"/>
            <a:endCxn id="174" idx="1"/>
          </p:cNvCxnSpPr>
          <p:nvPr/>
        </p:nvCxnSpPr>
        <p:spPr>
          <a:xfrm>
            <a:off x="5231321" y="2251723"/>
            <a:ext cx="864679" cy="0"/>
          </a:xfrm>
          <a:prstGeom prst="straightConnector1">
            <a:avLst/>
          </a:prstGeom>
          <a:ln>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D2E8F682-DAB1-85A9-2803-C1B69B5913D0}"/>
              </a:ext>
            </a:extLst>
          </p:cNvPr>
          <p:cNvSpPr txBox="1"/>
          <p:nvPr/>
        </p:nvSpPr>
        <p:spPr>
          <a:xfrm>
            <a:off x="5357260" y="2298198"/>
            <a:ext cx="612800" cy="138499"/>
          </a:xfrm>
          <a:prstGeom prst="rect">
            <a:avLst/>
          </a:prstGeom>
          <a:noFill/>
        </p:spPr>
        <p:txBody>
          <a:bodyPr wrap="square" lIns="0" tIns="0" rIns="0" bIns="0" rtlCol="0">
            <a:spAutoFit/>
          </a:bodyPr>
          <a:lstStyle/>
          <a:p>
            <a:pPr algn="ctr"/>
            <a:r>
              <a:rPr lang="en-GB" sz="900" dirty="0">
                <a:latin typeface="Montserrat" pitchFamily="2" charset="77"/>
                <a:cs typeface="Arial" pitchFamily="34" charset="0"/>
              </a:rPr>
              <a:t>Listed</a:t>
            </a:r>
          </a:p>
        </p:txBody>
      </p:sp>
      <p:cxnSp>
        <p:nvCxnSpPr>
          <p:cNvPr id="20" name="Straight Arrow Connector 19">
            <a:extLst>
              <a:ext uri="{FF2B5EF4-FFF2-40B4-BE49-F238E27FC236}">
                <a16:creationId xmlns:a16="http://schemas.microsoft.com/office/drawing/2014/main" id="{DCC0A24F-9B16-9BF4-953D-DEBF6D4293C9}"/>
              </a:ext>
            </a:extLst>
          </p:cNvPr>
          <p:cNvCxnSpPr>
            <a:cxnSpLocks/>
            <a:stCxn id="174" idx="2"/>
            <a:endCxn id="109" idx="0"/>
          </p:cNvCxnSpPr>
          <p:nvPr/>
        </p:nvCxnSpPr>
        <p:spPr>
          <a:xfrm>
            <a:off x="7075200" y="2611723"/>
            <a:ext cx="0" cy="2266723"/>
          </a:xfrm>
          <a:prstGeom prst="straightConnector1">
            <a:avLst/>
          </a:prstGeom>
          <a:ln>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A47BD431-C4F4-1525-0851-26CB6F903F45}"/>
              </a:ext>
            </a:extLst>
          </p:cNvPr>
          <p:cNvSpPr txBox="1"/>
          <p:nvPr/>
        </p:nvSpPr>
        <p:spPr>
          <a:xfrm>
            <a:off x="2873907" y="1436978"/>
            <a:ext cx="2712281" cy="184666"/>
          </a:xfrm>
          <a:prstGeom prst="rect">
            <a:avLst/>
          </a:prstGeom>
          <a:noFill/>
        </p:spPr>
        <p:txBody>
          <a:bodyPr wrap="none" lIns="0" tIns="0" rIns="0" bIns="0" rtlCol="0">
            <a:spAutoFit/>
          </a:bodyPr>
          <a:lstStyle/>
          <a:p>
            <a:pPr algn="ctr"/>
            <a:r>
              <a:rPr lang="en-GB" sz="1200" b="1" dirty="0">
                <a:latin typeface="Montserrat SemiBold" pitchFamily="2" charset="77"/>
              </a:rPr>
              <a:t>One procedure and one listing fee</a:t>
            </a:r>
          </a:p>
        </p:txBody>
      </p:sp>
      <p:sp>
        <p:nvSpPr>
          <p:cNvPr id="52" name="TextBox 51">
            <a:extLst>
              <a:ext uri="{FF2B5EF4-FFF2-40B4-BE49-F238E27FC236}">
                <a16:creationId xmlns:a16="http://schemas.microsoft.com/office/drawing/2014/main" id="{329B0AD2-EB8F-D938-18C7-CFE1DD9CF535}"/>
              </a:ext>
            </a:extLst>
          </p:cNvPr>
          <p:cNvSpPr txBox="1"/>
          <p:nvPr/>
        </p:nvSpPr>
        <p:spPr>
          <a:xfrm>
            <a:off x="2476581" y="2303518"/>
            <a:ext cx="612800" cy="138499"/>
          </a:xfrm>
          <a:prstGeom prst="rect">
            <a:avLst/>
          </a:prstGeom>
          <a:noFill/>
        </p:spPr>
        <p:txBody>
          <a:bodyPr wrap="square" lIns="0" tIns="0" rIns="0" bIns="0" rtlCol="0">
            <a:spAutoFit/>
          </a:bodyPr>
          <a:lstStyle/>
          <a:p>
            <a:pPr algn="ctr"/>
            <a:r>
              <a:rPr lang="en-GB" sz="900" dirty="0">
                <a:latin typeface="Montserrat" pitchFamily="2" charset="77"/>
                <a:cs typeface="Arial" pitchFamily="34" charset="0"/>
              </a:rPr>
              <a:t>Listed</a:t>
            </a:r>
          </a:p>
        </p:txBody>
      </p:sp>
      <p:sp>
        <p:nvSpPr>
          <p:cNvPr id="57" name="TextBox 56">
            <a:extLst>
              <a:ext uri="{FF2B5EF4-FFF2-40B4-BE49-F238E27FC236}">
                <a16:creationId xmlns:a16="http://schemas.microsoft.com/office/drawing/2014/main" id="{978243EA-DCA3-93D5-A000-8718B0E4052B}"/>
              </a:ext>
            </a:extLst>
          </p:cNvPr>
          <p:cNvSpPr txBox="1"/>
          <p:nvPr/>
        </p:nvSpPr>
        <p:spPr>
          <a:xfrm>
            <a:off x="6434006" y="1436978"/>
            <a:ext cx="1282388" cy="138499"/>
          </a:xfrm>
          <a:prstGeom prst="rect">
            <a:avLst/>
          </a:prstGeom>
          <a:noFill/>
        </p:spPr>
        <p:txBody>
          <a:bodyPr wrap="square" lIns="0" tIns="0" rIns="0" bIns="0" rtlCol="0">
            <a:spAutoFit/>
          </a:bodyPr>
          <a:lstStyle/>
          <a:p>
            <a:pPr algn="ctr"/>
            <a:r>
              <a:rPr lang="en-GB" sz="900" b="1" dirty="0">
                <a:latin typeface="Montserrat SemiBold" pitchFamily="2" charset="77"/>
              </a:rPr>
              <a:t>Bulgarian investors</a:t>
            </a:r>
          </a:p>
        </p:txBody>
      </p:sp>
      <p:cxnSp>
        <p:nvCxnSpPr>
          <p:cNvPr id="72" name="Straight Arrow Connector 71">
            <a:extLst>
              <a:ext uri="{FF2B5EF4-FFF2-40B4-BE49-F238E27FC236}">
                <a16:creationId xmlns:a16="http://schemas.microsoft.com/office/drawing/2014/main" id="{3FA9D00B-E61E-039E-F1B2-21FD8325AE99}"/>
              </a:ext>
            </a:extLst>
          </p:cNvPr>
          <p:cNvCxnSpPr>
            <a:cxnSpLocks/>
            <a:stCxn id="174" idx="2"/>
            <a:endCxn id="69" idx="0"/>
          </p:cNvCxnSpPr>
          <p:nvPr/>
        </p:nvCxnSpPr>
        <p:spPr>
          <a:xfrm flipH="1">
            <a:off x="5272503" y="2611723"/>
            <a:ext cx="1802697" cy="683362"/>
          </a:xfrm>
          <a:prstGeom prst="straightConnector1">
            <a:avLst/>
          </a:prstGeom>
          <a:ln>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FE2E81BF-CBEC-6518-88E8-C19879109590}"/>
              </a:ext>
            </a:extLst>
          </p:cNvPr>
          <p:cNvCxnSpPr>
            <a:cxnSpLocks/>
            <a:stCxn id="5" idx="2"/>
            <a:endCxn id="51" idx="0"/>
          </p:cNvCxnSpPr>
          <p:nvPr/>
        </p:nvCxnSpPr>
        <p:spPr>
          <a:xfrm>
            <a:off x="1366775" y="2611723"/>
            <a:ext cx="1805565" cy="683362"/>
          </a:xfrm>
          <a:prstGeom prst="straightConnector1">
            <a:avLst/>
          </a:prstGeom>
          <a:ln>
            <a:solidFill>
              <a:schemeClr val="accent3"/>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7D3519E5-EDD8-228F-D9F4-7938F81B73A2}"/>
              </a:ext>
            </a:extLst>
          </p:cNvPr>
          <p:cNvCxnSpPr>
            <a:cxnSpLocks/>
            <a:stCxn id="113" idx="3"/>
          </p:cNvCxnSpPr>
          <p:nvPr/>
        </p:nvCxnSpPr>
        <p:spPr>
          <a:xfrm>
            <a:off x="5231321" y="5238446"/>
            <a:ext cx="1123879" cy="0"/>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E7420753-6695-C07F-BD39-5CDECBB12B28}"/>
              </a:ext>
            </a:extLst>
          </p:cNvPr>
          <p:cNvSpPr/>
          <p:nvPr/>
        </p:nvSpPr>
        <p:spPr>
          <a:xfrm>
            <a:off x="4262703" y="3295085"/>
            <a:ext cx="2019600" cy="900000"/>
          </a:xfrm>
          <a:prstGeom prst="rect">
            <a:avLst/>
          </a:prstGeom>
          <a:ln>
            <a:solidFill>
              <a:schemeClr val="bg2"/>
            </a:solidFill>
          </a:ln>
        </p:spPr>
        <p:style>
          <a:lnRef idx="2">
            <a:schemeClr val="dk1"/>
          </a:lnRef>
          <a:fillRef idx="1">
            <a:schemeClr val="lt1"/>
          </a:fillRef>
          <a:effectRef idx="0">
            <a:schemeClr val="dk1"/>
          </a:effectRef>
          <a:fontRef idx="minor">
            <a:schemeClr val="dk1"/>
          </a:fontRef>
        </p:style>
        <p:txBody>
          <a:bodyPr rtlCol="0" anchor="t" anchorCtr="0">
            <a:spAutoFit/>
          </a:bodyPr>
          <a:lstStyle/>
          <a:p>
            <a:pPr>
              <a:lnSpc>
                <a:spcPct val="130000"/>
              </a:lnSpc>
            </a:pPr>
            <a:r>
              <a:rPr lang="en-GB" sz="900" b="1" dirty="0">
                <a:latin typeface="Montserrat SemiBold" pitchFamily="2" charset="77"/>
              </a:rPr>
              <a:t>BSE additional requirements:</a:t>
            </a:r>
            <a:endParaRPr lang="en-US" sz="900" b="1" dirty="0">
              <a:latin typeface="Montserrat SemiBold" pitchFamily="2" charset="77"/>
            </a:endParaRPr>
          </a:p>
          <a:p>
            <a:pPr marL="171450" indent="-171450">
              <a:lnSpc>
                <a:spcPct val="130000"/>
              </a:lnSpc>
              <a:buClr>
                <a:schemeClr val="accent5"/>
              </a:buClr>
              <a:buSzPct val="75000"/>
              <a:buFont typeface="System Font Regular"/>
              <a:buChar char="►"/>
            </a:pPr>
            <a:r>
              <a:rPr lang="en-GB" sz="900" dirty="0">
                <a:latin typeface="Montserrat" pitchFamily="2" charset="77"/>
              </a:rPr>
              <a:t>Trading in EUR; </a:t>
            </a:r>
            <a:endParaRPr lang="bg-BG" sz="900" dirty="0">
              <a:latin typeface="Montserrat" pitchFamily="2" charset="77"/>
            </a:endParaRPr>
          </a:p>
          <a:p>
            <a:pPr marL="171450" indent="-171450">
              <a:lnSpc>
                <a:spcPct val="130000"/>
              </a:lnSpc>
              <a:buClr>
                <a:schemeClr val="accent5"/>
              </a:buClr>
              <a:buSzPct val="75000"/>
              <a:buFont typeface="System Font Regular"/>
              <a:buChar char="►"/>
            </a:pPr>
            <a:r>
              <a:rPr lang="en-GB" sz="900" dirty="0">
                <a:latin typeface="Montserrat" pitchFamily="2" charset="77"/>
              </a:rPr>
              <a:t>Handling of corporate actions in euro</a:t>
            </a:r>
          </a:p>
        </p:txBody>
      </p:sp>
      <p:sp>
        <p:nvSpPr>
          <p:cNvPr id="51" name="Rectangle 50">
            <a:extLst>
              <a:ext uri="{FF2B5EF4-FFF2-40B4-BE49-F238E27FC236}">
                <a16:creationId xmlns:a16="http://schemas.microsoft.com/office/drawing/2014/main" id="{A4BCE1B0-E892-7A46-B827-E0DE60A4384B}"/>
              </a:ext>
            </a:extLst>
          </p:cNvPr>
          <p:cNvSpPr/>
          <p:nvPr/>
        </p:nvSpPr>
        <p:spPr>
          <a:xfrm>
            <a:off x="2164340" y="3295085"/>
            <a:ext cx="2016000" cy="900000"/>
          </a:xfrm>
          <a:prstGeom prst="rect">
            <a:avLst/>
          </a:prstGeom>
          <a:ln>
            <a:solidFill>
              <a:schemeClr val="bg2"/>
            </a:solidFill>
          </a:ln>
        </p:spPr>
        <p:style>
          <a:lnRef idx="2">
            <a:schemeClr val="dk1"/>
          </a:lnRef>
          <a:fillRef idx="1">
            <a:schemeClr val="lt1"/>
          </a:fillRef>
          <a:effectRef idx="0">
            <a:schemeClr val="dk1"/>
          </a:effectRef>
          <a:fontRef idx="minor">
            <a:schemeClr val="dk1"/>
          </a:fontRef>
        </p:style>
        <p:txBody>
          <a:bodyPr rtlCol="0" anchor="t" anchorCtr="0">
            <a:noAutofit/>
          </a:bodyPr>
          <a:lstStyle/>
          <a:p>
            <a:pPr>
              <a:lnSpc>
                <a:spcPct val="130000"/>
              </a:lnSpc>
            </a:pPr>
            <a:r>
              <a:rPr lang="en-GB" sz="900" b="1" dirty="0">
                <a:latin typeface="Montserrat SemiBold" pitchFamily="2" charset="77"/>
              </a:rPr>
              <a:t>FSE </a:t>
            </a:r>
            <a:r>
              <a:rPr lang="en-GB" sz="900" b="1" dirty="0" err="1">
                <a:latin typeface="Montserrat SemiBold" pitchFamily="2" charset="77"/>
              </a:rPr>
              <a:t>Xetra</a:t>
            </a:r>
            <a:r>
              <a:rPr lang="en-GB" sz="900" b="1" dirty="0">
                <a:latin typeface="Montserrat SemiBold" pitchFamily="2" charset="77"/>
              </a:rPr>
              <a:t> additional requirements :</a:t>
            </a:r>
            <a:endParaRPr lang="en-US" sz="900" b="1" dirty="0">
              <a:latin typeface="Montserrat SemiBold" pitchFamily="2" charset="77"/>
            </a:endParaRPr>
          </a:p>
          <a:p>
            <a:pPr marL="171450" indent="-171450">
              <a:lnSpc>
                <a:spcPct val="130000"/>
              </a:lnSpc>
              <a:buClr>
                <a:schemeClr val="accent5"/>
              </a:buClr>
              <a:buSzPct val="75000"/>
              <a:buFont typeface="System Font Regular"/>
              <a:buChar char="►"/>
            </a:pPr>
            <a:r>
              <a:rPr lang="en-GB" sz="900" dirty="0"/>
              <a:t>Designated sponsor</a:t>
            </a:r>
            <a:endParaRPr lang="en-GB" sz="900" dirty="0">
              <a:latin typeface="Montserrat" pitchFamily="2" charset="77"/>
            </a:endParaRPr>
          </a:p>
        </p:txBody>
      </p:sp>
      <p:sp>
        <p:nvSpPr>
          <p:cNvPr id="75" name="TextBox 74">
            <a:extLst>
              <a:ext uri="{FF2B5EF4-FFF2-40B4-BE49-F238E27FC236}">
                <a16:creationId xmlns:a16="http://schemas.microsoft.com/office/drawing/2014/main" id="{7612B506-4500-594B-9678-6DC4911651C1}"/>
              </a:ext>
            </a:extLst>
          </p:cNvPr>
          <p:cNvSpPr txBox="1"/>
          <p:nvPr/>
        </p:nvSpPr>
        <p:spPr>
          <a:xfrm>
            <a:off x="385775" y="1436978"/>
            <a:ext cx="1960026" cy="138499"/>
          </a:xfrm>
          <a:prstGeom prst="rect">
            <a:avLst/>
          </a:prstGeom>
          <a:noFill/>
        </p:spPr>
        <p:txBody>
          <a:bodyPr wrap="square" lIns="0" tIns="0" rIns="0" bIns="0" rtlCol="0">
            <a:spAutoFit/>
          </a:bodyPr>
          <a:lstStyle/>
          <a:p>
            <a:pPr algn="ctr"/>
            <a:r>
              <a:rPr lang="en-GB" sz="900" b="1" dirty="0">
                <a:latin typeface="Montserrat SemiBold" pitchFamily="2" charset="77"/>
              </a:rPr>
              <a:t>Global institutional investors</a:t>
            </a:r>
          </a:p>
        </p:txBody>
      </p:sp>
      <p:sp>
        <p:nvSpPr>
          <p:cNvPr id="104" name="TextBox 103">
            <a:extLst>
              <a:ext uri="{FF2B5EF4-FFF2-40B4-BE49-F238E27FC236}">
                <a16:creationId xmlns:a16="http://schemas.microsoft.com/office/drawing/2014/main" id="{3419EAC5-7B74-F24B-A296-88BCC3794437}"/>
              </a:ext>
            </a:extLst>
          </p:cNvPr>
          <p:cNvSpPr txBox="1"/>
          <p:nvPr/>
        </p:nvSpPr>
        <p:spPr>
          <a:xfrm rot="16200000">
            <a:off x="6836125" y="3406072"/>
            <a:ext cx="859106" cy="138499"/>
          </a:xfrm>
          <a:prstGeom prst="rect">
            <a:avLst/>
          </a:prstGeom>
          <a:noFill/>
        </p:spPr>
        <p:txBody>
          <a:bodyPr wrap="square" lIns="0" tIns="0" rIns="0" bIns="0" rtlCol="0">
            <a:spAutoFit/>
          </a:bodyPr>
          <a:lstStyle/>
          <a:p>
            <a:pPr algn="ctr"/>
            <a:r>
              <a:rPr lang="en-GB" sz="900" dirty="0">
                <a:latin typeface="Montserrat" pitchFamily="2" charset="77"/>
                <a:cs typeface="Arial" pitchFamily="34" charset="0"/>
              </a:rPr>
              <a:t>Settlement</a:t>
            </a:r>
          </a:p>
        </p:txBody>
      </p:sp>
      <p:sp>
        <p:nvSpPr>
          <p:cNvPr id="109" name="Rectangle 108">
            <a:extLst>
              <a:ext uri="{FF2B5EF4-FFF2-40B4-BE49-F238E27FC236}">
                <a16:creationId xmlns:a16="http://schemas.microsoft.com/office/drawing/2014/main" id="{84E2DA95-5D35-7848-B2D3-86259197B1BD}"/>
              </a:ext>
            </a:extLst>
          </p:cNvPr>
          <p:cNvSpPr/>
          <p:nvPr/>
        </p:nvSpPr>
        <p:spPr>
          <a:xfrm>
            <a:off x="6096000" y="4878446"/>
            <a:ext cx="1958400" cy="720000"/>
          </a:xfrm>
          <a:prstGeom prst="rect">
            <a:avLst/>
          </a:prstGeom>
          <a:solidFill>
            <a:schemeClr val="accent6">
              <a:lumMod val="20000"/>
              <a:lumOff val="80000"/>
            </a:schemeClr>
          </a:solidFill>
          <a:ln>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t" anchorCtr="0"/>
          <a:lstStyle/>
          <a:p>
            <a:pPr algn="ctr"/>
            <a:endParaRPr lang="en-GB" sz="1000" dirty="0">
              <a:highlight>
                <a:srgbClr val="FFFF00"/>
              </a:highlight>
            </a:endParaRPr>
          </a:p>
        </p:txBody>
      </p:sp>
      <p:sp>
        <p:nvSpPr>
          <p:cNvPr id="113" name="Rectangle 112">
            <a:extLst>
              <a:ext uri="{FF2B5EF4-FFF2-40B4-BE49-F238E27FC236}">
                <a16:creationId xmlns:a16="http://schemas.microsoft.com/office/drawing/2014/main" id="{4DC486FC-AF6A-E841-90E1-76E8C2DA2D28}"/>
              </a:ext>
            </a:extLst>
          </p:cNvPr>
          <p:cNvSpPr/>
          <p:nvPr/>
        </p:nvSpPr>
        <p:spPr>
          <a:xfrm>
            <a:off x="3211721" y="4878446"/>
            <a:ext cx="2019600" cy="720000"/>
          </a:xfrm>
          <a:prstGeom prst="rect">
            <a:avLst/>
          </a:prstGeom>
          <a:solidFill>
            <a:schemeClr val="accent6">
              <a:lumMod val="20000"/>
              <a:lumOff val="80000"/>
            </a:schemeClr>
          </a:solidFill>
          <a:ln>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t" anchorCtr="0"/>
          <a:lstStyle/>
          <a:p>
            <a:pPr algn="ctr"/>
            <a:endParaRPr lang="en-GB" sz="1000" dirty="0">
              <a:highlight>
                <a:srgbClr val="FFFF00"/>
              </a:highlight>
            </a:endParaRPr>
          </a:p>
        </p:txBody>
      </p:sp>
      <p:sp>
        <p:nvSpPr>
          <p:cNvPr id="120" name="Rectangle 119">
            <a:extLst>
              <a:ext uri="{FF2B5EF4-FFF2-40B4-BE49-F238E27FC236}">
                <a16:creationId xmlns:a16="http://schemas.microsoft.com/office/drawing/2014/main" id="{F7DFF919-B6D8-1D46-864F-8CAB94B98A11}"/>
              </a:ext>
            </a:extLst>
          </p:cNvPr>
          <p:cNvSpPr/>
          <p:nvPr/>
        </p:nvSpPr>
        <p:spPr>
          <a:xfrm>
            <a:off x="383801" y="4878446"/>
            <a:ext cx="1962000" cy="720000"/>
          </a:xfrm>
          <a:prstGeom prst="rect">
            <a:avLst/>
          </a:prstGeom>
          <a:solidFill>
            <a:schemeClr val="accent6">
              <a:lumMod val="20000"/>
              <a:lumOff val="80000"/>
            </a:schemeClr>
          </a:solidFill>
          <a:ln>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b" anchorCtr="0"/>
          <a:lstStyle/>
          <a:p>
            <a:pPr algn="ctr"/>
            <a:r>
              <a:rPr lang="en-GB" sz="1000" dirty="0" err="1">
                <a:latin typeface="Montserrat" pitchFamily="2" charset="77"/>
              </a:rPr>
              <a:t>Eurex</a:t>
            </a:r>
            <a:r>
              <a:rPr lang="en-GB" sz="1000" dirty="0">
                <a:latin typeface="Montserrat" pitchFamily="2" charset="77"/>
              </a:rPr>
              <a:t> Clearing</a:t>
            </a:r>
          </a:p>
        </p:txBody>
      </p:sp>
      <p:grpSp>
        <p:nvGrpSpPr>
          <p:cNvPr id="115" name="Graphic 120">
            <a:extLst>
              <a:ext uri="{FF2B5EF4-FFF2-40B4-BE49-F238E27FC236}">
                <a16:creationId xmlns:a16="http://schemas.microsoft.com/office/drawing/2014/main" id="{AA8A8806-DC8C-4E4E-AFF1-A71BA5236EEA}"/>
              </a:ext>
            </a:extLst>
          </p:cNvPr>
          <p:cNvGrpSpPr/>
          <p:nvPr/>
        </p:nvGrpSpPr>
        <p:grpSpPr>
          <a:xfrm>
            <a:off x="1128953" y="5005715"/>
            <a:ext cx="475645" cy="321627"/>
            <a:chOff x="11007716" y="6228476"/>
            <a:chExt cx="583013" cy="394228"/>
          </a:xfrm>
          <a:solidFill>
            <a:schemeClr val="tx1"/>
          </a:solidFill>
        </p:grpSpPr>
        <p:sp>
          <p:nvSpPr>
            <p:cNvPr id="116" name="Freeform 115">
              <a:extLst>
                <a:ext uri="{FF2B5EF4-FFF2-40B4-BE49-F238E27FC236}">
                  <a16:creationId xmlns:a16="http://schemas.microsoft.com/office/drawing/2014/main" id="{487D6D38-5122-6946-8138-03A58867329E}"/>
                </a:ext>
              </a:extLst>
            </p:cNvPr>
            <p:cNvSpPr/>
            <p:nvPr/>
          </p:nvSpPr>
          <p:spPr>
            <a:xfrm>
              <a:off x="11007716" y="6237626"/>
              <a:ext cx="247952" cy="375991"/>
            </a:xfrm>
            <a:custGeom>
              <a:avLst/>
              <a:gdLst>
                <a:gd name="connsiteX0" fmla="*/ 60691 w 247952"/>
                <a:gd name="connsiteY0" fmla="*/ 56064 h 375991"/>
                <a:gd name="connsiteX1" fmla="*/ 60691 w 247952"/>
                <a:gd name="connsiteY1" fmla="*/ 319859 h 375991"/>
                <a:gd name="connsiteX2" fmla="*/ 219826 w 247952"/>
                <a:gd name="connsiteY2" fmla="*/ 319859 h 375991"/>
                <a:gd name="connsiteX3" fmla="*/ 247885 w 247952"/>
                <a:gd name="connsiteY3" fmla="*/ 347925 h 375991"/>
                <a:gd name="connsiteX4" fmla="*/ 247885 w 247952"/>
                <a:gd name="connsiteY4" fmla="*/ 347925 h 375991"/>
                <a:gd name="connsiteX5" fmla="*/ 219826 w 247952"/>
                <a:gd name="connsiteY5" fmla="*/ 375991 h 375991"/>
                <a:gd name="connsiteX6" fmla="*/ 0 w 247952"/>
                <a:gd name="connsiteY6" fmla="*/ 375991 h 375991"/>
                <a:gd name="connsiteX7" fmla="*/ 0 w 247952"/>
                <a:gd name="connsiteY7" fmla="*/ 0 h 375991"/>
                <a:gd name="connsiteX8" fmla="*/ 219894 w 247952"/>
                <a:gd name="connsiteY8" fmla="*/ 0 h 375991"/>
                <a:gd name="connsiteX9" fmla="*/ 247953 w 247952"/>
                <a:gd name="connsiteY9" fmla="*/ 28066 h 375991"/>
                <a:gd name="connsiteX10" fmla="*/ 247953 w 247952"/>
                <a:gd name="connsiteY10" fmla="*/ 28066 h 375991"/>
                <a:gd name="connsiteX11" fmla="*/ 219894 w 247952"/>
                <a:gd name="connsiteY11" fmla="*/ 56132 h 375991"/>
                <a:gd name="connsiteX12" fmla="*/ 60691 w 247952"/>
                <a:gd name="connsiteY12" fmla="*/ 56132 h 375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7952" h="375991">
                  <a:moveTo>
                    <a:pt x="60691" y="56064"/>
                  </a:moveTo>
                  <a:lnTo>
                    <a:pt x="60691" y="319859"/>
                  </a:lnTo>
                  <a:lnTo>
                    <a:pt x="219826" y="319859"/>
                  </a:lnTo>
                  <a:cubicBezTo>
                    <a:pt x="235323" y="319859"/>
                    <a:pt x="247885" y="332424"/>
                    <a:pt x="247885" y="347925"/>
                  </a:cubicBezTo>
                  <a:lnTo>
                    <a:pt x="247885" y="347925"/>
                  </a:lnTo>
                  <a:cubicBezTo>
                    <a:pt x="247885" y="363427"/>
                    <a:pt x="235323" y="375991"/>
                    <a:pt x="219826" y="375991"/>
                  </a:cubicBezTo>
                  <a:lnTo>
                    <a:pt x="0" y="375991"/>
                  </a:lnTo>
                  <a:lnTo>
                    <a:pt x="0" y="0"/>
                  </a:lnTo>
                  <a:lnTo>
                    <a:pt x="219894" y="0"/>
                  </a:lnTo>
                  <a:cubicBezTo>
                    <a:pt x="235391" y="0"/>
                    <a:pt x="247953" y="12565"/>
                    <a:pt x="247953" y="28066"/>
                  </a:cubicBezTo>
                  <a:lnTo>
                    <a:pt x="247953" y="28066"/>
                  </a:lnTo>
                  <a:cubicBezTo>
                    <a:pt x="247953" y="43567"/>
                    <a:pt x="235391" y="56132"/>
                    <a:pt x="219894" y="56132"/>
                  </a:cubicBezTo>
                  <a:lnTo>
                    <a:pt x="60691" y="56132"/>
                  </a:lnTo>
                  <a:close/>
                </a:path>
              </a:pathLst>
            </a:custGeom>
            <a:grpFill/>
            <a:ln w="0" cap="flat">
              <a:noFill/>
              <a:prstDash val="solid"/>
              <a:miter/>
            </a:ln>
          </p:spPr>
          <p:txBody>
            <a:bodyPr rtlCol="0" anchor="ctr"/>
            <a:lstStyle/>
            <a:p>
              <a:endParaRPr lang="en-BG"/>
            </a:p>
          </p:txBody>
        </p:sp>
        <p:sp>
          <p:nvSpPr>
            <p:cNvPr id="117" name="Freeform 116">
              <a:extLst>
                <a:ext uri="{FF2B5EF4-FFF2-40B4-BE49-F238E27FC236}">
                  <a16:creationId xmlns:a16="http://schemas.microsoft.com/office/drawing/2014/main" id="{DDB6B418-07BC-EC40-932F-1EF634864CFA}"/>
                </a:ext>
              </a:extLst>
            </p:cNvPr>
            <p:cNvSpPr/>
            <p:nvPr/>
          </p:nvSpPr>
          <p:spPr>
            <a:xfrm>
              <a:off x="11127118" y="6397556"/>
              <a:ext cx="142613" cy="56064"/>
            </a:xfrm>
            <a:custGeom>
              <a:avLst/>
              <a:gdLst>
                <a:gd name="connsiteX0" fmla="*/ 142614 w 142613"/>
                <a:gd name="connsiteY0" fmla="*/ 56064 h 56064"/>
                <a:gd name="connsiteX1" fmla="*/ 0 w 142613"/>
                <a:gd name="connsiteY1" fmla="*/ 56064 h 56064"/>
                <a:gd name="connsiteX2" fmla="*/ 0 w 142613"/>
                <a:gd name="connsiteY2" fmla="*/ 0 h 56064"/>
                <a:gd name="connsiteX3" fmla="*/ 142546 w 142613"/>
                <a:gd name="connsiteY3" fmla="*/ 0 h 56064"/>
                <a:gd name="connsiteX4" fmla="*/ 140771 w 142613"/>
                <a:gd name="connsiteY4" fmla="*/ 30115 h 56064"/>
                <a:gd name="connsiteX5" fmla="*/ 142546 w 142613"/>
                <a:gd name="connsiteY5" fmla="*/ 56064 h 5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613" h="56064">
                  <a:moveTo>
                    <a:pt x="142614" y="56064"/>
                  </a:moveTo>
                  <a:lnTo>
                    <a:pt x="0" y="56064"/>
                  </a:lnTo>
                  <a:lnTo>
                    <a:pt x="0" y="0"/>
                  </a:lnTo>
                  <a:lnTo>
                    <a:pt x="142546" y="0"/>
                  </a:lnTo>
                  <a:cubicBezTo>
                    <a:pt x="141317" y="9902"/>
                    <a:pt x="140702" y="19940"/>
                    <a:pt x="140771" y="30115"/>
                  </a:cubicBezTo>
                  <a:cubicBezTo>
                    <a:pt x="140839" y="38924"/>
                    <a:pt x="141453" y="47528"/>
                    <a:pt x="142546" y="56064"/>
                  </a:cubicBezTo>
                  <a:close/>
                </a:path>
              </a:pathLst>
            </a:custGeom>
            <a:grpFill/>
            <a:ln w="0" cap="flat">
              <a:noFill/>
              <a:prstDash val="solid"/>
              <a:miter/>
            </a:ln>
          </p:spPr>
          <p:txBody>
            <a:bodyPr rtlCol="0" anchor="ctr"/>
            <a:lstStyle/>
            <a:p>
              <a:endParaRPr lang="en-BG"/>
            </a:p>
          </p:txBody>
        </p:sp>
        <p:sp>
          <p:nvSpPr>
            <p:cNvPr id="118" name="Freeform 117">
              <a:extLst>
                <a:ext uri="{FF2B5EF4-FFF2-40B4-BE49-F238E27FC236}">
                  <a16:creationId xmlns:a16="http://schemas.microsoft.com/office/drawing/2014/main" id="{0E867772-F720-234D-927D-87FC57920A65}"/>
                </a:ext>
              </a:extLst>
            </p:cNvPr>
            <p:cNvSpPr/>
            <p:nvPr/>
          </p:nvSpPr>
          <p:spPr>
            <a:xfrm>
              <a:off x="11289727" y="6228476"/>
              <a:ext cx="301001" cy="394228"/>
            </a:xfrm>
            <a:custGeom>
              <a:avLst/>
              <a:gdLst>
                <a:gd name="connsiteX0" fmla="*/ 292813 w 301001"/>
                <a:gd name="connsiteY0" fmla="*/ 328395 h 394228"/>
                <a:gd name="connsiteX1" fmla="*/ 292813 w 301001"/>
                <a:gd name="connsiteY1" fmla="*/ 328395 h 394228"/>
                <a:gd name="connsiteX2" fmla="*/ 285508 w 301001"/>
                <a:gd name="connsiteY2" fmla="*/ 373328 h 394228"/>
                <a:gd name="connsiteX3" fmla="*/ 195939 w 301001"/>
                <a:gd name="connsiteY3" fmla="*/ 394224 h 394228"/>
                <a:gd name="connsiteX4" fmla="*/ 8 w 301001"/>
                <a:gd name="connsiteY4" fmla="*/ 198990 h 394228"/>
                <a:gd name="connsiteX5" fmla="*/ 57695 w 301001"/>
                <a:gd name="connsiteY5" fmla="*/ 57771 h 394228"/>
                <a:gd name="connsiteX6" fmla="*/ 197032 w 301001"/>
                <a:gd name="connsiteY6" fmla="*/ 0 h 394228"/>
                <a:gd name="connsiteX7" fmla="*/ 285508 w 301001"/>
                <a:gd name="connsiteY7" fmla="*/ 20964 h 394228"/>
                <a:gd name="connsiteX8" fmla="*/ 292813 w 301001"/>
                <a:gd name="connsiteY8" fmla="*/ 65898 h 394228"/>
                <a:gd name="connsiteX9" fmla="*/ 292813 w 301001"/>
                <a:gd name="connsiteY9" fmla="*/ 65898 h 394228"/>
                <a:gd name="connsiteX10" fmla="*/ 260454 w 301001"/>
                <a:gd name="connsiteY10" fmla="*/ 71156 h 394228"/>
                <a:gd name="connsiteX11" fmla="*/ 192389 w 301001"/>
                <a:gd name="connsiteY11" fmla="*/ 56201 h 394228"/>
                <a:gd name="connsiteX12" fmla="*/ 56125 w 301001"/>
                <a:gd name="connsiteY12" fmla="*/ 194415 h 394228"/>
                <a:gd name="connsiteX13" fmla="*/ 97427 w 301001"/>
                <a:gd name="connsiteY13" fmla="*/ 296914 h 394228"/>
                <a:gd name="connsiteX14" fmla="*/ 197168 w 301001"/>
                <a:gd name="connsiteY14" fmla="*/ 338228 h 394228"/>
                <a:gd name="connsiteX15" fmla="*/ 260385 w 301001"/>
                <a:gd name="connsiteY15" fmla="*/ 323342 h 394228"/>
                <a:gd name="connsiteX16" fmla="*/ 292950 w 301001"/>
                <a:gd name="connsiteY16" fmla="*/ 328463 h 394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1001" h="394228">
                  <a:moveTo>
                    <a:pt x="292813" y="328395"/>
                  </a:moveTo>
                  <a:lnTo>
                    <a:pt x="292813" y="328395"/>
                  </a:lnTo>
                  <a:cubicBezTo>
                    <a:pt x="306330" y="341916"/>
                    <a:pt x="302576" y="364724"/>
                    <a:pt x="285508" y="373328"/>
                  </a:cubicBezTo>
                  <a:cubicBezTo>
                    <a:pt x="258610" y="386849"/>
                    <a:pt x="228162" y="394429"/>
                    <a:pt x="195939" y="394224"/>
                  </a:cubicBezTo>
                  <a:cubicBezTo>
                    <a:pt x="88757" y="393610"/>
                    <a:pt x="1032" y="306202"/>
                    <a:pt x="8" y="198990"/>
                  </a:cubicBezTo>
                  <a:cubicBezTo>
                    <a:pt x="-470" y="143814"/>
                    <a:pt x="21649" y="93827"/>
                    <a:pt x="57695" y="57771"/>
                  </a:cubicBezTo>
                  <a:cubicBezTo>
                    <a:pt x="93331" y="22057"/>
                    <a:pt x="142621" y="0"/>
                    <a:pt x="197032" y="0"/>
                  </a:cubicBezTo>
                  <a:cubicBezTo>
                    <a:pt x="228845" y="0"/>
                    <a:pt x="258883" y="7512"/>
                    <a:pt x="285508" y="20964"/>
                  </a:cubicBezTo>
                  <a:cubicBezTo>
                    <a:pt x="302576" y="29569"/>
                    <a:pt x="306330" y="52308"/>
                    <a:pt x="292813" y="65898"/>
                  </a:cubicBezTo>
                  <a:lnTo>
                    <a:pt x="292813" y="65898"/>
                  </a:lnTo>
                  <a:cubicBezTo>
                    <a:pt x="284279" y="74433"/>
                    <a:pt x="271240" y="76550"/>
                    <a:pt x="260454" y="71156"/>
                  </a:cubicBezTo>
                  <a:cubicBezTo>
                    <a:pt x="240109" y="60913"/>
                    <a:pt x="216898" y="55450"/>
                    <a:pt x="192389" y="56201"/>
                  </a:cubicBezTo>
                  <a:cubicBezTo>
                    <a:pt x="117840" y="58591"/>
                    <a:pt x="57490" y="119776"/>
                    <a:pt x="56125" y="194415"/>
                  </a:cubicBezTo>
                  <a:cubicBezTo>
                    <a:pt x="55374" y="234431"/>
                    <a:pt x="71280" y="270760"/>
                    <a:pt x="97427" y="296914"/>
                  </a:cubicBezTo>
                  <a:cubicBezTo>
                    <a:pt x="122960" y="322454"/>
                    <a:pt x="158187" y="338228"/>
                    <a:pt x="197168" y="338228"/>
                  </a:cubicBezTo>
                  <a:cubicBezTo>
                    <a:pt x="219902" y="338228"/>
                    <a:pt x="241338" y="332834"/>
                    <a:pt x="260385" y="323342"/>
                  </a:cubicBezTo>
                  <a:cubicBezTo>
                    <a:pt x="271240" y="317879"/>
                    <a:pt x="284348" y="319859"/>
                    <a:pt x="292950" y="328463"/>
                  </a:cubicBezTo>
                  <a:close/>
                </a:path>
              </a:pathLst>
            </a:custGeom>
            <a:grpFill/>
            <a:ln w="0" cap="flat">
              <a:noFill/>
              <a:prstDash val="solid"/>
              <a:miter/>
            </a:ln>
          </p:spPr>
          <p:txBody>
            <a:bodyPr rtlCol="0" anchor="ctr"/>
            <a:lstStyle/>
            <a:p>
              <a:endParaRPr lang="en-BG"/>
            </a:p>
          </p:txBody>
        </p:sp>
      </p:grpSp>
      <p:cxnSp>
        <p:nvCxnSpPr>
          <p:cNvPr id="126" name="Straight Arrow Connector 125">
            <a:extLst>
              <a:ext uri="{FF2B5EF4-FFF2-40B4-BE49-F238E27FC236}">
                <a16:creationId xmlns:a16="http://schemas.microsoft.com/office/drawing/2014/main" id="{41B1B410-16E7-5C4F-AF01-C8921A20A583}"/>
              </a:ext>
            </a:extLst>
          </p:cNvPr>
          <p:cNvCxnSpPr>
            <a:cxnSpLocks/>
            <a:stCxn id="113" idx="1"/>
            <a:endCxn id="120" idx="3"/>
          </p:cNvCxnSpPr>
          <p:nvPr/>
        </p:nvCxnSpPr>
        <p:spPr>
          <a:xfrm flipH="1">
            <a:off x="2345801" y="5238446"/>
            <a:ext cx="865920" cy="0"/>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a:extLst>
              <a:ext uri="{FF2B5EF4-FFF2-40B4-BE49-F238E27FC236}">
                <a16:creationId xmlns:a16="http://schemas.microsoft.com/office/drawing/2014/main" id="{504624DF-FC6C-5943-A609-9FC218BE2579}"/>
              </a:ext>
            </a:extLst>
          </p:cNvPr>
          <p:cNvCxnSpPr>
            <a:cxnSpLocks/>
            <a:stCxn id="5" idx="2"/>
            <a:endCxn id="120" idx="0"/>
          </p:cNvCxnSpPr>
          <p:nvPr/>
        </p:nvCxnSpPr>
        <p:spPr>
          <a:xfrm flipH="1">
            <a:off x="1364801" y="2611723"/>
            <a:ext cx="1974" cy="2266723"/>
          </a:xfrm>
          <a:prstGeom prst="straightConnector1">
            <a:avLst/>
          </a:prstGeom>
          <a:ln>
            <a:solidFill>
              <a:schemeClr val="accent3"/>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132" name="TextBox 131">
            <a:extLst>
              <a:ext uri="{FF2B5EF4-FFF2-40B4-BE49-F238E27FC236}">
                <a16:creationId xmlns:a16="http://schemas.microsoft.com/office/drawing/2014/main" id="{66BA2EF3-C6E6-3249-B560-83FD2093ACF1}"/>
              </a:ext>
            </a:extLst>
          </p:cNvPr>
          <p:cNvSpPr txBox="1"/>
          <p:nvPr/>
        </p:nvSpPr>
        <p:spPr>
          <a:xfrm rot="16200000">
            <a:off x="794553" y="3406072"/>
            <a:ext cx="859106" cy="138499"/>
          </a:xfrm>
          <a:prstGeom prst="rect">
            <a:avLst/>
          </a:prstGeom>
          <a:noFill/>
        </p:spPr>
        <p:txBody>
          <a:bodyPr wrap="square" lIns="0" tIns="0" rIns="0" bIns="0" rtlCol="0">
            <a:spAutoFit/>
          </a:bodyPr>
          <a:lstStyle/>
          <a:p>
            <a:pPr algn="ctr"/>
            <a:r>
              <a:rPr lang="en-GB" sz="900" dirty="0">
                <a:latin typeface="Montserrat" pitchFamily="2" charset="77"/>
                <a:cs typeface="Arial" pitchFamily="34" charset="0"/>
              </a:rPr>
              <a:t>CCP-eligibility</a:t>
            </a:r>
          </a:p>
        </p:txBody>
      </p:sp>
      <p:sp>
        <p:nvSpPr>
          <p:cNvPr id="133" name="TextBox 132">
            <a:extLst>
              <a:ext uri="{FF2B5EF4-FFF2-40B4-BE49-F238E27FC236}">
                <a16:creationId xmlns:a16="http://schemas.microsoft.com/office/drawing/2014/main" id="{6BEE77D1-AC7B-A145-8B92-A7A6D5CC7775}"/>
              </a:ext>
            </a:extLst>
          </p:cNvPr>
          <p:cNvSpPr txBox="1"/>
          <p:nvPr/>
        </p:nvSpPr>
        <p:spPr>
          <a:xfrm rot="16200000">
            <a:off x="1095000" y="3406072"/>
            <a:ext cx="859106" cy="138499"/>
          </a:xfrm>
          <a:prstGeom prst="rect">
            <a:avLst/>
          </a:prstGeom>
          <a:noFill/>
        </p:spPr>
        <p:txBody>
          <a:bodyPr wrap="square" lIns="0" tIns="0" rIns="0" bIns="0" rtlCol="0">
            <a:spAutoFit/>
          </a:bodyPr>
          <a:lstStyle/>
          <a:p>
            <a:pPr algn="ctr"/>
            <a:r>
              <a:rPr lang="en-GB" sz="900" dirty="0">
                <a:latin typeface="Montserrat" pitchFamily="2" charset="77"/>
                <a:cs typeface="Arial" pitchFamily="34" charset="0"/>
              </a:rPr>
              <a:t>Clearing</a:t>
            </a:r>
          </a:p>
        </p:txBody>
      </p:sp>
      <p:sp>
        <p:nvSpPr>
          <p:cNvPr id="1034" name="Rectangle 1033">
            <a:extLst>
              <a:ext uri="{FF2B5EF4-FFF2-40B4-BE49-F238E27FC236}">
                <a16:creationId xmlns:a16="http://schemas.microsoft.com/office/drawing/2014/main" id="{4AFC73DA-45A7-A54D-A702-606C0940A10E}"/>
              </a:ext>
            </a:extLst>
          </p:cNvPr>
          <p:cNvSpPr/>
          <p:nvPr/>
        </p:nvSpPr>
        <p:spPr>
          <a:xfrm>
            <a:off x="8617918" y="0"/>
            <a:ext cx="3574081" cy="6858000"/>
          </a:xfrm>
          <a:prstGeom prst="rect">
            <a:avLst/>
          </a:prstGeom>
          <a:solidFill>
            <a:schemeClr val="accent4">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a:p>
        </p:txBody>
      </p:sp>
      <p:sp>
        <p:nvSpPr>
          <p:cNvPr id="8" name="TextBox 7">
            <a:extLst>
              <a:ext uri="{FF2B5EF4-FFF2-40B4-BE49-F238E27FC236}">
                <a16:creationId xmlns:a16="http://schemas.microsoft.com/office/drawing/2014/main" id="{2348B9DF-E309-4043-94B6-BB8AF2134B46}"/>
              </a:ext>
            </a:extLst>
          </p:cNvPr>
          <p:cNvSpPr txBox="1"/>
          <p:nvPr/>
        </p:nvSpPr>
        <p:spPr>
          <a:xfrm>
            <a:off x="9033600" y="1891722"/>
            <a:ext cx="2740946" cy="3569277"/>
          </a:xfrm>
          <a:prstGeom prst="rect">
            <a:avLst/>
          </a:prstGeom>
          <a:noFill/>
        </p:spPr>
        <p:txBody>
          <a:bodyPr wrap="square" rtlCol="0">
            <a:noAutofit/>
          </a:bodyPr>
          <a:lstStyle/>
          <a:p>
            <a:pPr marL="171450" indent="-171450" eaLnBrk="0" fontAlgn="base" hangingPunct="0">
              <a:lnSpc>
                <a:spcPct val="130000"/>
              </a:lnSpc>
              <a:spcBef>
                <a:spcPct val="0"/>
              </a:spcBef>
              <a:spcAft>
                <a:spcPts val="1200"/>
              </a:spcAft>
              <a:buClr>
                <a:schemeClr val="accent5"/>
              </a:buClr>
              <a:buSzPct val="80000"/>
              <a:buFont typeface="System Font Regular"/>
              <a:buChar char="►"/>
            </a:pPr>
            <a:r>
              <a:rPr lang="en-US" altLang="en-US" sz="1050" b="1" dirty="0">
                <a:latin typeface="Montserrat SemiBold" pitchFamily="2" charset="77"/>
                <a:ea typeface="Calibri" pitchFamily="34" charset="0"/>
                <a:cs typeface="Times New Roman" pitchFamily="18" charset="0"/>
              </a:rPr>
              <a:t>Trading Platform </a:t>
            </a:r>
            <a:r>
              <a:rPr lang="en-US" altLang="en-US" sz="1050" dirty="0">
                <a:latin typeface="Montserrat" pitchFamily="2" charset="77"/>
                <a:ea typeface="Calibri" pitchFamily="34" charset="0"/>
                <a:cs typeface="Times New Roman" pitchFamily="18" charset="0"/>
              </a:rPr>
              <a:t>– </a:t>
            </a:r>
            <a:r>
              <a:rPr lang="en-US" altLang="en-US" sz="1050" dirty="0" err="1">
                <a:latin typeface="Montserrat" pitchFamily="2" charset="77"/>
                <a:ea typeface="Calibri" pitchFamily="34" charset="0"/>
                <a:cs typeface="Times New Roman" pitchFamily="18" charset="0"/>
              </a:rPr>
              <a:t>Xetra</a:t>
            </a:r>
            <a:r>
              <a:rPr lang="en-US" altLang="en-US" sz="1050" dirty="0">
                <a:latin typeface="Montserrat" pitchFamily="2" charset="77"/>
                <a:ea typeface="Calibri" pitchFamily="34" charset="0"/>
                <a:cs typeface="Times New Roman" pitchFamily="18" charset="0"/>
              </a:rPr>
              <a:t> T7® (Bulgaria; Germany);</a:t>
            </a:r>
          </a:p>
          <a:p>
            <a:pPr marL="171450" indent="-171450" eaLnBrk="0" fontAlgn="base" hangingPunct="0">
              <a:lnSpc>
                <a:spcPct val="130000"/>
              </a:lnSpc>
              <a:spcBef>
                <a:spcPct val="0"/>
              </a:spcBef>
              <a:spcAft>
                <a:spcPts val="1200"/>
              </a:spcAft>
              <a:buClr>
                <a:schemeClr val="accent5"/>
              </a:buClr>
              <a:buSzPct val="80000"/>
              <a:buFont typeface="System Font Regular"/>
              <a:buChar char="►"/>
            </a:pPr>
            <a:r>
              <a:rPr lang="en-US" altLang="en-US" sz="1050" b="1" dirty="0">
                <a:latin typeface="Montserrat SemiBold" pitchFamily="2" charset="77"/>
                <a:cs typeface="Times New Roman" pitchFamily="18" charset="0"/>
              </a:rPr>
              <a:t>Market Model </a:t>
            </a:r>
            <a:r>
              <a:rPr lang="en-US" altLang="en-US" sz="1050" dirty="0">
                <a:latin typeface="Montserrat" pitchFamily="2" charset="77"/>
                <a:cs typeface="Times New Roman" pitchFamily="18" charset="0"/>
              </a:rPr>
              <a:t>- Continuous trading </a:t>
            </a:r>
            <a:r>
              <a:rPr lang="en-US" altLang="en-US" sz="1050" dirty="0">
                <a:latin typeface="Montserrat" pitchFamily="2" charset="77"/>
                <a:ea typeface="Calibri" pitchFamily="34" charset="0"/>
                <a:cs typeface="Times New Roman" pitchFamily="18" charset="0"/>
              </a:rPr>
              <a:t>(Bulgaria; Germany)</a:t>
            </a:r>
            <a:r>
              <a:rPr lang="en-US" altLang="en-US" sz="1050" dirty="0">
                <a:latin typeface="Montserrat" pitchFamily="2" charset="77"/>
                <a:cs typeface="Times New Roman" pitchFamily="18" charset="0"/>
              </a:rPr>
              <a:t>;</a:t>
            </a:r>
          </a:p>
          <a:p>
            <a:pPr marL="171450" indent="-171450" eaLnBrk="0" fontAlgn="base" hangingPunct="0">
              <a:lnSpc>
                <a:spcPct val="130000"/>
              </a:lnSpc>
              <a:spcBef>
                <a:spcPct val="0"/>
              </a:spcBef>
              <a:spcAft>
                <a:spcPts val="1200"/>
              </a:spcAft>
              <a:buClr>
                <a:schemeClr val="accent5"/>
              </a:buClr>
              <a:buSzPct val="80000"/>
              <a:buFont typeface="System Font Regular"/>
              <a:buChar char="►"/>
            </a:pPr>
            <a:r>
              <a:rPr lang="en-US" altLang="en-US" sz="1050" b="1" dirty="0">
                <a:latin typeface="Montserrat SemiBold" pitchFamily="2" charset="77"/>
                <a:cs typeface="Times New Roman" pitchFamily="18" charset="0"/>
              </a:rPr>
              <a:t>Trading Currency </a:t>
            </a:r>
            <a:r>
              <a:rPr lang="en-US" altLang="en-US" sz="1050" dirty="0">
                <a:latin typeface="Montserrat" pitchFamily="2" charset="77"/>
                <a:cs typeface="Times New Roman" pitchFamily="18" charset="0"/>
              </a:rPr>
              <a:t>- EUR </a:t>
            </a:r>
            <a:r>
              <a:rPr lang="en-US" altLang="en-US" sz="1050" dirty="0">
                <a:latin typeface="Montserrat" pitchFamily="2" charset="77"/>
                <a:ea typeface="Calibri" pitchFamily="34" charset="0"/>
                <a:cs typeface="Times New Roman" pitchFamily="18" charset="0"/>
              </a:rPr>
              <a:t>(Bulgaria; Germany)</a:t>
            </a:r>
            <a:r>
              <a:rPr lang="en-US" altLang="en-US" sz="1050" dirty="0">
                <a:latin typeface="Montserrat" pitchFamily="2" charset="77"/>
                <a:cs typeface="Times New Roman" pitchFamily="18" charset="0"/>
              </a:rPr>
              <a:t>; </a:t>
            </a:r>
          </a:p>
          <a:p>
            <a:pPr marL="171450" indent="-171450" eaLnBrk="0" fontAlgn="base" hangingPunct="0">
              <a:lnSpc>
                <a:spcPct val="130000"/>
              </a:lnSpc>
              <a:spcBef>
                <a:spcPct val="0"/>
              </a:spcBef>
              <a:spcAft>
                <a:spcPts val="1200"/>
              </a:spcAft>
              <a:buClr>
                <a:schemeClr val="accent5"/>
              </a:buClr>
              <a:buSzPct val="80000"/>
              <a:buFont typeface="System Font Regular"/>
              <a:buChar char="►"/>
            </a:pPr>
            <a:r>
              <a:rPr lang="en-GB" altLang="en-US" sz="1050" b="1" dirty="0">
                <a:latin typeface="Montserrat SemiBold" pitchFamily="2" charset="77"/>
                <a:cs typeface="Times New Roman" pitchFamily="18" charset="0"/>
              </a:rPr>
              <a:t>Handling of corporate actions </a:t>
            </a:r>
            <a:r>
              <a:rPr lang="en-GB" altLang="en-US" sz="1050" dirty="0">
                <a:latin typeface="Montserrat" pitchFamily="2" charset="77"/>
                <a:cs typeface="Times New Roman" pitchFamily="18" charset="0"/>
              </a:rPr>
              <a:t>in EUR </a:t>
            </a:r>
            <a:r>
              <a:rPr lang="en-US" altLang="en-US" sz="1050" dirty="0">
                <a:latin typeface="Montserrat" pitchFamily="2" charset="77"/>
                <a:ea typeface="Calibri" pitchFamily="34" charset="0"/>
                <a:cs typeface="Times New Roman" pitchFamily="18" charset="0"/>
              </a:rPr>
              <a:t>(Bulgaria; Germany)</a:t>
            </a:r>
            <a:r>
              <a:rPr lang="en-GB" altLang="en-US" sz="1050" dirty="0">
                <a:latin typeface="Montserrat" pitchFamily="2" charset="77"/>
                <a:cs typeface="Times New Roman" pitchFamily="18" charset="0"/>
              </a:rPr>
              <a:t>;</a:t>
            </a:r>
          </a:p>
          <a:p>
            <a:pPr marL="171450" indent="-171450" eaLnBrk="0" fontAlgn="base" hangingPunct="0">
              <a:lnSpc>
                <a:spcPct val="130000"/>
              </a:lnSpc>
              <a:spcBef>
                <a:spcPct val="0"/>
              </a:spcBef>
              <a:spcAft>
                <a:spcPts val="1200"/>
              </a:spcAft>
              <a:buClr>
                <a:schemeClr val="accent5"/>
              </a:buClr>
              <a:buSzPct val="80000"/>
              <a:buFont typeface="System Font Regular"/>
              <a:buChar char="►"/>
            </a:pPr>
            <a:r>
              <a:rPr lang="en-GB" altLang="en-US" sz="1050" b="1" dirty="0">
                <a:latin typeface="Montserrat SemiBold" pitchFamily="2" charset="77"/>
                <a:ea typeface="Calibri" pitchFamily="34" charset="0"/>
                <a:cs typeface="Times New Roman" pitchFamily="18" charset="0"/>
              </a:rPr>
              <a:t>Unified listing and ongoing transparency </a:t>
            </a:r>
            <a:r>
              <a:rPr lang="en-GB" altLang="en-US" sz="1050" dirty="0">
                <a:latin typeface="Montserrat" pitchFamily="2" charset="77"/>
                <a:ea typeface="Calibri" pitchFamily="34" charset="0"/>
                <a:cs typeface="Times New Roman" pitchFamily="18" charset="0"/>
              </a:rPr>
              <a:t>requirements applicable for all EU-regulated markets (Bulgaria; Germany);</a:t>
            </a:r>
          </a:p>
        </p:txBody>
      </p:sp>
      <p:sp>
        <p:nvSpPr>
          <p:cNvPr id="145" name="TextBox 144">
            <a:extLst>
              <a:ext uri="{FF2B5EF4-FFF2-40B4-BE49-F238E27FC236}">
                <a16:creationId xmlns:a16="http://schemas.microsoft.com/office/drawing/2014/main" id="{A9205A49-209C-3A42-8534-73129BE87A81}"/>
              </a:ext>
            </a:extLst>
          </p:cNvPr>
          <p:cNvSpPr txBox="1"/>
          <p:nvPr/>
        </p:nvSpPr>
        <p:spPr>
          <a:xfrm>
            <a:off x="9033600" y="1436978"/>
            <a:ext cx="1070806" cy="184666"/>
          </a:xfrm>
          <a:prstGeom prst="rect">
            <a:avLst/>
          </a:prstGeom>
          <a:noFill/>
        </p:spPr>
        <p:txBody>
          <a:bodyPr wrap="none" lIns="0" tIns="0" rIns="0" bIns="0" rtlCol="0">
            <a:spAutoFit/>
          </a:bodyPr>
          <a:lstStyle/>
          <a:p>
            <a:r>
              <a:rPr lang="en-GB" sz="1200" b="1" dirty="0">
                <a:latin typeface="Montserrat SemiBold" pitchFamily="2" charset="77"/>
              </a:rPr>
              <a:t>Key Features:</a:t>
            </a:r>
          </a:p>
        </p:txBody>
      </p:sp>
      <p:pic>
        <p:nvPicPr>
          <p:cNvPr id="39" name="Picture 38">
            <a:extLst>
              <a:ext uri="{FF2B5EF4-FFF2-40B4-BE49-F238E27FC236}">
                <a16:creationId xmlns:a16="http://schemas.microsoft.com/office/drawing/2014/main" id="{0772D83E-3D58-4D47-9A87-B61A4E561ED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23403" y="4959634"/>
            <a:ext cx="1503595" cy="557625"/>
          </a:xfrm>
          <a:prstGeom prst="rect">
            <a:avLst/>
          </a:prstGeom>
        </p:spPr>
      </p:pic>
      <p:pic>
        <p:nvPicPr>
          <p:cNvPr id="4" name="Picture 3">
            <a:extLst>
              <a:ext uri="{FF2B5EF4-FFF2-40B4-BE49-F238E27FC236}">
                <a16:creationId xmlns:a16="http://schemas.microsoft.com/office/drawing/2014/main" id="{43ADF8A3-0374-954F-A4F7-D9A49E22108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95267" y="5111258"/>
            <a:ext cx="1566065" cy="254375"/>
          </a:xfrm>
          <a:prstGeom prst="rect">
            <a:avLst/>
          </a:prstGeom>
        </p:spPr>
      </p:pic>
    </p:spTree>
    <p:extLst>
      <p:ext uri="{BB962C8B-B14F-4D97-AF65-F5344CB8AC3E}">
        <p14:creationId xmlns:p14="http://schemas.microsoft.com/office/powerpoint/2010/main" val="17134985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0819BF-CB9A-254D-8E70-E0FCF4F7C722}"/>
              </a:ext>
            </a:extLst>
          </p:cNvPr>
          <p:cNvSpPr>
            <a:spLocks noGrp="1"/>
          </p:cNvSpPr>
          <p:nvPr>
            <p:ph type="title"/>
          </p:nvPr>
        </p:nvSpPr>
        <p:spPr>
          <a:xfrm>
            <a:off x="4492196" y="1631588"/>
            <a:ext cx="3207609" cy="854080"/>
          </a:xfrm>
        </p:spPr>
        <p:txBody>
          <a:bodyPr wrap="none" lIns="0" tIns="0" rIns="0" bIns="0">
            <a:spAutoFit/>
          </a:bodyPr>
          <a:lstStyle/>
          <a:p>
            <a:pPr algn="ctr"/>
            <a:r>
              <a:rPr lang="en-GB" sz="6000" dirty="0">
                <a:solidFill>
                  <a:srgbClr val="DA98FF"/>
                </a:solidFill>
              </a:rPr>
              <a:t>Key benefits</a:t>
            </a:r>
            <a:endParaRPr lang="en-BG" sz="6000" dirty="0">
              <a:solidFill>
                <a:srgbClr val="DA98FF"/>
              </a:solidFill>
            </a:endParaRPr>
          </a:p>
        </p:txBody>
      </p:sp>
      <p:sp>
        <p:nvSpPr>
          <p:cNvPr id="12" name="Title 1">
            <a:extLst>
              <a:ext uri="{FF2B5EF4-FFF2-40B4-BE49-F238E27FC236}">
                <a16:creationId xmlns:a16="http://schemas.microsoft.com/office/drawing/2014/main" id="{8EDA17AA-A7F6-EA40-BA53-C750CFF17A28}"/>
              </a:ext>
            </a:extLst>
          </p:cNvPr>
          <p:cNvSpPr txBox="1">
            <a:spLocks/>
          </p:cNvSpPr>
          <p:nvPr/>
        </p:nvSpPr>
        <p:spPr>
          <a:xfrm>
            <a:off x="2978623" y="282889"/>
            <a:ext cx="3195242" cy="2492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b="1" i="0" kern="1200">
                <a:solidFill>
                  <a:schemeClr val="tx1"/>
                </a:solidFill>
                <a:latin typeface="Bebas Neue Bold" pitchFamily="2" charset="77"/>
                <a:ea typeface="+mj-ea"/>
                <a:cs typeface="+mj-cs"/>
              </a:defRPr>
            </a:lvl1pPr>
          </a:lstStyle>
          <a:p>
            <a:r>
              <a:rPr lang="en-GB" sz="1800" b="0" dirty="0" err="1">
                <a:solidFill>
                  <a:schemeClr val="accent3"/>
                </a:solidFill>
                <a:latin typeface="Montserrat" pitchFamily="2" charset="77"/>
              </a:rPr>
              <a:t>EuroBridge</a:t>
            </a:r>
            <a:r>
              <a:rPr lang="en-GB" sz="1800" b="0" dirty="0">
                <a:solidFill>
                  <a:schemeClr val="accent3"/>
                </a:solidFill>
                <a:latin typeface="Montserrat" pitchFamily="2" charset="77"/>
              </a:rPr>
              <a:t> Market</a:t>
            </a:r>
            <a:r>
              <a:rPr lang="bg-BG" sz="1800" b="0" dirty="0">
                <a:solidFill>
                  <a:schemeClr val="accent3"/>
                </a:solidFill>
                <a:latin typeface="Montserrat" pitchFamily="2" charset="77"/>
              </a:rPr>
              <a:t> </a:t>
            </a:r>
            <a:r>
              <a:rPr lang="en-GB" sz="1800" b="0" dirty="0">
                <a:solidFill>
                  <a:schemeClr val="accent3"/>
                </a:solidFill>
                <a:latin typeface="Montserrat" pitchFamily="2" charset="77"/>
              </a:rPr>
              <a:t>(2/</a:t>
            </a:r>
            <a:r>
              <a:rPr lang="bg-BG" sz="1800" b="0" dirty="0">
                <a:solidFill>
                  <a:schemeClr val="accent3"/>
                </a:solidFill>
                <a:latin typeface="Montserrat" pitchFamily="2" charset="77"/>
              </a:rPr>
              <a:t>2</a:t>
            </a:r>
            <a:r>
              <a:rPr lang="en-GB" sz="1800" b="0" dirty="0">
                <a:solidFill>
                  <a:schemeClr val="accent3"/>
                </a:solidFill>
                <a:latin typeface="Montserrat" pitchFamily="2" charset="77"/>
              </a:rPr>
              <a:t>)</a:t>
            </a:r>
            <a:endParaRPr lang="en-GB" sz="1800" b="0" dirty="0">
              <a:solidFill>
                <a:schemeClr val="accent3"/>
              </a:solidFill>
              <a:effectLst>
                <a:outerShdw blurRad="38100" dist="38100" dir="2700000" algn="tl">
                  <a:srgbClr val="000000">
                    <a:alpha val="43137"/>
                  </a:srgbClr>
                </a:outerShdw>
              </a:effectLst>
              <a:latin typeface="Montserrat" pitchFamily="2" charset="77"/>
            </a:endParaRPr>
          </a:p>
        </p:txBody>
      </p:sp>
      <p:sp>
        <p:nvSpPr>
          <p:cNvPr id="13" name="TextBox 12">
            <a:extLst>
              <a:ext uri="{FF2B5EF4-FFF2-40B4-BE49-F238E27FC236}">
                <a16:creationId xmlns:a16="http://schemas.microsoft.com/office/drawing/2014/main" id="{CB45BF16-7A06-8E40-8767-0B3AA4A162D4}"/>
              </a:ext>
            </a:extLst>
          </p:cNvPr>
          <p:cNvSpPr txBox="1"/>
          <p:nvPr/>
        </p:nvSpPr>
        <p:spPr>
          <a:xfrm>
            <a:off x="579856" y="4864335"/>
            <a:ext cx="1892080" cy="738664"/>
          </a:xfrm>
          <a:prstGeom prst="rect">
            <a:avLst/>
          </a:prstGeom>
          <a:noFill/>
        </p:spPr>
        <p:txBody>
          <a:bodyPr wrap="square" lIns="0" tIns="0" rIns="0" bIns="0" rtlCol="0">
            <a:spAutoFit/>
          </a:bodyPr>
          <a:lstStyle/>
          <a:p>
            <a:pPr algn="ctr"/>
            <a:r>
              <a:rPr lang="en-GB" sz="1600" b="1" dirty="0">
                <a:latin typeface="Montserrat SemiBold" pitchFamily="2" charset="77"/>
              </a:rPr>
              <a:t>Enhanced credibility and visibility</a:t>
            </a:r>
          </a:p>
        </p:txBody>
      </p:sp>
      <p:sp>
        <p:nvSpPr>
          <p:cNvPr id="14" name="TextBox 13">
            <a:extLst>
              <a:ext uri="{FF2B5EF4-FFF2-40B4-BE49-F238E27FC236}">
                <a16:creationId xmlns:a16="http://schemas.microsoft.com/office/drawing/2014/main" id="{688995F5-86A1-6A42-813C-FED0A9CE5C6D}"/>
              </a:ext>
            </a:extLst>
          </p:cNvPr>
          <p:cNvSpPr txBox="1"/>
          <p:nvPr/>
        </p:nvSpPr>
        <p:spPr>
          <a:xfrm>
            <a:off x="2816305" y="4864335"/>
            <a:ext cx="1892080" cy="492443"/>
          </a:xfrm>
          <a:prstGeom prst="rect">
            <a:avLst/>
          </a:prstGeom>
          <a:noFill/>
        </p:spPr>
        <p:txBody>
          <a:bodyPr wrap="square" lIns="0" tIns="0" rIns="0" bIns="0" rtlCol="0">
            <a:spAutoFit/>
          </a:bodyPr>
          <a:lstStyle/>
          <a:p>
            <a:pPr algn="ctr"/>
            <a:r>
              <a:rPr lang="en-GB" sz="1600" b="1" dirty="0">
                <a:latin typeface="Montserrat SemiBold" pitchFamily="2" charset="77"/>
              </a:rPr>
              <a:t>Access to global capital</a:t>
            </a:r>
          </a:p>
        </p:txBody>
      </p:sp>
      <p:sp>
        <p:nvSpPr>
          <p:cNvPr id="16" name="TextBox 15">
            <a:extLst>
              <a:ext uri="{FF2B5EF4-FFF2-40B4-BE49-F238E27FC236}">
                <a16:creationId xmlns:a16="http://schemas.microsoft.com/office/drawing/2014/main" id="{C7471DDB-97FE-7549-B1AD-E4EDA06AE06E}"/>
              </a:ext>
            </a:extLst>
          </p:cNvPr>
          <p:cNvSpPr txBox="1"/>
          <p:nvPr/>
        </p:nvSpPr>
        <p:spPr>
          <a:xfrm>
            <a:off x="5174388" y="4864335"/>
            <a:ext cx="1892080" cy="492443"/>
          </a:xfrm>
          <a:prstGeom prst="rect">
            <a:avLst/>
          </a:prstGeom>
          <a:noFill/>
        </p:spPr>
        <p:txBody>
          <a:bodyPr wrap="square" lIns="0" tIns="0" rIns="0" bIns="0" rtlCol="0">
            <a:spAutoFit/>
          </a:bodyPr>
          <a:lstStyle/>
          <a:p>
            <a:pPr algn="ctr"/>
            <a:r>
              <a:rPr lang="en-GB" sz="1600" b="1" dirty="0">
                <a:latin typeface="Montserrat SemiBold" pitchFamily="2" charset="77"/>
              </a:rPr>
              <a:t>Market valuation and liquidity</a:t>
            </a:r>
          </a:p>
        </p:txBody>
      </p:sp>
      <p:sp>
        <p:nvSpPr>
          <p:cNvPr id="17" name="TextBox 16">
            <a:extLst>
              <a:ext uri="{FF2B5EF4-FFF2-40B4-BE49-F238E27FC236}">
                <a16:creationId xmlns:a16="http://schemas.microsoft.com/office/drawing/2014/main" id="{279E9794-03B3-294B-AB09-41B3E118EABF}"/>
              </a:ext>
            </a:extLst>
          </p:cNvPr>
          <p:cNvSpPr txBox="1"/>
          <p:nvPr/>
        </p:nvSpPr>
        <p:spPr>
          <a:xfrm>
            <a:off x="7483617" y="4864335"/>
            <a:ext cx="1892080" cy="738664"/>
          </a:xfrm>
          <a:prstGeom prst="rect">
            <a:avLst/>
          </a:prstGeom>
          <a:noFill/>
        </p:spPr>
        <p:txBody>
          <a:bodyPr wrap="square" lIns="0" tIns="0" rIns="0" bIns="0" rtlCol="0">
            <a:spAutoFit/>
          </a:bodyPr>
          <a:lstStyle/>
          <a:p>
            <a:pPr algn="ctr"/>
            <a:r>
              <a:rPr lang="en-GB" sz="1600" b="1" dirty="0">
                <a:latin typeface="Montserrat SemiBold" pitchFamily="2" charset="77"/>
              </a:rPr>
              <a:t>Opportunities for global expansion or exit</a:t>
            </a:r>
          </a:p>
        </p:txBody>
      </p:sp>
      <p:sp>
        <p:nvSpPr>
          <p:cNvPr id="18" name="TextBox 17">
            <a:extLst>
              <a:ext uri="{FF2B5EF4-FFF2-40B4-BE49-F238E27FC236}">
                <a16:creationId xmlns:a16="http://schemas.microsoft.com/office/drawing/2014/main" id="{E00CA449-7D5D-D24F-A045-8D7BF30D07CA}"/>
              </a:ext>
            </a:extLst>
          </p:cNvPr>
          <p:cNvSpPr txBox="1"/>
          <p:nvPr/>
        </p:nvSpPr>
        <p:spPr>
          <a:xfrm>
            <a:off x="9720063" y="4864335"/>
            <a:ext cx="1892080" cy="492443"/>
          </a:xfrm>
          <a:prstGeom prst="rect">
            <a:avLst/>
          </a:prstGeom>
          <a:noFill/>
        </p:spPr>
        <p:txBody>
          <a:bodyPr wrap="square" lIns="0" tIns="0" rIns="0" bIns="0" rtlCol="0">
            <a:spAutoFit/>
          </a:bodyPr>
          <a:lstStyle/>
          <a:p>
            <a:pPr algn="ctr"/>
            <a:r>
              <a:rPr lang="en-GB" sz="1600" b="1" dirty="0">
                <a:latin typeface="Montserrat SemiBold" pitchFamily="2" charset="77"/>
              </a:rPr>
              <a:t>Talent recruitment</a:t>
            </a:r>
          </a:p>
        </p:txBody>
      </p:sp>
      <p:pic>
        <p:nvPicPr>
          <p:cNvPr id="7" name="Graphic 6">
            <a:extLst>
              <a:ext uri="{FF2B5EF4-FFF2-40B4-BE49-F238E27FC236}">
                <a16:creationId xmlns:a16="http://schemas.microsoft.com/office/drawing/2014/main" id="{9E1E9019-9B55-FA4C-AD72-63B645752E6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5897" y="3443778"/>
            <a:ext cx="1080000" cy="1080000"/>
          </a:xfrm>
          <a:prstGeom prst="rect">
            <a:avLst/>
          </a:prstGeom>
        </p:spPr>
      </p:pic>
      <p:pic>
        <p:nvPicPr>
          <p:cNvPr id="11" name="Graphic 10">
            <a:extLst>
              <a:ext uri="{FF2B5EF4-FFF2-40B4-BE49-F238E27FC236}">
                <a16:creationId xmlns:a16="http://schemas.microsoft.com/office/drawing/2014/main" id="{0D568850-2723-1A4B-9526-3F498277C81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89655" y="3531129"/>
            <a:ext cx="972000" cy="972000"/>
          </a:xfrm>
          <a:prstGeom prst="rect">
            <a:avLst/>
          </a:prstGeom>
        </p:spPr>
      </p:pic>
      <p:pic>
        <p:nvPicPr>
          <p:cNvPr id="20" name="Graphic 19">
            <a:extLst>
              <a:ext uri="{FF2B5EF4-FFF2-40B4-BE49-F238E27FC236}">
                <a16:creationId xmlns:a16="http://schemas.microsoft.com/office/drawing/2014/main" id="{11A0E2E5-D79C-9E4C-B7D4-17A62DFE3C7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222345" y="3461778"/>
            <a:ext cx="1080000" cy="1080000"/>
          </a:xfrm>
          <a:prstGeom prst="rect">
            <a:avLst/>
          </a:prstGeom>
        </p:spPr>
      </p:pic>
      <p:pic>
        <p:nvPicPr>
          <p:cNvPr id="22" name="Graphic 21">
            <a:extLst>
              <a:ext uri="{FF2B5EF4-FFF2-40B4-BE49-F238E27FC236}">
                <a16:creationId xmlns:a16="http://schemas.microsoft.com/office/drawing/2014/main" id="{18A46BA2-2E6C-1249-8EF3-99F52DB88A9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580429" y="3461778"/>
            <a:ext cx="1080000" cy="1080000"/>
          </a:xfrm>
          <a:prstGeom prst="rect">
            <a:avLst/>
          </a:prstGeom>
        </p:spPr>
      </p:pic>
      <p:pic>
        <p:nvPicPr>
          <p:cNvPr id="24" name="Graphic 23">
            <a:extLst>
              <a:ext uri="{FF2B5EF4-FFF2-40B4-BE49-F238E27FC236}">
                <a16:creationId xmlns:a16="http://schemas.microsoft.com/office/drawing/2014/main" id="{7D2E7DBC-7A20-5846-B19F-4FD72AFC673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126103" y="3477129"/>
            <a:ext cx="1080000" cy="1080000"/>
          </a:xfrm>
          <a:prstGeom prst="rect">
            <a:avLst/>
          </a:prstGeom>
        </p:spPr>
      </p:pic>
    </p:spTree>
    <p:extLst>
      <p:ext uri="{BB962C8B-B14F-4D97-AF65-F5344CB8AC3E}">
        <p14:creationId xmlns:p14="http://schemas.microsoft.com/office/powerpoint/2010/main" val="21741597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1">
            <a:extLst>
              <a:ext uri="{FF2B5EF4-FFF2-40B4-BE49-F238E27FC236}">
                <a16:creationId xmlns:a16="http://schemas.microsoft.com/office/drawing/2014/main" id="{C0C67EF6-3C40-224E-9F6E-E976FE0BE2EE}"/>
              </a:ext>
            </a:extLst>
          </p:cNvPr>
          <p:cNvSpPr>
            <a:spLocks noGrp="1"/>
          </p:cNvSpPr>
          <p:nvPr>
            <p:ph type="ctrTitle"/>
          </p:nvPr>
        </p:nvSpPr>
        <p:spPr>
          <a:xfrm>
            <a:off x="1524000" y="2759129"/>
            <a:ext cx="9144000" cy="1218795"/>
          </a:xfrm>
        </p:spPr>
        <p:txBody>
          <a:bodyPr>
            <a:spAutoFit/>
          </a:bodyPr>
          <a:lstStyle/>
          <a:p>
            <a:r>
              <a:rPr lang="en-GB" sz="8000" b="0" dirty="0">
                <a:latin typeface="Bebas Neue Book" pitchFamily="2" charset="77"/>
              </a:rPr>
              <a:t>Boyko </a:t>
            </a:r>
            <a:r>
              <a:rPr lang="en-GB" sz="8000" dirty="0" err="1"/>
              <a:t>Atanasov</a:t>
            </a:r>
            <a:endParaRPr lang="en-BG" sz="8000" dirty="0">
              <a:solidFill>
                <a:srgbClr val="DA98FF"/>
              </a:solidFill>
            </a:endParaRPr>
          </a:p>
        </p:txBody>
      </p:sp>
      <p:sp>
        <p:nvSpPr>
          <p:cNvPr id="35" name="Title 1">
            <a:extLst>
              <a:ext uri="{FF2B5EF4-FFF2-40B4-BE49-F238E27FC236}">
                <a16:creationId xmlns:a16="http://schemas.microsoft.com/office/drawing/2014/main" id="{C3708672-65DA-1947-B6A6-50E2998431A6}"/>
              </a:ext>
            </a:extLst>
          </p:cNvPr>
          <p:cNvSpPr txBox="1">
            <a:spLocks/>
          </p:cNvSpPr>
          <p:nvPr/>
        </p:nvSpPr>
        <p:spPr>
          <a:xfrm>
            <a:off x="1524000" y="3977924"/>
            <a:ext cx="9144000" cy="369332"/>
          </a:xfrm>
          <a:prstGeom prst="rect">
            <a:avLst/>
          </a:prstGeom>
        </p:spPr>
        <p:txBody>
          <a:bodyPr vert="horz" lIns="91440" tIns="45720" rIns="91440" bIns="45720" rtlCol="0" anchor="b">
            <a:spAutoFit/>
          </a:bodyPr>
          <a:lstStyle>
            <a:lvl1pPr algn="ctr" defTabSz="914400" rtl="0" eaLnBrk="1" latinLnBrk="0" hangingPunct="1">
              <a:lnSpc>
                <a:spcPct val="90000"/>
              </a:lnSpc>
              <a:spcBef>
                <a:spcPct val="0"/>
              </a:spcBef>
              <a:buNone/>
              <a:defRPr sz="6000" b="1" i="0" kern="1200">
                <a:solidFill>
                  <a:schemeClr val="bg1"/>
                </a:solidFill>
                <a:latin typeface="Bebas Neue Bold" pitchFamily="2" charset="77"/>
                <a:ea typeface="+mj-ea"/>
                <a:cs typeface="+mj-cs"/>
              </a:defRPr>
            </a:lvl1pPr>
          </a:lstStyle>
          <a:p>
            <a:r>
              <a:rPr lang="en-GB" sz="2000" b="0" dirty="0">
                <a:solidFill>
                  <a:srgbClr val="DA98FF"/>
                </a:solidFill>
                <a:latin typeface="Montserrat" pitchFamily="2" charset="77"/>
              </a:rPr>
              <a:t>Chair of the Financial Supervision Commission</a:t>
            </a:r>
            <a:endParaRPr lang="en-BG" sz="2000" b="0" dirty="0">
              <a:solidFill>
                <a:srgbClr val="DA98FF"/>
              </a:solidFill>
              <a:latin typeface="Montserrat" pitchFamily="2" charset="77"/>
            </a:endParaRPr>
          </a:p>
        </p:txBody>
      </p:sp>
      <p:pic>
        <p:nvPicPr>
          <p:cNvPr id="1026" name="Picture 2">
            <a:extLst>
              <a:ext uri="{FF2B5EF4-FFF2-40B4-BE49-F238E27FC236}">
                <a16:creationId xmlns:a16="http://schemas.microsoft.com/office/drawing/2014/main" id="{FFDE12A5-556C-F445-A544-5D76DF5935D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285228" y="6315539"/>
            <a:ext cx="1632098" cy="316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39519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66D78-54A5-1044-A741-2366FF5E52CC}"/>
              </a:ext>
            </a:extLst>
          </p:cNvPr>
          <p:cNvSpPr>
            <a:spLocks noGrp="1"/>
          </p:cNvSpPr>
          <p:nvPr>
            <p:ph type="ctrTitle"/>
          </p:nvPr>
        </p:nvSpPr>
        <p:spPr>
          <a:xfrm>
            <a:off x="1524000" y="4729698"/>
            <a:ext cx="9144000" cy="1218795"/>
          </a:xfrm>
        </p:spPr>
        <p:txBody>
          <a:bodyPr>
            <a:spAutoFit/>
          </a:bodyPr>
          <a:lstStyle/>
          <a:p>
            <a:r>
              <a:rPr lang="en-GB" sz="8000" b="0" dirty="0">
                <a:latin typeface="Bebas Neue Book" pitchFamily="2" charset="77"/>
              </a:rPr>
              <a:t>Michael </a:t>
            </a:r>
            <a:r>
              <a:rPr lang="en-GB" sz="8000" dirty="0" err="1"/>
              <a:t>Riess</a:t>
            </a:r>
            <a:endParaRPr lang="en-BG" sz="8000" dirty="0">
              <a:solidFill>
                <a:srgbClr val="DA98FF"/>
              </a:solidFill>
            </a:endParaRPr>
          </a:p>
        </p:txBody>
      </p:sp>
      <p:sp>
        <p:nvSpPr>
          <p:cNvPr id="3" name="Title 1">
            <a:extLst>
              <a:ext uri="{FF2B5EF4-FFF2-40B4-BE49-F238E27FC236}">
                <a16:creationId xmlns:a16="http://schemas.microsoft.com/office/drawing/2014/main" id="{1523D136-2AF8-A94E-B1D9-AF85A4795193}"/>
              </a:ext>
            </a:extLst>
          </p:cNvPr>
          <p:cNvSpPr txBox="1">
            <a:spLocks/>
          </p:cNvSpPr>
          <p:nvPr/>
        </p:nvSpPr>
        <p:spPr>
          <a:xfrm>
            <a:off x="1524000" y="5948493"/>
            <a:ext cx="9144000" cy="369332"/>
          </a:xfrm>
          <a:prstGeom prst="rect">
            <a:avLst/>
          </a:prstGeom>
        </p:spPr>
        <p:txBody>
          <a:bodyPr vert="horz" lIns="91440" tIns="45720" rIns="91440" bIns="45720" rtlCol="0" anchor="b">
            <a:spAutoFit/>
          </a:bodyPr>
          <a:lstStyle>
            <a:lvl1pPr algn="ctr" defTabSz="914400" rtl="0" eaLnBrk="1" latinLnBrk="0" hangingPunct="1">
              <a:lnSpc>
                <a:spcPct val="90000"/>
              </a:lnSpc>
              <a:spcBef>
                <a:spcPct val="0"/>
              </a:spcBef>
              <a:buNone/>
              <a:defRPr sz="6000" b="1" i="0" kern="1200">
                <a:solidFill>
                  <a:schemeClr val="bg1"/>
                </a:solidFill>
                <a:latin typeface="Bebas Neue Bold" pitchFamily="2" charset="77"/>
                <a:ea typeface="+mj-ea"/>
                <a:cs typeface="+mj-cs"/>
              </a:defRPr>
            </a:lvl1pPr>
          </a:lstStyle>
          <a:p>
            <a:r>
              <a:rPr lang="en-GB" sz="2000" b="0" dirty="0" err="1">
                <a:solidFill>
                  <a:srgbClr val="DA98FF"/>
                </a:solidFill>
                <a:latin typeface="Montserrat" pitchFamily="2" charset="77"/>
              </a:rPr>
              <a:t>IPO&amp;Growth</a:t>
            </a:r>
            <a:r>
              <a:rPr lang="en-GB" sz="2000" b="0" dirty="0">
                <a:solidFill>
                  <a:srgbClr val="DA98FF"/>
                </a:solidFill>
                <a:latin typeface="Montserrat" pitchFamily="2" charset="77"/>
              </a:rPr>
              <a:t> Financing, Deutsche </a:t>
            </a:r>
            <a:r>
              <a:rPr lang="en-GB" sz="2000" b="0" dirty="0" err="1">
                <a:solidFill>
                  <a:srgbClr val="DA98FF"/>
                </a:solidFill>
                <a:latin typeface="Montserrat" pitchFamily="2" charset="77"/>
              </a:rPr>
              <a:t>Börse</a:t>
            </a:r>
            <a:endParaRPr lang="en-BG" sz="2000" b="0" dirty="0">
              <a:solidFill>
                <a:srgbClr val="DA98FF"/>
              </a:solidFill>
              <a:latin typeface="Montserrat" pitchFamily="2" charset="77"/>
            </a:endParaRPr>
          </a:p>
        </p:txBody>
      </p:sp>
      <p:sp>
        <p:nvSpPr>
          <p:cNvPr id="6" name="Oval 5">
            <a:extLst>
              <a:ext uri="{FF2B5EF4-FFF2-40B4-BE49-F238E27FC236}">
                <a16:creationId xmlns:a16="http://schemas.microsoft.com/office/drawing/2014/main" id="{36BA8D18-11C0-8649-ABBE-C006E05DCB99}"/>
              </a:ext>
            </a:extLst>
          </p:cNvPr>
          <p:cNvSpPr/>
          <p:nvPr/>
        </p:nvSpPr>
        <p:spPr>
          <a:xfrm>
            <a:off x="5904432" y="2711506"/>
            <a:ext cx="1467356" cy="1503096"/>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dirty="0">
              <a:solidFill>
                <a:schemeClr val="accent5"/>
              </a:solidFill>
            </a:endParaRPr>
          </a:p>
        </p:txBody>
      </p:sp>
      <p:sp>
        <p:nvSpPr>
          <p:cNvPr id="7" name="Oval 6">
            <a:extLst>
              <a:ext uri="{FF2B5EF4-FFF2-40B4-BE49-F238E27FC236}">
                <a16:creationId xmlns:a16="http://schemas.microsoft.com/office/drawing/2014/main" id="{BDF755ED-E1F8-B643-89B5-64DC1D8067F9}"/>
              </a:ext>
            </a:extLst>
          </p:cNvPr>
          <p:cNvSpPr/>
          <p:nvPr/>
        </p:nvSpPr>
        <p:spPr>
          <a:xfrm>
            <a:off x="4358851" y="1067739"/>
            <a:ext cx="2184849" cy="223806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a:p>
        </p:txBody>
      </p:sp>
      <p:pic>
        <p:nvPicPr>
          <p:cNvPr id="5" name="Picture 4">
            <a:extLst>
              <a:ext uri="{FF2B5EF4-FFF2-40B4-BE49-F238E27FC236}">
                <a16:creationId xmlns:a16="http://schemas.microsoft.com/office/drawing/2014/main" id="{3F912BD5-D828-BA44-8F5C-A035919F513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820213" y="1357801"/>
            <a:ext cx="2551574" cy="2716602"/>
          </a:xfrm>
          <a:prstGeom prst="rect">
            <a:avLst/>
          </a:prstGeom>
        </p:spPr>
      </p:pic>
      <p:grpSp>
        <p:nvGrpSpPr>
          <p:cNvPr id="8" name="Graphic 2">
            <a:extLst>
              <a:ext uri="{FF2B5EF4-FFF2-40B4-BE49-F238E27FC236}">
                <a16:creationId xmlns:a16="http://schemas.microsoft.com/office/drawing/2014/main" id="{C8E392AC-DA2F-F34D-85BD-559FEB0ACCAB}"/>
              </a:ext>
            </a:extLst>
          </p:cNvPr>
          <p:cNvGrpSpPr/>
          <p:nvPr/>
        </p:nvGrpSpPr>
        <p:grpSpPr>
          <a:xfrm>
            <a:off x="9989574" y="6250285"/>
            <a:ext cx="1870343" cy="338730"/>
            <a:chOff x="9989574" y="6250285"/>
            <a:chExt cx="1870343" cy="338730"/>
          </a:xfrm>
          <a:solidFill>
            <a:schemeClr val="bg1"/>
          </a:solidFill>
        </p:grpSpPr>
        <p:sp>
          <p:nvSpPr>
            <p:cNvPr id="9" name="Freeform 8">
              <a:extLst>
                <a:ext uri="{FF2B5EF4-FFF2-40B4-BE49-F238E27FC236}">
                  <a16:creationId xmlns:a16="http://schemas.microsoft.com/office/drawing/2014/main" id="{10967ABC-996C-1D4C-929D-EABEE363460E}"/>
                </a:ext>
              </a:extLst>
            </p:cNvPr>
            <p:cNvSpPr/>
            <p:nvPr/>
          </p:nvSpPr>
          <p:spPr>
            <a:xfrm>
              <a:off x="9989574" y="6459598"/>
              <a:ext cx="126683" cy="97008"/>
            </a:xfrm>
            <a:custGeom>
              <a:avLst/>
              <a:gdLst>
                <a:gd name="connsiteX0" fmla="*/ 82495 w 126683"/>
                <a:gd name="connsiteY0" fmla="*/ 0 h 97008"/>
                <a:gd name="connsiteX1" fmla="*/ 0 w 126683"/>
                <a:gd name="connsiteY1" fmla="*/ 46604 h 97008"/>
                <a:gd name="connsiteX2" fmla="*/ 0 w 126683"/>
                <a:gd name="connsiteY2" fmla="*/ 97009 h 97008"/>
                <a:gd name="connsiteX3" fmla="*/ 126683 w 126683"/>
                <a:gd name="connsiteY3" fmla="*/ 24927 h 97008"/>
                <a:gd name="connsiteX4" fmla="*/ 82495 w 126683"/>
                <a:gd name="connsiteY4" fmla="*/ 0 h 97008"/>
                <a:gd name="connsiteX5" fmla="*/ 82495 w 126683"/>
                <a:gd name="connsiteY5" fmla="*/ 0 h 97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683" h="97008">
                  <a:moveTo>
                    <a:pt x="82495" y="0"/>
                  </a:moveTo>
                  <a:lnTo>
                    <a:pt x="0" y="46604"/>
                  </a:lnTo>
                  <a:lnTo>
                    <a:pt x="0" y="97009"/>
                  </a:lnTo>
                  <a:lnTo>
                    <a:pt x="126683" y="24927"/>
                  </a:lnTo>
                  <a:lnTo>
                    <a:pt x="82495" y="0"/>
                  </a:lnTo>
                  <a:lnTo>
                    <a:pt x="82495" y="0"/>
                  </a:lnTo>
                  <a:close/>
                </a:path>
              </a:pathLst>
            </a:custGeom>
            <a:grpFill/>
            <a:ln w="0" cap="flat">
              <a:noFill/>
              <a:prstDash val="solid"/>
              <a:miter/>
            </a:ln>
          </p:spPr>
          <p:txBody>
            <a:bodyPr rtlCol="0" anchor="ctr"/>
            <a:lstStyle/>
            <a:p>
              <a:endParaRPr lang="en-BG"/>
            </a:p>
          </p:txBody>
        </p:sp>
        <p:sp>
          <p:nvSpPr>
            <p:cNvPr id="10" name="Freeform 9">
              <a:extLst>
                <a:ext uri="{FF2B5EF4-FFF2-40B4-BE49-F238E27FC236}">
                  <a16:creationId xmlns:a16="http://schemas.microsoft.com/office/drawing/2014/main" id="{15BB9035-7B99-C846-8213-C169563A334A}"/>
                </a:ext>
              </a:extLst>
            </p:cNvPr>
            <p:cNvSpPr/>
            <p:nvPr/>
          </p:nvSpPr>
          <p:spPr>
            <a:xfrm>
              <a:off x="10078525" y="6455822"/>
              <a:ext cx="126059" cy="46293"/>
            </a:xfrm>
            <a:custGeom>
              <a:avLst/>
              <a:gdLst>
                <a:gd name="connsiteX0" fmla="*/ 126059 w 126059"/>
                <a:gd name="connsiteY0" fmla="*/ 21342 h 46293"/>
                <a:gd name="connsiteX1" fmla="*/ 88352 w 126059"/>
                <a:gd name="connsiteY1" fmla="*/ 0 h 46293"/>
                <a:gd name="connsiteX2" fmla="*/ 0 w 126059"/>
                <a:gd name="connsiteY2" fmla="*/ 0 h 46293"/>
                <a:gd name="connsiteX3" fmla="*/ 81871 w 126059"/>
                <a:gd name="connsiteY3" fmla="*/ 46294 h 46293"/>
                <a:gd name="connsiteX4" fmla="*/ 126059 w 126059"/>
                <a:gd name="connsiteY4" fmla="*/ 21342 h 46293"/>
                <a:gd name="connsiteX5" fmla="*/ 126059 w 126059"/>
                <a:gd name="connsiteY5" fmla="*/ 21342 h 46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059" h="46293">
                  <a:moveTo>
                    <a:pt x="126059" y="21342"/>
                  </a:moveTo>
                  <a:lnTo>
                    <a:pt x="88352" y="0"/>
                  </a:lnTo>
                  <a:lnTo>
                    <a:pt x="0" y="0"/>
                  </a:lnTo>
                  <a:lnTo>
                    <a:pt x="81871" y="46294"/>
                  </a:lnTo>
                  <a:lnTo>
                    <a:pt x="126059" y="21342"/>
                  </a:lnTo>
                  <a:lnTo>
                    <a:pt x="126059" y="21342"/>
                  </a:lnTo>
                  <a:close/>
                </a:path>
              </a:pathLst>
            </a:custGeom>
            <a:grpFill/>
            <a:ln w="0" cap="flat">
              <a:noFill/>
              <a:prstDash val="solid"/>
              <a:miter/>
            </a:ln>
          </p:spPr>
          <p:txBody>
            <a:bodyPr rtlCol="0" anchor="ctr"/>
            <a:lstStyle/>
            <a:p>
              <a:endParaRPr lang="en-BG"/>
            </a:p>
          </p:txBody>
        </p:sp>
        <p:sp>
          <p:nvSpPr>
            <p:cNvPr id="11" name="Freeform 10">
              <a:extLst>
                <a:ext uri="{FF2B5EF4-FFF2-40B4-BE49-F238E27FC236}">
                  <a16:creationId xmlns:a16="http://schemas.microsoft.com/office/drawing/2014/main" id="{53260E2C-D9B2-1847-BF3B-E6279D6FC14E}"/>
                </a:ext>
              </a:extLst>
            </p:cNvPr>
            <p:cNvSpPr/>
            <p:nvPr/>
          </p:nvSpPr>
          <p:spPr>
            <a:xfrm>
              <a:off x="10167165" y="6408787"/>
              <a:ext cx="214339" cy="97200"/>
            </a:xfrm>
            <a:custGeom>
              <a:avLst/>
              <a:gdLst>
                <a:gd name="connsiteX0" fmla="*/ 170751 w 214339"/>
                <a:gd name="connsiteY0" fmla="*/ 0 h 97200"/>
                <a:gd name="connsiteX1" fmla="*/ 0 w 214339"/>
                <a:gd name="connsiteY1" fmla="*/ 97176 h 97200"/>
                <a:gd name="connsiteX2" fmla="*/ 88496 w 214339"/>
                <a:gd name="connsiteY2" fmla="*/ 97200 h 97200"/>
                <a:gd name="connsiteX3" fmla="*/ 214339 w 214339"/>
                <a:gd name="connsiteY3" fmla="*/ 25382 h 97200"/>
                <a:gd name="connsiteX4" fmla="*/ 170751 w 214339"/>
                <a:gd name="connsiteY4" fmla="*/ 0 h 97200"/>
                <a:gd name="connsiteX5" fmla="*/ 170751 w 214339"/>
                <a:gd name="connsiteY5" fmla="*/ 0 h 9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339" h="97200">
                  <a:moveTo>
                    <a:pt x="170751" y="0"/>
                  </a:moveTo>
                  <a:lnTo>
                    <a:pt x="0" y="97176"/>
                  </a:lnTo>
                  <a:lnTo>
                    <a:pt x="88496" y="97200"/>
                  </a:lnTo>
                  <a:lnTo>
                    <a:pt x="214339" y="25382"/>
                  </a:lnTo>
                  <a:lnTo>
                    <a:pt x="170751" y="0"/>
                  </a:lnTo>
                  <a:lnTo>
                    <a:pt x="170751" y="0"/>
                  </a:lnTo>
                  <a:close/>
                </a:path>
              </a:pathLst>
            </a:custGeom>
            <a:grpFill/>
            <a:ln w="0" cap="flat">
              <a:noFill/>
              <a:prstDash val="solid"/>
              <a:miter/>
            </a:ln>
          </p:spPr>
          <p:txBody>
            <a:bodyPr rtlCol="0" anchor="ctr"/>
            <a:lstStyle/>
            <a:p>
              <a:endParaRPr lang="en-BG"/>
            </a:p>
          </p:txBody>
        </p:sp>
        <p:sp>
          <p:nvSpPr>
            <p:cNvPr id="12" name="Freeform 11">
              <a:extLst>
                <a:ext uri="{FF2B5EF4-FFF2-40B4-BE49-F238E27FC236}">
                  <a16:creationId xmlns:a16="http://schemas.microsoft.com/office/drawing/2014/main" id="{85B1B71F-8F9A-1640-9724-0B67F6AA1AF1}"/>
                </a:ext>
              </a:extLst>
            </p:cNvPr>
            <p:cNvSpPr/>
            <p:nvPr/>
          </p:nvSpPr>
          <p:spPr>
            <a:xfrm>
              <a:off x="10344109" y="6405035"/>
              <a:ext cx="126587" cy="47130"/>
            </a:xfrm>
            <a:custGeom>
              <a:avLst/>
              <a:gdLst>
                <a:gd name="connsiteX0" fmla="*/ 126587 w 126587"/>
                <a:gd name="connsiteY0" fmla="*/ 21725 h 47130"/>
                <a:gd name="connsiteX1" fmla="*/ 88064 w 126587"/>
                <a:gd name="connsiteY1" fmla="*/ 0 h 47130"/>
                <a:gd name="connsiteX2" fmla="*/ 0 w 126587"/>
                <a:gd name="connsiteY2" fmla="*/ 0 h 47130"/>
                <a:gd name="connsiteX3" fmla="*/ 82063 w 126587"/>
                <a:gd name="connsiteY3" fmla="*/ 47130 h 47130"/>
                <a:gd name="connsiteX4" fmla="*/ 126587 w 126587"/>
                <a:gd name="connsiteY4" fmla="*/ 21725 h 47130"/>
                <a:gd name="connsiteX5" fmla="*/ 126587 w 126587"/>
                <a:gd name="connsiteY5" fmla="*/ 21725 h 4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587" h="47130">
                  <a:moveTo>
                    <a:pt x="126587" y="21725"/>
                  </a:moveTo>
                  <a:lnTo>
                    <a:pt x="88064" y="0"/>
                  </a:lnTo>
                  <a:lnTo>
                    <a:pt x="0" y="0"/>
                  </a:lnTo>
                  <a:lnTo>
                    <a:pt x="82063" y="47130"/>
                  </a:lnTo>
                  <a:lnTo>
                    <a:pt x="126587" y="21725"/>
                  </a:lnTo>
                  <a:lnTo>
                    <a:pt x="126587" y="21725"/>
                  </a:lnTo>
                  <a:close/>
                </a:path>
              </a:pathLst>
            </a:custGeom>
            <a:grpFill/>
            <a:ln w="0" cap="flat">
              <a:noFill/>
              <a:prstDash val="solid"/>
              <a:miter/>
            </a:ln>
          </p:spPr>
          <p:txBody>
            <a:bodyPr rtlCol="0" anchor="ctr"/>
            <a:lstStyle/>
            <a:p>
              <a:endParaRPr lang="en-BG"/>
            </a:p>
          </p:txBody>
        </p:sp>
        <p:sp>
          <p:nvSpPr>
            <p:cNvPr id="13" name="Freeform 12">
              <a:extLst>
                <a:ext uri="{FF2B5EF4-FFF2-40B4-BE49-F238E27FC236}">
                  <a16:creationId xmlns:a16="http://schemas.microsoft.com/office/drawing/2014/main" id="{9406C2B3-10CC-E14F-B753-EEF8B8618CCE}"/>
                </a:ext>
              </a:extLst>
            </p:cNvPr>
            <p:cNvSpPr/>
            <p:nvPr/>
          </p:nvSpPr>
          <p:spPr>
            <a:xfrm>
              <a:off x="10432725" y="6284150"/>
              <a:ext cx="301802" cy="171695"/>
            </a:xfrm>
            <a:custGeom>
              <a:avLst/>
              <a:gdLst>
                <a:gd name="connsiteX0" fmla="*/ 301803 w 301802"/>
                <a:gd name="connsiteY0" fmla="*/ 49879 h 171695"/>
                <a:gd name="connsiteX1" fmla="*/ 88280 w 301802"/>
                <a:gd name="connsiteY1" fmla="*/ 171672 h 171695"/>
                <a:gd name="connsiteX2" fmla="*/ 0 w 301802"/>
                <a:gd name="connsiteY2" fmla="*/ 171696 h 171695"/>
                <a:gd name="connsiteX3" fmla="*/ 301803 w 301802"/>
                <a:gd name="connsiteY3" fmla="*/ 0 h 171695"/>
                <a:gd name="connsiteX4" fmla="*/ 301803 w 301802"/>
                <a:gd name="connsiteY4" fmla="*/ 49879 h 171695"/>
                <a:gd name="connsiteX5" fmla="*/ 301803 w 301802"/>
                <a:gd name="connsiteY5" fmla="*/ 49879 h 171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802" h="171695">
                  <a:moveTo>
                    <a:pt x="301803" y="49879"/>
                  </a:moveTo>
                  <a:lnTo>
                    <a:pt x="88280" y="171672"/>
                  </a:lnTo>
                  <a:lnTo>
                    <a:pt x="0" y="171696"/>
                  </a:lnTo>
                  <a:lnTo>
                    <a:pt x="301803" y="0"/>
                  </a:lnTo>
                  <a:lnTo>
                    <a:pt x="301803" y="49879"/>
                  </a:lnTo>
                  <a:lnTo>
                    <a:pt x="301803" y="49879"/>
                  </a:lnTo>
                  <a:close/>
                </a:path>
              </a:pathLst>
            </a:custGeom>
            <a:grpFill/>
            <a:ln w="0" cap="flat">
              <a:noFill/>
              <a:prstDash val="solid"/>
              <a:miter/>
            </a:ln>
          </p:spPr>
          <p:txBody>
            <a:bodyPr rtlCol="0" anchor="ctr"/>
            <a:lstStyle/>
            <a:p>
              <a:endParaRPr lang="en-BG"/>
            </a:p>
          </p:txBody>
        </p:sp>
        <p:sp>
          <p:nvSpPr>
            <p:cNvPr id="14" name="Freeform 13">
              <a:extLst>
                <a:ext uri="{FF2B5EF4-FFF2-40B4-BE49-F238E27FC236}">
                  <a16:creationId xmlns:a16="http://schemas.microsoft.com/office/drawing/2014/main" id="{49793AED-22D9-7945-A494-C04C84796E71}"/>
                </a:ext>
              </a:extLst>
            </p:cNvPr>
            <p:cNvSpPr/>
            <p:nvPr/>
          </p:nvSpPr>
          <p:spPr>
            <a:xfrm>
              <a:off x="10865772" y="6441793"/>
              <a:ext cx="62141" cy="80804"/>
            </a:xfrm>
            <a:custGeom>
              <a:avLst/>
              <a:gdLst>
                <a:gd name="connsiteX0" fmla="*/ 51605 w 62141"/>
                <a:gd name="connsiteY0" fmla="*/ 79514 h 80804"/>
                <a:gd name="connsiteX1" fmla="*/ 62142 w 62141"/>
                <a:gd name="connsiteY1" fmla="*/ 79514 h 80804"/>
                <a:gd name="connsiteX2" fmla="*/ 62142 w 62141"/>
                <a:gd name="connsiteY2" fmla="*/ 39650 h 80804"/>
                <a:gd name="connsiteX3" fmla="*/ 32739 w 62141"/>
                <a:gd name="connsiteY3" fmla="*/ 39650 h 80804"/>
                <a:gd name="connsiteX4" fmla="*/ 32739 w 62141"/>
                <a:gd name="connsiteY4" fmla="*/ 51958 h 80804"/>
                <a:gd name="connsiteX5" fmla="*/ 47500 w 62141"/>
                <a:gd name="connsiteY5" fmla="*/ 51958 h 80804"/>
                <a:gd name="connsiteX6" fmla="*/ 31875 w 62141"/>
                <a:gd name="connsiteY6" fmla="*/ 67851 h 80804"/>
                <a:gd name="connsiteX7" fmla="*/ 15049 w 62141"/>
                <a:gd name="connsiteY7" fmla="*/ 40295 h 80804"/>
                <a:gd name="connsiteX8" fmla="*/ 32307 w 62141"/>
                <a:gd name="connsiteY8" fmla="*/ 12308 h 80804"/>
                <a:gd name="connsiteX9" fmla="*/ 46972 w 62141"/>
                <a:gd name="connsiteY9" fmla="*/ 23231 h 80804"/>
                <a:gd name="connsiteX10" fmla="*/ 60437 w 62141"/>
                <a:gd name="connsiteY10" fmla="*/ 19885 h 80804"/>
                <a:gd name="connsiteX11" fmla="*/ 32667 w 62141"/>
                <a:gd name="connsiteY11" fmla="*/ 0 h 80804"/>
                <a:gd name="connsiteX12" fmla="*/ 0 w 62141"/>
                <a:gd name="connsiteY12" fmla="*/ 39435 h 80804"/>
                <a:gd name="connsiteX13" fmla="*/ 30051 w 62141"/>
                <a:gd name="connsiteY13" fmla="*/ 80805 h 80804"/>
                <a:gd name="connsiteX14" fmla="*/ 50885 w 62141"/>
                <a:gd name="connsiteY14" fmla="*/ 71293 h 80804"/>
                <a:gd name="connsiteX15" fmla="*/ 51653 w 62141"/>
                <a:gd name="connsiteY15" fmla="*/ 79514 h 80804"/>
                <a:gd name="connsiteX16" fmla="*/ 51653 w 62141"/>
                <a:gd name="connsiteY16" fmla="*/ 79514 h 80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141" h="80804">
                  <a:moveTo>
                    <a:pt x="51605" y="79514"/>
                  </a:moveTo>
                  <a:lnTo>
                    <a:pt x="62142" y="79514"/>
                  </a:lnTo>
                  <a:lnTo>
                    <a:pt x="62142" y="39650"/>
                  </a:lnTo>
                  <a:lnTo>
                    <a:pt x="32739" y="39650"/>
                  </a:lnTo>
                  <a:lnTo>
                    <a:pt x="32739" y="51958"/>
                  </a:lnTo>
                  <a:lnTo>
                    <a:pt x="47500" y="51958"/>
                  </a:lnTo>
                  <a:cubicBezTo>
                    <a:pt x="46204" y="62020"/>
                    <a:pt x="40228" y="67851"/>
                    <a:pt x="31875" y="67851"/>
                  </a:cubicBezTo>
                  <a:cubicBezTo>
                    <a:pt x="21242" y="67851"/>
                    <a:pt x="15049" y="58339"/>
                    <a:pt x="15049" y="40295"/>
                  </a:cubicBezTo>
                  <a:cubicBezTo>
                    <a:pt x="15049" y="22251"/>
                    <a:pt x="21026" y="12308"/>
                    <a:pt x="32307" y="12308"/>
                  </a:cubicBezTo>
                  <a:cubicBezTo>
                    <a:pt x="39147" y="12308"/>
                    <a:pt x="43828" y="15893"/>
                    <a:pt x="46972" y="23231"/>
                  </a:cubicBezTo>
                  <a:lnTo>
                    <a:pt x="60437" y="19885"/>
                  </a:lnTo>
                  <a:cubicBezTo>
                    <a:pt x="56549" y="7027"/>
                    <a:pt x="46756" y="0"/>
                    <a:pt x="32667" y="0"/>
                  </a:cubicBezTo>
                  <a:cubicBezTo>
                    <a:pt x="12265" y="0"/>
                    <a:pt x="0" y="14364"/>
                    <a:pt x="0" y="39435"/>
                  </a:cubicBezTo>
                  <a:cubicBezTo>
                    <a:pt x="0" y="64505"/>
                    <a:pt x="11497" y="80805"/>
                    <a:pt x="30051" y="80805"/>
                  </a:cubicBezTo>
                  <a:cubicBezTo>
                    <a:pt x="39268" y="80805"/>
                    <a:pt x="45892" y="77794"/>
                    <a:pt x="50885" y="71293"/>
                  </a:cubicBezTo>
                  <a:lnTo>
                    <a:pt x="51653" y="79514"/>
                  </a:lnTo>
                  <a:lnTo>
                    <a:pt x="51653" y="79514"/>
                  </a:lnTo>
                  <a:close/>
                </a:path>
              </a:pathLst>
            </a:custGeom>
            <a:grpFill/>
            <a:ln w="0" cap="flat">
              <a:noFill/>
              <a:prstDash val="solid"/>
              <a:miter/>
            </a:ln>
          </p:spPr>
          <p:txBody>
            <a:bodyPr rtlCol="0" anchor="ctr"/>
            <a:lstStyle/>
            <a:p>
              <a:endParaRPr lang="en-BG"/>
            </a:p>
          </p:txBody>
        </p:sp>
        <p:sp>
          <p:nvSpPr>
            <p:cNvPr id="15" name="Freeform 14">
              <a:extLst>
                <a:ext uri="{FF2B5EF4-FFF2-40B4-BE49-F238E27FC236}">
                  <a16:creationId xmlns:a16="http://schemas.microsoft.com/office/drawing/2014/main" id="{EE5BD091-74F8-974C-81EA-B763611FA5AD}"/>
                </a:ext>
              </a:extLst>
            </p:cNvPr>
            <p:cNvSpPr/>
            <p:nvPr/>
          </p:nvSpPr>
          <p:spPr>
            <a:xfrm>
              <a:off x="10948531" y="6442749"/>
              <a:ext cx="59261" cy="78558"/>
            </a:xfrm>
            <a:custGeom>
              <a:avLst/>
              <a:gdLst>
                <a:gd name="connsiteX0" fmla="*/ 0 w 59261"/>
                <a:gd name="connsiteY0" fmla="*/ 78558 h 78558"/>
                <a:gd name="connsiteX1" fmla="*/ 14545 w 59261"/>
                <a:gd name="connsiteY1" fmla="*/ 78558 h 78558"/>
                <a:gd name="connsiteX2" fmla="*/ 14545 w 59261"/>
                <a:gd name="connsiteY2" fmla="*/ 46676 h 78558"/>
                <a:gd name="connsiteX3" fmla="*/ 28106 w 59261"/>
                <a:gd name="connsiteY3" fmla="*/ 46676 h 78558"/>
                <a:gd name="connsiteX4" fmla="*/ 43300 w 59261"/>
                <a:gd name="connsiteY4" fmla="*/ 78558 h 78558"/>
                <a:gd name="connsiteX5" fmla="*/ 59261 w 59261"/>
                <a:gd name="connsiteY5" fmla="*/ 78558 h 78558"/>
                <a:gd name="connsiteX6" fmla="*/ 41788 w 59261"/>
                <a:gd name="connsiteY6" fmla="*/ 43330 h 78558"/>
                <a:gd name="connsiteX7" fmla="*/ 56333 w 59261"/>
                <a:gd name="connsiteY7" fmla="*/ 23446 h 78558"/>
                <a:gd name="connsiteX8" fmla="*/ 26714 w 59261"/>
                <a:gd name="connsiteY8" fmla="*/ 0 h 78558"/>
                <a:gd name="connsiteX9" fmla="*/ 0 w 59261"/>
                <a:gd name="connsiteY9" fmla="*/ 0 h 78558"/>
                <a:gd name="connsiteX10" fmla="*/ 0 w 59261"/>
                <a:gd name="connsiteY10" fmla="*/ 78558 h 78558"/>
                <a:gd name="connsiteX11" fmla="*/ 0 w 59261"/>
                <a:gd name="connsiteY11" fmla="*/ 78558 h 78558"/>
                <a:gd name="connsiteX12" fmla="*/ 14545 w 59261"/>
                <a:gd name="connsiteY12" fmla="*/ 34248 h 78558"/>
                <a:gd name="connsiteX13" fmla="*/ 14545 w 59261"/>
                <a:gd name="connsiteY13" fmla="*/ 12428 h 78558"/>
                <a:gd name="connsiteX14" fmla="*/ 27458 w 59261"/>
                <a:gd name="connsiteY14" fmla="*/ 12428 h 78558"/>
                <a:gd name="connsiteX15" fmla="*/ 41356 w 59261"/>
                <a:gd name="connsiteY15" fmla="*/ 23350 h 78558"/>
                <a:gd name="connsiteX16" fmla="*/ 27458 w 59261"/>
                <a:gd name="connsiteY16" fmla="*/ 34272 h 78558"/>
                <a:gd name="connsiteX17" fmla="*/ 14545 w 59261"/>
                <a:gd name="connsiteY17" fmla="*/ 34272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9261" h="78558">
                  <a:moveTo>
                    <a:pt x="0" y="78558"/>
                  </a:moveTo>
                  <a:lnTo>
                    <a:pt x="14545" y="78558"/>
                  </a:lnTo>
                  <a:lnTo>
                    <a:pt x="14545" y="46676"/>
                  </a:lnTo>
                  <a:lnTo>
                    <a:pt x="28106" y="46676"/>
                  </a:lnTo>
                  <a:lnTo>
                    <a:pt x="43300" y="78558"/>
                  </a:lnTo>
                  <a:lnTo>
                    <a:pt x="59261" y="78558"/>
                  </a:lnTo>
                  <a:lnTo>
                    <a:pt x="41788" y="43330"/>
                  </a:lnTo>
                  <a:cubicBezTo>
                    <a:pt x="51125" y="40749"/>
                    <a:pt x="56333" y="33723"/>
                    <a:pt x="56333" y="23446"/>
                  </a:cubicBezTo>
                  <a:cubicBezTo>
                    <a:pt x="56333" y="7457"/>
                    <a:pt x="46564" y="0"/>
                    <a:pt x="26714" y="0"/>
                  </a:cubicBezTo>
                  <a:lnTo>
                    <a:pt x="0" y="0"/>
                  </a:lnTo>
                  <a:lnTo>
                    <a:pt x="0" y="78558"/>
                  </a:lnTo>
                  <a:lnTo>
                    <a:pt x="0" y="78558"/>
                  </a:lnTo>
                  <a:close/>
                  <a:moveTo>
                    <a:pt x="14545" y="34248"/>
                  </a:moveTo>
                  <a:lnTo>
                    <a:pt x="14545" y="12428"/>
                  </a:lnTo>
                  <a:lnTo>
                    <a:pt x="27458" y="12428"/>
                  </a:lnTo>
                  <a:cubicBezTo>
                    <a:pt x="36795" y="12428"/>
                    <a:pt x="41356" y="15678"/>
                    <a:pt x="41356" y="23350"/>
                  </a:cubicBezTo>
                  <a:cubicBezTo>
                    <a:pt x="41356" y="31022"/>
                    <a:pt x="36891" y="34272"/>
                    <a:pt x="27458" y="34272"/>
                  </a:cubicBezTo>
                  <a:lnTo>
                    <a:pt x="14545" y="34272"/>
                  </a:lnTo>
                  <a:close/>
                </a:path>
              </a:pathLst>
            </a:custGeom>
            <a:grpFill/>
            <a:ln w="0" cap="flat">
              <a:noFill/>
              <a:prstDash val="solid"/>
              <a:miter/>
            </a:ln>
          </p:spPr>
          <p:txBody>
            <a:bodyPr rtlCol="0" anchor="ctr"/>
            <a:lstStyle/>
            <a:p>
              <a:endParaRPr lang="en-BG"/>
            </a:p>
          </p:txBody>
        </p:sp>
        <p:sp>
          <p:nvSpPr>
            <p:cNvPr id="16" name="Freeform 15">
              <a:extLst>
                <a:ext uri="{FF2B5EF4-FFF2-40B4-BE49-F238E27FC236}">
                  <a16:creationId xmlns:a16="http://schemas.microsoft.com/office/drawing/2014/main" id="{52C78CFE-183C-0A44-B272-C524C0330741}"/>
                </a:ext>
              </a:extLst>
            </p:cNvPr>
            <p:cNvSpPr/>
            <p:nvPr/>
          </p:nvSpPr>
          <p:spPr>
            <a:xfrm>
              <a:off x="11021546" y="6441769"/>
              <a:ext cx="65549" cy="80828"/>
            </a:xfrm>
            <a:custGeom>
              <a:avLst/>
              <a:gdLst>
                <a:gd name="connsiteX0" fmla="*/ 0 w 65549"/>
                <a:gd name="connsiteY0" fmla="*/ 40414 h 80828"/>
                <a:gd name="connsiteX1" fmla="*/ 32763 w 65549"/>
                <a:gd name="connsiteY1" fmla="*/ 80829 h 80828"/>
                <a:gd name="connsiteX2" fmla="*/ 65550 w 65549"/>
                <a:gd name="connsiteY2" fmla="*/ 40414 h 80828"/>
                <a:gd name="connsiteX3" fmla="*/ 32763 w 65549"/>
                <a:gd name="connsiteY3" fmla="*/ 0 h 80828"/>
                <a:gd name="connsiteX4" fmla="*/ 0 w 65549"/>
                <a:gd name="connsiteY4" fmla="*/ 40414 h 80828"/>
                <a:gd name="connsiteX5" fmla="*/ 0 w 65549"/>
                <a:gd name="connsiteY5" fmla="*/ 40414 h 80828"/>
                <a:gd name="connsiteX6" fmla="*/ 15097 w 65549"/>
                <a:gd name="connsiteY6" fmla="*/ 40414 h 80828"/>
                <a:gd name="connsiteX7" fmla="*/ 32787 w 65549"/>
                <a:gd name="connsiteY7" fmla="*/ 13073 h 80828"/>
                <a:gd name="connsiteX8" fmla="*/ 50477 w 65549"/>
                <a:gd name="connsiteY8" fmla="*/ 40414 h 80828"/>
                <a:gd name="connsiteX9" fmla="*/ 32787 w 65549"/>
                <a:gd name="connsiteY9" fmla="*/ 67541 h 80828"/>
                <a:gd name="connsiteX10" fmla="*/ 15097 w 65549"/>
                <a:gd name="connsiteY10" fmla="*/ 40414 h 80828"/>
                <a:gd name="connsiteX11" fmla="*/ 15097 w 65549"/>
                <a:gd name="connsiteY11" fmla="*/ 40414 h 8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549" h="80828">
                  <a:moveTo>
                    <a:pt x="0" y="40414"/>
                  </a:moveTo>
                  <a:cubicBezTo>
                    <a:pt x="0" y="65915"/>
                    <a:pt x="12577" y="80829"/>
                    <a:pt x="32763" y="80829"/>
                  </a:cubicBezTo>
                  <a:cubicBezTo>
                    <a:pt x="52949" y="80829"/>
                    <a:pt x="65550" y="65915"/>
                    <a:pt x="65550" y="40414"/>
                  </a:cubicBezTo>
                  <a:cubicBezTo>
                    <a:pt x="65550" y="14913"/>
                    <a:pt x="53069" y="0"/>
                    <a:pt x="32763" y="0"/>
                  </a:cubicBezTo>
                  <a:cubicBezTo>
                    <a:pt x="12457" y="0"/>
                    <a:pt x="0" y="14794"/>
                    <a:pt x="0" y="40414"/>
                  </a:cubicBezTo>
                  <a:lnTo>
                    <a:pt x="0" y="40414"/>
                  </a:lnTo>
                  <a:close/>
                  <a:moveTo>
                    <a:pt x="15097" y="40414"/>
                  </a:moveTo>
                  <a:cubicBezTo>
                    <a:pt x="15097" y="22370"/>
                    <a:pt x="21290" y="13073"/>
                    <a:pt x="32787" y="13073"/>
                  </a:cubicBezTo>
                  <a:cubicBezTo>
                    <a:pt x="44284" y="13073"/>
                    <a:pt x="50477" y="22370"/>
                    <a:pt x="50477" y="40414"/>
                  </a:cubicBezTo>
                  <a:cubicBezTo>
                    <a:pt x="50477" y="58459"/>
                    <a:pt x="44284" y="67541"/>
                    <a:pt x="32787" y="67541"/>
                  </a:cubicBezTo>
                  <a:cubicBezTo>
                    <a:pt x="21290" y="67541"/>
                    <a:pt x="15097" y="58363"/>
                    <a:pt x="15097" y="40414"/>
                  </a:cubicBezTo>
                  <a:lnTo>
                    <a:pt x="15097" y="40414"/>
                  </a:lnTo>
                  <a:close/>
                </a:path>
              </a:pathLst>
            </a:custGeom>
            <a:grpFill/>
            <a:ln w="0" cap="flat">
              <a:noFill/>
              <a:prstDash val="solid"/>
              <a:miter/>
            </a:ln>
          </p:spPr>
          <p:txBody>
            <a:bodyPr rtlCol="0" anchor="ctr"/>
            <a:lstStyle/>
            <a:p>
              <a:endParaRPr lang="en-BG"/>
            </a:p>
          </p:txBody>
        </p:sp>
        <p:sp>
          <p:nvSpPr>
            <p:cNvPr id="17" name="Freeform 16">
              <a:extLst>
                <a:ext uri="{FF2B5EF4-FFF2-40B4-BE49-F238E27FC236}">
                  <a16:creationId xmlns:a16="http://schemas.microsoft.com/office/drawing/2014/main" id="{E6267889-92E1-674A-8E93-75F01C874A4D}"/>
                </a:ext>
              </a:extLst>
            </p:cNvPr>
            <p:cNvSpPr/>
            <p:nvPr/>
          </p:nvSpPr>
          <p:spPr>
            <a:xfrm>
              <a:off x="11105385" y="6442725"/>
              <a:ext cx="59789" cy="79872"/>
            </a:xfrm>
            <a:custGeom>
              <a:avLst/>
              <a:gdLst>
                <a:gd name="connsiteX0" fmla="*/ 0 w 59789"/>
                <a:gd name="connsiteY0" fmla="*/ 49735 h 79872"/>
                <a:gd name="connsiteX1" fmla="*/ 29835 w 59789"/>
                <a:gd name="connsiteY1" fmla="*/ 79873 h 79872"/>
                <a:gd name="connsiteX2" fmla="*/ 59789 w 59789"/>
                <a:gd name="connsiteY2" fmla="*/ 52101 h 79872"/>
                <a:gd name="connsiteX3" fmla="*/ 59789 w 59789"/>
                <a:gd name="connsiteY3" fmla="*/ 0 h 79872"/>
                <a:gd name="connsiteX4" fmla="*/ 45364 w 59789"/>
                <a:gd name="connsiteY4" fmla="*/ 0 h 79872"/>
                <a:gd name="connsiteX5" fmla="*/ 45364 w 59789"/>
                <a:gd name="connsiteY5" fmla="*/ 50357 h 79872"/>
                <a:gd name="connsiteX6" fmla="*/ 29835 w 59789"/>
                <a:gd name="connsiteY6" fmla="*/ 66895 h 79872"/>
                <a:gd name="connsiteX7" fmla="*/ 14857 w 59789"/>
                <a:gd name="connsiteY7" fmla="*/ 50357 h 79872"/>
                <a:gd name="connsiteX8" fmla="*/ 14857 w 59789"/>
                <a:gd name="connsiteY8" fmla="*/ 0 h 79872"/>
                <a:gd name="connsiteX9" fmla="*/ 0 w 59789"/>
                <a:gd name="connsiteY9" fmla="*/ 0 h 79872"/>
                <a:gd name="connsiteX10" fmla="*/ 0 w 59789"/>
                <a:gd name="connsiteY10" fmla="*/ 49711 h 79872"/>
                <a:gd name="connsiteX11" fmla="*/ 0 w 59789"/>
                <a:gd name="connsiteY11" fmla="*/ 49711 h 7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789" h="79872">
                  <a:moveTo>
                    <a:pt x="0" y="49735"/>
                  </a:moveTo>
                  <a:cubicBezTo>
                    <a:pt x="0" y="69954"/>
                    <a:pt x="9649" y="79873"/>
                    <a:pt x="29835" y="79873"/>
                  </a:cubicBezTo>
                  <a:cubicBezTo>
                    <a:pt x="50020" y="79873"/>
                    <a:pt x="59789" y="69931"/>
                    <a:pt x="59789" y="52101"/>
                  </a:cubicBezTo>
                  <a:lnTo>
                    <a:pt x="59789" y="0"/>
                  </a:lnTo>
                  <a:lnTo>
                    <a:pt x="45364" y="0"/>
                  </a:lnTo>
                  <a:lnTo>
                    <a:pt x="45364" y="50357"/>
                  </a:lnTo>
                  <a:cubicBezTo>
                    <a:pt x="45364" y="61829"/>
                    <a:pt x="41452" y="66895"/>
                    <a:pt x="29835" y="66895"/>
                  </a:cubicBezTo>
                  <a:cubicBezTo>
                    <a:pt x="18866" y="66895"/>
                    <a:pt x="14857" y="61494"/>
                    <a:pt x="14857" y="50357"/>
                  </a:cubicBezTo>
                  <a:lnTo>
                    <a:pt x="14857" y="0"/>
                  </a:lnTo>
                  <a:lnTo>
                    <a:pt x="0" y="0"/>
                  </a:lnTo>
                  <a:lnTo>
                    <a:pt x="0" y="49711"/>
                  </a:lnTo>
                  <a:lnTo>
                    <a:pt x="0" y="49711"/>
                  </a:lnTo>
                  <a:close/>
                </a:path>
              </a:pathLst>
            </a:custGeom>
            <a:grpFill/>
            <a:ln w="0" cap="flat">
              <a:noFill/>
              <a:prstDash val="solid"/>
              <a:miter/>
            </a:ln>
          </p:spPr>
          <p:txBody>
            <a:bodyPr rtlCol="0" anchor="ctr"/>
            <a:lstStyle/>
            <a:p>
              <a:endParaRPr lang="en-BG"/>
            </a:p>
          </p:txBody>
        </p:sp>
        <p:sp>
          <p:nvSpPr>
            <p:cNvPr id="18" name="Freeform 17">
              <a:extLst>
                <a:ext uri="{FF2B5EF4-FFF2-40B4-BE49-F238E27FC236}">
                  <a16:creationId xmlns:a16="http://schemas.microsoft.com/office/drawing/2014/main" id="{7A530760-0D77-0243-B5FC-633EBBE3682D}"/>
                </a:ext>
              </a:extLst>
            </p:cNvPr>
            <p:cNvSpPr/>
            <p:nvPr/>
          </p:nvSpPr>
          <p:spPr>
            <a:xfrm>
              <a:off x="11188217" y="6442749"/>
              <a:ext cx="55780" cy="78558"/>
            </a:xfrm>
            <a:custGeom>
              <a:avLst/>
              <a:gdLst>
                <a:gd name="connsiteX0" fmla="*/ 0 w 55780"/>
                <a:gd name="connsiteY0" fmla="*/ 78558 h 78558"/>
                <a:gd name="connsiteX1" fmla="*/ 14977 w 55780"/>
                <a:gd name="connsiteY1" fmla="*/ 78558 h 78558"/>
                <a:gd name="connsiteX2" fmla="*/ 14977 w 55780"/>
                <a:gd name="connsiteY2" fmla="*/ 46796 h 78558"/>
                <a:gd name="connsiteX3" fmla="*/ 29619 w 55780"/>
                <a:gd name="connsiteY3" fmla="*/ 46796 h 78558"/>
                <a:gd name="connsiteX4" fmla="*/ 55781 w 55780"/>
                <a:gd name="connsiteY4" fmla="*/ 23350 h 78558"/>
                <a:gd name="connsiteX5" fmla="*/ 28226 w 55780"/>
                <a:gd name="connsiteY5" fmla="*/ 0 h 78558"/>
                <a:gd name="connsiteX6" fmla="*/ 0 w 55780"/>
                <a:gd name="connsiteY6" fmla="*/ 0 h 78558"/>
                <a:gd name="connsiteX7" fmla="*/ 0 w 55780"/>
                <a:gd name="connsiteY7" fmla="*/ 78558 h 78558"/>
                <a:gd name="connsiteX8" fmla="*/ 0 w 55780"/>
                <a:gd name="connsiteY8" fmla="*/ 78558 h 78558"/>
                <a:gd name="connsiteX9" fmla="*/ 14953 w 55780"/>
                <a:gd name="connsiteY9" fmla="*/ 34344 h 78558"/>
                <a:gd name="connsiteX10" fmla="*/ 14953 w 55780"/>
                <a:gd name="connsiteY10" fmla="*/ 12213 h 78558"/>
                <a:gd name="connsiteX11" fmla="*/ 26018 w 55780"/>
                <a:gd name="connsiteY11" fmla="*/ 12213 h 78558"/>
                <a:gd name="connsiteX12" fmla="*/ 40876 w 55780"/>
                <a:gd name="connsiteY12" fmla="*/ 23326 h 78558"/>
                <a:gd name="connsiteX13" fmla="*/ 26018 w 55780"/>
                <a:gd name="connsiteY13" fmla="*/ 34344 h 78558"/>
                <a:gd name="connsiteX14" fmla="*/ 14953 w 55780"/>
                <a:gd name="connsiteY14" fmla="*/ 34344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780" h="78558">
                  <a:moveTo>
                    <a:pt x="0" y="78558"/>
                  </a:moveTo>
                  <a:lnTo>
                    <a:pt x="14977" y="78558"/>
                  </a:lnTo>
                  <a:lnTo>
                    <a:pt x="14977" y="46796"/>
                  </a:lnTo>
                  <a:lnTo>
                    <a:pt x="29619" y="46796"/>
                  </a:lnTo>
                  <a:cubicBezTo>
                    <a:pt x="46756" y="46796"/>
                    <a:pt x="55781" y="38574"/>
                    <a:pt x="55781" y="23350"/>
                  </a:cubicBezTo>
                  <a:cubicBezTo>
                    <a:pt x="55781" y="8126"/>
                    <a:pt x="46660" y="0"/>
                    <a:pt x="28226" y="0"/>
                  </a:cubicBezTo>
                  <a:lnTo>
                    <a:pt x="0" y="0"/>
                  </a:lnTo>
                  <a:lnTo>
                    <a:pt x="0" y="78558"/>
                  </a:lnTo>
                  <a:lnTo>
                    <a:pt x="0" y="78558"/>
                  </a:lnTo>
                  <a:close/>
                  <a:moveTo>
                    <a:pt x="14953" y="34344"/>
                  </a:moveTo>
                  <a:lnTo>
                    <a:pt x="14953" y="12213"/>
                  </a:lnTo>
                  <a:lnTo>
                    <a:pt x="26018" y="12213"/>
                  </a:lnTo>
                  <a:cubicBezTo>
                    <a:pt x="36219" y="12213"/>
                    <a:pt x="40876" y="14818"/>
                    <a:pt x="40876" y="23326"/>
                  </a:cubicBezTo>
                  <a:cubicBezTo>
                    <a:pt x="40876" y="31834"/>
                    <a:pt x="36099" y="34344"/>
                    <a:pt x="26018" y="34344"/>
                  </a:cubicBezTo>
                  <a:lnTo>
                    <a:pt x="14953" y="34344"/>
                  </a:lnTo>
                  <a:close/>
                </a:path>
              </a:pathLst>
            </a:custGeom>
            <a:grpFill/>
            <a:ln w="0" cap="flat">
              <a:noFill/>
              <a:prstDash val="solid"/>
              <a:miter/>
            </a:ln>
          </p:spPr>
          <p:txBody>
            <a:bodyPr rtlCol="0" anchor="ctr"/>
            <a:lstStyle/>
            <a:p>
              <a:endParaRPr lang="en-BG"/>
            </a:p>
          </p:txBody>
        </p:sp>
        <p:sp>
          <p:nvSpPr>
            <p:cNvPr id="19" name="Freeform 18">
              <a:extLst>
                <a:ext uri="{FF2B5EF4-FFF2-40B4-BE49-F238E27FC236}">
                  <a16:creationId xmlns:a16="http://schemas.microsoft.com/office/drawing/2014/main" id="{8A7AB072-3D66-F94E-B9E4-E42321D273E4}"/>
                </a:ext>
              </a:extLst>
            </p:cNvPr>
            <p:cNvSpPr/>
            <p:nvPr/>
          </p:nvSpPr>
          <p:spPr>
            <a:xfrm>
              <a:off x="10870596" y="6318040"/>
              <a:ext cx="61109" cy="78558"/>
            </a:xfrm>
            <a:custGeom>
              <a:avLst/>
              <a:gdLst>
                <a:gd name="connsiteX0" fmla="*/ 0 w 61109"/>
                <a:gd name="connsiteY0" fmla="*/ 78558 h 78558"/>
                <a:gd name="connsiteX1" fmla="*/ 23546 w 61109"/>
                <a:gd name="connsiteY1" fmla="*/ 78558 h 78558"/>
                <a:gd name="connsiteX2" fmla="*/ 61109 w 61109"/>
                <a:gd name="connsiteY2" fmla="*/ 39004 h 78558"/>
                <a:gd name="connsiteX3" fmla="*/ 24098 w 61109"/>
                <a:gd name="connsiteY3" fmla="*/ 0 h 78558"/>
                <a:gd name="connsiteX4" fmla="*/ 0 w 61109"/>
                <a:gd name="connsiteY4" fmla="*/ 0 h 78558"/>
                <a:gd name="connsiteX5" fmla="*/ 0 w 61109"/>
                <a:gd name="connsiteY5" fmla="*/ 78558 h 78558"/>
                <a:gd name="connsiteX6" fmla="*/ 0 w 61109"/>
                <a:gd name="connsiteY6" fmla="*/ 78558 h 78558"/>
                <a:gd name="connsiteX7" fmla="*/ 14857 w 61109"/>
                <a:gd name="connsiteY7" fmla="*/ 65605 h 78558"/>
                <a:gd name="connsiteX8" fmla="*/ 14857 w 61109"/>
                <a:gd name="connsiteY8" fmla="*/ 13097 h 78558"/>
                <a:gd name="connsiteX9" fmla="*/ 22778 w 61109"/>
                <a:gd name="connsiteY9" fmla="*/ 13097 h 78558"/>
                <a:gd name="connsiteX10" fmla="*/ 46012 w 61109"/>
                <a:gd name="connsiteY10" fmla="*/ 39028 h 78558"/>
                <a:gd name="connsiteX11" fmla="*/ 22994 w 61109"/>
                <a:gd name="connsiteY11" fmla="*/ 65605 h 78558"/>
                <a:gd name="connsiteX12" fmla="*/ 14857 w 61109"/>
                <a:gd name="connsiteY12" fmla="*/ 65605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109" h="78558">
                  <a:moveTo>
                    <a:pt x="0" y="78558"/>
                  </a:moveTo>
                  <a:lnTo>
                    <a:pt x="23546" y="78558"/>
                  </a:lnTo>
                  <a:cubicBezTo>
                    <a:pt x="48508" y="78558"/>
                    <a:pt x="61109" y="65270"/>
                    <a:pt x="61109" y="39004"/>
                  </a:cubicBezTo>
                  <a:cubicBezTo>
                    <a:pt x="61109" y="12739"/>
                    <a:pt x="48532" y="0"/>
                    <a:pt x="24098" y="0"/>
                  </a:cubicBezTo>
                  <a:lnTo>
                    <a:pt x="0" y="0"/>
                  </a:lnTo>
                  <a:lnTo>
                    <a:pt x="0" y="78558"/>
                  </a:lnTo>
                  <a:lnTo>
                    <a:pt x="0" y="78558"/>
                  </a:lnTo>
                  <a:close/>
                  <a:moveTo>
                    <a:pt x="14857" y="65605"/>
                  </a:moveTo>
                  <a:lnTo>
                    <a:pt x="14857" y="13097"/>
                  </a:lnTo>
                  <a:lnTo>
                    <a:pt x="22778" y="13097"/>
                  </a:lnTo>
                  <a:cubicBezTo>
                    <a:pt x="38739" y="13097"/>
                    <a:pt x="46012" y="21199"/>
                    <a:pt x="46012" y="39028"/>
                  </a:cubicBezTo>
                  <a:cubicBezTo>
                    <a:pt x="46012" y="57718"/>
                    <a:pt x="39268" y="65605"/>
                    <a:pt x="22994" y="65605"/>
                  </a:cubicBezTo>
                  <a:lnTo>
                    <a:pt x="14857" y="65605"/>
                  </a:lnTo>
                  <a:close/>
                </a:path>
              </a:pathLst>
            </a:custGeom>
            <a:grpFill/>
            <a:ln w="0" cap="flat">
              <a:noFill/>
              <a:prstDash val="solid"/>
              <a:miter/>
            </a:ln>
          </p:spPr>
          <p:txBody>
            <a:bodyPr rtlCol="0" anchor="ctr"/>
            <a:lstStyle/>
            <a:p>
              <a:endParaRPr lang="en-BG"/>
            </a:p>
          </p:txBody>
        </p:sp>
        <p:sp>
          <p:nvSpPr>
            <p:cNvPr id="20" name="Freeform 19">
              <a:extLst>
                <a:ext uri="{FF2B5EF4-FFF2-40B4-BE49-F238E27FC236}">
                  <a16:creationId xmlns:a16="http://schemas.microsoft.com/office/drawing/2014/main" id="{8FB4CD1F-766C-934B-9E17-7777F67DF3ED}"/>
                </a:ext>
              </a:extLst>
            </p:cNvPr>
            <p:cNvSpPr/>
            <p:nvPr/>
          </p:nvSpPr>
          <p:spPr>
            <a:xfrm>
              <a:off x="10950835" y="6318040"/>
              <a:ext cx="52876" cy="78558"/>
            </a:xfrm>
            <a:custGeom>
              <a:avLst/>
              <a:gdLst>
                <a:gd name="connsiteX0" fmla="*/ 0 w 52876"/>
                <a:gd name="connsiteY0" fmla="*/ 78558 h 78558"/>
                <a:gd name="connsiteX1" fmla="*/ 52877 w 52876"/>
                <a:gd name="connsiteY1" fmla="*/ 78558 h 78558"/>
                <a:gd name="connsiteX2" fmla="*/ 52877 w 52876"/>
                <a:gd name="connsiteY2" fmla="*/ 65151 h 78558"/>
                <a:gd name="connsiteX3" fmla="*/ 14785 w 52876"/>
                <a:gd name="connsiteY3" fmla="*/ 65151 h 78558"/>
                <a:gd name="connsiteX4" fmla="*/ 14785 w 52876"/>
                <a:gd name="connsiteY4" fmla="*/ 43880 h 78558"/>
                <a:gd name="connsiteX5" fmla="*/ 41356 w 52876"/>
                <a:gd name="connsiteY5" fmla="*/ 43880 h 78558"/>
                <a:gd name="connsiteX6" fmla="*/ 41356 w 52876"/>
                <a:gd name="connsiteY6" fmla="*/ 31333 h 78558"/>
                <a:gd name="connsiteX7" fmla="*/ 14785 w 52876"/>
                <a:gd name="connsiteY7" fmla="*/ 31333 h 78558"/>
                <a:gd name="connsiteX8" fmla="*/ 14785 w 52876"/>
                <a:gd name="connsiteY8" fmla="*/ 12762 h 78558"/>
                <a:gd name="connsiteX9" fmla="*/ 51221 w 52876"/>
                <a:gd name="connsiteY9" fmla="*/ 12762 h 78558"/>
                <a:gd name="connsiteX10" fmla="*/ 51221 w 52876"/>
                <a:gd name="connsiteY10" fmla="*/ 0 h 78558"/>
                <a:gd name="connsiteX11" fmla="*/ 0 w 52876"/>
                <a:gd name="connsiteY11" fmla="*/ 0 h 78558"/>
                <a:gd name="connsiteX12" fmla="*/ 0 w 52876"/>
                <a:gd name="connsiteY12" fmla="*/ 78558 h 78558"/>
                <a:gd name="connsiteX13" fmla="*/ 0 w 52876"/>
                <a:gd name="connsiteY13" fmla="*/ 78558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876" h="78558">
                  <a:moveTo>
                    <a:pt x="0" y="78558"/>
                  </a:moveTo>
                  <a:lnTo>
                    <a:pt x="52877" y="78558"/>
                  </a:lnTo>
                  <a:lnTo>
                    <a:pt x="52877" y="65151"/>
                  </a:lnTo>
                  <a:lnTo>
                    <a:pt x="14785" y="65151"/>
                  </a:lnTo>
                  <a:lnTo>
                    <a:pt x="14785" y="43880"/>
                  </a:lnTo>
                  <a:lnTo>
                    <a:pt x="41356" y="43880"/>
                  </a:lnTo>
                  <a:lnTo>
                    <a:pt x="41356" y="31333"/>
                  </a:lnTo>
                  <a:lnTo>
                    <a:pt x="14785" y="31333"/>
                  </a:lnTo>
                  <a:lnTo>
                    <a:pt x="14785" y="12762"/>
                  </a:lnTo>
                  <a:lnTo>
                    <a:pt x="51221" y="12762"/>
                  </a:lnTo>
                  <a:lnTo>
                    <a:pt x="51221" y="0"/>
                  </a:lnTo>
                  <a:lnTo>
                    <a:pt x="0" y="0"/>
                  </a:lnTo>
                  <a:lnTo>
                    <a:pt x="0" y="78558"/>
                  </a:lnTo>
                  <a:lnTo>
                    <a:pt x="0" y="78558"/>
                  </a:lnTo>
                  <a:close/>
                </a:path>
              </a:pathLst>
            </a:custGeom>
            <a:grpFill/>
            <a:ln w="0" cap="flat">
              <a:noFill/>
              <a:prstDash val="solid"/>
              <a:miter/>
            </a:ln>
          </p:spPr>
          <p:txBody>
            <a:bodyPr rtlCol="0" anchor="ctr"/>
            <a:lstStyle/>
            <a:p>
              <a:endParaRPr lang="en-BG"/>
            </a:p>
          </p:txBody>
        </p:sp>
        <p:sp>
          <p:nvSpPr>
            <p:cNvPr id="21" name="Freeform 20">
              <a:extLst>
                <a:ext uri="{FF2B5EF4-FFF2-40B4-BE49-F238E27FC236}">
                  <a16:creationId xmlns:a16="http://schemas.microsoft.com/office/drawing/2014/main" id="{7A13132C-6961-0B4D-BAA7-7720A2F1A32E}"/>
                </a:ext>
              </a:extLst>
            </p:cNvPr>
            <p:cNvSpPr/>
            <p:nvPr/>
          </p:nvSpPr>
          <p:spPr>
            <a:xfrm>
              <a:off x="11021210" y="6318040"/>
              <a:ext cx="59789" cy="79848"/>
            </a:xfrm>
            <a:custGeom>
              <a:avLst/>
              <a:gdLst>
                <a:gd name="connsiteX0" fmla="*/ 0 w 59789"/>
                <a:gd name="connsiteY0" fmla="*/ 49711 h 79848"/>
                <a:gd name="connsiteX1" fmla="*/ 29835 w 59789"/>
                <a:gd name="connsiteY1" fmla="*/ 79849 h 79848"/>
                <a:gd name="connsiteX2" fmla="*/ 59789 w 59789"/>
                <a:gd name="connsiteY2" fmla="*/ 52077 h 79848"/>
                <a:gd name="connsiteX3" fmla="*/ 59789 w 59789"/>
                <a:gd name="connsiteY3" fmla="*/ 0 h 79848"/>
                <a:gd name="connsiteX4" fmla="*/ 45364 w 59789"/>
                <a:gd name="connsiteY4" fmla="*/ 0 h 79848"/>
                <a:gd name="connsiteX5" fmla="*/ 45364 w 59789"/>
                <a:gd name="connsiteY5" fmla="*/ 50357 h 79848"/>
                <a:gd name="connsiteX6" fmla="*/ 29859 w 59789"/>
                <a:gd name="connsiteY6" fmla="*/ 66895 h 79848"/>
                <a:gd name="connsiteX7" fmla="*/ 14881 w 59789"/>
                <a:gd name="connsiteY7" fmla="*/ 50357 h 79848"/>
                <a:gd name="connsiteX8" fmla="*/ 14881 w 59789"/>
                <a:gd name="connsiteY8" fmla="*/ 0 h 79848"/>
                <a:gd name="connsiteX9" fmla="*/ 24 w 59789"/>
                <a:gd name="connsiteY9" fmla="*/ 0 h 79848"/>
                <a:gd name="connsiteX10" fmla="*/ 24 w 59789"/>
                <a:gd name="connsiteY10" fmla="*/ 49711 h 79848"/>
                <a:gd name="connsiteX11" fmla="*/ 24 w 59789"/>
                <a:gd name="connsiteY11" fmla="*/ 49711 h 79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789" h="79848">
                  <a:moveTo>
                    <a:pt x="0" y="49711"/>
                  </a:moveTo>
                  <a:cubicBezTo>
                    <a:pt x="0" y="69907"/>
                    <a:pt x="9649" y="79849"/>
                    <a:pt x="29835" y="79849"/>
                  </a:cubicBezTo>
                  <a:cubicBezTo>
                    <a:pt x="50020" y="79849"/>
                    <a:pt x="59789" y="69907"/>
                    <a:pt x="59789" y="52077"/>
                  </a:cubicBezTo>
                  <a:lnTo>
                    <a:pt x="59789" y="0"/>
                  </a:lnTo>
                  <a:lnTo>
                    <a:pt x="45364" y="0"/>
                  </a:lnTo>
                  <a:lnTo>
                    <a:pt x="45364" y="50357"/>
                  </a:lnTo>
                  <a:cubicBezTo>
                    <a:pt x="45364" y="61805"/>
                    <a:pt x="41452" y="66895"/>
                    <a:pt x="29859" y="66895"/>
                  </a:cubicBezTo>
                  <a:cubicBezTo>
                    <a:pt x="18890" y="66895"/>
                    <a:pt x="14881" y="61494"/>
                    <a:pt x="14881" y="50357"/>
                  </a:cubicBezTo>
                  <a:lnTo>
                    <a:pt x="14881" y="0"/>
                  </a:lnTo>
                  <a:lnTo>
                    <a:pt x="24" y="0"/>
                  </a:lnTo>
                  <a:lnTo>
                    <a:pt x="24" y="49711"/>
                  </a:lnTo>
                  <a:lnTo>
                    <a:pt x="24" y="49711"/>
                  </a:lnTo>
                  <a:close/>
                </a:path>
              </a:pathLst>
            </a:custGeom>
            <a:grpFill/>
            <a:ln w="0" cap="flat">
              <a:noFill/>
              <a:prstDash val="solid"/>
              <a:miter/>
            </a:ln>
          </p:spPr>
          <p:txBody>
            <a:bodyPr rtlCol="0" anchor="ctr"/>
            <a:lstStyle/>
            <a:p>
              <a:endParaRPr lang="en-BG"/>
            </a:p>
          </p:txBody>
        </p:sp>
        <p:sp>
          <p:nvSpPr>
            <p:cNvPr id="22" name="Freeform 21">
              <a:extLst>
                <a:ext uri="{FF2B5EF4-FFF2-40B4-BE49-F238E27FC236}">
                  <a16:creationId xmlns:a16="http://schemas.microsoft.com/office/drawing/2014/main" id="{952D441F-7B91-3B42-9269-18BE93A2BB3F}"/>
                </a:ext>
              </a:extLst>
            </p:cNvPr>
            <p:cNvSpPr/>
            <p:nvPr/>
          </p:nvSpPr>
          <p:spPr>
            <a:xfrm>
              <a:off x="11097416" y="6318040"/>
              <a:ext cx="56429" cy="78558"/>
            </a:xfrm>
            <a:custGeom>
              <a:avLst/>
              <a:gdLst>
                <a:gd name="connsiteX0" fmla="*/ 20738 w 56429"/>
                <a:gd name="connsiteY0" fmla="*/ 78558 h 78558"/>
                <a:gd name="connsiteX1" fmla="*/ 35715 w 56429"/>
                <a:gd name="connsiteY1" fmla="*/ 78558 h 78558"/>
                <a:gd name="connsiteX2" fmla="*/ 35715 w 56429"/>
                <a:gd name="connsiteY2" fmla="*/ 12978 h 78558"/>
                <a:gd name="connsiteX3" fmla="*/ 56429 w 56429"/>
                <a:gd name="connsiteY3" fmla="*/ 12978 h 78558"/>
                <a:gd name="connsiteX4" fmla="*/ 56429 w 56429"/>
                <a:gd name="connsiteY4" fmla="*/ 0 h 78558"/>
                <a:gd name="connsiteX5" fmla="*/ 0 w 56429"/>
                <a:gd name="connsiteY5" fmla="*/ 0 h 78558"/>
                <a:gd name="connsiteX6" fmla="*/ 0 w 56429"/>
                <a:gd name="connsiteY6" fmla="*/ 12978 h 78558"/>
                <a:gd name="connsiteX7" fmla="*/ 20738 w 56429"/>
                <a:gd name="connsiteY7" fmla="*/ 12978 h 78558"/>
                <a:gd name="connsiteX8" fmla="*/ 20738 w 56429"/>
                <a:gd name="connsiteY8" fmla="*/ 78558 h 78558"/>
                <a:gd name="connsiteX9" fmla="*/ 20738 w 56429"/>
                <a:gd name="connsiteY9" fmla="*/ 78558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29" h="78558">
                  <a:moveTo>
                    <a:pt x="20738" y="78558"/>
                  </a:moveTo>
                  <a:lnTo>
                    <a:pt x="35715" y="78558"/>
                  </a:lnTo>
                  <a:lnTo>
                    <a:pt x="35715" y="12978"/>
                  </a:lnTo>
                  <a:lnTo>
                    <a:pt x="56429" y="12978"/>
                  </a:lnTo>
                  <a:lnTo>
                    <a:pt x="56429" y="0"/>
                  </a:lnTo>
                  <a:lnTo>
                    <a:pt x="0" y="0"/>
                  </a:lnTo>
                  <a:lnTo>
                    <a:pt x="0" y="12978"/>
                  </a:lnTo>
                  <a:lnTo>
                    <a:pt x="20738" y="12978"/>
                  </a:lnTo>
                  <a:lnTo>
                    <a:pt x="20738" y="78558"/>
                  </a:lnTo>
                  <a:lnTo>
                    <a:pt x="20738" y="78558"/>
                  </a:lnTo>
                  <a:close/>
                </a:path>
              </a:pathLst>
            </a:custGeom>
            <a:grpFill/>
            <a:ln w="0" cap="flat">
              <a:noFill/>
              <a:prstDash val="solid"/>
              <a:miter/>
            </a:ln>
          </p:spPr>
          <p:txBody>
            <a:bodyPr rtlCol="0" anchor="ctr"/>
            <a:lstStyle/>
            <a:p>
              <a:endParaRPr lang="en-BG"/>
            </a:p>
          </p:txBody>
        </p:sp>
        <p:sp>
          <p:nvSpPr>
            <p:cNvPr id="23" name="Freeform 22">
              <a:extLst>
                <a:ext uri="{FF2B5EF4-FFF2-40B4-BE49-F238E27FC236}">
                  <a16:creationId xmlns:a16="http://schemas.microsoft.com/office/drawing/2014/main" id="{57A572DB-35F4-4A43-B6C7-B130DE553E19}"/>
                </a:ext>
              </a:extLst>
            </p:cNvPr>
            <p:cNvSpPr/>
            <p:nvPr/>
          </p:nvSpPr>
          <p:spPr>
            <a:xfrm>
              <a:off x="11164382" y="6317180"/>
              <a:ext cx="56669" cy="80494"/>
            </a:xfrm>
            <a:custGeom>
              <a:avLst/>
              <a:gdLst>
                <a:gd name="connsiteX0" fmla="*/ 24 w 56669"/>
                <a:gd name="connsiteY0" fmla="*/ 61685 h 80494"/>
                <a:gd name="connsiteX1" fmla="*/ 29859 w 56669"/>
                <a:gd name="connsiteY1" fmla="*/ 80494 h 80494"/>
                <a:gd name="connsiteX2" fmla="*/ 56669 w 56669"/>
                <a:gd name="connsiteY2" fmla="*/ 57168 h 80494"/>
                <a:gd name="connsiteX3" fmla="*/ 37035 w 56669"/>
                <a:gd name="connsiteY3" fmla="*/ 34248 h 80494"/>
                <a:gd name="connsiteX4" fmla="*/ 16850 w 56669"/>
                <a:gd name="connsiteY4" fmla="*/ 20315 h 80494"/>
                <a:gd name="connsiteX5" fmla="*/ 27266 w 56669"/>
                <a:gd name="connsiteY5" fmla="*/ 11998 h 80494"/>
                <a:gd name="connsiteX6" fmla="*/ 41476 w 56669"/>
                <a:gd name="connsiteY6" fmla="*/ 22059 h 80494"/>
                <a:gd name="connsiteX7" fmla="*/ 54917 w 56669"/>
                <a:gd name="connsiteY7" fmla="*/ 17184 h 80494"/>
                <a:gd name="connsiteX8" fmla="*/ 28323 w 56669"/>
                <a:gd name="connsiteY8" fmla="*/ 0 h 80494"/>
                <a:gd name="connsiteX9" fmla="*/ 2592 w 56669"/>
                <a:gd name="connsiteY9" fmla="*/ 21390 h 80494"/>
                <a:gd name="connsiteX10" fmla="*/ 11809 w 56669"/>
                <a:gd name="connsiteY10" fmla="*/ 38670 h 80494"/>
                <a:gd name="connsiteX11" fmla="*/ 30603 w 56669"/>
                <a:gd name="connsiteY11" fmla="*/ 46772 h 80494"/>
                <a:gd name="connsiteX12" fmla="*/ 42316 w 56669"/>
                <a:gd name="connsiteY12" fmla="*/ 57790 h 80494"/>
                <a:gd name="connsiteX13" fmla="*/ 29523 w 56669"/>
                <a:gd name="connsiteY13" fmla="*/ 67732 h 80494"/>
                <a:gd name="connsiteX14" fmla="*/ 13465 w 56669"/>
                <a:gd name="connsiteY14" fmla="*/ 55734 h 80494"/>
                <a:gd name="connsiteX15" fmla="*/ 0 w 56669"/>
                <a:gd name="connsiteY15" fmla="*/ 61685 h 80494"/>
                <a:gd name="connsiteX16" fmla="*/ 0 w 56669"/>
                <a:gd name="connsiteY16" fmla="*/ 61685 h 8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669" h="80494">
                  <a:moveTo>
                    <a:pt x="24" y="61685"/>
                  </a:moveTo>
                  <a:cubicBezTo>
                    <a:pt x="5112" y="74017"/>
                    <a:pt x="15337" y="80494"/>
                    <a:pt x="29859" y="80494"/>
                  </a:cubicBezTo>
                  <a:cubicBezTo>
                    <a:pt x="46780" y="80494"/>
                    <a:pt x="56669" y="71412"/>
                    <a:pt x="56669" y="57168"/>
                  </a:cubicBezTo>
                  <a:cubicBezTo>
                    <a:pt x="56669" y="44836"/>
                    <a:pt x="50141" y="39769"/>
                    <a:pt x="37035" y="34248"/>
                  </a:cubicBezTo>
                  <a:cubicBezTo>
                    <a:pt x="24554" y="28966"/>
                    <a:pt x="16850" y="27652"/>
                    <a:pt x="16850" y="20315"/>
                  </a:cubicBezTo>
                  <a:cubicBezTo>
                    <a:pt x="16850" y="15248"/>
                    <a:pt x="20762" y="11998"/>
                    <a:pt x="27266" y="11998"/>
                  </a:cubicBezTo>
                  <a:cubicBezTo>
                    <a:pt x="33771" y="11998"/>
                    <a:pt x="38235" y="15129"/>
                    <a:pt x="41476" y="22059"/>
                  </a:cubicBezTo>
                  <a:lnTo>
                    <a:pt x="54917" y="17184"/>
                  </a:lnTo>
                  <a:cubicBezTo>
                    <a:pt x="50789" y="5832"/>
                    <a:pt x="41788" y="0"/>
                    <a:pt x="28323" y="0"/>
                  </a:cubicBezTo>
                  <a:cubicBezTo>
                    <a:pt x="12697" y="0"/>
                    <a:pt x="2592" y="8962"/>
                    <a:pt x="2592" y="21390"/>
                  </a:cubicBezTo>
                  <a:cubicBezTo>
                    <a:pt x="2592" y="28847"/>
                    <a:pt x="5857" y="34894"/>
                    <a:pt x="11809" y="38670"/>
                  </a:cubicBezTo>
                  <a:cubicBezTo>
                    <a:pt x="17018" y="42016"/>
                    <a:pt x="23522" y="44191"/>
                    <a:pt x="30603" y="46772"/>
                  </a:cubicBezTo>
                  <a:cubicBezTo>
                    <a:pt x="38739" y="49807"/>
                    <a:pt x="42316" y="52508"/>
                    <a:pt x="42316" y="57790"/>
                  </a:cubicBezTo>
                  <a:cubicBezTo>
                    <a:pt x="42316" y="63741"/>
                    <a:pt x="37539" y="67732"/>
                    <a:pt x="29523" y="67732"/>
                  </a:cubicBezTo>
                  <a:cubicBezTo>
                    <a:pt x="22466" y="67732"/>
                    <a:pt x="17594" y="64051"/>
                    <a:pt x="13465" y="55734"/>
                  </a:cubicBezTo>
                  <a:lnTo>
                    <a:pt x="0" y="61685"/>
                  </a:lnTo>
                  <a:lnTo>
                    <a:pt x="0" y="61685"/>
                  </a:lnTo>
                  <a:close/>
                </a:path>
              </a:pathLst>
            </a:custGeom>
            <a:grpFill/>
            <a:ln w="0" cap="flat">
              <a:noFill/>
              <a:prstDash val="solid"/>
              <a:miter/>
            </a:ln>
          </p:spPr>
          <p:txBody>
            <a:bodyPr rtlCol="0" anchor="ctr"/>
            <a:lstStyle/>
            <a:p>
              <a:endParaRPr lang="en-BG"/>
            </a:p>
          </p:txBody>
        </p:sp>
        <p:sp>
          <p:nvSpPr>
            <p:cNvPr id="24" name="Freeform 23">
              <a:extLst>
                <a:ext uri="{FF2B5EF4-FFF2-40B4-BE49-F238E27FC236}">
                  <a16:creationId xmlns:a16="http://schemas.microsoft.com/office/drawing/2014/main" id="{A20CA183-EB82-1D46-A537-CE199A39059C}"/>
                </a:ext>
              </a:extLst>
            </p:cNvPr>
            <p:cNvSpPr/>
            <p:nvPr/>
          </p:nvSpPr>
          <p:spPr>
            <a:xfrm>
              <a:off x="11234493" y="6317084"/>
              <a:ext cx="60101" cy="80828"/>
            </a:xfrm>
            <a:custGeom>
              <a:avLst/>
              <a:gdLst>
                <a:gd name="connsiteX0" fmla="*/ 46444 w 60101"/>
                <a:gd name="connsiteY0" fmla="*/ 56069 h 80828"/>
                <a:gd name="connsiteX1" fmla="*/ 31347 w 60101"/>
                <a:gd name="connsiteY1" fmla="*/ 67732 h 80828"/>
                <a:gd name="connsiteX2" fmla="*/ 15073 w 60101"/>
                <a:gd name="connsiteY2" fmla="*/ 40725 h 80828"/>
                <a:gd name="connsiteX3" fmla="*/ 31035 w 60101"/>
                <a:gd name="connsiteY3" fmla="*/ 12428 h 80828"/>
                <a:gd name="connsiteX4" fmla="*/ 44812 w 60101"/>
                <a:gd name="connsiteY4" fmla="*/ 23876 h 80828"/>
                <a:gd name="connsiteX5" fmla="*/ 58493 w 60101"/>
                <a:gd name="connsiteY5" fmla="*/ 20530 h 80828"/>
                <a:gd name="connsiteX6" fmla="*/ 31899 w 60101"/>
                <a:gd name="connsiteY6" fmla="*/ 0 h 80828"/>
                <a:gd name="connsiteX7" fmla="*/ 0 w 60101"/>
                <a:gd name="connsiteY7" fmla="*/ 40630 h 80828"/>
                <a:gd name="connsiteX8" fmla="*/ 31035 w 60101"/>
                <a:gd name="connsiteY8" fmla="*/ 80829 h 80828"/>
                <a:gd name="connsiteX9" fmla="*/ 60101 w 60101"/>
                <a:gd name="connsiteY9" fmla="*/ 59869 h 80828"/>
                <a:gd name="connsiteX10" fmla="*/ 46444 w 60101"/>
                <a:gd name="connsiteY10" fmla="*/ 56093 h 80828"/>
                <a:gd name="connsiteX11" fmla="*/ 46444 w 60101"/>
                <a:gd name="connsiteY11" fmla="*/ 56093 h 8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101" h="80828">
                  <a:moveTo>
                    <a:pt x="46444" y="56069"/>
                  </a:moveTo>
                  <a:cubicBezTo>
                    <a:pt x="44380" y="63310"/>
                    <a:pt x="38620" y="67732"/>
                    <a:pt x="31347" y="67732"/>
                  </a:cubicBezTo>
                  <a:cubicBezTo>
                    <a:pt x="20066" y="67732"/>
                    <a:pt x="15073" y="58889"/>
                    <a:pt x="15073" y="40725"/>
                  </a:cubicBezTo>
                  <a:cubicBezTo>
                    <a:pt x="15073" y="22561"/>
                    <a:pt x="20282" y="12428"/>
                    <a:pt x="31035" y="12428"/>
                  </a:cubicBezTo>
                  <a:cubicBezTo>
                    <a:pt x="38187" y="12428"/>
                    <a:pt x="42868" y="16324"/>
                    <a:pt x="44812" y="23876"/>
                  </a:cubicBezTo>
                  <a:lnTo>
                    <a:pt x="58493" y="20530"/>
                  </a:lnTo>
                  <a:cubicBezTo>
                    <a:pt x="55445" y="7242"/>
                    <a:pt x="46108" y="0"/>
                    <a:pt x="31899" y="0"/>
                  </a:cubicBezTo>
                  <a:cubicBezTo>
                    <a:pt x="11713" y="0"/>
                    <a:pt x="0" y="14483"/>
                    <a:pt x="0" y="40630"/>
                  </a:cubicBezTo>
                  <a:cubicBezTo>
                    <a:pt x="0" y="66776"/>
                    <a:pt x="10633" y="80829"/>
                    <a:pt x="31035" y="80829"/>
                  </a:cubicBezTo>
                  <a:cubicBezTo>
                    <a:pt x="46012" y="80829"/>
                    <a:pt x="56213" y="73372"/>
                    <a:pt x="60101" y="59869"/>
                  </a:cubicBezTo>
                  <a:lnTo>
                    <a:pt x="46444" y="56093"/>
                  </a:lnTo>
                  <a:lnTo>
                    <a:pt x="46444" y="56093"/>
                  </a:lnTo>
                  <a:close/>
                </a:path>
              </a:pathLst>
            </a:custGeom>
            <a:grpFill/>
            <a:ln w="0" cap="flat">
              <a:noFill/>
              <a:prstDash val="solid"/>
              <a:miter/>
            </a:ln>
          </p:spPr>
          <p:txBody>
            <a:bodyPr rtlCol="0" anchor="ctr"/>
            <a:lstStyle/>
            <a:p>
              <a:endParaRPr lang="en-BG"/>
            </a:p>
          </p:txBody>
        </p:sp>
        <p:sp>
          <p:nvSpPr>
            <p:cNvPr id="25" name="Freeform 24">
              <a:extLst>
                <a:ext uri="{FF2B5EF4-FFF2-40B4-BE49-F238E27FC236}">
                  <a16:creationId xmlns:a16="http://schemas.microsoft.com/office/drawing/2014/main" id="{ADD30F1D-8287-5544-8117-CF72967F7D95}"/>
                </a:ext>
              </a:extLst>
            </p:cNvPr>
            <p:cNvSpPr/>
            <p:nvPr/>
          </p:nvSpPr>
          <p:spPr>
            <a:xfrm>
              <a:off x="11311756" y="6318040"/>
              <a:ext cx="59765" cy="78558"/>
            </a:xfrm>
            <a:custGeom>
              <a:avLst/>
              <a:gdLst>
                <a:gd name="connsiteX0" fmla="*/ 0 w 59765"/>
                <a:gd name="connsiteY0" fmla="*/ 78558 h 78558"/>
                <a:gd name="connsiteX1" fmla="*/ 14857 w 59765"/>
                <a:gd name="connsiteY1" fmla="*/ 78558 h 78558"/>
                <a:gd name="connsiteX2" fmla="*/ 14857 w 59765"/>
                <a:gd name="connsiteY2" fmla="*/ 44406 h 78558"/>
                <a:gd name="connsiteX3" fmla="*/ 44908 w 59765"/>
                <a:gd name="connsiteY3" fmla="*/ 44406 h 78558"/>
                <a:gd name="connsiteX4" fmla="*/ 44908 w 59765"/>
                <a:gd name="connsiteY4" fmla="*/ 78558 h 78558"/>
                <a:gd name="connsiteX5" fmla="*/ 59765 w 59765"/>
                <a:gd name="connsiteY5" fmla="*/ 78558 h 78558"/>
                <a:gd name="connsiteX6" fmla="*/ 59765 w 59765"/>
                <a:gd name="connsiteY6" fmla="*/ 0 h 78558"/>
                <a:gd name="connsiteX7" fmla="*/ 44908 w 59765"/>
                <a:gd name="connsiteY7" fmla="*/ 0 h 78558"/>
                <a:gd name="connsiteX8" fmla="*/ 44908 w 59765"/>
                <a:gd name="connsiteY8" fmla="*/ 31117 h 78558"/>
                <a:gd name="connsiteX9" fmla="*/ 14857 w 59765"/>
                <a:gd name="connsiteY9" fmla="*/ 31117 h 78558"/>
                <a:gd name="connsiteX10" fmla="*/ 14857 w 59765"/>
                <a:gd name="connsiteY10" fmla="*/ 0 h 78558"/>
                <a:gd name="connsiteX11" fmla="*/ 0 w 59765"/>
                <a:gd name="connsiteY11" fmla="*/ 0 h 78558"/>
                <a:gd name="connsiteX12" fmla="*/ 0 w 59765"/>
                <a:gd name="connsiteY12" fmla="*/ 78558 h 78558"/>
                <a:gd name="connsiteX13" fmla="*/ 0 w 59765"/>
                <a:gd name="connsiteY13" fmla="*/ 78558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765" h="78558">
                  <a:moveTo>
                    <a:pt x="0" y="78558"/>
                  </a:moveTo>
                  <a:lnTo>
                    <a:pt x="14857" y="78558"/>
                  </a:lnTo>
                  <a:lnTo>
                    <a:pt x="14857" y="44406"/>
                  </a:lnTo>
                  <a:lnTo>
                    <a:pt x="44908" y="44406"/>
                  </a:lnTo>
                  <a:lnTo>
                    <a:pt x="44908" y="78558"/>
                  </a:lnTo>
                  <a:lnTo>
                    <a:pt x="59765" y="78558"/>
                  </a:lnTo>
                  <a:lnTo>
                    <a:pt x="59765" y="0"/>
                  </a:lnTo>
                  <a:lnTo>
                    <a:pt x="44908" y="0"/>
                  </a:lnTo>
                  <a:lnTo>
                    <a:pt x="44908" y="31117"/>
                  </a:lnTo>
                  <a:lnTo>
                    <a:pt x="14857" y="31117"/>
                  </a:lnTo>
                  <a:lnTo>
                    <a:pt x="14857" y="0"/>
                  </a:lnTo>
                  <a:lnTo>
                    <a:pt x="0" y="0"/>
                  </a:lnTo>
                  <a:lnTo>
                    <a:pt x="0" y="78558"/>
                  </a:lnTo>
                  <a:lnTo>
                    <a:pt x="0" y="78558"/>
                  </a:lnTo>
                  <a:close/>
                </a:path>
              </a:pathLst>
            </a:custGeom>
            <a:grpFill/>
            <a:ln w="0" cap="flat">
              <a:noFill/>
              <a:prstDash val="solid"/>
              <a:miter/>
            </a:ln>
          </p:spPr>
          <p:txBody>
            <a:bodyPr rtlCol="0" anchor="ctr"/>
            <a:lstStyle/>
            <a:p>
              <a:endParaRPr lang="en-BG"/>
            </a:p>
          </p:txBody>
        </p:sp>
        <p:sp>
          <p:nvSpPr>
            <p:cNvPr id="26" name="Freeform 25">
              <a:extLst>
                <a:ext uri="{FF2B5EF4-FFF2-40B4-BE49-F238E27FC236}">
                  <a16:creationId xmlns:a16="http://schemas.microsoft.com/office/drawing/2014/main" id="{26890519-C158-1F4A-8B42-2AAAE205CAA0}"/>
                </a:ext>
              </a:extLst>
            </p:cNvPr>
            <p:cNvSpPr/>
            <p:nvPr/>
          </p:nvSpPr>
          <p:spPr>
            <a:xfrm>
              <a:off x="11395043" y="6318040"/>
              <a:ext cx="52852" cy="78558"/>
            </a:xfrm>
            <a:custGeom>
              <a:avLst/>
              <a:gdLst>
                <a:gd name="connsiteX0" fmla="*/ 0 w 52852"/>
                <a:gd name="connsiteY0" fmla="*/ 78558 h 78558"/>
                <a:gd name="connsiteX1" fmla="*/ 52853 w 52852"/>
                <a:gd name="connsiteY1" fmla="*/ 78558 h 78558"/>
                <a:gd name="connsiteX2" fmla="*/ 52853 w 52852"/>
                <a:gd name="connsiteY2" fmla="*/ 65151 h 78558"/>
                <a:gd name="connsiteX3" fmla="*/ 14761 w 52852"/>
                <a:gd name="connsiteY3" fmla="*/ 65151 h 78558"/>
                <a:gd name="connsiteX4" fmla="*/ 14761 w 52852"/>
                <a:gd name="connsiteY4" fmla="*/ 43880 h 78558"/>
                <a:gd name="connsiteX5" fmla="*/ 41356 w 52852"/>
                <a:gd name="connsiteY5" fmla="*/ 43880 h 78558"/>
                <a:gd name="connsiteX6" fmla="*/ 41356 w 52852"/>
                <a:gd name="connsiteY6" fmla="*/ 31333 h 78558"/>
                <a:gd name="connsiteX7" fmla="*/ 14761 w 52852"/>
                <a:gd name="connsiteY7" fmla="*/ 31333 h 78558"/>
                <a:gd name="connsiteX8" fmla="*/ 14761 w 52852"/>
                <a:gd name="connsiteY8" fmla="*/ 12762 h 78558"/>
                <a:gd name="connsiteX9" fmla="*/ 51221 w 52852"/>
                <a:gd name="connsiteY9" fmla="*/ 12762 h 78558"/>
                <a:gd name="connsiteX10" fmla="*/ 51221 w 52852"/>
                <a:gd name="connsiteY10" fmla="*/ 0 h 78558"/>
                <a:gd name="connsiteX11" fmla="*/ 0 w 52852"/>
                <a:gd name="connsiteY11" fmla="*/ 0 h 78558"/>
                <a:gd name="connsiteX12" fmla="*/ 0 w 52852"/>
                <a:gd name="connsiteY12" fmla="*/ 78558 h 78558"/>
                <a:gd name="connsiteX13" fmla="*/ 0 w 52852"/>
                <a:gd name="connsiteY13" fmla="*/ 78558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852" h="78558">
                  <a:moveTo>
                    <a:pt x="0" y="78558"/>
                  </a:moveTo>
                  <a:lnTo>
                    <a:pt x="52853" y="78558"/>
                  </a:lnTo>
                  <a:lnTo>
                    <a:pt x="52853" y="65151"/>
                  </a:lnTo>
                  <a:lnTo>
                    <a:pt x="14761" y="65151"/>
                  </a:lnTo>
                  <a:lnTo>
                    <a:pt x="14761" y="43880"/>
                  </a:lnTo>
                  <a:lnTo>
                    <a:pt x="41356" y="43880"/>
                  </a:lnTo>
                  <a:lnTo>
                    <a:pt x="41356" y="31333"/>
                  </a:lnTo>
                  <a:lnTo>
                    <a:pt x="14761" y="31333"/>
                  </a:lnTo>
                  <a:lnTo>
                    <a:pt x="14761" y="12762"/>
                  </a:lnTo>
                  <a:lnTo>
                    <a:pt x="51221" y="12762"/>
                  </a:lnTo>
                  <a:lnTo>
                    <a:pt x="51221" y="0"/>
                  </a:lnTo>
                  <a:lnTo>
                    <a:pt x="0" y="0"/>
                  </a:lnTo>
                  <a:lnTo>
                    <a:pt x="0" y="78558"/>
                  </a:lnTo>
                  <a:lnTo>
                    <a:pt x="0" y="78558"/>
                  </a:lnTo>
                  <a:close/>
                </a:path>
              </a:pathLst>
            </a:custGeom>
            <a:grpFill/>
            <a:ln w="0" cap="flat">
              <a:noFill/>
              <a:prstDash val="solid"/>
              <a:miter/>
            </a:ln>
          </p:spPr>
          <p:txBody>
            <a:bodyPr rtlCol="0" anchor="ctr"/>
            <a:lstStyle/>
            <a:p>
              <a:endParaRPr lang="en-BG"/>
            </a:p>
          </p:txBody>
        </p:sp>
        <p:sp>
          <p:nvSpPr>
            <p:cNvPr id="27" name="Freeform 26">
              <a:extLst>
                <a:ext uri="{FF2B5EF4-FFF2-40B4-BE49-F238E27FC236}">
                  <a16:creationId xmlns:a16="http://schemas.microsoft.com/office/drawing/2014/main" id="{4C446F5D-9630-9948-B923-31580913DEF9}"/>
                </a:ext>
              </a:extLst>
            </p:cNvPr>
            <p:cNvSpPr/>
            <p:nvPr/>
          </p:nvSpPr>
          <p:spPr>
            <a:xfrm>
              <a:off x="11503173" y="6318040"/>
              <a:ext cx="56981" cy="78558"/>
            </a:xfrm>
            <a:custGeom>
              <a:avLst/>
              <a:gdLst>
                <a:gd name="connsiteX0" fmla="*/ 0 w 56981"/>
                <a:gd name="connsiteY0" fmla="*/ 78558 h 78558"/>
                <a:gd name="connsiteX1" fmla="*/ 27890 w 56981"/>
                <a:gd name="connsiteY1" fmla="*/ 78558 h 78558"/>
                <a:gd name="connsiteX2" fmla="*/ 56981 w 56981"/>
                <a:gd name="connsiteY2" fmla="*/ 56523 h 78558"/>
                <a:gd name="connsiteX3" fmla="*/ 43636 w 56981"/>
                <a:gd name="connsiteY3" fmla="*/ 37403 h 78558"/>
                <a:gd name="connsiteX4" fmla="*/ 55157 w 56981"/>
                <a:gd name="connsiteY4" fmla="*/ 20864 h 78558"/>
                <a:gd name="connsiteX5" fmla="*/ 28683 w 56981"/>
                <a:gd name="connsiteY5" fmla="*/ 0 h 78558"/>
                <a:gd name="connsiteX6" fmla="*/ 24 w 56981"/>
                <a:gd name="connsiteY6" fmla="*/ 0 h 78558"/>
                <a:gd name="connsiteX7" fmla="*/ 24 w 56981"/>
                <a:gd name="connsiteY7" fmla="*/ 78558 h 78558"/>
                <a:gd name="connsiteX8" fmla="*/ 24 w 56981"/>
                <a:gd name="connsiteY8" fmla="*/ 78558 h 78558"/>
                <a:gd name="connsiteX9" fmla="*/ 14545 w 56981"/>
                <a:gd name="connsiteY9" fmla="*/ 66441 h 78558"/>
                <a:gd name="connsiteX10" fmla="*/ 14545 w 56981"/>
                <a:gd name="connsiteY10" fmla="*/ 43211 h 78558"/>
                <a:gd name="connsiteX11" fmla="*/ 27338 w 56981"/>
                <a:gd name="connsiteY11" fmla="*/ 43211 h 78558"/>
                <a:gd name="connsiteX12" fmla="*/ 42100 w 56981"/>
                <a:gd name="connsiteY12" fmla="*/ 54659 h 78558"/>
                <a:gd name="connsiteX13" fmla="*/ 26690 w 56981"/>
                <a:gd name="connsiteY13" fmla="*/ 66441 h 78558"/>
                <a:gd name="connsiteX14" fmla="*/ 14545 w 56981"/>
                <a:gd name="connsiteY14" fmla="*/ 66441 h 78558"/>
                <a:gd name="connsiteX15" fmla="*/ 14545 w 56981"/>
                <a:gd name="connsiteY15" fmla="*/ 31428 h 78558"/>
                <a:gd name="connsiteX16" fmla="*/ 14545 w 56981"/>
                <a:gd name="connsiteY16" fmla="*/ 12093 h 78558"/>
                <a:gd name="connsiteX17" fmla="*/ 25826 w 56981"/>
                <a:gd name="connsiteY17" fmla="*/ 12093 h 78558"/>
                <a:gd name="connsiteX18" fmla="*/ 40468 w 56981"/>
                <a:gd name="connsiteY18" fmla="*/ 21701 h 78558"/>
                <a:gd name="connsiteX19" fmla="*/ 26690 w 56981"/>
                <a:gd name="connsiteY19" fmla="*/ 31428 h 78558"/>
                <a:gd name="connsiteX20" fmla="*/ 14545 w 56981"/>
                <a:gd name="connsiteY20" fmla="*/ 31428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981" h="78558">
                  <a:moveTo>
                    <a:pt x="0" y="78558"/>
                  </a:moveTo>
                  <a:lnTo>
                    <a:pt x="27890" y="78558"/>
                  </a:lnTo>
                  <a:cubicBezTo>
                    <a:pt x="47428" y="78558"/>
                    <a:pt x="56981" y="71436"/>
                    <a:pt x="56981" y="56523"/>
                  </a:cubicBezTo>
                  <a:cubicBezTo>
                    <a:pt x="56981" y="46796"/>
                    <a:pt x="52541" y="40414"/>
                    <a:pt x="43636" y="37403"/>
                  </a:cubicBezTo>
                  <a:cubicBezTo>
                    <a:pt x="51677" y="33531"/>
                    <a:pt x="55157" y="28321"/>
                    <a:pt x="55157" y="20864"/>
                  </a:cubicBezTo>
                  <a:cubicBezTo>
                    <a:pt x="55157" y="7361"/>
                    <a:pt x="46036" y="0"/>
                    <a:pt x="28683" y="0"/>
                  </a:cubicBezTo>
                  <a:lnTo>
                    <a:pt x="24" y="0"/>
                  </a:lnTo>
                  <a:lnTo>
                    <a:pt x="24" y="78558"/>
                  </a:lnTo>
                  <a:lnTo>
                    <a:pt x="24" y="78558"/>
                  </a:lnTo>
                  <a:close/>
                  <a:moveTo>
                    <a:pt x="14545" y="66441"/>
                  </a:moveTo>
                  <a:lnTo>
                    <a:pt x="14545" y="43211"/>
                  </a:lnTo>
                  <a:lnTo>
                    <a:pt x="27338" y="43211"/>
                  </a:lnTo>
                  <a:cubicBezTo>
                    <a:pt x="37227" y="43211"/>
                    <a:pt x="42100" y="46891"/>
                    <a:pt x="42100" y="54659"/>
                  </a:cubicBezTo>
                  <a:cubicBezTo>
                    <a:pt x="42100" y="62976"/>
                    <a:pt x="37227" y="66441"/>
                    <a:pt x="26690" y="66441"/>
                  </a:cubicBezTo>
                  <a:lnTo>
                    <a:pt x="14545" y="66441"/>
                  </a:lnTo>
                  <a:close/>
                  <a:moveTo>
                    <a:pt x="14545" y="31428"/>
                  </a:moveTo>
                  <a:lnTo>
                    <a:pt x="14545" y="12093"/>
                  </a:lnTo>
                  <a:lnTo>
                    <a:pt x="25826" y="12093"/>
                  </a:lnTo>
                  <a:cubicBezTo>
                    <a:pt x="35595" y="12093"/>
                    <a:pt x="40468" y="14579"/>
                    <a:pt x="40468" y="21701"/>
                  </a:cubicBezTo>
                  <a:cubicBezTo>
                    <a:pt x="40468" y="28297"/>
                    <a:pt x="35787" y="31428"/>
                    <a:pt x="26690" y="31428"/>
                  </a:cubicBezTo>
                  <a:lnTo>
                    <a:pt x="14545" y="31428"/>
                  </a:lnTo>
                  <a:close/>
                </a:path>
              </a:pathLst>
            </a:custGeom>
            <a:grpFill/>
            <a:ln w="0" cap="flat">
              <a:noFill/>
              <a:prstDash val="solid"/>
              <a:miter/>
            </a:ln>
          </p:spPr>
          <p:txBody>
            <a:bodyPr rtlCol="0" anchor="ctr"/>
            <a:lstStyle/>
            <a:p>
              <a:endParaRPr lang="en-BG"/>
            </a:p>
          </p:txBody>
        </p:sp>
        <p:sp>
          <p:nvSpPr>
            <p:cNvPr id="28" name="Freeform 27">
              <a:extLst>
                <a:ext uri="{FF2B5EF4-FFF2-40B4-BE49-F238E27FC236}">
                  <a16:creationId xmlns:a16="http://schemas.microsoft.com/office/drawing/2014/main" id="{D4EA8FD6-BE29-764D-B52D-3903EEFEC24B}"/>
                </a:ext>
              </a:extLst>
            </p:cNvPr>
            <p:cNvSpPr/>
            <p:nvPr/>
          </p:nvSpPr>
          <p:spPr>
            <a:xfrm>
              <a:off x="11576067" y="6296005"/>
              <a:ext cx="65525" cy="101884"/>
            </a:xfrm>
            <a:custGeom>
              <a:avLst/>
              <a:gdLst>
                <a:gd name="connsiteX0" fmla="*/ 17570 w 65525"/>
                <a:gd name="connsiteY0" fmla="*/ 12858 h 101884"/>
                <a:gd name="connsiteX1" fmla="*/ 29499 w 65525"/>
                <a:gd name="connsiteY1" fmla="*/ 12858 h 101884"/>
                <a:gd name="connsiteX2" fmla="*/ 29499 w 65525"/>
                <a:gd name="connsiteY2" fmla="*/ 0 h 101884"/>
                <a:gd name="connsiteX3" fmla="*/ 17570 w 65525"/>
                <a:gd name="connsiteY3" fmla="*/ 0 h 101884"/>
                <a:gd name="connsiteX4" fmla="*/ 17570 w 65525"/>
                <a:gd name="connsiteY4" fmla="*/ 12858 h 101884"/>
                <a:gd name="connsiteX5" fmla="*/ 17570 w 65525"/>
                <a:gd name="connsiteY5" fmla="*/ 12858 h 101884"/>
                <a:gd name="connsiteX6" fmla="*/ 36003 w 65525"/>
                <a:gd name="connsiteY6" fmla="*/ 12858 h 101884"/>
                <a:gd name="connsiteX7" fmla="*/ 47956 w 65525"/>
                <a:gd name="connsiteY7" fmla="*/ 12858 h 101884"/>
                <a:gd name="connsiteX8" fmla="*/ 47956 w 65525"/>
                <a:gd name="connsiteY8" fmla="*/ 0 h 101884"/>
                <a:gd name="connsiteX9" fmla="*/ 36003 w 65525"/>
                <a:gd name="connsiteY9" fmla="*/ 0 h 101884"/>
                <a:gd name="connsiteX10" fmla="*/ 36003 w 65525"/>
                <a:gd name="connsiteY10" fmla="*/ 12858 h 101884"/>
                <a:gd name="connsiteX11" fmla="*/ 36003 w 65525"/>
                <a:gd name="connsiteY11" fmla="*/ 12858 h 101884"/>
                <a:gd name="connsiteX12" fmla="*/ 0 w 65525"/>
                <a:gd name="connsiteY12" fmla="*/ 61470 h 101884"/>
                <a:gd name="connsiteX13" fmla="*/ 32763 w 65525"/>
                <a:gd name="connsiteY13" fmla="*/ 101885 h 101884"/>
                <a:gd name="connsiteX14" fmla="*/ 65526 w 65525"/>
                <a:gd name="connsiteY14" fmla="*/ 61470 h 101884"/>
                <a:gd name="connsiteX15" fmla="*/ 32763 w 65525"/>
                <a:gd name="connsiteY15" fmla="*/ 21056 h 101884"/>
                <a:gd name="connsiteX16" fmla="*/ 0 w 65525"/>
                <a:gd name="connsiteY16" fmla="*/ 61470 h 101884"/>
                <a:gd name="connsiteX17" fmla="*/ 0 w 65525"/>
                <a:gd name="connsiteY17" fmla="*/ 61470 h 101884"/>
                <a:gd name="connsiteX18" fmla="*/ 15073 w 65525"/>
                <a:gd name="connsiteY18" fmla="*/ 61470 h 101884"/>
                <a:gd name="connsiteX19" fmla="*/ 32763 w 65525"/>
                <a:gd name="connsiteY19" fmla="*/ 34129 h 101884"/>
                <a:gd name="connsiteX20" fmla="*/ 50453 w 65525"/>
                <a:gd name="connsiteY20" fmla="*/ 61470 h 101884"/>
                <a:gd name="connsiteX21" fmla="*/ 32763 w 65525"/>
                <a:gd name="connsiteY21" fmla="*/ 88596 h 101884"/>
                <a:gd name="connsiteX22" fmla="*/ 15073 w 65525"/>
                <a:gd name="connsiteY22" fmla="*/ 61470 h 101884"/>
                <a:gd name="connsiteX23" fmla="*/ 15073 w 65525"/>
                <a:gd name="connsiteY23" fmla="*/ 61470 h 10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5525" h="101884">
                  <a:moveTo>
                    <a:pt x="17570" y="12858"/>
                  </a:moveTo>
                  <a:lnTo>
                    <a:pt x="29499" y="12858"/>
                  </a:lnTo>
                  <a:lnTo>
                    <a:pt x="29499" y="0"/>
                  </a:lnTo>
                  <a:lnTo>
                    <a:pt x="17570" y="0"/>
                  </a:lnTo>
                  <a:lnTo>
                    <a:pt x="17570" y="12858"/>
                  </a:lnTo>
                  <a:lnTo>
                    <a:pt x="17570" y="12858"/>
                  </a:lnTo>
                  <a:close/>
                  <a:moveTo>
                    <a:pt x="36003" y="12858"/>
                  </a:moveTo>
                  <a:lnTo>
                    <a:pt x="47956" y="12858"/>
                  </a:lnTo>
                  <a:lnTo>
                    <a:pt x="47956" y="0"/>
                  </a:lnTo>
                  <a:lnTo>
                    <a:pt x="36003" y="0"/>
                  </a:lnTo>
                  <a:lnTo>
                    <a:pt x="36003" y="12858"/>
                  </a:lnTo>
                  <a:lnTo>
                    <a:pt x="36003" y="12858"/>
                  </a:lnTo>
                  <a:close/>
                  <a:moveTo>
                    <a:pt x="0" y="61470"/>
                  </a:moveTo>
                  <a:cubicBezTo>
                    <a:pt x="0" y="86971"/>
                    <a:pt x="12601" y="101885"/>
                    <a:pt x="32763" y="101885"/>
                  </a:cubicBezTo>
                  <a:cubicBezTo>
                    <a:pt x="52925" y="101885"/>
                    <a:pt x="65526" y="86971"/>
                    <a:pt x="65526" y="61470"/>
                  </a:cubicBezTo>
                  <a:cubicBezTo>
                    <a:pt x="65526" y="35969"/>
                    <a:pt x="53045" y="21056"/>
                    <a:pt x="32763" y="21056"/>
                  </a:cubicBezTo>
                  <a:cubicBezTo>
                    <a:pt x="12481" y="21056"/>
                    <a:pt x="0" y="35850"/>
                    <a:pt x="0" y="61470"/>
                  </a:cubicBezTo>
                  <a:lnTo>
                    <a:pt x="0" y="61470"/>
                  </a:lnTo>
                  <a:close/>
                  <a:moveTo>
                    <a:pt x="15073" y="61470"/>
                  </a:moveTo>
                  <a:cubicBezTo>
                    <a:pt x="15073" y="43426"/>
                    <a:pt x="21266" y="34129"/>
                    <a:pt x="32763" y="34129"/>
                  </a:cubicBezTo>
                  <a:cubicBezTo>
                    <a:pt x="44260" y="34129"/>
                    <a:pt x="50453" y="43426"/>
                    <a:pt x="50453" y="61470"/>
                  </a:cubicBezTo>
                  <a:cubicBezTo>
                    <a:pt x="50453" y="79514"/>
                    <a:pt x="44260" y="88596"/>
                    <a:pt x="32763" y="88596"/>
                  </a:cubicBezTo>
                  <a:cubicBezTo>
                    <a:pt x="21266" y="88596"/>
                    <a:pt x="15073" y="79419"/>
                    <a:pt x="15073" y="61470"/>
                  </a:cubicBezTo>
                  <a:lnTo>
                    <a:pt x="15073" y="61470"/>
                  </a:lnTo>
                  <a:close/>
                </a:path>
              </a:pathLst>
            </a:custGeom>
            <a:grpFill/>
            <a:ln w="0" cap="flat">
              <a:noFill/>
              <a:prstDash val="solid"/>
              <a:miter/>
            </a:ln>
          </p:spPr>
          <p:txBody>
            <a:bodyPr rtlCol="0" anchor="ctr"/>
            <a:lstStyle/>
            <a:p>
              <a:endParaRPr lang="en-BG"/>
            </a:p>
          </p:txBody>
        </p:sp>
        <p:sp>
          <p:nvSpPr>
            <p:cNvPr id="29" name="Freeform 28">
              <a:extLst>
                <a:ext uri="{FF2B5EF4-FFF2-40B4-BE49-F238E27FC236}">
                  <a16:creationId xmlns:a16="http://schemas.microsoft.com/office/drawing/2014/main" id="{A29FB566-AC64-D045-8690-B3179A62F577}"/>
                </a:ext>
              </a:extLst>
            </p:cNvPr>
            <p:cNvSpPr/>
            <p:nvPr/>
          </p:nvSpPr>
          <p:spPr>
            <a:xfrm>
              <a:off x="11659883" y="6318040"/>
              <a:ext cx="59237" cy="78558"/>
            </a:xfrm>
            <a:custGeom>
              <a:avLst/>
              <a:gdLst>
                <a:gd name="connsiteX0" fmla="*/ 0 w 59237"/>
                <a:gd name="connsiteY0" fmla="*/ 78558 h 78558"/>
                <a:gd name="connsiteX1" fmla="*/ 14545 w 59237"/>
                <a:gd name="connsiteY1" fmla="*/ 78558 h 78558"/>
                <a:gd name="connsiteX2" fmla="*/ 14545 w 59237"/>
                <a:gd name="connsiteY2" fmla="*/ 46676 h 78558"/>
                <a:gd name="connsiteX3" fmla="*/ 28106 w 59237"/>
                <a:gd name="connsiteY3" fmla="*/ 46676 h 78558"/>
                <a:gd name="connsiteX4" fmla="*/ 43300 w 59237"/>
                <a:gd name="connsiteY4" fmla="*/ 78558 h 78558"/>
                <a:gd name="connsiteX5" fmla="*/ 59237 w 59237"/>
                <a:gd name="connsiteY5" fmla="*/ 78558 h 78558"/>
                <a:gd name="connsiteX6" fmla="*/ 41764 w 59237"/>
                <a:gd name="connsiteY6" fmla="*/ 43330 h 78558"/>
                <a:gd name="connsiteX7" fmla="*/ 56309 w 59237"/>
                <a:gd name="connsiteY7" fmla="*/ 23446 h 78558"/>
                <a:gd name="connsiteX8" fmla="*/ 26690 w 59237"/>
                <a:gd name="connsiteY8" fmla="*/ 0 h 78558"/>
                <a:gd name="connsiteX9" fmla="*/ 0 w 59237"/>
                <a:gd name="connsiteY9" fmla="*/ 0 h 78558"/>
                <a:gd name="connsiteX10" fmla="*/ 0 w 59237"/>
                <a:gd name="connsiteY10" fmla="*/ 78558 h 78558"/>
                <a:gd name="connsiteX11" fmla="*/ 0 w 59237"/>
                <a:gd name="connsiteY11" fmla="*/ 78558 h 78558"/>
                <a:gd name="connsiteX12" fmla="*/ 14545 w 59237"/>
                <a:gd name="connsiteY12" fmla="*/ 34272 h 78558"/>
                <a:gd name="connsiteX13" fmla="*/ 14545 w 59237"/>
                <a:gd name="connsiteY13" fmla="*/ 12452 h 78558"/>
                <a:gd name="connsiteX14" fmla="*/ 27458 w 59237"/>
                <a:gd name="connsiteY14" fmla="*/ 12452 h 78558"/>
                <a:gd name="connsiteX15" fmla="*/ 41356 w 59237"/>
                <a:gd name="connsiteY15" fmla="*/ 23374 h 78558"/>
                <a:gd name="connsiteX16" fmla="*/ 27458 w 59237"/>
                <a:gd name="connsiteY16" fmla="*/ 34296 h 78558"/>
                <a:gd name="connsiteX17" fmla="*/ 14545 w 59237"/>
                <a:gd name="connsiteY17" fmla="*/ 34296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9237" h="78558">
                  <a:moveTo>
                    <a:pt x="0" y="78558"/>
                  </a:moveTo>
                  <a:lnTo>
                    <a:pt x="14545" y="78558"/>
                  </a:lnTo>
                  <a:lnTo>
                    <a:pt x="14545" y="46676"/>
                  </a:lnTo>
                  <a:lnTo>
                    <a:pt x="28106" y="46676"/>
                  </a:lnTo>
                  <a:lnTo>
                    <a:pt x="43300" y="78558"/>
                  </a:lnTo>
                  <a:lnTo>
                    <a:pt x="59237" y="78558"/>
                  </a:lnTo>
                  <a:lnTo>
                    <a:pt x="41764" y="43330"/>
                  </a:lnTo>
                  <a:cubicBezTo>
                    <a:pt x="51101" y="40725"/>
                    <a:pt x="56309" y="33699"/>
                    <a:pt x="56309" y="23446"/>
                  </a:cubicBezTo>
                  <a:cubicBezTo>
                    <a:pt x="56309" y="7457"/>
                    <a:pt x="46540" y="0"/>
                    <a:pt x="26690" y="0"/>
                  </a:cubicBezTo>
                  <a:lnTo>
                    <a:pt x="0" y="0"/>
                  </a:lnTo>
                  <a:lnTo>
                    <a:pt x="0" y="78558"/>
                  </a:lnTo>
                  <a:lnTo>
                    <a:pt x="0" y="78558"/>
                  </a:lnTo>
                  <a:close/>
                  <a:moveTo>
                    <a:pt x="14545" y="34272"/>
                  </a:moveTo>
                  <a:lnTo>
                    <a:pt x="14545" y="12452"/>
                  </a:lnTo>
                  <a:lnTo>
                    <a:pt x="27458" y="12452"/>
                  </a:lnTo>
                  <a:cubicBezTo>
                    <a:pt x="36795" y="12452"/>
                    <a:pt x="41356" y="15702"/>
                    <a:pt x="41356" y="23374"/>
                  </a:cubicBezTo>
                  <a:cubicBezTo>
                    <a:pt x="41356" y="31046"/>
                    <a:pt x="36891" y="34296"/>
                    <a:pt x="27458" y="34296"/>
                  </a:cubicBezTo>
                  <a:lnTo>
                    <a:pt x="14545" y="34296"/>
                  </a:lnTo>
                  <a:close/>
                </a:path>
              </a:pathLst>
            </a:custGeom>
            <a:grpFill/>
            <a:ln w="0" cap="flat">
              <a:noFill/>
              <a:prstDash val="solid"/>
              <a:miter/>
            </a:ln>
          </p:spPr>
          <p:txBody>
            <a:bodyPr rtlCol="0" anchor="ctr"/>
            <a:lstStyle/>
            <a:p>
              <a:endParaRPr lang="en-BG"/>
            </a:p>
          </p:txBody>
        </p:sp>
        <p:sp>
          <p:nvSpPr>
            <p:cNvPr id="30" name="Freeform 29">
              <a:extLst>
                <a:ext uri="{FF2B5EF4-FFF2-40B4-BE49-F238E27FC236}">
                  <a16:creationId xmlns:a16="http://schemas.microsoft.com/office/drawing/2014/main" id="{515BA403-0CAB-2D43-8A8F-1FBCA082C62A}"/>
                </a:ext>
              </a:extLst>
            </p:cNvPr>
            <p:cNvSpPr/>
            <p:nvPr/>
          </p:nvSpPr>
          <p:spPr>
            <a:xfrm>
              <a:off x="11731745" y="6317180"/>
              <a:ext cx="56693" cy="80494"/>
            </a:xfrm>
            <a:custGeom>
              <a:avLst/>
              <a:gdLst>
                <a:gd name="connsiteX0" fmla="*/ 48 w 56693"/>
                <a:gd name="connsiteY0" fmla="*/ 61685 h 80494"/>
                <a:gd name="connsiteX1" fmla="*/ 29883 w 56693"/>
                <a:gd name="connsiteY1" fmla="*/ 80494 h 80494"/>
                <a:gd name="connsiteX2" fmla="*/ 56693 w 56693"/>
                <a:gd name="connsiteY2" fmla="*/ 57168 h 80494"/>
                <a:gd name="connsiteX3" fmla="*/ 37059 w 56693"/>
                <a:gd name="connsiteY3" fmla="*/ 34248 h 80494"/>
                <a:gd name="connsiteX4" fmla="*/ 16873 w 56693"/>
                <a:gd name="connsiteY4" fmla="*/ 20315 h 80494"/>
                <a:gd name="connsiteX5" fmla="*/ 27290 w 56693"/>
                <a:gd name="connsiteY5" fmla="*/ 11998 h 80494"/>
                <a:gd name="connsiteX6" fmla="*/ 41500 w 56693"/>
                <a:gd name="connsiteY6" fmla="*/ 22059 h 80494"/>
                <a:gd name="connsiteX7" fmla="*/ 54941 w 56693"/>
                <a:gd name="connsiteY7" fmla="*/ 17184 h 80494"/>
                <a:gd name="connsiteX8" fmla="*/ 28347 w 56693"/>
                <a:gd name="connsiteY8" fmla="*/ 0 h 80494"/>
                <a:gd name="connsiteX9" fmla="*/ 2616 w 56693"/>
                <a:gd name="connsiteY9" fmla="*/ 21390 h 80494"/>
                <a:gd name="connsiteX10" fmla="*/ 11857 w 56693"/>
                <a:gd name="connsiteY10" fmla="*/ 38670 h 80494"/>
                <a:gd name="connsiteX11" fmla="*/ 30627 w 56693"/>
                <a:gd name="connsiteY11" fmla="*/ 46772 h 80494"/>
                <a:gd name="connsiteX12" fmla="*/ 42340 w 56693"/>
                <a:gd name="connsiteY12" fmla="*/ 57790 h 80494"/>
                <a:gd name="connsiteX13" fmla="*/ 29523 w 56693"/>
                <a:gd name="connsiteY13" fmla="*/ 67732 h 80494"/>
                <a:gd name="connsiteX14" fmla="*/ 13465 w 56693"/>
                <a:gd name="connsiteY14" fmla="*/ 55734 h 80494"/>
                <a:gd name="connsiteX15" fmla="*/ 0 w 56693"/>
                <a:gd name="connsiteY15" fmla="*/ 61685 h 80494"/>
                <a:gd name="connsiteX16" fmla="*/ 0 w 56693"/>
                <a:gd name="connsiteY16" fmla="*/ 61685 h 8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693" h="80494">
                  <a:moveTo>
                    <a:pt x="48" y="61685"/>
                  </a:moveTo>
                  <a:cubicBezTo>
                    <a:pt x="5160" y="74017"/>
                    <a:pt x="15337" y="80494"/>
                    <a:pt x="29883" y="80494"/>
                  </a:cubicBezTo>
                  <a:cubicBezTo>
                    <a:pt x="46804" y="80494"/>
                    <a:pt x="56693" y="71412"/>
                    <a:pt x="56693" y="57168"/>
                  </a:cubicBezTo>
                  <a:cubicBezTo>
                    <a:pt x="56693" y="44836"/>
                    <a:pt x="50188" y="39769"/>
                    <a:pt x="37059" y="34248"/>
                  </a:cubicBezTo>
                  <a:cubicBezTo>
                    <a:pt x="24578" y="28966"/>
                    <a:pt x="16873" y="27652"/>
                    <a:pt x="16873" y="20315"/>
                  </a:cubicBezTo>
                  <a:cubicBezTo>
                    <a:pt x="16873" y="15248"/>
                    <a:pt x="20786" y="11998"/>
                    <a:pt x="27290" y="11998"/>
                  </a:cubicBezTo>
                  <a:cubicBezTo>
                    <a:pt x="33795" y="11998"/>
                    <a:pt x="38259" y="15129"/>
                    <a:pt x="41500" y="22059"/>
                  </a:cubicBezTo>
                  <a:lnTo>
                    <a:pt x="54941" y="17184"/>
                  </a:lnTo>
                  <a:cubicBezTo>
                    <a:pt x="50837" y="5832"/>
                    <a:pt x="41812" y="0"/>
                    <a:pt x="28347" y="0"/>
                  </a:cubicBezTo>
                  <a:cubicBezTo>
                    <a:pt x="12721" y="0"/>
                    <a:pt x="2616" y="8962"/>
                    <a:pt x="2616" y="21390"/>
                  </a:cubicBezTo>
                  <a:cubicBezTo>
                    <a:pt x="2616" y="28847"/>
                    <a:pt x="5880" y="34894"/>
                    <a:pt x="11857" y="38670"/>
                  </a:cubicBezTo>
                  <a:cubicBezTo>
                    <a:pt x="17065" y="42016"/>
                    <a:pt x="23570" y="44191"/>
                    <a:pt x="30627" y="46772"/>
                  </a:cubicBezTo>
                  <a:cubicBezTo>
                    <a:pt x="38763" y="49807"/>
                    <a:pt x="42340" y="52508"/>
                    <a:pt x="42340" y="57790"/>
                  </a:cubicBezTo>
                  <a:cubicBezTo>
                    <a:pt x="42340" y="63741"/>
                    <a:pt x="37563" y="67732"/>
                    <a:pt x="29523" y="67732"/>
                  </a:cubicBezTo>
                  <a:cubicBezTo>
                    <a:pt x="22466" y="67732"/>
                    <a:pt x="17593" y="64051"/>
                    <a:pt x="13465" y="55734"/>
                  </a:cubicBezTo>
                  <a:lnTo>
                    <a:pt x="0" y="61685"/>
                  </a:lnTo>
                  <a:lnTo>
                    <a:pt x="0" y="61685"/>
                  </a:lnTo>
                  <a:close/>
                </a:path>
              </a:pathLst>
            </a:custGeom>
            <a:grpFill/>
            <a:ln w="0" cap="flat">
              <a:noFill/>
              <a:prstDash val="solid"/>
              <a:miter/>
            </a:ln>
          </p:spPr>
          <p:txBody>
            <a:bodyPr rtlCol="0" anchor="ctr"/>
            <a:lstStyle/>
            <a:p>
              <a:endParaRPr lang="en-BG"/>
            </a:p>
          </p:txBody>
        </p:sp>
        <p:sp>
          <p:nvSpPr>
            <p:cNvPr id="31" name="Freeform 30">
              <a:extLst>
                <a:ext uri="{FF2B5EF4-FFF2-40B4-BE49-F238E27FC236}">
                  <a16:creationId xmlns:a16="http://schemas.microsoft.com/office/drawing/2014/main" id="{B313F768-742E-4D45-970C-29D170D1E480}"/>
                </a:ext>
              </a:extLst>
            </p:cNvPr>
            <p:cNvSpPr/>
            <p:nvPr/>
          </p:nvSpPr>
          <p:spPr>
            <a:xfrm>
              <a:off x="11807064" y="6318040"/>
              <a:ext cx="52852" cy="78558"/>
            </a:xfrm>
            <a:custGeom>
              <a:avLst/>
              <a:gdLst>
                <a:gd name="connsiteX0" fmla="*/ 0 w 52852"/>
                <a:gd name="connsiteY0" fmla="*/ 78558 h 78558"/>
                <a:gd name="connsiteX1" fmla="*/ 52853 w 52852"/>
                <a:gd name="connsiteY1" fmla="*/ 78558 h 78558"/>
                <a:gd name="connsiteX2" fmla="*/ 52853 w 52852"/>
                <a:gd name="connsiteY2" fmla="*/ 65151 h 78558"/>
                <a:gd name="connsiteX3" fmla="*/ 14761 w 52852"/>
                <a:gd name="connsiteY3" fmla="*/ 65151 h 78558"/>
                <a:gd name="connsiteX4" fmla="*/ 14761 w 52852"/>
                <a:gd name="connsiteY4" fmla="*/ 43880 h 78558"/>
                <a:gd name="connsiteX5" fmla="*/ 41356 w 52852"/>
                <a:gd name="connsiteY5" fmla="*/ 43880 h 78558"/>
                <a:gd name="connsiteX6" fmla="*/ 41356 w 52852"/>
                <a:gd name="connsiteY6" fmla="*/ 31333 h 78558"/>
                <a:gd name="connsiteX7" fmla="*/ 14761 w 52852"/>
                <a:gd name="connsiteY7" fmla="*/ 31333 h 78558"/>
                <a:gd name="connsiteX8" fmla="*/ 14761 w 52852"/>
                <a:gd name="connsiteY8" fmla="*/ 12762 h 78558"/>
                <a:gd name="connsiteX9" fmla="*/ 51221 w 52852"/>
                <a:gd name="connsiteY9" fmla="*/ 12762 h 78558"/>
                <a:gd name="connsiteX10" fmla="*/ 51221 w 52852"/>
                <a:gd name="connsiteY10" fmla="*/ 0 h 78558"/>
                <a:gd name="connsiteX11" fmla="*/ 0 w 52852"/>
                <a:gd name="connsiteY11" fmla="*/ 0 h 78558"/>
                <a:gd name="connsiteX12" fmla="*/ 0 w 52852"/>
                <a:gd name="connsiteY12" fmla="*/ 78558 h 78558"/>
                <a:gd name="connsiteX13" fmla="*/ 0 w 52852"/>
                <a:gd name="connsiteY13" fmla="*/ 78558 h 7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852" h="78558">
                  <a:moveTo>
                    <a:pt x="0" y="78558"/>
                  </a:moveTo>
                  <a:lnTo>
                    <a:pt x="52853" y="78558"/>
                  </a:lnTo>
                  <a:lnTo>
                    <a:pt x="52853" y="65151"/>
                  </a:lnTo>
                  <a:lnTo>
                    <a:pt x="14761" y="65151"/>
                  </a:lnTo>
                  <a:lnTo>
                    <a:pt x="14761" y="43880"/>
                  </a:lnTo>
                  <a:lnTo>
                    <a:pt x="41356" y="43880"/>
                  </a:lnTo>
                  <a:lnTo>
                    <a:pt x="41356" y="31333"/>
                  </a:lnTo>
                  <a:lnTo>
                    <a:pt x="14761" y="31333"/>
                  </a:lnTo>
                  <a:lnTo>
                    <a:pt x="14761" y="12762"/>
                  </a:lnTo>
                  <a:lnTo>
                    <a:pt x="51221" y="12762"/>
                  </a:lnTo>
                  <a:lnTo>
                    <a:pt x="51221" y="0"/>
                  </a:lnTo>
                  <a:lnTo>
                    <a:pt x="0" y="0"/>
                  </a:lnTo>
                  <a:lnTo>
                    <a:pt x="0" y="78558"/>
                  </a:lnTo>
                  <a:lnTo>
                    <a:pt x="0" y="78558"/>
                  </a:lnTo>
                  <a:close/>
                </a:path>
              </a:pathLst>
            </a:custGeom>
            <a:grpFill/>
            <a:ln w="0" cap="flat">
              <a:noFill/>
              <a:prstDash val="solid"/>
              <a:miter/>
            </a:ln>
          </p:spPr>
          <p:txBody>
            <a:bodyPr rtlCol="0" anchor="ctr"/>
            <a:lstStyle/>
            <a:p>
              <a:endParaRPr lang="en-BG"/>
            </a:p>
          </p:txBody>
        </p:sp>
        <p:sp>
          <p:nvSpPr>
            <p:cNvPr id="32" name="Freeform 31">
              <a:extLst>
                <a:ext uri="{FF2B5EF4-FFF2-40B4-BE49-F238E27FC236}">
                  <a16:creationId xmlns:a16="http://schemas.microsoft.com/office/drawing/2014/main" id="{506BE385-A495-7247-85F2-1353CA5F51EA}"/>
                </a:ext>
              </a:extLst>
            </p:cNvPr>
            <p:cNvSpPr/>
            <p:nvPr/>
          </p:nvSpPr>
          <p:spPr>
            <a:xfrm>
              <a:off x="10795758" y="6250285"/>
              <a:ext cx="13609" cy="338730"/>
            </a:xfrm>
            <a:custGeom>
              <a:avLst/>
              <a:gdLst>
                <a:gd name="connsiteX0" fmla="*/ 0 w 13609"/>
                <a:gd name="connsiteY0" fmla="*/ 0 h 338730"/>
                <a:gd name="connsiteX1" fmla="*/ 13609 w 13609"/>
                <a:gd name="connsiteY1" fmla="*/ 0 h 338730"/>
                <a:gd name="connsiteX2" fmla="*/ 13609 w 13609"/>
                <a:gd name="connsiteY2" fmla="*/ 338731 h 338730"/>
                <a:gd name="connsiteX3" fmla="*/ 0 w 13609"/>
                <a:gd name="connsiteY3" fmla="*/ 338731 h 338730"/>
              </a:gdLst>
              <a:ahLst/>
              <a:cxnLst>
                <a:cxn ang="0">
                  <a:pos x="connsiteX0" y="connsiteY0"/>
                </a:cxn>
                <a:cxn ang="0">
                  <a:pos x="connsiteX1" y="connsiteY1"/>
                </a:cxn>
                <a:cxn ang="0">
                  <a:pos x="connsiteX2" y="connsiteY2"/>
                </a:cxn>
                <a:cxn ang="0">
                  <a:pos x="connsiteX3" y="connsiteY3"/>
                </a:cxn>
              </a:cxnLst>
              <a:rect l="l" t="t" r="r" b="b"/>
              <a:pathLst>
                <a:path w="13609" h="338730">
                  <a:moveTo>
                    <a:pt x="0" y="0"/>
                  </a:moveTo>
                  <a:lnTo>
                    <a:pt x="13609" y="0"/>
                  </a:lnTo>
                  <a:lnTo>
                    <a:pt x="13609" y="338731"/>
                  </a:lnTo>
                  <a:lnTo>
                    <a:pt x="0" y="338731"/>
                  </a:lnTo>
                  <a:close/>
                </a:path>
              </a:pathLst>
            </a:custGeom>
            <a:grpFill/>
            <a:ln w="0" cap="flat">
              <a:noFill/>
              <a:prstDash val="solid"/>
              <a:miter/>
            </a:ln>
          </p:spPr>
          <p:txBody>
            <a:bodyPr rtlCol="0" anchor="ctr"/>
            <a:lstStyle/>
            <a:p>
              <a:endParaRPr lang="en-BG"/>
            </a:p>
          </p:txBody>
        </p:sp>
      </p:grpSp>
    </p:spTree>
    <p:extLst>
      <p:ext uri="{BB962C8B-B14F-4D97-AF65-F5344CB8AC3E}">
        <p14:creationId xmlns:p14="http://schemas.microsoft.com/office/powerpoint/2010/main" val="26118600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0802D3A-F4BD-654B-8D3A-3539E88F340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3347761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82F4738-92DA-694A-8A84-0E1C45ADCAE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5865968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B2001F-C9E5-064E-B110-DD72C5D3314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7306255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C6A984F-57AB-C148-9052-032DA8F26A4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1989222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2126D16-C177-DB4B-8AB5-B59713E5A8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8341125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B274BC9-7DE8-F44F-AEBB-AFFCC61C582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7215567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C3AA78D-C530-C64D-9202-554123FB4D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8228874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E576E4-7745-D64B-A0E5-DAF80688D2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839315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66D78-54A5-1044-A741-2366FF5E52CC}"/>
              </a:ext>
            </a:extLst>
          </p:cNvPr>
          <p:cNvSpPr>
            <a:spLocks noGrp="1"/>
          </p:cNvSpPr>
          <p:nvPr>
            <p:ph type="ctrTitle"/>
          </p:nvPr>
        </p:nvSpPr>
        <p:spPr>
          <a:xfrm>
            <a:off x="1524000" y="4729698"/>
            <a:ext cx="9144000" cy="1218795"/>
          </a:xfrm>
        </p:spPr>
        <p:txBody>
          <a:bodyPr>
            <a:spAutoFit/>
          </a:bodyPr>
          <a:lstStyle/>
          <a:p>
            <a:r>
              <a:rPr lang="en-GB" sz="8000" b="0" dirty="0">
                <a:latin typeface="Bebas Neue Book" pitchFamily="2" charset="77"/>
              </a:rPr>
              <a:t>Raphael </a:t>
            </a:r>
            <a:r>
              <a:rPr lang="en-GB" sz="8000" dirty="0" err="1"/>
              <a:t>Sülzle</a:t>
            </a:r>
            <a:endParaRPr lang="en-BG" sz="8000" dirty="0">
              <a:solidFill>
                <a:srgbClr val="DA98FF"/>
              </a:solidFill>
            </a:endParaRPr>
          </a:p>
        </p:txBody>
      </p:sp>
      <p:sp>
        <p:nvSpPr>
          <p:cNvPr id="3" name="Title 1">
            <a:extLst>
              <a:ext uri="{FF2B5EF4-FFF2-40B4-BE49-F238E27FC236}">
                <a16:creationId xmlns:a16="http://schemas.microsoft.com/office/drawing/2014/main" id="{1523D136-2AF8-A94E-B1D9-AF85A4795193}"/>
              </a:ext>
            </a:extLst>
          </p:cNvPr>
          <p:cNvSpPr txBox="1">
            <a:spLocks/>
          </p:cNvSpPr>
          <p:nvPr/>
        </p:nvSpPr>
        <p:spPr>
          <a:xfrm>
            <a:off x="1524000" y="5948493"/>
            <a:ext cx="9144000" cy="369332"/>
          </a:xfrm>
          <a:prstGeom prst="rect">
            <a:avLst/>
          </a:prstGeom>
        </p:spPr>
        <p:txBody>
          <a:bodyPr vert="horz" lIns="91440" tIns="45720" rIns="91440" bIns="45720" rtlCol="0" anchor="b">
            <a:spAutoFit/>
          </a:bodyPr>
          <a:lstStyle>
            <a:lvl1pPr algn="ctr" defTabSz="914400" rtl="0" eaLnBrk="1" latinLnBrk="0" hangingPunct="1">
              <a:lnSpc>
                <a:spcPct val="90000"/>
              </a:lnSpc>
              <a:spcBef>
                <a:spcPct val="0"/>
              </a:spcBef>
              <a:buNone/>
              <a:defRPr sz="6000" b="1" i="0" kern="1200">
                <a:solidFill>
                  <a:schemeClr val="bg1"/>
                </a:solidFill>
                <a:latin typeface="Bebas Neue Bold" pitchFamily="2" charset="77"/>
                <a:ea typeface="+mj-ea"/>
                <a:cs typeface="+mj-cs"/>
              </a:defRPr>
            </a:lvl1pPr>
          </a:lstStyle>
          <a:p>
            <a:r>
              <a:rPr lang="en-GB" sz="2000" b="0" dirty="0">
                <a:solidFill>
                  <a:srgbClr val="DA98FF"/>
                </a:solidFill>
                <a:latin typeface="Montserrat" pitchFamily="2" charset="77"/>
              </a:rPr>
              <a:t>Corporate Brokerage, </a:t>
            </a:r>
            <a:r>
              <a:rPr lang="en-GB" sz="2000" b="0" dirty="0" err="1">
                <a:solidFill>
                  <a:srgbClr val="DA98FF"/>
                </a:solidFill>
                <a:latin typeface="Montserrat" pitchFamily="2" charset="77"/>
              </a:rPr>
              <a:t>Baader</a:t>
            </a:r>
            <a:r>
              <a:rPr lang="en-GB" sz="2000" b="0" dirty="0">
                <a:solidFill>
                  <a:srgbClr val="DA98FF"/>
                </a:solidFill>
                <a:latin typeface="Montserrat" pitchFamily="2" charset="77"/>
              </a:rPr>
              <a:t> Bank</a:t>
            </a:r>
            <a:endParaRPr lang="en-BG" sz="2000" b="0" dirty="0">
              <a:solidFill>
                <a:srgbClr val="DA98FF"/>
              </a:solidFill>
              <a:latin typeface="Montserrat" pitchFamily="2" charset="77"/>
            </a:endParaRPr>
          </a:p>
        </p:txBody>
      </p:sp>
      <p:pic>
        <p:nvPicPr>
          <p:cNvPr id="10" name="Picture 9">
            <a:extLst>
              <a:ext uri="{FF2B5EF4-FFF2-40B4-BE49-F238E27FC236}">
                <a16:creationId xmlns:a16="http://schemas.microsoft.com/office/drawing/2014/main" id="{390512D6-0647-2346-9659-2B5881C40C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35109" y="6151747"/>
            <a:ext cx="1914265" cy="332156"/>
          </a:xfrm>
          <a:prstGeom prst="rect">
            <a:avLst/>
          </a:prstGeom>
        </p:spPr>
      </p:pic>
      <p:sp>
        <p:nvSpPr>
          <p:cNvPr id="6" name="Oval 5">
            <a:extLst>
              <a:ext uri="{FF2B5EF4-FFF2-40B4-BE49-F238E27FC236}">
                <a16:creationId xmlns:a16="http://schemas.microsoft.com/office/drawing/2014/main" id="{572CE768-F70B-8F46-9DBF-10C54375379E}"/>
              </a:ext>
            </a:extLst>
          </p:cNvPr>
          <p:cNvSpPr/>
          <p:nvPr/>
        </p:nvSpPr>
        <p:spPr>
          <a:xfrm>
            <a:off x="5904432" y="2711506"/>
            <a:ext cx="1467356" cy="1503096"/>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dirty="0">
              <a:solidFill>
                <a:schemeClr val="accent5"/>
              </a:solidFill>
            </a:endParaRPr>
          </a:p>
        </p:txBody>
      </p:sp>
      <p:sp>
        <p:nvSpPr>
          <p:cNvPr id="7" name="Oval 6">
            <a:extLst>
              <a:ext uri="{FF2B5EF4-FFF2-40B4-BE49-F238E27FC236}">
                <a16:creationId xmlns:a16="http://schemas.microsoft.com/office/drawing/2014/main" id="{54A0AD42-DD2B-844B-949F-0176621B7B2B}"/>
              </a:ext>
            </a:extLst>
          </p:cNvPr>
          <p:cNvSpPr/>
          <p:nvPr/>
        </p:nvSpPr>
        <p:spPr>
          <a:xfrm>
            <a:off x="4358851" y="1067739"/>
            <a:ext cx="2184849" cy="223806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a:p>
        </p:txBody>
      </p:sp>
      <p:pic>
        <p:nvPicPr>
          <p:cNvPr id="12" name="Picture 2" descr="Profile photo of Raphael Sülzle">
            <a:extLst>
              <a:ext uri="{FF2B5EF4-FFF2-40B4-BE49-F238E27FC236}">
                <a16:creationId xmlns:a16="http://schemas.microsoft.com/office/drawing/2014/main" id="{73C8A79E-006A-464F-A963-DC6ED6411E18}"/>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823387" y="1529176"/>
            <a:ext cx="2545227" cy="2545227"/>
          </a:xfrm>
          <a:prstGeom prst="ellipse">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59456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66D78-54A5-1044-A741-2366FF5E52CC}"/>
              </a:ext>
            </a:extLst>
          </p:cNvPr>
          <p:cNvSpPr>
            <a:spLocks noGrp="1"/>
          </p:cNvSpPr>
          <p:nvPr>
            <p:ph type="ctrTitle"/>
          </p:nvPr>
        </p:nvSpPr>
        <p:spPr>
          <a:xfrm>
            <a:off x="1524000" y="4717387"/>
            <a:ext cx="9144000" cy="1231106"/>
          </a:xfrm>
        </p:spPr>
        <p:txBody>
          <a:bodyPr>
            <a:spAutoFit/>
          </a:bodyPr>
          <a:lstStyle/>
          <a:p>
            <a:r>
              <a:rPr lang="en-GB" sz="8000" b="0" dirty="0">
                <a:latin typeface="Bebas Neue Book" pitchFamily="2" charset="77"/>
              </a:rPr>
              <a:t>Manyu</a:t>
            </a:r>
            <a:r>
              <a:rPr lang="en-GB" sz="8000" dirty="0"/>
              <a:t> Moravenov</a:t>
            </a:r>
            <a:endParaRPr lang="en-BG" sz="8000" b="0" dirty="0">
              <a:solidFill>
                <a:srgbClr val="DA98FF"/>
              </a:solidFill>
              <a:latin typeface="Bebas Neue Book" pitchFamily="2" charset="77"/>
            </a:endParaRPr>
          </a:p>
        </p:txBody>
      </p:sp>
      <p:sp>
        <p:nvSpPr>
          <p:cNvPr id="3" name="Title 1">
            <a:extLst>
              <a:ext uri="{FF2B5EF4-FFF2-40B4-BE49-F238E27FC236}">
                <a16:creationId xmlns:a16="http://schemas.microsoft.com/office/drawing/2014/main" id="{1523D136-2AF8-A94E-B1D9-AF85A4795193}"/>
              </a:ext>
            </a:extLst>
          </p:cNvPr>
          <p:cNvSpPr txBox="1">
            <a:spLocks/>
          </p:cNvSpPr>
          <p:nvPr/>
        </p:nvSpPr>
        <p:spPr>
          <a:xfrm>
            <a:off x="1524000" y="5948493"/>
            <a:ext cx="9144000" cy="369332"/>
          </a:xfrm>
          <a:prstGeom prst="rect">
            <a:avLst/>
          </a:prstGeom>
        </p:spPr>
        <p:txBody>
          <a:bodyPr vert="horz" lIns="91440" tIns="45720" rIns="91440" bIns="45720" rtlCol="0" anchor="b">
            <a:spAutoFit/>
          </a:bodyPr>
          <a:lstStyle>
            <a:lvl1pPr algn="ctr" defTabSz="914400" rtl="0" eaLnBrk="1" latinLnBrk="0" hangingPunct="1">
              <a:lnSpc>
                <a:spcPct val="90000"/>
              </a:lnSpc>
              <a:spcBef>
                <a:spcPct val="0"/>
              </a:spcBef>
              <a:buNone/>
              <a:defRPr sz="6000" b="1" i="0" kern="1200">
                <a:solidFill>
                  <a:schemeClr val="bg1"/>
                </a:solidFill>
                <a:latin typeface="Bebas Neue Bold" pitchFamily="2" charset="77"/>
                <a:ea typeface="+mj-ea"/>
                <a:cs typeface="+mj-cs"/>
              </a:defRPr>
            </a:lvl1pPr>
          </a:lstStyle>
          <a:p>
            <a:r>
              <a:rPr lang="en-GB" sz="2000" b="0" dirty="0">
                <a:solidFill>
                  <a:srgbClr val="DA98FF"/>
                </a:solidFill>
                <a:latin typeface="Montserrat" pitchFamily="2" charset="77"/>
              </a:rPr>
              <a:t>CEO of Bulgarian Stock Exchange</a:t>
            </a:r>
            <a:endParaRPr lang="en-BG" sz="2000" b="0" dirty="0">
              <a:solidFill>
                <a:srgbClr val="DA98FF"/>
              </a:solidFill>
              <a:latin typeface="Montserrat" pitchFamily="2" charset="77"/>
            </a:endParaRPr>
          </a:p>
        </p:txBody>
      </p:sp>
      <p:sp>
        <p:nvSpPr>
          <p:cNvPr id="6" name="Oval 5">
            <a:extLst>
              <a:ext uri="{FF2B5EF4-FFF2-40B4-BE49-F238E27FC236}">
                <a16:creationId xmlns:a16="http://schemas.microsoft.com/office/drawing/2014/main" id="{36BA8D18-11C0-8649-ABBE-C006E05DCB99}"/>
              </a:ext>
            </a:extLst>
          </p:cNvPr>
          <p:cNvSpPr/>
          <p:nvPr/>
        </p:nvSpPr>
        <p:spPr>
          <a:xfrm>
            <a:off x="5904432" y="2711506"/>
            <a:ext cx="1467356" cy="1503096"/>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dirty="0">
              <a:solidFill>
                <a:schemeClr val="accent5"/>
              </a:solidFill>
            </a:endParaRPr>
          </a:p>
        </p:txBody>
      </p:sp>
      <p:sp>
        <p:nvSpPr>
          <p:cNvPr id="7" name="Oval 6">
            <a:extLst>
              <a:ext uri="{FF2B5EF4-FFF2-40B4-BE49-F238E27FC236}">
                <a16:creationId xmlns:a16="http://schemas.microsoft.com/office/drawing/2014/main" id="{BDF755ED-E1F8-B643-89B5-64DC1D8067F9}"/>
              </a:ext>
            </a:extLst>
          </p:cNvPr>
          <p:cNvSpPr/>
          <p:nvPr/>
        </p:nvSpPr>
        <p:spPr>
          <a:xfrm>
            <a:off x="4358851" y="1067739"/>
            <a:ext cx="2184849" cy="223806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a:p>
        </p:txBody>
      </p:sp>
      <p:pic>
        <p:nvPicPr>
          <p:cNvPr id="5" name="Picture 4">
            <a:extLst>
              <a:ext uri="{FF2B5EF4-FFF2-40B4-BE49-F238E27FC236}">
                <a16:creationId xmlns:a16="http://schemas.microsoft.com/office/drawing/2014/main" id="{3F912BD5-D828-BA44-8F5C-A035919F5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20213" y="1357801"/>
            <a:ext cx="2551575" cy="2716602"/>
          </a:xfrm>
          <a:prstGeom prst="rect">
            <a:avLst/>
          </a:prstGeom>
        </p:spPr>
      </p:pic>
      <p:grpSp>
        <p:nvGrpSpPr>
          <p:cNvPr id="34" name="Graphic 29">
            <a:extLst>
              <a:ext uri="{FF2B5EF4-FFF2-40B4-BE49-F238E27FC236}">
                <a16:creationId xmlns:a16="http://schemas.microsoft.com/office/drawing/2014/main" id="{45BB0C59-1C22-C042-A053-22C061AC33CC}"/>
              </a:ext>
            </a:extLst>
          </p:cNvPr>
          <p:cNvGrpSpPr/>
          <p:nvPr/>
        </p:nvGrpSpPr>
        <p:grpSpPr>
          <a:xfrm>
            <a:off x="10295466" y="5944348"/>
            <a:ext cx="1521348" cy="528590"/>
            <a:chOff x="1158727" y="2044081"/>
            <a:chExt cx="1558436" cy="541476"/>
          </a:xfrm>
          <a:solidFill>
            <a:schemeClr val="bg1"/>
          </a:solidFill>
        </p:grpSpPr>
        <p:sp>
          <p:nvSpPr>
            <p:cNvPr id="35" name="Freeform 34">
              <a:extLst>
                <a:ext uri="{FF2B5EF4-FFF2-40B4-BE49-F238E27FC236}">
                  <a16:creationId xmlns:a16="http://schemas.microsoft.com/office/drawing/2014/main" id="{B776BD3E-D4BF-3C49-A8DC-DEE52200E55C}"/>
                </a:ext>
              </a:extLst>
            </p:cNvPr>
            <p:cNvSpPr/>
            <p:nvPr/>
          </p:nvSpPr>
          <p:spPr>
            <a:xfrm>
              <a:off x="1158727" y="2085362"/>
              <a:ext cx="505038" cy="500195"/>
            </a:xfrm>
            <a:custGeom>
              <a:avLst/>
              <a:gdLst>
                <a:gd name="connsiteX0" fmla="*/ 462544 w 505038"/>
                <a:gd name="connsiteY0" fmla="*/ 41732 h 500195"/>
                <a:gd name="connsiteX1" fmla="*/ 479917 w 505038"/>
                <a:gd name="connsiteY1" fmla="*/ 45697 h 500195"/>
                <a:gd name="connsiteX2" fmla="*/ 428729 w 505038"/>
                <a:gd name="connsiteY2" fmla="*/ 44067 h 500195"/>
                <a:gd name="connsiteX3" fmla="*/ 415300 w 505038"/>
                <a:gd name="connsiteY3" fmla="*/ 48699 h 500195"/>
                <a:gd name="connsiteX4" fmla="*/ 414073 w 505038"/>
                <a:gd name="connsiteY4" fmla="*/ 110589 h 500195"/>
                <a:gd name="connsiteX5" fmla="*/ 413812 w 505038"/>
                <a:gd name="connsiteY5" fmla="*/ 118075 h 500195"/>
                <a:gd name="connsiteX6" fmla="*/ 390786 w 505038"/>
                <a:gd name="connsiteY6" fmla="*/ 119705 h 500195"/>
                <a:gd name="connsiteX7" fmla="*/ 403545 w 505038"/>
                <a:gd name="connsiteY7" fmla="*/ 38322 h 500195"/>
                <a:gd name="connsiteX8" fmla="*/ 420917 w 505038"/>
                <a:gd name="connsiteY8" fmla="*/ 23610 h 500195"/>
                <a:gd name="connsiteX9" fmla="*/ 449227 w 505038"/>
                <a:gd name="connsiteY9" fmla="*/ 25537 h 500195"/>
                <a:gd name="connsiteX10" fmla="*/ 487431 w 505038"/>
                <a:gd name="connsiteY10" fmla="*/ 21312 h 500195"/>
                <a:gd name="connsiteX11" fmla="*/ 462507 w 505038"/>
                <a:gd name="connsiteY11" fmla="*/ 41769 h 500195"/>
                <a:gd name="connsiteX12" fmla="*/ 421066 w 505038"/>
                <a:gd name="connsiteY12" fmla="*/ 130452 h 500195"/>
                <a:gd name="connsiteX13" fmla="*/ 446771 w 505038"/>
                <a:gd name="connsiteY13" fmla="*/ 152392 h 500195"/>
                <a:gd name="connsiteX14" fmla="*/ 446251 w 505038"/>
                <a:gd name="connsiteY14" fmla="*/ 213873 h 500195"/>
                <a:gd name="connsiteX15" fmla="*/ 450231 w 505038"/>
                <a:gd name="connsiteY15" fmla="*/ 277134 h 500195"/>
                <a:gd name="connsiteX16" fmla="*/ 466115 w 505038"/>
                <a:gd name="connsiteY16" fmla="*/ 295812 h 500195"/>
                <a:gd name="connsiteX17" fmla="*/ 480214 w 505038"/>
                <a:gd name="connsiteY17" fmla="*/ 419331 h 500195"/>
                <a:gd name="connsiteX18" fmla="*/ 483637 w 505038"/>
                <a:gd name="connsiteY18" fmla="*/ 424372 h 500195"/>
                <a:gd name="connsiteX19" fmla="*/ 476829 w 505038"/>
                <a:gd name="connsiteY19" fmla="*/ 455464 h 500195"/>
                <a:gd name="connsiteX20" fmla="*/ 447404 w 505038"/>
                <a:gd name="connsiteY20" fmla="*/ 455464 h 500195"/>
                <a:gd name="connsiteX21" fmla="*/ 451533 w 505038"/>
                <a:gd name="connsiteY21" fmla="*/ 439381 h 500195"/>
                <a:gd name="connsiteX22" fmla="*/ 440038 w 505038"/>
                <a:gd name="connsiteY22" fmla="*/ 439381 h 500195"/>
                <a:gd name="connsiteX23" fmla="*/ 436058 w 505038"/>
                <a:gd name="connsiteY23" fmla="*/ 455464 h 500195"/>
                <a:gd name="connsiteX24" fmla="*/ 415003 w 505038"/>
                <a:gd name="connsiteY24" fmla="*/ 455464 h 500195"/>
                <a:gd name="connsiteX25" fmla="*/ 438401 w 505038"/>
                <a:gd name="connsiteY25" fmla="*/ 417034 h 500195"/>
                <a:gd name="connsiteX26" fmla="*/ 440038 w 505038"/>
                <a:gd name="connsiteY26" fmla="*/ 415107 h 500195"/>
                <a:gd name="connsiteX27" fmla="*/ 443312 w 505038"/>
                <a:gd name="connsiteY27" fmla="*/ 405434 h 500195"/>
                <a:gd name="connsiteX28" fmla="*/ 443312 w 505038"/>
                <a:gd name="connsiteY28" fmla="*/ 311896 h 500195"/>
                <a:gd name="connsiteX29" fmla="*/ 434012 w 505038"/>
                <a:gd name="connsiteY29" fmla="*/ 310821 h 500195"/>
                <a:gd name="connsiteX30" fmla="*/ 380630 w 505038"/>
                <a:gd name="connsiteY30" fmla="*/ 278505 h 500195"/>
                <a:gd name="connsiteX31" fmla="*/ 355855 w 505038"/>
                <a:gd name="connsiteY31" fmla="*/ 225733 h 500195"/>
                <a:gd name="connsiteX32" fmla="*/ 344360 w 505038"/>
                <a:gd name="connsiteY32" fmla="*/ 225733 h 500195"/>
                <a:gd name="connsiteX33" fmla="*/ 356562 w 505038"/>
                <a:gd name="connsiteY33" fmla="*/ 264163 h 500195"/>
                <a:gd name="connsiteX34" fmla="*/ 347671 w 505038"/>
                <a:gd name="connsiteY34" fmla="*/ 298110 h 500195"/>
                <a:gd name="connsiteX35" fmla="*/ 324272 w 505038"/>
                <a:gd name="connsiteY35" fmla="*/ 318159 h 500195"/>
                <a:gd name="connsiteX36" fmla="*/ 229040 w 505038"/>
                <a:gd name="connsiteY36" fmla="*/ 349363 h 500195"/>
                <a:gd name="connsiteX37" fmla="*/ 231086 w 505038"/>
                <a:gd name="connsiteY37" fmla="*/ 337652 h 500195"/>
                <a:gd name="connsiteX38" fmla="*/ 231086 w 505038"/>
                <a:gd name="connsiteY38" fmla="*/ 337096 h 500195"/>
                <a:gd name="connsiteX39" fmla="*/ 219591 w 505038"/>
                <a:gd name="connsiteY39" fmla="*/ 337096 h 500195"/>
                <a:gd name="connsiteX40" fmla="*/ 198387 w 505038"/>
                <a:gd name="connsiteY40" fmla="*/ 367374 h 500195"/>
                <a:gd name="connsiteX41" fmla="*/ 188790 w 505038"/>
                <a:gd name="connsiteY41" fmla="*/ 373637 h 500195"/>
                <a:gd name="connsiteX42" fmla="*/ 187413 w 505038"/>
                <a:gd name="connsiteY42" fmla="*/ 376231 h 500195"/>
                <a:gd name="connsiteX43" fmla="*/ 182652 w 505038"/>
                <a:gd name="connsiteY43" fmla="*/ 386719 h 500195"/>
                <a:gd name="connsiteX44" fmla="*/ 169781 w 505038"/>
                <a:gd name="connsiteY44" fmla="*/ 446422 h 500195"/>
                <a:gd name="connsiteX45" fmla="*/ 170599 w 505038"/>
                <a:gd name="connsiteY45" fmla="*/ 447904 h 500195"/>
                <a:gd name="connsiteX46" fmla="*/ 186037 w 505038"/>
                <a:gd name="connsiteY46" fmla="*/ 471363 h 500195"/>
                <a:gd name="connsiteX47" fmla="*/ 192770 w 505038"/>
                <a:gd name="connsiteY47" fmla="*/ 488670 h 500195"/>
                <a:gd name="connsiteX48" fmla="*/ 176291 w 505038"/>
                <a:gd name="connsiteY48" fmla="*/ 488670 h 500195"/>
                <a:gd name="connsiteX49" fmla="*/ 174579 w 505038"/>
                <a:gd name="connsiteY49" fmla="*/ 474328 h 500195"/>
                <a:gd name="connsiteX50" fmla="*/ 163233 w 505038"/>
                <a:gd name="connsiteY50" fmla="*/ 474328 h 500195"/>
                <a:gd name="connsiteX51" fmla="*/ 164982 w 505038"/>
                <a:gd name="connsiteY51" fmla="*/ 488670 h 500195"/>
                <a:gd name="connsiteX52" fmla="*/ 134217 w 505038"/>
                <a:gd name="connsiteY52" fmla="*/ 488670 h 500195"/>
                <a:gd name="connsiteX53" fmla="*/ 138347 w 505038"/>
                <a:gd name="connsiteY53" fmla="*/ 462617 h 500195"/>
                <a:gd name="connsiteX54" fmla="*/ 147907 w 505038"/>
                <a:gd name="connsiteY54" fmla="*/ 436453 h 500195"/>
                <a:gd name="connsiteX55" fmla="*/ 159811 w 505038"/>
                <a:gd name="connsiteY55" fmla="*/ 398986 h 500195"/>
                <a:gd name="connsiteX56" fmla="*/ 152297 w 505038"/>
                <a:gd name="connsiteY56" fmla="*/ 355886 h 500195"/>
                <a:gd name="connsiteX57" fmla="*/ 139983 w 505038"/>
                <a:gd name="connsiteY57" fmla="*/ 355886 h 500195"/>
                <a:gd name="connsiteX58" fmla="*/ 143034 w 505038"/>
                <a:gd name="connsiteY58" fmla="*/ 363372 h 500195"/>
                <a:gd name="connsiteX59" fmla="*/ 100179 w 505038"/>
                <a:gd name="connsiteY59" fmla="*/ 363372 h 500195"/>
                <a:gd name="connsiteX60" fmla="*/ 100179 w 505038"/>
                <a:gd name="connsiteY60" fmla="*/ 319901 h 500195"/>
                <a:gd name="connsiteX61" fmla="*/ 88833 w 505038"/>
                <a:gd name="connsiteY61" fmla="*/ 319901 h 500195"/>
                <a:gd name="connsiteX62" fmla="*/ 88833 w 505038"/>
                <a:gd name="connsiteY62" fmla="*/ 340506 h 500195"/>
                <a:gd name="connsiteX63" fmla="*/ 39990 w 505038"/>
                <a:gd name="connsiteY63" fmla="*/ 358369 h 500195"/>
                <a:gd name="connsiteX64" fmla="*/ 33554 w 505038"/>
                <a:gd name="connsiteY64" fmla="*/ 360666 h 500195"/>
                <a:gd name="connsiteX65" fmla="*/ 36977 w 505038"/>
                <a:gd name="connsiteY65" fmla="*/ 366522 h 500195"/>
                <a:gd name="connsiteX66" fmla="*/ 48472 w 505038"/>
                <a:gd name="connsiteY66" fmla="*/ 386423 h 500195"/>
                <a:gd name="connsiteX67" fmla="*/ 50815 w 505038"/>
                <a:gd name="connsiteY67" fmla="*/ 388609 h 500195"/>
                <a:gd name="connsiteX68" fmla="*/ 76818 w 505038"/>
                <a:gd name="connsiteY68" fmla="*/ 402099 h 500195"/>
                <a:gd name="connsiteX69" fmla="*/ 49327 w 505038"/>
                <a:gd name="connsiteY69" fmla="*/ 436156 h 500195"/>
                <a:gd name="connsiteX70" fmla="*/ 12760 w 505038"/>
                <a:gd name="connsiteY70" fmla="*/ 365966 h 500195"/>
                <a:gd name="connsiteX71" fmla="*/ 12350 w 505038"/>
                <a:gd name="connsiteY71" fmla="*/ 355589 h 500195"/>
                <a:gd name="connsiteX72" fmla="*/ 18377 w 505038"/>
                <a:gd name="connsiteY72" fmla="*/ 347547 h 500195"/>
                <a:gd name="connsiteX73" fmla="*/ 59148 w 505038"/>
                <a:gd name="connsiteY73" fmla="*/ 324385 h 500195"/>
                <a:gd name="connsiteX74" fmla="*/ 63389 w 505038"/>
                <a:gd name="connsiteY74" fmla="*/ 321939 h 500195"/>
                <a:gd name="connsiteX75" fmla="*/ 61603 w 505038"/>
                <a:gd name="connsiteY75" fmla="*/ 317418 h 500195"/>
                <a:gd name="connsiteX76" fmla="*/ 56804 w 505038"/>
                <a:gd name="connsiteY76" fmla="*/ 286732 h 500195"/>
                <a:gd name="connsiteX77" fmla="*/ 58925 w 505038"/>
                <a:gd name="connsiteY77" fmla="*/ 268388 h 500195"/>
                <a:gd name="connsiteX78" fmla="*/ 68560 w 505038"/>
                <a:gd name="connsiteY78" fmla="*/ 283434 h 500195"/>
                <a:gd name="connsiteX79" fmla="*/ 82770 w 505038"/>
                <a:gd name="connsiteY79" fmla="*/ 283434 h 500195"/>
                <a:gd name="connsiteX80" fmla="*/ 48137 w 505038"/>
                <a:gd name="connsiteY80" fmla="*/ 205869 h 500195"/>
                <a:gd name="connsiteX81" fmla="*/ 45942 w 505038"/>
                <a:gd name="connsiteY81" fmla="*/ 190785 h 500195"/>
                <a:gd name="connsiteX82" fmla="*/ 63352 w 505038"/>
                <a:gd name="connsiteY82" fmla="*/ 190859 h 500195"/>
                <a:gd name="connsiteX83" fmla="*/ 129158 w 505038"/>
                <a:gd name="connsiteY83" fmla="*/ 222212 h 500195"/>
                <a:gd name="connsiteX84" fmla="*/ 129158 w 505038"/>
                <a:gd name="connsiteY84" fmla="*/ 296146 h 500195"/>
                <a:gd name="connsiteX85" fmla="*/ 154417 w 505038"/>
                <a:gd name="connsiteY85" fmla="*/ 321309 h 500195"/>
                <a:gd name="connsiteX86" fmla="*/ 266947 w 505038"/>
                <a:gd name="connsiteY86" fmla="*/ 321309 h 500195"/>
                <a:gd name="connsiteX87" fmla="*/ 272006 w 505038"/>
                <a:gd name="connsiteY87" fmla="*/ 320901 h 500195"/>
                <a:gd name="connsiteX88" fmla="*/ 300204 w 505038"/>
                <a:gd name="connsiteY88" fmla="*/ 290364 h 500195"/>
                <a:gd name="connsiteX89" fmla="*/ 300613 w 505038"/>
                <a:gd name="connsiteY89" fmla="*/ 284917 h 500195"/>
                <a:gd name="connsiteX90" fmla="*/ 288969 w 505038"/>
                <a:gd name="connsiteY90" fmla="*/ 261754 h 500195"/>
                <a:gd name="connsiteX91" fmla="*/ 281046 w 505038"/>
                <a:gd name="connsiteY91" fmla="*/ 237369 h 500195"/>
                <a:gd name="connsiteX92" fmla="*/ 270630 w 505038"/>
                <a:gd name="connsiteY92" fmla="*/ 217468 h 500195"/>
                <a:gd name="connsiteX93" fmla="*/ 270630 w 505038"/>
                <a:gd name="connsiteY93" fmla="*/ 204534 h 500195"/>
                <a:gd name="connsiteX94" fmla="*/ 270072 w 505038"/>
                <a:gd name="connsiteY94" fmla="*/ 202348 h 500195"/>
                <a:gd name="connsiteX95" fmla="*/ 265161 w 505038"/>
                <a:gd name="connsiteY95" fmla="*/ 190785 h 500195"/>
                <a:gd name="connsiteX96" fmla="*/ 300873 w 505038"/>
                <a:gd name="connsiteY96" fmla="*/ 190785 h 500195"/>
                <a:gd name="connsiteX97" fmla="*/ 317018 w 505038"/>
                <a:gd name="connsiteY97" fmla="*/ 189303 h 500195"/>
                <a:gd name="connsiteX98" fmla="*/ 331117 w 505038"/>
                <a:gd name="connsiteY98" fmla="*/ 181780 h 500195"/>
                <a:gd name="connsiteX99" fmla="*/ 336697 w 505038"/>
                <a:gd name="connsiteY99" fmla="*/ 166808 h 500195"/>
                <a:gd name="connsiteX100" fmla="*/ 335618 w 505038"/>
                <a:gd name="connsiteY100" fmla="*/ 157543 h 500195"/>
                <a:gd name="connsiteX101" fmla="*/ 318357 w 505038"/>
                <a:gd name="connsiteY101" fmla="*/ 118779 h 500195"/>
                <a:gd name="connsiteX102" fmla="*/ 371181 w 505038"/>
                <a:gd name="connsiteY102" fmla="*/ 125598 h 500195"/>
                <a:gd name="connsiteX103" fmla="*/ 371367 w 505038"/>
                <a:gd name="connsiteY103" fmla="*/ 125820 h 500195"/>
                <a:gd name="connsiteX104" fmla="*/ 344360 w 505038"/>
                <a:gd name="connsiteY104" fmla="*/ 141756 h 500195"/>
                <a:gd name="connsiteX105" fmla="*/ 358310 w 505038"/>
                <a:gd name="connsiteY105" fmla="*/ 147870 h 500195"/>
                <a:gd name="connsiteX106" fmla="*/ 386917 w 505038"/>
                <a:gd name="connsiteY106" fmla="*/ 132194 h 500195"/>
                <a:gd name="connsiteX107" fmla="*/ 421141 w 505038"/>
                <a:gd name="connsiteY107" fmla="*/ 130415 h 500195"/>
                <a:gd name="connsiteX108" fmla="*/ 403694 w 505038"/>
                <a:gd name="connsiteY108" fmla="*/ 323088 h 500195"/>
                <a:gd name="connsiteX109" fmla="*/ 393018 w 505038"/>
                <a:gd name="connsiteY109" fmla="*/ 328536 h 500195"/>
                <a:gd name="connsiteX110" fmla="*/ 384685 w 505038"/>
                <a:gd name="connsiteY110" fmla="*/ 325941 h 500195"/>
                <a:gd name="connsiteX111" fmla="*/ 378249 w 505038"/>
                <a:gd name="connsiteY111" fmla="*/ 317640 h 500195"/>
                <a:gd name="connsiteX112" fmla="*/ 375794 w 505038"/>
                <a:gd name="connsiteY112" fmla="*/ 311785 h 500195"/>
                <a:gd name="connsiteX113" fmla="*/ 370474 w 505038"/>
                <a:gd name="connsiteY113" fmla="*/ 315194 h 500195"/>
                <a:gd name="connsiteX114" fmla="*/ 336139 w 505038"/>
                <a:gd name="connsiteY114" fmla="*/ 336615 h 500195"/>
                <a:gd name="connsiteX115" fmla="*/ 341905 w 505038"/>
                <a:gd name="connsiteY115" fmla="*/ 345472 h 500195"/>
                <a:gd name="connsiteX116" fmla="*/ 356822 w 505038"/>
                <a:gd name="connsiteY116" fmla="*/ 336207 h 500195"/>
                <a:gd name="connsiteX117" fmla="*/ 360765 w 505038"/>
                <a:gd name="connsiteY117" fmla="*/ 343285 h 500195"/>
                <a:gd name="connsiteX118" fmla="*/ 348712 w 505038"/>
                <a:gd name="connsiteY118" fmla="*/ 361963 h 500195"/>
                <a:gd name="connsiteX119" fmla="*/ 331489 w 505038"/>
                <a:gd name="connsiteY119" fmla="*/ 417997 h 500195"/>
                <a:gd name="connsiteX120" fmla="*/ 325314 w 505038"/>
                <a:gd name="connsiteY120" fmla="*/ 418146 h 500195"/>
                <a:gd name="connsiteX121" fmla="*/ 319585 w 505038"/>
                <a:gd name="connsiteY121" fmla="*/ 418294 h 500195"/>
                <a:gd name="connsiteX122" fmla="*/ 319734 w 505038"/>
                <a:gd name="connsiteY122" fmla="*/ 423853 h 500195"/>
                <a:gd name="connsiteX123" fmla="*/ 319734 w 505038"/>
                <a:gd name="connsiteY123" fmla="*/ 455502 h 500195"/>
                <a:gd name="connsiteX124" fmla="*/ 258986 w 505038"/>
                <a:gd name="connsiteY124" fmla="*/ 455502 h 500195"/>
                <a:gd name="connsiteX125" fmla="*/ 270741 w 505038"/>
                <a:gd name="connsiteY125" fmla="*/ 435341 h 500195"/>
                <a:gd name="connsiteX126" fmla="*/ 301803 w 505038"/>
                <a:gd name="connsiteY126" fmla="*/ 416923 h 500195"/>
                <a:gd name="connsiteX127" fmla="*/ 303738 w 505038"/>
                <a:gd name="connsiteY127" fmla="*/ 415144 h 500195"/>
                <a:gd name="connsiteX128" fmla="*/ 323714 w 505038"/>
                <a:gd name="connsiteY128" fmla="*/ 361148 h 500195"/>
                <a:gd name="connsiteX129" fmla="*/ 323974 w 505038"/>
                <a:gd name="connsiteY129" fmla="*/ 359110 h 500195"/>
                <a:gd name="connsiteX130" fmla="*/ 311401 w 505038"/>
                <a:gd name="connsiteY130" fmla="*/ 334280 h 500195"/>
                <a:gd name="connsiteX131" fmla="*/ 328364 w 505038"/>
                <a:gd name="connsiteY131" fmla="*/ 328721 h 500195"/>
                <a:gd name="connsiteX132" fmla="*/ 357380 w 505038"/>
                <a:gd name="connsiteY132" fmla="*/ 303928 h 500195"/>
                <a:gd name="connsiteX133" fmla="*/ 366606 w 505038"/>
                <a:gd name="connsiteY133" fmla="*/ 279691 h 500195"/>
                <a:gd name="connsiteX134" fmla="*/ 372297 w 505038"/>
                <a:gd name="connsiteY134" fmla="*/ 286325 h 500195"/>
                <a:gd name="connsiteX135" fmla="*/ 408009 w 505038"/>
                <a:gd name="connsiteY135" fmla="*/ 313489 h 500195"/>
                <a:gd name="connsiteX136" fmla="*/ 403806 w 505038"/>
                <a:gd name="connsiteY136" fmla="*/ 323125 h 500195"/>
                <a:gd name="connsiteX137" fmla="*/ 35600 w 505038"/>
                <a:gd name="connsiteY137" fmla="*/ 179408 h 500195"/>
                <a:gd name="connsiteX138" fmla="*/ 28198 w 505038"/>
                <a:gd name="connsiteY138" fmla="*/ 175999 h 500195"/>
                <a:gd name="connsiteX139" fmla="*/ 26300 w 505038"/>
                <a:gd name="connsiteY139" fmla="*/ 166585 h 500195"/>
                <a:gd name="connsiteX140" fmla="*/ 37237 w 505038"/>
                <a:gd name="connsiteY140" fmla="*/ 147240 h 500195"/>
                <a:gd name="connsiteX141" fmla="*/ 51038 w 505038"/>
                <a:gd name="connsiteY141" fmla="*/ 131972 h 500195"/>
                <a:gd name="connsiteX142" fmla="*/ 90321 w 505038"/>
                <a:gd name="connsiteY142" fmla="*/ 98841 h 500195"/>
                <a:gd name="connsiteX143" fmla="*/ 69638 w 505038"/>
                <a:gd name="connsiteY143" fmla="*/ 140014 h 500195"/>
                <a:gd name="connsiteX144" fmla="*/ 63872 w 505038"/>
                <a:gd name="connsiteY144" fmla="*/ 151206 h 500195"/>
                <a:gd name="connsiteX145" fmla="*/ 75925 w 505038"/>
                <a:gd name="connsiteY145" fmla="*/ 148056 h 500195"/>
                <a:gd name="connsiteX146" fmla="*/ 132023 w 505038"/>
                <a:gd name="connsiteY146" fmla="*/ 140681 h 500195"/>
                <a:gd name="connsiteX147" fmla="*/ 152408 w 505038"/>
                <a:gd name="connsiteY147" fmla="*/ 146944 h 500195"/>
                <a:gd name="connsiteX148" fmla="*/ 154194 w 505038"/>
                <a:gd name="connsiteY148" fmla="*/ 153763 h 500195"/>
                <a:gd name="connsiteX149" fmla="*/ 148577 w 505038"/>
                <a:gd name="connsiteY149" fmla="*/ 170959 h 500195"/>
                <a:gd name="connsiteX150" fmla="*/ 133399 w 505038"/>
                <a:gd name="connsiteY150" fmla="*/ 179816 h 500195"/>
                <a:gd name="connsiteX151" fmla="*/ 35563 w 505038"/>
                <a:gd name="connsiteY151" fmla="*/ 179408 h 500195"/>
                <a:gd name="connsiteX152" fmla="*/ 57325 w 505038"/>
                <a:gd name="connsiteY152" fmla="*/ 107809 h 500195"/>
                <a:gd name="connsiteX153" fmla="*/ 112493 w 505038"/>
                <a:gd name="connsiteY153" fmla="*/ 58594 h 500195"/>
                <a:gd name="connsiteX154" fmla="*/ 181871 w 505038"/>
                <a:gd name="connsiteY154" fmla="*/ 84647 h 500195"/>
                <a:gd name="connsiteX155" fmla="*/ 209771 w 505038"/>
                <a:gd name="connsiteY155" fmla="*/ 123893 h 500195"/>
                <a:gd name="connsiteX156" fmla="*/ 222344 w 505038"/>
                <a:gd name="connsiteY156" fmla="*/ 123893 h 500195"/>
                <a:gd name="connsiteX157" fmla="*/ 212189 w 505038"/>
                <a:gd name="connsiteY157" fmla="*/ 105067 h 500195"/>
                <a:gd name="connsiteX158" fmla="*/ 284617 w 505038"/>
                <a:gd name="connsiteY158" fmla="*/ 114443 h 500195"/>
                <a:gd name="connsiteX159" fmla="*/ 287072 w 505038"/>
                <a:gd name="connsiteY159" fmla="*/ 137531 h 500195"/>
                <a:gd name="connsiteX160" fmla="*/ 281604 w 505038"/>
                <a:gd name="connsiteY160" fmla="*/ 136456 h 500195"/>
                <a:gd name="connsiteX161" fmla="*/ 216169 w 505038"/>
                <a:gd name="connsiteY161" fmla="*/ 139161 h 500195"/>
                <a:gd name="connsiteX162" fmla="*/ 161039 w 505038"/>
                <a:gd name="connsiteY162" fmla="*/ 139161 h 500195"/>
                <a:gd name="connsiteX163" fmla="*/ 132432 w 505038"/>
                <a:gd name="connsiteY163" fmla="*/ 129341 h 500195"/>
                <a:gd name="connsiteX164" fmla="*/ 85076 w 505038"/>
                <a:gd name="connsiteY164" fmla="*/ 134381 h 500195"/>
                <a:gd name="connsiteX165" fmla="*/ 115171 w 505038"/>
                <a:gd name="connsiteY165" fmla="*/ 72232 h 500195"/>
                <a:gd name="connsiteX166" fmla="*/ 111897 w 505038"/>
                <a:gd name="connsiteY166" fmla="*/ 72232 h 500195"/>
                <a:gd name="connsiteX167" fmla="*/ 77674 w 505038"/>
                <a:gd name="connsiteY167" fmla="*/ 94579 h 500195"/>
                <a:gd name="connsiteX168" fmla="*/ 55354 w 505038"/>
                <a:gd name="connsiteY168" fmla="*/ 112404 h 500195"/>
                <a:gd name="connsiteX169" fmla="*/ 57288 w 505038"/>
                <a:gd name="connsiteY169" fmla="*/ 107809 h 500195"/>
                <a:gd name="connsiteX170" fmla="*/ 268472 w 505038"/>
                <a:gd name="connsiteY170" fmla="*/ 238592 h 500195"/>
                <a:gd name="connsiteX171" fmla="*/ 259060 w 505038"/>
                <a:gd name="connsiteY171" fmla="*/ 245411 h 500195"/>
                <a:gd name="connsiteX172" fmla="*/ 241800 w 505038"/>
                <a:gd name="connsiteY172" fmla="*/ 238296 h 500195"/>
                <a:gd name="connsiteX173" fmla="*/ 207167 w 505038"/>
                <a:gd name="connsiteY173" fmla="*/ 262014 h 500195"/>
                <a:gd name="connsiteX174" fmla="*/ 213193 w 505038"/>
                <a:gd name="connsiteY174" fmla="*/ 275652 h 500195"/>
                <a:gd name="connsiteX175" fmla="*/ 210031 w 505038"/>
                <a:gd name="connsiteY175" fmla="*/ 278765 h 500195"/>
                <a:gd name="connsiteX176" fmla="*/ 204153 w 505038"/>
                <a:gd name="connsiteY176" fmla="*/ 294181 h 500195"/>
                <a:gd name="connsiteX177" fmla="*/ 208283 w 505038"/>
                <a:gd name="connsiteY177" fmla="*/ 310006 h 500195"/>
                <a:gd name="connsiteX178" fmla="*/ 158211 w 505038"/>
                <a:gd name="connsiteY178" fmla="*/ 310006 h 500195"/>
                <a:gd name="connsiteX179" fmla="*/ 140541 w 505038"/>
                <a:gd name="connsiteY179" fmla="*/ 292403 h 500195"/>
                <a:gd name="connsiteX180" fmla="*/ 140541 w 505038"/>
                <a:gd name="connsiteY180" fmla="*/ 208018 h 500195"/>
                <a:gd name="connsiteX181" fmla="*/ 133585 w 505038"/>
                <a:gd name="connsiteY181" fmla="*/ 209797 h 500195"/>
                <a:gd name="connsiteX182" fmla="*/ 75144 w 505038"/>
                <a:gd name="connsiteY182" fmla="*/ 190971 h 500195"/>
                <a:gd name="connsiteX183" fmla="*/ 133697 w 505038"/>
                <a:gd name="connsiteY183" fmla="*/ 191230 h 500195"/>
                <a:gd name="connsiteX184" fmla="*/ 134106 w 505038"/>
                <a:gd name="connsiteY184" fmla="*/ 191230 h 500195"/>
                <a:gd name="connsiteX185" fmla="*/ 138347 w 505038"/>
                <a:gd name="connsiteY185" fmla="*/ 190563 h 500195"/>
                <a:gd name="connsiteX186" fmla="*/ 157244 w 505038"/>
                <a:gd name="connsiteY186" fmla="*/ 178148 h 500195"/>
                <a:gd name="connsiteX187" fmla="*/ 165577 w 505038"/>
                <a:gd name="connsiteY187" fmla="*/ 153059 h 500195"/>
                <a:gd name="connsiteX188" fmla="*/ 165317 w 505038"/>
                <a:gd name="connsiteY188" fmla="*/ 150613 h 500195"/>
                <a:gd name="connsiteX189" fmla="*/ 172161 w 505038"/>
                <a:gd name="connsiteY189" fmla="*/ 150761 h 500195"/>
                <a:gd name="connsiteX190" fmla="*/ 217731 w 505038"/>
                <a:gd name="connsiteY190" fmla="*/ 150761 h 500195"/>
                <a:gd name="connsiteX191" fmla="*/ 254001 w 505038"/>
                <a:gd name="connsiteY191" fmla="*/ 193565 h 500195"/>
                <a:gd name="connsiteX192" fmla="*/ 259098 w 505038"/>
                <a:gd name="connsiteY192" fmla="*/ 205832 h 500195"/>
                <a:gd name="connsiteX193" fmla="*/ 259098 w 505038"/>
                <a:gd name="connsiteY193" fmla="*/ 218802 h 500195"/>
                <a:gd name="connsiteX194" fmla="*/ 259618 w 505038"/>
                <a:gd name="connsiteY194" fmla="*/ 221248 h 500195"/>
                <a:gd name="connsiteX195" fmla="*/ 269067 w 505038"/>
                <a:gd name="connsiteY195" fmla="*/ 238555 h 500195"/>
                <a:gd name="connsiteX196" fmla="*/ 268509 w 505038"/>
                <a:gd name="connsiteY196" fmla="*/ 238555 h 500195"/>
                <a:gd name="connsiteX197" fmla="*/ 278888 w 505038"/>
                <a:gd name="connsiteY197" fmla="*/ 268425 h 500195"/>
                <a:gd name="connsiteX198" fmla="*/ 283129 w 505038"/>
                <a:gd name="connsiteY198" fmla="*/ 271427 h 500195"/>
                <a:gd name="connsiteX199" fmla="*/ 288709 w 505038"/>
                <a:gd name="connsiteY199" fmla="*/ 287659 h 500195"/>
                <a:gd name="connsiteX200" fmla="*/ 266686 w 505038"/>
                <a:gd name="connsiteY200" fmla="*/ 309895 h 500195"/>
                <a:gd name="connsiteX201" fmla="*/ 228929 w 505038"/>
                <a:gd name="connsiteY201" fmla="*/ 309895 h 500195"/>
                <a:gd name="connsiteX202" fmla="*/ 215797 w 505038"/>
                <a:gd name="connsiteY202" fmla="*/ 297072 h 500195"/>
                <a:gd name="connsiteX203" fmla="*/ 215797 w 505038"/>
                <a:gd name="connsiteY203" fmla="*/ 294478 h 500195"/>
                <a:gd name="connsiteX204" fmla="*/ 228929 w 505038"/>
                <a:gd name="connsiteY204" fmla="*/ 281544 h 500195"/>
                <a:gd name="connsiteX205" fmla="*/ 233281 w 505038"/>
                <a:gd name="connsiteY205" fmla="*/ 281285 h 500195"/>
                <a:gd name="connsiteX206" fmla="*/ 234099 w 505038"/>
                <a:gd name="connsiteY206" fmla="*/ 278023 h 500195"/>
                <a:gd name="connsiteX207" fmla="*/ 219852 w 505038"/>
                <a:gd name="connsiteY207" fmla="*/ 262903 h 500195"/>
                <a:gd name="connsiteX208" fmla="*/ 237782 w 505038"/>
                <a:gd name="connsiteY208" fmla="*/ 247227 h 500195"/>
                <a:gd name="connsiteX209" fmla="*/ 261292 w 505038"/>
                <a:gd name="connsiteY209" fmla="*/ 264274 h 500195"/>
                <a:gd name="connsiteX210" fmla="*/ 264715 w 505038"/>
                <a:gd name="connsiteY210" fmla="*/ 264274 h 500195"/>
                <a:gd name="connsiteX211" fmla="*/ 267616 w 505038"/>
                <a:gd name="connsiteY211" fmla="*/ 249673 h 500195"/>
                <a:gd name="connsiteX212" fmla="*/ 276656 w 505038"/>
                <a:gd name="connsiteY212" fmla="*/ 256492 h 500195"/>
                <a:gd name="connsiteX213" fmla="*/ 278851 w 505038"/>
                <a:gd name="connsiteY213" fmla="*/ 268499 h 500195"/>
                <a:gd name="connsiteX214" fmla="*/ 308611 w 505038"/>
                <a:gd name="connsiteY214" fmla="*/ 124745 h 500195"/>
                <a:gd name="connsiteX215" fmla="*/ 324495 w 505038"/>
                <a:gd name="connsiteY215" fmla="*/ 160026 h 500195"/>
                <a:gd name="connsiteX216" fmla="*/ 325314 w 505038"/>
                <a:gd name="connsiteY216" fmla="*/ 166845 h 500195"/>
                <a:gd name="connsiteX217" fmla="*/ 322858 w 505038"/>
                <a:gd name="connsiteY217" fmla="*/ 174072 h 500195"/>
                <a:gd name="connsiteX218" fmla="*/ 314228 w 505038"/>
                <a:gd name="connsiteY218" fmla="*/ 178296 h 500195"/>
                <a:gd name="connsiteX219" fmla="*/ 301096 w 505038"/>
                <a:gd name="connsiteY219" fmla="*/ 179371 h 500195"/>
                <a:gd name="connsiteX220" fmla="*/ 260734 w 505038"/>
                <a:gd name="connsiteY220" fmla="*/ 179371 h 500195"/>
                <a:gd name="connsiteX221" fmla="*/ 232797 w 505038"/>
                <a:gd name="connsiteY221" fmla="*/ 143794 h 500195"/>
                <a:gd name="connsiteX222" fmla="*/ 279186 w 505038"/>
                <a:gd name="connsiteY222" fmla="*/ 147463 h 500195"/>
                <a:gd name="connsiteX223" fmla="*/ 293694 w 505038"/>
                <a:gd name="connsiteY223" fmla="*/ 150316 h 500195"/>
                <a:gd name="connsiteX224" fmla="*/ 301766 w 505038"/>
                <a:gd name="connsiteY224" fmla="*/ 151688 h 500195"/>
                <a:gd name="connsiteX225" fmla="*/ 300129 w 505038"/>
                <a:gd name="connsiteY225" fmla="*/ 143646 h 500195"/>
                <a:gd name="connsiteX226" fmla="*/ 292057 w 505038"/>
                <a:gd name="connsiteY226" fmla="*/ 98804 h 500195"/>
                <a:gd name="connsiteX227" fmla="*/ 308648 w 505038"/>
                <a:gd name="connsiteY227" fmla="*/ 124708 h 500195"/>
                <a:gd name="connsiteX228" fmla="*/ 502609 w 505038"/>
                <a:gd name="connsiteY228" fmla="*/ 1226 h 500195"/>
                <a:gd name="connsiteX229" fmla="*/ 455662 w 505038"/>
                <a:gd name="connsiteY229" fmla="*/ 15827 h 500195"/>
                <a:gd name="connsiteX230" fmla="*/ 418425 w 505038"/>
                <a:gd name="connsiteY230" fmla="*/ 14456 h 500195"/>
                <a:gd name="connsiteX231" fmla="*/ 393538 w 505038"/>
                <a:gd name="connsiteY231" fmla="*/ 33690 h 500195"/>
                <a:gd name="connsiteX232" fmla="*/ 389446 w 505038"/>
                <a:gd name="connsiteY232" fmla="*/ 45809 h 500195"/>
                <a:gd name="connsiteX233" fmla="*/ 385206 w 505038"/>
                <a:gd name="connsiteY233" fmla="*/ 103621 h 500195"/>
                <a:gd name="connsiteX234" fmla="*/ 382750 w 505038"/>
                <a:gd name="connsiteY234" fmla="*/ 111812 h 500195"/>
                <a:gd name="connsiteX235" fmla="*/ 379328 w 505038"/>
                <a:gd name="connsiteY235" fmla="*/ 114962 h 500195"/>
                <a:gd name="connsiteX236" fmla="*/ 375980 w 505038"/>
                <a:gd name="connsiteY236" fmla="*/ 115221 h 500195"/>
                <a:gd name="connsiteX237" fmla="*/ 308834 w 505038"/>
                <a:gd name="connsiteY237" fmla="*/ 106327 h 500195"/>
                <a:gd name="connsiteX238" fmla="*/ 283092 w 505038"/>
                <a:gd name="connsiteY238" fmla="*/ 72269 h 500195"/>
                <a:gd name="connsiteX239" fmla="*/ 280078 w 505038"/>
                <a:gd name="connsiteY239" fmla="*/ 72269 h 500195"/>
                <a:gd name="connsiteX240" fmla="*/ 283352 w 505038"/>
                <a:gd name="connsiteY240" fmla="*/ 102917 h 500195"/>
                <a:gd name="connsiteX241" fmla="*/ 203447 w 505038"/>
                <a:gd name="connsiteY241" fmla="*/ 92318 h 500195"/>
                <a:gd name="connsiteX242" fmla="*/ 189794 w 505038"/>
                <a:gd name="connsiteY242" fmla="*/ 76642 h 500195"/>
                <a:gd name="connsiteX243" fmla="*/ 110409 w 505038"/>
                <a:gd name="connsiteY243" fmla="*/ 47476 h 500195"/>
                <a:gd name="connsiteX244" fmla="*/ 46909 w 505038"/>
                <a:gd name="connsiteY244" fmla="*/ 103251 h 500195"/>
                <a:gd name="connsiteX245" fmla="*/ 38279 w 505038"/>
                <a:gd name="connsiteY245" fmla="*/ 128970 h 500195"/>
                <a:gd name="connsiteX246" fmla="*/ 28309 w 505038"/>
                <a:gd name="connsiteY246" fmla="*/ 140347 h 500195"/>
                <a:gd name="connsiteX247" fmla="*/ 15289 w 505038"/>
                <a:gd name="connsiteY247" fmla="*/ 163510 h 500195"/>
                <a:gd name="connsiteX248" fmla="*/ 14210 w 505038"/>
                <a:gd name="connsiteY248" fmla="*/ 170180 h 500195"/>
                <a:gd name="connsiteX249" fmla="*/ 14210 w 505038"/>
                <a:gd name="connsiteY249" fmla="*/ 171663 h 500195"/>
                <a:gd name="connsiteX250" fmla="*/ 20497 w 505038"/>
                <a:gd name="connsiteY250" fmla="*/ 184633 h 500195"/>
                <a:gd name="connsiteX251" fmla="*/ 33629 w 505038"/>
                <a:gd name="connsiteY251" fmla="*/ 190748 h 500195"/>
                <a:gd name="connsiteX252" fmla="*/ 34336 w 505038"/>
                <a:gd name="connsiteY252" fmla="*/ 190822 h 500195"/>
                <a:gd name="connsiteX253" fmla="*/ 36791 w 505038"/>
                <a:gd name="connsiteY253" fmla="*/ 208055 h 500195"/>
                <a:gd name="connsiteX254" fmla="*/ 51968 w 505038"/>
                <a:gd name="connsiteY254" fmla="*/ 255417 h 500195"/>
                <a:gd name="connsiteX255" fmla="*/ 45272 w 505038"/>
                <a:gd name="connsiteY255" fmla="*/ 286844 h 500195"/>
                <a:gd name="connsiteX256" fmla="*/ 49253 w 505038"/>
                <a:gd name="connsiteY256" fmla="*/ 316973 h 500195"/>
                <a:gd name="connsiteX257" fmla="*/ 12574 w 505038"/>
                <a:gd name="connsiteY257" fmla="*/ 337838 h 500195"/>
                <a:gd name="connsiteX258" fmla="*/ 1376 w 505038"/>
                <a:gd name="connsiteY258" fmla="*/ 352291 h 500195"/>
                <a:gd name="connsiteX259" fmla="*/ 2195 w 505038"/>
                <a:gd name="connsiteY259" fmla="*/ 370821 h 500195"/>
                <a:gd name="connsiteX260" fmla="*/ 2344 w 505038"/>
                <a:gd name="connsiteY260" fmla="*/ 371080 h 500195"/>
                <a:gd name="connsiteX261" fmla="*/ 43003 w 505038"/>
                <a:gd name="connsiteY261" fmla="*/ 449053 h 500195"/>
                <a:gd name="connsiteX262" fmla="*/ 46388 w 505038"/>
                <a:gd name="connsiteY262" fmla="*/ 455464 h 500195"/>
                <a:gd name="connsiteX263" fmla="*/ 0 w 505038"/>
                <a:gd name="connsiteY263" fmla="*/ 455464 h 500195"/>
                <a:gd name="connsiteX264" fmla="*/ 0 w 505038"/>
                <a:gd name="connsiteY264" fmla="*/ 466768 h 500195"/>
                <a:gd name="connsiteX265" fmla="*/ 114539 w 505038"/>
                <a:gd name="connsiteY265" fmla="*/ 466768 h 500195"/>
                <a:gd name="connsiteX266" fmla="*/ 114539 w 505038"/>
                <a:gd name="connsiteY266" fmla="*/ 455464 h 500195"/>
                <a:gd name="connsiteX267" fmla="*/ 48174 w 505038"/>
                <a:gd name="connsiteY267" fmla="*/ 455464 h 500195"/>
                <a:gd name="connsiteX268" fmla="*/ 52564 w 505038"/>
                <a:gd name="connsiteY268" fmla="*/ 450017 h 500195"/>
                <a:gd name="connsiteX269" fmla="*/ 89912 w 505038"/>
                <a:gd name="connsiteY269" fmla="*/ 403915 h 500195"/>
                <a:gd name="connsiteX270" fmla="*/ 94302 w 505038"/>
                <a:gd name="connsiteY270" fmla="*/ 398615 h 500195"/>
                <a:gd name="connsiteX271" fmla="*/ 88164 w 505038"/>
                <a:gd name="connsiteY271" fmla="*/ 395354 h 500195"/>
                <a:gd name="connsiteX272" fmla="*/ 57362 w 505038"/>
                <a:gd name="connsiteY272" fmla="*/ 379270 h 500195"/>
                <a:gd name="connsiteX273" fmla="*/ 50108 w 505038"/>
                <a:gd name="connsiteY273" fmla="*/ 366744 h 500195"/>
                <a:gd name="connsiteX274" fmla="*/ 88722 w 505038"/>
                <a:gd name="connsiteY274" fmla="*/ 352624 h 500195"/>
                <a:gd name="connsiteX275" fmla="*/ 88722 w 505038"/>
                <a:gd name="connsiteY275" fmla="*/ 374934 h 500195"/>
                <a:gd name="connsiteX276" fmla="*/ 146196 w 505038"/>
                <a:gd name="connsiteY276" fmla="*/ 374934 h 500195"/>
                <a:gd name="connsiteX277" fmla="*/ 148242 w 505038"/>
                <a:gd name="connsiteY277" fmla="*/ 398504 h 500195"/>
                <a:gd name="connsiteX278" fmla="*/ 137565 w 505038"/>
                <a:gd name="connsiteY278" fmla="*/ 431746 h 500195"/>
                <a:gd name="connsiteX279" fmla="*/ 127038 w 505038"/>
                <a:gd name="connsiteY279" fmla="*/ 460912 h 500195"/>
                <a:gd name="connsiteX280" fmla="*/ 121830 w 505038"/>
                <a:gd name="connsiteY280" fmla="*/ 493636 h 500195"/>
                <a:gd name="connsiteX281" fmla="*/ 120900 w 505038"/>
                <a:gd name="connsiteY281" fmla="*/ 500195 h 500195"/>
                <a:gd name="connsiteX282" fmla="*/ 205604 w 505038"/>
                <a:gd name="connsiteY282" fmla="*/ 500195 h 500195"/>
                <a:gd name="connsiteX283" fmla="*/ 205083 w 505038"/>
                <a:gd name="connsiteY283" fmla="*/ 493932 h 500195"/>
                <a:gd name="connsiteX284" fmla="*/ 196193 w 505038"/>
                <a:gd name="connsiteY284" fmla="*/ 466101 h 500195"/>
                <a:gd name="connsiteX285" fmla="*/ 180159 w 505038"/>
                <a:gd name="connsiteY285" fmla="*/ 441827 h 500195"/>
                <a:gd name="connsiteX286" fmla="*/ 192882 w 505038"/>
                <a:gd name="connsiteY286" fmla="*/ 391796 h 500195"/>
                <a:gd name="connsiteX287" fmla="*/ 197941 w 505038"/>
                <a:gd name="connsiteY287" fmla="*/ 380752 h 500195"/>
                <a:gd name="connsiteX288" fmla="*/ 203819 w 505038"/>
                <a:gd name="connsiteY288" fmla="*/ 377343 h 500195"/>
                <a:gd name="connsiteX289" fmla="*/ 221563 w 505038"/>
                <a:gd name="connsiteY289" fmla="*/ 363779 h 500195"/>
                <a:gd name="connsiteX290" fmla="*/ 297897 w 505038"/>
                <a:gd name="connsiteY290" fmla="*/ 338690 h 500195"/>
                <a:gd name="connsiteX291" fmla="*/ 301357 w 505038"/>
                <a:gd name="connsiteY291" fmla="*/ 340839 h 500195"/>
                <a:gd name="connsiteX292" fmla="*/ 312442 w 505038"/>
                <a:gd name="connsiteY292" fmla="*/ 358813 h 500195"/>
                <a:gd name="connsiteX293" fmla="*/ 295182 w 505038"/>
                <a:gd name="connsiteY293" fmla="*/ 407472 h 500195"/>
                <a:gd name="connsiteX294" fmla="*/ 261813 w 505038"/>
                <a:gd name="connsiteY294" fmla="*/ 428077 h 500195"/>
                <a:gd name="connsiteX295" fmla="*/ 247119 w 505038"/>
                <a:gd name="connsiteY295" fmla="*/ 455464 h 500195"/>
                <a:gd name="connsiteX296" fmla="*/ 215165 w 505038"/>
                <a:gd name="connsiteY296" fmla="*/ 455464 h 500195"/>
                <a:gd name="connsiteX297" fmla="*/ 215165 w 505038"/>
                <a:gd name="connsiteY297" fmla="*/ 466768 h 500195"/>
                <a:gd name="connsiteX298" fmla="*/ 331191 w 505038"/>
                <a:gd name="connsiteY298" fmla="*/ 466768 h 500195"/>
                <a:gd name="connsiteX299" fmla="*/ 331191 w 505038"/>
                <a:gd name="connsiteY299" fmla="*/ 461172 h 500195"/>
                <a:gd name="connsiteX300" fmla="*/ 331080 w 505038"/>
                <a:gd name="connsiteY300" fmla="*/ 429412 h 500195"/>
                <a:gd name="connsiteX301" fmla="*/ 338743 w 505038"/>
                <a:gd name="connsiteY301" fmla="*/ 429263 h 500195"/>
                <a:gd name="connsiteX302" fmla="*/ 346257 w 505038"/>
                <a:gd name="connsiteY302" fmla="*/ 429115 h 500195"/>
                <a:gd name="connsiteX303" fmla="*/ 344211 w 505038"/>
                <a:gd name="connsiteY303" fmla="*/ 422000 h 500195"/>
                <a:gd name="connsiteX304" fmla="*/ 357231 w 505038"/>
                <a:gd name="connsiteY304" fmla="*/ 369375 h 500195"/>
                <a:gd name="connsiteX305" fmla="*/ 372148 w 505038"/>
                <a:gd name="connsiteY305" fmla="*/ 342952 h 500195"/>
                <a:gd name="connsiteX306" fmla="*/ 365862 w 505038"/>
                <a:gd name="connsiteY306" fmla="*/ 330500 h 500195"/>
                <a:gd name="connsiteX307" fmla="*/ 371330 w 505038"/>
                <a:gd name="connsiteY307" fmla="*/ 327127 h 500195"/>
                <a:gd name="connsiteX308" fmla="*/ 378584 w 505038"/>
                <a:gd name="connsiteY308" fmla="*/ 334502 h 500195"/>
                <a:gd name="connsiteX309" fmla="*/ 393501 w 505038"/>
                <a:gd name="connsiteY309" fmla="*/ 339135 h 500195"/>
                <a:gd name="connsiteX310" fmla="*/ 412101 w 505038"/>
                <a:gd name="connsiteY310" fmla="*/ 329722 h 500195"/>
                <a:gd name="connsiteX311" fmla="*/ 417718 w 505038"/>
                <a:gd name="connsiteY311" fmla="*/ 318937 h 500195"/>
                <a:gd name="connsiteX312" fmla="*/ 417569 w 505038"/>
                <a:gd name="connsiteY312" fmla="*/ 317751 h 500195"/>
                <a:gd name="connsiteX313" fmla="*/ 426869 w 505038"/>
                <a:gd name="connsiteY313" fmla="*/ 320827 h 500195"/>
                <a:gd name="connsiteX314" fmla="*/ 432077 w 505038"/>
                <a:gd name="connsiteY314" fmla="*/ 322050 h 500195"/>
                <a:gd name="connsiteX315" fmla="*/ 432077 w 505038"/>
                <a:gd name="connsiteY315" fmla="*/ 402766 h 500195"/>
                <a:gd name="connsiteX316" fmla="*/ 431110 w 505038"/>
                <a:gd name="connsiteY316" fmla="*/ 407954 h 500195"/>
                <a:gd name="connsiteX317" fmla="*/ 429883 w 505038"/>
                <a:gd name="connsiteY317" fmla="*/ 409437 h 500195"/>
                <a:gd name="connsiteX318" fmla="*/ 402503 w 505038"/>
                <a:gd name="connsiteY318" fmla="*/ 460430 h 500195"/>
                <a:gd name="connsiteX319" fmla="*/ 401685 w 505038"/>
                <a:gd name="connsiteY319" fmla="*/ 466694 h 500195"/>
                <a:gd name="connsiteX320" fmla="*/ 485980 w 505038"/>
                <a:gd name="connsiteY320" fmla="*/ 466694 h 500195"/>
                <a:gd name="connsiteX321" fmla="*/ 486947 w 505038"/>
                <a:gd name="connsiteY321" fmla="*/ 462320 h 500195"/>
                <a:gd name="connsiteX322" fmla="*/ 495280 w 505038"/>
                <a:gd name="connsiteY322" fmla="*/ 424297 h 500195"/>
                <a:gd name="connsiteX323" fmla="*/ 495838 w 505038"/>
                <a:gd name="connsiteY323" fmla="*/ 421963 h 500195"/>
                <a:gd name="connsiteX324" fmla="*/ 494462 w 505038"/>
                <a:gd name="connsiteY324" fmla="*/ 419924 h 500195"/>
                <a:gd name="connsiteX325" fmla="*/ 489700 w 505038"/>
                <a:gd name="connsiteY325" fmla="*/ 412846 h 500195"/>
                <a:gd name="connsiteX326" fmla="*/ 477796 w 505038"/>
                <a:gd name="connsiteY326" fmla="*/ 292884 h 500195"/>
                <a:gd name="connsiteX327" fmla="*/ 478205 w 505038"/>
                <a:gd name="connsiteY327" fmla="*/ 288400 h 500195"/>
                <a:gd name="connsiteX328" fmla="*/ 473853 w 505038"/>
                <a:gd name="connsiteY328" fmla="*/ 287029 h 500195"/>
                <a:gd name="connsiteX329" fmla="*/ 460573 w 505038"/>
                <a:gd name="connsiteY329" fmla="*/ 272020 h 500195"/>
                <a:gd name="connsiteX330" fmla="*/ 457559 w 505038"/>
                <a:gd name="connsiteY330" fmla="*/ 215578 h 500195"/>
                <a:gd name="connsiteX331" fmla="*/ 457857 w 505038"/>
                <a:gd name="connsiteY331" fmla="*/ 149205 h 500195"/>
                <a:gd name="connsiteX332" fmla="*/ 424972 w 505038"/>
                <a:gd name="connsiteY332" fmla="*/ 119668 h 500195"/>
                <a:gd name="connsiteX333" fmla="*/ 425419 w 505038"/>
                <a:gd name="connsiteY333" fmla="*/ 108291 h 500195"/>
                <a:gd name="connsiteX334" fmla="*/ 419690 w 505038"/>
                <a:gd name="connsiteY334" fmla="*/ 71491 h 500195"/>
                <a:gd name="connsiteX335" fmla="*/ 425567 w 505038"/>
                <a:gd name="connsiteY335" fmla="*/ 57334 h 500195"/>
                <a:gd name="connsiteX336" fmla="*/ 465929 w 505038"/>
                <a:gd name="connsiteY336" fmla="*/ 69860 h 500195"/>
                <a:gd name="connsiteX337" fmla="*/ 493457 w 505038"/>
                <a:gd name="connsiteY337" fmla="*/ 34024 h 500195"/>
                <a:gd name="connsiteX338" fmla="*/ 504952 w 505038"/>
                <a:gd name="connsiteY338" fmla="*/ 2671 h 500195"/>
                <a:gd name="connsiteX339" fmla="*/ 502757 w 505038"/>
                <a:gd name="connsiteY339" fmla="*/ 1189 h 500195"/>
                <a:gd name="connsiteX340" fmla="*/ 253592 w 505038"/>
                <a:gd name="connsiteY340" fmla="*/ 284509 h 500195"/>
                <a:gd name="connsiteX341" fmla="*/ 236331 w 505038"/>
                <a:gd name="connsiteY341" fmla="*/ 298406 h 500195"/>
                <a:gd name="connsiteX342" fmla="*/ 237671 w 505038"/>
                <a:gd name="connsiteY342" fmla="*/ 299073 h 500195"/>
                <a:gd name="connsiteX343" fmla="*/ 243288 w 505038"/>
                <a:gd name="connsiteY343" fmla="*/ 296071 h 500195"/>
                <a:gd name="connsiteX344" fmla="*/ 273643 w 505038"/>
                <a:gd name="connsiteY344" fmla="*/ 296071 h 500195"/>
                <a:gd name="connsiteX345" fmla="*/ 277065 w 505038"/>
                <a:gd name="connsiteY345" fmla="*/ 299333 h 500195"/>
                <a:gd name="connsiteX346" fmla="*/ 277214 w 505038"/>
                <a:gd name="connsiteY346" fmla="*/ 300296 h 500195"/>
                <a:gd name="connsiteX347" fmla="*/ 272676 w 505038"/>
                <a:gd name="connsiteY347" fmla="*/ 284472 h 500195"/>
                <a:gd name="connsiteX348" fmla="*/ 253555 w 505038"/>
                <a:gd name="connsiteY348" fmla="*/ 284472 h 500195"/>
                <a:gd name="connsiteX349" fmla="*/ 191171 w 505038"/>
                <a:gd name="connsiteY349" fmla="*/ 207203 h 500195"/>
                <a:gd name="connsiteX350" fmla="*/ 173649 w 505038"/>
                <a:gd name="connsiteY350" fmla="*/ 195344 h 500195"/>
                <a:gd name="connsiteX351" fmla="*/ 167363 w 505038"/>
                <a:gd name="connsiteY351" fmla="*/ 213725 h 500195"/>
                <a:gd name="connsiteX352" fmla="*/ 179267 w 505038"/>
                <a:gd name="connsiteY352" fmla="*/ 208685 h 500195"/>
                <a:gd name="connsiteX353" fmla="*/ 188827 w 505038"/>
                <a:gd name="connsiteY353" fmla="*/ 215504 h 500195"/>
                <a:gd name="connsiteX354" fmla="*/ 185814 w 505038"/>
                <a:gd name="connsiteY354" fmla="*/ 219062 h 500195"/>
                <a:gd name="connsiteX355" fmla="*/ 177890 w 505038"/>
                <a:gd name="connsiteY355" fmla="*/ 216171 h 500195"/>
                <a:gd name="connsiteX356" fmla="*/ 177890 w 505038"/>
                <a:gd name="connsiteY356" fmla="*/ 211279 h 500195"/>
                <a:gd name="connsiteX357" fmla="*/ 171752 w 505038"/>
                <a:gd name="connsiteY357" fmla="*/ 215356 h 500195"/>
                <a:gd name="connsiteX358" fmla="*/ 180494 w 505038"/>
                <a:gd name="connsiteY358" fmla="*/ 226140 h 500195"/>
                <a:gd name="connsiteX359" fmla="*/ 198164 w 505038"/>
                <a:gd name="connsiteY359" fmla="*/ 222175 h 500195"/>
                <a:gd name="connsiteX360" fmla="*/ 198425 w 505038"/>
                <a:gd name="connsiteY360" fmla="*/ 221767 h 500195"/>
                <a:gd name="connsiteX361" fmla="*/ 204711 w 505038"/>
                <a:gd name="connsiteY361" fmla="*/ 220952 h 500195"/>
                <a:gd name="connsiteX362" fmla="*/ 191171 w 505038"/>
                <a:gd name="connsiteY362" fmla="*/ 207166 h 500195"/>
                <a:gd name="connsiteX363" fmla="*/ 242916 w 505038"/>
                <a:gd name="connsiteY363" fmla="*/ 273058 h 500195"/>
                <a:gd name="connsiteX364" fmla="*/ 251806 w 505038"/>
                <a:gd name="connsiteY364" fmla="*/ 266794 h 500195"/>
                <a:gd name="connsiteX365" fmla="*/ 254931 w 505038"/>
                <a:gd name="connsiteY365" fmla="*/ 265720 h 500195"/>
                <a:gd name="connsiteX366" fmla="*/ 232649 w 505038"/>
                <a:gd name="connsiteY366" fmla="*/ 255899 h 500195"/>
                <a:gd name="connsiteX367" fmla="*/ 233207 w 505038"/>
                <a:gd name="connsiteY367" fmla="*/ 267202 h 500195"/>
                <a:gd name="connsiteX368" fmla="*/ 240460 w 505038"/>
                <a:gd name="connsiteY368" fmla="*/ 262421 h 500195"/>
                <a:gd name="connsiteX369" fmla="*/ 242916 w 505038"/>
                <a:gd name="connsiteY369" fmla="*/ 273058 h 500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Lst>
              <a:rect l="l" t="t" r="r" b="b"/>
              <a:pathLst>
                <a:path w="505038" h="500195">
                  <a:moveTo>
                    <a:pt x="462544" y="41732"/>
                  </a:moveTo>
                  <a:cubicBezTo>
                    <a:pt x="467603" y="49626"/>
                    <a:pt x="472811" y="46772"/>
                    <a:pt x="479917" y="45697"/>
                  </a:cubicBezTo>
                  <a:cubicBezTo>
                    <a:pt x="461317" y="69823"/>
                    <a:pt x="443089" y="60039"/>
                    <a:pt x="428729" y="44067"/>
                  </a:cubicBezTo>
                  <a:cubicBezTo>
                    <a:pt x="423819" y="41473"/>
                    <a:pt x="419690" y="43807"/>
                    <a:pt x="415300" y="48699"/>
                  </a:cubicBezTo>
                  <a:cubicBezTo>
                    <a:pt x="405033" y="60151"/>
                    <a:pt x="411766" y="95320"/>
                    <a:pt x="414073" y="110589"/>
                  </a:cubicBezTo>
                  <a:cubicBezTo>
                    <a:pt x="414370" y="112590"/>
                    <a:pt x="414221" y="115221"/>
                    <a:pt x="413812" y="118075"/>
                  </a:cubicBezTo>
                  <a:cubicBezTo>
                    <a:pt x="406558" y="117556"/>
                    <a:pt x="398746" y="118075"/>
                    <a:pt x="390786" y="119705"/>
                  </a:cubicBezTo>
                  <a:cubicBezTo>
                    <a:pt x="403433" y="102065"/>
                    <a:pt x="394543" y="53517"/>
                    <a:pt x="403545" y="38322"/>
                  </a:cubicBezTo>
                  <a:cubicBezTo>
                    <a:pt x="406558" y="32208"/>
                    <a:pt x="413403" y="25500"/>
                    <a:pt x="420917" y="23610"/>
                  </a:cubicBezTo>
                  <a:cubicBezTo>
                    <a:pt x="427055" y="21979"/>
                    <a:pt x="434867" y="20089"/>
                    <a:pt x="449227" y="25537"/>
                  </a:cubicBezTo>
                  <a:cubicBezTo>
                    <a:pt x="463474" y="28391"/>
                    <a:pt x="475527" y="27575"/>
                    <a:pt x="487431" y="21312"/>
                  </a:cubicBezTo>
                  <a:cubicBezTo>
                    <a:pt x="488398" y="22127"/>
                    <a:pt x="476345" y="45586"/>
                    <a:pt x="462507" y="41769"/>
                  </a:cubicBezTo>
                  <a:moveTo>
                    <a:pt x="421066" y="130452"/>
                  </a:moveTo>
                  <a:cubicBezTo>
                    <a:pt x="434049" y="133454"/>
                    <a:pt x="442940" y="140384"/>
                    <a:pt x="446771" y="152392"/>
                  </a:cubicBezTo>
                  <a:cubicBezTo>
                    <a:pt x="452798" y="173923"/>
                    <a:pt x="449375" y="194640"/>
                    <a:pt x="446251" y="213873"/>
                  </a:cubicBezTo>
                  <a:cubicBezTo>
                    <a:pt x="442679" y="234997"/>
                    <a:pt x="441191" y="259012"/>
                    <a:pt x="450231" y="277134"/>
                  </a:cubicBezTo>
                  <a:cubicBezTo>
                    <a:pt x="455588" y="287918"/>
                    <a:pt x="461875" y="293218"/>
                    <a:pt x="466115" y="295812"/>
                  </a:cubicBezTo>
                  <a:cubicBezTo>
                    <a:pt x="461317" y="346250"/>
                    <a:pt x="448297" y="372822"/>
                    <a:pt x="480214" y="419331"/>
                  </a:cubicBezTo>
                  <a:cubicBezTo>
                    <a:pt x="481144" y="420703"/>
                    <a:pt x="482111" y="422037"/>
                    <a:pt x="483637" y="424372"/>
                  </a:cubicBezTo>
                  <a:lnTo>
                    <a:pt x="476829" y="455464"/>
                  </a:lnTo>
                  <a:lnTo>
                    <a:pt x="447404" y="455464"/>
                  </a:lnTo>
                  <a:lnTo>
                    <a:pt x="451533" y="439381"/>
                  </a:lnTo>
                  <a:cubicBezTo>
                    <a:pt x="453579" y="431190"/>
                    <a:pt x="442084" y="431190"/>
                    <a:pt x="440038" y="439381"/>
                  </a:cubicBezTo>
                  <a:lnTo>
                    <a:pt x="436058" y="455464"/>
                  </a:lnTo>
                  <a:lnTo>
                    <a:pt x="415003" y="455464"/>
                  </a:lnTo>
                  <a:cubicBezTo>
                    <a:pt x="418983" y="438973"/>
                    <a:pt x="429659" y="426966"/>
                    <a:pt x="438401" y="417034"/>
                  </a:cubicBezTo>
                  <a:cubicBezTo>
                    <a:pt x="439220" y="416070"/>
                    <a:pt x="439629" y="415663"/>
                    <a:pt x="440038" y="415107"/>
                  </a:cubicBezTo>
                  <a:cubicBezTo>
                    <a:pt x="444986" y="409511"/>
                    <a:pt x="443312" y="405434"/>
                    <a:pt x="443312" y="405434"/>
                  </a:cubicBezTo>
                  <a:lnTo>
                    <a:pt x="443312" y="311896"/>
                  </a:lnTo>
                  <a:lnTo>
                    <a:pt x="434012" y="310821"/>
                  </a:lnTo>
                  <a:cubicBezTo>
                    <a:pt x="415003" y="307004"/>
                    <a:pt x="394729" y="293514"/>
                    <a:pt x="380630" y="278505"/>
                  </a:cubicBezTo>
                  <a:cubicBezTo>
                    <a:pt x="368168" y="265423"/>
                    <a:pt x="357789" y="244410"/>
                    <a:pt x="355855" y="225733"/>
                  </a:cubicBezTo>
                  <a:lnTo>
                    <a:pt x="344360" y="225733"/>
                  </a:lnTo>
                  <a:cubicBezTo>
                    <a:pt x="345476" y="238629"/>
                    <a:pt x="350052" y="252156"/>
                    <a:pt x="356562" y="264163"/>
                  </a:cubicBezTo>
                  <a:cubicBezTo>
                    <a:pt x="356748" y="275244"/>
                    <a:pt x="353883" y="287622"/>
                    <a:pt x="347671" y="298110"/>
                  </a:cubicBezTo>
                  <a:cubicBezTo>
                    <a:pt x="342314" y="306819"/>
                    <a:pt x="334651" y="314045"/>
                    <a:pt x="324272" y="318159"/>
                  </a:cubicBezTo>
                  <a:lnTo>
                    <a:pt x="229040" y="349363"/>
                  </a:lnTo>
                  <a:cubicBezTo>
                    <a:pt x="230045" y="345917"/>
                    <a:pt x="230789" y="342062"/>
                    <a:pt x="231086" y="337652"/>
                  </a:cubicBezTo>
                  <a:lnTo>
                    <a:pt x="231086" y="337096"/>
                  </a:lnTo>
                  <a:lnTo>
                    <a:pt x="219591" y="337096"/>
                  </a:lnTo>
                  <a:cubicBezTo>
                    <a:pt x="218475" y="355626"/>
                    <a:pt x="207018" y="362704"/>
                    <a:pt x="198387" y="367374"/>
                  </a:cubicBezTo>
                  <a:cubicBezTo>
                    <a:pt x="194556" y="369412"/>
                    <a:pt x="191245" y="371191"/>
                    <a:pt x="188790" y="373637"/>
                  </a:cubicBezTo>
                  <a:lnTo>
                    <a:pt x="187413" y="376231"/>
                  </a:lnTo>
                  <a:cubicBezTo>
                    <a:pt x="186893" y="378158"/>
                    <a:pt x="185070" y="381975"/>
                    <a:pt x="182652" y="386719"/>
                  </a:cubicBezTo>
                  <a:cubicBezTo>
                    <a:pt x="174989" y="402395"/>
                    <a:pt x="162675" y="427077"/>
                    <a:pt x="169781" y="446422"/>
                  </a:cubicBezTo>
                  <a:lnTo>
                    <a:pt x="170599" y="447904"/>
                  </a:lnTo>
                  <a:cubicBezTo>
                    <a:pt x="176328" y="455390"/>
                    <a:pt x="181796" y="463284"/>
                    <a:pt x="186037" y="471363"/>
                  </a:cubicBezTo>
                  <a:cubicBezTo>
                    <a:pt x="189050" y="477070"/>
                    <a:pt x="191357" y="482963"/>
                    <a:pt x="192770" y="488670"/>
                  </a:cubicBezTo>
                  <a:lnTo>
                    <a:pt x="176291" y="488670"/>
                  </a:lnTo>
                  <a:lnTo>
                    <a:pt x="174579" y="474328"/>
                  </a:lnTo>
                  <a:cubicBezTo>
                    <a:pt x="173612" y="466138"/>
                    <a:pt x="162266" y="466286"/>
                    <a:pt x="163233" y="474328"/>
                  </a:cubicBezTo>
                  <a:lnTo>
                    <a:pt x="164982" y="488670"/>
                  </a:lnTo>
                  <a:lnTo>
                    <a:pt x="134217" y="488670"/>
                  </a:lnTo>
                  <a:lnTo>
                    <a:pt x="138347" y="462617"/>
                  </a:lnTo>
                  <a:cubicBezTo>
                    <a:pt x="139723" y="454167"/>
                    <a:pt x="143815" y="445310"/>
                    <a:pt x="147907" y="436453"/>
                  </a:cubicBezTo>
                  <a:cubicBezTo>
                    <a:pt x="153524" y="424594"/>
                    <a:pt x="159141" y="412438"/>
                    <a:pt x="159811" y="398986"/>
                  </a:cubicBezTo>
                  <a:cubicBezTo>
                    <a:pt x="160629" y="380604"/>
                    <a:pt x="155570" y="364372"/>
                    <a:pt x="152297" y="355886"/>
                  </a:cubicBezTo>
                  <a:lnTo>
                    <a:pt x="139983" y="355886"/>
                  </a:lnTo>
                  <a:cubicBezTo>
                    <a:pt x="140616" y="357220"/>
                    <a:pt x="141769" y="359814"/>
                    <a:pt x="143034" y="363372"/>
                  </a:cubicBezTo>
                  <a:lnTo>
                    <a:pt x="100179" y="363372"/>
                  </a:lnTo>
                  <a:lnTo>
                    <a:pt x="100179" y="319901"/>
                  </a:lnTo>
                  <a:lnTo>
                    <a:pt x="88833" y="319901"/>
                  </a:lnTo>
                  <a:lnTo>
                    <a:pt x="88833" y="340506"/>
                  </a:lnTo>
                  <a:lnTo>
                    <a:pt x="39990" y="358369"/>
                  </a:lnTo>
                  <a:lnTo>
                    <a:pt x="33554" y="360666"/>
                  </a:lnTo>
                  <a:lnTo>
                    <a:pt x="36977" y="366522"/>
                  </a:lnTo>
                  <a:lnTo>
                    <a:pt x="48472" y="386423"/>
                  </a:lnTo>
                  <a:lnTo>
                    <a:pt x="50815" y="388609"/>
                  </a:lnTo>
                  <a:lnTo>
                    <a:pt x="76818" y="402099"/>
                  </a:lnTo>
                  <a:lnTo>
                    <a:pt x="49327" y="436156"/>
                  </a:lnTo>
                  <a:lnTo>
                    <a:pt x="12760" y="365966"/>
                  </a:lnTo>
                  <a:cubicBezTo>
                    <a:pt x="11383" y="362667"/>
                    <a:pt x="11272" y="358999"/>
                    <a:pt x="12350" y="355589"/>
                  </a:cubicBezTo>
                  <a:cubicBezTo>
                    <a:pt x="13429" y="352180"/>
                    <a:pt x="15475" y="349178"/>
                    <a:pt x="18377" y="347547"/>
                  </a:cubicBezTo>
                  <a:lnTo>
                    <a:pt x="59148" y="324385"/>
                  </a:lnTo>
                  <a:lnTo>
                    <a:pt x="63389" y="321939"/>
                  </a:lnTo>
                  <a:lnTo>
                    <a:pt x="61603" y="317418"/>
                  </a:lnTo>
                  <a:cubicBezTo>
                    <a:pt x="58441" y="309228"/>
                    <a:pt x="56804" y="297776"/>
                    <a:pt x="56804" y="286732"/>
                  </a:cubicBezTo>
                  <a:cubicBezTo>
                    <a:pt x="56804" y="280025"/>
                    <a:pt x="57511" y="273613"/>
                    <a:pt x="58925" y="268388"/>
                  </a:cubicBezTo>
                  <a:cubicBezTo>
                    <a:pt x="61938" y="273650"/>
                    <a:pt x="65137" y="278691"/>
                    <a:pt x="68560" y="283434"/>
                  </a:cubicBezTo>
                  <a:lnTo>
                    <a:pt x="82770" y="283434"/>
                  </a:lnTo>
                  <a:cubicBezTo>
                    <a:pt x="66476" y="263274"/>
                    <a:pt x="53903" y="236554"/>
                    <a:pt x="48137" y="205869"/>
                  </a:cubicBezTo>
                  <a:cubicBezTo>
                    <a:pt x="47207" y="200829"/>
                    <a:pt x="46463" y="195751"/>
                    <a:pt x="45942" y="190785"/>
                  </a:cubicBezTo>
                  <a:lnTo>
                    <a:pt x="63352" y="190859"/>
                  </a:lnTo>
                  <a:cubicBezTo>
                    <a:pt x="70196" y="216208"/>
                    <a:pt x="90731" y="229587"/>
                    <a:pt x="129158" y="222212"/>
                  </a:cubicBezTo>
                  <a:lnTo>
                    <a:pt x="129158" y="296146"/>
                  </a:lnTo>
                  <a:cubicBezTo>
                    <a:pt x="129158" y="310043"/>
                    <a:pt x="140467" y="321309"/>
                    <a:pt x="154417" y="321309"/>
                  </a:cubicBezTo>
                  <a:lnTo>
                    <a:pt x="266947" y="321309"/>
                  </a:lnTo>
                  <a:cubicBezTo>
                    <a:pt x="268732" y="321309"/>
                    <a:pt x="270369" y="321161"/>
                    <a:pt x="272006" y="320901"/>
                  </a:cubicBezTo>
                  <a:cubicBezTo>
                    <a:pt x="287593" y="317900"/>
                    <a:pt x="297711" y="305633"/>
                    <a:pt x="300204" y="290364"/>
                  </a:cubicBezTo>
                  <a:cubicBezTo>
                    <a:pt x="300464" y="288474"/>
                    <a:pt x="300464" y="286547"/>
                    <a:pt x="300613" y="284917"/>
                  </a:cubicBezTo>
                  <a:cubicBezTo>
                    <a:pt x="300352" y="275503"/>
                    <a:pt x="297190" y="266757"/>
                    <a:pt x="288969" y="261754"/>
                  </a:cubicBezTo>
                  <a:cubicBezTo>
                    <a:pt x="289639" y="253861"/>
                    <a:pt x="287593" y="242002"/>
                    <a:pt x="281046" y="237369"/>
                  </a:cubicBezTo>
                  <a:lnTo>
                    <a:pt x="270630" y="217468"/>
                  </a:lnTo>
                  <a:lnTo>
                    <a:pt x="270630" y="204534"/>
                  </a:lnTo>
                  <a:lnTo>
                    <a:pt x="270072" y="202348"/>
                  </a:lnTo>
                  <a:cubicBezTo>
                    <a:pt x="268435" y="198531"/>
                    <a:pt x="266947" y="194714"/>
                    <a:pt x="265161" y="190785"/>
                  </a:cubicBezTo>
                  <a:lnTo>
                    <a:pt x="300873" y="190785"/>
                  </a:lnTo>
                  <a:cubicBezTo>
                    <a:pt x="306751" y="190934"/>
                    <a:pt x="312219" y="190526"/>
                    <a:pt x="317018" y="189303"/>
                  </a:cubicBezTo>
                  <a:cubicBezTo>
                    <a:pt x="322896" y="187932"/>
                    <a:pt x="327546" y="185486"/>
                    <a:pt x="331117" y="181780"/>
                  </a:cubicBezTo>
                  <a:cubicBezTo>
                    <a:pt x="334651" y="177963"/>
                    <a:pt x="336585" y="173071"/>
                    <a:pt x="336697" y="166808"/>
                  </a:cubicBezTo>
                  <a:cubicBezTo>
                    <a:pt x="336846" y="164065"/>
                    <a:pt x="336436" y="160952"/>
                    <a:pt x="335618" y="157543"/>
                  </a:cubicBezTo>
                  <a:cubicBezTo>
                    <a:pt x="332493" y="144535"/>
                    <a:pt x="326095" y="131268"/>
                    <a:pt x="318357" y="118779"/>
                  </a:cubicBezTo>
                  <a:lnTo>
                    <a:pt x="371181" y="125598"/>
                  </a:lnTo>
                  <a:lnTo>
                    <a:pt x="371367" y="125820"/>
                  </a:lnTo>
                  <a:cubicBezTo>
                    <a:pt x="361695" y="129934"/>
                    <a:pt x="352321" y="135455"/>
                    <a:pt x="344360" y="141756"/>
                  </a:cubicBezTo>
                  <a:lnTo>
                    <a:pt x="358310" y="147870"/>
                  </a:lnTo>
                  <a:cubicBezTo>
                    <a:pt x="366531" y="140940"/>
                    <a:pt x="376650" y="135344"/>
                    <a:pt x="386917" y="132194"/>
                  </a:cubicBezTo>
                  <a:cubicBezTo>
                    <a:pt x="399230" y="128785"/>
                    <a:pt x="411134" y="128229"/>
                    <a:pt x="421141" y="130415"/>
                  </a:cubicBezTo>
                  <a:moveTo>
                    <a:pt x="403694" y="323088"/>
                  </a:moveTo>
                  <a:cubicBezTo>
                    <a:pt x="401090" y="326349"/>
                    <a:pt x="397258" y="328424"/>
                    <a:pt x="393018" y="328536"/>
                  </a:cubicBezTo>
                  <a:cubicBezTo>
                    <a:pt x="390004" y="328684"/>
                    <a:pt x="387140" y="327720"/>
                    <a:pt x="384685" y="325941"/>
                  </a:cubicBezTo>
                  <a:cubicBezTo>
                    <a:pt x="381820" y="324014"/>
                    <a:pt x="379737" y="321161"/>
                    <a:pt x="378249" y="317640"/>
                  </a:cubicBezTo>
                  <a:lnTo>
                    <a:pt x="375794" y="311785"/>
                  </a:lnTo>
                  <a:lnTo>
                    <a:pt x="370474" y="315194"/>
                  </a:lnTo>
                  <a:lnTo>
                    <a:pt x="336139" y="336615"/>
                  </a:lnTo>
                  <a:lnTo>
                    <a:pt x="341905" y="345472"/>
                  </a:lnTo>
                  <a:lnTo>
                    <a:pt x="356822" y="336207"/>
                  </a:lnTo>
                  <a:lnTo>
                    <a:pt x="360765" y="343285"/>
                  </a:lnTo>
                  <a:cubicBezTo>
                    <a:pt x="360877" y="348881"/>
                    <a:pt x="353920" y="356108"/>
                    <a:pt x="348712" y="361963"/>
                  </a:cubicBezTo>
                  <a:cubicBezTo>
                    <a:pt x="338185" y="373971"/>
                    <a:pt x="325462" y="388424"/>
                    <a:pt x="331489" y="417997"/>
                  </a:cubicBezTo>
                  <a:lnTo>
                    <a:pt x="325314" y="418146"/>
                  </a:lnTo>
                  <a:lnTo>
                    <a:pt x="319585" y="418294"/>
                  </a:lnTo>
                  <a:lnTo>
                    <a:pt x="319734" y="423853"/>
                  </a:lnTo>
                  <a:lnTo>
                    <a:pt x="319734" y="455502"/>
                  </a:lnTo>
                  <a:lnTo>
                    <a:pt x="258986" y="455502"/>
                  </a:lnTo>
                  <a:cubicBezTo>
                    <a:pt x="261888" y="448683"/>
                    <a:pt x="265682" y="441715"/>
                    <a:pt x="270741" y="435341"/>
                  </a:cubicBezTo>
                  <a:cubicBezTo>
                    <a:pt x="276656" y="428115"/>
                    <a:pt x="292503" y="421555"/>
                    <a:pt x="301803" y="416923"/>
                  </a:cubicBezTo>
                  <a:lnTo>
                    <a:pt x="303738" y="415144"/>
                  </a:lnTo>
                  <a:cubicBezTo>
                    <a:pt x="313968" y="400987"/>
                    <a:pt x="320031" y="377936"/>
                    <a:pt x="323714" y="361148"/>
                  </a:cubicBezTo>
                  <a:lnTo>
                    <a:pt x="323974" y="359110"/>
                  </a:lnTo>
                  <a:cubicBezTo>
                    <a:pt x="323230" y="349030"/>
                    <a:pt x="318692" y="340691"/>
                    <a:pt x="311401" y="334280"/>
                  </a:cubicBezTo>
                  <a:lnTo>
                    <a:pt x="328364" y="328721"/>
                  </a:lnTo>
                  <a:cubicBezTo>
                    <a:pt x="341384" y="323792"/>
                    <a:pt x="350796" y="314675"/>
                    <a:pt x="357380" y="303928"/>
                  </a:cubicBezTo>
                  <a:cubicBezTo>
                    <a:pt x="361956" y="296405"/>
                    <a:pt x="364969" y="288030"/>
                    <a:pt x="366606" y="279691"/>
                  </a:cubicBezTo>
                  <a:cubicBezTo>
                    <a:pt x="368466" y="282063"/>
                    <a:pt x="370326" y="284249"/>
                    <a:pt x="372297" y="286325"/>
                  </a:cubicBezTo>
                  <a:cubicBezTo>
                    <a:pt x="382155" y="296701"/>
                    <a:pt x="394766" y="306596"/>
                    <a:pt x="408009" y="313489"/>
                  </a:cubicBezTo>
                  <a:cubicBezTo>
                    <a:pt x="407414" y="317195"/>
                    <a:pt x="405926" y="320531"/>
                    <a:pt x="403806" y="323125"/>
                  </a:cubicBezTo>
                  <a:moveTo>
                    <a:pt x="35600" y="179408"/>
                  </a:moveTo>
                  <a:cubicBezTo>
                    <a:pt x="32178" y="178593"/>
                    <a:pt x="29574" y="177481"/>
                    <a:pt x="28198" y="175999"/>
                  </a:cubicBezTo>
                  <a:cubicBezTo>
                    <a:pt x="25594" y="173960"/>
                    <a:pt x="25184" y="170662"/>
                    <a:pt x="26300" y="166585"/>
                  </a:cubicBezTo>
                  <a:cubicBezTo>
                    <a:pt x="27937" y="160990"/>
                    <a:pt x="31918" y="154467"/>
                    <a:pt x="37237" y="147240"/>
                  </a:cubicBezTo>
                  <a:cubicBezTo>
                    <a:pt x="41218" y="142349"/>
                    <a:pt x="45310" y="136753"/>
                    <a:pt x="51038" y="131972"/>
                  </a:cubicBezTo>
                  <a:lnTo>
                    <a:pt x="90321" y="98841"/>
                  </a:lnTo>
                  <a:lnTo>
                    <a:pt x="69638" y="140014"/>
                  </a:lnTo>
                  <a:lnTo>
                    <a:pt x="63872" y="151206"/>
                  </a:lnTo>
                  <a:lnTo>
                    <a:pt x="75925" y="148056"/>
                  </a:lnTo>
                  <a:cubicBezTo>
                    <a:pt x="84555" y="146166"/>
                    <a:pt x="111637" y="140162"/>
                    <a:pt x="132023" y="140681"/>
                  </a:cubicBezTo>
                  <a:cubicBezTo>
                    <a:pt x="142401" y="141089"/>
                    <a:pt x="150623" y="142719"/>
                    <a:pt x="152408" y="146944"/>
                  </a:cubicBezTo>
                  <a:cubicBezTo>
                    <a:pt x="153227" y="149538"/>
                    <a:pt x="154045" y="151020"/>
                    <a:pt x="154194" y="153763"/>
                  </a:cubicBezTo>
                  <a:cubicBezTo>
                    <a:pt x="154603" y="160582"/>
                    <a:pt x="152259" y="166437"/>
                    <a:pt x="148577" y="170959"/>
                  </a:cubicBezTo>
                  <a:cubicBezTo>
                    <a:pt x="144894" y="175183"/>
                    <a:pt x="139128" y="179408"/>
                    <a:pt x="133399" y="179816"/>
                  </a:cubicBezTo>
                  <a:lnTo>
                    <a:pt x="35563" y="179408"/>
                  </a:lnTo>
                  <a:close/>
                  <a:moveTo>
                    <a:pt x="57325" y="107809"/>
                  </a:moveTo>
                  <a:cubicBezTo>
                    <a:pt x="69080" y="81645"/>
                    <a:pt x="88387" y="63115"/>
                    <a:pt x="112493" y="58594"/>
                  </a:cubicBezTo>
                  <a:cubicBezTo>
                    <a:pt x="136561" y="54110"/>
                    <a:pt x="161336" y="64449"/>
                    <a:pt x="181871" y="84647"/>
                  </a:cubicBezTo>
                  <a:cubicBezTo>
                    <a:pt x="192547" y="95283"/>
                    <a:pt x="202107" y="108624"/>
                    <a:pt x="209771" y="123893"/>
                  </a:cubicBezTo>
                  <a:lnTo>
                    <a:pt x="222344" y="123893"/>
                  </a:lnTo>
                  <a:cubicBezTo>
                    <a:pt x="219294" y="117296"/>
                    <a:pt x="215871" y="111033"/>
                    <a:pt x="212189" y="105067"/>
                  </a:cubicBezTo>
                  <a:lnTo>
                    <a:pt x="284617" y="114443"/>
                  </a:lnTo>
                  <a:lnTo>
                    <a:pt x="287072" y="137531"/>
                  </a:lnTo>
                  <a:cubicBezTo>
                    <a:pt x="285435" y="137271"/>
                    <a:pt x="283501" y="136864"/>
                    <a:pt x="281604" y="136456"/>
                  </a:cubicBezTo>
                  <a:cubicBezTo>
                    <a:pt x="259990" y="131675"/>
                    <a:pt x="234099" y="125820"/>
                    <a:pt x="216169" y="139161"/>
                  </a:cubicBezTo>
                  <a:lnTo>
                    <a:pt x="161039" y="139161"/>
                  </a:lnTo>
                  <a:cubicBezTo>
                    <a:pt x="155831" y="132342"/>
                    <a:pt x="145043" y="129637"/>
                    <a:pt x="132432" y="129341"/>
                  </a:cubicBezTo>
                  <a:cubicBezTo>
                    <a:pt x="116845" y="128933"/>
                    <a:pt x="97947" y="131935"/>
                    <a:pt x="85076" y="134381"/>
                  </a:cubicBezTo>
                  <a:lnTo>
                    <a:pt x="115171" y="72232"/>
                  </a:lnTo>
                  <a:lnTo>
                    <a:pt x="111897" y="72232"/>
                  </a:lnTo>
                  <a:lnTo>
                    <a:pt x="77674" y="94579"/>
                  </a:lnTo>
                  <a:cubicBezTo>
                    <a:pt x="69899" y="100175"/>
                    <a:pt x="62384" y="106216"/>
                    <a:pt x="55354" y="112404"/>
                  </a:cubicBezTo>
                  <a:cubicBezTo>
                    <a:pt x="55986" y="110848"/>
                    <a:pt x="56618" y="109291"/>
                    <a:pt x="57288" y="107809"/>
                  </a:cubicBezTo>
                  <a:moveTo>
                    <a:pt x="268472" y="238592"/>
                  </a:moveTo>
                  <a:cubicBezTo>
                    <a:pt x="263152" y="240779"/>
                    <a:pt x="259432" y="244855"/>
                    <a:pt x="259060" y="245411"/>
                  </a:cubicBezTo>
                  <a:cubicBezTo>
                    <a:pt x="255340" y="242817"/>
                    <a:pt x="245222" y="238852"/>
                    <a:pt x="241800" y="238296"/>
                  </a:cubicBezTo>
                  <a:cubicBezTo>
                    <a:pt x="224985" y="235442"/>
                    <a:pt x="205530" y="241965"/>
                    <a:pt x="207167" y="262014"/>
                  </a:cubicBezTo>
                  <a:cubicBezTo>
                    <a:pt x="207576" y="267202"/>
                    <a:pt x="210329" y="271279"/>
                    <a:pt x="213193" y="275652"/>
                  </a:cubicBezTo>
                  <a:lnTo>
                    <a:pt x="210031" y="278765"/>
                  </a:lnTo>
                  <a:cubicBezTo>
                    <a:pt x="206348" y="283545"/>
                    <a:pt x="204414" y="287918"/>
                    <a:pt x="204153" y="294181"/>
                  </a:cubicBezTo>
                  <a:cubicBezTo>
                    <a:pt x="204302" y="300741"/>
                    <a:pt x="205418" y="305225"/>
                    <a:pt x="208283" y="310006"/>
                  </a:cubicBezTo>
                  <a:lnTo>
                    <a:pt x="158211" y="310006"/>
                  </a:lnTo>
                  <a:cubicBezTo>
                    <a:pt x="148465" y="310006"/>
                    <a:pt x="140541" y="302112"/>
                    <a:pt x="140541" y="292403"/>
                  </a:cubicBezTo>
                  <a:lnTo>
                    <a:pt x="140541" y="208018"/>
                  </a:lnTo>
                  <a:lnTo>
                    <a:pt x="133585" y="209797"/>
                  </a:lnTo>
                  <a:cubicBezTo>
                    <a:pt x="99919" y="217987"/>
                    <a:pt x="81840" y="209389"/>
                    <a:pt x="75144" y="190971"/>
                  </a:cubicBezTo>
                  <a:lnTo>
                    <a:pt x="133697" y="191230"/>
                  </a:lnTo>
                  <a:lnTo>
                    <a:pt x="134106" y="191230"/>
                  </a:lnTo>
                  <a:cubicBezTo>
                    <a:pt x="135333" y="191230"/>
                    <a:pt x="136710" y="190971"/>
                    <a:pt x="138347" y="190563"/>
                  </a:cubicBezTo>
                  <a:cubicBezTo>
                    <a:pt x="144633" y="188932"/>
                    <a:pt x="151887" y="184559"/>
                    <a:pt x="157244" y="178148"/>
                  </a:cubicBezTo>
                  <a:cubicBezTo>
                    <a:pt x="162601" y="171737"/>
                    <a:pt x="166284" y="162880"/>
                    <a:pt x="165577" y="153059"/>
                  </a:cubicBezTo>
                  <a:cubicBezTo>
                    <a:pt x="165577" y="152095"/>
                    <a:pt x="165428" y="151280"/>
                    <a:pt x="165317" y="150613"/>
                  </a:cubicBezTo>
                  <a:lnTo>
                    <a:pt x="172161" y="150761"/>
                  </a:lnTo>
                  <a:lnTo>
                    <a:pt x="217731" y="150761"/>
                  </a:lnTo>
                  <a:cubicBezTo>
                    <a:pt x="239233" y="154838"/>
                    <a:pt x="246747" y="174479"/>
                    <a:pt x="254001" y="193565"/>
                  </a:cubicBezTo>
                  <a:cubicBezTo>
                    <a:pt x="255787" y="197790"/>
                    <a:pt x="257312" y="202014"/>
                    <a:pt x="259098" y="205832"/>
                  </a:cubicBezTo>
                  <a:lnTo>
                    <a:pt x="259098" y="218802"/>
                  </a:lnTo>
                  <a:lnTo>
                    <a:pt x="259618" y="221248"/>
                  </a:lnTo>
                  <a:cubicBezTo>
                    <a:pt x="262520" y="227252"/>
                    <a:pt x="266054" y="232848"/>
                    <a:pt x="269067" y="238555"/>
                  </a:cubicBezTo>
                  <a:lnTo>
                    <a:pt x="268509" y="238555"/>
                  </a:lnTo>
                  <a:close/>
                  <a:moveTo>
                    <a:pt x="278888" y="268425"/>
                  </a:moveTo>
                  <a:cubicBezTo>
                    <a:pt x="280376" y="270463"/>
                    <a:pt x="282459" y="271019"/>
                    <a:pt x="283129" y="271427"/>
                  </a:cubicBezTo>
                  <a:cubicBezTo>
                    <a:pt x="287072" y="274540"/>
                    <a:pt x="289416" y="280025"/>
                    <a:pt x="288709" y="287659"/>
                  </a:cubicBezTo>
                  <a:cubicBezTo>
                    <a:pt x="287481" y="299110"/>
                    <a:pt x="278851" y="309895"/>
                    <a:pt x="266686" y="309895"/>
                  </a:cubicBezTo>
                  <a:lnTo>
                    <a:pt x="228929" y="309895"/>
                  </a:lnTo>
                  <a:cubicBezTo>
                    <a:pt x="221786" y="309895"/>
                    <a:pt x="215797" y="304150"/>
                    <a:pt x="215797" y="297072"/>
                  </a:cubicBezTo>
                  <a:lnTo>
                    <a:pt x="215797" y="294478"/>
                  </a:lnTo>
                  <a:cubicBezTo>
                    <a:pt x="215797" y="287251"/>
                    <a:pt x="221823" y="281952"/>
                    <a:pt x="228929" y="281544"/>
                  </a:cubicBezTo>
                  <a:lnTo>
                    <a:pt x="233281" y="281285"/>
                  </a:lnTo>
                  <a:lnTo>
                    <a:pt x="234099" y="278023"/>
                  </a:lnTo>
                  <a:cubicBezTo>
                    <a:pt x="231905" y="276652"/>
                    <a:pt x="222865" y="272724"/>
                    <a:pt x="219852" y="262903"/>
                  </a:cubicBezTo>
                  <a:cubicBezTo>
                    <a:pt x="217136" y="253082"/>
                    <a:pt x="226697" y="246263"/>
                    <a:pt x="237782" y="247227"/>
                  </a:cubicBezTo>
                  <a:cubicBezTo>
                    <a:pt x="248458" y="247931"/>
                    <a:pt x="259395" y="253898"/>
                    <a:pt x="261292" y="264274"/>
                  </a:cubicBezTo>
                  <a:lnTo>
                    <a:pt x="264715" y="264274"/>
                  </a:lnTo>
                  <a:cubicBezTo>
                    <a:pt x="263636" y="260457"/>
                    <a:pt x="264045" y="252823"/>
                    <a:pt x="267616" y="249673"/>
                  </a:cubicBezTo>
                  <a:cubicBezTo>
                    <a:pt x="272936" y="246819"/>
                    <a:pt x="277177" y="250636"/>
                    <a:pt x="276656" y="256492"/>
                  </a:cubicBezTo>
                  <a:cubicBezTo>
                    <a:pt x="275986" y="262903"/>
                    <a:pt x="277177" y="266461"/>
                    <a:pt x="278851" y="268499"/>
                  </a:cubicBezTo>
                  <a:moveTo>
                    <a:pt x="308611" y="124745"/>
                  </a:moveTo>
                  <a:cubicBezTo>
                    <a:pt x="315865" y="136197"/>
                    <a:pt x="321631" y="148352"/>
                    <a:pt x="324495" y="160026"/>
                  </a:cubicBezTo>
                  <a:cubicBezTo>
                    <a:pt x="325016" y="162620"/>
                    <a:pt x="325314" y="164807"/>
                    <a:pt x="325314" y="166845"/>
                  </a:cubicBezTo>
                  <a:cubicBezTo>
                    <a:pt x="325202" y="169847"/>
                    <a:pt x="324384" y="172293"/>
                    <a:pt x="322858" y="174072"/>
                  </a:cubicBezTo>
                  <a:cubicBezTo>
                    <a:pt x="320812" y="175962"/>
                    <a:pt x="317948" y="177333"/>
                    <a:pt x="314228" y="178296"/>
                  </a:cubicBezTo>
                  <a:cubicBezTo>
                    <a:pt x="310508" y="179260"/>
                    <a:pt x="306156" y="179519"/>
                    <a:pt x="301096" y="179371"/>
                  </a:cubicBezTo>
                  <a:lnTo>
                    <a:pt x="260734" y="179371"/>
                  </a:lnTo>
                  <a:cubicBezTo>
                    <a:pt x="254596" y="164770"/>
                    <a:pt x="247342" y="151020"/>
                    <a:pt x="232797" y="143794"/>
                  </a:cubicBezTo>
                  <a:cubicBezTo>
                    <a:pt x="246078" y="140125"/>
                    <a:pt x="263859" y="144053"/>
                    <a:pt x="279186" y="147463"/>
                  </a:cubicBezTo>
                  <a:cubicBezTo>
                    <a:pt x="284394" y="148575"/>
                    <a:pt x="289453" y="149798"/>
                    <a:pt x="293694" y="150316"/>
                  </a:cubicBezTo>
                  <a:lnTo>
                    <a:pt x="301766" y="151688"/>
                  </a:lnTo>
                  <a:lnTo>
                    <a:pt x="300129" y="143646"/>
                  </a:lnTo>
                  <a:lnTo>
                    <a:pt x="292057" y="98804"/>
                  </a:lnTo>
                  <a:lnTo>
                    <a:pt x="308648" y="124708"/>
                  </a:lnTo>
                  <a:close/>
                  <a:moveTo>
                    <a:pt x="502609" y="1226"/>
                  </a:moveTo>
                  <a:cubicBezTo>
                    <a:pt x="486985" y="16494"/>
                    <a:pt x="461428" y="16902"/>
                    <a:pt x="455662" y="15827"/>
                  </a:cubicBezTo>
                  <a:cubicBezTo>
                    <a:pt x="453467" y="15309"/>
                    <a:pt x="436653" y="11047"/>
                    <a:pt x="418425" y="14456"/>
                  </a:cubicBezTo>
                  <a:cubicBezTo>
                    <a:pt x="407228" y="16643"/>
                    <a:pt x="398598" y="23869"/>
                    <a:pt x="393538" y="33690"/>
                  </a:cubicBezTo>
                  <a:cubicBezTo>
                    <a:pt x="391492" y="37767"/>
                    <a:pt x="390414" y="41473"/>
                    <a:pt x="389446" y="45809"/>
                  </a:cubicBezTo>
                  <a:cubicBezTo>
                    <a:pt x="386284" y="65042"/>
                    <a:pt x="388479" y="84387"/>
                    <a:pt x="385206" y="103621"/>
                  </a:cubicBezTo>
                  <a:cubicBezTo>
                    <a:pt x="384648" y="106475"/>
                    <a:pt x="383978" y="109069"/>
                    <a:pt x="382750" y="111812"/>
                  </a:cubicBezTo>
                  <a:cubicBezTo>
                    <a:pt x="381634" y="113850"/>
                    <a:pt x="381374" y="114554"/>
                    <a:pt x="379328" y="114962"/>
                  </a:cubicBezTo>
                  <a:cubicBezTo>
                    <a:pt x="378212" y="115073"/>
                    <a:pt x="377096" y="115147"/>
                    <a:pt x="375980" y="115221"/>
                  </a:cubicBezTo>
                  <a:lnTo>
                    <a:pt x="308834" y="106327"/>
                  </a:lnTo>
                  <a:lnTo>
                    <a:pt x="283092" y="72269"/>
                  </a:lnTo>
                  <a:lnTo>
                    <a:pt x="280078" y="72269"/>
                  </a:lnTo>
                  <a:lnTo>
                    <a:pt x="283352" y="102917"/>
                  </a:lnTo>
                  <a:lnTo>
                    <a:pt x="203447" y="92318"/>
                  </a:lnTo>
                  <a:cubicBezTo>
                    <a:pt x="199131" y="86648"/>
                    <a:pt x="194556" y="81386"/>
                    <a:pt x="189794" y="76642"/>
                  </a:cubicBezTo>
                  <a:cubicBezTo>
                    <a:pt x="166805" y="53887"/>
                    <a:pt x="138495" y="42288"/>
                    <a:pt x="110409" y="47476"/>
                  </a:cubicBezTo>
                  <a:cubicBezTo>
                    <a:pt x="82509" y="52813"/>
                    <a:pt x="60190" y="73640"/>
                    <a:pt x="46909" y="103251"/>
                  </a:cubicBezTo>
                  <a:cubicBezTo>
                    <a:pt x="43338" y="111219"/>
                    <a:pt x="40474" y="119853"/>
                    <a:pt x="38279" y="128970"/>
                  </a:cubicBezTo>
                  <a:cubicBezTo>
                    <a:pt x="34670" y="132787"/>
                    <a:pt x="31322" y="136604"/>
                    <a:pt x="28309" y="140347"/>
                  </a:cubicBezTo>
                  <a:cubicBezTo>
                    <a:pt x="21874" y="148686"/>
                    <a:pt x="17224" y="156691"/>
                    <a:pt x="15289" y="163510"/>
                  </a:cubicBezTo>
                  <a:cubicBezTo>
                    <a:pt x="14620" y="165955"/>
                    <a:pt x="14322" y="168142"/>
                    <a:pt x="14210" y="170180"/>
                  </a:cubicBezTo>
                  <a:lnTo>
                    <a:pt x="14210" y="171663"/>
                  </a:lnTo>
                  <a:cubicBezTo>
                    <a:pt x="14508" y="176555"/>
                    <a:pt x="16405" y="181076"/>
                    <a:pt x="20497" y="184633"/>
                  </a:cubicBezTo>
                  <a:cubicBezTo>
                    <a:pt x="23659" y="187487"/>
                    <a:pt x="28012" y="189414"/>
                    <a:pt x="33629" y="190748"/>
                  </a:cubicBezTo>
                  <a:lnTo>
                    <a:pt x="34336" y="190822"/>
                  </a:lnTo>
                  <a:cubicBezTo>
                    <a:pt x="34894" y="196530"/>
                    <a:pt x="35675" y="202274"/>
                    <a:pt x="36791" y="208055"/>
                  </a:cubicBezTo>
                  <a:cubicBezTo>
                    <a:pt x="39990" y="225140"/>
                    <a:pt x="45235" y="241038"/>
                    <a:pt x="51968" y="255417"/>
                  </a:cubicBezTo>
                  <a:cubicBezTo>
                    <a:pt x="47616" y="263237"/>
                    <a:pt x="45272" y="276133"/>
                    <a:pt x="45272" y="286844"/>
                  </a:cubicBezTo>
                  <a:cubicBezTo>
                    <a:pt x="45124" y="297220"/>
                    <a:pt x="46649" y="308116"/>
                    <a:pt x="49253" y="316973"/>
                  </a:cubicBezTo>
                  <a:lnTo>
                    <a:pt x="12574" y="337838"/>
                  </a:lnTo>
                  <a:cubicBezTo>
                    <a:pt x="7105" y="340988"/>
                    <a:pt x="3162" y="346287"/>
                    <a:pt x="1376" y="352291"/>
                  </a:cubicBezTo>
                  <a:cubicBezTo>
                    <a:pt x="-521" y="358294"/>
                    <a:pt x="-409" y="364965"/>
                    <a:pt x="2195" y="370821"/>
                  </a:cubicBezTo>
                  <a:lnTo>
                    <a:pt x="2344" y="371080"/>
                  </a:lnTo>
                  <a:lnTo>
                    <a:pt x="43003" y="449053"/>
                  </a:lnTo>
                  <a:lnTo>
                    <a:pt x="46388" y="455464"/>
                  </a:lnTo>
                  <a:lnTo>
                    <a:pt x="0" y="455464"/>
                  </a:lnTo>
                  <a:lnTo>
                    <a:pt x="0" y="466768"/>
                  </a:lnTo>
                  <a:lnTo>
                    <a:pt x="114539" y="466768"/>
                  </a:lnTo>
                  <a:lnTo>
                    <a:pt x="114539" y="455464"/>
                  </a:lnTo>
                  <a:lnTo>
                    <a:pt x="48174" y="455464"/>
                  </a:lnTo>
                  <a:lnTo>
                    <a:pt x="52564" y="450017"/>
                  </a:lnTo>
                  <a:lnTo>
                    <a:pt x="89912" y="403915"/>
                  </a:lnTo>
                  <a:lnTo>
                    <a:pt x="94302" y="398615"/>
                  </a:lnTo>
                  <a:lnTo>
                    <a:pt x="88164" y="395354"/>
                  </a:lnTo>
                  <a:lnTo>
                    <a:pt x="57362" y="379270"/>
                  </a:lnTo>
                  <a:lnTo>
                    <a:pt x="50108" y="366744"/>
                  </a:lnTo>
                  <a:lnTo>
                    <a:pt x="88722" y="352624"/>
                  </a:lnTo>
                  <a:lnTo>
                    <a:pt x="88722" y="374934"/>
                  </a:lnTo>
                  <a:lnTo>
                    <a:pt x="146196" y="374934"/>
                  </a:lnTo>
                  <a:cubicBezTo>
                    <a:pt x="147684" y="381716"/>
                    <a:pt x="148688" y="389832"/>
                    <a:pt x="148242" y="398504"/>
                  </a:cubicBezTo>
                  <a:cubicBezTo>
                    <a:pt x="147833" y="409807"/>
                    <a:pt x="142662" y="420851"/>
                    <a:pt x="137565" y="431746"/>
                  </a:cubicBezTo>
                  <a:cubicBezTo>
                    <a:pt x="133064" y="441271"/>
                    <a:pt x="128675" y="450832"/>
                    <a:pt x="127038" y="460912"/>
                  </a:cubicBezTo>
                  <a:lnTo>
                    <a:pt x="121830" y="493636"/>
                  </a:lnTo>
                  <a:lnTo>
                    <a:pt x="120900" y="500195"/>
                  </a:lnTo>
                  <a:lnTo>
                    <a:pt x="205604" y="500195"/>
                  </a:lnTo>
                  <a:lnTo>
                    <a:pt x="205083" y="493932"/>
                  </a:lnTo>
                  <a:cubicBezTo>
                    <a:pt x="204116" y="484371"/>
                    <a:pt x="200843" y="475106"/>
                    <a:pt x="196193" y="466101"/>
                  </a:cubicBezTo>
                  <a:cubicBezTo>
                    <a:pt x="191654" y="457651"/>
                    <a:pt x="186037" y="449609"/>
                    <a:pt x="180159" y="441827"/>
                  </a:cubicBezTo>
                  <a:cubicBezTo>
                    <a:pt x="175361" y="426966"/>
                    <a:pt x="186037" y="405545"/>
                    <a:pt x="192882" y="391796"/>
                  </a:cubicBezTo>
                  <a:cubicBezTo>
                    <a:pt x="195077" y="387312"/>
                    <a:pt x="196862" y="383606"/>
                    <a:pt x="197941" y="380752"/>
                  </a:cubicBezTo>
                  <a:cubicBezTo>
                    <a:pt x="199280" y="379641"/>
                    <a:pt x="201363" y="378566"/>
                    <a:pt x="203819" y="377343"/>
                  </a:cubicBezTo>
                  <a:cubicBezTo>
                    <a:pt x="209547" y="374267"/>
                    <a:pt x="216243" y="370339"/>
                    <a:pt x="221563" y="363779"/>
                  </a:cubicBezTo>
                  <a:lnTo>
                    <a:pt x="297897" y="338690"/>
                  </a:lnTo>
                  <a:cubicBezTo>
                    <a:pt x="299088" y="339357"/>
                    <a:pt x="300278" y="340061"/>
                    <a:pt x="301357" y="340839"/>
                  </a:cubicBezTo>
                  <a:cubicBezTo>
                    <a:pt x="307681" y="345324"/>
                    <a:pt x="311624" y="351327"/>
                    <a:pt x="312442" y="358813"/>
                  </a:cubicBezTo>
                  <a:cubicBezTo>
                    <a:pt x="309987" y="374786"/>
                    <a:pt x="304668" y="393316"/>
                    <a:pt x="295182" y="407472"/>
                  </a:cubicBezTo>
                  <a:cubicBezTo>
                    <a:pt x="285063" y="412920"/>
                    <a:pt x="268249" y="420147"/>
                    <a:pt x="261813" y="428077"/>
                  </a:cubicBezTo>
                  <a:cubicBezTo>
                    <a:pt x="254894" y="436712"/>
                    <a:pt x="250281" y="446311"/>
                    <a:pt x="247119" y="455464"/>
                  </a:cubicBezTo>
                  <a:lnTo>
                    <a:pt x="215165" y="455464"/>
                  </a:lnTo>
                  <a:lnTo>
                    <a:pt x="215165" y="466768"/>
                  </a:lnTo>
                  <a:lnTo>
                    <a:pt x="331191" y="466768"/>
                  </a:lnTo>
                  <a:lnTo>
                    <a:pt x="331191" y="461172"/>
                  </a:lnTo>
                  <a:lnTo>
                    <a:pt x="331080" y="429412"/>
                  </a:lnTo>
                  <a:lnTo>
                    <a:pt x="338743" y="429263"/>
                  </a:lnTo>
                  <a:lnTo>
                    <a:pt x="346257" y="429115"/>
                  </a:lnTo>
                  <a:lnTo>
                    <a:pt x="344211" y="422000"/>
                  </a:lnTo>
                  <a:cubicBezTo>
                    <a:pt x="336139" y="393390"/>
                    <a:pt x="347782" y="380160"/>
                    <a:pt x="357231" y="369375"/>
                  </a:cubicBezTo>
                  <a:cubicBezTo>
                    <a:pt x="364076" y="361593"/>
                    <a:pt x="372558" y="352735"/>
                    <a:pt x="372148" y="342952"/>
                  </a:cubicBezTo>
                  <a:lnTo>
                    <a:pt x="365862" y="330500"/>
                  </a:lnTo>
                  <a:lnTo>
                    <a:pt x="371330" y="327127"/>
                  </a:lnTo>
                  <a:cubicBezTo>
                    <a:pt x="373376" y="329981"/>
                    <a:pt x="375720" y="332575"/>
                    <a:pt x="378584" y="334502"/>
                  </a:cubicBezTo>
                  <a:cubicBezTo>
                    <a:pt x="382974" y="337615"/>
                    <a:pt x="388033" y="339394"/>
                    <a:pt x="393501" y="339135"/>
                  </a:cubicBezTo>
                  <a:cubicBezTo>
                    <a:pt x="400904" y="338875"/>
                    <a:pt x="407451" y="335318"/>
                    <a:pt x="412101" y="329722"/>
                  </a:cubicBezTo>
                  <a:cubicBezTo>
                    <a:pt x="414556" y="326571"/>
                    <a:pt x="416491" y="322903"/>
                    <a:pt x="417718" y="318937"/>
                  </a:cubicBezTo>
                  <a:cubicBezTo>
                    <a:pt x="417830" y="318567"/>
                    <a:pt x="417718" y="318159"/>
                    <a:pt x="417569" y="317751"/>
                  </a:cubicBezTo>
                  <a:cubicBezTo>
                    <a:pt x="420657" y="318974"/>
                    <a:pt x="423782" y="320012"/>
                    <a:pt x="426869" y="320827"/>
                  </a:cubicBezTo>
                  <a:cubicBezTo>
                    <a:pt x="430292" y="321643"/>
                    <a:pt x="432077" y="322050"/>
                    <a:pt x="432077" y="322050"/>
                  </a:cubicBezTo>
                  <a:lnTo>
                    <a:pt x="432077" y="402766"/>
                  </a:lnTo>
                  <a:cubicBezTo>
                    <a:pt x="432077" y="402766"/>
                    <a:pt x="432338" y="406694"/>
                    <a:pt x="431110" y="407954"/>
                  </a:cubicBezTo>
                  <a:cubicBezTo>
                    <a:pt x="429473" y="409844"/>
                    <a:pt x="430180" y="409177"/>
                    <a:pt x="429883" y="409437"/>
                  </a:cubicBezTo>
                  <a:cubicBezTo>
                    <a:pt x="418946" y="421851"/>
                    <a:pt x="405405" y="436972"/>
                    <a:pt x="402503" y="460430"/>
                  </a:cubicBezTo>
                  <a:lnTo>
                    <a:pt x="401685" y="466694"/>
                  </a:lnTo>
                  <a:lnTo>
                    <a:pt x="485980" y="466694"/>
                  </a:lnTo>
                  <a:lnTo>
                    <a:pt x="486947" y="462320"/>
                  </a:lnTo>
                  <a:lnTo>
                    <a:pt x="495280" y="424297"/>
                  </a:lnTo>
                  <a:lnTo>
                    <a:pt x="495838" y="421963"/>
                  </a:lnTo>
                  <a:lnTo>
                    <a:pt x="494462" y="419924"/>
                  </a:lnTo>
                  <a:cubicBezTo>
                    <a:pt x="493383" y="418294"/>
                    <a:pt x="491449" y="415551"/>
                    <a:pt x="489700" y="412846"/>
                  </a:cubicBezTo>
                  <a:cubicBezTo>
                    <a:pt x="458489" y="367337"/>
                    <a:pt x="474076" y="341840"/>
                    <a:pt x="477796" y="292884"/>
                  </a:cubicBezTo>
                  <a:lnTo>
                    <a:pt x="478205" y="288400"/>
                  </a:lnTo>
                  <a:lnTo>
                    <a:pt x="473853" y="287029"/>
                  </a:lnTo>
                  <a:cubicBezTo>
                    <a:pt x="473853" y="287029"/>
                    <a:pt x="467008" y="285139"/>
                    <a:pt x="460573" y="272020"/>
                  </a:cubicBezTo>
                  <a:cubicBezTo>
                    <a:pt x="453058" y="257159"/>
                    <a:pt x="454397" y="234812"/>
                    <a:pt x="457559" y="215578"/>
                  </a:cubicBezTo>
                  <a:cubicBezTo>
                    <a:pt x="460982" y="195270"/>
                    <a:pt x="464553" y="173182"/>
                    <a:pt x="457857" y="149205"/>
                  </a:cubicBezTo>
                  <a:cubicBezTo>
                    <a:pt x="453170" y="133677"/>
                    <a:pt x="441005" y="123596"/>
                    <a:pt x="424972" y="119668"/>
                  </a:cubicBezTo>
                  <a:cubicBezTo>
                    <a:pt x="425530" y="115851"/>
                    <a:pt x="425828" y="112034"/>
                    <a:pt x="425419" y="108291"/>
                  </a:cubicBezTo>
                  <a:cubicBezTo>
                    <a:pt x="423373" y="96024"/>
                    <a:pt x="419950" y="84017"/>
                    <a:pt x="419690" y="71491"/>
                  </a:cubicBezTo>
                  <a:cubicBezTo>
                    <a:pt x="418983" y="67118"/>
                    <a:pt x="420508" y="54184"/>
                    <a:pt x="425567" y="57334"/>
                  </a:cubicBezTo>
                  <a:cubicBezTo>
                    <a:pt x="439108" y="66747"/>
                    <a:pt x="443237" y="71935"/>
                    <a:pt x="465929" y="69860"/>
                  </a:cubicBezTo>
                  <a:cubicBezTo>
                    <a:pt x="490444" y="63041"/>
                    <a:pt x="491932" y="46550"/>
                    <a:pt x="493457" y="34024"/>
                  </a:cubicBezTo>
                  <a:cubicBezTo>
                    <a:pt x="497438" y="32096"/>
                    <a:pt x="503725" y="14790"/>
                    <a:pt x="504952" y="2671"/>
                  </a:cubicBezTo>
                  <a:cubicBezTo>
                    <a:pt x="505101" y="781"/>
                    <a:pt x="505361" y="-1405"/>
                    <a:pt x="502757" y="1189"/>
                  </a:cubicBezTo>
                  <a:moveTo>
                    <a:pt x="253592" y="284509"/>
                  </a:moveTo>
                  <a:cubicBezTo>
                    <a:pt x="246487" y="284249"/>
                    <a:pt x="239493" y="289697"/>
                    <a:pt x="236331" y="298406"/>
                  </a:cubicBezTo>
                  <a:cubicBezTo>
                    <a:pt x="235922" y="299370"/>
                    <a:pt x="237001" y="299926"/>
                    <a:pt x="237671" y="299073"/>
                  </a:cubicBezTo>
                  <a:cubicBezTo>
                    <a:pt x="239047" y="297702"/>
                    <a:pt x="242060" y="296071"/>
                    <a:pt x="243288" y="296071"/>
                  </a:cubicBezTo>
                  <a:lnTo>
                    <a:pt x="273643" y="296071"/>
                  </a:lnTo>
                  <a:cubicBezTo>
                    <a:pt x="277326" y="296071"/>
                    <a:pt x="278181" y="296331"/>
                    <a:pt x="277065" y="299333"/>
                  </a:cubicBezTo>
                  <a:cubicBezTo>
                    <a:pt x="276805" y="299740"/>
                    <a:pt x="277065" y="300296"/>
                    <a:pt x="277214" y="300296"/>
                  </a:cubicBezTo>
                  <a:cubicBezTo>
                    <a:pt x="280078" y="301260"/>
                    <a:pt x="285993" y="283545"/>
                    <a:pt x="272676" y="284472"/>
                  </a:cubicBezTo>
                  <a:lnTo>
                    <a:pt x="253555" y="284472"/>
                  </a:lnTo>
                  <a:close/>
                  <a:moveTo>
                    <a:pt x="191171" y="207203"/>
                  </a:moveTo>
                  <a:cubicBezTo>
                    <a:pt x="187748" y="203941"/>
                    <a:pt x="179006" y="196307"/>
                    <a:pt x="173649" y="195344"/>
                  </a:cubicBezTo>
                  <a:cubicBezTo>
                    <a:pt x="165317" y="193157"/>
                    <a:pt x="164870" y="206128"/>
                    <a:pt x="167363" y="213725"/>
                  </a:cubicBezTo>
                  <a:cubicBezTo>
                    <a:pt x="169148" y="208833"/>
                    <a:pt x="172161" y="204609"/>
                    <a:pt x="179267" y="208685"/>
                  </a:cubicBezTo>
                  <a:cubicBezTo>
                    <a:pt x="182838" y="210872"/>
                    <a:pt x="185963" y="213318"/>
                    <a:pt x="188827" y="215504"/>
                  </a:cubicBezTo>
                  <a:cubicBezTo>
                    <a:pt x="188418" y="217023"/>
                    <a:pt x="187339" y="218246"/>
                    <a:pt x="185814" y="219062"/>
                  </a:cubicBezTo>
                  <a:cubicBezTo>
                    <a:pt x="182912" y="220433"/>
                    <a:pt x="179378" y="219210"/>
                    <a:pt x="177890" y="216171"/>
                  </a:cubicBezTo>
                  <a:cubicBezTo>
                    <a:pt x="177183" y="214541"/>
                    <a:pt x="177332" y="212650"/>
                    <a:pt x="177890" y="211279"/>
                  </a:cubicBezTo>
                  <a:cubicBezTo>
                    <a:pt x="175137" y="212095"/>
                    <a:pt x="172943" y="213466"/>
                    <a:pt x="171752" y="215356"/>
                  </a:cubicBezTo>
                  <a:cubicBezTo>
                    <a:pt x="169297" y="219432"/>
                    <a:pt x="173240" y="224213"/>
                    <a:pt x="180494" y="226140"/>
                  </a:cubicBezTo>
                  <a:cubicBezTo>
                    <a:pt x="187748" y="228030"/>
                    <a:pt x="195560" y="226251"/>
                    <a:pt x="198164" y="222175"/>
                  </a:cubicBezTo>
                  <a:cubicBezTo>
                    <a:pt x="198313" y="222027"/>
                    <a:pt x="198313" y="221915"/>
                    <a:pt x="198425" y="221767"/>
                  </a:cubicBezTo>
                  <a:cubicBezTo>
                    <a:pt x="200768" y="222842"/>
                    <a:pt x="202963" y="222842"/>
                    <a:pt x="204711" y="220952"/>
                  </a:cubicBezTo>
                  <a:cubicBezTo>
                    <a:pt x="205009" y="220804"/>
                    <a:pt x="196937" y="212502"/>
                    <a:pt x="191171" y="207166"/>
                  </a:cubicBezTo>
                  <a:moveTo>
                    <a:pt x="242916" y="273058"/>
                  </a:moveTo>
                  <a:cubicBezTo>
                    <a:pt x="245929" y="273206"/>
                    <a:pt x="251806" y="271019"/>
                    <a:pt x="251806" y="266794"/>
                  </a:cubicBezTo>
                  <a:cubicBezTo>
                    <a:pt x="253034" y="266943"/>
                    <a:pt x="254410" y="267091"/>
                    <a:pt x="254931" y="265720"/>
                  </a:cubicBezTo>
                  <a:cubicBezTo>
                    <a:pt x="253852" y="260420"/>
                    <a:pt x="239754" y="249488"/>
                    <a:pt x="232649" y="255899"/>
                  </a:cubicBezTo>
                  <a:cubicBezTo>
                    <a:pt x="229487" y="259049"/>
                    <a:pt x="230603" y="263126"/>
                    <a:pt x="233207" y="267202"/>
                  </a:cubicBezTo>
                  <a:cubicBezTo>
                    <a:pt x="232649" y="263793"/>
                    <a:pt x="232500" y="259160"/>
                    <a:pt x="240460" y="262421"/>
                  </a:cubicBezTo>
                  <a:cubicBezTo>
                    <a:pt x="234992" y="264460"/>
                    <a:pt x="235811" y="272798"/>
                    <a:pt x="242916" y="273058"/>
                  </a:cubicBezTo>
                </a:path>
              </a:pathLst>
            </a:custGeom>
            <a:grpFill/>
            <a:ln w="0" cap="flat">
              <a:noFill/>
              <a:prstDash val="solid"/>
              <a:miter/>
            </a:ln>
          </p:spPr>
          <p:txBody>
            <a:bodyPr rtlCol="0" anchor="ctr"/>
            <a:lstStyle/>
            <a:p>
              <a:endParaRPr lang="en-BG"/>
            </a:p>
          </p:txBody>
        </p:sp>
        <p:sp>
          <p:nvSpPr>
            <p:cNvPr id="36" name="Freeform 35">
              <a:extLst>
                <a:ext uri="{FF2B5EF4-FFF2-40B4-BE49-F238E27FC236}">
                  <a16:creationId xmlns:a16="http://schemas.microsoft.com/office/drawing/2014/main" id="{B2325F65-A479-EA48-9613-B9B11F8AEA24}"/>
                </a:ext>
              </a:extLst>
            </p:cNvPr>
            <p:cNvSpPr/>
            <p:nvPr/>
          </p:nvSpPr>
          <p:spPr>
            <a:xfrm>
              <a:off x="1777101" y="2044081"/>
              <a:ext cx="11234" cy="541476"/>
            </a:xfrm>
            <a:custGeom>
              <a:avLst/>
              <a:gdLst>
                <a:gd name="connsiteX0" fmla="*/ 0 w 11234"/>
                <a:gd name="connsiteY0" fmla="*/ 0 h 541476"/>
                <a:gd name="connsiteX1" fmla="*/ 11234 w 11234"/>
                <a:gd name="connsiteY1" fmla="*/ 0 h 541476"/>
                <a:gd name="connsiteX2" fmla="*/ 11234 w 11234"/>
                <a:gd name="connsiteY2" fmla="*/ 541477 h 541476"/>
                <a:gd name="connsiteX3" fmla="*/ 0 w 11234"/>
                <a:gd name="connsiteY3" fmla="*/ 541477 h 541476"/>
              </a:gdLst>
              <a:ahLst/>
              <a:cxnLst>
                <a:cxn ang="0">
                  <a:pos x="connsiteX0" y="connsiteY0"/>
                </a:cxn>
                <a:cxn ang="0">
                  <a:pos x="connsiteX1" y="connsiteY1"/>
                </a:cxn>
                <a:cxn ang="0">
                  <a:pos x="connsiteX2" y="connsiteY2"/>
                </a:cxn>
                <a:cxn ang="0">
                  <a:pos x="connsiteX3" y="connsiteY3"/>
                </a:cxn>
              </a:cxnLst>
              <a:rect l="l" t="t" r="r" b="b"/>
              <a:pathLst>
                <a:path w="11234" h="541476">
                  <a:moveTo>
                    <a:pt x="0" y="0"/>
                  </a:moveTo>
                  <a:lnTo>
                    <a:pt x="11234" y="0"/>
                  </a:lnTo>
                  <a:lnTo>
                    <a:pt x="11234" y="541477"/>
                  </a:lnTo>
                  <a:lnTo>
                    <a:pt x="0" y="541477"/>
                  </a:lnTo>
                  <a:close/>
                </a:path>
              </a:pathLst>
            </a:custGeom>
            <a:grpFill/>
            <a:ln w="0" cap="flat">
              <a:noFill/>
              <a:prstDash val="solid"/>
              <a:miter/>
            </a:ln>
          </p:spPr>
          <p:txBody>
            <a:bodyPr rtlCol="0" anchor="ctr"/>
            <a:lstStyle/>
            <a:p>
              <a:endParaRPr lang="en-BG"/>
            </a:p>
          </p:txBody>
        </p:sp>
        <p:sp>
          <p:nvSpPr>
            <p:cNvPr id="37" name="Freeform 36">
              <a:extLst>
                <a:ext uri="{FF2B5EF4-FFF2-40B4-BE49-F238E27FC236}">
                  <a16:creationId xmlns:a16="http://schemas.microsoft.com/office/drawing/2014/main" id="{0007EE29-0BAD-B043-9BE0-123848240CEF}"/>
                </a:ext>
              </a:extLst>
            </p:cNvPr>
            <p:cNvSpPr/>
            <p:nvPr/>
          </p:nvSpPr>
          <p:spPr>
            <a:xfrm>
              <a:off x="1917420" y="2211330"/>
              <a:ext cx="62830" cy="73414"/>
            </a:xfrm>
            <a:custGeom>
              <a:avLst/>
              <a:gdLst>
                <a:gd name="connsiteX0" fmla="*/ 62831 w 62830"/>
                <a:gd name="connsiteY0" fmla="*/ 52958 h 73414"/>
                <a:gd name="connsiteX1" fmla="*/ 35675 w 62830"/>
                <a:gd name="connsiteY1" fmla="*/ 73415 h 73414"/>
                <a:gd name="connsiteX2" fmla="*/ 0 w 62830"/>
                <a:gd name="connsiteY2" fmla="*/ 73415 h 73414"/>
                <a:gd name="connsiteX3" fmla="*/ 0 w 62830"/>
                <a:gd name="connsiteY3" fmla="*/ 0 h 73414"/>
                <a:gd name="connsiteX4" fmla="*/ 35675 w 62830"/>
                <a:gd name="connsiteY4" fmla="*/ 0 h 73414"/>
                <a:gd name="connsiteX5" fmla="*/ 60524 w 62830"/>
                <a:gd name="connsiteY5" fmla="*/ 19493 h 73414"/>
                <a:gd name="connsiteX6" fmla="*/ 51150 w 62830"/>
                <a:gd name="connsiteY6" fmla="*/ 35244 h 73414"/>
                <a:gd name="connsiteX7" fmla="*/ 62831 w 62830"/>
                <a:gd name="connsiteY7" fmla="*/ 52958 h 73414"/>
                <a:gd name="connsiteX8" fmla="*/ 14285 w 62830"/>
                <a:gd name="connsiteY8" fmla="*/ 12452 h 73414"/>
                <a:gd name="connsiteX9" fmla="*/ 14285 w 62830"/>
                <a:gd name="connsiteY9" fmla="*/ 29536 h 73414"/>
                <a:gd name="connsiteX10" fmla="*/ 35972 w 62830"/>
                <a:gd name="connsiteY10" fmla="*/ 29536 h 73414"/>
                <a:gd name="connsiteX11" fmla="*/ 46202 w 62830"/>
                <a:gd name="connsiteY11" fmla="*/ 21050 h 73414"/>
                <a:gd name="connsiteX12" fmla="*/ 35972 w 62830"/>
                <a:gd name="connsiteY12" fmla="*/ 12452 h 73414"/>
                <a:gd name="connsiteX13" fmla="*/ 14285 w 62830"/>
                <a:gd name="connsiteY13" fmla="*/ 12452 h 73414"/>
                <a:gd name="connsiteX14" fmla="*/ 48397 w 62830"/>
                <a:gd name="connsiteY14" fmla="*/ 51068 h 73414"/>
                <a:gd name="connsiteX15" fmla="*/ 37014 w 62830"/>
                <a:gd name="connsiteY15" fmla="*/ 41618 h 73414"/>
                <a:gd name="connsiteX16" fmla="*/ 14285 w 62830"/>
                <a:gd name="connsiteY16" fmla="*/ 41618 h 73414"/>
                <a:gd name="connsiteX17" fmla="*/ 14285 w 62830"/>
                <a:gd name="connsiteY17" fmla="*/ 60703 h 73414"/>
                <a:gd name="connsiteX18" fmla="*/ 36940 w 62830"/>
                <a:gd name="connsiteY18" fmla="*/ 60703 h 73414"/>
                <a:gd name="connsiteX19" fmla="*/ 48397 w 62830"/>
                <a:gd name="connsiteY19" fmla="*/ 51068 h 7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2830" h="73414">
                  <a:moveTo>
                    <a:pt x="62831" y="52958"/>
                  </a:moveTo>
                  <a:cubicBezTo>
                    <a:pt x="62831" y="65855"/>
                    <a:pt x="52824" y="73415"/>
                    <a:pt x="35675" y="73415"/>
                  </a:cubicBezTo>
                  <a:lnTo>
                    <a:pt x="0" y="73415"/>
                  </a:lnTo>
                  <a:lnTo>
                    <a:pt x="0" y="0"/>
                  </a:lnTo>
                  <a:lnTo>
                    <a:pt x="35675" y="0"/>
                  </a:lnTo>
                  <a:cubicBezTo>
                    <a:pt x="51038" y="0"/>
                    <a:pt x="60524" y="7338"/>
                    <a:pt x="60524" y="19493"/>
                  </a:cubicBezTo>
                  <a:cubicBezTo>
                    <a:pt x="60524" y="26720"/>
                    <a:pt x="57065" y="32279"/>
                    <a:pt x="51150" y="35244"/>
                  </a:cubicBezTo>
                  <a:cubicBezTo>
                    <a:pt x="57995" y="37986"/>
                    <a:pt x="62831" y="44990"/>
                    <a:pt x="62831" y="52958"/>
                  </a:cubicBezTo>
                  <a:close/>
                  <a:moveTo>
                    <a:pt x="14285" y="12452"/>
                  </a:moveTo>
                  <a:lnTo>
                    <a:pt x="14285" y="29536"/>
                  </a:lnTo>
                  <a:lnTo>
                    <a:pt x="35972" y="29536"/>
                  </a:lnTo>
                  <a:cubicBezTo>
                    <a:pt x="42482" y="29536"/>
                    <a:pt x="46202" y="26386"/>
                    <a:pt x="46202" y="21050"/>
                  </a:cubicBezTo>
                  <a:cubicBezTo>
                    <a:pt x="46202" y="15713"/>
                    <a:pt x="42408" y="12452"/>
                    <a:pt x="35972" y="12452"/>
                  </a:cubicBezTo>
                  <a:lnTo>
                    <a:pt x="14285" y="12452"/>
                  </a:lnTo>
                  <a:close/>
                  <a:moveTo>
                    <a:pt x="48397" y="51068"/>
                  </a:moveTo>
                  <a:cubicBezTo>
                    <a:pt x="48397" y="45101"/>
                    <a:pt x="44082" y="41618"/>
                    <a:pt x="37014" y="41618"/>
                  </a:cubicBezTo>
                  <a:lnTo>
                    <a:pt x="14285" y="41618"/>
                  </a:lnTo>
                  <a:lnTo>
                    <a:pt x="14285" y="60703"/>
                  </a:lnTo>
                  <a:lnTo>
                    <a:pt x="36940" y="60703"/>
                  </a:lnTo>
                  <a:cubicBezTo>
                    <a:pt x="44082" y="60703"/>
                    <a:pt x="48397" y="57035"/>
                    <a:pt x="48397" y="51068"/>
                  </a:cubicBezTo>
                  <a:close/>
                </a:path>
              </a:pathLst>
            </a:custGeom>
            <a:grpFill/>
            <a:ln w="0" cap="flat">
              <a:noFill/>
              <a:prstDash val="solid"/>
              <a:miter/>
            </a:ln>
          </p:spPr>
          <p:txBody>
            <a:bodyPr rtlCol="0" anchor="ctr"/>
            <a:lstStyle/>
            <a:p>
              <a:endParaRPr lang="en-BG"/>
            </a:p>
          </p:txBody>
        </p:sp>
        <p:sp>
          <p:nvSpPr>
            <p:cNvPr id="38" name="Freeform 37">
              <a:extLst>
                <a:ext uri="{FF2B5EF4-FFF2-40B4-BE49-F238E27FC236}">
                  <a16:creationId xmlns:a16="http://schemas.microsoft.com/office/drawing/2014/main" id="{3585CA96-EC07-D84C-ABBD-695A0EDA6E4C}"/>
                </a:ext>
              </a:extLst>
            </p:cNvPr>
            <p:cNvSpPr/>
            <p:nvPr/>
          </p:nvSpPr>
          <p:spPr>
            <a:xfrm>
              <a:off x="1991038" y="2232899"/>
              <a:ext cx="51484" cy="52883"/>
            </a:xfrm>
            <a:custGeom>
              <a:avLst/>
              <a:gdLst>
                <a:gd name="connsiteX0" fmla="*/ 51485 w 51484"/>
                <a:gd name="connsiteY0" fmla="*/ 0 h 52883"/>
                <a:gd name="connsiteX1" fmla="*/ 51485 w 51484"/>
                <a:gd name="connsiteY1" fmla="*/ 51809 h 52883"/>
                <a:gd name="connsiteX2" fmla="*/ 39358 w 51484"/>
                <a:gd name="connsiteY2" fmla="*/ 51809 h 52883"/>
                <a:gd name="connsiteX3" fmla="*/ 38428 w 51484"/>
                <a:gd name="connsiteY3" fmla="*/ 45843 h 52883"/>
                <a:gd name="connsiteX4" fmla="*/ 21464 w 51484"/>
                <a:gd name="connsiteY4" fmla="*/ 52884 h 52883"/>
                <a:gd name="connsiteX5" fmla="*/ 0 w 51484"/>
                <a:gd name="connsiteY5" fmla="*/ 28981 h 52883"/>
                <a:gd name="connsiteX6" fmla="*/ 0 w 51484"/>
                <a:gd name="connsiteY6" fmla="*/ 37 h 52883"/>
                <a:gd name="connsiteX7" fmla="*/ 13987 w 51484"/>
                <a:gd name="connsiteY7" fmla="*/ 37 h 52883"/>
                <a:gd name="connsiteX8" fmla="*/ 13987 w 51484"/>
                <a:gd name="connsiteY8" fmla="*/ 28128 h 52883"/>
                <a:gd name="connsiteX9" fmla="*/ 25036 w 51484"/>
                <a:gd name="connsiteY9" fmla="*/ 40728 h 52883"/>
                <a:gd name="connsiteX10" fmla="*/ 37460 w 51484"/>
                <a:gd name="connsiteY10" fmla="*/ 27202 h 52883"/>
                <a:gd name="connsiteX11" fmla="*/ 37460 w 51484"/>
                <a:gd name="connsiteY11" fmla="*/ 37 h 52883"/>
                <a:gd name="connsiteX12" fmla="*/ 51448 w 51484"/>
                <a:gd name="connsiteY12" fmla="*/ 37 h 52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484" h="52883">
                  <a:moveTo>
                    <a:pt x="51485" y="0"/>
                  </a:moveTo>
                  <a:lnTo>
                    <a:pt x="51485" y="51809"/>
                  </a:lnTo>
                  <a:lnTo>
                    <a:pt x="39358" y="51809"/>
                  </a:lnTo>
                  <a:lnTo>
                    <a:pt x="38428" y="45843"/>
                  </a:lnTo>
                  <a:cubicBezTo>
                    <a:pt x="34336" y="50364"/>
                    <a:pt x="28309" y="52884"/>
                    <a:pt x="21464" y="52884"/>
                  </a:cubicBezTo>
                  <a:cubicBezTo>
                    <a:pt x="8519" y="52884"/>
                    <a:pt x="0" y="43656"/>
                    <a:pt x="0" y="28981"/>
                  </a:cubicBezTo>
                  <a:lnTo>
                    <a:pt x="0" y="37"/>
                  </a:lnTo>
                  <a:lnTo>
                    <a:pt x="13987" y="37"/>
                  </a:lnTo>
                  <a:lnTo>
                    <a:pt x="13987" y="28128"/>
                  </a:lnTo>
                  <a:cubicBezTo>
                    <a:pt x="13987" y="36096"/>
                    <a:pt x="18302" y="40728"/>
                    <a:pt x="25036" y="40728"/>
                  </a:cubicBezTo>
                  <a:cubicBezTo>
                    <a:pt x="32513" y="40728"/>
                    <a:pt x="37460" y="35169"/>
                    <a:pt x="37460" y="27202"/>
                  </a:cubicBezTo>
                  <a:lnTo>
                    <a:pt x="37460" y="37"/>
                  </a:lnTo>
                  <a:lnTo>
                    <a:pt x="51448" y="37"/>
                  </a:lnTo>
                  <a:close/>
                </a:path>
              </a:pathLst>
            </a:custGeom>
            <a:grpFill/>
            <a:ln w="0" cap="flat">
              <a:noFill/>
              <a:prstDash val="solid"/>
              <a:miter/>
            </a:ln>
          </p:spPr>
          <p:txBody>
            <a:bodyPr rtlCol="0" anchor="ctr"/>
            <a:lstStyle/>
            <a:p>
              <a:endParaRPr lang="en-BG"/>
            </a:p>
          </p:txBody>
        </p:sp>
        <p:sp>
          <p:nvSpPr>
            <p:cNvPr id="39" name="Freeform 38">
              <a:extLst>
                <a:ext uri="{FF2B5EF4-FFF2-40B4-BE49-F238E27FC236}">
                  <a16:creationId xmlns:a16="http://schemas.microsoft.com/office/drawing/2014/main" id="{10DEA2EC-D07A-3543-AA1B-CFCFB2DA39EB}"/>
                </a:ext>
              </a:extLst>
            </p:cNvPr>
            <p:cNvSpPr/>
            <p:nvPr/>
          </p:nvSpPr>
          <p:spPr>
            <a:xfrm>
              <a:off x="2055878" y="2211293"/>
              <a:ext cx="13987" cy="73414"/>
            </a:xfrm>
            <a:custGeom>
              <a:avLst/>
              <a:gdLst>
                <a:gd name="connsiteX0" fmla="*/ 0 w 13987"/>
                <a:gd name="connsiteY0" fmla="*/ 0 h 73414"/>
                <a:gd name="connsiteX1" fmla="*/ 13987 w 13987"/>
                <a:gd name="connsiteY1" fmla="*/ 0 h 73414"/>
                <a:gd name="connsiteX2" fmla="*/ 13987 w 13987"/>
                <a:gd name="connsiteY2" fmla="*/ 73415 h 73414"/>
                <a:gd name="connsiteX3" fmla="*/ 0 w 13987"/>
                <a:gd name="connsiteY3" fmla="*/ 73415 h 73414"/>
                <a:gd name="connsiteX4" fmla="*/ 0 w 13987"/>
                <a:gd name="connsiteY4" fmla="*/ 0 h 73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87" h="73414">
                  <a:moveTo>
                    <a:pt x="0" y="0"/>
                  </a:moveTo>
                  <a:lnTo>
                    <a:pt x="13987" y="0"/>
                  </a:lnTo>
                  <a:lnTo>
                    <a:pt x="13987" y="73415"/>
                  </a:lnTo>
                  <a:lnTo>
                    <a:pt x="0" y="73415"/>
                  </a:lnTo>
                  <a:lnTo>
                    <a:pt x="0" y="0"/>
                  </a:lnTo>
                  <a:close/>
                </a:path>
              </a:pathLst>
            </a:custGeom>
            <a:grpFill/>
            <a:ln w="0" cap="flat">
              <a:noFill/>
              <a:prstDash val="solid"/>
              <a:miter/>
            </a:ln>
          </p:spPr>
          <p:txBody>
            <a:bodyPr rtlCol="0" anchor="ctr"/>
            <a:lstStyle/>
            <a:p>
              <a:endParaRPr lang="en-BG"/>
            </a:p>
          </p:txBody>
        </p:sp>
        <p:sp>
          <p:nvSpPr>
            <p:cNvPr id="40" name="Freeform 39">
              <a:extLst>
                <a:ext uri="{FF2B5EF4-FFF2-40B4-BE49-F238E27FC236}">
                  <a16:creationId xmlns:a16="http://schemas.microsoft.com/office/drawing/2014/main" id="{C5073DC5-53F5-C345-A210-F85F7C1B3150}"/>
                </a:ext>
              </a:extLst>
            </p:cNvPr>
            <p:cNvSpPr/>
            <p:nvPr/>
          </p:nvSpPr>
          <p:spPr>
            <a:xfrm>
              <a:off x="2079872" y="2226784"/>
              <a:ext cx="57734" cy="88349"/>
            </a:xfrm>
            <a:custGeom>
              <a:avLst/>
              <a:gdLst>
                <a:gd name="connsiteX0" fmla="*/ 44417 w 57734"/>
                <a:gd name="connsiteY0" fmla="*/ 50290 h 88349"/>
                <a:gd name="connsiteX1" fmla="*/ 56321 w 57734"/>
                <a:gd name="connsiteY1" fmla="*/ 66744 h 88349"/>
                <a:gd name="connsiteX2" fmla="*/ 28198 w 57734"/>
                <a:gd name="connsiteY2" fmla="*/ 88350 h 88349"/>
                <a:gd name="connsiteX3" fmla="*/ 521 w 57734"/>
                <a:gd name="connsiteY3" fmla="*/ 64521 h 88349"/>
                <a:gd name="connsiteX4" fmla="*/ 14099 w 57734"/>
                <a:gd name="connsiteY4" fmla="*/ 64521 h 88349"/>
                <a:gd name="connsiteX5" fmla="*/ 28198 w 57734"/>
                <a:gd name="connsiteY5" fmla="*/ 76268 h 88349"/>
                <a:gd name="connsiteX6" fmla="*/ 42110 w 57734"/>
                <a:gd name="connsiteY6" fmla="*/ 66411 h 88349"/>
                <a:gd name="connsiteX7" fmla="*/ 28421 w 57734"/>
                <a:gd name="connsiteY7" fmla="*/ 56960 h 88349"/>
                <a:gd name="connsiteX8" fmla="*/ 0 w 57734"/>
                <a:gd name="connsiteY8" fmla="*/ 30945 h 88349"/>
                <a:gd name="connsiteX9" fmla="*/ 28123 w 57734"/>
                <a:gd name="connsiteY9" fmla="*/ 4818 h 88349"/>
                <a:gd name="connsiteX10" fmla="*/ 41180 w 57734"/>
                <a:gd name="connsiteY10" fmla="*/ 7857 h 88349"/>
                <a:gd name="connsiteX11" fmla="*/ 47616 w 57734"/>
                <a:gd name="connsiteY11" fmla="*/ 0 h 88349"/>
                <a:gd name="connsiteX12" fmla="*/ 57734 w 57734"/>
                <a:gd name="connsiteY12" fmla="*/ 7560 h 88349"/>
                <a:gd name="connsiteX13" fmla="*/ 50666 w 57734"/>
                <a:gd name="connsiteY13" fmla="*/ 15861 h 88349"/>
                <a:gd name="connsiteX14" fmla="*/ 56358 w 57734"/>
                <a:gd name="connsiteY14" fmla="*/ 30982 h 88349"/>
                <a:gd name="connsiteX15" fmla="*/ 44454 w 57734"/>
                <a:gd name="connsiteY15" fmla="*/ 50290 h 88349"/>
                <a:gd name="connsiteX16" fmla="*/ 42557 w 57734"/>
                <a:gd name="connsiteY16" fmla="*/ 30982 h 88349"/>
                <a:gd name="connsiteX17" fmla="*/ 28235 w 57734"/>
                <a:gd name="connsiteY17" fmla="*/ 17047 h 88349"/>
                <a:gd name="connsiteX18" fmla="*/ 13913 w 57734"/>
                <a:gd name="connsiteY18" fmla="*/ 30982 h 88349"/>
                <a:gd name="connsiteX19" fmla="*/ 28235 w 57734"/>
                <a:gd name="connsiteY19" fmla="*/ 44842 h 88349"/>
                <a:gd name="connsiteX20" fmla="*/ 42557 w 57734"/>
                <a:gd name="connsiteY20" fmla="*/ 30982 h 88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7734" h="88349">
                  <a:moveTo>
                    <a:pt x="44417" y="50290"/>
                  </a:moveTo>
                  <a:cubicBezTo>
                    <a:pt x="52006" y="53440"/>
                    <a:pt x="56321" y="59221"/>
                    <a:pt x="56321" y="66744"/>
                  </a:cubicBezTo>
                  <a:cubicBezTo>
                    <a:pt x="56321" y="79863"/>
                    <a:pt x="45272" y="88350"/>
                    <a:pt x="28198" y="88350"/>
                  </a:cubicBezTo>
                  <a:cubicBezTo>
                    <a:pt x="11123" y="88350"/>
                    <a:pt x="-446" y="78714"/>
                    <a:pt x="521" y="64521"/>
                  </a:cubicBezTo>
                  <a:lnTo>
                    <a:pt x="14099" y="64521"/>
                  </a:lnTo>
                  <a:cubicBezTo>
                    <a:pt x="13876" y="71747"/>
                    <a:pt x="19270" y="76268"/>
                    <a:pt x="28198" y="76268"/>
                  </a:cubicBezTo>
                  <a:cubicBezTo>
                    <a:pt x="36530" y="76268"/>
                    <a:pt x="42110" y="72266"/>
                    <a:pt x="42110" y="66411"/>
                  </a:cubicBezTo>
                  <a:cubicBezTo>
                    <a:pt x="42110" y="60555"/>
                    <a:pt x="37051" y="56960"/>
                    <a:pt x="28421" y="56960"/>
                  </a:cubicBezTo>
                  <a:cubicBezTo>
                    <a:pt x="11048" y="56960"/>
                    <a:pt x="0" y="46806"/>
                    <a:pt x="0" y="30945"/>
                  </a:cubicBezTo>
                  <a:cubicBezTo>
                    <a:pt x="0" y="15083"/>
                    <a:pt x="11681" y="4818"/>
                    <a:pt x="28123" y="4818"/>
                  </a:cubicBezTo>
                  <a:cubicBezTo>
                    <a:pt x="32959" y="4818"/>
                    <a:pt x="37498" y="5855"/>
                    <a:pt x="41180" y="7857"/>
                  </a:cubicBezTo>
                  <a:lnTo>
                    <a:pt x="47616" y="0"/>
                  </a:lnTo>
                  <a:lnTo>
                    <a:pt x="57734" y="7560"/>
                  </a:lnTo>
                  <a:lnTo>
                    <a:pt x="50666" y="15861"/>
                  </a:lnTo>
                  <a:cubicBezTo>
                    <a:pt x="54684" y="20494"/>
                    <a:pt x="56358" y="25089"/>
                    <a:pt x="56358" y="30982"/>
                  </a:cubicBezTo>
                  <a:cubicBezTo>
                    <a:pt x="56358" y="39468"/>
                    <a:pt x="52154" y="46287"/>
                    <a:pt x="44454" y="50290"/>
                  </a:cubicBezTo>
                  <a:close/>
                  <a:moveTo>
                    <a:pt x="42557" y="30982"/>
                  </a:moveTo>
                  <a:cubicBezTo>
                    <a:pt x="42557" y="22606"/>
                    <a:pt x="36865" y="17047"/>
                    <a:pt x="28235" y="17047"/>
                  </a:cubicBezTo>
                  <a:cubicBezTo>
                    <a:pt x="19604" y="17047"/>
                    <a:pt x="13913" y="22606"/>
                    <a:pt x="13913" y="30982"/>
                  </a:cubicBezTo>
                  <a:cubicBezTo>
                    <a:pt x="13913" y="39357"/>
                    <a:pt x="19716" y="44842"/>
                    <a:pt x="28235" y="44842"/>
                  </a:cubicBezTo>
                  <a:cubicBezTo>
                    <a:pt x="36754" y="44842"/>
                    <a:pt x="42557" y="39172"/>
                    <a:pt x="42557" y="30982"/>
                  </a:cubicBezTo>
                  <a:close/>
                </a:path>
              </a:pathLst>
            </a:custGeom>
            <a:grpFill/>
            <a:ln w="0" cap="flat">
              <a:noFill/>
              <a:prstDash val="solid"/>
              <a:miter/>
            </a:ln>
          </p:spPr>
          <p:txBody>
            <a:bodyPr rtlCol="0" anchor="ctr"/>
            <a:lstStyle/>
            <a:p>
              <a:endParaRPr lang="en-BG"/>
            </a:p>
          </p:txBody>
        </p:sp>
        <p:sp>
          <p:nvSpPr>
            <p:cNvPr id="41" name="Freeform 40">
              <a:extLst>
                <a:ext uri="{FF2B5EF4-FFF2-40B4-BE49-F238E27FC236}">
                  <a16:creationId xmlns:a16="http://schemas.microsoft.com/office/drawing/2014/main" id="{8123A090-DC81-714C-81C6-E66001E755C8}"/>
                </a:ext>
              </a:extLst>
            </p:cNvPr>
            <p:cNvSpPr/>
            <p:nvPr/>
          </p:nvSpPr>
          <p:spPr>
            <a:xfrm>
              <a:off x="2144414" y="2231750"/>
              <a:ext cx="56320" cy="54106"/>
            </a:xfrm>
            <a:custGeom>
              <a:avLst/>
              <a:gdLst>
                <a:gd name="connsiteX0" fmla="*/ 56321 w 56320"/>
                <a:gd name="connsiteY0" fmla="*/ 1149 h 54106"/>
                <a:gd name="connsiteX1" fmla="*/ 56321 w 56320"/>
                <a:gd name="connsiteY1" fmla="*/ 52958 h 54106"/>
                <a:gd name="connsiteX2" fmla="*/ 44194 w 56320"/>
                <a:gd name="connsiteY2" fmla="*/ 52958 h 54106"/>
                <a:gd name="connsiteX3" fmla="*/ 43264 w 56320"/>
                <a:gd name="connsiteY3" fmla="*/ 46658 h 54106"/>
                <a:gd name="connsiteX4" fmla="*/ 25259 w 56320"/>
                <a:gd name="connsiteY4" fmla="*/ 54107 h 54106"/>
                <a:gd name="connsiteX5" fmla="*/ 0 w 56320"/>
                <a:gd name="connsiteY5" fmla="*/ 27053 h 54106"/>
                <a:gd name="connsiteX6" fmla="*/ 25259 w 56320"/>
                <a:gd name="connsiteY6" fmla="*/ 0 h 54106"/>
                <a:gd name="connsiteX7" fmla="*/ 43264 w 56320"/>
                <a:gd name="connsiteY7" fmla="*/ 7338 h 54106"/>
                <a:gd name="connsiteX8" fmla="*/ 44194 w 56320"/>
                <a:gd name="connsiteY8" fmla="*/ 1149 h 54106"/>
                <a:gd name="connsiteX9" fmla="*/ 56321 w 56320"/>
                <a:gd name="connsiteY9" fmla="*/ 1149 h 54106"/>
                <a:gd name="connsiteX10" fmla="*/ 42408 w 56320"/>
                <a:gd name="connsiteY10" fmla="*/ 27053 h 54106"/>
                <a:gd name="connsiteX11" fmla="*/ 28086 w 56320"/>
                <a:gd name="connsiteY11" fmla="*/ 12156 h 54106"/>
                <a:gd name="connsiteX12" fmla="*/ 13876 w 56320"/>
                <a:gd name="connsiteY12" fmla="*/ 27053 h 54106"/>
                <a:gd name="connsiteX13" fmla="*/ 28086 w 56320"/>
                <a:gd name="connsiteY13" fmla="*/ 41951 h 54106"/>
                <a:gd name="connsiteX14" fmla="*/ 42408 w 56320"/>
                <a:gd name="connsiteY14" fmla="*/ 27053 h 54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320" h="54106">
                  <a:moveTo>
                    <a:pt x="56321" y="1149"/>
                  </a:moveTo>
                  <a:lnTo>
                    <a:pt x="56321" y="52958"/>
                  </a:lnTo>
                  <a:lnTo>
                    <a:pt x="44194" y="52958"/>
                  </a:lnTo>
                  <a:lnTo>
                    <a:pt x="43264" y="46658"/>
                  </a:lnTo>
                  <a:cubicBezTo>
                    <a:pt x="38948" y="51476"/>
                    <a:pt x="32624" y="54107"/>
                    <a:pt x="25259" y="54107"/>
                  </a:cubicBezTo>
                  <a:cubicBezTo>
                    <a:pt x="10304" y="54107"/>
                    <a:pt x="0" y="42989"/>
                    <a:pt x="0" y="27053"/>
                  </a:cubicBezTo>
                  <a:cubicBezTo>
                    <a:pt x="0" y="11118"/>
                    <a:pt x="10304" y="0"/>
                    <a:pt x="25259" y="0"/>
                  </a:cubicBezTo>
                  <a:cubicBezTo>
                    <a:pt x="32624" y="0"/>
                    <a:pt x="39060" y="2631"/>
                    <a:pt x="43264" y="7338"/>
                  </a:cubicBezTo>
                  <a:lnTo>
                    <a:pt x="44194" y="1149"/>
                  </a:lnTo>
                  <a:lnTo>
                    <a:pt x="56321" y="1149"/>
                  </a:lnTo>
                  <a:close/>
                  <a:moveTo>
                    <a:pt x="42408" y="27053"/>
                  </a:moveTo>
                  <a:cubicBezTo>
                    <a:pt x="42408" y="18344"/>
                    <a:pt x="36530" y="12156"/>
                    <a:pt x="28086" y="12156"/>
                  </a:cubicBezTo>
                  <a:cubicBezTo>
                    <a:pt x="19642" y="12156"/>
                    <a:pt x="13876" y="18344"/>
                    <a:pt x="13876" y="27053"/>
                  </a:cubicBezTo>
                  <a:cubicBezTo>
                    <a:pt x="13876" y="35762"/>
                    <a:pt x="19790" y="41951"/>
                    <a:pt x="28086" y="41951"/>
                  </a:cubicBezTo>
                  <a:cubicBezTo>
                    <a:pt x="36382" y="41951"/>
                    <a:pt x="42408" y="35762"/>
                    <a:pt x="42408" y="27053"/>
                  </a:cubicBezTo>
                  <a:close/>
                </a:path>
              </a:pathLst>
            </a:custGeom>
            <a:grpFill/>
            <a:ln w="0" cap="flat">
              <a:noFill/>
              <a:prstDash val="solid"/>
              <a:miter/>
            </a:ln>
          </p:spPr>
          <p:txBody>
            <a:bodyPr rtlCol="0" anchor="ctr"/>
            <a:lstStyle/>
            <a:p>
              <a:endParaRPr lang="en-BG"/>
            </a:p>
          </p:txBody>
        </p:sp>
        <p:sp>
          <p:nvSpPr>
            <p:cNvPr id="42" name="Freeform 41">
              <a:extLst>
                <a:ext uri="{FF2B5EF4-FFF2-40B4-BE49-F238E27FC236}">
                  <a16:creationId xmlns:a16="http://schemas.microsoft.com/office/drawing/2014/main" id="{B05F2338-147C-8247-A4AF-15D345855BA7}"/>
                </a:ext>
              </a:extLst>
            </p:cNvPr>
            <p:cNvSpPr/>
            <p:nvPr/>
          </p:nvSpPr>
          <p:spPr>
            <a:xfrm>
              <a:off x="2214238" y="2231824"/>
              <a:ext cx="41143" cy="52883"/>
            </a:xfrm>
            <a:custGeom>
              <a:avLst/>
              <a:gdLst>
                <a:gd name="connsiteX0" fmla="*/ 41143 w 41143"/>
                <a:gd name="connsiteY0" fmla="*/ 4744 h 52883"/>
                <a:gd name="connsiteX1" fmla="*/ 35042 w 41143"/>
                <a:gd name="connsiteY1" fmla="*/ 15565 h 52883"/>
                <a:gd name="connsiteX2" fmla="*/ 26635 w 41143"/>
                <a:gd name="connsiteY2" fmla="*/ 12823 h 52883"/>
                <a:gd name="connsiteX3" fmla="*/ 13987 w 41143"/>
                <a:gd name="connsiteY3" fmla="*/ 27609 h 52883"/>
                <a:gd name="connsiteX4" fmla="*/ 13987 w 41143"/>
                <a:gd name="connsiteY4" fmla="*/ 52884 h 52883"/>
                <a:gd name="connsiteX5" fmla="*/ 0 w 41143"/>
                <a:gd name="connsiteY5" fmla="*/ 52884 h 52883"/>
                <a:gd name="connsiteX6" fmla="*/ 0 w 41143"/>
                <a:gd name="connsiteY6" fmla="*/ 1075 h 52883"/>
                <a:gd name="connsiteX7" fmla="*/ 12090 w 41143"/>
                <a:gd name="connsiteY7" fmla="*/ 1075 h 52883"/>
                <a:gd name="connsiteX8" fmla="*/ 13243 w 41143"/>
                <a:gd name="connsiteY8" fmla="*/ 7560 h 52883"/>
                <a:gd name="connsiteX9" fmla="*/ 27863 w 41143"/>
                <a:gd name="connsiteY9" fmla="*/ 0 h 52883"/>
                <a:gd name="connsiteX10" fmla="*/ 41143 w 41143"/>
                <a:gd name="connsiteY10" fmla="*/ 4707 h 52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143" h="52883">
                  <a:moveTo>
                    <a:pt x="41143" y="4744"/>
                  </a:moveTo>
                  <a:lnTo>
                    <a:pt x="35042" y="15565"/>
                  </a:lnTo>
                  <a:cubicBezTo>
                    <a:pt x="32104" y="13564"/>
                    <a:pt x="29574" y="12823"/>
                    <a:pt x="26635" y="12823"/>
                  </a:cubicBezTo>
                  <a:cubicBezTo>
                    <a:pt x="18935" y="12823"/>
                    <a:pt x="13987" y="18159"/>
                    <a:pt x="13987" y="27609"/>
                  </a:cubicBezTo>
                  <a:lnTo>
                    <a:pt x="13987" y="52884"/>
                  </a:lnTo>
                  <a:lnTo>
                    <a:pt x="0" y="52884"/>
                  </a:lnTo>
                  <a:lnTo>
                    <a:pt x="0" y="1075"/>
                  </a:lnTo>
                  <a:lnTo>
                    <a:pt x="12090" y="1075"/>
                  </a:lnTo>
                  <a:lnTo>
                    <a:pt x="13243" y="7560"/>
                  </a:lnTo>
                  <a:cubicBezTo>
                    <a:pt x="17261" y="2224"/>
                    <a:pt x="22208" y="0"/>
                    <a:pt x="27863" y="0"/>
                  </a:cubicBezTo>
                  <a:cubicBezTo>
                    <a:pt x="32699" y="0"/>
                    <a:pt x="37758" y="1594"/>
                    <a:pt x="41143" y="4707"/>
                  </a:cubicBezTo>
                  <a:close/>
                </a:path>
              </a:pathLst>
            </a:custGeom>
            <a:grpFill/>
            <a:ln w="0" cap="flat">
              <a:noFill/>
              <a:prstDash val="solid"/>
              <a:miter/>
            </a:ln>
          </p:spPr>
          <p:txBody>
            <a:bodyPr rtlCol="0" anchor="ctr"/>
            <a:lstStyle/>
            <a:p>
              <a:endParaRPr lang="en-BG"/>
            </a:p>
          </p:txBody>
        </p:sp>
        <p:sp>
          <p:nvSpPr>
            <p:cNvPr id="43" name="Freeform 42">
              <a:extLst>
                <a:ext uri="{FF2B5EF4-FFF2-40B4-BE49-F238E27FC236}">
                  <a16:creationId xmlns:a16="http://schemas.microsoft.com/office/drawing/2014/main" id="{FAF8B878-DC45-9744-B971-773988A4C0CE}"/>
                </a:ext>
              </a:extLst>
            </p:cNvPr>
            <p:cNvSpPr/>
            <p:nvPr/>
          </p:nvSpPr>
          <p:spPr>
            <a:xfrm>
              <a:off x="2260775" y="2210255"/>
              <a:ext cx="17149" cy="74452"/>
            </a:xfrm>
            <a:custGeom>
              <a:avLst/>
              <a:gdLst>
                <a:gd name="connsiteX0" fmla="*/ 0 w 17149"/>
                <a:gd name="connsiteY0" fmla="*/ 8190 h 74452"/>
                <a:gd name="connsiteX1" fmla="*/ 8519 w 17149"/>
                <a:gd name="connsiteY1" fmla="*/ 0 h 74452"/>
                <a:gd name="connsiteX2" fmla="*/ 17149 w 17149"/>
                <a:gd name="connsiteY2" fmla="*/ 8190 h 74452"/>
                <a:gd name="connsiteX3" fmla="*/ 8519 w 17149"/>
                <a:gd name="connsiteY3" fmla="*/ 16158 h 74452"/>
                <a:gd name="connsiteX4" fmla="*/ 0 w 17149"/>
                <a:gd name="connsiteY4" fmla="*/ 8190 h 74452"/>
                <a:gd name="connsiteX5" fmla="*/ 1488 w 17149"/>
                <a:gd name="connsiteY5" fmla="*/ 22643 h 74452"/>
                <a:gd name="connsiteX6" fmla="*/ 15475 w 17149"/>
                <a:gd name="connsiteY6" fmla="*/ 22643 h 74452"/>
                <a:gd name="connsiteX7" fmla="*/ 15475 w 17149"/>
                <a:gd name="connsiteY7" fmla="*/ 74453 h 74452"/>
                <a:gd name="connsiteX8" fmla="*/ 1488 w 17149"/>
                <a:gd name="connsiteY8" fmla="*/ 74453 h 74452"/>
                <a:gd name="connsiteX9" fmla="*/ 1488 w 17149"/>
                <a:gd name="connsiteY9" fmla="*/ 22643 h 74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49" h="74452">
                  <a:moveTo>
                    <a:pt x="0" y="8190"/>
                  </a:moveTo>
                  <a:cubicBezTo>
                    <a:pt x="0" y="3372"/>
                    <a:pt x="3571" y="0"/>
                    <a:pt x="8519" y="0"/>
                  </a:cubicBezTo>
                  <a:cubicBezTo>
                    <a:pt x="13466" y="0"/>
                    <a:pt x="17149" y="3372"/>
                    <a:pt x="17149" y="8190"/>
                  </a:cubicBezTo>
                  <a:cubicBezTo>
                    <a:pt x="17149" y="13008"/>
                    <a:pt x="13466" y="16158"/>
                    <a:pt x="8519" y="16158"/>
                  </a:cubicBezTo>
                  <a:cubicBezTo>
                    <a:pt x="3571" y="16158"/>
                    <a:pt x="0" y="12786"/>
                    <a:pt x="0" y="8190"/>
                  </a:cubicBezTo>
                  <a:close/>
                  <a:moveTo>
                    <a:pt x="1488" y="22643"/>
                  </a:moveTo>
                  <a:lnTo>
                    <a:pt x="15475" y="22643"/>
                  </a:lnTo>
                  <a:lnTo>
                    <a:pt x="15475" y="74453"/>
                  </a:lnTo>
                  <a:lnTo>
                    <a:pt x="1488" y="74453"/>
                  </a:lnTo>
                  <a:lnTo>
                    <a:pt x="1488" y="22643"/>
                  </a:lnTo>
                  <a:close/>
                </a:path>
              </a:pathLst>
            </a:custGeom>
            <a:grpFill/>
            <a:ln w="0" cap="flat">
              <a:noFill/>
              <a:prstDash val="solid"/>
              <a:miter/>
            </a:ln>
          </p:spPr>
          <p:txBody>
            <a:bodyPr rtlCol="0" anchor="ctr"/>
            <a:lstStyle/>
            <a:p>
              <a:endParaRPr lang="en-BG"/>
            </a:p>
          </p:txBody>
        </p:sp>
        <p:sp>
          <p:nvSpPr>
            <p:cNvPr id="44" name="Freeform 43">
              <a:extLst>
                <a:ext uri="{FF2B5EF4-FFF2-40B4-BE49-F238E27FC236}">
                  <a16:creationId xmlns:a16="http://schemas.microsoft.com/office/drawing/2014/main" id="{0C5D4677-400D-CC47-902F-88EFE4510BE0}"/>
                </a:ext>
              </a:extLst>
            </p:cNvPr>
            <p:cNvSpPr/>
            <p:nvPr/>
          </p:nvSpPr>
          <p:spPr>
            <a:xfrm>
              <a:off x="2286518" y="2231750"/>
              <a:ext cx="56320" cy="54106"/>
            </a:xfrm>
            <a:custGeom>
              <a:avLst/>
              <a:gdLst>
                <a:gd name="connsiteX0" fmla="*/ 56321 w 56320"/>
                <a:gd name="connsiteY0" fmla="*/ 1149 h 54106"/>
                <a:gd name="connsiteX1" fmla="*/ 56321 w 56320"/>
                <a:gd name="connsiteY1" fmla="*/ 52958 h 54106"/>
                <a:gd name="connsiteX2" fmla="*/ 44193 w 56320"/>
                <a:gd name="connsiteY2" fmla="*/ 52958 h 54106"/>
                <a:gd name="connsiteX3" fmla="*/ 43263 w 56320"/>
                <a:gd name="connsiteY3" fmla="*/ 46658 h 54106"/>
                <a:gd name="connsiteX4" fmla="*/ 25259 w 56320"/>
                <a:gd name="connsiteY4" fmla="*/ 54107 h 54106"/>
                <a:gd name="connsiteX5" fmla="*/ 0 w 56320"/>
                <a:gd name="connsiteY5" fmla="*/ 27053 h 54106"/>
                <a:gd name="connsiteX6" fmla="*/ 25259 w 56320"/>
                <a:gd name="connsiteY6" fmla="*/ 0 h 54106"/>
                <a:gd name="connsiteX7" fmla="*/ 43263 w 56320"/>
                <a:gd name="connsiteY7" fmla="*/ 7338 h 54106"/>
                <a:gd name="connsiteX8" fmla="*/ 44193 w 56320"/>
                <a:gd name="connsiteY8" fmla="*/ 1149 h 54106"/>
                <a:gd name="connsiteX9" fmla="*/ 56321 w 56320"/>
                <a:gd name="connsiteY9" fmla="*/ 1149 h 54106"/>
                <a:gd name="connsiteX10" fmla="*/ 42445 w 56320"/>
                <a:gd name="connsiteY10" fmla="*/ 27053 h 54106"/>
                <a:gd name="connsiteX11" fmla="*/ 28123 w 56320"/>
                <a:gd name="connsiteY11" fmla="*/ 12156 h 54106"/>
                <a:gd name="connsiteX12" fmla="*/ 13913 w 56320"/>
                <a:gd name="connsiteY12" fmla="*/ 27053 h 54106"/>
                <a:gd name="connsiteX13" fmla="*/ 28123 w 56320"/>
                <a:gd name="connsiteY13" fmla="*/ 41951 h 54106"/>
                <a:gd name="connsiteX14" fmla="*/ 42445 w 56320"/>
                <a:gd name="connsiteY14" fmla="*/ 27053 h 54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320" h="54106">
                  <a:moveTo>
                    <a:pt x="56321" y="1149"/>
                  </a:moveTo>
                  <a:lnTo>
                    <a:pt x="56321" y="52958"/>
                  </a:lnTo>
                  <a:lnTo>
                    <a:pt x="44193" y="52958"/>
                  </a:lnTo>
                  <a:lnTo>
                    <a:pt x="43263" y="46658"/>
                  </a:lnTo>
                  <a:cubicBezTo>
                    <a:pt x="38948" y="51476"/>
                    <a:pt x="32624" y="54107"/>
                    <a:pt x="25259" y="54107"/>
                  </a:cubicBezTo>
                  <a:cubicBezTo>
                    <a:pt x="10304" y="54107"/>
                    <a:pt x="0" y="42989"/>
                    <a:pt x="0" y="27053"/>
                  </a:cubicBezTo>
                  <a:cubicBezTo>
                    <a:pt x="0" y="11118"/>
                    <a:pt x="10304" y="0"/>
                    <a:pt x="25259" y="0"/>
                  </a:cubicBezTo>
                  <a:cubicBezTo>
                    <a:pt x="32624" y="0"/>
                    <a:pt x="39060" y="2631"/>
                    <a:pt x="43263" y="7338"/>
                  </a:cubicBezTo>
                  <a:lnTo>
                    <a:pt x="44193" y="1149"/>
                  </a:lnTo>
                  <a:lnTo>
                    <a:pt x="56321" y="1149"/>
                  </a:lnTo>
                  <a:close/>
                  <a:moveTo>
                    <a:pt x="42445" y="27053"/>
                  </a:moveTo>
                  <a:cubicBezTo>
                    <a:pt x="42445" y="18344"/>
                    <a:pt x="36530" y="12156"/>
                    <a:pt x="28123" y="12156"/>
                  </a:cubicBezTo>
                  <a:cubicBezTo>
                    <a:pt x="19716" y="12156"/>
                    <a:pt x="13913" y="18344"/>
                    <a:pt x="13913" y="27053"/>
                  </a:cubicBezTo>
                  <a:cubicBezTo>
                    <a:pt x="13913" y="35762"/>
                    <a:pt x="19828" y="41951"/>
                    <a:pt x="28123" y="41951"/>
                  </a:cubicBezTo>
                  <a:cubicBezTo>
                    <a:pt x="36419" y="41951"/>
                    <a:pt x="42445" y="35762"/>
                    <a:pt x="42445" y="27053"/>
                  </a:cubicBezTo>
                  <a:close/>
                </a:path>
              </a:pathLst>
            </a:custGeom>
            <a:grpFill/>
            <a:ln w="0" cap="flat">
              <a:noFill/>
              <a:prstDash val="solid"/>
              <a:miter/>
            </a:ln>
          </p:spPr>
          <p:txBody>
            <a:bodyPr rtlCol="0" anchor="ctr"/>
            <a:lstStyle/>
            <a:p>
              <a:endParaRPr lang="en-BG"/>
            </a:p>
          </p:txBody>
        </p:sp>
        <p:sp>
          <p:nvSpPr>
            <p:cNvPr id="45" name="Freeform 44">
              <a:extLst>
                <a:ext uri="{FF2B5EF4-FFF2-40B4-BE49-F238E27FC236}">
                  <a16:creationId xmlns:a16="http://schemas.microsoft.com/office/drawing/2014/main" id="{AE3E824D-527C-EE4E-B468-A61730A97609}"/>
                </a:ext>
              </a:extLst>
            </p:cNvPr>
            <p:cNvSpPr/>
            <p:nvPr/>
          </p:nvSpPr>
          <p:spPr>
            <a:xfrm>
              <a:off x="2356342" y="2231824"/>
              <a:ext cx="51931" cy="52883"/>
            </a:xfrm>
            <a:custGeom>
              <a:avLst/>
              <a:gdLst>
                <a:gd name="connsiteX0" fmla="*/ 51894 w 51931"/>
                <a:gd name="connsiteY0" fmla="*/ 23940 h 52883"/>
                <a:gd name="connsiteX1" fmla="*/ 51894 w 51931"/>
                <a:gd name="connsiteY1" fmla="*/ 52884 h 52883"/>
                <a:gd name="connsiteX2" fmla="*/ 37907 w 51931"/>
                <a:gd name="connsiteY2" fmla="*/ 52884 h 52883"/>
                <a:gd name="connsiteX3" fmla="*/ 37907 w 51931"/>
                <a:gd name="connsiteY3" fmla="*/ 24793 h 52883"/>
                <a:gd name="connsiteX4" fmla="*/ 26635 w 51931"/>
                <a:gd name="connsiteY4" fmla="*/ 12193 h 52883"/>
                <a:gd name="connsiteX5" fmla="*/ 13987 w 51931"/>
                <a:gd name="connsiteY5" fmla="*/ 25719 h 52883"/>
                <a:gd name="connsiteX6" fmla="*/ 13987 w 51931"/>
                <a:gd name="connsiteY6" fmla="*/ 52884 h 52883"/>
                <a:gd name="connsiteX7" fmla="*/ 0 w 51931"/>
                <a:gd name="connsiteY7" fmla="*/ 52884 h 52883"/>
                <a:gd name="connsiteX8" fmla="*/ 0 w 51931"/>
                <a:gd name="connsiteY8" fmla="*/ 1075 h 52883"/>
                <a:gd name="connsiteX9" fmla="*/ 12127 w 51931"/>
                <a:gd name="connsiteY9" fmla="*/ 1075 h 52883"/>
                <a:gd name="connsiteX10" fmla="*/ 13057 w 51931"/>
                <a:gd name="connsiteY10" fmla="*/ 7041 h 52883"/>
                <a:gd name="connsiteX11" fmla="*/ 30132 w 51931"/>
                <a:gd name="connsiteY11" fmla="*/ 0 h 52883"/>
                <a:gd name="connsiteX12" fmla="*/ 51931 w 51931"/>
                <a:gd name="connsiteY12" fmla="*/ 23903 h 52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931" h="52883">
                  <a:moveTo>
                    <a:pt x="51894" y="23940"/>
                  </a:moveTo>
                  <a:lnTo>
                    <a:pt x="51894" y="52884"/>
                  </a:lnTo>
                  <a:lnTo>
                    <a:pt x="37907" y="52884"/>
                  </a:lnTo>
                  <a:lnTo>
                    <a:pt x="37907" y="24793"/>
                  </a:lnTo>
                  <a:cubicBezTo>
                    <a:pt x="37907" y="16825"/>
                    <a:pt x="33592" y="12193"/>
                    <a:pt x="26635" y="12193"/>
                  </a:cubicBezTo>
                  <a:cubicBezTo>
                    <a:pt x="19046" y="12193"/>
                    <a:pt x="13987" y="17752"/>
                    <a:pt x="13987" y="25719"/>
                  </a:cubicBezTo>
                  <a:lnTo>
                    <a:pt x="13987" y="52884"/>
                  </a:lnTo>
                  <a:lnTo>
                    <a:pt x="0" y="52884"/>
                  </a:lnTo>
                  <a:lnTo>
                    <a:pt x="0" y="1075"/>
                  </a:lnTo>
                  <a:lnTo>
                    <a:pt x="12127" y="1075"/>
                  </a:lnTo>
                  <a:lnTo>
                    <a:pt x="13057" y="7041"/>
                  </a:lnTo>
                  <a:cubicBezTo>
                    <a:pt x="17149" y="2520"/>
                    <a:pt x="23287" y="0"/>
                    <a:pt x="30132" y="0"/>
                  </a:cubicBezTo>
                  <a:cubicBezTo>
                    <a:pt x="43412" y="0"/>
                    <a:pt x="51931" y="9228"/>
                    <a:pt x="51931" y="23903"/>
                  </a:cubicBezTo>
                  <a:close/>
                </a:path>
              </a:pathLst>
            </a:custGeom>
            <a:grpFill/>
            <a:ln w="0" cap="flat">
              <a:noFill/>
              <a:prstDash val="solid"/>
              <a:miter/>
            </a:ln>
          </p:spPr>
          <p:txBody>
            <a:bodyPr rtlCol="0" anchor="ctr"/>
            <a:lstStyle/>
            <a:p>
              <a:endParaRPr lang="en-BG"/>
            </a:p>
          </p:txBody>
        </p:sp>
        <p:sp>
          <p:nvSpPr>
            <p:cNvPr id="46" name="Freeform 45">
              <a:extLst>
                <a:ext uri="{FF2B5EF4-FFF2-40B4-BE49-F238E27FC236}">
                  <a16:creationId xmlns:a16="http://schemas.microsoft.com/office/drawing/2014/main" id="{B48A63E5-B50B-3646-A7CD-031DD93219F4}"/>
                </a:ext>
              </a:extLst>
            </p:cNvPr>
            <p:cNvSpPr/>
            <p:nvPr/>
          </p:nvSpPr>
          <p:spPr>
            <a:xfrm>
              <a:off x="1912770" y="2329216"/>
              <a:ext cx="61937" cy="76564"/>
            </a:xfrm>
            <a:custGeom>
              <a:avLst/>
              <a:gdLst>
                <a:gd name="connsiteX0" fmla="*/ 0 w 61937"/>
                <a:gd name="connsiteY0" fmla="*/ 66337 h 76564"/>
                <a:gd name="connsiteX1" fmla="*/ 7589 w 61937"/>
                <a:gd name="connsiteY1" fmla="*/ 55515 h 76564"/>
                <a:gd name="connsiteX2" fmla="*/ 31397 w 61937"/>
                <a:gd name="connsiteY2" fmla="*/ 63483 h 76564"/>
                <a:gd name="connsiteX3" fmla="*/ 47393 w 61937"/>
                <a:gd name="connsiteY3" fmla="*/ 53922 h 76564"/>
                <a:gd name="connsiteX4" fmla="*/ 30653 w 61937"/>
                <a:gd name="connsiteY4" fmla="*/ 44064 h 76564"/>
                <a:gd name="connsiteX5" fmla="*/ 1786 w 61937"/>
                <a:gd name="connsiteY5" fmla="*/ 21828 h 76564"/>
                <a:gd name="connsiteX6" fmla="*/ 31174 w 61937"/>
                <a:gd name="connsiteY6" fmla="*/ 0 h 76564"/>
                <a:gd name="connsiteX7" fmla="*/ 58776 w 61937"/>
                <a:gd name="connsiteY7" fmla="*/ 8820 h 76564"/>
                <a:gd name="connsiteX8" fmla="*/ 51634 w 61937"/>
                <a:gd name="connsiteY8" fmla="*/ 19086 h 76564"/>
                <a:gd name="connsiteX9" fmla="*/ 31620 w 61937"/>
                <a:gd name="connsiteY9" fmla="*/ 12489 h 76564"/>
                <a:gd name="connsiteX10" fmla="*/ 16145 w 61937"/>
                <a:gd name="connsiteY10" fmla="*/ 21606 h 76564"/>
                <a:gd name="connsiteX11" fmla="*/ 32364 w 61937"/>
                <a:gd name="connsiteY11" fmla="*/ 31241 h 76564"/>
                <a:gd name="connsiteX12" fmla="*/ 61938 w 61937"/>
                <a:gd name="connsiteY12" fmla="*/ 53699 h 76564"/>
                <a:gd name="connsiteX13" fmla="*/ 31397 w 61937"/>
                <a:gd name="connsiteY13" fmla="*/ 76565 h 76564"/>
                <a:gd name="connsiteX14" fmla="*/ 37 w 61937"/>
                <a:gd name="connsiteY14" fmla="*/ 66299 h 7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1937" h="76564">
                  <a:moveTo>
                    <a:pt x="0" y="66337"/>
                  </a:moveTo>
                  <a:lnTo>
                    <a:pt x="7589" y="55515"/>
                  </a:lnTo>
                  <a:cubicBezTo>
                    <a:pt x="13801" y="60555"/>
                    <a:pt x="22543" y="63483"/>
                    <a:pt x="31397" y="63483"/>
                  </a:cubicBezTo>
                  <a:cubicBezTo>
                    <a:pt x="41180" y="63483"/>
                    <a:pt x="47393" y="59814"/>
                    <a:pt x="47393" y="53922"/>
                  </a:cubicBezTo>
                  <a:cubicBezTo>
                    <a:pt x="47393" y="48363"/>
                    <a:pt x="42222" y="45435"/>
                    <a:pt x="30653" y="44064"/>
                  </a:cubicBezTo>
                  <a:cubicBezTo>
                    <a:pt x="10528" y="41655"/>
                    <a:pt x="1786" y="34947"/>
                    <a:pt x="1786" y="21828"/>
                  </a:cubicBezTo>
                  <a:cubicBezTo>
                    <a:pt x="1786" y="8709"/>
                    <a:pt x="13801" y="0"/>
                    <a:pt x="31174" y="0"/>
                  </a:cubicBezTo>
                  <a:cubicBezTo>
                    <a:pt x="41180" y="0"/>
                    <a:pt x="51187" y="3261"/>
                    <a:pt x="58776" y="8820"/>
                  </a:cubicBezTo>
                  <a:lnTo>
                    <a:pt x="51634" y="19086"/>
                  </a:lnTo>
                  <a:cubicBezTo>
                    <a:pt x="45719" y="14787"/>
                    <a:pt x="38576" y="12489"/>
                    <a:pt x="31620" y="12489"/>
                  </a:cubicBezTo>
                  <a:cubicBezTo>
                    <a:pt x="22469" y="12489"/>
                    <a:pt x="16145" y="16269"/>
                    <a:pt x="16145" y="21606"/>
                  </a:cubicBezTo>
                  <a:cubicBezTo>
                    <a:pt x="16145" y="26942"/>
                    <a:pt x="20869" y="29796"/>
                    <a:pt x="32364" y="31241"/>
                  </a:cubicBezTo>
                  <a:cubicBezTo>
                    <a:pt x="52787" y="33984"/>
                    <a:pt x="61938" y="40877"/>
                    <a:pt x="61938" y="53699"/>
                  </a:cubicBezTo>
                  <a:cubicBezTo>
                    <a:pt x="61938" y="67448"/>
                    <a:pt x="49736" y="76565"/>
                    <a:pt x="31397" y="76565"/>
                  </a:cubicBezTo>
                  <a:cubicBezTo>
                    <a:pt x="19902" y="76565"/>
                    <a:pt x="8333" y="72896"/>
                    <a:pt x="37" y="66299"/>
                  </a:cubicBezTo>
                  <a:close/>
                </a:path>
              </a:pathLst>
            </a:custGeom>
            <a:grpFill/>
            <a:ln w="0" cap="flat">
              <a:noFill/>
              <a:prstDash val="solid"/>
              <a:miter/>
            </a:ln>
          </p:spPr>
          <p:txBody>
            <a:bodyPr rtlCol="0" anchor="ctr"/>
            <a:lstStyle/>
            <a:p>
              <a:endParaRPr lang="en-BG"/>
            </a:p>
          </p:txBody>
        </p:sp>
        <p:sp>
          <p:nvSpPr>
            <p:cNvPr id="47" name="Freeform 46">
              <a:extLst>
                <a:ext uri="{FF2B5EF4-FFF2-40B4-BE49-F238E27FC236}">
                  <a16:creationId xmlns:a16="http://schemas.microsoft.com/office/drawing/2014/main" id="{B4575C09-B04E-2445-9B21-36AAA0D9E650}"/>
                </a:ext>
              </a:extLst>
            </p:cNvPr>
            <p:cNvSpPr/>
            <p:nvPr/>
          </p:nvSpPr>
          <p:spPr>
            <a:xfrm>
              <a:off x="1978539" y="2337777"/>
              <a:ext cx="39803" cy="67337"/>
            </a:xfrm>
            <a:custGeom>
              <a:avLst/>
              <a:gdLst>
                <a:gd name="connsiteX0" fmla="*/ 39804 w 39803"/>
                <a:gd name="connsiteY0" fmla="*/ 64595 h 67337"/>
                <a:gd name="connsiteX1" fmla="*/ 27082 w 39803"/>
                <a:gd name="connsiteY1" fmla="*/ 67337 h 67337"/>
                <a:gd name="connsiteX2" fmla="*/ 9374 w 39803"/>
                <a:gd name="connsiteY2" fmla="*/ 48140 h 67337"/>
                <a:gd name="connsiteX3" fmla="*/ 9374 w 39803"/>
                <a:gd name="connsiteY3" fmla="*/ 26127 h 67337"/>
                <a:gd name="connsiteX4" fmla="*/ 0 w 39803"/>
                <a:gd name="connsiteY4" fmla="*/ 26127 h 67337"/>
                <a:gd name="connsiteX5" fmla="*/ 0 w 39803"/>
                <a:gd name="connsiteY5" fmla="*/ 14713 h 67337"/>
                <a:gd name="connsiteX6" fmla="*/ 9374 w 39803"/>
                <a:gd name="connsiteY6" fmla="*/ 14713 h 67337"/>
                <a:gd name="connsiteX7" fmla="*/ 9374 w 39803"/>
                <a:gd name="connsiteY7" fmla="*/ 1482 h 67337"/>
                <a:gd name="connsiteX8" fmla="*/ 23287 w 39803"/>
                <a:gd name="connsiteY8" fmla="*/ 0 h 67337"/>
                <a:gd name="connsiteX9" fmla="*/ 23287 w 39803"/>
                <a:gd name="connsiteY9" fmla="*/ 14676 h 67337"/>
                <a:gd name="connsiteX10" fmla="*/ 37274 w 39803"/>
                <a:gd name="connsiteY10" fmla="*/ 14676 h 67337"/>
                <a:gd name="connsiteX11" fmla="*/ 37274 w 39803"/>
                <a:gd name="connsiteY11" fmla="*/ 26090 h 67337"/>
                <a:gd name="connsiteX12" fmla="*/ 23287 w 39803"/>
                <a:gd name="connsiteY12" fmla="*/ 26090 h 67337"/>
                <a:gd name="connsiteX13" fmla="*/ 23287 w 39803"/>
                <a:gd name="connsiteY13" fmla="*/ 48103 h 67337"/>
                <a:gd name="connsiteX14" fmla="*/ 29909 w 39803"/>
                <a:gd name="connsiteY14" fmla="*/ 55219 h 67337"/>
                <a:gd name="connsiteX15" fmla="*/ 36121 w 39803"/>
                <a:gd name="connsiteY15" fmla="*/ 53736 h 67337"/>
                <a:gd name="connsiteX16" fmla="*/ 39804 w 39803"/>
                <a:gd name="connsiteY16" fmla="*/ 64558 h 67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803" h="67337">
                  <a:moveTo>
                    <a:pt x="39804" y="64595"/>
                  </a:moveTo>
                  <a:cubicBezTo>
                    <a:pt x="35489" y="66596"/>
                    <a:pt x="31694" y="67337"/>
                    <a:pt x="27082" y="67337"/>
                  </a:cubicBezTo>
                  <a:cubicBezTo>
                    <a:pt x="16442" y="67337"/>
                    <a:pt x="9374" y="61667"/>
                    <a:pt x="9374" y="48140"/>
                  </a:cubicBezTo>
                  <a:lnTo>
                    <a:pt x="9374" y="26127"/>
                  </a:lnTo>
                  <a:lnTo>
                    <a:pt x="0" y="26127"/>
                  </a:lnTo>
                  <a:lnTo>
                    <a:pt x="0" y="14713"/>
                  </a:lnTo>
                  <a:lnTo>
                    <a:pt x="9374" y="14713"/>
                  </a:lnTo>
                  <a:lnTo>
                    <a:pt x="9374" y="1482"/>
                  </a:lnTo>
                  <a:lnTo>
                    <a:pt x="23287" y="0"/>
                  </a:lnTo>
                  <a:lnTo>
                    <a:pt x="23287" y="14676"/>
                  </a:lnTo>
                  <a:lnTo>
                    <a:pt x="37274" y="14676"/>
                  </a:lnTo>
                  <a:lnTo>
                    <a:pt x="37274" y="26090"/>
                  </a:lnTo>
                  <a:lnTo>
                    <a:pt x="23287" y="26090"/>
                  </a:lnTo>
                  <a:lnTo>
                    <a:pt x="23287" y="48103"/>
                  </a:lnTo>
                  <a:cubicBezTo>
                    <a:pt x="23287" y="52810"/>
                    <a:pt x="25705" y="55219"/>
                    <a:pt x="29909" y="55219"/>
                  </a:cubicBezTo>
                  <a:cubicBezTo>
                    <a:pt x="31918" y="55219"/>
                    <a:pt x="34336" y="54589"/>
                    <a:pt x="36121" y="53736"/>
                  </a:cubicBezTo>
                  <a:lnTo>
                    <a:pt x="39804" y="64558"/>
                  </a:lnTo>
                  <a:close/>
                </a:path>
              </a:pathLst>
            </a:custGeom>
            <a:grpFill/>
            <a:ln w="0" cap="flat">
              <a:noFill/>
              <a:prstDash val="solid"/>
              <a:miter/>
            </a:ln>
          </p:spPr>
          <p:txBody>
            <a:bodyPr rtlCol="0" anchor="ctr"/>
            <a:lstStyle/>
            <a:p>
              <a:endParaRPr lang="en-BG"/>
            </a:p>
          </p:txBody>
        </p:sp>
        <p:sp>
          <p:nvSpPr>
            <p:cNvPr id="48" name="Freeform 47">
              <a:extLst>
                <a:ext uri="{FF2B5EF4-FFF2-40B4-BE49-F238E27FC236}">
                  <a16:creationId xmlns:a16="http://schemas.microsoft.com/office/drawing/2014/main" id="{C107FB80-6355-9148-8DFB-66FEF574C4E6}"/>
                </a:ext>
              </a:extLst>
            </p:cNvPr>
            <p:cNvSpPr/>
            <p:nvPr/>
          </p:nvSpPr>
          <p:spPr>
            <a:xfrm>
              <a:off x="2022323" y="2351304"/>
              <a:ext cx="56246" cy="54106"/>
            </a:xfrm>
            <a:custGeom>
              <a:avLst/>
              <a:gdLst>
                <a:gd name="connsiteX0" fmla="*/ 0 w 56246"/>
                <a:gd name="connsiteY0" fmla="*/ 27053 h 54106"/>
                <a:gd name="connsiteX1" fmla="*/ 28123 w 56246"/>
                <a:gd name="connsiteY1" fmla="*/ 0 h 54106"/>
                <a:gd name="connsiteX2" fmla="*/ 56246 w 56246"/>
                <a:gd name="connsiteY2" fmla="*/ 27053 h 54106"/>
                <a:gd name="connsiteX3" fmla="*/ 28123 w 56246"/>
                <a:gd name="connsiteY3" fmla="*/ 54107 h 54106"/>
                <a:gd name="connsiteX4" fmla="*/ 0 w 56246"/>
                <a:gd name="connsiteY4" fmla="*/ 27053 h 54106"/>
                <a:gd name="connsiteX5" fmla="*/ 42296 w 56246"/>
                <a:gd name="connsiteY5" fmla="*/ 27053 h 54106"/>
                <a:gd name="connsiteX6" fmla="*/ 28086 w 56246"/>
                <a:gd name="connsiteY6" fmla="*/ 12156 h 54106"/>
                <a:gd name="connsiteX7" fmla="*/ 13876 w 56246"/>
                <a:gd name="connsiteY7" fmla="*/ 27053 h 54106"/>
                <a:gd name="connsiteX8" fmla="*/ 28086 w 56246"/>
                <a:gd name="connsiteY8" fmla="*/ 41951 h 54106"/>
                <a:gd name="connsiteX9" fmla="*/ 42296 w 56246"/>
                <a:gd name="connsiteY9" fmla="*/ 27053 h 54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246" h="54106">
                  <a:moveTo>
                    <a:pt x="0" y="27053"/>
                  </a:moveTo>
                  <a:cubicBezTo>
                    <a:pt x="0" y="11229"/>
                    <a:pt x="10937" y="0"/>
                    <a:pt x="28123" y="0"/>
                  </a:cubicBezTo>
                  <a:cubicBezTo>
                    <a:pt x="45310" y="0"/>
                    <a:pt x="56246" y="11229"/>
                    <a:pt x="56246" y="27053"/>
                  </a:cubicBezTo>
                  <a:cubicBezTo>
                    <a:pt x="56246" y="42878"/>
                    <a:pt x="45310" y="54107"/>
                    <a:pt x="28123" y="54107"/>
                  </a:cubicBezTo>
                  <a:cubicBezTo>
                    <a:pt x="10937" y="54107"/>
                    <a:pt x="0" y="42878"/>
                    <a:pt x="0" y="27053"/>
                  </a:cubicBezTo>
                  <a:close/>
                  <a:moveTo>
                    <a:pt x="42296" y="27053"/>
                  </a:moveTo>
                  <a:cubicBezTo>
                    <a:pt x="42296" y="18752"/>
                    <a:pt x="36716" y="12156"/>
                    <a:pt x="28086" y="12156"/>
                  </a:cubicBezTo>
                  <a:cubicBezTo>
                    <a:pt x="19456" y="12156"/>
                    <a:pt x="13876" y="18752"/>
                    <a:pt x="13876" y="27053"/>
                  </a:cubicBezTo>
                  <a:cubicBezTo>
                    <a:pt x="13876" y="35355"/>
                    <a:pt x="19456" y="41951"/>
                    <a:pt x="28086" y="41951"/>
                  </a:cubicBezTo>
                  <a:cubicBezTo>
                    <a:pt x="36716" y="41951"/>
                    <a:pt x="42296" y="35355"/>
                    <a:pt x="42296" y="27053"/>
                  </a:cubicBezTo>
                  <a:close/>
                </a:path>
              </a:pathLst>
            </a:custGeom>
            <a:grpFill/>
            <a:ln w="0" cap="flat">
              <a:noFill/>
              <a:prstDash val="solid"/>
              <a:miter/>
            </a:ln>
          </p:spPr>
          <p:txBody>
            <a:bodyPr rtlCol="0" anchor="ctr"/>
            <a:lstStyle/>
            <a:p>
              <a:endParaRPr lang="en-BG"/>
            </a:p>
          </p:txBody>
        </p:sp>
        <p:sp>
          <p:nvSpPr>
            <p:cNvPr id="49" name="Freeform 48">
              <a:extLst>
                <a:ext uri="{FF2B5EF4-FFF2-40B4-BE49-F238E27FC236}">
                  <a16:creationId xmlns:a16="http://schemas.microsoft.com/office/drawing/2014/main" id="{12CA4C79-AEFE-1742-A505-E4D9AF001AC0}"/>
                </a:ext>
              </a:extLst>
            </p:cNvPr>
            <p:cNvSpPr/>
            <p:nvPr/>
          </p:nvSpPr>
          <p:spPr>
            <a:xfrm>
              <a:off x="2085824" y="2351304"/>
              <a:ext cx="48769" cy="54106"/>
            </a:xfrm>
            <a:custGeom>
              <a:avLst/>
              <a:gdLst>
                <a:gd name="connsiteX0" fmla="*/ 0 w 48769"/>
                <a:gd name="connsiteY0" fmla="*/ 27053 h 54106"/>
                <a:gd name="connsiteX1" fmla="*/ 28012 w 48769"/>
                <a:gd name="connsiteY1" fmla="*/ 0 h 54106"/>
                <a:gd name="connsiteX2" fmla="*/ 48025 w 48769"/>
                <a:gd name="connsiteY2" fmla="*/ 8079 h 54106"/>
                <a:gd name="connsiteX3" fmla="*/ 39916 w 48769"/>
                <a:gd name="connsiteY3" fmla="*/ 16788 h 54106"/>
                <a:gd name="connsiteX4" fmla="*/ 28532 w 48769"/>
                <a:gd name="connsiteY4" fmla="*/ 12156 h 54106"/>
                <a:gd name="connsiteX5" fmla="*/ 13913 w 48769"/>
                <a:gd name="connsiteY5" fmla="*/ 27053 h 54106"/>
                <a:gd name="connsiteX6" fmla="*/ 28532 w 48769"/>
                <a:gd name="connsiteY6" fmla="*/ 41951 h 54106"/>
                <a:gd name="connsiteX7" fmla="*/ 40548 w 48769"/>
                <a:gd name="connsiteY7" fmla="*/ 36911 h 54106"/>
                <a:gd name="connsiteX8" fmla="*/ 48769 w 48769"/>
                <a:gd name="connsiteY8" fmla="*/ 45731 h 54106"/>
                <a:gd name="connsiteX9" fmla="*/ 28235 w 48769"/>
                <a:gd name="connsiteY9" fmla="*/ 54107 h 54106"/>
                <a:gd name="connsiteX10" fmla="*/ 0 w 48769"/>
                <a:gd name="connsiteY10" fmla="*/ 27053 h 54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769" h="54106">
                  <a:moveTo>
                    <a:pt x="0" y="27053"/>
                  </a:moveTo>
                  <a:cubicBezTo>
                    <a:pt x="0" y="10895"/>
                    <a:pt x="11272" y="0"/>
                    <a:pt x="28012" y="0"/>
                  </a:cubicBezTo>
                  <a:cubicBezTo>
                    <a:pt x="35712" y="0"/>
                    <a:pt x="42445" y="2742"/>
                    <a:pt x="48025" y="8079"/>
                  </a:cubicBezTo>
                  <a:lnTo>
                    <a:pt x="39916" y="16788"/>
                  </a:lnTo>
                  <a:cubicBezTo>
                    <a:pt x="36977" y="13860"/>
                    <a:pt x="32848" y="12156"/>
                    <a:pt x="28532" y="12156"/>
                  </a:cubicBezTo>
                  <a:cubicBezTo>
                    <a:pt x="19902" y="12156"/>
                    <a:pt x="13913" y="18233"/>
                    <a:pt x="13913" y="27053"/>
                  </a:cubicBezTo>
                  <a:cubicBezTo>
                    <a:pt x="13913" y="35874"/>
                    <a:pt x="19828" y="41951"/>
                    <a:pt x="28532" y="41951"/>
                  </a:cubicBezTo>
                  <a:cubicBezTo>
                    <a:pt x="33182" y="41951"/>
                    <a:pt x="37386" y="40173"/>
                    <a:pt x="40548" y="36911"/>
                  </a:cubicBezTo>
                  <a:lnTo>
                    <a:pt x="48769" y="45731"/>
                  </a:lnTo>
                  <a:cubicBezTo>
                    <a:pt x="42854" y="51402"/>
                    <a:pt x="36233" y="54107"/>
                    <a:pt x="28235" y="54107"/>
                  </a:cubicBezTo>
                  <a:cubicBezTo>
                    <a:pt x="11086" y="54107"/>
                    <a:pt x="0" y="43508"/>
                    <a:pt x="0" y="27053"/>
                  </a:cubicBezTo>
                  <a:close/>
                </a:path>
              </a:pathLst>
            </a:custGeom>
            <a:grpFill/>
            <a:ln w="0" cap="flat">
              <a:noFill/>
              <a:prstDash val="solid"/>
              <a:miter/>
            </a:ln>
          </p:spPr>
          <p:txBody>
            <a:bodyPr rtlCol="0" anchor="ctr"/>
            <a:lstStyle/>
            <a:p>
              <a:endParaRPr lang="en-BG"/>
            </a:p>
          </p:txBody>
        </p:sp>
        <p:sp>
          <p:nvSpPr>
            <p:cNvPr id="50" name="Freeform 49">
              <a:extLst>
                <a:ext uri="{FF2B5EF4-FFF2-40B4-BE49-F238E27FC236}">
                  <a16:creationId xmlns:a16="http://schemas.microsoft.com/office/drawing/2014/main" id="{68F482E1-F4FC-0740-B579-78C32770855F}"/>
                </a:ext>
              </a:extLst>
            </p:cNvPr>
            <p:cNvSpPr/>
            <p:nvPr/>
          </p:nvSpPr>
          <p:spPr>
            <a:xfrm>
              <a:off x="2142814" y="2330847"/>
              <a:ext cx="50257" cy="73414"/>
            </a:xfrm>
            <a:custGeom>
              <a:avLst/>
              <a:gdLst>
                <a:gd name="connsiteX0" fmla="*/ 32550 w 50257"/>
                <a:gd name="connsiteY0" fmla="*/ 73415 h 73414"/>
                <a:gd name="connsiteX1" fmla="*/ 13913 w 50257"/>
                <a:gd name="connsiteY1" fmla="*/ 51402 h 73414"/>
                <a:gd name="connsiteX2" fmla="*/ 13913 w 50257"/>
                <a:gd name="connsiteY2" fmla="*/ 73415 h 73414"/>
                <a:gd name="connsiteX3" fmla="*/ 0 w 50257"/>
                <a:gd name="connsiteY3" fmla="*/ 73415 h 73414"/>
                <a:gd name="connsiteX4" fmla="*/ 0 w 50257"/>
                <a:gd name="connsiteY4" fmla="*/ 0 h 73414"/>
                <a:gd name="connsiteX5" fmla="*/ 13913 w 50257"/>
                <a:gd name="connsiteY5" fmla="*/ 0 h 73414"/>
                <a:gd name="connsiteX6" fmla="*/ 13913 w 50257"/>
                <a:gd name="connsiteY6" fmla="*/ 42470 h 73414"/>
                <a:gd name="connsiteX7" fmla="*/ 30653 w 50257"/>
                <a:gd name="connsiteY7" fmla="*/ 21606 h 73414"/>
                <a:gd name="connsiteX8" fmla="*/ 47095 w 50257"/>
                <a:gd name="connsiteY8" fmla="*/ 21606 h 73414"/>
                <a:gd name="connsiteX9" fmla="*/ 26784 w 50257"/>
                <a:gd name="connsiteY9" fmla="*/ 46361 h 73414"/>
                <a:gd name="connsiteX10" fmla="*/ 50257 w 50257"/>
                <a:gd name="connsiteY10" fmla="*/ 73415 h 73414"/>
                <a:gd name="connsiteX11" fmla="*/ 32587 w 50257"/>
                <a:gd name="connsiteY11" fmla="*/ 73415 h 7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257" h="73414">
                  <a:moveTo>
                    <a:pt x="32550" y="73415"/>
                  </a:moveTo>
                  <a:lnTo>
                    <a:pt x="13913" y="51402"/>
                  </a:lnTo>
                  <a:lnTo>
                    <a:pt x="13913" y="73415"/>
                  </a:lnTo>
                  <a:lnTo>
                    <a:pt x="0" y="73415"/>
                  </a:lnTo>
                  <a:lnTo>
                    <a:pt x="0" y="0"/>
                  </a:lnTo>
                  <a:lnTo>
                    <a:pt x="13913" y="0"/>
                  </a:lnTo>
                  <a:lnTo>
                    <a:pt x="13913" y="42470"/>
                  </a:lnTo>
                  <a:lnTo>
                    <a:pt x="30653" y="21606"/>
                  </a:lnTo>
                  <a:lnTo>
                    <a:pt x="47095" y="21606"/>
                  </a:lnTo>
                  <a:lnTo>
                    <a:pt x="26784" y="46361"/>
                  </a:lnTo>
                  <a:lnTo>
                    <a:pt x="50257" y="73415"/>
                  </a:lnTo>
                  <a:lnTo>
                    <a:pt x="32587" y="73415"/>
                  </a:lnTo>
                  <a:close/>
                </a:path>
              </a:pathLst>
            </a:custGeom>
            <a:grpFill/>
            <a:ln w="0" cap="flat">
              <a:noFill/>
              <a:prstDash val="solid"/>
              <a:miter/>
            </a:ln>
          </p:spPr>
          <p:txBody>
            <a:bodyPr rtlCol="0" anchor="ctr"/>
            <a:lstStyle/>
            <a:p>
              <a:endParaRPr lang="en-BG"/>
            </a:p>
          </p:txBody>
        </p:sp>
        <p:sp>
          <p:nvSpPr>
            <p:cNvPr id="51" name="Freeform 50">
              <a:extLst>
                <a:ext uri="{FF2B5EF4-FFF2-40B4-BE49-F238E27FC236}">
                  <a16:creationId xmlns:a16="http://schemas.microsoft.com/office/drawing/2014/main" id="{191969F7-E1BE-C04C-A161-416B8DB47179}"/>
                </a:ext>
              </a:extLst>
            </p:cNvPr>
            <p:cNvSpPr/>
            <p:nvPr/>
          </p:nvSpPr>
          <p:spPr>
            <a:xfrm>
              <a:off x="2228411" y="2330810"/>
              <a:ext cx="56023" cy="73414"/>
            </a:xfrm>
            <a:custGeom>
              <a:avLst/>
              <a:gdLst>
                <a:gd name="connsiteX0" fmla="*/ 56023 w 56023"/>
                <a:gd name="connsiteY0" fmla="*/ 60741 h 73414"/>
                <a:gd name="connsiteX1" fmla="*/ 56023 w 56023"/>
                <a:gd name="connsiteY1" fmla="*/ 73415 h 73414"/>
                <a:gd name="connsiteX2" fmla="*/ 0 w 56023"/>
                <a:gd name="connsiteY2" fmla="*/ 73415 h 73414"/>
                <a:gd name="connsiteX3" fmla="*/ 0 w 56023"/>
                <a:gd name="connsiteY3" fmla="*/ 0 h 73414"/>
                <a:gd name="connsiteX4" fmla="*/ 55056 w 56023"/>
                <a:gd name="connsiteY4" fmla="*/ 0 h 73414"/>
                <a:gd name="connsiteX5" fmla="*/ 55056 w 56023"/>
                <a:gd name="connsiteY5" fmla="*/ 12600 h 73414"/>
                <a:gd name="connsiteX6" fmla="*/ 14322 w 56023"/>
                <a:gd name="connsiteY6" fmla="*/ 12600 h 73414"/>
                <a:gd name="connsiteX7" fmla="*/ 14322 w 56023"/>
                <a:gd name="connsiteY7" fmla="*/ 30129 h 73414"/>
                <a:gd name="connsiteX8" fmla="*/ 53159 w 56023"/>
                <a:gd name="connsiteY8" fmla="*/ 30129 h 73414"/>
                <a:gd name="connsiteX9" fmla="*/ 53159 w 56023"/>
                <a:gd name="connsiteY9" fmla="*/ 42396 h 73414"/>
                <a:gd name="connsiteX10" fmla="*/ 14322 w 56023"/>
                <a:gd name="connsiteY10" fmla="*/ 42396 h 73414"/>
                <a:gd name="connsiteX11" fmla="*/ 14322 w 56023"/>
                <a:gd name="connsiteY11" fmla="*/ 60741 h 73414"/>
                <a:gd name="connsiteX12" fmla="*/ 56023 w 56023"/>
                <a:gd name="connsiteY12" fmla="*/ 60741 h 7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023" h="73414">
                  <a:moveTo>
                    <a:pt x="56023" y="60741"/>
                  </a:moveTo>
                  <a:lnTo>
                    <a:pt x="56023" y="73415"/>
                  </a:lnTo>
                  <a:lnTo>
                    <a:pt x="0" y="73415"/>
                  </a:lnTo>
                  <a:lnTo>
                    <a:pt x="0" y="0"/>
                  </a:lnTo>
                  <a:lnTo>
                    <a:pt x="55056" y="0"/>
                  </a:lnTo>
                  <a:lnTo>
                    <a:pt x="55056" y="12600"/>
                  </a:lnTo>
                  <a:lnTo>
                    <a:pt x="14322" y="12600"/>
                  </a:lnTo>
                  <a:lnTo>
                    <a:pt x="14322" y="30129"/>
                  </a:lnTo>
                  <a:lnTo>
                    <a:pt x="53159" y="30129"/>
                  </a:lnTo>
                  <a:lnTo>
                    <a:pt x="53159" y="42396"/>
                  </a:lnTo>
                  <a:lnTo>
                    <a:pt x="14322" y="42396"/>
                  </a:lnTo>
                  <a:lnTo>
                    <a:pt x="14322" y="60741"/>
                  </a:lnTo>
                  <a:lnTo>
                    <a:pt x="56023" y="60741"/>
                  </a:lnTo>
                  <a:close/>
                </a:path>
              </a:pathLst>
            </a:custGeom>
            <a:grpFill/>
            <a:ln w="0" cap="flat">
              <a:noFill/>
              <a:prstDash val="solid"/>
              <a:miter/>
            </a:ln>
          </p:spPr>
          <p:txBody>
            <a:bodyPr rtlCol="0" anchor="ctr"/>
            <a:lstStyle/>
            <a:p>
              <a:endParaRPr lang="en-BG"/>
            </a:p>
          </p:txBody>
        </p:sp>
        <p:sp>
          <p:nvSpPr>
            <p:cNvPr id="52" name="Freeform 51">
              <a:extLst>
                <a:ext uri="{FF2B5EF4-FFF2-40B4-BE49-F238E27FC236}">
                  <a16:creationId xmlns:a16="http://schemas.microsoft.com/office/drawing/2014/main" id="{49F64A96-39C5-B146-853E-95544FD5E14B}"/>
                </a:ext>
              </a:extLst>
            </p:cNvPr>
            <p:cNvSpPr/>
            <p:nvPr/>
          </p:nvSpPr>
          <p:spPr>
            <a:xfrm>
              <a:off x="2291428" y="2352453"/>
              <a:ext cx="54869" cy="51809"/>
            </a:xfrm>
            <a:custGeom>
              <a:avLst/>
              <a:gdLst>
                <a:gd name="connsiteX0" fmla="*/ 54833 w 54869"/>
                <a:gd name="connsiteY0" fmla="*/ 51809 h 51809"/>
                <a:gd name="connsiteX1" fmla="*/ 38502 w 54869"/>
                <a:gd name="connsiteY1" fmla="*/ 51809 h 51809"/>
                <a:gd name="connsiteX2" fmla="*/ 32699 w 54869"/>
                <a:gd name="connsiteY2" fmla="*/ 42878 h 51809"/>
                <a:gd name="connsiteX3" fmla="*/ 27342 w 54869"/>
                <a:gd name="connsiteY3" fmla="*/ 34169 h 51809"/>
                <a:gd name="connsiteX4" fmla="*/ 21985 w 54869"/>
                <a:gd name="connsiteY4" fmla="*/ 42878 h 51809"/>
                <a:gd name="connsiteX5" fmla="*/ 15996 w 54869"/>
                <a:gd name="connsiteY5" fmla="*/ 51809 h 51809"/>
                <a:gd name="connsiteX6" fmla="*/ 0 w 54869"/>
                <a:gd name="connsiteY6" fmla="*/ 51809 h 51809"/>
                <a:gd name="connsiteX7" fmla="*/ 18228 w 54869"/>
                <a:gd name="connsiteY7" fmla="*/ 25275 h 51809"/>
                <a:gd name="connsiteX8" fmla="*/ 1265 w 54869"/>
                <a:gd name="connsiteY8" fmla="*/ 0 h 51809"/>
                <a:gd name="connsiteX9" fmla="*/ 17484 w 54869"/>
                <a:gd name="connsiteY9" fmla="*/ 0 h 51809"/>
                <a:gd name="connsiteX10" fmla="*/ 23585 w 54869"/>
                <a:gd name="connsiteY10" fmla="*/ 9450 h 51809"/>
                <a:gd name="connsiteX11" fmla="*/ 27491 w 54869"/>
                <a:gd name="connsiteY11" fmla="*/ 16047 h 51809"/>
                <a:gd name="connsiteX12" fmla="*/ 31508 w 54869"/>
                <a:gd name="connsiteY12" fmla="*/ 9450 h 51809"/>
                <a:gd name="connsiteX13" fmla="*/ 37721 w 54869"/>
                <a:gd name="connsiteY13" fmla="*/ 0 h 51809"/>
                <a:gd name="connsiteX14" fmla="*/ 53605 w 54869"/>
                <a:gd name="connsiteY14" fmla="*/ 0 h 51809"/>
                <a:gd name="connsiteX15" fmla="*/ 36754 w 54869"/>
                <a:gd name="connsiteY15" fmla="*/ 25275 h 51809"/>
                <a:gd name="connsiteX16" fmla="*/ 54870 w 54869"/>
                <a:gd name="connsiteY16" fmla="*/ 51809 h 5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4869" h="51809">
                  <a:moveTo>
                    <a:pt x="54833" y="51809"/>
                  </a:moveTo>
                  <a:lnTo>
                    <a:pt x="38502" y="51809"/>
                  </a:lnTo>
                  <a:lnTo>
                    <a:pt x="32699" y="42878"/>
                  </a:lnTo>
                  <a:lnTo>
                    <a:pt x="27342" y="34169"/>
                  </a:lnTo>
                  <a:lnTo>
                    <a:pt x="21985" y="42878"/>
                  </a:lnTo>
                  <a:lnTo>
                    <a:pt x="15996" y="51809"/>
                  </a:lnTo>
                  <a:lnTo>
                    <a:pt x="0" y="51809"/>
                  </a:lnTo>
                  <a:lnTo>
                    <a:pt x="18228" y="25275"/>
                  </a:lnTo>
                  <a:lnTo>
                    <a:pt x="1265" y="0"/>
                  </a:lnTo>
                  <a:lnTo>
                    <a:pt x="17484" y="0"/>
                  </a:lnTo>
                  <a:lnTo>
                    <a:pt x="23585" y="9450"/>
                  </a:lnTo>
                  <a:lnTo>
                    <a:pt x="27491" y="16047"/>
                  </a:lnTo>
                  <a:lnTo>
                    <a:pt x="31508" y="9450"/>
                  </a:lnTo>
                  <a:lnTo>
                    <a:pt x="37721" y="0"/>
                  </a:lnTo>
                  <a:lnTo>
                    <a:pt x="53605" y="0"/>
                  </a:lnTo>
                  <a:lnTo>
                    <a:pt x="36754" y="25275"/>
                  </a:lnTo>
                  <a:lnTo>
                    <a:pt x="54870" y="51809"/>
                  </a:lnTo>
                  <a:close/>
                </a:path>
              </a:pathLst>
            </a:custGeom>
            <a:grpFill/>
            <a:ln w="0" cap="flat">
              <a:noFill/>
              <a:prstDash val="solid"/>
              <a:miter/>
            </a:ln>
          </p:spPr>
          <p:txBody>
            <a:bodyPr rtlCol="0" anchor="ctr"/>
            <a:lstStyle/>
            <a:p>
              <a:endParaRPr lang="en-BG"/>
            </a:p>
          </p:txBody>
        </p:sp>
        <p:sp>
          <p:nvSpPr>
            <p:cNvPr id="53" name="Freeform 52">
              <a:extLst>
                <a:ext uri="{FF2B5EF4-FFF2-40B4-BE49-F238E27FC236}">
                  <a16:creationId xmlns:a16="http://schemas.microsoft.com/office/drawing/2014/main" id="{FAD37495-DB95-AA44-9E48-F2D0B9255497}"/>
                </a:ext>
              </a:extLst>
            </p:cNvPr>
            <p:cNvSpPr/>
            <p:nvPr/>
          </p:nvSpPr>
          <p:spPr>
            <a:xfrm>
              <a:off x="2348493" y="2351304"/>
              <a:ext cx="48769" cy="54106"/>
            </a:xfrm>
            <a:custGeom>
              <a:avLst/>
              <a:gdLst>
                <a:gd name="connsiteX0" fmla="*/ 0 w 48769"/>
                <a:gd name="connsiteY0" fmla="*/ 27053 h 54106"/>
                <a:gd name="connsiteX1" fmla="*/ 28012 w 48769"/>
                <a:gd name="connsiteY1" fmla="*/ 0 h 54106"/>
                <a:gd name="connsiteX2" fmla="*/ 48025 w 48769"/>
                <a:gd name="connsiteY2" fmla="*/ 8079 h 54106"/>
                <a:gd name="connsiteX3" fmla="*/ 39916 w 48769"/>
                <a:gd name="connsiteY3" fmla="*/ 16788 h 54106"/>
                <a:gd name="connsiteX4" fmla="*/ 28532 w 48769"/>
                <a:gd name="connsiteY4" fmla="*/ 12156 h 54106"/>
                <a:gd name="connsiteX5" fmla="*/ 13913 w 48769"/>
                <a:gd name="connsiteY5" fmla="*/ 27053 h 54106"/>
                <a:gd name="connsiteX6" fmla="*/ 28532 w 48769"/>
                <a:gd name="connsiteY6" fmla="*/ 41951 h 54106"/>
                <a:gd name="connsiteX7" fmla="*/ 40548 w 48769"/>
                <a:gd name="connsiteY7" fmla="*/ 36911 h 54106"/>
                <a:gd name="connsiteX8" fmla="*/ 48769 w 48769"/>
                <a:gd name="connsiteY8" fmla="*/ 45731 h 54106"/>
                <a:gd name="connsiteX9" fmla="*/ 28235 w 48769"/>
                <a:gd name="connsiteY9" fmla="*/ 54107 h 54106"/>
                <a:gd name="connsiteX10" fmla="*/ 0 w 48769"/>
                <a:gd name="connsiteY10" fmla="*/ 27053 h 54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769" h="54106">
                  <a:moveTo>
                    <a:pt x="0" y="27053"/>
                  </a:moveTo>
                  <a:cubicBezTo>
                    <a:pt x="0" y="10895"/>
                    <a:pt x="11272" y="0"/>
                    <a:pt x="28012" y="0"/>
                  </a:cubicBezTo>
                  <a:cubicBezTo>
                    <a:pt x="35712" y="0"/>
                    <a:pt x="42445" y="2742"/>
                    <a:pt x="48025" y="8079"/>
                  </a:cubicBezTo>
                  <a:lnTo>
                    <a:pt x="39916" y="16788"/>
                  </a:lnTo>
                  <a:cubicBezTo>
                    <a:pt x="36977" y="13860"/>
                    <a:pt x="32848" y="12156"/>
                    <a:pt x="28532" y="12156"/>
                  </a:cubicBezTo>
                  <a:cubicBezTo>
                    <a:pt x="19902" y="12156"/>
                    <a:pt x="13913" y="18233"/>
                    <a:pt x="13913" y="27053"/>
                  </a:cubicBezTo>
                  <a:cubicBezTo>
                    <a:pt x="13913" y="35874"/>
                    <a:pt x="19828" y="41951"/>
                    <a:pt x="28532" y="41951"/>
                  </a:cubicBezTo>
                  <a:cubicBezTo>
                    <a:pt x="33182" y="41951"/>
                    <a:pt x="37386" y="40173"/>
                    <a:pt x="40548" y="36911"/>
                  </a:cubicBezTo>
                  <a:lnTo>
                    <a:pt x="48769" y="45731"/>
                  </a:lnTo>
                  <a:cubicBezTo>
                    <a:pt x="42854" y="51402"/>
                    <a:pt x="36233" y="54107"/>
                    <a:pt x="28235" y="54107"/>
                  </a:cubicBezTo>
                  <a:cubicBezTo>
                    <a:pt x="11086" y="54107"/>
                    <a:pt x="0" y="43508"/>
                    <a:pt x="0" y="27053"/>
                  </a:cubicBezTo>
                  <a:close/>
                </a:path>
              </a:pathLst>
            </a:custGeom>
            <a:grpFill/>
            <a:ln w="0" cap="flat">
              <a:noFill/>
              <a:prstDash val="solid"/>
              <a:miter/>
            </a:ln>
          </p:spPr>
          <p:txBody>
            <a:bodyPr rtlCol="0" anchor="ctr"/>
            <a:lstStyle/>
            <a:p>
              <a:endParaRPr lang="en-BG"/>
            </a:p>
          </p:txBody>
        </p:sp>
        <p:sp>
          <p:nvSpPr>
            <p:cNvPr id="54" name="Freeform 53">
              <a:extLst>
                <a:ext uri="{FF2B5EF4-FFF2-40B4-BE49-F238E27FC236}">
                  <a16:creationId xmlns:a16="http://schemas.microsoft.com/office/drawing/2014/main" id="{3B3C73BF-62AD-E14B-ABF7-B8B909BFBA8E}"/>
                </a:ext>
              </a:extLst>
            </p:cNvPr>
            <p:cNvSpPr/>
            <p:nvPr/>
          </p:nvSpPr>
          <p:spPr>
            <a:xfrm>
              <a:off x="2405520" y="2330847"/>
              <a:ext cx="51893" cy="73414"/>
            </a:xfrm>
            <a:custGeom>
              <a:avLst/>
              <a:gdLst>
                <a:gd name="connsiteX0" fmla="*/ 51857 w 51893"/>
                <a:gd name="connsiteY0" fmla="*/ 44471 h 73414"/>
                <a:gd name="connsiteX1" fmla="*/ 51857 w 51893"/>
                <a:gd name="connsiteY1" fmla="*/ 73415 h 73414"/>
                <a:gd name="connsiteX2" fmla="*/ 37870 w 51893"/>
                <a:gd name="connsiteY2" fmla="*/ 73415 h 73414"/>
                <a:gd name="connsiteX3" fmla="*/ 37870 w 51893"/>
                <a:gd name="connsiteY3" fmla="*/ 45324 h 73414"/>
                <a:gd name="connsiteX4" fmla="*/ 26821 w 51893"/>
                <a:gd name="connsiteY4" fmla="*/ 32724 h 73414"/>
                <a:gd name="connsiteX5" fmla="*/ 13987 w 51893"/>
                <a:gd name="connsiteY5" fmla="*/ 46139 h 73414"/>
                <a:gd name="connsiteX6" fmla="*/ 13987 w 51893"/>
                <a:gd name="connsiteY6" fmla="*/ 73415 h 73414"/>
                <a:gd name="connsiteX7" fmla="*/ 0 w 51893"/>
                <a:gd name="connsiteY7" fmla="*/ 73415 h 73414"/>
                <a:gd name="connsiteX8" fmla="*/ 0 w 51893"/>
                <a:gd name="connsiteY8" fmla="*/ 0 h 73414"/>
                <a:gd name="connsiteX9" fmla="*/ 13987 w 51893"/>
                <a:gd name="connsiteY9" fmla="*/ 0 h 73414"/>
                <a:gd name="connsiteX10" fmla="*/ 13987 w 51893"/>
                <a:gd name="connsiteY10" fmla="*/ 27498 h 73414"/>
                <a:gd name="connsiteX11" fmla="*/ 30318 w 51893"/>
                <a:gd name="connsiteY11" fmla="*/ 20568 h 73414"/>
                <a:gd name="connsiteX12" fmla="*/ 51894 w 51893"/>
                <a:gd name="connsiteY12" fmla="*/ 44471 h 7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893" h="73414">
                  <a:moveTo>
                    <a:pt x="51857" y="44471"/>
                  </a:moveTo>
                  <a:lnTo>
                    <a:pt x="51857" y="73415"/>
                  </a:lnTo>
                  <a:lnTo>
                    <a:pt x="37870" y="73415"/>
                  </a:lnTo>
                  <a:lnTo>
                    <a:pt x="37870" y="45324"/>
                  </a:lnTo>
                  <a:cubicBezTo>
                    <a:pt x="37870" y="37356"/>
                    <a:pt x="33778" y="32724"/>
                    <a:pt x="26821" y="32724"/>
                  </a:cubicBezTo>
                  <a:cubicBezTo>
                    <a:pt x="19121" y="32724"/>
                    <a:pt x="13987" y="38171"/>
                    <a:pt x="13987" y="46139"/>
                  </a:cubicBezTo>
                  <a:lnTo>
                    <a:pt x="13987" y="73415"/>
                  </a:lnTo>
                  <a:lnTo>
                    <a:pt x="0" y="73415"/>
                  </a:lnTo>
                  <a:lnTo>
                    <a:pt x="0" y="0"/>
                  </a:lnTo>
                  <a:lnTo>
                    <a:pt x="13987" y="0"/>
                  </a:lnTo>
                  <a:lnTo>
                    <a:pt x="13987" y="27498"/>
                  </a:lnTo>
                  <a:cubicBezTo>
                    <a:pt x="18005" y="22977"/>
                    <a:pt x="23473" y="20568"/>
                    <a:pt x="30318" y="20568"/>
                  </a:cubicBezTo>
                  <a:cubicBezTo>
                    <a:pt x="43598" y="20568"/>
                    <a:pt x="51894" y="29907"/>
                    <a:pt x="51894" y="44471"/>
                  </a:cubicBezTo>
                  <a:close/>
                </a:path>
              </a:pathLst>
            </a:custGeom>
            <a:grpFill/>
            <a:ln w="0" cap="flat">
              <a:noFill/>
              <a:prstDash val="solid"/>
              <a:miter/>
            </a:ln>
          </p:spPr>
          <p:txBody>
            <a:bodyPr rtlCol="0" anchor="ctr"/>
            <a:lstStyle/>
            <a:p>
              <a:endParaRPr lang="en-BG"/>
            </a:p>
          </p:txBody>
        </p:sp>
        <p:sp>
          <p:nvSpPr>
            <p:cNvPr id="55" name="Freeform 54">
              <a:extLst>
                <a:ext uri="{FF2B5EF4-FFF2-40B4-BE49-F238E27FC236}">
                  <a16:creationId xmlns:a16="http://schemas.microsoft.com/office/drawing/2014/main" id="{B5889F5B-516B-B84C-A196-85B2799BD412}"/>
                </a:ext>
              </a:extLst>
            </p:cNvPr>
            <p:cNvSpPr/>
            <p:nvPr/>
          </p:nvSpPr>
          <p:spPr>
            <a:xfrm>
              <a:off x="2467160" y="2351304"/>
              <a:ext cx="56320" cy="54106"/>
            </a:xfrm>
            <a:custGeom>
              <a:avLst/>
              <a:gdLst>
                <a:gd name="connsiteX0" fmla="*/ 56321 w 56320"/>
                <a:gd name="connsiteY0" fmla="*/ 1149 h 54106"/>
                <a:gd name="connsiteX1" fmla="*/ 56321 w 56320"/>
                <a:gd name="connsiteY1" fmla="*/ 52958 h 54106"/>
                <a:gd name="connsiteX2" fmla="*/ 44193 w 56320"/>
                <a:gd name="connsiteY2" fmla="*/ 52958 h 54106"/>
                <a:gd name="connsiteX3" fmla="*/ 43263 w 56320"/>
                <a:gd name="connsiteY3" fmla="*/ 46658 h 54106"/>
                <a:gd name="connsiteX4" fmla="*/ 25259 w 56320"/>
                <a:gd name="connsiteY4" fmla="*/ 54107 h 54106"/>
                <a:gd name="connsiteX5" fmla="*/ 0 w 56320"/>
                <a:gd name="connsiteY5" fmla="*/ 27053 h 54106"/>
                <a:gd name="connsiteX6" fmla="*/ 25259 w 56320"/>
                <a:gd name="connsiteY6" fmla="*/ 0 h 54106"/>
                <a:gd name="connsiteX7" fmla="*/ 43263 w 56320"/>
                <a:gd name="connsiteY7" fmla="*/ 7338 h 54106"/>
                <a:gd name="connsiteX8" fmla="*/ 44193 w 56320"/>
                <a:gd name="connsiteY8" fmla="*/ 1149 h 54106"/>
                <a:gd name="connsiteX9" fmla="*/ 56321 w 56320"/>
                <a:gd name="connsiteY9" fmla="*/ 1149 h 54106"/>
                <a:gd name="connsiteX10" fmla="*/ 42445 w 56320"/>
                <a:gd name="connsiteY10" fmla="*/ 27053 h 54106"/>
                <a:gd name="connsiteX11" fmla="*/ 28123 w 56320"/>
                <a:gd name="connsiteY11" fmla="*/ 12156 h 54106"/>
                <a:gd name="connsiteX12" fmla="*/ 13913 w 56320"/>
                <a:gd name="connsiteY12" fmla="*/ 27053 h 54106"/>
                <a:gd name="connsiteX13" fmla="*/ 28123 w 56320"/>
                <a:gd name="connsiteY13" fmla="*/ 41951 h 54106"/>
                <a:gd name="connsiteX14" fmla="*/ 42445 w 56320"/>
                <a:gd name="connsiteY14" fmla="*/ 27053 h 54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320" h="54106">
                  <a:moveTo>
                    <a:pt x="56321" y="1149"/>
                  </a:moveTo>
                  <a:lnTo>
                    <a:pt x="56321" y="52958"/>
                  </a:lnTo>
                  <a:lnTo>
                    <a:pt x="44193" y="52958"/>
                  </a:lnTo>
                  <a:lnTo>
                    <a:pt x="43263" y="46658"/>
                  </a:lnTo>
                  <a:cubicBezTo>
                    <a:pt x="38948" y="51476"/>
                    <a:pt x="32624" y="54107"/>
                    <a:pt x="25259" y="54107"/>
                  </a:cubicBezTo>
                  <a:cubicBezTo>
                    <a:pt x="10304" y="54107"/>
                    <a:pt x="0" y="42989"/>
                    <a:pt x="0" y="27053"/>
                  </a:cubicBezTo>
                  <a:cubicBezTo>
                    <a:pt x="0" y="11118"/>
                    <a:pt x="10304" y="0"/>
                    <a:pt x="25259" y="0"/>
                  </a:cubicBezTo>
                  <a:cubicBezTo>
                    <a:pt x="32624" y="0"/>
                    <a:pt x="39060" y="2631"/>
                    <a:pt x="43263" y="7338"/>
                  </a:cubicBezTo>
                  <a:lnTo>
                    <a:pt x="44193" y="1149"/>
                  </a:lnTo>
                  <a:lnTo>
                    <a:pt x="56321" y="1149"/>
                  </a:lnTo>
                  <a:close/>
                  <a:moveTo>
                    <a:pt x="42445" y="27053"/>
                  </a:moveTo>
                  <a:cubicBezTo>
                    <a:pt x="42445" y="18344"/>
                    <a:pt x="36568" y="12156"/>
                    <a:pt x="28123" y="12156"/>
                  </a:cubicBezTo>
                  <a:cubicBezTo>
                    <a:pt x="19679" y="12156"/>
                    <a:pt x="13913" y="18344"/>
                    <a:pt x="13913" y="27053"/>
                  </a:cubicBezTo>
                  <a:cubicBezTo>
                    <a:pt x="13913" y="35762"/>
                    <a:pt x="19828" y="41951"/>
                    <a:pt x="28123" y="41951"/>
                  </a:cubicBezTo>
                  <a:cubicBezTo>
                    <a:pt x="36419" y="41951"/>
                    <a:pt x="42445" y="35762"/>
                    <a:pt x="42445" y="27053"/>
                  </a:cubicBezTo>
                  <a:close/>
                </a:path>
              </a:pathLst>
            </a:custGeom>
            <a:grpFill/>
            <a:ln w="0" cap="flat">
              <a:noFill/>
              <a:prstDash val="solid"/>
              <a:miter/>
            </a:ln>
          </p:spPr>
          <p:txBody>
            <a:bodyPr rtlCol="0" anchor="ctr"/>
            <a:lstStyle/>
            <a:p>
              <a:endParaRPr lang="en-BG"/>
            </a:p>
          </p:txBody>
        </p:sp>
        <p:sp>
          <p:nvSpPr>
            <p:cNvPr id="56" name="Freeform 55">
              <a:extLst>
                <a:ext uri="{FF2B5EF4-FFF2-40B4-BE49-F238E27FC236}">
                  <a16:creationId xmlns:a16="http://schemas.microsoft.com/office/drawing/2014/main" id="{60ED1192-3BD1-BA45-A81A-B5E7B9C09B1F}"/>
                </a:ext>
              </a:extLst>
            </p:cNvPr>
            <p:cNvSpPr/>
            <p:nvPr/>
          </p:nvSpPr>
          <p:spPr>
            <a:xfrm>
              <a:off x="2536985" y="2351378"/>
              <a:ext cx="51931" cy="52883"/>
            </a:xfrm>
            <a:custGeom>
              <a:avLst/>
              <a:gdLst>
                <a:gd name="connsiteX0" fmla="*/ 51894 w 51931"/>
                <a:gd name="connsiteY0" fmla="*/ 23940 h 52883"/>
                <a:gd name="connsiteX1" fmla="*/ 51894 w 51931"/>
                <a:gd name="connsiteY1" fmla="*/ 52884 h 52883"/>
                <a:gd name="connsiteX2" fmla="*/ 37907 w 51931"/>
                <a:gd name="connsiteY2" fmla="*/ 52884 h 52883"/>
                <a:gd name="connsiteX3" fmla="*/ 37907 w 51931"/>
                <a:gd name="connsiteY3" fmla="*/ 24793 h 52883"/>
                <a:gd name="connsiteX4" fmla="*/ 26635 w 51931"/>
                <a:gd name="connsiteY4" fmla="*/ 12193 h 52883"/>
                <a:gd name="connsiteX5" fmla="*/ 13987 w 51931"/>
                <a:gd name="connsiteY5" fmla="*/ 25719 h 52883"/>
                <a:gd name="connsiteX6" fmla="*/ 13987 w 51931"/>
                <a:gd name="connsiteY6" fmla="*/ 52884 h 52883"/>
                <a:gd name="connsiteX7" fmla="*/ 0 w 51931"/>
                <a:gd name="connsiteY7" fmla="*/ 52884 h 52883"/>
                <a:gd name="connsiteX8" fmla="*/ 0 w 51931"/>
                <a:gd name="connsiteY8" fmla="*/ 1075 h 52883"/>
                <a:gd name="connsiteX9" fmla="*/ 12090 w 51931"/>
                <a:gd name="connsiteY9" fmla="*/ 1075 h 52883"/>
                <a:gd name="connsiteX10" fmla="*/ 13057 w 51931"/>
                <a:gd name="connsiteY10" fmla="*/ 7041 h 52883"/>
                <a:gd name="connsiteX11" fmla="*/ 30132 w 51931"/>
                <a:gd name="connsiteY11" fmla="*/ 0 h 52883"/>
                <a:gd name="connsiteX12" fmla="*/ 51931 w 51931"/>
                <a:gd name="connsiteY12" fmla="*/ 23903 h 52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931" h="52883">
                  <a:moveTo>
                    <a:pt x="51894" y="23940"/>
                  </a:moveTo>
                  <a:lnTo>
                    <a:pt x="51894" y="52884"/>
                  </a:lnTo>
                  <a:lnTo>
                    <a:pt x="37907" y="52884"/>
                  </a:lnTo>
                  <a:lnTo>
                    <a:pt x="37907" y="24793"/>
                  </a:lnTo>
                  <a:cubicBezTo>
                    <a:pt x="37907" y="16825"/>
                    <a:pt x="33592" y="12193"/>
                    <a:pt x="26635" y="12193"/>
                  </a:cubicBezTo>
                  <a:cubicBezTo>
                    <a:pt x="19046" y="12193"/>
                    <a:pt x="13987" y="17752"/>
                    <a:pt x="13987" y="25719"/>
                  </a:cubicBezTo>
                  <a:lnTo>
                    <a:pt x="13987" y="52884"/>
                  </a:lnTo>
                  <a:lnTo>
                    <a:pt x="0" y="52884"/>
                  </a:lnTo>
                  <a:lnTo>
                    <a:pt x="0" y="1075"/>
                  </a:lnTo>
                  <a:lnTo>
                    <a:pt x="12090" y="1075"/>
                  </a:lnTo>
                  <a:lnTo>
                    <a:pt x="13057" y="7041"/>
                  </a:lnTo>
                  <a:cubicBezTo>
                    <a:pt x="17149" y="2520"/>
                    <a:pt x="23287" y="0"/>
                    <a:pt x="30132" y="0"/>
                  </a:cubicBezTo>
                  <a:cubicBezTo>
                    <a:pt x="43412" y="0"/>
                    <a:pt x="51931" y="9228"/>
                    <a:pt x="51931" y="23903"/>
                  </a:cubicBezTo>
                  <a:close/>
                </a:path>
              </a:pathLst>
            </a:custGeom>
            <a:grpFill/>
            <a:ln w="0" cap="flat">
              <a:noFill/>
              <a:prstDash val="solid"/>
              <a:miter/>
            </a:ln>
          </p:spPr>
          <p:txBody>
            <a:bodyPr rtlCol="0" anchor="ctr"/>
            <a:lstStyle/>
            <a:p>
              <a:endParaRPr lang="en-BG"/>
            </a:p>
          </p:txBody>
        </p:sp>
        <p:sp>
          <p:nvSpPr>
            <p:cNvPr id="57" name="Freeform 56">
              <a:extLst>
                <a:ext uri="{FF2B5EF4-FFF2-40B4-BE49-F238E27FC236}">
                  <a16:creationId xmlns:a16="http://schemas.microsoft.com/office/drawing/2014/main" id="{0ED2D83E-C98E-9941-A325-08EE72A21BDD}"/>
                </a:ext>
              </a:extLst>
            </p:cNvPr>
            <p:cNvSpPr/>
            <p:nvPr/>
          </p:nvSpPr>
          <p:spPr>
            <a:xfrm>
              <a:off x="2598253" y="2346301"/>
              <a:ext cx="57734" cy="88349"/>
            </a:xfrm>
            <a:custGeom>
              <a:avLst/>
              <a:gdLst>
                <a:gd name="connsiteX0" fmla="*/ 44417 w 57734"/>
                <a:gd name="connsiteY0" fmla="*/ 50290 h 88349"/>
                <a:gd name="connsiteX1" fmla="*/ 56321 w 57734"/>
                <a:gd name="connsiteY1" fmla="*/ 66744 h 88349"/>
                <a:gd name="connsiteX2" fmla="*/ 28198 w 57734"/>
                <a:gd name="connsiteY2" fmla="*/ 88350 h 88349"/>
                <a:gd name="connsiteX3" fmla="*/ 521 w 57734"/>
                <a:gd name="connsiteY3" fmla="*/ 64521 h 88349"/>
                <a:gd name="connsiteX4" fmla="*/ 14099 w 57734"/>
                <a:gd name="connsiteY4" fmla="*/ 64521 h 88349"/>
                <a:gd name="connsiteX5" fmla="*/ 28198 w 57734"/>
                <a:gd name="connsiteY5" fmla="*/ 76268 h 88349"/>
                <a:gd name="connsiteX6" fmla="*/ 42110 w 57734"/>
                <a:gd name="connsiteY6" fmla="*/ 66411 h 88349"/>
                <a:gd name="connsiteX7" fmla="*/ 28421 w 57734"/>
                <a:gd name="connsiteY7" fmla="*/ 56960 h 88349"/>
                <a:gd name="connsiteX8" fmla="*/ 0 w 57734"/>
                <a:gd name="connsiteY8" fmla="*/ 30945 h 88349"/>
                <a:gd name="connsiteX9" fmla="*/ 28123 w 57734"/>
                <a:gd name="connsiteY9" fmla="*/ 4818 h 88349"/>
                <a:gd name="connsiteX10" fmla="*/ 41180 w 57734"/>
                <a:gd name="connsiteY10" fmla="*/ 7857 h 88349"/>
                <a:gd name="connsiteX11" fmla="*/ 47616 w 57734"/>
                <a:gd name="connsiteY11" fmla="*/ 0 h 88349"/>
                <a:gd name="connsiteX12" fmla="*/ 57734 w 57734"/>
                <a:gd name="connsiteY12" fmla="*/ 7560 h 88349"/>
                <a:gd name="connsiteX13" fmla="*/ 50666 w 57734"/>
                <a:gd name="connsiteY13" fmla="*/ 15861 h 88349"/>
                <a:gd name="connsiteX14" fmla="*/ 56358 w 57734"/>
                <a:gd name="connsiteY14" fmla="*/ 30982 h 88349"/>
                <a:gd name="connsiteX15" fmla="*/ 44454 w 57734"/>
                <a:gd name="connsiteY15" fmla="*/ 50290 h 88349"/>
                <a:gd name="connsiteX16" fmla="*/ 42520 w 57734"/>
                <a:gd name="connsiteY16" fmla="*/ 30982 h 88349"/>
                <a:gd name="connsiteX17" fmla="*/ 28198 w 57734"/>
                <a:gd name="connsiteY17" fmla="*/ 17047 h 88349"/>
                <a:gd name="connsiteX18" fmla="*/ 13876 w 57734"/>
                <a:gd name="connsiteY18" fmla="*/ 30982 h 88349"/>
                <a:gd name="connsiteX19" fmla="*/ 28198 w 57734"/>
                <a:gd name="connsiteY19" fmla="*/ 44842 h 88349"/>
                <a:gd name="connsiteX20" fmla="*/ 42520 w 57734"/>
                <a:gd name="connsiteY20" fmla="*/ 30982 h 88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7734" h="88349">
                  <a:moveTo>
                    <a:pt x="44417" y="50290"/>
                  </a:moveTo>
                  <a:cubicBezTo>
                    <a:pt x="52006" y="53440"/>
                    <a:pt x="56321" y="59221"/>
                    <a:pt x="56321" y="66744"/>
                  </a:cubicBezTo>
                  <a:cubicBezTo>
                    <a:pt x="56321" y="79863"/>
                    <a:pt x="45272" y="88350"/>
                    <a:pt x="28198" y="88350"/>
                  </a:cubicBezTo>
                  <a:cubicBezTo>
                    <a:pt x="11123" y="88350"/>
                    <a:pt x="-446" y="78714"/>
                    <a:pt x="521" y="64521"/>
                  </a:cubicBezTo>
                  <a:lnTo>
                    <a:pt x="14099" y="64521"/>
                  </a:lnTo>
                  <a:cubicBezTo>
                    <a:pt x="13876" y="71747"/>
                    <a:pt x="19270" y="76268"/>
                    <a:pt x="28198" y="76268"/>
                  </a:cubicBezTo>
                  <a:cubicBezTo>
                    <a:pt x="36530" y="76268"/>
                    <a:pt x="42110" y="72266"/>
                    <a:pt x="42110" y="66411"/>
                  </a:cubicBezTo>
                  <a:cubicBezTo>
                    <a:pt x="42110" y="60555"/>
                    <a:pt x="37051" y="56960"/>
                    <a:pt x="28421" y="56960"/>
                  </a:cubicBezTo>
                  <a:cubicBezTo>
                    <a:pt x="11048" y="56960"/>
                    <a:pt x="0" y="46806"/>
                    <a:pt x="0" y="30945"/>
                  </a:cubicBezTo>
                  <a:cubicBezTo>
                    <a:pt x="0" y="15083"/>
                    <a:pt x="11681" y="4818"/>
                    <a:pt x="28123" y="4818"/>
                  </a:cubicBezTo>
                  <a:cubicBezTo>
                    <a:pt x="32959" y="4818"/>
                    <a:pt x="37498" y="5855"/>
                    <a:pt x="41180" y="7857"/>
                  </a:cubicBezTo>
                  <a:lnTo>
                    <a:pt x="47616" y="0"/>
                  </a:lnTo>
                  <a:lnTo>
                    <a:pt x="57734" y="7560"/>
                  </a:lnTo>
                  <a:lnTo>
                    <a:pt x="50666" y="15861"/>
                  </a:lnTo>
                  <a:cubicBezTo>
                    <a:pt x="54684" y="20494"/>
                    <a:pt x="56358" y="25089"/>
                    <a:pt x="56358" y="30982"/>
                  </a:cubicBezTo>
                  <a:cubicBezTo>
                    <a:pt x="56358" y="39468"/>
                    <a:pt x="52154" y="46287"/>
                    <a:pt x="44454" y="50290"/>
                  </a:cubicBezTo>
                  <a:close/>
                  <a:moveTo>
                    <a:pt x="42520" y="30982"/>
                  </a:moveTo>
                  <a:cubicBezTo>
                    <a:pt x="42520" y="22606"/>
                    <a:pt x="36828" y="17047"/>
                    <a:pt x="28198" y="17047"/>
                  </a:cubicBezTo>
                  <a:cubicBezTo>
                    <a:pt x="19567" y="17047"/>
                    <a:pt x="13876" y="22606"/>
                    <a:pt x="13876" y="30982"/>
                  </a:cubicBezTo>
                  <a:cubicBezTo>
                    <a:pt x="13876" y="39357"/>
                    <a:pt x="19679" y="44842"/>
                    <a:pt x="28198" y="44842"/>
                  </a:cubicBezTo>
                  <a:cubicBezTo>
                    <a:pt x="36716" y="44842"/>
                    <a:pt x="42520" y="39172"/>
                    <a:pt x="42520" y="30982"/>
                  </a:cubicBezTo>
                  <a:close/>
                </a:path>
              </a:pathLst>
            </a:custGeom>
            <a:grpFill/>
            <a:ln w="0" cap="flat">
              <a:noFill/>
              <a:prstDash val="solid"/>
              <a:miter/>
            </a:ln>
          </p:spPr>
          <p:txBody>
            <a:bodyPr rtlCol="0" anchor="ctr"/>
            <a:lstStyle/>
            <a:p>
              <a:endParaRPr lang="en-BG"/>
            </a:p>
          </p:txBody>
        </p:sp>
        <p:sp>
          <p:nvSpPr>
            <p:cNvPr id="58" name="Freeform 57">
              <a:extLst>
                <a:ext uri="{FF2B5EF4-FFF2-40B4-BE49-F238E27FC236}">
                  <a16:creationId xmlns:a16="http://schemas.microsoft.com/office/drawing/2014/main" id="{CEF775C3-020F-304D-91B1-31F08EA69A3E}"/>
                </a:ext>
              </a:extLst>
            </p:cNvPr>
            <p:cNvSpPr/>
            <p:nvPr/>
          </p:nvSpPr>
          <p:spPr>
            <a:xfrm>
              <a:off x="2662497" y="2351415"/>
              <a:ext cx="54666" cy="54218"/>
            </a:xfrm>
            <a:custGeom>
              <a:avLst/>
              <a:gdLst>
                <a:gd name="connsiteX0" fmla="*/ 54312 w 54666"/>
                <a:gd name="connsiteY0" fmla="*/ 31538 h 54218"/>
                <a:gd name="connsiteX1" fmla="*/ 14210 w 54666"/>
                <a:gd name="connsiteY1" fmla="*/ 31538 h 54218"/>
                <a:gd name="connsiteX2" fmla="*/ 29276 w 54666"/>
                <a:gd name="connsiteY2" fmla="*/ 42359 h 54218"/>
                <a:gd name="connsiteX3" fmla="*/ 43822 w 54666"/>
                <a:gd name="connsiteY3" fmla="*/ 37430 h 54218"/>
                <a:gd name="connsiteX4" fmla="*/ 51596 w 54666"/>
                <a:gd name="connsiteY4" fmla="*/ 45398 h 54218"/>
                <a:gd name="connsiteX5" fmla="*/ 28756 w 54666"/>
                <a:gd name="connsiteY5" fmla="*/ 54218 h 54218"/>
                <a:gd name="connsiteX6" fmla="*/ 0 w 54666"/>
                <a:gd name="connsiteY6" fmla="*/ 27053 h 54218"/>
                <a:gd name="connsiteX7" fmla="*/ 27379 w 54666"/>
                <a:gd name="connsiteY7" fmla="*/ 0 h 54218"/>
                <a:gd name="connsiteX8" fmla="*/ 54349 w 54666"/>
                <a:gd name="connsiteY8" fmla="*/ 31575 h 54218"/>
                <a:gd name="connsiteX9" fmla="*/ 14396 w 54666"/>
                <a:gd name="connsiteY9" fmla="*/ 22310 h 54218"/>
                <a:gd name="connsiteX10" fmla="*/ 41143 w 54666"/>
                <a:gd name="connsiteY10" fmla="*/ 22310 h 54218"/>
                <a:gd name="connsiteX11" fmla="*/ 27788 w 54666"/>
                <a:gd name="connsiteY11" fmla="*/ 11414 h 54218"/>
                <a:gd name="connsiteX12" fmla="*/ 14434 w 54666"/>
                <a:gd name="connsiteY12" fmla="*/ 22310 h 54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666" h="54218">
                  <a:moveTo>
                    <a:pt x="54312" y="31538"/>
                  </a:moveTo>
                  <a:lnTo>
                    <a:pt x="14210" y="31538"/>
                  </a:lnTo>
                  <a:cubicBezTo>
                    <a:pt x="15140" y="38023"/>
                    <a:pt x="20832" y="42359"/>
                    <a:pt x="29276" y="42359"/>
                  </a:cubicBezTo>
                  <a:cubicBezTo>
                    <a:pt x="34856" y="42359"/>
                    <a:pt x="40436" y="40469"/>
                    <a:pt x="43822" y="37430"/>
                  </a:cubicBezTo>
                  <a:lnTo>
                    <a:pt x="51596" y="45398"/>
                  </a:lnTo>
                  <a:cubicBezTo>
                    <a:pt x="46128" y="50957"/>
                    <a:pt x="37795" y="54218"/>
                    <a:pt x="28756" y="54218"/>
                  </a:cubicBezTo>
                  <a:cubicBezTo>
                    <a:pt x="11160" y="54218"/>
                    <a:pt x="0" y="43619"/>
                    <a:pt x="0" y="27053"/>
                  </a:cubicBezTo>
                  <a:cubicBezTo>
                    <a:pt x="0" y="10488"/>
                    <a:pt x="11048" y="0"/>
                    <a:pt x="27379" y="0"/>
                  </a:cubicBezTo>
                  <a:cubicBezTo>
                    <a:pt x="46240" y="0"/>
                    <a:pt x="56656" y="12378"/>
                    <a:pt x="54349" y="31575"/>
                  </a:cubicBezTo>
                  <a:close/>
                  <a:moveTo>
                    <a:pt x="14396" y="22310"/>
                  </a:moveTo>
                  <a:lnTo>
                    <a:pt x="41143" y="22310"/>
                  </a:lnTo>
                  <a:cubicBezTo>
                    <a:pt x="40622" y="15602"/>
                    <a:pt x="35563" y="11414"/>
                    <a:pt x="27788" y="11414"/>
                  </a:cubicBezTo>
                  <a:cubicBezTo>
                    <a:pt x="20423" y="11414"/>
                    <a:pt x="15475" y="15417"/>
                    <a:pt x="14434" y="22310"/>
                  </a:cubicBezTo>
                  <a:close/>
                </a:path>
              </a:pathLst>
            </a:custGeom>
            <a:grpFill/>
            <a:ln w="0" cap="flat">
              <a:noFill/>
              <a:prstDash val="solid"/>
              <a:miter/>
            </a:ln>
          </p:spPr>
          <p:txBody>
            <a:bodyPr rtlCol="0" anchor="ctr"/>
            <a:lstStyle/>
            <a:p>
              <a:endParaRPr lang="en-BG"/>
            </a:p>
          </p:txBody>
        </p:sp>
      </p:grpSp>
    </p:spTree>
    <p:extLst>
      <p:ext uri="{BB962C8B-B14F-4D97-AF65-F5344CB8AC3E}">
        <p14:creationId xmlns:p14="http://schemas.microsoft.com/office/powerpoint/2010/main" val="22484563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77692D7-524A-1040-BB9B-D5757311F13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64513683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4A7AB7A-5E0F-254E-94EF-F949448F0B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9423806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A16935E-F542-7948-8504-71A0486A20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7015799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6F7AF3-DCA1-AA48-AD2C-D6878FA90F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5021123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0C4A4B3-6E2E-5C48-9946-A65FA19324F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4335613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2C05384-CA6E-2648-9E23-BDD7DF2FD6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33315508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02196FA-63B0-1A4A-95DE-CCF9175CA3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36656730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A7E7562-DE0F-F84B-86E9-CE34FE036F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58772452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41406B4-DCAE-3540-99EC-8B4C7EBB774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6923509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9B08E95-4795-AA4A-BAEB-D1467529662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9371479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7F07D95-92F6-B744-90AC-451A0EE583AC}"/>
              </a:ext>
            </a:extLst>
          </p:cNvPr>
          <p:cNvSpPr txBox="1">
            <a:spLocks/>
          </p:cNvSpPr>
          <p:nvPr/>
        </p:nvSpPr>
        <p:spPr>
          <a:xfrm>
            <a:off x="2978622" y="282889"/>
            <a:ext cx="4731993" cy="2492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400" b="1" i="0" kern="1200">
                <a:solidFill>
                  <a:schemeClr val="tx1"/>
                </a:solidFill>
                <a:latin typeface="Bebas Neue Bold" pitchFamily="2" charset="77"/>
                <a:ea typeface="+mj-ea"/>
                <a:cs typeface="+mj-cs"/>
              </a:defRPr>
            </a:lvl1pPr>
          </a:lstStyle>
          <a:p>
            <a:r>
              <a:rPr lang="en-GB" sz="1800" b="0" dirty="0">
                <a:solidFill>
                  <a:schemeClr val="accent3"/>
                </a:solidFill>
                <a:latin typeface="Montserrat" pitchFamily="2" charset="77"/>
              </a:rPr>
              <a:t>Bulgarian Stock Exchange Group</a:t>
            </a:r>
          </a:p>
        </p:txBody>
      </p:sp>
      <p:sp>
        <p:nvSpPr>
          <p:cNvPr id="87" name="Rectangle 86">
            <a:extLst>
              <a:ext uri="{FF2B5EF4-FFF2-40B4-BE49-F238E27FC236}">
                <a16:creationId xmlns:a16="http://schemas.microsoft.com/office/drawing/2014/main" id="{013638E7-9819-0D48-AC05-D771CD796501}"/>
              </a:ext>
            </a:extLst>
          </p:cNvPr>
          <p:cNvSpPr/>
          <p:nvPr/>
        </p:nvSpPr>
        <p:spPr>
          <a:xfrm>
            <a:off x="4263044" y="1574247"/>
            <a:ext cx="3665913" cy="72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200" b="1" dirty="0">
                <a:solidFill>
                  <a:schemeClr val="bg1"/>
                </a:solidFill>
                <a:latin typeface="Montserrat SemiBold" pitchFamily="2" charset="77"/>
              </a:rPr>
              <a:t>Bulgarian Stock Exchange Group</a:t>
            </a:r>
          </a:p>
        </p:txBody>
      </p:sp>
      <p:sp>
        <p:nvSpPr>
          <p:cNvPr id="88" name="Rectangle 87">
            <a:extLst>
              <a:ext uri="{FF2B5EF4-FFF2-40B4-BE49-F238E27FC236}">
                <a16:creationId xmlns:a16="http://schemas.microsoft.com/office/drawing/2014/main" id="{A8F0982B-A730-D44D-8BD0-25B7022C20A3}"/>
              </a:ext>
            </a:extLst>
          </p:cNvPr>
          <p:cNvSpPr/>
          <p:nvPr/>
        </p:nvSpPr>
        <p:spPr>
          <a:xfrm>
            <a:off x="439328" y="3156307"/>
            <a:ext cx="3665913" cy="720000"/>
          </a:xfrm>
          <a:prstGeom prst="rect">
            <a:avLst/>
          </a:prstGeom>
          <a:solidFill>
            <a:schemeClr val="accent5">
              <a:lumMod val="20000"/>
              <a:lumOff val="8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600" dirty="0">
                <a:solidFill>
                  <a:sysClr val="windowText" lastClr="000000"/>
                </a:solidFill>
                <a:latin typeface="Montserrat" pitchFamily="2" charset="77"/>
              </a:rPr>
              <a:t>Subsidiaries</a:t>
            </a:r>
          </a:p>
        </p:txBody>
      </p:sp>
      <p:sp>
        <p:nvSpPr>
          <p:cNvPr id="96" name="Rectangle 95">
            <a:extLst>
              <a:ext uri="{FF2B5EF4-FFF2-40B4-BE49-F238E27FC236}">
                <a16:creationId xmlns:a16="http://schemas.microsoft.com/office/drawing/2014/main" id="{71DFBB10-FF14-524E-AEB9-91BB72C7C56D}"/>
              </a:ext>
            </a:extLst>
          </p:cNvPr>
          <p:cNvSpPr/>
          <p:nvPr/>
        </p:nvSpPr>
        <p:spPr>
          <a:xfrm>
            <a:off x="791824" y="4094320"/>
            <a:ext cx="3313418" cy="7200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000" b="1" dirty="0">
                <a:solidFill>
                  <a:sysClr val="windowText" lastClr="000000"/>
                </a:solidFill>
                <a:latin typeface="Montserrat SemiBold" pitchFamily="2" charset="77"/>
              </a:rPr>
              <a:t>Independent Bulgarian Energy Exchange</a:t>
            </a:r>
            <a:r>
              <a:rPr lang="bg-BG" sz="1000" b="1" dirty="0">
                <a:solidFill>
                  <a:sysClr val="windowText" lastClr="000000"/>
                </a:solidFill>
                <a:latin typeface="Montserrat SemiBold" pitchFamily="2" charset="77"/>
              </a:rPr>
              <a:t> </a:t>
            </a:r>
            <a:br>
              <a:rPr lang="bg-BG" sz="1000" dirty="0">
                <a:solidFill>
                  <a:sysClr val="windowText" lastClr="000000"/>
                </a:solidFill>
                <a:latin typeface="Montserrat" pitchFamily="2" charset="77"/>
              </a:rPr>
            </a:br>
            <a:r>
              <a:rPr lang="bg-BG" sz="1000" dirty="0">
                <a:solidFill>
                  <a:sysClr val="windowText" lastClr="000000"/>
                </a:solidFill>
                <a:latin typeface="Montserrat" pitchFamily="2" charset="77"/>
              </a:rPr>
              <a:t>100% </a:t>
            </a:r>
            <a:r>
              <a:rPr lang="en-US" sz="1000" dirty="0">
                <a:solidFill>
                  <a:sysClr val="windowText" lastClr="000000"/>
                </a:solidFill>
                <a:latin typeface="Montserrat" pitchFamily="2" charset="77"/>
              </a:rPr>
              <a:t>BSE</a:t>
            </a:r>
            <a:endParaRPr lang="en-GB" sz="1000" dirty="0">
              <a:solidFill>
                <a:sysClr val="windowText" lastClr="000000"/>
              </a:solidFill>
              <a:latin typeface="Montserrat" pitchFamily="2" charset="77"/>
            </a:endParaRPr>
          </a:p>
        </p:txBody>
      </p:sp>
      <p:cxnSp>
        <p:nvCxnSpPr>
          <p:cNvPr id="97" name="Elbow Connector 96">
            <a:extLst>
              <a:ext uri="{FF2B5EF4-FFF2-40B4-BE49-F238E27FC236}">
                <a16:creationId xmlns:a16="http://schemas.microsoft.com/office/drawing/2014/main" id="{AB232F5E-851D-2E45-B336-0C3680FE934D}"/>
              </a:ext>
            </a:extLst>
          </p:cNvPr>
          <p:cNvCxnSpPr>
            <a:cxnSpLocks/>
            <a:endCxn id="96" idx="1"/>
          </p:cNvCxnSpPr>
          <p:nvPr/>
        </p:nvCxnSpPr>
        <p:spPr>
          <a:xfrm rot="16200000" flipH="1">
            <a:off x="391251" y="4053746"/>
            <a:ext cx="573745" cy="227402"/>
          </a:xfrm>
          <a:prstGeom prst="bentConnector2">
            <a:avLst/>
          </a:prstGeom>
          <a:ln>
            <a:solidFill>
              <a:schemeClr val="tx2">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66098785-2A44-D548-B31B-B5F07D51E876}"/>
              </a:ext>
            </a:extLst>
          </p:cNvPr>
          <p:cNvSpPr/>
          <p:nvPr/>
        </p:nvSpPr>
        <p:spPr>
          <a:xfrm>
            <a:off x="791824" y="5038283"/>
            <a:ext cx="3313418" cy="7200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000" b="1" dirty="0">
                <a:solidFill>
                  <a:sysClr val="windowText" lastClr="000000"/>
                </a:solidFill>
                <a:latin typeface="Montserrat SemiBold" pitchFamily="2" charset="77"/>
              </a:rPr>
              <a:t>Financial Market Services EOOD</a:t>
            </a:r>
            <a:br>
              <a:rPr lang="bg-BG" sz="1000" dirty="0">
                <a:solidFill>
                  <a:sysClr val="windowText" lastClr="000000"/>
                </a:solidFill>
                <a:latin typeface="Montserrat" pitchFamily="2" charset="77"/>
              </a:rPr>
            </a:br>
            <a:r>
              <a:rPr lang="bg-BG" sz="1000" dirty="0">
                <a:solidFill>
                  <a:sysClr val="windowText" lastClr="000000"/>
                </a:solidFill>
                <a:latin typeface="Montserrat" pitchFamily="2" charset="77"/>
              </a:rPr>
              <a:t>100% </a:t>
            </a:r>
            <a:r>
              <a:rPr lang="en-US" sz="1000" dirty="0">
                <a:solidFill>
                  <a:sysClr val="windowText" lastClr="000000"/>
                </a:solidFill>
                <a:latin typeface="Montserrat" pitchFamily="2" charset="77"/>
              </a:rPr>
              <a:t>BSE</a:t>
            </a:r>
            <a:endParaRPr lang="en-GB" sz="1000" dirty="0">
              <a:solidFill>
                <a:sysClr val="windowText" lastClr="000000"/>
              </a:solidFill>
              <a:latin typeface="Montserrat" pitchFamily="2" charset="77"/>
            </a:endParaRPr>
          </a:p>
        </p:txBody>
      </p:sp>
      <p:cxnSp>
        <p:nvCxnSpPr>
          <p:cNvPr id="106" name="Elbow Connector 105">
            <a:extLst>
              <a:ext uri="{FF2B5EF4-FFF2-40B4-BE49-F238E27FC236}">
                <a16:creationId xmlns:a16="http://schemas.microsoft.com/office/drawing/2014/main" id="{3B8DF944-F813-9A49-B093-D58B97640BA6}"/>
              </a:ext>
            </a:extLst>
          </p:cNvPr>
          <p:cNvCxnSpPr>
            <a:cxnSpLocks/>
            <a:endCxn id="105" idx="1"/>
          </p:cNvCxnSpPr>
          <p:nvPr/>
        </p:nvCxnSpPr>
        <p:spPr>
          <a:xfrm rot="16200000" flipH="1">
            <a:off x="206141" y="4812599"/>
            <a:ext cx="943965" cy="227402"/>
          </a:xfrm>
          <a:prstGeom prst="bentConnector2">
            <a:avLst/>
          </a:prstGeom>
          <a:ln>
            <a:solidFill>
              <a:schemeClr val="tx2">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0" name="Rectangle 109">
            <a:extLst>
              <a:ext uri="{FF2B5EF4-FFF2-40B4-BE49-F238E27FC236}">
                <a16:creationId xmlns:a16="http://schemas.microsoft.com/office/drawing/2014/main" id="{233B1BAA-9FCF-9F4E-90D9-34D62D998381}"/>
              </a:ext>
            </a:extLst>
          </p:cNvPr>
          <p:cNvSpPr/>
          <p:nvPr/>
        </p:nvSpPr>
        <p:spPr>
          <a:xfrm>
            <a:off x="4263043" y="3156306"/>
            <a:ext cx="3665913" cy="720000"/>
          </a:xfrm>
          <a:prstGeom prst="rect">
            <a:avLst/>
          </a:prstGeom>
          <a:solidFill>
            <a:schemeClr val="accent6">
              <a:lumMod val="20000"/>
              <a:lumOff val="8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600" dirty="0">
                <a:solidFill>
                  <a:sysClr val="windowText" lastClr="000000"/>
                </a:solidFill>
                <a:latin typeface="Montserrat" pitchFamily="2" charset="77"/>
              </a:rPr>
              <a:t>Associates</a:t>
            </a:r>
          </a:p>
        </p:txBody>
      </p:sp>
      <p:sp>
        <p:nvSpPr>
          <p:cNvPr id="111" name="Rectangle 110">
            <a:extLst>
              <a:ext uri="{FF2B5EF4-FFF2-40B4-BE49-F238E27FC236}">
                <a16:creationId xmlns:a16="http://schemas.microsoft.com/office/drawing/2014/main" id="{44F08A55-9119-0443-98C0-9D8DE3C6AFB9}"/>
              </a:ext>
            </a:extLst>
          </p:cNvPr>
          <p:cNvSpPr/>
          <p:nvPr/>
        </p:nvSpPr>
        <p:spPr>
          <a:xfrm>
            <a:off x="4615539" y="4094319"/>
            <a:ext cx="3313418" cy="7200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000" b="1" dirty="0">
              <a:solidFill>
                <a:sysClr val="windowText" lastClr="000000"/>
              </a:solidFill>
              <a:latin typeface="Montserrat SemiBold" pitchFamily="2" charset="77"/>
            </a:endParaRPr>
          </a:p>
          <a:p>
            <a:pPr algn="ctr"/>
            <a:r>
              <a:rPr lang="en-GB" sz="1000" b="1" dirty="0" err="1">
                <a:solidFill>
                  <a:sysClr val="windowText" lastClr="000000"/>
                </a:solidFill>
                <a:latin typeface="Montserrat SemiBold" pitchFamily="2" charset="77"/>
              </a:rPr>
              <a:t>ClearEX</a:t>
            </a:r>
            <a:r>
              <a:rPr lang="en-GB" sz="1000" b="1" dirty="0">
                <a:solidFill>
                  <a:sysClr val="windowText" lastClr="000000"/>
                </a:solidFill>
                <a:latin typeface="Montserrat SemiBold" pitchFamily="2" charset="77"/>
              </a:rPr>
              <a:t> AD</a:t>
            </a:r>
            <a:br>
              <a:rPr lang="bg-BG" sz="1000" dirty="0">
                <a:solidFill>
                  <a:sysClr val="windowText" lastClr="000000"/>
                </a:solidFill>
                <a:latin typeface="Montserrat" pitchFamily="2" charset="77"/>
              </a:rPr>
            </a:br>
            <a:r>
              <a:rPr lang="en-GB" sz="1000" dirty="0">
                <a:solidFill>
                  <a:sysClr val="windowText" lastClr="000000"/>
                </a:solidFill>
                <a:latin typeface="Montserrat" pitchFamily="2" charset="77"/>
              </a:rPr>
              <a:t>40% BSE / 60% CSD</a:t>
            </a:r>
          </a:p>
          <a:p>
            <a:pPr algn="ctr"/>
            <a:endParaRPr lang="en-GB" sz="1000" dirty="0">
              <a:solidFill>
                <a:sysClr val="windowText" lastClr="000000"/>
              </a:solidFill>
              <a:latin typeface="Montserrat" pitchFamily="2" charset="77"/>
            </a:endParaRPr>
          </a:p>
        </p:txBody>
      </p:sp>
      <p:sp>
        <p:nvSpPr>
          <p:cNvPr id="112" name="Rectangle 111">
            <a:extLst>
              <a:ext uri="{FF2B5EF4-FFF2-40B4-BE49-F238E27FC236}">
                <a16:creationId xmlns:a16="http://schemas.microsoft.com/office/drawing/2014/main" id="{E3A85E77-90BA-6243-8EA8-87E6B4ECE77B}"/>
              </a:ext>
            </a:extLst>
          </p:cNvPr>
          <p:cNvSpPr/>
          <p:nvPr/>
        </p:nvSpPr>
        <p:spPr>
          <a:xfrm>
            <a:off x="4615539" y="5038282"/>
            <a:ext cx="3313418" cy="7200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000" b="1" dirty="0">
              <a:solidFill>
                <a:sysClr val="windowText" lastClr="000000"/>
              </a:solidFill>
              <a:latin typeface="Montserrat SemiBold" pitchFamily="2" charset="77"/>
            </a:endParaRPr>
          </a:p>
          <a:p>
            <a:pPr algn="ctr"/>
            <a:r>
              <a:rPr lang="en-GB" sz="1000" b="1" dirty="0">
                <a:solidFill>
                  <a:sysClr val="windowText" lastClr="000000"/>
                </a:solidFill>
                <a:latin typeface="Montserrat SemiBold" pitchFamily="2" charset="77"/>
              </a:rPr>
              <a:t>BD Consults AD</a:t>
            </a:r>
            <a:br>
              <a:rPr lang="bg-BG" sz="1000" dirty="0">
                <a:solidFill>
                  <a:sysClr val="windowText" lastClr="000000"/>
                </a:solidFill>
                <a:latin typeface="Montserrat" pitchFamily="2" charset="77"/>
              </a:rPr>
            </a:br>
            <a:r>
              <a:rPr lang="en-US" sz="1000" dirty="0">
                <a:solidFill>
                  <a:sysClr val="windowText" lastClr="000000"/>
                </a:solidFill>
                <a:latin typeface="Montserrat" pitchFamily="2" charset="77"/>
              </a:rPr>
              <a:t>42.50% CSD </a:t>
            </a:r>
          </a:p>
          <a:p>
            <a:pPr algn="ctr"/>
            <a:r>
              <a:rPr lang="en-US" sz="1000" dirty="0">
                <a:solidFill>
                  <a:sysClr val="windowText" lastClr="000000"/>
                </a:solidFill>
                <a:latin typeface="Montserrat" pitchFamily="2" charset="77"/>
              </a:rPr>
              <a:t>33 % Clear EX AD </a:t>
            </a:r>
          </a:p>
          <a:p>
            <a:pPr algn="ctr"/>
            <a:r>
              <a:rPr lang="en-US" sz="1000" dirty="0">
                <a:solidFill>
                  <a:sysClr val="windowText" lastClr="000000"/>
                </a:solidFill>
                <a:latin typeface="Montserrat" pitchFamily="2" charset="77"/>
              </a:rPr>
              <a:t>24.50% BSE</a:t>
            </a:r>
          </a:p>
          <a:p>
            <a:pPr algn="ctr"/>
            <a:endParaRPr lang="en-GB" sz="1000" dirty="0">
              <a:solidFill>
                <a:sysClr val="windowText" lastClr="000000"/>
              </a:solidFill>
              <a:latin typeface="Montserrat" pitchFamily="2" charset="77"/>
            </a:endParaRPr>
          </a:p>
        </p:txBody>
      </p:sp>
      <p:cxnSp>
        <p:nvCxnSpPr>
          <p:cNvPr id="113" name="Elbow Connector 112">
            <a:extLst>
              <a:ext uri="{FF2B5EF4-FFF2-40B4-BE49-F238E27FC236}">
                <a16:creationId xmlns:a16="http://schemas.microsoft.com/office/drawing/2014/main" id="{3210F0CE-0F10-AB40-A712-03FD1E876FE6}"/>
              </a:ext>
            </a:extLst>
          </p:cNvPr>
          <p:cNvCxnSpPr>
            <a:cxnSpLocks/>
            <a:endCxn id="111" idx="1"/>
          </p:cNvCxnSpPr>
          <p:nvPr/>
        </p:nvCxnSpPr>
        <p:spPr>
          <a:xfrm rot="16200000" flipH="1">
            <a:off x="4209854" y="4048634"/>
            <a:ext cx="583964" cy="227406"/>
          </a:xfrm>
          <a:prstGeom prst="bentConnector2">
            <a:avLst/>
          </a:prstGeom>
          <a:ln>
            <a:solidFill>
              <a:schemeClr val="tx2">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Elbow Connector 115">
            <a:extLst>
              <a:ext uri="{FF2B5EF4-FFF2-40B4-BE49-F238E27FC236}">
                <a16:creationId xmlns:a16="http://schemas.microsoft.com/office/drawing/2014/main" id="{30FA8CD5-A847-B744-B74C-B61D560F46F5}"/>
              </a:ext>
            </a:extLst>
          </p:cNvPr>
          <p:cNvCxnSpPr>
            <a:cxnSpLocks/>
            <a:endCxn id="112" idx="1"/>
          </p:cNvCxnSpPr>
          <p:nvPr/>
        </p:nvCxnSpPr>
        <p:spPr>
          <a:xfrm rot="16200000" flipH="1">
            <a:off x="4029854" y="4812596"/>
            <a:ext cx="943965" cy="227406"/>
          </a:xfrm>
          <a:prstGeom prst="bentConnector2">
            <a:avLst/>
          </a:prstGeom>
          <a:ln>
            <a:solidFill>
              <a:schemeClr val="tx2">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id="{6D5BE462-260E-CA40-9E38-3BAD00366B28}"/>
              </a:ext>
            </a:extLst>
          </p:cNvPr>
          <p:cNvSpPr/>
          <p:nvPr/>
        </p:nvSpPr>
        <p:spPr>
          <a:xfrm>
            <a:off x="8086759" y="3156306"/>
            <a:ext cx="3665913" cy="720000"/>
          </a:xfrm>
          <a:prstGeom prst="rect">
            <a:avLst/>
          </a:prstGeom>
          <a:solidFill>
            <a:schemeClr val="accent3">
              <a:lumMod val="40000"/>
              <a:lumOff val="6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600" dirty="0">
                <a:solidFill>
                  <a:sysClr val="windowText" lastClr="000000"/>
                </a:solidFill>
                <a:latin typeface="Montserrat" pitchFamily="2" charset="77"/>
              </a:rPr>
              <a:t>Joint ventures</a:t>
            </a:r>
          </a:p>
        </p:txBody>
      </p:sp>
      <p:sp>
        <p:nvSpPr>
          <p:cNvPr id="124" name="Rectangle 123">
            <a:extLst>
              <a:ext uri="{FF2B5EF4-FFF2-40B4-BE49-F238E27FC236}">
                <a16:creationId xmlns:a16="http://schemas.microsoft.com/office/drawing/2014/main" id="{CDD233B1-3861-5140-9614-667876AACFD2}"/>
              </a:ext>
            </a:extLst>
          </p:cNvPr>
          <p:cNvSpPr/>
          <p:nvPr/>
        </p:nvSpPr>
        <p:spPr>
          <a:xfrm>
            <a:off x="8439255" y="4094319"/>
            <a:ext cx="3313418" cy="7200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000" b="1" dirty="0">
                <a:solidFill>
                  <a:sysClr val="windowText" lastClr="000000"/>
                </a:solidFill>
                <a:latin typeface="Montserrat SemiBold" pitchFamily="2" charset="77"/>
              </a:rPr>
              <a:t>SEE Link AD</a:t>
            </a:r>
            <a:r>
              <a:rPr lang="bg-BG" sz="1000" b="1" dirty="0">
                <a:solidFill>
                  <a:sysClr val="windowText" lastClr="000000"/>
                </a:solidFill>
                <a:latin typeface="Montserrat SemiBold" pitchFamily="2" charset="77"/>
              </a:rPr>
              <a:t>, </a:t>
            </a:r>
            <a:r>
              <a:rPr lang="en-GB" sz="1000" b="1" dirty="0">
                <a:solidFill>
                  <a:sysClr val="windowText" lastClr="000000"/>
                </a:solidFill>
                <a:latin typeface="Montserrat SemiBold" pitchFamily="2" charset="77"/>
              </a:rPr>
              <a:t>Skopje</a:t>
            </a:r>
            <a:br>
              <a:rPr lang="bg-BG" sz="1000" dirty="0">
                <a:solidFill>
                  <a:sysClr val="windowText" lastClr="000000"/>
                </a:solidFill>
                <a:latin typeface="Montserrat" pitchFamily="2" charset="77"/>
              </a:rPr>
            </a:br>
            <a:r>
              <a:rPr lang="bg-BG" sz="1000" dirty="0">
                <a:solidFill>
                  <a:sysClr val="windowText" lastClr="000000"/>
                </a:solidFill>
                <a:latin typeface="Montserrat" pitchFamily="2" charset="77"/>
              </a:rPr>
              <a:t>33.33% </a:t>
            </a:r>
            <a:r>
              <a:rPr lang="en-GB" sz="1000" dirty="0">
                <a:solidFill>
                  <a:sysClr val="windowText" lastClr="000000"/>
                </a:solidFill>
                <a:latin typeface="Montserrat" pitchFamily="2" charset="77"/>
              </a:rPr>
              <a:t>BSE</a:t>
            </a:r>
          </a:p>
        </p:txBody>
      </p:sp>
      <p:sp>
        <p:nvSpPr>
          <p:cNvPr id="125" name="Rectangle 124">
            <a:extLst>
              <a:ext uri="{FF2B5EF4-FFF2-40B4-BE49-F238E27FC236}">
                <a16:creationId xmlns:a16="http://schemas.microsoft.com/office/drawing/2014/main" id="{9BBC49FB-3B1D-094D-8A61-84D1057F1A7F}"/>
              </a:ext>
            </a:extLst>
          </p:cNvPr>
          <p:cNvSpPr/>
          <p:nvPr/>
        </p:nvSpPr>
        <p:spPr>
          <a:xfrm>
            <a:off x="8439255" y="5038282"/>
            <a:ext cx="3313418" cy="7200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000" b="1" dirty="0">
                <a:solidFill>
                  <a:sysClr val="windowText" lastClr="000000"/>
                </a:solidFill>
                <a:latin typeface="Montserrat SemiBold" pitchFamily="2" charset="77"/>
              </a:rPr>
              <a:t>Collective Financing AD</a:t>
            </a:r>
            <a:br>
              <a:rPr lang="bg-BG" sz="1000" dirty="0">
                <a:solidFill>
                  <a:sysClr val="windowText" lastClr="000000"/>
                </a:solidFill>
                <a:latin typeface="Montserrat" pitchFamily="2" charset="77"/>
              </a:rPr>
            </a:br>
            <a:r>
              <a:rPr lang="en-US" sz="1000" dirty="0">
                <a:solidFill>
                  <a:sysClr val="windowText" lastClr="000000"/>
                </a:solidFill>
                <a:latin typeface="Montserrat" pitchFamily="2" charset="77"/>
              </a:rPr>
              <a:t>49% BSE / 32% CSD / </a:t>
            </a:r>
            <a:br>
              <a:rPr lang="en-US" sz="1000" dirty="0">
                <a:solidFill>
                  <a:sysClr val="windowText" lastClr="000000"/>
                </a:solidFill>
                <a:latin typeface="Montserrat" pitchFamily="2" charset="77"/>
              </a:rPr>
            </a:br>
            <a:r>
              <a:rPr lang="en-US" sz="1000" dirty="0">
                <a:solidFill>
                  <a:sysClr val="windowText" lastClr="000000"/>
                </a:solidFill>
                <a:latin typeface="Montserrat" pitchFamily="2" charset="77"/>
              </a:rPr>
              <a:t>19% Clear EX AD</a:t>
            </a:r>
            <a:endParaRPr lang="en-GB" sz="1000" dirty="0">
              <a:solidFill>
                <a:sysClr val="windowText" lastClr="000000"/>
              </a:solidFill>
              <a:latin typeface="Montserrat" pitchFamily="2" charset="77"/>
            </a:endParaRPr>
          </a:p>
        </p:txBody>
      </p:sp>
      <p:cxnSp>
        <p:nvCxnSpPr>
          <p:cNvPr id="129" name="Elbow Connector 128">
            <a:extLst>
              <a:ext uri="{FF2B5EF4-FFF2-40B4-BE49-F238E27FC236}">
                <a16:creationId xmlns:a16="http://schemas.microsoft.com/office/drawing/2014/main" id="{52A6520D-DC18-7049-A107-BB52FA4CD5BB}"/>
              </a:ext>
            </a:extLst>
          </p:cNvPr>
          <p:cNvCxnSpPr>
            <a:cxnSpLocks/>
            <a:endCxn id="124" idx="1"/>
          </p:cNvCxnSpPr>
          <p:nvPr/>
        </p:nvCxnSpPr>
        <p:spPr>
          <a:xfrm rot="16200000" flipH="1">
            <a:off x="8033570" y="4048633"/>
            <a:ext cx="583963" cy="227407"/>
          </a:xfrm>
          <a:prstGeom prst="bentConnector2">
            <a:avLst/>
          </a:prstGeom>
          <a:ln>
            <a:solidFill>
              <a:schemeClr val="tx2">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4" name="Elbow Connector 133">
            <a:extLst>
              <a:ext uri="{FF2B5EF4-FFF2-40B4-BE49-F238E27FC236}">
                <a16:creationId xmlns:a16="http://schemas.microsoft.com/office/drawing/2014/main" id="{131C4B68-7CD7-1A45-94EC-B5FBE2DD5B8D}"/>
              </a:ext>
            </a:extLst>
          </p:cNvPr>
          <p:cNvCxnSpPr>
            <a:cxnSpLocks/>
            <a:endCxn id="125" idx="1"/>
          </p:cNvCxnSpPr>
          <p:nvPr/>
        </p:nvCxnSpPr>
        <p:spPr>
          <a:xfrm rot="16200000" flipH="1">
            <a:off x="7847018" y="4806045"/>
            <a:ext cx="957070" cy="227404"/>
          </a:xfrm>
          <a:prstGeom prst="bentConnector2">
            <a:avLst/>
          </a:prstGeom>
          <a:ln>
            <a:solidFill>
              <a:schemeClr val="tx2">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Elbow Connector 45">
            <a:extLst>
              <a:ext uri="{FF2B5EF4-FFF2-40B4-BE49-F238E27FC236}">
                <a16:creationId xmlns:a16="http://schemas.microsoft.com/office/drawing/2014/main" id="{4CC3810A-7FDA-8C40-A00B-A1BF10EC905B}"/>
              </a:ext>
            </a:extLst>
          </p:cNvPr>
          <p:cNvCxnSpPr>
            <a:cxnSpLocks/>
            <a:stCxn id="87" idx="2"/>
            <a:endCxn id="88" idx="0"/>
          </p:cNvCxnSpPr>
          <p:nvPr/>
        </p:nvCxnSpPr>
        <p:spPr>
          <a:xfrm rot="5400000">
            <a:off x="3753113" y="813419"/>
            <a:ext cx="862060" cy="3823716"/>
          </a:xfrm>
          <a:prstGeom prst="bentConnector3">
            <a:avLst>
              <a:gd name="adj1" fmla="val 50000"/>
            </a:avLst>
          </a:prstGeom>
          <a:ln>
            <a:solidFill>
              <a:schemeClr val="tx2">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Elbow Connector 47">
            <a:extLst>
              <a:ext uri="{FF2B5EF4-FFF2-40B4-BE49-F238E27FC236}">
                <a16:creationId xmlns:a16="http://schemas.microsoft.com/office/drawing/2014/main" id="{A9B7A0AB-A51B-D54A-AC20-46DCA4D9D755}"/>
              </a:ext>
            </a:extLst>
          </p:cNvPr>
          <p:cNvCxnSpPr>
            <a:cxnSpLocks/>
            <a:stCxn id="87" idx="2"/>
            <a:endCxn id="110" idx="0"/>
          </p:cNvCxnSpPr>
          <p:nvPr/>
        </p:nvCxnSpPr>
        <p:spPr>
          <a:xfrm rot="5400000">
            <a:off x="5664972" y="2725276"/>
            <a:ext cx="862059" cy="1"/>
          </a:xfrm>
          <a:prstGeom prst="bentConnector3">
            <a:avLst>
              <a:gd name="adj1" fmla="val 50000"/>
            </a:avLst>
          </a:prstGeom>
          <a:ln>
            <a:solidFill>
              <a:schemeClr val="tx2">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a:extLst>
              <a:ext uri="{FF2B5EF4-FFF2-40B4-BE49-F238E27FC236}">
                <a16:creationId xmlns:a16="http://schemas.microsoft.com/office/drawing/2014/main" id="{D9ECAC0A-5682-914D-BB25-8D2DA19237CD}"/>
              </a:ext>
            </a:extLst>
          </p:cNvPr>
          <p:cNvCxnSpPr>
            <a:cxnSpLocks/>
            <a:stCxn id="87" idx="2"/>
            <a:endCxn id="123" idx="0"/>
          </p:cNvCxnSpPr>
          <p:nvPr/>
        </p:nvCxnSpPr>
        <p:spPr>
          <a:xfrm rot="16200000" flipH="1">
            <a:off x="7576829" y="813418"/>
            <a:ext cx="862059" cy="3823715"/>
          </a:xfrm>
          <a:prstGeom prst="bentConnector3">
            <a:avLst>
              <a:gd name="adj1" fmla="val 50000"/>
            </a:avLst>
          </a:prstGeom>
          <a:ln>
            <a:solidFill>
              <a:schemeClr val="tx2">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71744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52DF0A-4830-C940-A165-17AB7FB7364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1310004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6D68199-E3C2-0B4F-BFFC-48BF7C7D762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1414737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BB77421-CB67-9548-AEA9-ACF42320BD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9465713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171DA82-070A-774C-AFA4-56155BE96F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18017947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3B7462B-8C82-D844-9D3D-C8987B51ADD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53255550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66D78-54A5-1044-A741-2366FF5E52CC}"/>
              </a:ext>
            </a:extLst>
          </p:cNvPr>
          <p:cNvSpPr>
            <a:spLocks noGrp="1"/>
          </p:cNvSpPr>
          <p:nvPr>
            <p:ph type="ctrTitle"/>
          </p:nvPr>
        </p:nvSpPr>
        <p:spPr>
          <a:xfrm>
            <a:off x="1524000" y="4729698"/>
            <a:ext cx="9144000" cy="1218795"/>
          </a:xfrm>
        </p:spPr>
        <p:txBody>
          <a:bodyPr>
            <a:spAutoFit/>
          </a:bodyPr>
          <a:lstStyle/>
          <a:p>
            <a:r>
              <a:rPr lang="en-GB" sz="8000" b="0" dirty="0" err="1">
                <a:latin typeface="Bebas Neue Book" pitchFamily="2" charset="77"/>
              </a:rPr>
              <a:t>Krasimira</a:t>
            </a:r>
            <a:r>
              <a:rPr lang="en-GB" sz="8000" b="0" dirty="0">
                <a:latin typeface="Bebas Neue Book" pitchFamily="2" charset="77"/>
              </a:rPr>
              <a:t> </a:t>
            </a:r>
            <a:r>
              <a:rPr lang="en-GB" sz="8000" dirty="0" err="1"/>
              <a:t>Rayanova</a:t>
            </a:r>
            <a:endParaRPr lang="en-BG" sz="8000" dirty="0">
              <a:solidFill>
                <a:srgbClr val="DA98FF"/>
              </a:solidFill>
            </a:endParaRPr>
          </a:p>
        </p:txBody>
      </p:sp>
      <p:sp>
        <p:nvSpPr>
          <p:cNvPr id="3" name="Title 1">
            <a:extLst>
              <a:ext uri="{FF2B5EF4-FFF2-40B4-BE49-F238E27FC236}">
                <a16:creationId xmlns:a16="http://schemas.microsoft.com/office/drawing/2014/main" id="{1523D136-2AF8-A94E-B1D9-AF85A4795193}"/>
              </a:ext>
            </a:extLst>
          </p:cNvPr>
          <p:cNvSpPr txBox="1">
            <a:spLocks/>
          </p:cNvSpPr>
          <p:nvPr/>
        </p:nvSpPr>
        <p:spPr>
          <a:xfrm>
            <a:off x="1524000" y="5948493"/>
            <a:ext cx="9144000" cy="369332"/>
          </a:xfrm>
          <a:prstGeom prst="rect">
            <a:avLst/>
          </a:prstGeom>
        </p:spPr>
        <p:txBody>
          <a:bodyPr vert="horz" lIns="91440" tIns="45720" rIns="91440" bIns="45720" rtlCol="0" anchor="b">
            <a:spAutoFit/>
          </a:bodyPr>
          <a:lstStyle>
            <a:lvl1pPr algn="ctr" defTabSz="914400" rtl="0" eaLnBrk="1" latinLnBrk="0" hangingPunct="1">
              <a:lnSpc>
                <a:spcPct val="90000"/>
              </a:lnSpc>
              <a:spcBef>
                <a:spcPct val="0"/>
              </a:spcBef>
              <a:buNone/>
              <a:defRPr sz="6000" b="1" i="0" kern="1200">
                <a:solidFill>
                  <a:schemeClr val="bg1"/>
                </a:solidFill>
                <a:latin typeface="Bebas Neue Bold" pitchFamily="2" charset="77"/>
                <a:ea typeface="+mj-ea"/>
                <a:cs typeface="+mj-cs"/>
              </a:defRPr>
            </a:lvl1pPr>
          </a:lstStyle>
          <a:p>
            <a:r>
              <a:rPr lang="en-GB" sz="2000" b="0" dirty="0">
                <a:solidFill>
                  <a:srgbClr val="DA98FF"/>
                </a:solidFill>
                <a:latin typeface="Montserrat" pitchFamily="2" charset="77"/>
              </a:rPr>
              <a:t>Director / Head of Asset Servicing Product Development</a:t>
            </a:r>
            <a:endParaRPr lang="en-BG" sz="2000" b="0" dirty="0">
              <a:solidFill>
                <a:srgbClr val="DA98FF"/>
              </a:solidFill>
              <a:latin typeface="Montserrat" pitchFamily="2" charset="77"/>
            </a:endParaRPr>
          </a:p>
        </p:txBody>
      </p:sp>
      <p:sp>
        <p:nvSpPr>
          <p:cNvPr id="6" name="Oval 5">
            <a:extLst>
              <a:ext uri="{FF2B5EF4-FFF2-40B4-BE49-F238E27FC236}">
                <a16:creationId xmlns:a16="http://schemas.microsoft.com/office/drawing/2014/main" id="{36BA8D18-11C0-8649-ABBE-C006E05DCB99}"/>
              </a:ext>
            </a:extLst>
          </p:cNvPr>
          <p:cNvSpPr/>
          <p:nvPr/>
        </p:nvSpPr>
        <p:spPr>
          <a:xfrm>
            <a:off x="5904432" y="2711506"/>
            <a:ext cx="1467356" cy="1503096"/>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dirty="0">
              <a:solidFill>
                <a:schemeClr val="accent5"/>
              </a:solidFill>
            </a:endParaRPr>
          </a:p>
        </p:txBody>
      </p:sp>
      <p:sp>
        <p:nvSpPr>
          <p:cNvPr id="7" name="Oval 6">
            <a:extLst>
              <a:ext uri="{FF2B5EF4-FFF2-40B4-BE49-F238E27FC236}">
                <a16:creationId xmlns:a16="http://schemas.microsoft.com/office/drawing/2014/main" id="{BDF755ED-E1F8-B643-89B5-64DC1D8067F9}"/>
              </a:ext>
            </a:extLst>
          </p:cNvPr>
          <p:cNvSpPr/>
          <p:nvPr/>
        </p:nvSpPr>
        <p:spPr>
          <a:xfrm>
            <a:off x="4358851" y="1067739"/>
            <a:ext cx="2184849" cy="223806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a:p>
        </p:txBody>
      </p:sp>
      <p:pic>
        <p:nvPicPr>
          <p:cNvPr id="8" name="Picture 7">
            <a:extLst>
              <a:ext uri="{FF2B5EF4-FFF2-40B4-BE49-F238E27FC236}">
                <a16:creationId xmlns:a16="http://schemas.microsoft.com/office/drawing/2014/main" id="{BA38480B-73D6-AC49-BC4B-8A9D46F941E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823387" y="1357801"/>
            <a:ext cx="2545227" cy="2716602"/>
          </a:xfrm>
          <a:prstGeom prst="rect">
            <a:avLst/>
          </a:prstGeom>
        </p:spPr>
      </p:pic>
      <p:pic>
        <p:nvPicPr>
          <p:cNvPr id="5" name="Picture 4">
            <a:extLst>
              <a:ext uri="{FF2B5EF4-FFF2-40B4-BE49-F238E27FC236}">
                <a16:creationId xmlns:a16="http://schemas.microsoft.com/office/drawing/2014/main" id="{7A336774-EF73-834B-A75E-A3D8C32E0E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82774" y="6338373"/>
            <a:ext cx="2124290" cy="345197"/>
          </a:xfrm>
          <a:prstGeom prst="rect">
            <a:avLst/>
          </a:prstGeom>
        </p:spPr>
      </p:pic>
    </p:spTree>
    <p:extLst>
      <p:ext uri="{BB962C8B-B14F-4D97-AF65-F5344CB8AC3E}">
        <p14:creationId xmlns:p14="http://schemas.microsoft.com/office/powerpoint/2010/main" val="28910658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B566AFF-7FCB-E7CC-276F-C9EF2C02AC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4"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FB566AFF-7FCB-E7CC-276F-C9EF2C02AC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5D74384-601E-FD76-026A-229B35869CCC}"/>
              </a:ext>
            </a:extLst>
          </p:cNvPr>
          <p:cNvSpPr/>
          <p:nvPr/>
        </p:nvSpPr>
        <p:spPr>
          <a:xfrm>
            <a:off x="0" y="2826065"/>
            <a:ext cx="5943600" cy="1371600"/>
          </a:xfrm>
          <a:prstGeom prst="rect">
            <a:avLst/>
          </a:prstGeom>
          <a:gradFill>
            <a:gsLst>
              <a:gs pos="0">
                <a:srgbClr val="00A6C0">
                  <a:alpha val="0"/>
                </a:srgbClr>
              </a:gs>
              <a:gs pos="85000">
                <a:srgbClr val="00A6C0"/>
              </a:gs>
            </a:gsLst>
            <a:lin ang="10800000" scaled="1"/>
          </a:gra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3" name="Subtitle 2">
            <a:extLst>
              <a:ext uri="{FF2B5EF4-FFF2-40B4-BE49-F238E27FC236}">
                <a16:creationId xmlns:a16="http://schemas.microsoft.com/office/drawing/2014/main" id="{A35BF33A-FB3D-0BDA-29B0-4E35E75A8A1D}"/>
              </a:ext>
            </a:extLst>
          </p:cNvPr>
          <p:cNvSpPr>
            <a:spLocks noGrp="1"/>
          </p:cNvSpPr>
          <p:nvPr>
            <p:ph type="subTitle" idx="1"/>
          </p:nvPr>
        </p:nvSpPr>
        <p:spPr>
          <a:xfrm>
            <a:off x="1197864" y="3111756"/>
            <a:ext cx="4605171" cy="1785104"/>
          </a:xfrm>
        </p:spPr>
        <p:txBody>
          <a:bodyPr wrap="none"/>
          <a:lstStyle/>
          <a:p>
            <a:r>
              <a:rPr lang="en-US" dirty="0">
                <a:cs typeface="Arial"/>
              </a:rPr>
              <a:t>Krasimira Rayanova</a:t>
            </a:r>
          </a:p>
          <a:p>
            <a:r>
              <a:rPr lang="en-US" sz="1600" dirty="0"/>
              <a:t>Director</a:t>
            </a:r>
          </a:p>
          <a:p>
            <a:r>
              <a:rPr lang="en-US" sz="1600" dirty="0"/>
              <a:t>Head of Asset Servicing</a:t>
            </a:r>
            <a:r>
              <a:rPr lang="bg-BG" sz="1600" dirty="0"/>
              <a:t>,</a:t>
            </a:r>
            <a:r>
              <a:rPr lang="en-US" sz="1600" dirty="0"/>
              <a:t>​ Clearstream Banking AG</a:t>
            </a:r>
          </a:p>
          <a:p>
            <a:endParaRPr lang="en-US" sz="1600" dirty="0"/>
          </a:p>
          <a:p>
            <a:endParaRPr lang="en-US" sz="1600" dirty="0"/>
          </a:p>
          <a:p>
            <a:r>
              <a:rPr lang="en-US" sz="1600" dirty="0"/>
              <a:t>BSE Investor Day</a:t>
            </a:r>
          </a:p>
          <a:p>
            <a:r>
              <a:rPr lang="en-US" sz="1600" dirty="0"/>
              <a:t>Sofia, 11 April 2024</a:t>
            </a:r>
            <a:endParaRPr lang="en-US" sz="1800" dirty="0"/>
          </a:p>
        </p:txBody>
      </p:sp>
      <p:sp>
        <p:nvSpPr>
          <p:cNvPr id="2" name="Title 1">
            <a:extLst>
              <a:ext uri="{FF2B5EF4-FFF2-40B4-BE49-F238E27FC236}">
                <a16:creationId xmlns:a16="http://schemas.microsoft.com/office/drawing/2014/main" id="{A3F24604-AA79-608D-8648-65B8062F544D}"/>
              </a:ext>
            </a:extLst>
          </p:cNvPr>
          <p:cNvSpPr>
            <a:spLocks noGrp="1"/>
          </p:cNvSpPr>
          <p:nvPr>
            <p:ph type="ctrTitle"/>
          </p:nvPr>
        </p:nvSpPr>
        <p:spPr>
          <a:xfrm>
            <a:off x="1197863" y="1354352"/>
            <a:ext cx="10253907" cy="1512168"/>
          </a:xfrm>
        </p:spPr>
        <p:txBody>
          <a:bodyPr vert="horz"/>
          <a:lstStyle/>
          <a:p>
            <a:r>
              <a:rPr lang="en-US" dirty="0">
                <a:cs typeface="Arial"/>
              </a:rPr>
              <a:t> We at Group Deutsche Börse create trust</a:t>
            </a:r>
            <a:br>
              <a:rPr lang="en-US" dirty="0">
                <a:cs typeface="Arial"/>
              </a:rPr>
            </a:br>
            <a:r>
              <a:rPr lang="en-US" dirty="0">
                <a:cs typeface="Arial"/>
              </a:rPr>
              <a:t> in the markets of today and tomorrow</a:t>
            </a:r>
          </a:p>
        </p:txBody>
      </p:sp>
    </p:spTree>
    <p:extLst>
      <p:ext uri="{BB962C8B-B14F-4D97-AF65-F5344CB8AC3E}">
        <p14:creationId xmlns:p14="http://schemas.microsoft.com/office/powerpoint/2010/main" val="104386308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Deutsche Börse Group - Annual report">
            <a:extLst>
              <a:ext uri="{FF2B5EF4-FFF2-40B4-BE49-F238E27FC236}">
                <a16:creationId xmlns:a16="http://schemas.microsoft.com/office/drawing/2014/main" id="{7C5EC87C-EF17-A231-D8A6-4F7755E52A8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444"/>
          <a:stretch/>
        </p:blipFill>
        <p:spPr bwMode="auto">
          <a:xfrm>
            <a:off x="587388" y="1303200"/>
            <a:ext cx="10890509" cy="5294034"/>
          </a:xfrm>
          <a:prstGeom prst="rect">
            <a:avLst/>
          </a:prstGeom>
          <a:solidFill>
            <a:srgbClr val="FFFFFF"/>
          </a:solidFill>
        </p:spPr>
      </p:pic>
      <p:sp>
        <p:nvSpPr>
          <p:cNvPr id="4" name="Slide Number Placeholder 3">
            <a:extLst>
              <a:ext uri="{FF2B5EF4-FFF2-40B4-BE49-F238E27FC236}">
                <a16:creationId xmlns:a16="http://schemas.microsoft.com/office/drawing/2014/main" id="{AFB7B3ED-E38E-27C7-BE1B-DD7AD9985B9A}"/>
              </a:ext>
            </a:extLst>
          </p:cNvPr>
          <p:cNvSpPr>
            <a:spLocks noGrp="1"/>
          </p:cNvSpPr>
          <p:nvPr>
            <p:ph type="sldNum" sz="quarter" idx="16"/>
          </p:nvPr>
        </p:nvSpPr>
        <p:spPr>
          <a:xfrm>
            <a:off x="5806768" y="6381234"/>
            <a:ext cx="576064" cy="216000"/>
          </a:xfrm>
        </p:spPr>
        <p:txBody>
          <a:bodyPr wrap="square" anchor="t">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BFCA3128-5B09-47E5-B47D-6F0CB7A5DE9F}" type="slidenum">
              <a:rPr kumimoji="0" lang="en-US" sz="900" b="0" i="0" u="none" strike="noStrike" kern="1200" cap="none" spc="0" normalizeH="0" baseline="0" noProof="0" smtClean="0">
                <a:ln>
                  <a:noFill/>
                </a:ln>
                <a:solidFill>
                  <a:srgbClr val="666666"/>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600"/>
                </a:spcAft>
                <a:buClrTx/>
                <a:buSzTx/>
                <a:buFontTx/>
                <a:buNone/>
                <a:tabLst/>
                <a:defRPr/>
              </a:pPr>
              <a:t>47</a:t>
            </a:fld>
            <a:endParaRPr kumimoji="0" lang="en-US" sz="900" b="0" i="0" u="none" strike="noStrike" kern="1200" cap="none" spc="0" normalizeH="0" baseline="0" noProof="0">
              <a:ln>
                <a:noFill/>
              </a:ln>
              <a:solidFill>
                <a:srgbClr val="666666"/>
              </a:solidFill>
              <a:effectLst/>
              <a:uLnTx/>
              <a:uFillTx/>
              <a:latin typeface="Arial" panose="020B0604020202020204"/>
              <a:ea typeface="+mn-ea"/>
              <a:cs typeface="+mn-cs"/>
            </a:endParaRPr>
          </a:p>
        </p:txBody>
      </p:sp>
      <p:sp>
        <p:nvSpPr>
          <p:cNvPr id="5" name="Title 1">
            <a:extLst>
              <a:ext uri="{FF2B5EF4-FFF2-40B4-BE49-F238E27FC236}">
                <a16:creationId xmlns:a16="http://schemas.microsoft.com/office/drawing/2014/main" id="{B010BCD9-A204-4980-FA71-76CC9DC76317}"/>
              </a:ext>
            </a:extLst>
          </p:cNvPr>
          <p:cNvSpPr>
            <a:spLocks noGrp="1"/>
          </p:cNvSpPr>
          <p:nvPr>
            <p:ph type="title"/>
          </p:nvPr>
        </p:nvSpPr>
        <p:spPr>
          <a:xfrm>
            <a:off x="587388" y="409298"/>
            <a:ext cx="11017224" cy="780686"/>
          </a:xfrm>
        </p:spPr>
        <p:txBody>
          <a:bodyPr>
            <a:normAutofit fontScale="90000"/>
          </a:bodyPr>
          <a:lstStyle/>
          <a:p>
            <a:br>
              <a:rPr lang="de-DE" dirty="0"/>
            </a:br>
            <a:br>
              <a:rPr lang="de-DE" dirty="0"/>
            </a:br>
            <a:r>
              <a:rPr lang="de-DE" sz="3300" dirty="0"/>
              <a:t>Group Deutsche Börse – Products and Services</a:t>
            </a:r>
            <a:endParaRPr lang="en-US" sz="3300" dirty="0"/>
          </a:p>
        </p:txBody>
      </p:sp>
    </p:spTree>
    <p:extLst>
      <p:ext uri="{BB962C8B-B14F-4D97-AF65-F5344CB8AC3E}">
        <p14:creationId xmlns:p14="http://schemas.microsoft.com/office/powerpoint/2010/main" val="1090372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312A9E-095F-63C0-49BA-6D179C0FD82B}"/>
              </a:ext>
            </a:extLst>
          </p:cNvPr>
          <p:cNvSpPr>
            <a:spLocks noGrp="1"/>
          </p:cNvSpPr>
          <p:nvPr>
            <p:ph type="title"/>
          </p:nvPr>
        </p:nvSpPr>
        <p:spPr>
          <a:xfrm>
            <a:off x="587388" y="420554"/>
            <a:ext cx="11017224" cy="934900"/>
          </a:xfrm>
        </p:spPr>
        <p:txBody>
          <a:bodyPr/>
          <a:lstStyle/>
          <a:p>
            <a:r>
              <a:rPr lang="de-DE" dirty="0"/>
              <a:t>The </a:t>
            </a:r>
            <a:r>
              <a:rPr lang="de-DE" dirty="0" err="1"/>
              <a:t>infrastructure</a:t>
            </a:r>
            <a:r>
              <a:rPr lang="de-DE" dirty="0"/>
              <a:t> </a:t>
            </a:r>
            <a:r>
              <a:rPr lang="de-DE" dirty="0" err="1"/>
              <a:t>of</a:t>
            </a:r>
            <a:r>
              <a:rPr lang="de-DE" dirty="0"/>
              <a:t> </a:t>
            </a:r>
            <a:r>
              <a:rPr lang="de-DE" dirty="0" err="1"/>
              <a:t>the</a:t>
            </a:r>
            <a:r>
              <a:rPr lang="de-DE" dirty="0"/>
              <a:t> </a:t>
            </a:r>
            <a:r>
              <a:rPr lang="de-DE" dirty="0" err="1"/>
              <a:t>securites</a:t>
            </a:r>
            <a:r>
              <a:rPr lang="de-DE" dirty="0"/>
              <a:t> </a:t>
            </a:r>
            <a:r>
              <a:rPr lang="de-DE" dirty="0" err="1"/>
              <a:t>business</a:t>
            </a:r>
            <a:r>
              <a:rPr lang="de-DE" dirty="0"/>
              <a:t> </a:t>
            </a:r>
            <a:br>
              <a:rPr lang="de-DE" dirty="0"/>
            </a:br>
            <a:endParaRPr lang="en-US" dirty="0"/>
          </a:p>
        </p:txBody>
      </p:sp>
      <p:sp>
        <p:nvSpPr>
          <p:cNvPr id="4" name="Slide Number Placeholder 3">
            <a:extLst>
              <a:ext uri="{FF2B5EF4-FFF2-40B4-BE49-F238E27FC236}">
                <a16:creationId xmlns:a16="http://schemas.microsoft.com/office/drawing/2014/main" id="{9646B2D3-DC8D-AE22-2EC0-6C7C9ED9241B}"/>
              </a:ext>
            </a:extLst>
          </p:cNvPr>
          <p:cNvSpPr>
            <a:spLocks noGrp="1"/>
          </p:cNvSpPr>
          <p:nvPr>
            <p:ph type="sldNum" sz="quarter" idx="16"/>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FCA3128-5B09-47E5-B47D-6F0CB7A5DE9F}" type="slidenum">
              <a:rPr kumimoji="0" lang="en-US" sz="900" b="0" i="0" u="none" strike="noStrike" kern="1200" cap="none" spc="0" normalizeH="0" baseline="0" noProof="0" smtClean="0">
                <a:ln>
                  <a:noFill/>
                </a:ln>
                <a:solidFill>
                  <a:srgbClr val="666666"/>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8</a:t>
            </a:fld>
            <a:endParaRPr kumimoji="0" lang="en-US" sz="900" b="0" i="0" u="none" strike="noStrike" kern="1200" cap="none" spc="0" normalizeH="0" baseline="0" noProof="0">
              <a:ln>
                <a:noFill/>
              </a:ln>
              <a:solidFill>
                <a:srgbClr val="666666"/>
              </a:solidFill>
              <a:effectLst/>
              <a:uLnTx/>
              <a:uFillTx/>
              <a:latin typeface="Arial" panose="020B0604020202020204"/>
              <a:ea typeface="+mn-ea"/>
              <a:cs typeface="+mn-cs"/>
            </a:endParaRPr>
          </a:p>
        </p:txBody>
      </p:sp>
      <p:pic>
        <p:nvPicPr>
          <p:cNvPr id="5122" name="Picture 2">
            <a:extLst>
              <a:ext uri="{FF2B5EF4-FFF2-40B4-BE49-F238E27FC236}">
                <a16:creationId xmlns:a16="http://schemas.microsoft.com/office/drawing/2014/main" id="{6D1F7009-9587-A11B-9D56-D41D63A0930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3364" y="1195477"/>
            <a:ext cx="6440539" cy="494432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54C8E1C2-3824-2DB4-5356-B3523EA0E8D2}"/>
              </a:ext>
            </a:extLst>
          </p:cNvPr>
          <p:cNvSpPr txBox="1"/>
          <p:nvPr/>
        </p:nvSpPr>
        <p:spPr>
          <a:xfrm>
            <a:off x="6812280" y="1195477"/>
            <a:ext cx="5148234" cy="521681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333333"/>
                </a:solidFill>
                <a:effectLst/>
                <a:uLnTx/>
                <a:uFillTx/>
                <a:latin typeface="Arial" panose="020B0604020202020204"/>
                <a:ea typeface="+mn-ea"/>
                <a:cs typeface="+mn-cs"/>
              </a:rPr>
              <a:t>Clearing</a:t>
            </a:r>
            <a:endParaRPr kumimoji="0" lang="en-US" sz="1500" b="0" i="0" u="none" strike="noStrike" kern="1200" cap="none" spc="0" normalizeH="0" baseline="0" noProof="0" dirty="0">
              <a:ln>
                <a:noFill/>
              </a:ln>
              <a:solidFill>
                <a:srgbClr val="333333"/>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333333"/>
                </a:solidFill>
                <a:effectLst/>
                <a:uLnTx/>
                <a:uFillTx/>
                <a:latin typeface="Arial" panose="020B0604020202020204"/>
                <a:ea typeface="+mn-ea"/>
                <a:cs typeface="+mn-cs"/>
              </a:rPr>
              <a:t>Clearing is provided by Clearing houses – also called central counterparties (CCPs) – and minimizes the risk for trading participants individually and for the market as a who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333333"/>
                </a:solidFill>
                <a:effectLst/>
                <a:uLnTx/>
                <a:uFillTx/>
                <a:latin typeface="Arial" panose="020B0604020202020204"/>
                <a:ea typeface="+mn-ea"/>
                <a:cs typeface="+mn-cs"/>
              </a:rPr>
              <a:t>A clearing house acts a counter-party to every trade and investment; ensuring funds are available, the transaction is documented and guarantees delivery of the securities to the buyer.</a:t>
            </a:r>
            <a:endParaRPr kumimoji="0" lang="en-US" sz="1500" b="1" i="0" u="none" strike="noStrike" kern="1200" cap="none" spc="0" normalizeH="0" baseline="0" noProof="0" dirty="0">
              <a:ln>
                <a:noFill/>
              </a:ln>
              <a:solidFill>
                <a:srgbClr val="333333"/>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srgbClr val="333333"/>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333333"/>
                </a:solidFill>
                <a:effectLst/>
                <a:uLnTx/>
                <a:uFillTx/>
                <a:latin typeface="Arial" panose="020B0604020202020204"/>
                <a:ea typeface="+mn-ea"/>
                <a:cs typeface="+mn-cs"/>
              </a:rPr>
              <a:t>Settlement</a:t>
            </a:r>
            <a:endParaRPr kumimoji="0" lang="en-US" sz="1500" b="0" i="0" u="none" strike="noStrike" kern="1200" cap="none" spc="0" normalizeH="0" baseline="0" noProof="0" dirty="0">
              <a:ln>
                <a:noFill/>
              </a:ln>
              <a:solidFill>
                <a:srgbClr val="333333"/>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333333"/>
                </a:solidFill>
                <a:effectLst/>
                <a:uLnTx/>
                <a:uFillTx/>
                <a:latin typeface="Arial" panose="020B0604020202020204"/>
                <a:ea typeface="+mn-ea"/>
                <a:cs typeface="+mn-cs"/>
              </a:rPr>
              <a:t>Settlement is the process whereby securities and cash holdings are transferred (previously physically, nowadays electronically) between sellers and buyers. This normally takes place on a delivery-versus-payment basi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333333"/>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333333"/>
                </a:solidFill>
                <a:effectLst/>
                <a:uLnTx/>
                <a:uFillTx/>
                <a:latin typeface="Arial" panose="020B0604020202020204"/>
                <a:ea typeface="+mn-ea"/>
                <a:cs typeface="+mn-cs"/>
              </a:rPr>
              <a:t>Custody</a:t>
            </a:r>
            <a:endParaRPr kumimoji="0" lang="en-US" sz="1500" b="0" i="0" u="none" strike="noStrike" kern="1200" cap="none" spc="0" normalizeH="0" baseline="0" noProof="0" dirty="0">
              <a:ln>
                <a:noFill/>
              </a:ln>
              <a:solidFill>
                <a:srgbClr val="333333"/>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333333"/>
                </a:solidFill>
                <a:effectLst/>
                <a:uLnTx/>
                <a:uFillTx/>
                <a:latin typeface="Arial" panose="020B0604020202020204"/>
                <a:ea typeface="+mn-ea"/>
                <a:cs typeface="+mn-cs"/>
              </a:rPr>
              <a:t>Custody is the safekeeping of (settled) securities – either in intangible form (without any related certificates), as a book entry (with one or more global certificates), or in physical form (and immobiliz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33333"/>
              </a:solidFill>
              <a:effectLst/>
              <a:uLnTx/>
              <a:uFillTx/>
              <a:latin typeface="newsGothic_light"/>
              <a:ea typeface="+mn-ea"/>
              <a:cs typeface="+mn-cs"/>
            </a:endParaRPr>
          </a:p>
        </p:txBody>
      </p:sp>
    </p:spTree>
    <p:extLst>
      <p:ext uri="{BB962C8B-B14F-4D97-AF65-F5344CB8AC3E}">
        <p14:creationId xmlns:p14="http://schemas.microsoft.com/office/powerpoint/2010/main" val="133033372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BBE1875-FBB9-1B5F-6898-8693102CF1C5}"/>
              </a:ext>
            </a:extLst>
          </p:cNvPr>
          <p:cNvSpPr>
            <a:spLocks noGrp="1"/>
          </p:cNvSpPr>
          <p:nvPr>
            <p:ph type="sldNum" sz="quarter" idx="16"/>
          </p:nvPr>
        </p:nvSpPr>
        <p:spPr>
          <a:xfrm>
            <a:off x="5702260" y="6381234"/>
            <a:ext cx="576064" cy="216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FCA3128-5B09-47E5-B47D-6F0CB7A5DE9F}" type="slidenum">
              <a:rPr kumimoji="0" lang="en-US" sz="900" b="0" i="0" u="none" strike="noStrike" kern="1200" cap="none" spc="0" normalizeH="0" baseline="0" noProof="0" smtClean="0">
                <a:ln>
                  <a:noFill/>
                </a:ln>
                <a:solidFill>
                  <a:srgbClr val="666666"/>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9</a:t>
            </a:fld>
            <a:endParaRPr kumimoji="0" lang="en-US" sz="900" b="0" i="0" u="none" strike="noStrike" kern="1200" cap="none" spc="0" normalizeH="0" baseline="0" noProof="0">
              <a:ln>
                <a:noFill/>
              </a:ln>
              <a:solidFill>
                <a:srgbClr val="666666"/>
              </a:solidFill>
              <a:effectLst/>
              <a:uLnTx/>
              <a:uFillTx/>
              <a:latin typeface="Arial" panose="020B0604020202020204"/>
              <a:ea typeface="+mn-ea"/>
              <a:cs typeface="+mn-cs"/>
            </a:endParaRPr>
          </a:p>
        </p:txBody>
      </p:sp>
      <p:sp>
        <p:nvSpPr>
          <p:cNvPr id="5" name="Rectangle 25">
            <a:extLst>
              <a:ext uri="{FF2B5EF4-FFF2-40B4-BE49-F238E27FC236}">
                <a16:creationId xmlns:a16="http://schemas.microsoft.com/office/drawing/2014/main" id="{728BAFFE-8A5E-3CEC-3D99-7D376CB7261C}"/>
              </a:ext>
            </a:extLst>
          </p:cNvPr>
          <p:cNvSpPr txBox="1">
            <a:spLocks noChangeArrowheads="1"/>
          </p:cNvSpPr>
          <p:nvPr/>
        </p:nvSpPr>
        <p:spPr bwMode="gray">
          <a:xfrm>
            <a:off x="1100922" y="572768"/>
            <a:ext cx="6297612" cy="468398"/>
          </a:xfrm>
          <a:prstGeom prst="rect">
            <a:avLst/>
          </a:prstGeom>
        </p:spPr>
        <p:txBody>
          <a:bodyPr vert="horz" lIns="0" tIns="0" rIns="0" bIns="0" rtlCol="0" anchor="t" anchorCtr="0">
            <a:spAutoFit/>
          </a:bodyPr>
          <a:lstStyle>
            <a:lvl1pPr algn="l" defTabSz="914400" rtl="0" eaLnBrk="1" latinLnBrk="0" hangingPunct="1">
              <a:lnSpc>
                <a:spcPct val="110000"/>
              </a:lnSpc>
              <a:spcBef>
                <a:spcPct val="0"/>
              </a:spcBef>
              <a:buNone/>
              <a:defRPr sz="3000" b="1" kern="1200">
                <a:solidFill>
                  <a:schemeClr val="accent1"/>
                </a:solidFill>
                <a:latin typeface="+mj-lt"/>
                <a:ea typeface="+mj-ea"/>
                <a:cs typeface="+mj-cs"/>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en-GB" sz="3000" b="1" i="0" u="none" strike="noStrike" kern="1200" cap="none" spc="0" normalizeH="0" baseline="0" noProof="0" dirty="0">
                <a:ln>
                  <a:noFill/>
                </a:ln>
                <a:solidFill>
                  <a:srgbClr val="00A5C0"/>
                </a:solidFill>
                <a:effectLst/>
                <a:uLnTx/>
                <a:uFillTx/>
                <a:latin typeface="Arial" panose="020B0604020202020204"/>
                <a:ea typeface="+mj-ea"/>
                <a:cs typeface="+mj-cs"/>
              </a:rPr>
              <a:t>Value chain</a:t>
            </a:r>
            <a:endParaRPr kumimoji="0" lang="en-US" sz="3000" b="1" i="0" u="none" strike="noStrike" kern="1200" cap="none" spc="0" normalizeH="0" baseline="0" noProof="0" dirty="0">
              <a:ln>
                <a:noFill/>
              </a:ln>
              <a:solidFill>
                <a:srgbClr val="00A5C0"/>
              </a:solidFill>
              <a:effectLst/>
              <a:uLnTx/>
              <a:uFillTx/>
              <a:latin typeface="Arial" panose="020B0604020202020204"/>
              <a:ea typeface="+mj-ea"/>
              <a:cs typeface="+mj-cs"/>
            </a:endParaRPr>
          </a:p>
        </p:txBody>
      </p:sp>
      <p:sp>
        <p:nvSpPr>
          <p:cNvPr id="6" name="Rectangle 24">
            <a:extLst>
              <a:ext uri="{FF2B5EF4-FFF2-40B4-BE49-F238E27FC236}">
                <a16:creationId xmlns:a16="http://schemas.microsoft.com/office/drawing/2014/main" id="{42F56CF9-F94B-14ED-8201-ED8F20E9E34D}"/>
              </a:ext>
            </a:extLst>
          </p:cNvPr>
          <p:cNvSpPr txBox="1">
            <a:spLocks noChangeArrowheads="1"/>
          </p:cNvSpPr>
          <p:nvPr/>
        </p:nvSpPr>
        <p:spPr bwMode="auto">
          <a:xfrm>
            <a:off x="699584" y="1130301"/>
            <a:ext cx="7640638" cy="785813"/>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vert="horz" lIns="91440" tIns="45720" rIns="91440" bIns="45720" rtlCol="0">
            <a:noAutofit/>
          </a:bodyPr>
          <a:lstStyle>
            <a:lvl1pPr marL="0" indent="0" algn="l" defTabSz="914400" rtl="0" eaLnBrk="1" latinLnBrk="0" hangingPunct="1">
              <a:lnSpc>
                <a:spcPct val="110000"/>
              </a:lnSpc>
              <a:spcBef>
                <a:spcPts val="0"/>
              </a:spcBef>
              <a:spcAft>
                <a:spcPts val="600"/>
              </a:spcAft>
              <a:buFontTx/>
              <a:buNone/>
              <a:defRPr sz="2000" kern="1200">
                <a:solidFill>
                  <a:schemeClr val="tx1"/>
                </a:solidFill>
                <a:latin typeface="+mn-lt"/>
                <a:ea typeface="+mn-ea"/>
                <a:cs typeface="+mn-cs"/>
              </a:defRPr>
            </a:lvl1pPr>
            <a:lvl2pPr marL="216000" indent="-216000" algn="l" defTabSz="914400" rtl="0" eaLnBrk="1" latinLnBrk="0" hangingPunct="1">
              <a:lnSpc>
                <a:spcPct val="11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2pPr>
            <a:lvl3pPr marL="432000" indent="-216000" algn="l" defTabSz="914400" rtl="0" eaLnBrk="1" latinLnBrk="0" hangingPunct="1">
              <a:lnSpc>
                <a:spcPct val="11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3pPr>
            <a:lvl4pPr marL="648000" indent="-216000" algn="l" defTabSz="914400" rtl="0" eaLnBrk="1" latinLnBrk="0" hangingPunct="1">
              <a:lnSpc>
                <a:spcPct val="11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4pPr>
            <a:lvl5pPr marL="864000" indent="-216000" algn="l" defTabSz="914400" rtl="0" eaLnBrk="1" latinLnBrk="0" hangingPunct="1">
              <a:lnSpc>
                <a:spcPct val="11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5pPr>
            <a:lvl6pPr marL="864000" indent="-216000" algn="l" defTabSz="914400" rtl="0" eaLnBrk="1" latinLnBrk="0" hangingPunct="1">
              <a:lnSpc>
                <a:spcPct val="11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6pPr>
            <a:lvl7pPr marL="864000" indent="-216000" algn="l" defTabSz="914400" rtl="0" eaLnBrk="1" latinLnBrk="0" hangingPunct="1">
              <a:lnSpc>
                <a:spcPct val="11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7pPr>
            <a:lvl8pPr marL="864000" indent="-216000" algn="l" defTabSz="914400" rtl="0" eaLnBrk="1" latinLnBrk="0" hangingPunct="1">
              <a:lnSpc>
                <a:spcPct val="11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8pPr>
            <a:lvl9pPr marL="864000" indent="-216000" algn="l" defTabSz="914400" rtl="0" eaLnBrk="1" latinLnBrk="0" hangingPunct="1">
              <a:lnSpc>
                <a:spcPct val="11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90000"/>
              </a:lnSpc>
              <a:spcBef>
                <a:spcPts val="0"/>
              </a:spcBef>
              <a:spcAft>
                <a:spcPts val="600"/>
              </a:spcAft>
              <a:buClr>
                <a:srgbClr val="666666"/>
              </a:buClr>
              <a:buSzPct val="75000"/>
              <a:buFontTx/>
              <a:buNone/>
              <a:tabLst/>
              <a:defRPr/>
            </a:pPr>
            <a:r>
              <a:rPr kumimoji="0" lang="en-US" sz="1600" b="1" i="0" u="none" strike="noStrike" kern="1200" cap="none" spc="0" normalizeH="0" baseline="0" noProof="0" dirty="0">
                <a:ln>
                  <a:noFill/>
                </a:ln>
                <a:solidFill>
                  <a:srgbClr val="00A5C0"/>
                </a:solidFill>
                <a:effectLst/>
                <a:uLnTx/>
                <a:uFillTx/>
                <a:latin typeface="Arial" panose="020B0604020202020204"/>
                <a:ea typeface="+mn-ea"/>
                <a:cs typeface="+mn-cs"/>
              </a:rPr>
              <a:t>	Cash and fixed income market as well as derivatives market instruments are subject to the value chain of Group Deutsche Börse</a:t>
            </a:r>
          </a:p>
        </p:txBody>
      </p:sp>
      <p:sp>
        <p:nvSpPr>
          <p:cNvPr id="7" name="Rectangle 3">
            <a:extLst>
              <a:ext uri="{FF2B5EF4-FFF2-40B4-BE49-F238E27FC236}">
                <a16:creationId xmlns:a16="http://schemas.microsoft.com/office/drawing/2014/main" id="{DB4E261D-5328-19A2-37D8-6AF6F2CE05AF}"/>
              </a:ext>
            </a:extLst>
          </p:cNvPr>
          <p:cNvSpPr>
            <a:spLocks noChangeArrowheads="1"/>
          </p:cNvSpPr>
          <p:nvPr/>
        </p:nvSpPr>
        <p:spPr bwMode="auto">
          <a:xfrm>
            <a:off x="7009597" y="2662238"/>
            <a:ext cx="1368425" cy="1884362"/>
          </a:xfrm>
          <a:prstGeom prst="rect">
            <a:avLst/>
          </a:prstGeom>
          <a:solidFill>
            <a:srgbClr val="00A5C0"/>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81000" rIns="81000" bIns="81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4">
            <a:extLst>
              <a:ext uri="{FF2B5EF4-FFF2-40B4-BE49-F238E27FC236}">
                <a16:creationId xmlns:a16="http://schemas.microsoft.com/office/drawing/2014/main" id="{2836EC84-971F-4C8F-BCC1-3BE4C2B7AACB}"/>
              </a:ext>
            </a:extLst>
          </p:cNvPr>
          <p:cNvSpPr>
            <a:spLocks noChangeArrowheads="1"/>
          </p:cNvSpPr>
          <p:nvPr/>
        </p:nvSpPr>
        <p:spPr bwMode="auto">
          <a:xfrm>
            <a:off x="5547510" y="2662238"/>
            <a:ext cx="1368425" cy="1884362"/>
          </a:xfrm>
          <a:prstGeom prst="rect">
            <a:avLst/>
          </a:prstGeom>
          <a:solidFill>
            <a:srgbClr val="00A5C0"/>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81000" rIns="81000" bIns="81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5">
            <a:extLst>
              <a:ext uri="{FF2B5EF4-FFF2-40B4-BE49-F238E27FC236}">
                <a16:creationId xmlns:a16="http://schemas.microsoft.com/office/drawing/2014/main" id="{5061F0D1-B4A0-5389-787B-B685DCE3DC9B}"/>
              </a:ext>
            </a:extLst>
          </p:cNvPr>
          <p:cNvSpPr>
            <a:spLocks noChangeArrowheads="1"/>
          </p:cNvSpPr>
          <p:nvPr/>
        </p:nvSpPr>
        <p:spPr bwMode="gray">
          <a:xfrm>
            <a:off x="4087010" y="2662238"/>
            <a:ext cx="1368425" cy="1884362"/>
          </a:xfrm>
          <a:prstGeom prst="rect">
            <a:avLst/>
          </a:prstGeom>
          <a:solidFill>
            <a:srgbClr val="D9D9D9"/>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45718"/>
          <a:lstStyle/>
          <a:p>
            <a:pPr marL="0" marR="0" lvl="0" indent="0" algn="ctr" defTabSz="914400" rtl="0" eaLnBrk="1" fontAlgn="auto" latinLnBrk="0" hangingPunct="1">
              <a:lnSpc>
                <a:spcPct val="100000"/>
              </a:lnSpc>
              <a:spcBef>
                <a:spcPct val="50000"/>
              </a:spcBef>
              <a:spcAft>
                <a:spcPts val="0"/>
              </a:spcAft>
              <a:buClr>
                <a:srgbClr val="666666"/>
              </a:buClr>
              <a:buSzTx/>
              <a:buFont typeface="Arial" charset="0"/>
              <a:buChar char="•"/>
              <a:tabLst/>
              <a:defRPr/>
            </a:pPr>
            <a:endParaRPr kumimoji="0" lang="en-US" sz="11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Rectangle 6">
            <a:extLst>
              <a:ext uri="{FF2B5EF4-FFF2-40B4-BE49-F238E27FC236}">
                <a16:creationId xmlns:a16="http://schemas.microsoft.com/office/drawing/2014/main" id="{85FA0C12-CC82-0551-97DA-4F8A8D97DC68}"/>
              </a:ext>
            </a:extLst>
          </p:cNvPr>
          <p:cNvSpPr>
            <a:spLocks noChangeArrowheads="1"/>
          </p:cNvSpPr>
          <p:nvPr/>
        </p:nvSpPr>
        <p:spPr bwMode="auto">
          <a:xfrm>
            <a:off x="2572534" y="2662238"/>
            <a:ext cx="1439862" cy="1884362"/>
          </a:xfrm>
          <a:prstGeom prst="rect">
            <a:avLst/>
          </a:prstGeom>
          <a:solidFill>
            <a:srgbClr val="86B918"/>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rtl="0" eaLnBrk="1" fontAlgn="auto" latinLnBrk="0" hangingPunct="1">
              <a:lnSpc>
                <a:spcPct val="100000"/>
              </a:lnSpc>
              <a:spcBef>
                <a:spcPct val="50000"/>
              </a:spcBef>
              <a:spcAft>
                <a:spcPts val="0"/>
              </a:spcAft>
              <a:buClrTx/>
              <a:buSzTx/>
              <a:buFont typeface="Arial" charset="0"/>
              <a:buNone/>
              <a:tabLst/>
              <a:defRPr/>
            </a:pPr>
            <a:endParaRPr kumimoji="0" lang="en-US" sz="1800" b="0" i="0" u="none" strike="noStrike" kern="1200" cap="none" spc="0" normalizeH="0" baseline="0" noProof="0">
              <a:ln>
                <a:noFill/>
              </a:ln>
              <a:solidFill>
                <a:srgbClr val="666666"/>
              </a:solidFill>
              <a:effectLst/>
              <a:uLnTx/>
              <a:uFillTx/>
              <a:latin typeface="Arial" panose="020B0604020202020204"/>
              <a:ea typeface="+mn-ea"/>
              <a:cs typeface="+mn-cs"/>
            </a:endParaRPr>
          </a:p>
        </p:txBody>
      </p:sp>
      <p:sp>
        <p:nvSpPr>
          <p:cNvPr id="11" name="Rectangle 7">
            <a:extLst>
              <a:ext uri="{FF2B5EF4-FFF2-40B4-BE49-F238E27FC236}">
                <a16:creationId xmlns:a16="http://schemas.microsoft.com/office/drawing/2014/main" id="{28B36ACC-81E9-FFE3-D530-3680A28FAF7C}"/>
              </a:ext>
            </a:extLst>
          </p:cNvPr>
          <p:cNvSpPr>
            <a:spLocks noChangeArrowheads="1"/>
          </p:cNvSpPr>
          <p:nvPr/>
        </p:nvSpPr>
        <p:spPr bwMode="auto">
          <a:xfrm>
            <a:off x="1100922" y="2662238"/>
            <a:ext cx="1365250" cy="1884362"/>
          </a:xfrm>
          <a:prstGeom prst="rect">
            <a:avLst/>
          </a:prstGeom>
          <a:solidFill>
            <a:srgbClr val="86B918"/>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rtl="0" eaLnBrk="1" fontAlgn="auto" latinLnBrk="0" hangingPunct="1">
              <a:lnSpc>
                <a:spcPct val="100000"/>
              </a:lnSpc>
              <a:spcBef>
                <a:spcPct val="50000"/>
              </a:spcBef>
              <a:spcAft>
                <a:spcPts val="0"/>
              </a:spcAft>
              <a:buClrTx/>
              <a:buSzTx/>
              <a:buFont typeface="Arial" charset="0"/>
              <a:buNone/>
              <a:tabLst/>
              <a:defRPr/>
            </a:pPr>
            <a:endParaRPr kumimoji="0" lang="en-US" sz="1800" b="0" i="0" u="none" strike="noStrike" kern="1200" cap="none" spc="0" normalizeH="0" baseline="0" noProof="0">
              <a:ln>
                <a:noFill/>
              </a:ln>
              <a:solidFill>
                <a:srgbClr val="666666"/>
              </a:solidFill>
              <a:effectLst/>
              <a:uLnTx/>
              <a:uFillTx/>
              <a:latin typeface="Arial" panose="020B0604020202020204"/>
              <a:ea typeface="+mn-ea"/>
              <a:cs typeface="+mn-cs"/>
            </a:endParaRPr>
          </a:p>
        </p:txBody>
      </p:sp>
      <p:sp>
        <p:nvSpPr>
          <p:cNvPr id="12" name="AutoShape 8">
            <a:extLst>
              <a:ext uri="{FF2B5EF4-FFF2-40B4-BE49-F238E27FC236}">
                <a16:creationId xmlns:a16="http://schemas.microsoft.com/office/drawing/2014/main" id="{AAAF3C4D-CC9A-732F-49EF-8F4ECF224AF5}"/>
              </a:ext>
            </a:extLst>
          </p:cNvPr>
          <p:cNvSpPr>
            <a:spLocks noChangeArrowheads="1"/>
          </p:cNvSpPr>
          <p:nvPr/>
        </p:nvSpPr>
        <p:spPr bwMode="auto">
          <a:xfrm>
            <a:off x="1104097" y="2066926"/>
            <a:ext cx="1439863" cy="333375"/>
          </a:xfrm>
          <a:prstGeom prst="homePlate">
            <a:avLst>
              <a:gd name="adj" fmla="val 48569"/>
            </a:avLst>
          </a:prstGeom>
          <a:solidFill>
            <a:srgbClr val="86B918"/>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666666"/>
                </a:solidFill>
                <a:effectLst/>
                <a:uLnTx/>
                <a:uFillTx/>
                <a:latin typeface="Arial" panose="020B0604020202020204"/>
                <a:ea typeface="+mn-ea"/>
                <a:cs typeface="+mn-cs"/>
              </a:rPr>
              <a:t>Information</a:t>
            </a:r>
          </a:p>
        </p:txBody>
      </p:sp>
      <p:sp>
        <p:nvSpPr>
          <p:cNvPr id="13" name="AutoShape 9">
            <a:extLst>
              <a:ext uri="{FF2B5EF4-FFF2-40B4-BE49-F238E27FC236}">
                <a16:creationId xmlns:a16="http://schemas.microsoft.com/office/drawing/2014/main" id="{B1D985B1-D557-13B9-50BD-AD261455406C}"/>
              </a:ext>
            </a:extLst>
          </p:cNvPr>
          <p:cNvSpPr>
            <a:spLocks noChangeArrowheads="1"/>
          </p:cNvSpPr>
          <p:nvPr/>
        </p:nvSpPr>
        <p:spPr bwMode="auto">
          <a:xfrm>
            <a:off x="2510622" y="2068514"/>
            <a:ext cx="1546225" cy="333375"/>
          </a:xfrm>
          <a:prstGeom prst="chevron">
            <a:avLst>
              <a:gd name="adj" fmla="val 51470"/>
            </a:avLst>
          </a:prstGeom>
          <a:solidFill>
            <a:srgbClr val="86B918"/>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666666"/>
                </a:solidFill>
                <a:effectLst/>
                <a:uLnTx/>
                <a:uFillTx/>
                <a:latin typeface="Arial" panose="020B0604020202020204"/>
                <a:ea typeface="+mn-ea"/>
                <a:cs typeface="+mn-cs"/>
              </a:rPr>
              <a:t>Trading</a:t>
            </a:r>
          </a:p>
        </p:txBody>
      </p:sp>
      <p:sp>
        <p:nvSpPr>
          <p:cNvPr id="14" name="AutoShape 10">
            <a:extLst>
              <a:ext uri="{FF2B5EF4-FFF2-40B4-BE49-F238E27FC236}">
                <a16:creationId xmlns:a16="http://schemas.microsoft.com/office/drawing/2014/main" id="{1FC6A3E7-F629-8E8C-5939-0015770DAF65}"/>
              </a:ext>
            </a:extLst>
          </p:cNvPr>
          <p:cNvSpPr>
            <a:spLocks noChangeArrowheads="1"/>
          </p:cNvSpPr>
          <p:nvPr/>
        </p:nvSpPr>
        <p:spPr bwMode="gray">
          <a:xfrm>
            <a:off x="4063197" y="2087564"/>
            <a:ext cx="1431925" cy="333375"/>
          </a:xfrm>
          <a:prstGeom prst="chevron">
            <a:avLst>
              <a:gd name="adj" fmla="val 47665"/>
            </a:avLst>
          </a:prstGeom>
          <a:solidFill>
            <a:srgbClr val="D9D9D9"/>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45718"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GB" sz="1800" b="0" i="0" u="none" strike="noStrike" kern="1200" cap="none" spc="0" normalizeH="0" baseline="0" noProof="0" dirty="0">
                <a:ln>
                  <a:noFill/>
                </a:ln>
                <a:solidFill>
                  <a:srgbClr val="666666"/>
                </a:solidFill>
                <a:effectLst/>
                <a:uLnTx/>
                <a:uFillTx/>
                <a:latin typeface="Arial" panose="020B0604020202020204"/>
                <a:ea typeface="+mn-ea"/>
                <a:cs typeface="+mn-cs"/>
              </a:rPr>
              <a:t>Clearing</a:t>
            </a:r>
          </a:p>
        </p:txBody>
      </p:sp>
      <p:sp>
        <p:nvSpPr>
          <p:cNvPr id="15" name="AutoShape 11">
            <a:extLst>
              <a:ext uri="{FF2B5EF4-FFF2-40B4-BE49-F238E27FC236}">
                <a16:creationId xmlns:a16="http://schemas.microsoft.com/office/drawing/2014/main" id="{AC005FC2-29A1-DFF4-C1A5-7B216ACB86C7}"/>
              </a:ext>
            </a:extLst>
          </p:cNvPr>
          <p:cNvSpPr>
            <a:spLocks noChangeArrowheads="1"/>
          </p:cNvSpPr>
          <p:nvPr/>
        </p:nvSpPr>
        <p:spPr bwMode="auto">
          <a:xfrm>
            <a:off x="5496710" y="2068514"/>
            <a:ext cx="1512887" cy="333375"/>
          </a:xfrm>
          <a:prstGeom prst="chevron">
            <a:avLst>
              <a:gd name="adj" fmla="val 50360"/>
            </a:avLst>
          </a:prstGeom>
          <a:solidFill>
            <a:srgbClr val="00A5C0"/>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81000" rIns="81000" bIns="81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rPr>
              <a:t>Settlement</a:t>
            </a:r>
          </a:p>
        </p:txBody>
      </p:sp>
      <p:sp>
        <p:nvSpPr>
          <p:cNvPr id="16" name="AutoShape 12">
            <a:extLst>
              <a:ext uri="{FF2B5EF4-FFF2-40B4-BE49-F238E27FC236}">
                <a16:creationId xmlns:a16="http://schemas.microsoft.com/office/drawing/2014/main" id="{AFF0251D-7095-2574-F755-A88C7AD22319}"/>
              </a:ext>
            </a:extLst>
          </p:cNvPr>
          <p:cNvSpPr>
            <a:spLocks noChangeArrowheads="1"/>
          </p:cNvSpPr>
          <p:nvPr/>
        </p:nvSpPr>
        <p:spPr bwMode="auto">
          <a:xfrm>
            <a:off x="7000071" y="2068514"/>
            <a:ext cx="1449388" cy="333375"/>
          </a:xfrm>
          <a:prstGeom prst="chevron">
            <a:avLst>
              <a:gd name="adj" fmla="val 48247"/>
            </a:avLst>
          </a:prstGeom>
          <a:solidFill>
            <a:srgbClr val="00A5C0"/>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81000" rIns="81000" bIns="81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rPr>
              <a:t>Custody</a:t>
            </a:r>
          </a:p>
        </p:txBody>
      </p:sp>
      <p:sp>
        <p:nvSpPr>
          <p:cNvPr id="17" name="Rectangle 13">
            <a:extLst>
              <a:ext uri="{FF2B5EF4-FFF2-40B4-BE49-F238E27FC236}">
                <a16:creationId xmlns:a16="http://schemas.microsoft.com/office/drawing/2014/main" id="{19F0FA33-BFF4-53BF-B7D9-89B024099DD6}"/>
              </a:ext>
            </a:extLst>
          </p:cNvPr>
          <p:cNvSpPr>
            <a:spLocks noChangeArrowheads="1"/>
          </p:cNvSpPr>
          <p:nvPr/>
        </p:nvSpPr>
        <p:spPr bwMode="auto">
          <a:xfrm>
            <a:off x="1177121" y="2636839"/>
            <a:ext cx="1284288" cy="1392237"/>
          </a:xfrm>
          <a:prstGeom prst="rect">
            <a:avLst/>
          </a:prstGeom>
          <a:noFill/>
          <a:ln>
            <a:noFill/>
          </a:ln>
          <a:effectLst/>
          <a:extLst>
            <a:ext uri="{909E8E84-426E-40DD-AFC4-6F175D3DCCD1}">
              <a14:hiddenFill xmlns:a14="http://schemas.microsoft.com/office/drawing/2010/main">
                <a:solidFill>
                  <a:srgbClr val="86B918"/>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212725" marR="0" lvl="1" indent="-203200" algn="l" defTabSz="746125" rtl="0" eaLnBrk="1" fontAlgn="auto" latinLnBrk="0" hangingPunct="1">
              <a:lnSpc>
                <a:spcPct val="100000"/>
              </a:lnSpc>
              <a:spcBef>
                <a:spcPct val="50000"/>
              </a:spcBef>
              <a:spcAft>
                <a:spcPts val="0"/>
              </a:spcAft>
              <a:buClr>
                <a:srgbClr val="666666"/>
              </a:buClr>
              <a:buSzTx/>
              <a:buFont typeface="Arial" charset="0"/>
              <a:buChar char="•"/>
              <a:tabLst/>
              <a:defRPr/>
            </a:pPr>
            <a:r>
              <a:rPr kumimoji="0" lang="en-US" sz="1100" b="0" i="0" u="none" strike="noStrike" kern="1200" cap="none" spc="0" normalizeH="0" baseline="0" noProof="0" dirty="0">
                <a:ln>
                  <a:noFill/>
                </a:ln>
                <a:solidFill>
                  <a:srgbClr val="666666"/>
                </a:solidFill>
                <a:effectLst/>
                <a:uLnTx/>
                <a:uFillTx/>
                <a:latin typeface="Arial" panose="020B0604020202020204"/>
                <a:ea typeface="+mn-ea"/>
                <a:cs typeface="+mn-cs"/>
              </a:rPr>
              <a:t>Streaming data feeds</a:t>
            </a:r>
          </a:p>
          <a:p>
            <a:pPr marL="212725" marR="0" lvl="1" indent="-203200" algn="l" defTabSz="746125" rtl="0" eaLnBrk="1" fontAlgn="auto" latinLnBrk="0" hangingPunct="1">
              <a:lnSpc>
                <a:spcPct val="100000"/>
              </a:lnSpc>
              <a:spcBef>
                <a:spcPct val="50000"/>
              </a:spcBef>
              <a:spcAft>
                <a:spcPts val="0"/>
              </a:spcAft>
              <a:buClr>
                <a:srgbClr val="666666"/>
              </a:buClr>
              <a:buSzTx/>
              <a:buFont typeface="Arial" charset="0"/>
              <a:buChar char="•"/>
              <a:tabLst/>
              <a:defRPr/>
            </a:pPr>
            <a:r>
              <a:rPr kumimoji="0" lang="en-US" sz="1100" b="0" i="0" u="none" strike="noStrike" kern="1200" cap="none" spc="0" normalizeH="0" baseline="0" noProof="0" dirty="0">
                <a:ln>
                  <a:noFill/>
                </a:ln>
                <a:solidFill>
                  <a:srgbClr val="666666"/>
                </a:solidFill>
                <a:effectLst/>
                <a:uLnTx/>
                <a:uFillTx/>
                <a:latin typeface="Arial" panose="020B0604020202020204"/>
                <a:ea typeface="+mn-ea"/>
                <a:cs typeface="+mn-cs"/>
              </a:rPr>
              <a:t>Physical terminals</a:t>
            </a:r>
          </a:p>
          <a:p>
            <a:pPr marL="212725" marR="0" lvl="1" indent="-203200" algn="l" defTabSz="746125" rtl="0" eaLnBrk="1" fontAlgn="auto" latinLnBrk="0" hangingPunct="1">
              <a:lnSpc>
                <a:spcPct val="100000"/>
              </a:lnSpc>
              <a:spcBef>
                <a:spcPct val="50000"/>
              </a:spcBef>
              <a:spcAft>
                <a:spcPts val="0"/>
              </a:spcAft>
              <a:buClr>
                <a:srgbClr val="666666"/>
              </a:buClr>
              <a:buSzTx/>
              <a:buFont typeface="Arial" charset="0"/>
              <a:buChar char="•"/>
              <a:tabLst/>
              <a:defRPr/>
            </a:pPr>
            <a:r>
              <a:rPr kumimoji="0" lang="en-US" sz="1100" b="0" i="0" u="none" strike="noStrike" kern="1200" cap="none" spc="0" normalizeH="0" baseline="0" noProof="0" dirty="0">
                <a:ln>
                  <a:noFill/>
                </a:ln>
                <a:solidFill>
                  <a:srgbClr val="666666"/>
                </a:solidFill>
                <a:effectLst/>
                <a:uLnTx/>
                <a:uFillTx/>
                <a:latin typeface="Arial" panose="020B0604020202020204"/>
                <a:ea typeface="+mn-ea"/>
                <a:cs typeface="+mn-cs"/>
              </a:rPr>
              <a:t>Indices</a:t>
            </a:r>
          </a:p>
        </p:txBody>
      </p:sp>
      <p:sp>
        <p:nvSpPr>
          <p:cNvPr id="18" name="Rectangle 14">
            <a:extLst>
              <a:ext uri="{FF2B5EF4-FFF2-40B4-BE49-F238E27FC236}">
                <a16:creationId xmlns:a16="http://schemas.microsoft.com/office/drawing/2014/main" id="{44795B28-E8FB-EA7D-028D-7694F80D3BD2}"/>
              </a:ext>
            </a:extLst>
          </p:cNvPr>
          <p:cNvSpPr>
            <a:spLocks noChangeArrowheads="1"/>
          </p:cNvSpPr>
          <p:nvPr/>
        </p:nvSpPr>
        <p:spPr bwMode="auto">
          <a:xfrm>
            <a:off x="2502684" y="2636839"/>
            <a:ext cx="1511300" cy="1150937"/>
          </a:xfrm>
          <a:prstGeom prst="rect">
            <a:avLst/>
          </a:prstGeom>
          <a:noFill/>
          <a:ln>
            <a:noFill/>
          </a:ln>
          <a:effectLst/>
          <a:extLst>
            <a:ext uri="{909E8E84-426E-40DD-AFC4-6F175D3DCCD1}">
              <a14:hiddenFill xmlns:a14="http://schemas.microsoft.com/office/drawing/2010/main">
                <a:solidFill>
                  <a:srgbClr val="86B918"/>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212725" marR="0" lvl="1" indent="-203200" algn="l" defTabSz="746125" rtl="0" eaLnBrk="1" fontAlgn="auto" latinLnBrk="0" hangingPunct="1">
              <a:lnSpc>
                <a:spcPct val="100000"/>
              </a:lnSpc>
              <a:spcBef>
                <a:spcPct val="50000"/>
              </a:spcBef>
              <a:spcAft>
                <a:spcPts val="0"/>
              </a:spcAft>
              <a:buClr>
                <a:srgbClr val="666666"/>
              </a:buClr>
              <a:buSzTx/>
              <a:buFont typeface="Arial" charset="0"/>
              <a:buChar char="•"/>
              <a:tabLst/>
              <a:defRPr/>
            </a:pPr>
            <a:r>
              <a:rPr kumimoji="0" lang="en-US" sz="1100" b="0" i="0" u="none" strike="noStrike" kern="1200" cap="none" spc="0" normalizeH="0" baseline="0" noProof="0" dirty="0">
                <a:ln>
                  <a:noFill/>
                </a:ln>
                <a:solidFill>
                  <a:srgbClr val="666666"/>
                </a:solidFill>
                <a:effectLst/>
                <a:uLnTx/>
                <a:uFillTx/>
                <a:latin typeface="Arial" panose="020B0604020202020204"/>
                <a:ea typeface="+mn-ea"/>
                <a:cs typeface="+mn-cs"/>
              </a:rPr>
              <a:t>Operate open electronic order books</a:t>
            </a:r>
          </a:p>
          <a:p>
            <a:pPr marL="212725" marR="0" lvl="1" indent="-203200" algn="l" defTabSz="746125" rtl="0" eaLnBrk="1" fontAlgn="auto" latinLnBrk="0" hangingPunct="1">
              <a:lnSpc>
                <a:spcPct val="100000"/>
              </a:lnSpc>
              <a:spcBef>
                <a:spcPct val="50000"/>
              </a:spcBef>
              <a:spcAft>
                <a:spcPts val="0"/>
              </a:spcAft>
              <a:buClr>
                <a:srgbClr val="666666"/>
              </a:buClr>
              <a:buSzTx/>
              <a:buFont typeface="Arial" charset="0"/>
              <a:buChar char="•"/>
              <a:tabLst/>
              <a:defRPr/>
            </a:pPr>
            <a:r>
              <a:rPr kumimoji="0" lang="en-US" sz="1100" b="0" i="0" u="none" strike="noStrike" kern="1200" cap="none" spc="0" normalizeH="0" baseline="0" noProof="0" dirty="0">
                <a:ln>
                  <a:noFill/>
                </a:ln>
                <a:solidFill>
                  <a:srgbClr val="666666"/>
                </a:solidFill>
                <a:effectLst/>
                <a:uLnTx/>
                <a:uFillTx/>
                <a:latin typeface="Arial" panose="020B0604020202020204"/>
                <a:ea typeface="+mn-ea"/>
                <a:cs typeface="+mn-cs"/>
              </a:rPr>
              <a:t>Connectivity to international trading members</a:t>
            </a:r>
          </a:p>
        </p:txBody>
      </p:sp>
      <p:sp>
        <p:nvSpPr>
          <p:cNvPr id="19" name="Rectangle 15">
            <a:extLst>
              <a:ext uri="{FF2B5EF4-FFF2-40B4-BE49-F238E27FC236}">
                <a16:creationId xmlns:a16="http://schemas.microsoft.com/office/drawing/2014/main" id="{763E60B1-1133-6B86-8A86-5A8BB2FAF699}"/>
              </a:ext>
            </a:extLst>
          </p:cNvPr>
          <p:cNvSpPr>
            <a:spLocks noChangeArrowheads="1"/>
          </p:cNvSpPr>
          <p:nvPr/>
        </p:nvSpPr>
        <p:spPr bwMode="auto">
          <a:xfrm>
            <a:off x="4010809" y="2636839"/>
            <a:ext cx="1466850" cy="1392237"/>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212725" marR="0" lvl="1" indent="-203200" algn="l" defTabSz="746125" rtl="0" eaLnBrk="1" fontAlgn="auto" latinLnBrk="0" hangingPunct="1">
              <a:lnSpc>
                <a:spcPct val="100000"/>
              </a:lnSpc>
              <a:spcBef>
                <a:spcPct val="50000"/>
              </a:spcBef>
              <a:spcAft>
                <a:spcPts val="0"/>
              </a:spcAft>
              <a:buClr>
                <a:srgbClr val="666666"/>
              </a:buClr>
              <a:buSzTx/>
              <a:buFont typeface="Arial" charset="0"/>
              <a:buChar char="•"/>
              <a:tabLst/>
              <a:defRPr/>
            </a:pPr>
            <a:r>
              <a:rPr kumimoji="0" lang="en-US" sz="1100" b="0" i="0" u="none" strike="noStrike" kern="1200" cap="none" spc="0" normalizeH="0" baseline="0" noProof="0" dirty="0">
                <a:ln>
                  <a:noFill/>
                </a:ln>
                <a:solidFill>
                  <a:srgbClr val="666666"/>
                </a:solidFill>
                <a:effectLst/>
                <a:uLnTx/>
                <a:uFillTx/>
                <a:latin typeface="Arial" panose="020B0604020202020204"/>
                <a:ea typeface="+mn-ea"/>
                <a:cs typeface="+mn-cs"/>
              </a:rPr>
              <a:t>Verification of trade-related information</a:t>
            </a:r>
          </a:p>
          <a:p>
            <a:pPr marL="212725" marR="0" lvl="1" indent="-203200" algn="l" defTabSz="746125" rtl="0" eaLnBrk="1" fontAlgn="auto" latinLnBrk="0" hangingPunct="1">
              <a:lnSpc>
                <a:spcPct val="100000"/>
              </a:lnSpc>
              <a:spcBef>
                <a:spcPct val="50000"/>
              </a:spcBef>
              <a:spcAft>
                <a:spcPts val="0"/>
              </a:spcAft>
              <a:buClr>
                <a:srgbClr val="666666"/>
              </a:buClr>
              <a:buSzTx/>
              <a:buFont typeface="Arial" charset="0"/>
              <a:buChar char="•"/>
              <a:tabLst/>
              <a:defRPr/>
            </a:pPr>
            <a:r>
              <a:rPr kumimoji="0" lang="en-US" sz="1100" b="0" i="0" u="none" strike="noStrike" kern="1200" cap="none" spc="0" normalizeH="0" baseline="0" noProof="0" dirty="0">
                <a:ln>
                  <a:noFill/>
                </a:ln>
                <a:solidFill>
                  <a:srgbClr val="666666"/>
                </a:solidFill>
                <a:effectLst/>
                <a:uLnTx/>
                <a:uFillTx/>
                <a:latin typeface="Arial" panose="020B0604020202020204"/>
                <a:ea typeface="+mn-ea"/>
                <a:cs typeface="+mn-cs"/>
              </a:rPr>
              <a:t>Central counterparty (CCP)</a:t>
            </a:r>
          </a:p>
          <a:p>
            <a:pPr marL="212725" marR="0" lvl="1" indent="-203200" algn="l" defTabSz="746125" rtl="0" eaLnBrk="1" fontAlgn="auto" latinLnBrk="0" hangingPunct="1">
              <a:lnSpc>
                <a:spcPct val="100000"/>
              </a:lnSpc>
              <a:spcBef>
                <a:spcPct val="50000"/>
              </a:spcBef>
              <a:spcAft>
                <a:spcPts val="0"/>
              </a:spcAft>
              <a:buClr>
                <a:srgbClr val="666666"/>
              </a:buClr>
              <a:buSzTx/>
              <a:buFont typeface="Arial" charset="0"/>
              <a:buChar char="•"/>
              <a:tabLst/>
              <a:defRPr/>
            </a:pPr>
            <a:r>
              <a:rPr kumimoji="0" lang="en-US" sz="1100" b="0" i="0" u="none" strike="noStrike" kern="1200" cap="none" spc="0" normalizeH="0" baseline="0" noProof="0" dirty="0">
                <a:ln>
                  <a:noFill/>
                </a:ln>
                <a:solidFill>
                  <a:srgbClr val="666666"/>
                </a:solidFill>
                <a:effectLst/>
                <a:uLnTx/>
                <a:uFillTx/>
                <a:latin typeface="Arial" panose="020B0604020202020204"/>
                <a:ea typeface="+mn-ea"/>
                <a:cs typeface="+mn-cs"/>
              </a:rPr>
              <a:t>Risk Mgmt.</a:t>
            </a:r>
          </a:p>
        </p:txBody>
      </p:sp>
      <p:sp>
        <p:nvSpPr>
          <p:cNvPr id="20" name="Rectangle 16">
            <a:extLst>
              <a:ext uri="{FF2B5EF4-FFF2-40B4-BE49-F238E27FC236}">
                <a16:creationId xmlns:a16="http://schemas.microsoft.com/office/drawing/2014/main" id="{63DFC8EA-B43B-16E1-CEB1-73FC075A2C54}"/>
              </a:ext>
            </a:extLst>
          </p:cNvPr>
          <p:cNvSpPr>
            <a:spLocks noChangeArrowheads="1"/>
          </p:cNvSpPr>
          <p:nvPr/>
        </p:nvSpPr>
        <p:spPr bwMode="auto">
          <a:xfrm>
            <a:off x="5509410" y="2636839"/>
            <a:ext cx="1500187" cy="1436687"/>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212725" marR="0" lvl="1" indent="-203200" algn="l" defTabSz="746125" rtl="0" eaLnBrk="1" fontAlgn="auto" latinLnBrk="0" hangingPunct="1">
              <a:lnSpc>
                <a:spcPct val="100000"/>
              </a:lnSpc>
              <a:spcBef>
                <a:spcPct val="50000"/>
              </a:spcBef>
              <a:spcAft>
                <a:spcPts val="0"/>
              </a:spcAft>
              <a:buClr>
                <a:srgbClr val="666666"/>
              </a:buClr>
              <a:buSzTx/>
              <a:buFont typeface="Arial" charset="0"/>
              <a:buChar char="•"/>
              <a:tabLst/>
              <a:defRPr/>
            </a:pPr>
            <a:r>
              <a:rPr kumimoji="0" lang="en-US" sz="1100" b="0" i="0" u="none" strike="noStrike" kern="1200" cap="none" spc="0" normalizeH="0" baseline="0" noProof="0" dirty="0">
                <a:ln>
                  <a:noFill/>
                </a:ln>
                <a:solidFill>
                  <a:srgbClr val="666666"/>
                </a:solidFill>
                <a:effectLst/>
                <a:uLnTx/>
                <a:uFillTx/>
                <a:latin typeface="Arial" panose="020B0604020202020204"/>
                <a:ea typeface="+mn-ea"/>
                <a:cs typeface="+mn-cs"/>
              </a:rPr>
              <a:t>Delivery of securities </a:t>
            </a:r>
          </a:p>
          <a:p>
            <a:pPr marL="212725" marR="0" lvl="1" indent="-203200" algn="l" defTabSz="746125" rtl="0" eaLnBrk="1" fontAlgn="auto" latinLnBrk="0" hangingPunct="1">
              <a:lnSpc>
                <a:spcPct val="100000"/>
              </a:lnSpc>
              <a:spcBef>
                <a:spcPct val="50000"/>
              </a:spcBef>
              <a:spcAft>
                <a:spcPts val="0"/>
              </a:spcAft>
              <a:buClr>
                <a:srgbClr val="666666"/>
              </a:buClr>
              <a:buSzTx/>
              <a:buFont typeface="Arial" charset="0"/>
              <a:buChar char="•"/>
              <a:tabLst/>
              <a:defRPr/>
            </a:pPr>
            <a:r>
              <a:rPr kumimoji="0" lang="en-US" sz="1100" b="0" i="0" u="none" strike="noStrike" kern="1200" cap="none" spc="0" normalizeH="0" baseline="0" noProof="0" dirty="0">
                <a:ln>
                  <a:noFill/>
                </a:ln>
                <a:solidFill>
                  <a:srgbClr val="666666"/>
                </a:solidFill>
                <a:effectLst/>
                <a:uLnTx/>
                <a:uFillTx/>
                <a:latin typeface="Arial" panose="020B0604020202020204"/>
                <a:ea typeface="+mn-ea"/>
                <a:cs typeface="+mn-cs"/>
              </a:rPr>
              <a:t>Financing services</a:t>
            </a:r>
          </a:p>
          <a:p>
            <a:pPr marL="212725" marR="0" lvl="1" indent="-203200" algn="l" defTabSz="746125" rtl="0" eaLnBrk="1" fontAlgn="auto" latinLnBrk="0" hangingPunct="1">
              <a:lnSpc>
                <a:spcPct val="100000"/>
              </a:lnSpc>
              <a:spcBef>
                <a:spcPct val="50000"/>
              </a:spcBef>
              <a:spcAft>
                <a:spcPts val="0"/>
              </a:spcAft>
              <a:buClr>
                <a:srgbClr val="666666"/>
              </a:buClr>
              <a:buSzTx/>
              <a:buFont typeface="Arial" charset="0"/>
              <a:buChar char="•"/>
              <a:tabLst/>
              <a:defRPr/>
            </a:pPr>
            <a:r>
              <a:rPr kumimoji="0" lang="en-US" sz="1100" b="0" i="0" u="none" strike="noStrike" kern="1200" cap="none" spc="0" normalizeH="0" baseline="0" noProof="0" dirty="0">
                <a:ln>
                  <a:noFill/>
                </a:ln>
                <a:solidFill>
                  <a:srgbClr val="666666"/>
                </a:solidFill>
                <a:effectLst/>
                <a:uLnTx/>
                <a:uFillTx/>
                <a:latin typeface="Arial" panose="020B0604020202020204"/>
                <a:ea typeface="+mn-ea"/>
                <a:cs typeface="+mn-cs"/>
              </a:rPr>
              <a:t>Securities lending &amp; borrowing</a:t>
            </a:r>
          </a:p>
          <a:p>
            <a:pPr marL="212725" marR="0" lvl="1" indent="-203200" algn="l" defTabSz="746125" rtl="0" eaLnBrk="1" fontAlgn="auto" latinLnBrk="0" hangingPunct="1">
              <a:lnSpc>
                <a:spcPct val="100000"/>
              </a:lnSpc>
              <a:spcBef>
                <a:spcPct val="50000"/>
              </a:spcBef>
              <a:spcAft>
                <a:spcPts val="0"/>
              </a:spcAft>
              <a:buClr>
                <a:srgbClr val="666666"/>
              </a:buClr>
              <a:buSzTx/>
              <a:buFont typeface="Arial" charset="0"/>
              <a:buChar char="•"/>
              <a:tabLst/>
              <a:defRPr/>
            </a:pPr>
            <a:endParaRPr kumimoji="0" lang="en-US" sz="110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1" name="Rectangle 17">
            <a:extLst>
              <a:ext uri="{FF2B5EF4-FFF2-40B4-BE49-F238E27FC236}">
                <a16:creationId xmlns:a16="http://schemas.microsoft.com/office/drawing/2014/main" id="{9C42A357-22F3-EF74-1957-785FE1E57EB4}"/>
              </a:ext>
            </a:extLst>
          </p:cNvPr>
          <p:cNvSpPr>
            <a:spLocks noChangeArrowheads="1"/>
          </p:cNvSpPr>
          <p:nvPr/>
        </p:nvSpPr>
        <p:spPr bwMode="auto">
          <a:xfrm>
            <a:off x="6992134" y="2636839"/>
            <a:ext cx="1439862" cy="1392237"/>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179388" marR="0" lvl="1" indent="-169863" algn="l" defTabSz="746125" rtl="0" eaLnBrk="1" fontAlgn="auto" latinLnBrk="0" hangingPunct="1">
              <a:lnSpc>
                <a:spcPct val="100000"/>
              </a:lnSpc>
              <a:spcBef>
                <a:spcPct val="50000"/>
              </a:spcBef>
              <a:spcAft>
                <a:spcPts val="0"/>
              </a:spcAft>
              <a:buClr>
                <a:srgbClr val="666666"/>
              </a:buClr>
              <a:buSzTx/>
              <a:buFont typeface="Arial" charset="0"/>
              <a:buChar char="•"/>
              <a:tabLst/>
              <a:defRPr/>
            </a:pPr>
            <a:r>
              <a:rPr kumimoji="0" lang="en-US" sz="1100" b="0" i="0" u="none" strike="noStrike" kern="1200" cap="none" spc="0" normalizeH="0" baseline="0" noProof="0" dirty="0">
                <a:ln>
                  <a:noFill/>
                </a:ln>
                <a:solidFill>
                  <a:srgbClr val="666666"/>
                </a:solidFill>
                <a:effectLst/>
                <a:uLnTx/>
                <a:uFillTx/>
                <a:latin typeface="Arial" panose="020B0604020202020204"/>
                <a:ea typeface="+mn-ea"/>
                <a:cs typeface="+mn-cs"/>
              </a:rPr>
              <a:t>Physical custody of securities</a:t>
            </a:r>
          </a:p>
          <a:p>
            <a:pPr marL="179388" marR="0" lvl="1" indent="-169863" algn="l" defTabSz="746125" rtl="0" eaLnBrk="1" fontAlgn="auto" latinLnBrk="0" hangingPunct="1">
              <a:lnSpc>
                <a:spcPct val="100000"/>
              </a:lnSpc>
              <a:spcBef>
                <a:spcPct val="50000"/>
              </a:spcBef>
              <a:spcAft>
                <a:spcPts val="0"/>
              </a:spcAft>
              <a:buClr>
                <a:srgbClr val="666666"/>
              </a:buClr>
              <a:buSzTx/>
              <a:buFont typeface="Arial" charset="0"/>
              <a:buChar char="•"/>
              <a:tabLst/>
              <a:defRPr/>
            </a:pPr>
            <a:r>
              <a:rPr kumimoji="0" lang="en-US" sz="1100" b="0" i="0" u="none" strike="noStrike" kern="1200" cap="none" spc="0" normalizeH="0" baseline="0" noProof="0" dirty="0">
                <a:ln>
                  <a:noFill/>
                </a:ln>
                <a:solidFill>
                  <a:srgbClr val="666666"/>
                </a:solidFill>
                <a:effectLst/>
                <a:uLnTx/>
                <a:uFillTx/>
                <a:latin typeface="Arial" panose="020B0604020202020204"/>
                <a:ea typeface="+mn-ea"/>
                <a:cs typeface="+mn-cs"/>
              </a:rPr>
              <a:t>Related services, e.g. tax, corporate actions, income</a:t>
            </a:r>
          </a:p>
        </p:txBody>
      </p:sp>
      <p:sp>
        <p:nvSpPr>
          <p:cNvPr id="22" name="Rectangle 18">
            <a:extLst>
              <a:ext uri="{FF2B5EF4-FFF2-40B4-BE49-F238E27FC236}">
                <a16:creationId xmlns:a16="http://schemas.microsoft.com/office/drawing/2014/main" id="{D4B46D32-E4A9-BEC7-CF50-6BEA34A60D4D}"/>
              </a:ext>
            </a:extLst>
          </p:cNvPr>
          <p:cNvSpPr>
            <a:spLocks noChangeArrowheads="1"/>
          </p:cNvSpPr>
          <p:nvPr/>
        </p:nvSpPr>
        <p:spPr bwMode="auto">
          <a:xfrm>
            <a:off x="1102510" y="4684713"/>
            <a:ext cx="1368425" cy="730250"/>
          </a:xfrm>
          <a:prstGeom prst="rect">
            <a:avLst/>
          </a:prstGeom>
          <a:solidFill>
            <a:srgbClr val="86B918"/>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666666"/>
                </a:solidFill>
                <a:effectLst/>
                <a:uLnTx/>
                <a:uFillTx/>
                <a:latin typeface="Arial" panose="020B0604020202020204"/>
                <a:ea typeface="+mn-ea"/>
                <a:cs typeface="+mn-cs"/>
              </a:rPr>
              <a:t>Information</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666666"/>
                </a:solidFill>
                <a:effectLst/>
                <a:uLnTx/>
                <a:uFillTx/>
                <a:latin typeface="Arial" panose="020B0604020202020204"/>
                <a:ea typeface="+mn-ea"/>
                <a:cs typeface="+mn-cs"/>
              </a:rPr>
              <a:t>Services</a:t>
            </a:r>
          </a:p>
        </p:txBody>
      </p:sp>
      <p:sp>
        <p:nvSpPr>
          <p:cNvPr id="23" name="Rectangle 19">
            <a:extLst>
              <a:ext uri="{FF2B5EF4-FFF2-40B4-BE49-F238E27FC236}">
                <a16:creationId xmlns:a16="http://schemas.microsoft.com/office/drawing/2014/main" id="{04574D5F-7A18-4015-5AAD-ABFD7ED8F895}"/>
              </a:ext>
            </a:extLst>
          </p:cNvPr>
          <p:cNvSpPr>
            <a:spLocks noChangeArrowheads="1"/>
          </p:cNvSpPr>
          <p:nvPr/>
        </p:nvSpPr>
        <p:spPr bwMode="auto">
          <a:xfrm>
            <a:off x="2572534" y="4679951"/>
            <a:ext cx="1409700" cy="333375"/>
          </a:xfrm>
          <a:prstGeom prst="rect">
            <a:avLst/>
          </a:prstGeom>
          <a:solidFill>
            <a:srgbClr val="86B918"/>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66666"/>
                </a:solidFill>
                <a:effectLst/>
                <a:uLnTx/>
                <a:uFillTx/>
                <a:latin typeface="Arial" panose="020B0604020202020204"/>
                <a:ea typeface="+mn-ea"/>
                <a:cs typeface="+mn-cs"/>
              </a:rPr>
              <a:t>FWB</a:t>
            </a:r>
          </a:p>
        </p:txBody>
      </p:sp>
      <p:sp>
        <p:nvSpPr>
          <p:cNvPr id="24" name="Rectangle 20">
            <a:extLst>
              <a:ext uri="{FF2B5EF4-FFF2-40B4-BE49-F238E27FC236}">
                <a16:creationId xmlns:a16="http://schemas.microsoft.com/office/drawing/2014/main" id="{E28729E2-E2E9-0507-D7CA-F32D5DDC06DB}"/>
              </a:ext>
            </a:extLst>
          </p:cNvPr>
          <p:cNvSpPr>
            <a:spLocks noChangeArrowheads="1"/>
          </p:cNvSpPr>
          <p:nvPr/>
        </p:nvSpPr>
        <p:spPr bwMode="gray">
          <a:xfrm>
            <a:off x="4066371" y="4684713"/>
            <a:ext cx="1398588" cy="730250"/>
          </a:xfrm>
          <a:prstGeom prst="rect">
            <a:avLst/>
          </a:prstGeom>
          <a:solidFill>
            <a:srgbClr val="D9D9D9"/>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45718" anchor="ctr" anchorCtr="1"/>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1800" b="0" i="0" u="none" strike="noStrike" kern="1200" cap="none" spc="0" normalizeH="0" baseline="0" noProof="0" dirty="0">
                <a:ln>
                  <a:noFill/>
                </a:ln>
                <a:solidFill>
                  <a:srgbClr val="666666"/>
                </a:solidFill>
                <a:effectLst/>
                <a:uLnTx/>
                <a:uFillTx/>
                <a:latin typeface="Arial" panose="020B0604020202020204"/>
                <a:ea typeface="+mn-ea"/>
                <a:cs typeface="+mn-cs"/>
              </a:rPr>
              <a:t>Eurex </a:t>
            </a:r>
            <a:br>
              <a:rPr kumimoji="0" lang="en-US" sz="1800" b="0" i="0" u="none" strike="noStrike" kern="1200" cap="none" spc="0" normalizeH="0" baseline="0" noProof="0" dirty="0">
                <a:ln>
                  <a:noFill/>
                </a:ln>
                <a:solidFill>
                  <a:srgbClr val="666666"/>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666666"/>
                </a:solidFill>
                <a:effectLst/>
                <a:uLnTx/>
                <a:uFillTx/>
                <a:latin typeface="Arial" panose="020B0604020202020204"/>
                <a:ea typeface="+mn-ea"/>
                <a:cs typeface="+mn-cs"/>
              </a:rPr>
              <a:t>Clearing</a:t>
            </a:r>
          </a:p>
        </p:txBody>
      </p:sp>
      <p:sp>
        <p:nvSpPr>
          <p:cNvPr id="25" name="Rectangle 21">
            <a:extLst>
              <a:ext uri="{FF2B5EF4-FFF2-40B4-BE49-F238E27FC236}">
                <a16:creationId xmlns:a16="http://schemas.microsoft.com/office/drawing/2014/main" id="{808E70DD-66C8-7FA0-B165-AD1A2EE8614C}"/>
              </a:ext>
            </a:extLst>
          </p:cNvPr>
          <p:cNvSpPr>
            <a:spLocks noChangeArrowheads="1"/>
          </p:cNvSpPr>
          <p:nvPr/>
        </p:nvSpPr>
        <p:spPr bwMode="auto">
          <a:xfrm>
            <a:off x="5537984" y="4684713"/>
            <a:ext cx="2836862" cy="730250"/>
          </a:xfrm>
          <a:prstGeom prst="rect">
            <a:avLst/>
          </a:prstGeom>
          <a:solidFill>
            <a:srgbClr val="00A5C0"/>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81000" rIns="81000" bIns="81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FFFFFF"/>
                </a:solidFill>
                <a:effectLst/>
                <a:uLnTx/>
                <a:uFillTx/>
                <a:latin typeface="Arial" panose="020B0604020202020204"/>
                <a:ea typeface="+mn-ea"/>
                <a:cs typeface="+mn-cs"/>
              </a:rPr>
              <a:t>Clearstream</a:t>
            </a: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 Banking</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Frankfurt and Luxemburg)</a:t>
            </a:r>
          </a:p>
        </p:txBody>
      </p:sp>
      <p:sp>
        <p:nvSpPr>
          <p:cNvPr id="26" name="Rectangle 22">
            <a:extLst>
              <a:ext uri="{FF2B5EF4-FFF2-40B4-BE49-F238E27FC236}">
                <a16:creationId xmlns:a16="http://schemas.microsoft.com/office/drawing/2014/main" id="{EEB3C5C9-0BD5-8DDF-7EE8-B2CE7E3B1146}"/>
              </a:ext>
            </a:extLst>
          </p:cNvPr>
          <p:cNvSpPr>
            <a:spLocks noChangeArrowheads="1"/>
          </p:cNvSpPr>
          <p:nvPr/>
        </p:nvSpPr>
        <p:spPr bwMode="auto">
          <a:xfrm>
            <a:off x="2572534" y="5087939"/>
            <a:ext cx="1409700" cy="333375"/>
          </a:xfrm>
          <a:prstGeom prst="rect">
            <a:avLst/>
          </a:prstGeom>
          <a:solidFill>
            <a:srgbClr val="86B918"/>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6666"/>
                </a:solidFill>
                <a:effectLst/>
                <a:uLnTx/>
                <a:uFillTx/>
                <a:latin typeface="Arial" panose="020B0604020202020204"/>
                <a:ea typeface="+mn-ea"/>
                <a:cs typeface="+mn-cs"/>
              </a:rPr>
              <a:t>Eurex Exchange</a:t>
            </a:r>
          </a:p>
        </p:txBody>
      </p:sp>
      <p:sp>
        <p:nvSpPr>
          <p:cNvPr id="27" name="AutoShape 8">
            <a:extLst>
              <a:ext uri="{FF2B5EF4-FFF2-40B4-BE49-F238E27FC236}">
                <a16:creationId xmlns:a16="http://schemas.microsoft.com/office/drawing/2014/main" id="{F0DE4AAC-8575-4E90-E637-C668D7770573}"/>
              </a:ext>
            </a:extLst>
          </p:cNvPr>
          <p:cNvSpPr>
            <a:spLocks noChangeArrowheads="1"/>
          </p:cNvSpPr>
          <p:nvPr/>
        </p:nvSpPr>
        <p:spPr bwMode="auto">
          <a:xfrm>
            <a:off x="1123147" y="5543550"/>
            <a:ext cx="7326313" cy="514350"/>
          </a:xfrm>
          <a:prstGeom prst="homePlate">
            <a:avLst>
              <a:gd name="adj" fmla="val 48600"/>
            </a:avLst>
          </a:prstGeom>
          <a:solidFill>
            <a:srgbClr val="86B918"/>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rtl="0" eaLnBrk="0" fontAlgn="auto" latinLnBrk="0" hangingPunct="0">
              <a:lnSpc>
                <a:spcPct val="100000"/>
              </a:lnSpc>
              <a:spcBef>
                <a:spcPct val="50000"/>
              </a:spcBef>
              <a:spcAft>
                <a:spcPts val="0"/>
              </a:spcAft>
              <a:buClrTx/>
              <a:buSzTx/>
              <a:buFont typeface="Arial" charset="0"/>
              <a:buNone/>
              <a:tabLst/>
              <a:defRPr/>
            </a:pPr>
            <a:r>
              <a:rPr kumimoji="0" lang="en-US" sz="1800" b="0" i="0" u="none" strike="noStrike" kern="1200" cap="none" spc="0" normalizeH="0" baseline="0" noProof="0">
                <a:ln>
                  <a:noFill/>
                </a:ln>
                <a:solidFill>
                  <a:srgbClr val="666666"/>
                </a:solidFill>
                <a:effectLst/>
                <a:uLnTx/>
                <a:uFillTx/>
                <a:latin typeface="Arial" panose="020B0604020202020204"/>
                <a:ea typeface="+mn-ea"/>
                <a:cs typeface="+mn-cs"/>
              </a:rPr>
              <a:t>IT-Services</a:t>
            </a:r>
          </a:p>
        </p:txBody>
      </p:sp>
    </p:spTree>
    <p:extLst>
      <p:ext uri="{BB962C8B-B14F-4D97-AF65-F5344CB8AC3E}">
        <p14:creationId xmlns:p14="http://schemas.microsoft.com/office/powerpoint/2010/main" val="5981165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66D78-54A5-1044-A741-2366FF5E52CC}"/>
              </a:ext>
            </a:extLst>
          </p:cNvPr>
          <p:cNvSpPr>
            <a:spLocks noGrp="1"/>
          </p:cNvSpPr>
          <p:nvPr>
            <p:ph type="ctrTitle"/>
          </p:nvPr>
        </p:nvSpPr>
        <p:spPr>
          <a:xfrm>
            <a:off x="1524000" y="2573189"/>
            <a:ext cx="9144000" cy="1711622"/>
          </a:xfrm>
        </p:spPr>
        <p:txBody>
          <a:bodyPr>
            <a:spAutoFit/>
          </a:bodyPr>
          <a:lstStyle/>
          <a:p>
            <a:r>
              <a:rPr lang="en-GB" sz="11500" dirty="0"/>
              <a:t>BSE </a:t>
            </a:r>
            <a:r>
              <a:rPr lang="en-GB" sz="11500" b="0" dirty="0">
                <a:solidFill>
                  <a:srgbClr val="DA98FF"/>
                </a:solidFill>
                <a:latin typeface="Bebas Neue Book" pitchFamily="2" charset="77"/>
              </a:rPr>
              <a:t>Trading data </a:t>
            </a:r>
            <a:endParaRPr lang="en-BG" sz="11500" b="0" dirty="0">
              <a:solidFill>
                <a:srgbClr val="DA98FF"/>
              </a:solidFill>
              <a:latin typeface="Bebas Neue Book" pitchFamily="2" charset="77"/>
            </a:endParaRPr>
          </a:p>
        </p:txBody>
      </p:sp>
    </p:spTree>
    <p:extLst>
      <p:ext uri="{BB962C8B-B14F-4D97-AF65-F5344CB8AC3E}">
        <p14:creationId xmlns:p14="http://schemas.microsoft.com/office/powerpoint/2010/main" val="337266793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30A1DC4-9D47-D8D3-AE0B-AAC4B8CA44BB}"/>
              </a:ext>
            </a:extLst>
          </p:cNvPr>
          <p:cNvSpPr>
            <a:spLocks noGrp="1"/>
          </p:cNvSpPr>
          <p:nvPr>
            <p:ph type="sldNum" sz="quarter" idx="16"/>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FCA3128-5B09-47E5-B47D-6F0CB7A5DE9F}" type="slidenum">
              <a:rPr kumimoji="0" lang="en-US" sz="900" b="0" i="0" u="none" strike="noStrike" kern="1200" cap="none" spc="0" normalizeH="0" baseline="0" noProof="0" smtClean="0">
                <a:ln>
                  <a:noFill/>
                </a:ln>
                <a:solidFill>
                  <a:srgbClr val="666666"/>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0</a:t>
            </a:fld>
            <a:endParaRPr kumimoji="0" lang="en-US" sz="900" b="0" i="0" u="none" strike="noStrike" kern="1200" cap="none" spc="0" normalizeH="0" baseline="0" noProof="0">
              <a:ln>
                <a:noFill/>
              </a:ln>
              <a:solidFill>
                <a:srgbClr val="666666"/>
              </a:solidFill>
              <a:effectLst/>
              <a:uLnTx/>
              <a:uFillTx/>
              <a:latin typeface="Arial" panose="020B0604020202020204"/>
              <a:ea typeface="+mn-ea"/>
              <a:cs typeface="+mn-cs"/>
            </a:endParaRPr>
          </a:p>
        </p:txBody>
      </p:sp>
      <p:sp>
        <p:nvSpPr>
          <p:cNvPr id="5" name="Rectangle 2">
            <a:extLst>
              <a:ext uri="{FF2B5EF4-FFF2-40B4-BE49-F238E27FC236}">
                <a16:creationId xmlns:a16="http://schemas.microsoft.com/office/drawing/2014/main" id="{F0694720-A3F5-BFF4-2528-5D5599E7B584}"/>
              </a:ext>
            </a:extLst>
          </p:cNvPr>
          <p:cNvSpPr>
            <a:spLocks noChangeArrowheads="1"/>
          </p:cNvSpPr>
          <p:nvPr/>
        </p:nvSpPr>
        <p:spPr bwMode="gray">
          <a:xfrm>
            <a:off x="2528889" y="1082675"/>
            <a:ext cx="7807325" cy="4794250"/>
          </a:xfrm>
          <a:prstGeom prst="rect">
            <a:avLst/>
          </a:prstGeom>
          <a:noFill/>
          <a:ln>
            <a:noFill/>
          </a:ln>
          <a:effectLst>
            <a:prstShdw prst="shdw17" dist="17961" dir="2700000">
              <a:srgbClr val="8C8C8C"/>
            </a:prstShdw>
          </a:effectLst>
          <a:extLst>
            <a:ext uri="{909E8E84-426E-40DD-AFC4-6F175D3DCCD1}">
              <a14:hiddenFill xmlns:a14="http://schemas.microsoft.com/office/drawing/2010/main">
                <a:solidFill>
                  <a:srgbClr val="EAEAEA"/>
                </a:solidFill>
              </a14:hiddenFill>
            </a:ext>
            <a:ext uri="{91240B29-F687-4F45-9708-019B960494DF}">
              <a14:hiddenLine xmlns:a14="http://schemas.microsoft.com/office/drawing/2010/main" w="9525">
                <a:solidFill>
                  <a:schemeClr val="tx1"/>
                </a:solidFill>
                <a:miter lim="800000"/>
                <a:headEnd type="none" w="sm" len="sm"/>
                <a:tailEnd type="none" w="sm" len="sm"/>
              </a14:hiddenLine>
            </a:ext>
          </a:extLst>
        </p:spPr>
        <p:txBody>
          <a:bodyPr/>
          <a:lstStyle/>
          <a:p>
            <a:pPr marL="187325" marR="0" lvl="0" indent="-187325" algn="l" defTabSz="762000" rtl="0" eaLnBrk="0" fontAlgn="auto" latinLnBrk="0" hangingPunct="0">
              <a:lnSpc>
                <a:spcPct val="120000"/>
              </a:lnSpc>
              <a:spcBef>
                <a:spcPct val="50000"/>
              </a:spcBef>
              <a:spcAft>
                <a:spcPts val="0"/>
              </a:spcAft>
              <a:buClrTx/>
              <a:buSzTx/>
              <a:buFontTx/>
              <a:buChar char="•"/>
              <a:tabLst/>
              <a:defRPr/>
            </a:pPr>
            <a:endParaRPr kumimoji="0" lang="en-US" sz="1800" b="0" i="0" u="none" strike="noStrike" kern="1200" cap="none" spc="0" normalizeH="0" baseline="0" noProof="0">
              <a:ln>
                <a:noFill/>
              </a:ln>
              <a:solidFill>
                <a:srgbClr val="666666"/>
              </a:solidFill>
              <a:effectLst/>
              <a:uLnTx/>
              <a:uFillTx/>
              <a:latin typeface="Arial" panose="020B0604020202020204"/>
              <a:ea typeface="+mn-ea"/>
              <a:cs typeface="+mn-cs"/>
            </a:endParaRPr>
          </a:p>
        </p:txBody>
      </p:sp>
      <p:sp>
        <p:nvSpPr>
          <p:cNvPr id="6" name="Rectangle 3">
            <a:extLst>
              <a:ext uri="{FF2B5EF4-FFF2-40B4-BE49-F238E27FC236}">
                <a16:creationId xmlns:a16="http://schemas.microsoft.com/office/drawing/2014/main" id="{1448E7EB-3507-4275-65AB-16F8E52DE3AA}"/>
              </a:ext>
            </a:extLst>
          </p:cNvPr>
          <p:cNvSpPr>
            <a:spLocks noChangeArrowheads="1"/>
          </p:cNvSpPr>
          <p:nvPr/>
        </p:nvSpPr>
        <p:spPr bwMode="hidden">
          <a:xfrm>
            <a:off x="818061" y="2206899"/>
            <a:ext cx="881063" cy="3932644"/>
          </a:xfrm>
          <a:prstGeom prst="rect">
            <a:avLst/>
          </a:prstGeom>
          <a:solidFill>
            <a:schemeClr val="accent1"/>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rtl="0" eaLnBrk="1" fontAlgn="auto" latinLnBrk="0" hangingPunct="1">
              <a:lnSpc>
                <a:spcPct val="100000"/>
              </a:lnSpc>
              <a:spcBef>
                <a:spcPct val="50000"/>
              </a:spcBef>
              <a:spcAft>
                <a:spcPts val="0"/>
              </a:spcAft>
              <a:buClrTx/>
              <a:buSzTx/>
              <a:buFont typeface="Arial" charset="0"/>
              <a:buNone/>
              <a:tabLst/>
              <a:defRPr/>
            </a:pPr>
            <a:endParaRPr kumimoji="0" lang="en-US" sz="1800" b="0" i="0" u="none" strike="noStrike" kern="1200" cap="none" spc="0" normalizeH="0" baseline="0" noProof="0">
              <a:ln>
                <a:noFill/>
              </a:ln>
              <a:solidFill>
                <a:srgbClr val="666666"/>
              </a:solidFill>
              <a:effectLst/>
              <a:uLnTx/>
              <a:uFillTx/>
              <a:latin typeface="Arial" panose="020B0604020202020204"/>
              <a:ea typeface="+mn-ea"/>
              <a:cs typeface="+mn-cs"/>
            </a:endParaRPr>
          </a:p>
        </p:txBody>
      </p:sp>
      <p:sp>
        <p:nvSpPr>
          <p:cNvPr id="7" name="Text Box 4">
            <a:extLst>
              <a:ext uri="{FF2B5EF4-FFF2-40B4-BE49-F238E27FC236}">
                <a16:creationId xmlns:a16="http://schemas.microsoft.com/office/drawing/2014/main" id="{8FA2B455-F7ED-7A8D-344D-809A8DD1F069}"/>
              </a:ext>
            </a:extLst>
          </p:cNvPr>
          <p:cNvSpPr txBox="1">
            <a:spLocks noChangeArrowheads="1"/>
          </p:cNvSpPr>
          <p:nvPr/>
        </p:nvSpPr>
        <p:spPr bwMode="auto">
          <a:xfrm>
            <a:off x="3704135" y="2558096"/>
            <a:ext cx="5467350" cy="83099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marL="285750" indent="-285750" eaLnBrk="0" hangingPunct="0">
              <a:defRPr sz="1400" b="1">
                <a:solidFill>
                  <a:schemeClr val="bg1"/>
                </a:solidFill>
                <a:latin typeface="Arial" charset="0"/>
                <a:ea typeface="MS PGothic" pitchFamily="34" charset="-128"/>
              </a:defRPr>
            </a:lvl1pPr>
            <a:lvl2pPr marL="742950" indent="-285750" eaLnBrk="0" hangingPunct="0">
              <a:defRPr sz="1400" b="1">
                <a:solidFill>
                  <a:schemeClr val="bg1"/>
                </a:solidFill>
                <a:latin typeface="Arial" charset="0"/>
                <a:ea typeface="MS PGothic" pitchFamily="34" charset="-128"/>
              </a:defRPr>
            </a:lvl2pPr>
            <a:lvl3pPr marL="1143000" indent="-228600" eaLnBrk="0" hangingPunct="0">
              <a:defRPr sz="1400" b="1">
                <a:solidFill>
                  <a:schemeClr val="bg1"/>
                </a:solidFill>
                <a:latin typeface="Arial" charset="0"/>
                <a:ea typeface="MS PGothic" pitchFamily="34" charset="-128"/>
              </a:defRPr>
            </a:lvl3pPr>
            <a:lvl4pPr marL="1600200" indent="-228600" eaLnBrk="0" hangingPunct="0">
              <a:defRPr sz="1400" b="1">
                <a:solidFill>
                  <a:schemeClr val="bg1"/>
                </a:solidFill>
                <a:latin typeface="Arial" charset="0"/>
                <a:ea typeface="MS PGothic" pitchFamily="34" charset="-128"/>
              </a:defRPr>
            </a:lvl4pPr>
            <a:lvl5pPr marL="2057400" indent="-228600" eaLnBrk="0" hangingPunct="0">
              <a:defRPr sz="1400" b="1">
                <a:solidFill>
                  <a:schemeClr val="bg1"/>
                </a:solidFill>
                <a:latin typeface="Arial" charset="0"/>
                <a:ea typeface="MS PGothic" pitchFamily="34" charset="-128"/>
              </a:defRPr>
            </a:lvl5pPr>
            <a:lvl6pPr marL="2514600" indent="-228600" eaLnBrk="0" fontAlgn="base" hangingPunct="0">
              <a:spcBef>
                <a:spcPct val="0"/>
              </a:spcBef>
              <a:spcAft>
                <a:spcPct val="0"/>
              </a:spcAft>
              <a:defRPr sz="1400" b="1">
                <a:solidFill>
                  <a:schemeClr val="bg1"/>
                </a:solidFill>
                <a:latin typeface="Arial" charset="0"/>
                <a:ea typeface="MS PGothic" pitchFamily="34" charset="-128"/>
              </a:defRPr>
            </a:lvl6pPr>
            <a:lvl7pPr marL="2971800" indent="-228600" eaLnBrk="0" fontAlgn="base" hangingPunct="0">
              <a:spcBef>
                <a:spcPct val="0"/>
              </a:spcBef>
              <a:spcAft>
                <a:spcPct val="0"/>
              </a:spcAft>
              <a:defRPr sz="1400" b="1">
                <a:solidFill>
                  <a:schemeClr val="bg1"/>
                </a:solidFill>
                <a:latin typeface="Arial" charset="0"/>
                <a:ea typeface="MS PGothic" pitchFamily="34" charset="-128"/>
              </a:defRPr>
            </a:lvl7pPr>
            <a:lvl8pPr marL="3429000" indent="-228600" eaLnBrk="0" fontAlgn="base" hangingPunct="0">
              <a:spcBef>
                <a:spcPct val="0"/>
              </a:spcBef>
              <a:spcAft>
                <a:spcPct val="0"/>
              </a:spcAft>
              <a:defRPr sz="1400" b="1">
                <a:solidFill>
                  <a:schemeClr val="bg1"/>
                </a:solidFill>
                <a:latin typeface="Arial" charset="0"/>
                <a:ea typeface="MS PGothic" pitchFamily="34" charset="-128"/>
              </a:defRPr>
            </a:lvl8pPr>
            <a:lvl9pPr marL="3886200" indent="-228600" eaLnBrk="0" fontAlgn="base" hangingPunct="0">
              <a:spcBef>
                <a:spcPct val="0"/>
              </a:spcBef>
              <a:spcAft>
                <a:spcPct val="0"/>
              </a:spcAft>
              <a:defRPr sz="1400" b="1">
                <a:solidFill>
                  <a:schemeClr val="bg1"/>
                </a:solidFill>
                <a:latin typeface="Arial" charset="0"/>
                <a:ea typeface="MS PGothic" pitchFamily="34" charset="-128"/>
              </a:defRPr>
            </a:lvl9pPr>
          </a:lstStyle>
          <a:p>
            <a:pPr marL="285750" marR="0" lvl="0" indent="-285750" algn="l" defTabSz="914400" rtl="0" eaLnBrk="0" fontAlgn="auto" latinLnBrk="0" hangingPunct="0">
              <a:lnSpc>
                <a:spcPct val="100000"/>
              </a:lnSpc>
              <a:spcBef>
                <a:spcPct val="10000"/>
              </a:spcBef>
              <a:spcAft>
                <a:spcPts val="0"/>
              </a:spcAft>
              <a:buClr>
                <a:srgbClr val="00A5C0"/>
              </a:buClr>
              <a:buSzTx/>
              <a:buFont typeface="Wingdings" pitchFamily="2" charset="2"/>
              <a:buChar char=""/>
              <a:tabLst/>
              <a:defRPr/>
            </a:pPr>
            <a:r>
              <a:rPr kumimoji="0" lang="en-US" sz="1600" b="0" i="0" u="none" strike="noStrike" kern="1200" cap="none" spc="0" normalizeH="0" baseline="0" noProof="0" dirty="0">
                <a:ln>
                  <a:noFill/>
                </a:ln>
                <a:solidFill>
                  <a:srgbClr val="666666"/>
                </a:solidFill>
                <a:effectLst/>
                <a:uLnTx/>
                <a:uFillTx/>
                <a:latin typeface="Arial" charset="0"/>
                <a:ea typeface="MS PGothic" pitchFamily="34" charset="-128"/>
                <a:cs typeface="+mn-cs"/>
              </a:rPr>
              <a:t>Legal entity, which enters as contracting party into exchange/ off-exchange transactions concluded between two participants</a:t>
            </a:r>
          </a:p>
        </p:txBody>
      </p:sp>
      <p:sp>
        <p:nvSpPr>
          <p:cNvPr id="8" name="Text Box 5">
            <a:extLst>
              <a:ext uri="{FF2B5EF4-FFF2-40B4-BE49-F238E27FC236}">
                <a16:creationId xmlns:a16="http://schemas.microsoft.com/office/drawing/2014/main" id="{BABCED66-17B9-C339-061E-7CA0A225043C}"/>
              </a:ext>
            </a:extLst>
          </p:cNvPr>
          <p:cNvSpPr txBox="1">
            <a:spLocks noChangeArrowheads="1"/>
          </p:cNvSpPr>
          <p:nvPr/>
        </p:nvSpPr>
        <p:spPr bwMode="auto">
          <a:xfrm>
            <a:off x="3704135" y="3935686"/>
            <a:ext cx="5822950" cy="245349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marL="266700" indent="-266700" eaLnBrk="0" hangingPunct="0">
              <a:defRPr sz="1400" b="1">
                <a:solidFill>
                  <a:schemeClr val="bg1"/>
                </a:solidFill>
                <a:latin typeface="Arial" charset="0"/>
                <a:ea typeface="MS PGothic" pitchFamily="34" charset="-128"/>
              </a:defRPr>
            </a:lvl1pPr>
            <a:lvl2pPr marL="742950" indent="-285750" eaLnBrk="0" hangingPunct="0">
              <a:defRPr sz="1400" b="1">
                <a:solidFill>
                  <a:schemeClr val="bg1"/>
                </a:solidFill>
                <a:latin typeface="Arial" charset="0"/>
                <a:ea typeface="MS PGothic" pitchFamily="34" charset="-128"/>
              </a:defRPr>
            </a:lvl2pPr>
            <a:lvl3pPr marL="1143000" indent="-228600" eaLnBrk="0" hangingPunct="0">
              <a:defRPr sz="1400" b="1">
                <a:solidFill>
                  <a:schemeClr val="bg1"/>
                </a:solidFill>
                <a:latin typeface="Arial" charset="0"/>
                <a:ea typeface="MS PGothic" pitchFamily="34" charset="-128"/>
              </a:defRPr>
            </a:lvl3pPr>
            <a:lvl4pPr marL="1600200" indent="-228600" eaLnBrk="0" hangingPunct="0">
              <a:defRPr sz="1400" b="1">
                <a:solidFill>
                  <a:schemeClr val="bg1"/>
                </a:solidFill>
                <a:latin typeface="Arial" charset="0"/>
                <a:ea typeface="MS PGothic" pitchFamily="34" charset="-128"/>
              </a:defRPr>
            </a:lvl4pPr>
            <a:lvl5pPr marL="2057400" indent="-228600" eaLnBrk="0" hangingPunct="0">
              <a:defRPr sz="1400" b="1">
                <a:solidFill>
                  <a:schemeClr val="bg1"/>
                </a:solidFill>
                <a:latin typeface="Arial" charset="0"/>
                <a:ea typeface="MS PGothic" pitchFamily="34" charset="-128"/>
              </a:defRPr>
            </a:lvl5pPr>
            <a:lvl6pPr marL="2514600" indent="-228600" eaLnBrk="0" fontAlgn="base" hangingPunct="0">
              <a:spcBef>
                <a:spcPct val="0"/>
              </a:spcBef>
              <a:spcAft>
                <a:spcPct val="0"/>
              </a:spcAft>
              <a:defRPr sz="1400" b="1">
                <a:solidFill>
                  <a:schemeClr val="bg1"/>
                </a:solidFill>
                <a:latin typeface="Arial" charset="0"/>
                <a:ea typeface="MS PGothic" pitchFamily="34" charset="-128"/>
              </a:defRPr>
            </a:lvl6pPr>
            <a:lvl7pPr marL="2971800" indent="-228600" eaLnBrk="0" fontAlgn="base" hangingPunct="0">
              <a:spcBef>
                <a:spcPct val="0"/>
              </a:spcBef>
              <a:spcAft>
                <a:spcPct val="0"/>
              </a:spcAft>
              <a:defRPr sz="1400" b="1">
                <a:solidFill>
                  <a:schemeClr val="bg1"/>
                </a:solidFill>
                <a:latin typeface="Arial" charset="0"/>
                <a:ea typeface="MS PGothic" pitchFamily="34" charset="-128"/>
              </a:defRPr>
            </a:lvl7pPr>
            <a:lvl8pPr marL="3429000" indent="-228600" eaLnBrk="0" fontAlgn="base" hangingPunct="0">
              <a:spcBef>
                <a:spcPct val="0"/>
              </a:spcBef>
              <a:spcAft>
                <a:spcPct val="0"/>
              </a:spcAft>
              <a:defRPr sz="1400" b="1">
                <a:solidFill>
                  <a:schemeClr val="bg1"/>
                </a:solidFill>
                <a:latin typeface="Arial" charset="0"/>
                <a:ea typeface="MS PGothic" pitchFamily="34" charset="-128"/>
              </a:defRPr>
            </a:lvl8pPr>
            <a:lvl9pPr marL="3886200" indent="-228600" eaLnBrk="0" fontAlgn="base" hangingPunct="0">
              <a:spcBef>
                <a:spcPct val="0"/>
              </a:spcBef>
              <a:spcAft>
                <a:spcPct val="0"/>
              </a:spcAft>
              <a:defRPr sz="1400" b="1">
                <a:solidFill>
                  <a:schemeClr val="bg1"/>
                </a:solidFill>
                <a:latin typeface="Arial" charset="0"/>
                <a:ea typeface="MS PGothic" pitchFamily="34" charset="-128"/>
              </a:defRPr>
            </a:lvl9pPr>
          </a:lstStyle>
          <a:p>
            <a:pPr marL="266700" marR="0" lvl="0" indent="-266700" algn="l" defTabSz="914400" rtl="0" eaLnBrk="0" fontAlgn="auto" latinLnBrk="0" hangingPunct="0">
              <a:lnSpc>
                <a:spcPct val="100000"/>
              </a:lnSpc>
              <a:spcBef>
                <a:spcPct val="10000"/>
              </a:spcBef>
              <a:spcAft>
                <a:spcPts val="0"/>
              </a:spcAft>
              <a:buClr>
                <a:srgbClr val="00A5C0"/>
              </a:buClr>
              <a:buSzTx/>
              <a:buFont typeface="Wingdings" pitchFamily="2" charset="2"/>
              <a:buChar char=""/>
              <a:tabLst/>
              <a:defRPr/>
            </a:pPr>
            <a:r>
              <a:rPr kumimoji="0" lang="en-US" sz="1600" b="0" i="0" u="none" strike="noStrike" kern="1200" cap="none" spc="0" normalizeH="0" baseline="0" noProof="0" dirty="0">
                <a:ln>
                  <a:noFill/>
                </a:ln>
                <a:solidFill>
                  <a:srgbClr val="666666"/>
                </a:solidFill>
                <a:effectLst/>
                <a:uLnTx/>
                <a:uFillTx/>
                <a:latin typeface="Arial" charset="0"/>
                <a:ea typeface="MS PGothic" pitchFamily="34" charset="-128"/>
                <a:cs typeface="+mn-cs"/>
              </a:rPr>
              <a:t>Take-over of counterparty risk</a:t>
            </a:r>
          </a:p>
          <a:p>
            <a:pPr marL="266700" marR="0" lvl="0" indent="-266700" algn="l" defTabSz="914400" rtl="0" eaLnBrk="0" fontAlgn="auto" latinLnBrk="0" hangingPunct="0">
              <a:lnSpc>
                <a:spcPct val="100000"/>
              </a:lnSpc>
              <a:spcBef>
                <a:spcPts val="0"/>
              </a:spcBef>
              <a:spcAft>
                <a:spcPts val="0"/>
              </a:spcAft>
              <a:buClr>
                <a:srgbClr val="00A5C0"/>
              </a:buClr>
              <a:buSzTx/>
              <a:buFont typeface="Wingdings" pitchFamily="2" charset="2"/>
              <a:buChar char=""/>
              <a:tabLst/>
              <a:defRPr/>
            </a:pPr>
            <a:r>
              <a:rPr kumimoji="0" lang="en-US" sz="1600" b="0" i="0" u="none" strike="noStrike" kern="1200" cap="none" spc="0" normalizeH="0" baseline="0" noProof="0" dirty="0">
                <a:ln>
                  <a:noFill/>
                </a:ln>
                <a:solidFill>
                  <a:srgbClr val="666666"/>
                </a:solidFill>
                <a:effectLst/>
                <a:uLnTx/>
                <a:uFillTx/>
                <a:latin typeface="Arial" charset="0"/>
                <a:ea typeface="MS PGothic" pitchFamily="34" charset="-128"/>
                <a:cs typeface="+mn-cs"/>
              </a:rPr>
              <a:t>Provide anonymity conditions after trade execution</a:t>
            </a:r>
          </a:p>
          <a:p>
            <a:pPr marL="266700" marR="0" lvl="0" indent="-266700" algn="l" defTabSz="914400" rtl="0" eaLnBrk="0" fontAlgn="auto" latinLnBrk="0" hangingPunct="0">
              <a:lnSpc>
                <a:spcPct val="100000"/>
              </a:lnSpc>
              <a:spcBef>
                <a:spcPts val="0"/>
              </a:spcBef>
              <a:spcAft>
                <a:spcPts val="0"/>
              </a:spcAft>
              <a:buClr>
                <a:srgbClr val="00A5C0"/>
              </a:buClr>
              <a:buSzTx/>
              <a:buFont typeface="Wingdings" pitchFamily="2" charset="2"/>
              <a:buChar char=""/>
              <a:tabLst/>
              <a:defRPr/>
            </a:pPr>
            <a:r>
              <a:rPr kumimoji="0" lang="en-US" sz="1600" b="0" i="0" u="none" strike="noStrike" kern="1200" cap="none" spc="0" normalizeH="0" baseline="0" noProof="0" dirty="0">
                <a:ln>
                  <a:noFill/>
                </a:ln>
                <a:solidFill>
                  <a:srgbClr val="666666"/>
                </a:solidFill>
                <a:effectLst/>
                <a:uLnTx/>
                <a:uFillTx/>
                <a:latin typeface="Arial" charset="0"/>
                <a:ea typeface="MS PGothic" pitchFamily="34" charset="-128"/>
                <a:cs typeface="+mn-cs"/>
              </a:rPr>
              <a:t>Reduction in number of securities deliveries through offsetting</a:t>
            </a:r>
          </a:p>
          <a:p>
            <a:pPr marL="266700" marR="0" lvl="0" indent="-266700" algn="l" defTabSz="914400" rtl="0" eaLnBrk="0" fontAlgn="auto" latinLnBrk="0" hangingPunct="0">
              <a:lnSpc>
                <a:spcPct val="100000"/>
              </a:lnSpc>
              <a:spcBef>
                <a:spcPts val="0"/>
              </a:spcBef>
              <a:spcAft>
                <a:spcPts val="0"/>
              </a:spcAft>
              <a:buClr>
                <a:srgbClr val="00A5C0"/>
              </a:buClr>
              <a:buSzTx/>
              <a:buFont typeface="Wingdings" pitchFamily="2" charset="2"/>
              <a:buChar char=""/>
              <a:tabLst/>
              <a:defRPr/>
            </a:pPr>
            <a:r>
              <a:rPr kumimoji="0" lang="en-US" sz="1600" b="0" i="0" u="none" strike="noStrike" kern="1200" cap="none" spc="0" normalizeH="0" baseline="0" noProof="0" dirty="0">
                <a:ln>
                  <a:noFill/>
                </a:ln>
                <a:solidFill>
                  <a:srgbClr val="666666"/>
                </a:solidFill>
                <a:effectLst/>
                <a:uLnTx/>
                <a:uFillTx/>
                <a:latin typeface="Arial" charset="0"/>
                <a:ea typeface="MS PGothic" pitchFamily="34" charset="-128"/>
                <a:cs typeface="+mn-cs"/>
              </a:rPr>
              <a:t>Simplified cross-border settlement</a:t>
            </a:r>
          </a:p>
          <a:p>
            <a:pPr marL="266700" marR="0" lvl="0" indent="-266700" algn="l" defTabSz="914400" rtl="0" eaLnBrk="0" fontAlgn="auto" latinLnBrk="0" hangingPunct="0">
              <a:lnSpc>
                <a:spcPct val="100000"/>
              </a:lnSpc>
              <a:spcBef>
                <a:spcPts val="0"/>
              </a:spcBef>
              <a:spcAft>
                <a:spcPts val="0"/>
              </a:spcAft>
              <a:buClr>
                <a:srgbClr val="00A5C0"/>
              </a:buClr>
              <a:buSzTx/>
              <a:buFont typeface="Wingdings" pitchFamily="2" charset="2"/>
              <a:buChar char=""/>
              <a:tabLst/>
              <a:defRPr/>
            </a:pPr>
            <a:r>
              <a:rPr kumimoji="0" lang="en-US" sz="1600" b="0" i="0" u="none" strike="noStrike" kern="1200" cap="none" spc="0" normalizeH="0" baseline="0" noProof="0" dirty="0">
                <a:ln>
                  <a:noFill/>
                </a:ln>
                <a:solidFill>
                  <a:srgbClr val="666666"/>
                </a:solidFill>
                <a:effectLst/>
                <a:uLnTx/>
                <a:uFillTx/>
                <a:latin typeface="Arial" charset="0"/>
                <a:ea typeface="MS PGothic" pitchFamily="34" charset="-128"/>
                <a:cs typeface="+mn-cs"/>
              </a:rPr>
              <a:t>Cross-Margining services  </a:t>
            </a:r>
            <a:br>
              <a:rPr kumimoji="0" lang="en-US" sz="1600" b="0" i="0" u="none" strike="noStrike" kern="1200" cap="none" spc="0" normalizeH="0" baseline="0" noProof="0" dirty="0">
                <a:ln>
                  <a:noFill/>
                </a:ln>
                <a:solidFill>
                  <a:srgbClr val="666666"/>
                </a:solidFill>
                <a:effectLst/>
                <a:uLnTx/>
                <a:uFillTx/>
                <a:latin typeface="Arial" charset="0"/>
                <a:ea typeface="MS PGothic" pitchFamily="34" charset="-128"/>
                <a:cs typeface="+mn-cs"/>
              </a:rPr>
            </a:br>
            <a:r>
              <a:rPr kumimoji="0" lang="en-US" sz="1600" b="0" i="0" u="none" strike="noStrike" kern="1200" cap="none" spc="0" normalizeH="0" baseline="0" noProof="0" dirty="0">
                <a:ln>
                  <a:noFill/>
                </a:ln>
                <a:solidFill>
                  <a:srgbClr val="666666"/>
                </a:solidFill>
                <a:effectLst/>
                <a:uLnTx/>
                <a:uFillTx/>
                <a:latin typeface="Arial" charset="0"/>
                <a:ea typeface="MS PGothic" pitchFamily="34" charset="-128"/>
                <a:cs typeface="+mn-cs"/>
              </a:rPr>
              <a:t>(offsetting of pledged collateral across cash market and derivatives market transactions)</a:t>
            </a:r>
          </a:p>
          <a:p>
            <a:pPr marL="266700" marR="0" lvl="0" indent="-266700" algn="l" defTabSz="914400" rtl="0" eaLnBrk="0" fontAlgn="auto" latinLnBrk="0" hangingPunct="0">
              <a:lnSpc>
                <a:spcPct val="120000"/>
              </a:lnSpc>
              <a:spcBef>
                <a:spcPct val="50000"/>
              </a:spcBef>
              <a:spcAft>
                <a:spcPts val="0"/>
              </a:spcAft>
              <a:buClr>
                <a:srgbClr val="00A5C0"/>
              </a:buClr>
              <a:buSzTx/>
              <a:buFont typeface="Wingdings" pitchFamily="2" charset="2"/>
              <a:buChar char=""/>
              <a:tabLst/>
              <a:defRPr/>
            </a:pPr>
            <a:endParaRPr kumimoji="0" lang="en-US" sz="1600" b="0" i="0" u="none" strike="noStrike" kern="1200" cap="none" spc="0" normalizeH="0" baseline="0" noProof="0" dirty="0">
              <a:ln>
                <a:noFill/>
              </a:ln>
              <a:solidFill>
                <a:srgbClr val="666666"/>
              </a:solidFill>
              <a:effectLst/>
              <a:uLnTx/>
              <a:uFillTx/>
              <a:latin typeface="Arial" charset="0"/>
              <a:ea typeface="MS PGothic" pitchFamily="34" charset="-128"/>
              <a:cs typeface="+mn-cs"/>
            </a:endParaRPr>
          </a:p>
        </p:txBody>
      </p:sp>
      <p:sp>
        <p:nvSpPr>
          <p:cNvPr id="9" name="Rectangle 6">
            <a:extLst>
              <a:ext uri="{FF2B5EF4-FFF2-40B4-BE49-F238E27FC236}">
                <a16:creationId xmlns:a16="http://schemas.microsoft.com/office/drawing/2014/main" id="{805E85D4-A11A-8713-AAE4-FE6961EAEEEF}"/>
              </a:ext>
            </a:extLst>
          </p:cNvPr>
          <p:cNvSpPr>
            <a:spLocks noChangeArrowheads="1"/>
          </p:cNvSpPr>
          <p:nvPr/>
        </p:nvSpPr>
        <p:spPr bwMode="auto">
          <a:xfrm>
            <a:off x="1022849" y="2491422"/>
            <a:ext cx="2473325" cy="795337"/>
          </a:xfrm>
          <a:prstGeom prst="rect">
            <a:avLst/>
          </a:prstGeom>
          <a:solidFill>
            <a:srgbClr val="86B918"/>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rtl="0" eaLnBrk="1" fontAlgn="auto" latinLnBrk="0" hangingPunct="1">
              <a:lnSpc>
                <a:spcPct val="100000"/>
              </a:lnSpc>
              <a:spcBef>
                <a:spcPct val="50000"/>
              </a:spcBef>
              <a:spcAft>
                <a:spcPts val="0"/>
              </a:spcAft>
              <a:buClrTx/>
              <a:buSzTx/>
              <a:buFont typeface="Arial" charset="0"/>
              <a:buNone/>
              <a:tabLst/>
              <a:defRPr/>
            </a:pPr>
            <a:r>
              <a:rPr kumimoji="0" lang="en-US" sz="1800" b="0" i="0" u="none" strike="noStrike" kern="1200" cap="none" spc="0" normalizeH="0" baseline="0" noProof="0" dirty="0">
                <a:ln>
                  <a:noFill/>
                </a:ln>
                <a:solidFill>
                  <a:srgbClr val="666666"/>
                </a:solidFill>
                <a:effectLst/>
                <a:uLnTx/>
                <a:uFillTx/>
                <a:latin typeface="Arial" panose="020B0604020202020204"/>
                <a:ea typeface="+mn-ea"/>
                <a:cs typeface="+mn-cs"/>
              </a:rPr>
              <a:t>Definition of the </a:t>
            </a:r>
            <a:br>
              <a:rPr kumimoji="0" lang="en-US" sz="1800" b="0" i="0" u="none" strike="noStrike" kern="1200" cap="none" spc="0" normalizeH="0" baseline="0" noProof="0" dirty="0">
                <a:ln>
                  <a:noFill/>
                </a:ln>
                <a:solidFill>
                  <a:srgbClr val="666666"/>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666666"/>
                </a:solidFill>
                <a:effectLst/>
                <a:uLnTx/>
                <a:uFillTx/>
                <a:latin typeface="Arial" panose="020B0604020202020204"/>
                <a:ea typeface="+mn-ea"/>
                <a:cs typeface="+mn-cs"/>
              </a:rPr>
              <a:t>Central Counterparty </a:t>
            </a:r>
          </a:p>
        </p:txBody>
      </p:sp>
      <p:sp>
        <p:nvSpPr>
          <p:cNvPr id="10" name="Rectangle 7">
            <a:extLst>
              <a:ext uri="{FF2B5EF4-FFF2-40B4-BE49-F238E27FC236}">
                <a16:creationId xmlns:a16="http://schemas.microsoft.com/office/drawing/2014/main" id="{5A6172CF-39D5-9C0B-0FBC-95D0F3149959}"/>
              </a:ext>
            </a:extLst>
          </p:cNvPr>
          <p:cNvSpPr>
            <a:spLocks noChangeArrowheads="1"/>
          </p:cNvSpPr>
          <p:nvPr/>
        </p:nvSpPr>
        <p:spPr bwMode="auto">
          <a:xfrm>
            <a:off x="1022849" y="4229373"/>
            <a:ext cx="2473325" cy="795338"/>
          </a:xfrm>
          <a:prstGeom prst="rect">
            <a:avLst/>
          </a:prstGeom>
          <a:solidFill>
            <a:srgbClr val="86B918"/>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rtl="0" eaLnBrk="1" fontAlgn="auto" latinLnBrk="0" hangingPunct="1">
              <a:lnSpc>
                <a:spcPct val="100000"/>
              </a:lnSpc>
              <a:spcBef>
                <a:spcPct val="50000"/>
              </a:spcBef>
              <a:spcAft>
                <a:spcPts val="0"/>
              </a:spcAft>
              <a:buClrTx/>
              <a:buSzTx/>
              <a:buFont typeface="Arial" charset="0"/>
              <a:buNone/>
              <a:tabLst/>
              <a:defRPr/>
            </a:pPr>
            <a:r>
              <a:rPr kumimoji="0" lang="en-US" sz="1800" b="0" i="0" u="none" strike="noStrike" kern="1200" cap="none" spc="0" normalizeH="0" baseline="0" noProof="0" dirty="0">
                <a:ln>
                  <a:noFill/>
                </a:ln>
                <a:solidFill>
                  <a:srgbClr val="666666"/>
                </a:solidFill>
                <a:effectLst/>
                <a:uLnTx/>
                <a:uFillTx/>
                <a:latin typeface="Arial" panose="020B0604020202020204"/>
                <a:ea typeface="+mn-ea"/>
                <a:cs typeface="+mn-cs"/>
              </a:rPr>
              <a:t>Functions of the</a:t>
            </a:r>
            <a:br>
              <a:rPr kumimoji="0" lang="en-US" sz="1800" b="0" i="0" u="none" strike="noStrike" kern="1200" cap="none" spc="0" normalizeH="0" baseline="0" noProof="0" dirty="0">
                <a:ln>
                  <a:noFill/>
                </a:ln>
                <a:solidFill>
                  <a:srgbClr val="666666"/>
                </a:solidFill>
                <a:effectLst/>
                <a:uLnTx/>
                <a:uFillTx/>
                <a:latin typeface="Arial" panose="020B0604020202020204"/>
                <a:ea typeface="+mn-ea"/>
                <a:cs typeface="+mn-cs"/>
              </a:rPr>
            </a:br>
            <a:r>
              <a:rPr kumimoji="0" lang="en-US" sz="1800" b="0" i="0" u="none" strike="noStrike" kern="1200" cap="none" spc="0" normalizeH="0" baseline="0" noProof="0" dirty="0">
                <a:ln>
                  <a:noFill/>
                </a:ln>
                <a:solidFill>
                  <a:srgbClr val="666666"/>
                </a:solidFill>
                <a:effectLst/>
                <a:uLnTx/>
                <a:uFillTx/>
                <a:latin typeface="Arial" panose="020B0604020202020204"/>
                <a:ea typeface="+mn-ea"/>
                <a:cs typeface="+mn-cs"/>
              </a:rPr>
              <a:t>Central Counterparty</a:t>
            </a:r>
          </a:p>
        </p:txBody>
      </p:sp>
      <p:sp>
        <p:nvSpPr>
          <p:cNvPr id="11" name="Rectangle 8">
            <a:extLst>
              <a:ext uri="{FF2B5EF4-FFF2-40B4-BE49-F238E27FC236}">
                <a16:creationId xmlns:a16="http://schemas.microsoft.com/office/drawing/2014/main" id="{59D43674-788C-030D-84DC-CF0E33A83192}"/>
              </a:ext>
            </a:extLst>
          </p:cNvPr>
          <p:cNvSpPr txBox="1">
            <a:spLocks noChangeArrowheads="1"/>
          </p:cNvSpPr>
          <p:nvPr/>
        </p:nvSpPr>
        <p:spPr bwMode="gray">
          <a:xfrm>
            <a:off x="681845" y="467035"/>
            <a:ext cx="11100851" cy="976229"/>
          </a:xfrm>
          <a:prstGeom prst="rect">
            <a:avLst/>
          </a:prstGeom>
          <a:extLst>
            <a:ext uri="{91240B29-F687-4F45-9708-019B960494DF}">
              <a14:hiddenLine xmlns:a14="http://schemas.microsoft.com/office/drawing/2010/main" w="9525">
                <a:solidFill>
                  <a:schemeClr val="tx2"/>
                </a:solidFill>
                <a:miter lim="800000"/>
                <a:headEnd/>
                <a:tailEnd/>
              </a14:hiddenLine>
            </a:ext>
          </a:extLst>
        </p:spPr>
        <p:txBody>
          <a:bodyPr vert="horz" wrap="square" lIns="0" tIns="0" rIns="0" bIns="0" rtlCol="0" anchor="t" anchorCtr="0">
            <a:spAutoFit/>
          </a:bodyPr>
          <a:lstStyle>
            <a:lvl1pPr algn="l" defTabSz="914400" rtl="0" eaLnBrk="1" latinLnBrk="0" hangingPunct="1">
              <a:lnSpc>
                <a:spcPct val="110000"/>
              </a:lnSpc>
              <a:spcBef>
                <a:spcPct val="0"/>
              </a:spcBef>
              <a:buNone/>
              <a:defRPr sz="3000" b="1" kern="1200">
                <a:solidFill>
                  <a:schemeClr val="accent1"/>
                </a:solidFill>
                <a:latin typeface="+mj-lt"/>
                <a:ea typeface="+mj-ea"/>
                <a:cs typeface="+mj-cs"/>
              </a:defRPr>
            </a:lvl1pPr>
          </a:lstStyle>
          <a:p>
            <a:pPr marL="0" marR="0" lvl="0" indent="0" algn="l" defTabSz="774700" rtl="0" eaLnBrk="1" fontAlgn="auto" latinLnBrk="0" hangingPunct="1">
              <a:lnSpc>
                <a:spcPct val="110000"/>
              </a:lnSpc>
              <a:spcBef>
                <a:spcPct val="0"/>
              </a:spcBef>
              <a:spcAft>
                <a:spcPts val="0"/>
              </a:spcAft>
              <a:buClrTx/>
              <a:buSzTx/>
              <a:buFontTx/>
              <a:buNone/>
              <a:tabLst/>
              <a:defRPr/>
            </a:pPr>
            <a:r>
              <a:rPr kumimoji="0" lang="en-US" sz="3000" b="1" i="0" u="none" strike="noStrike" kern="1200" cap="none" spc="0" normalizeH="0" baseline="0" noProof="0" dirty="0">
                <a:ln>
                  <a:noFill/>
                </a:ln>
                <a:solidFill>
                  <a:srgbClr val="00A5C0"/>
                </a:solidFill>
                <a:effectLst/>
                <a:uLnTx/>
                <a:uFillTx/>
                <a:latin typeface="Arial" panose="020B0604020202020204"/>
                <a:ea typeface="+mj-ea"/>
                <a:cs typeface="+mj-cs"/>
              </a:rPr>
              <a:t>Definition and functions of Eurex Clearing as central counterparty</a:t>
            </a:r>
          </a:p>
        </p:txBody>
      </p:sp>
    </p:spTree>
    <p:extLst>
      <p:ext uri="{BB962C8B-B14F-4D97-AF65-F5344CB8AC3E}">
        <p14:creationId xmlns:p14="http://schemas.microsoft.com/office/powerpoint/2010/main" val="319001062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kt 29" hidden="1">
            <a:extLst>
              <a:ext uri="{FF2B5EF4-FFF2-40B4-BE49-F238E27FC236}">
                <a16:creationId xmlns:a16="http://schemas.microsoft.com/office/drawing/2014/main" id="{DCD7C50C-899D-4638-A4D2-D5D24098869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8" name="think-cell Folie" r:id="rId10" imgW="359" imgH="358" progId="TCLayout.ActiveDocument.1">
                  <p:embed/>
                </p:oleObj>
              </mc:Choice>
              <mc:Fallback>
                <p:oleObj name="think-cell Folie" r:id="rId10" imgW="359" imgH="358" progId="TCLayout.ActiveDocument.1">
                  <p:embed/>
                  <p:pic>
                    <p:nvPicPr>
                      <p:cNvPr id="30" name="Objekt 29" hidden="1">
                        <a:extLst>
                          <a:ext uri="{FF2B5EF4-FFF2-40B4-BE49-F238E27FC236}">
                            <a16:creationId xmlns:a16="http://schemas.microsoft.com/office/drawing/2014/main" id="{DCD7C50C-899D-4638-A4D2-D5D24098869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0" name="Titel 32">
            <a:extLst>
              <a:ext uri="{FF2B5EF4-FFF2-40B4-BE49-F238E27FC236}">
                <a16:creationId xmlns:a16="http://schemas.microsoft.com/office/drawing/2014/main" id="{414FFCE6-BDF5-49A2-B0C9-95A876544EB9}"/>
              </a:ext>
            </a:extLst>
          </p:cNvPr>
          <p:cNvSpPr>
            <a:spLocks noGrp="1"/>
          </p:cNvSpPr>
          <p:nvPr>
            <p:ph type="title"/>
            <p:custDataLst>
              <p:tags r:id="rId4"/>
            </p:custDataLst>
          </p:nvPr>
        </p:nvSpPr>
        <p:spPr bwMode="gray">
          <a:xfrm>
            <a:off x="587388" y="368300"/>
            <a:ext cx="11017224" cy="934900"/>
          </a:xfrm>
        </p:spPr>
        <p:txBody>
          <a:bodyPr vert="horz"/>
          <a:lstStyle/>
          <a:p>
            <a:r>
              <a:rPr lang="en-US" dirty="0" err="1"/>
              <a:t>Clearstream</a:t>
            </a:r>
            <a:r>
              <a:rPr lang="en-US" dirty="0"/>
              <a:t> Key Figures</a:t>
            </a:r>
          </a:p>
        </p:txBody>
      </p:sp>
      <p:graphicFrame>
        <p:nvGraphicFramePr>
          <p:cNvPr id="4" name="Table 4">
            <a:extLst>
              <a:ext uri="{FF2B5EF4-FFF2-40B4-BE49-F238E27FC236}">
                <a16:creationId xmlns:a16="http://schemas.microsoft.com/office/drawing/2014/main" id="{677992A3-C6A2-43A0-B924-C552FAEB6A66}"/>
              </a:ext>
            </a:extLst>
          </p:cNvPr>
          <p:cNvGraphicFramePr>
            <a:graphicFrameLocks noGrp="1"/>
          </p:cNvGraphicFramePr>
          <p:nvPr/>
        </p:nvGraphicFramePr>
        <p:xfrm>
          <a:off x="587376" y="1484313"/>
          <a:ext cx="11017614" cy="4647453"/>
        </p:xfrm>
        <a:graphic>
          <a:graphicData uri="http://schemas.openxmlformats.org/drawingml/2006/table">
            <a:tbl>
              <a:tblPr firstRow="1" bandRow="1">
                <a:tableStyleId>{5C22544A-7EE6-4342-B048-85BDC9FD1C3A}</a:tableStyleId>
              </a:tblPr>
              <a:tblGrid>
                <a:gridCol w="2230290">
                  <a:extLst>
                    <a:ext uri="{9D8B030D-6E8A-4147-A177-3AD203B41FA5}">
                      <a16:colId xmlns:a16="http://schemas.microsoft.com/office/drawing/2014/main" val="5617856"/>
                    </a:ext>
                  </a:extLst>
                </a:gridCol>
                <a:gridCol w="2230292">
                  <a:extLst>
                    <a:ext uri="{9D8B030D-6E8A-4147-A177-3AD203B41FA5}">
                      <a16:colId xmlns:a16="http://schemas.microsoft.com/office/drawing/2014/main" val="155334479"/>
                    </a:ext>
                  </a:extLst>
                </a:gridCol>
                <a:gridCol w="2230290">
                  <a:extLst>
                    <a:ext uri="{9D8B030D-6E8A-4147-A177-3AD203B41FA5}">
                      <a16:colId xmlns:a16="http://schemas.microsoft.com/office/drawing/2014/main" val="1987833568"/>
                    </a:ext>
                  </a:extLst>
                </a:gridCol>
                <a:gridCol w="4326742">
                  <a:extLst>
                    <a:ext uri="{9D8B030D-6E8A-4147-A177-3AD203B41FA5}">
                      <a16:colId xmlns:a16="http://schemas.microsoft.com/office/drawing/2014/main" val="3319799945"/>
                    </a:ext>
                  </a:extLst>
                </a:gridCol>
              </a:tblGrid>
              <a:tr h="1519637">
                <a:tc rowSpan="2">
                  <a:txBody>
                    <a:bodyPr/>
                    <a:lstStyle/>
                    <a:p>
                      <a:pPr algn="ctr"/>
                      <a:r>
                        <a:rPr lang="en-US" sz="3600" b="1" dirty="0">
                          <a:solidFill>
                            <a:srgbClr val="BF2296"/>
                          </a:solidFill>
                        </a:rPr>
                        <a:t>12</a:t>
                      </a:r>
                    </a:p>
                    <a:p>
                      <a:pPr algn="ctr"/>
                      <a:r>
                        <a:rPr lang="en-US" b="0" noProof="0" dirty="0">
                          <a:solidFill>
                            <a:schemeClr val="tx1"/>
                          </a:solidFill>
                        </a:rPr>
                        <a:t>locations worldwide</a:t>
                      </a:r>
                    </a:p>
                  </a:txBody>
                  <a:tcPr marT="822960" anchor="ctr">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bg1">
                        <a:lumMod val="95000"/>
                      </a:schemeClr>
                    </a:solidFill>
                  </a:tcPr>
                </a:tc>
                <a:tc rowSpan="2" gridSpan="2">
                  <a:txBody>
                    <a:bodyPr/>
                    <a:lstStyle/>
                    <a:p>
                      <a:pPr algn="l"/>
                      <a:r>
                        <a:rPr lang="en-US" sz="3600" b="1" dirty="0">
                          <a:solidFill>
                            <a:srgbClr val="00A5C0"/>
                          </a:solidFill>
                        </a:rPr>
                        <a:t>2,500</a:t>
                      </a:r>
                      <a:r>
                        <a:rPr lang="en-US" b="0" dirty="0">
                          <a:solidFill>
                            <a:schemeClr val="tx1"/>
                          </a:solidFill>
                        </a:rPr>
                        <a:t> clients in</a:t>
                      </a:r>
                    </a:p>
                    <a:p>
                      <a:pPr algn="l"/>
                      <a:r>
                        <a:rPr lang="en-US" sz="3600" b="1" dirty="0">
                          <a:solidFill>
                            <a:srgbClr val="00A5C0"/>
                          </a:solidFill>
                        </a:rPr>
                        <a:t>110</a:t>
                      </a:r>
                      <a:r>
                        <a:rPr lang="en-US" b="0" dirty="0">
                          <a:solidFill>
                            <a:schemeClr val="tx1"/>
                          </a:solidFill>
                        </a:rPr>
                        <a:t> countries</a:t>
                      </a:r>
                    </a:p>
                  </a:txBody>
                  <a:tcPr marL="27432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bg1">
                        <a:lumMod val="95000"/>
                      </a:schemeClr>
                    </a:solidFill>
                  </a:tcPr>
                </a:tc>
                <a:tc rowSpan="2" hMerge="1">
                  <a:txBody>
                    <a:bodyPr/>
                    <a:lstStyle/>
                    <a:p>
                      <a:endParaRPr lang="en-GB"/>
                    </a:p>
                  </a:txBody>
                  <a:tcPr/>
                </a:tc>
                <a:tc>
                  <a:txBody>
                    <a:bodyPr/>
                    <a:lstStyle/>
                    <a:p>
                      <a:pPr algn="l"/>
                      <a:r>
                        <a:rPr lang="en-US" b="0" noProof="0" dirty="0">
                          <a:solidFill>
                            <a:schemeClr val="tx1"/>
                          </a:solidFill>
                        </a:rPr>
                        <a:t>Processing </a:t>
                      </a:r>
                    </a:p>
                    <a:p>
                      <a:pPr algn="l"/>
                      <a:r>
                        <a:rPr lang="en-US" sz="3600" b="1" noProof="0" dirty="0">
                          <a:solidFill>
                            <a:srgbClr val="663399"/>
                          </a:solidFill>
                        </a:rPr>
                        <a:t>over 1 million </a:t>
                      </a:r>
                    </a:p>
                    <a:p>
                      <a:pPr algn="l"/>
                      <a:r>
                        <a:rPr lang="en-US" b="0" noProof="0" dirty="0">
                          <a:solidFill>
                            <a:schemeClr val="tx1"/>
                          </a:solidFill>
                        </a:rPr>
                        <a:t>transactions daily</a:t>
                      </a:r>
                    </a:p>
                  </a:txBody>
                  <a:tcPr marL="274320" anchor="ctr">
                    <a:lnL w="76200" cap="flat" cmpd="sng" algn="ctr">
                      <a:solidFill>
                        <a:schemeClr val="bg1"/>
                      </a:solidFill>
                      <a:prstDash val="solid"/>
                      <a:round/>
                      <a:headEnd type="none" w="med" len="med"/>
                      <a:tailEnd type="none" w="med" len="med"/>
                    </a:lnL>
                    <a:lnB w="762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77803187"/>
                  </a:ext>
                </a:extLst>
              </a:tr>
              <a:tr h="759819">
                <a:tc vMerge="1">
                  <a:txBody>
                    <a:bodyPr/>
                    <a:lstStyle/>
                    <a:p>
                      <a:endParaRPr lang="en-GB"/>
                    </a:p>
                  </a:txBody>
                  <a:tcPr/>
                </a:tc>
                <a:tc gridSpan="2" vMerge="1">
                  <a:txBody>
                    <a:bodyPr/>
                    <a:lstStyle/>
                    <a:p>
                      <a:endParaRPr lang="en-GB"/>
                    </a:p>
                  </a:txBody>
                  <a:tcPr/>
                </a:tc>
                <a:tc hMerge="1" vMerge="1">
                  <a:txBody>
                    <a:bodyPr/>
                    <a:lstStyle/>
                    <a:p>
                      <a:endParaRPr lang="en-GB"/>
                    </a:p>
                  </a:txBody>
                  <a:tcPr/>
                </a:tc>
                <a:tc rowSpan="2">
                  <a:txBody>
                    <a:bodyPr/>
                    <a:lstStyle/>
                    <a:p>
                      <a:pPr algn="l"/>
                      <a:r>
                        <a:rPr lang="en-US" b="0" noProof="0" dirty="0">
                          <a:solidFill>
                            <a:schemeClr val="tx1"/>
                          </a:solidFill>
                        </a:rPr>
                        <a:t>Managing </a:t>
                      </a:r>
                    </a:p>
                    <a:p>
                      <a:pPr algn="l"/>
                      <a:r>
                        <a:rPr lang="en-US" sz="3600" b="1" noProof="0" dirty="0">
                          <a:solidFill>
                            <a:srgbClr val="00A5C0"/>
                          </a:solidFill>
                        </a:rPr>
                        <a:t>€ 600 billion </a:t>
                      </a:r>
                    </a:p>
                    <a:p>
                      <a:pPr algn="l"/>
                      <a:r>
                        <a:rPr lang="en-US" b="0" noProof="0" dirty="0">
                          <a:solidFill>
                            <a:schemeClr val="tx1"/>
                          </a:solidFill>
                        </a:rPr>
                        <a:t>in collateral on an overnight basis</a:t>
                      </a:r>
                    </a:p>
                  </a:txBody>
                  <a:tcPr marL="274320"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48189907"/>
                  </a:ext>
                </a:extLst>
              </a:tr>
              <a:tr h="0">
                <a:tc rowSpan="2">
                  <a:txBody>
                    <a:bodyPr/>
                    <a:lstStyle/>
                    <a:p>
                      <a:pPr algn="ctr"/>
                      <a:r>
                        <a:rPr lang="en-US" sz="3600" b="1" noProof="0" dirty="0">
                          <a:solidFill>
                            <a:srgbClr val="00A5C0"/>
                          </a:solidFill>
                        </a:rPr>
                        <a:t>60</a:t>
                      </a:r>
                    </a:p>
                    <a:p>
                      <a:pPr algn="ctr"/>
                      <a:r>
                        <a:rPr lang="en-US" b="0" noProof="0" dirty="0">
                          <a:solidFill>
                            <a:schemeClr val="tx1"/>
                          </a:solidFill>
                        </a:rPr>
                        <a:t>markets</a:t>
                      </a:r>
                    </a:p>
                  </a:txBody>
                  <a:tcPr marT="822960"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solidFill>
                      <a:schemeClr val="bg1">
                        <a:lumMod val="95000"/>
                      </a:schemeClr>
                    </a:solidFill>
                  </a:tcPr>
                </a:tc>
                <a:tc rowSpan="2">
                  <a:txBody>
                    <a:bodyPr/>
                    <a:lstStyle/>
                    <a:p>
                      <a:pPr algn="ctr"/>
                      <a:r>
                        <a:rPr lang="en-US" b="0" noProof="0" dirty="0">
                          <a:solidFill>
                            <a:schemeClr val="tx1"/>
                          </a:solidFill>
                        </a:rPr>
                        <a:t>Funds from</a:t>
                      </a:r>
                    </a:p>
                    <a:p>
                      <a:pPr algn="ctr"/>
                      <a:r>
                        <a:rPr lang="en-US" sz="3600" b="1" noProof="0" dirty="0">
                          <a:solidFill>
                            <a:srgbClr val="663399"/>
                          </a:solidFill>
                        </a:rPr>
                        <a:t>50</a:t>
                      </a:r>
                    </a:p>
                    <a:p>
                      <a:pPr algn="ctr"/>
                      <a:r>
                        <a:rPr lang="en-US" b="0" noProof="0" dirty="0">
                          <a:solidFill>
                            <a:schemeClr val="tx1"/>
                          </a:solidFill>
                        </a:rPr>
                        <a:t>countrie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solidFill>
                      <a:schemeClr val="bg1">
                        <a:lumMod val="95000"/>
                      </a:schemeClr>
                    </a:solidFill>
                  </a:tcPr>
                </a:tc>
                <a:tc rowSpan="2">
                  <a:txBody>
                    <a:bodyPr/>
                    <a:lstStyle/>
                    <a:p>
                      <a:pPr algn="ctr"/>
                      <a:r>
                        <a:rPr lang="en-US" b="0" noProof="0" dirty="0">
                          <a:solidFill>
                            <a:schemeClr val="tx1"/>
                          </a:solidFill>
                        </a:rPr>
                        <a:t>Can issue</a:t>
                      </a:r>
                    </a:p>
                    <a:p>
                      <a:pPr algn="ctr"/>
                      <a:r>
                        <a:rPr lang="en-US" sz="3600" b="1" kern="1200" noProof="0" dirty="0">
                          <a:solidFill>
                            <a:srgbClr val="00A5C0"/>
                          </a:solidFill>
                          <a:latin typeface="+mn-lt"/>
                          <a:ea typeface="+mn-ea"/>
                          <a:cs typeface="+mn-cs"/>
                        </a:rPr>
                        <a:t>30,000</a:t>
                      </a:r>
                    </a:p>
                    <a:p>
                      <a:pPr algn="ctr"/>
                      <a:r>
                        <a:rPr lang="en-US" b="0" noProof="0" dirty="0">
                          <a:solidFill>
                            <a:schemeClr val="tx1"/>
                          </a:solidFill>
                        </a:rPr>
                        <a:t>securities per day</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solidFill>
                      <a:schemeClr val="bg1">
                        <a:lumMod val="95000"/>
                      </a:schemeClr>
                    </a:solidFill>
                  </a:tcPr>
                </a:tc>
                <a:tc vMerge="1">
                  <a:txBody>
                    <a:bodyPr/>
                    <a:lstStyle/>
                    <a:p>
                      <a:endParaRPr lang="en-GB"/>
                    </a:p>
                  </a:txBody>
                  <a:tcPr/>
                </a:tc>
                <a:extLst>
                  <a:ext uri="{0D108BD9-81ED-4DB2-BD59-A6C34878D82A}">
                    <a16:rowId xmlns:a16="http://schemas.microsoft.com/office/drawing/2014/main" val="3034588196"/>
                  </a:ext>
                </a:extLst>
              </a:tr>
              <a:tr h="1519637">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a:r>
                        <a:rPr lang="en-US" sz="3600" b="1" kern="1200" dirty="0">
                          <a:solidFill>
                            <a:srgbClr val="BF2296"/>
                          </a:solidFill>
                          <a:latin typeface="+mn-lt"/>
                          <a:ea typeface="+mn-ea"/>
                          <a:cs typeface="+mn-cs"/>
                        </a:rPr>
                        <a:t>€17+ trillion </a:t>
                      </a:r>
                    </a:p>
                    <a:p>
                      <a:pPr algn="l"/>
                      <a:r>
                        <a:rPr lang="en-US" b="0" dirty="0" err="1">
                          <a:solidFill>
                            <a:schemeClr val="tx1"/>
                          </a:solidFill>
                        </a:rPr>
                        <a:t>AuC</a:t>
                      </a:r>
                      <a:endParaRPr lang="en-US" b="0" dirty="0">
                        <a:solidFill>
                          <a:schemeClr val="tx1"/>
                        </a:solidFill>
                      </a:endParaRPr>
                    </a:p>
                  </a:txBody>
                  <a:tcPr marL="274320"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2009163995"/>
                  </a:ext>
                </a:extLst>
              </a:tr>
            </a:tbl>
          </a:graphicData>
        </a:graphic>
      </p:graphicFrame>
      <p:sp>
        <p:nvSpPr>
          <p:cNvPr id="5" name="Globe">
            <a:extLst>
              <a:ext uri="{FF2B5EF4-FFF2-40B4-BE49-F238E27FC236}">
                <a16:creationId xmlns:a16="http://schemas.microsoft.com/office/drawing/2014/main" id="{7A0E7990-10FA-4A5D-8A32-A70724DEBE33}"/>
              </a:ext>
            </a:extLst>
          </p:cNvPr>
          <p:cNvSpPr>
            <a:spLocks noChangeAspect="1"/>
          </p:cNvSpPr>
          <p:nvPr>
            <p:custDataLst>
              <p:tags r:id="rId5"/>
            </p:custDataLst>
          </p:nvPr>
        </p:nvSpPr>
        <p:spPr bwMode="gray">
          <a:xfrm>
            <a:off x="1334252" y="1667193"/>
            <a:ext cx="731520" cy="731520"/>
          </a:xfrm>
          <a:custGeom>
            <a:avLst/>
            <a:gdLst>
              <a:gd name="connsiteX0" fmla="*/ 327097 w 498481"/>
              <a:gd name="connsiteY0" fmla="*/ 429578 h 498481"/>
              <a:gd name="connsiteX1" fmla="*/ 352234 w 498481"/>
              <a:gd name="connsiteY1" fmla="*/ 340185 h 498481"/>
              <a:gd name="connsiteX2" fmla="*/ 423300 w 498481"/>
              <a:gd name="connsiteY2" fmla="*/ 340185 h 498481"/>
              <a:gd name="connsiteX3" fmla="*/ 327097 w 498481"/>
              <a:gd name="connsiteY3" fmla="*/ 429578 h 498481"/>
              <a:gd name="connsiteX4" fmla="*/ 327097 w 498481"/>
              <a:gd name="connsiteY4" fmla="*/ 429578 h 498481"/>
              <a:gd name="connsiteX5" fmla="*/ 223323 w 498481"/>
              <a:gd name="connsiteY5" fmla="*/ 443932 h 498481"/>
              <a:gd name="connsiteX6" fmla="*/ 185566 w 498481"/>
              <a:gd name="connsiteY6" fmla="*/ 340185 h 498481"/>
              <a:gd name="connsiteX7" fmla="*/ 313620 w 498481"/>
              <a:gd name="connsiteY7" fmla="*/ 340185 h 498481"/>
              <a:gd name="connsiteX8" fmla="*/ 281140 w 498481"/>
              <a:gd name="connsiteY8" fmla="*/ 443074 h 498481"/>
              <a:gd name="connsiteX9" fmla="*/ 249250 w 498481"/>
              <a:gd name="connsiteY9" fmla="*/ 445703 h 498481"/>
              <a:gd name="connsiteX10" fmla="*/ 223323 w 498481"/>
              <a:gd name="connsiteY10" fmla="*/ 443932 h 498481"/>
              <a:gd name="connsiteX11" fmla="*/ 223323 w 498481"/>
              <a:gd name="connsiteY11" fmla="*/ 443932 h 498481"/>
              <a:gd name="connsiteX12" fmla="*/ 75190 w 498481"/>
              <a:gd name="connsiteY12" fmla="*/ 340185 h 498481"/>
              <a:gd name="connsiteX13" fmla="*/ 146752 w 498481"/>
              <a:gd name="connsiteY13" fmla="*/ 340185 h 498481"/>
              <a:gd name="connsiteX14" fmla="*/ 176174 w 498481"/>
              <a:gd name="connsiteY14" fmla="*/ 431549 h 498481"/>
              <a:gd name="connsiteX15" fmla="*/ 75190 w 498481"/>
              <a:gd name="connsiteY15" fmla="*/ 340185 h 498481"/>
              <a:gd name="connsiteX16" fmla="*/ 75190 w 498481"/>
              <a:gd name="connsiteY16" fmla="*/ 340185 h 498481"/>
              <a:gd name="connsiteX17" fmla="*/ 167192 w 498481"/>
              <a:gd name="connsiteY17" fmla="*/ 70818 h 498481"/>
              <a:gd name="connsiteX18" fmla="*/ 143913 w 498481"/>
              <a:gd name="connsiteY18" fmla="*/ 158677 h 498481"/>
              <a:gd name="connsiteX19" fmla="*/ 74999 w 498481"/>
              <a:gd name="connsiteY19" fmla="*/ 158677 h 498481"/>
              <a:gd name="connsiteX20" fmla="*/ 167192 w 498481"/>
              <a:gd name="connsiteY20" fmla="*/ 70818 h 498481"/>
              <a:gd name="connsiteX21" fmla="*/ 167192 w 498481"/>
              <a:gd name="connsiteY21" fmla="*/ 70818 h 498481"/>
              <a:gd name="connsiteX22" fmla="*/ 278111 w 498481"/>
              <a:gd name="connsiteY22" fmla="*/ 54931 h 498481"/>
              <a:gd name="connsiteX23" fmla="*/ 313915 w 498481"/>
              <a:gd name="connsiteY23" fmla="*/ 158677 h 498481"/>
              <a:gd name="connsiteX24" fmla="*/ 182394 w 498481"/>
              <a:gd name="connsiteY24" fmla="*/ 158677 h 498481"/>
              <a:gd name="connsiteX25" fmla="*/ 213055 w 498481"/>
              <a:gd name="connsiteY25" fmla="*/ 56188 h 498481"/>
              <a:gd name="connsiteX26" fmla="*/ 249241 w 498481"/>
              <a:gd name="connsiteY26" fmla="*/ 52787 h 498481"/>
              <a:gd name="connsiteX27" fmla="*/ 278111 w 498481"/>
              <a:gd name="connsiteY27" fmla="*/ 54931 h 498481"/>
              <a:gd name="connsiteX28" fmla="*/ 278111 w 498481"/>
              <a:gd name="connsiteY28" fmla="*/ 54931 h 498481"/>
              <a:gd name="connsiteX29" fmla="*/ 173393 w 498481"/>
              <a:gd name="connsiteY29" fmla="*/ 245478 h 498481"/>
              <a:gd name="connsiteX30" fmla="*/ 176393 w 498481"/>
              <a:gd name="connsiteY30" fmla="*/ 196386 h 498481"/>
              <a:gd name="connsiteX31" fmla="*/ 320792 w 498481"/>
              <a:gd name="connsiteY31" fmla="*/ 196386 h 498481"/>
              <a:gd name="connsiteX32" fmla="*/ 324250 w 498481"/>
              <a:gd name="connsiteY32" fmla="*/ 245478 h 498481"/>
              <a:gd name="connsiteX33" fmla="*/ 320230 w 498481"/>
              <a:gd name="connsiteY33" fmla="*/ 302485 h 498481"/>
              <a:gd name="connsiteX34" fmla="*/ 177993 w 498481"/>
              <a:gd name="connsiteY34" fmla="*/ 302485 h 498481"/>
              <a:gd name="connsiteX35" fmla="*/ 173393 w 498481"/>
              <a:gd name="connsiteY35" fmla="*/ 245478 h 498481"/>
              <a:gd name="connsiteX36" fmla="*/ 173393 w 498481"/>
              <a:gd name="connsiteY36" fmla="*/ 245478 h 498481"/>
              <a:gd name="connsiteX37" fmla="*/ 52787 w 498481"/>
              <a:gd name="connsiteY37" fmla="*/ 249250 h 498481"/>
              <a:gd name="connsiteX38" fmla="*/ 60074 w 498481"/>
              <a:gd name="connsiteY38" fmla="*/ 196386 h 498481"/>
              <a:gd name="connsiteX39" fmla="*/ 138436 w 498481"/>
              <a:gd name="connsiteY39" fmla="*/ 196386 h 498481"/>
              <a:gd name="connsiteX40" fmla="*/ 135693 w 498481"/>
              <a:gd name="connsiteY40" fmla="*/ 245478 h 498481"/>
              <a:gd name="connsiteX41" fmla="*/ 139836 w 498481"/>
              <a:gd name="connsiteY41" fmla="*/ 302485 h 498481"/>
              <a:gd name="connsiteX42" fmla="*/ 60179 w 498481"/>
              <a:gd name="connsiteY42" fmla="*/ 302485 h 498481"/>
              <a:gd name="connsiteX43" fmla="*/ 52787 w 498481"/>
              <a:gd name="connsiteY43" fmla="*/ 249250 h 498481"/>
              <a:gd name="connsiteX44" fmla="*/ 52787 w 498481"/>
              <a:gd name="connsiteY44" fmla="*/ 249250 h 498481"/>
              <a:gd name="connsiteX45" fmla="*/ 445703 w 498481"/>
              <a:gd name="connsiteY45" fmla="*/ 249250 h 498481"/>
              <a:gd name="connsiteX46" fmla="*/ 438321 w 498481"/>
              <a:gd name="connsiteY46" fmla="*/ 302485 h 498481"/>
              <a:gd name="connsiteX47" fmla="*/ 358321 w 498481"/>
              <a:gd name="connsiteY47" fmla="*/ 302485 h 498481"/>
              <a:gd name="connsiteX48" fmla="*/ 361959 w 498481"/>
              <a:gd name="connsiteY48" fmla="*/ 245478 h 498481"/>
              <a:gd name="connsiteX49" fmla="*/ 358844 w 498481"/>
              <a:gd name="connsiteY49" fmla="*/ 196386 h 498481"/>
              <a:gd name="connsiteX50" fmla="*/ 438426 w 498481"/>
              <a:gd name="connsiteY50" fmla="*/ 196386 h 498481"/>
              <a:gd name="connsiteX51" fmla="*/ 445703 w 498481"/>
              <a:gd name="connsiteY51" fmla="*/ 249250 h 498481"/>
              <a:gd name="connsiteX52" fmla="*/ 445703 w 498481"/>
              <a:gd name="connsiteY52" fmla="*/ 249250 h 498481"/>
              <a:gd name="connsiteX53" fmla="*/ 423491 w 498481"/>
              <a:gd name="connsiteY53" fmla="*/ 158677 h 498481"/>
              <a:gd name="connsiteX54" fmla="*/ 352615 w 498481"/>
              <a:gd name="connsiteY54" fmla="*/ 158677 h 498481"/>
              <a:gd name="connsiteX55" fmla="*/ 325002 w 498481"/>
              <a:gd name="connsiteY55" fmla="*/ 67999 h 498481"/>
              <a:gd name="connsiteX56" fmla="*/ 423491 w 498481"/>
              <a:gd name="connsiteY56" fmla="*/ 158677 h 498481"/>
              <a:gd name="connsiteX57" fmla="*/ 423491 w 498481"/>
              <a:gd name="connsiteY57" fmla="*/ 158677 h 498481"/>
              <a:gd name="connsiteX58" fmla="*/ 249241 w 498481"/>
              <a:gd name="connsiteY58" fmla="*/ 0 h 498481"/>
              <a:gd name="connsiteX59" fmla="*/ 0 w 498481"/>
              <a:gd name="connsiteY59" fmla="*/ 249241 h 498481"/>
              <a:gd name="connsiteX60" fmla="*/ 249241 w 498481"/>
              <a:gd name="connsiteY60" fmla="*/ 498481 h 498481"/>
              <a:gd name="connsiteX61" fmla="*/ 498481 w 498481"/>
              <a:gd name="connsiteY61" fmla="*/ 249241 h 498481"/>
              <a:gd name="connsiteX62" fmla="*/ 249241 w 498481"/>
              <a:gd name="connsiteY62" fmla="*/ 0 h 498481"/>
              <a:gd name="connsiteX63" fmla="*/ 249241 w 498481"/>
              <a:gd name="connsiteY63" fmla="*/ 0 h 498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98481" h="498481">
                <a:moveTo>
                  <a:pt x="327097" y="429578"/>
                </a:moveTo>
                <a:cubicBezTo>
                  <a:pt x="335556" y="406470"/>
                  <a:pt x="345234" y="375618"/>
                  <a:pt x="352234" y="340185"/>
                </a:cubicBezTo>
                <a:lnTo>
                  <a:pt x="423300" y="340185"/>
                </a:lnTo>
                <a:cubicBezTo>
                  <a:pt x="402469" y="379905"/>
                  <a:pt x="368455" y="411651"/>
                  <a:pt x="327097" y="429578"/>
                </a:cubicBezTo>
                <a:lnTo>
                  <a:pt x="327097" y="429578"/>
                </a:lnTo>
                <a:close/>
                <a:moveTo>
                  <a:pt x="223323" y="443932"/>
                </a:moveTo>
                <a:cubicBezTo>
                  <a:pt x="214274" y="425653"/>
                  <a:pt x="197215" y="387629"/>
                  <a:pt x="185566" y="340185"/>
                </a:cubicBezTo>
                <a:lnTo>
                  <a:pt x="313620" y="340185"/>
                </a:lnTo>
                <a:cubicBezTo>
                  <a:pt x="303695" y="386496"/>
                  <a:pt x="289264" y="424015"/>
                  <a:pt x="281140" y="443074"/>
                </a:cubicBezTo>
                <a:cubicBezTo>
                  <a:pt x="270748" y="444779"/>
                  <a:pt x="260109" y="445703"/>
                  <a:pt x="249250" y="445703"/>
                </a:cubicBezTo>
                <a:cubicBezTo>
                  <a:pt x="240449" y="445703"/>
                  <a:pt x="231810" y="445056"/>
                  <a:pt x="223323" y="443932"/>
                </a:cubicBezTo>
                <a:lnTo>
                  <a:pt x="223323" y="443932"/>
                </a:lnTo>
                <a:close/>
                <a:moveTo>
                  <a:pt x="75190" y="340185"/>
                </a:moveTo>
                <a:lnTo>
                  <a:pt x="146752" y="340185"/>
                </a:lnTo>
                <a:cubicBezTo>
                  <a:pt x="154934" y="376542"/>
                  <a:pt x="166306" y="408137"/>
                  <a:pt x="176174" y="431549"/>
                </a:cubicBezTo>
                <a:cubicBezTo>
                  <a:pt x="132655" y="414042"/>
                  <a:pt x="96821" y="381419"/>
                  <a:pt x="75190" y="340185"/>
                </a:cubicBezTo>
                <a:lnTo>
                  <a:pt x="75190" y="340185"/>
                </a:lnTo>
                <a:close/>
                <a:moveTo>
                  <a:pt x="167192" y="70818"/>
                </a:moveTo>
                <a:cubicBezTo>
                  <a:pt x="158972" y="94479"/>
                  <a:pt x="150133" y="124644"/>
                  <a:pt x="143913" y="158677"/>
                </a:cubicBezTo>
                <a:lnTo>
                  <a:pt x="74999" y="158677"/>
                </a:lnTo>
                <a:cubicBezTo>
                  <a:pt x="95107" y="120148"/>
                  <a:pt x="127597" y="89097"/>
                  <a:pt x="167192" y="70818"/>
                </a:cubicBezTo>
                <a:lnTo>
                  <a:pt x="167192" y="70818"/>
                </a:lnTo>
                <a:close/>
                <a:moveTo>
                  <a:pt x="278111" y="54931"/>
                </a:moveTo>
                <a:cubicBezTo>
                  <a:pt x="288188" y="76428"/>
                  <a:pt x="303704" y="113786"/>
                  <a:pt x="313915" y="158677"/>
                </a:cubicBezTo>
                <a:lnTo>
                  <a:pt x="182394" y="158677"/>
                </a:lnTo>
                <a:cubicBezTo>
                  <a:pt x="191071" y="114862"/>
                  <a:pt x="204168" y="78134"/>
                  <a:pt x="213055" y="56188"/>
                </a:cubicBezTo>
                <a:cubicBezTo>
                  <a:pt x="224790" y="53988"/>
                  <a:pt x="236877" y="52787"/>
                  <a:pt x="249241" y="52787"/>
                </a:cubicBezTo>
                <a:cubicBezTo>
                  <a:pt x="259051" y="52787"/>
                  <a:pt x="268681" y="53530"/>
                  <a:pt x="278111" y="54931"/>
                </a:cubicBezTo>
                <a:lnTo>
                  <a:pt x="278111" y="54931"/>
                </a:lnTo>
                <a:close/>
                <a:moveTo>
                  <a:pt x="173393" y="245478"/>
                </a:moveTo>
                <a:cubicBezTo>
                  <a:pt x="173393" y="228743"/>
                  <a:pt x="174517" y="212284"/>
                  <a:pt x="176393" y="196386"/>
                </a:cubicBezTo>
                <a:lnTo>
                  <a:pt x="320792" y="196386"/>
                </a:lnTo>
                <a:cubicBezTo>
                  <a:pt x="322964" y="212284"/>
                  <a:pt x="324250" y="228743"/>
                  <a:pt x="324250" y="245478"/>
                </a:cubicBezTo>
                <a:cubicBezTo>
                  <a:pt x="324250" y="265014"/>
                  <a:pt x="322716" y="284159"/>
                  <a:pt x="320230" y="302485"/>
                </a:cubicBezTo>
                <a:lnTo>
                  <a:pt x="177993" y="302485"/>
                </a:lnTo>
                <a:cubicBezTo>
                  <a:pt x="175146" y="284169"/>
                  <a:pt x="173393" y="265024"/>
                  <a:pt x="173393" y="245478"/>
                </a:cubicBezTo>
                <a:lnTo>
                  <a:pt x="173393" y="245478"/>
                </a:lnTo>
                <a:close/>
                <a:moveTo>
                  <a:pt x="52787" y="249250"/>
                </a:moveTo>
                <a:cubicBezTo>
                  <a:pt x="52787" y="230934"/>
                  <a:pt x="55369" y="213217"/>
                  <a:pt x="60074" y="196386"/>
                </a:cubicBezTo>
                <a:lnTo>
                  <a:pt x="138436" y="196386"/>
                </a:lnTo>
                <a:cubicBezTo>
                  <a:pt x="136721" y="212284"/>
                  <a:pt x="135693" y="228705"/>
                  <a:pt x="135693" y="245478"/>
                </a:cubicBezTo>
                <a:cubicBezTo>
                  <a:pt x="135693" y="265052"/>
                  <a:pt x="137246" y="284159"/>
                  <a:pt x="139836" y="302485"/>
                </a:cubicBezTo>
                <a:lnTo>
                  <a:pt x="60179" y="302485"/>
                </a:lnTo>
                <a:cubicBezTo>
                  <a:pt x="55407" y="285540"/>
                  <a:pt x="52787" y="267700"/>
                  <a:pt x="52787" y="249250"/>
                </a:cubicBezTo>
                <a:lnTo>
                  <a:pt x="52787" y="249250"/>
                </a:lnTo>
                <a:close/>
                <a:moveTo>
                  <a:pt x="445703" y="249250"/>
                </a:moveTo>
                <a:cubicBezTo>
                  <a:pt x="445703" y="267700"/>
                  <a:pt x="443093" y="285540"/>
                  <a:pt x="438321" y="302485"/>
                </a:cubicBezTo>
                <a:lnTo>
                  <a:pt x="358321" y="302485"/>
                </a:lnTo>
                <a:cubicBezTo>
                  <a:pt x="360597" y="284159"/>
                  <a:pt x="361959" y="265043"/>
                  <a:pt x="361959" y="245478"/>
                </a:cubicBezTo>
                <a:cubicBezTo>
                  <a:pt x="361959" y="228705"/>
                  <a:pt x="360797" y="212284"/>
                  <a:pt x="358844" y="196386"/>
                </a:cubicBezTo>
                <a:lnTo>
                  <a:pt x="438426" y="196386"/>
                </a:lnTo>
                <a:cubicBezTo>
                  <a:pt x="443131" y="213208"/>
                  <a:pt x="445703" y="230924"/>
                  <a:pt x="445703" y="249250"/>
                </a:cubicBezTo>
                <a:lnTo>
                  <a:pt x="445703" y="249250"/>
                </a:lnTo>
                <a:close/>
                <a:moveTo>
                  <a:pt x="423491" y="158677"/>
                </a:moveTo>
                <a:lnTo>
                  <a:pt x="352615" y="158677"/>
                </a:lnTo>
                <a:cubicBezTo>
                  <a:pt x="345271" y="123330"/>
                  <a:pt x="334689" y="92135"/>
                  <a:pt x="325002" y="67999"/>
                </a:cubicBezTo>
                <a:cubicBezTo>
                  <a:pt x="367446" y="85811"/>
                  <a:pt x="402326" y="118120"/>
                  <a:pt x="423491" y="158677"/>
                </a:cubicBezTo>
                <a:lnTo>
                  <a:pt x="423491" y="158677"/>
                </a:lnTo>
                <a:close/>
                <a:moveTo>
                  <a:pt x="249241" y="0"/>
                </a:moveTo>
                <a:cubicBezTo>
                  <a:pt x="111804" y="0"/>
                  <a:pt x="0" y="111805"/>
                  <a:pt x="0" y="249241"/>
                </a:cubicBezTo>
                <a:cubicBezTo>
                  <a:pt x="0" y="386667"/>
                  <a:pt x="111804" y="498481"/>
                  <a:pt x="249241" y="498481"/>
                </a:cubicBezTo>
                <a:cubicBezTo>
                  <a:pt x="386676" y="498481"/>
                  <a:pt x="498481" y="386667"/>
                  <a:pt x="498481" y="249241"/>
                </a:cubicBezTo>
                <a:cubicBezTo>
                  <a:pt x="498481" y="111814"/>
                  <a:pt x="386676" y="0"/>
                  <a:pt x="249241" y="0"/>
                </a:cubicBezTo>
                <a:lnTo>
                  <a:pt x="249241" y="0"/>
                </a:lnTo>
                <a:close/>
              </a:path>
            </a:pathLst>
          </a:custGeom>
          <a:solidFill>
            <a:srgbClr val="BF229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BF2296"/>
              </a:solidFill>
              <a:effectLst/>
              <a:uLnTx/>
              <a:uFillTx/>
              <a:latin typeface="Arial" panose="020B0604020202020204"/>
              <a:ea typeface="+mn-ea"/>
              <a:cs typeface="+mn-cs"/>
            </a:endParaRPr>
          </a:p>
        </p:txBody>
      </p:sp>
      <p:sp>
        <p:nvSpPr>
          <p:cNvPr id="8" name="Trend">
            <a:extLst>
              <a:ext uri="{FF2B5EF4-FFF2-40B4-BE49-F238E27FC236}">
                <a16:creationId xmlns:a16="http://schemas.microsoft.com/office/drawing/2014/main" id="{CC160CE3-4F74-4F73-B21A-458056D0D90F}"/>
              </a:ext>
            </a:extLst>
          </p:cNvPr>
          <p:cNvSpPr>
            <a:spLocks noChangeAspect="1"/>
          </p:cNvSpPr>
          <p:nvPr>
            <p:custDataLst>
              <p:tags r:id="rId6"/>
            </p:custDataLst>
          </p:nvPr>
        </p:nvSpPr>
        <p:spPr bwMode="gray">
          <a:xfrm>
            <a:off x="1292738" y="3989706"/>
            <a:ext cx="814546" cy="731520"/>
          </a:xfrm>
          <a:custGeom>
            <a:avLst/>
            <a:gdLst>
              <a:gd name="connsiteX0" fmla="*/ 343 w 450208"/>
              <a:gd name="connsiteY0" fmla="*/ 404317 h 404317"/>
              <a:gd name="connsiteX1" fmla="*/ 343 w 450208"/>
              <a:gd name="connsiteY1" fmla="*/ 358969 h 404317"/>
              <a:gd name="connsiteX2" fmla="*/ 436816 w 450208"/>
              <a:gd name="connsiteY2" fmla="*/ 358969 h 404317"/>
              <a:gd name="connsiteX3" fmla="*/ 436816 w 450208"/>
              <a:gd name="connsiteY3" fmla="*/ 404317 h 404317"/>
              <a:gd name="connsiteX4" fmla="*/ 343 w 450208"/>
              <a:gd name="connsiteY4" fmla="*/ 404317 h 404317"/>
              <a:gd name="connsiteX5" fmla="*/ 343 w 450208"/>
              <a:gd name="connsiteY5" fmla="*/ 404317 h 404317"/>
              <a:gd name="connsiteX6" fmla="*/ 157029 w 450208"/>
              <a:gd name="connsiteY6" fmla="*/ 285788 h 404317"/>
              <a:gd name="connsiteX7" fmla="*/ 210674 w 450208"/>
              <a:gd name="connsiteY7" fmla="*/ 229991 h 404317"/>
              <a:gd name="connsiteX8" fmla="*/ 350958 w 450208"/>
              <a:gd name="connsiteY8" fmla="*/ 176679 h 404317"/>
              <a:gd name="connsiteX9" fmla="*/ 450209 w 450208"/>
              <a:gd name="connsiteY9" fmla="*/ 13459 h 404317"/>
              <a:gd name="connsiteX10" fmla="*/ 428063 w 450208"/>
              <a:gd name="connsiteY10" fmla="*/ 0 h 404317"/>
              <a:gd name="connsiteX11" fmla="*/ 333432 w 450208"/>
              <a:gd name="connsiteY11" fmla="*/ 155629 h 404317"/>
              <a:gd name="connsiteX12" fmla="*/ 196025 w 450208"/>
              <a:gd name="connsiteY12" fmla="*/ 207845 h 404317"/>
              <a:gd name="connsiteX13" fmla="*/ 141961 w 450208"/>
              <a:gd name="connsiteY13" fmla="*/ 264081 h 404317"/>
              <a:gd name="connsiteX14" fmla="*/ 0 w 450208"/>
              <a:gd name="connsiteY14" fmla="*/ 325526 h 404317"/>
              <a:gd name="connsiteX15" fmla="*/ 10296 w 450208"/>
              <a:gd name="connsiteY15" fmla="*/ 349310 h 404317"/>
              <a:gd name="connsiteX16" fmla="*/ 157029 w 450208"/>
              <a:gd name="connsiteY16" fmla="*/ 285788 h 404317"/>
              <a:gd name="connsiteX17" fmla="*/ 157029 w 450208"/>
              <a:gd name="connsiteY17" fmla="*/ 285788 h 404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0208" h="404317">
                <a:moveTo>
                  <a:pt x="343" y="404317"/>
                </a:moveTo>
                <a:lnTo>
                  <a:pt x="343" y="358969"/>
                </a:lnTo>
                <a:lnTo>
                  <a:pt x="436816" y="358969"/>
                </a:lnTo>
                <a:lnTo>
                  <a:pt x="436816" y="404317"/>
                </a:lnTo>
                <a:lnTo>
                  <a:pt x="343" y="404317"/>
                </a:lnTo>
                <a:lnTo>
                  <a:pt x="343" y="404317"/>
                </a:lnTo>
                <a:close/>
                <a:moveTo>
                  <a:pt x="157029" y="285788"/>
                </a:moveTo>
                <a:lnTo>
                  <a:pt x="210674" y="229991"/>
                </a:lnTo>
                <a:lnTo>
                  <a:pt x="350958" y="176679"/>
                </a:lnTo>
                <a:lnTo>
                  <a:pt x="450209" y="13459"/>
                </a:lnTo>
                <a:lnTo>
                  <a:pt x="428063" y="0"/>
                </a:lnTo>
                <a:lnTo>
                  <a:pt x="333432" y="155629"/>
                </a:lnTo>
                <a:lnTo>
                  <a:pt x="196025" y="207845"/>
                </a:lnTo>
                <a:lnTo>
                  <a:pt x="141961" y="264081"/>
                </a:lnTo>
                <a:lnTo>
                  <a:pt x="0" y="325526"/>
                </a:lnTo>
                <a:lnTo>
                  <a:pt x="10296" y="349310"/>
                </a:lnTo>
                <a:lnTo>
                  <a:pt x="157029" y="285788"/>
                </a:lnTo>
                <a:lnTo>
                  <a:pt x="157029" y="285788"/>
                </a:lnTo>
                <a:close/>
              </a:path>
            </a:pathLst>
          </a:custGeom>
          <a:solidFill>
            <a:srgbClr val="00A5C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99"/>
              </a:solidFill>
              <a:effectLst/>
              <a:uLnTx/>
              <a:uFillTx/>
              <a:latin typeface="Arial" panose="020B0604020202020204"/>
              <a:ea typeface="+mn-ea"/>
              <a:cs typeface="+mn-cs"/>
            </a:endParaRPr>
          </a:p>
        </p:txBody>
      </p:sp>
      <p:grpSp>
        <p:nvGrpSpPr>
          <p:cNvPr id="2" name="Group 1">
            <a:extLst>
              <a:ext uri="{FF2B5EF4-FFF2-40B4-BE49-F238E27FC236}">
                <a16:creationId xmlns:a16="http://schemas.microsoft.com/office/drawing/2014/main" id="{E5FD90FF-EDC4-4085-9F37-E33F08C89CC5}"/>
              </a:ext>
            </a:extLst>
          </p:cNvPr>
          <p:cNvGrpSpPr/>
          <p:nvPr/>
        </p:nvGrpSpPr>
        <p:grpSpPr>
          <a:xfrm>
            <a:off x="5482040" y="2595284"/>
            <a:ext cx="1153537" cy="844473"/>
            <a:chOff x="5482040" y="2595284"/>
            <a:chExt cx="1153537" cy="844473"/>
          </a:xfrm>
        </p:grpSpPr>
        <p:sp>
          <p:nvSpPr>
            <p:cNvPr id="16" name="Three-People-Heart">
              <a:extLst>
                <a:ext uri="{FF2B5EF4-FFF2-40B4-BE49-F238E27FC236}">
                  <a16:creationId xmlns:a16="http://schemas.microsoft.com/office/drawing/2014/main" id="{E1075B0D-AA2E-4A3D-92CC-1185EE78C316}"/>
                </a:ext>
              </a:extLst>
            </p:cNvPr>
            <p:cNvSpPr>
              <a:spLocks noChangeAspect="1"/>
            </p:cNvSpPr>
            <p:nvPr>
              <p:custDataLst>
                <p:tags r:id="rId7"/>
              </p:custDataLst>
            </p:nvPr>
          </p:nvSpPr>
          <p:spPr bwMode="gray">
            <a:xfrm>
              <a:off x="5482040" y="2595284"/>
              <a:ext cx="1153537" cy="822960"/>
            </a:xfrm>
            <a:custGeom>
              <a:avLst/>
              <a:gdLst>
                <a:gd name="connsiteX0" fmla="*/ 100527 w 529609"/>
                <a:gd name="connsiteY0" fmla="*/ 79181 h 377837"/>
                <a:gd name="connsiteX1" fmla="*/ 51797 w 529609"/>
                <a:gd name="connsiteY1" fmla="*/ 127902 h 377837"/>
                <a:gd name="connsiteX2" fmla="*/ 100527 w 529609"/>
                <a:gd name="connsiteY2" fmla="*/ 176632 h 377837"/>
                <a:gd name="connsiteX3" fmla="*/ 149247 w 529609"/>
                <a:gd name="connsiteY3" fmla="*/ 127902 h 377837"/>
                <a:gd name="connsiteX4" fmla="*/ 100527 w 529609"/>
                <a:gd name="connsiteY4" fmla="*/ 79181 h 377837"/>
                <a:gd name="connsiteX5" fmla="*/ 100527 w 529609"/>
                <a:gd name="connsiteY5" fmla="*/ 79181 h 377837"/>
                <a:gd name="connsiteX6" fmla="*/ 100527 w 529609"/>
                <a:gd name="connsiteY6" fmla="*/ 113709 h 377837"/>
                <a:gd name="connsiteX7" fmla="*/ 114719 w 529609"/>
                <a:gd name="connsiteY7" fmla="*/ 127902 h 377837"/>
                <a:gd name="connsiteX8" fmla="*/ 100527 w 529609"/>
                <a:gd name="connsiteY8" fmla="*/ 142104 h 377837"/>
                <a:gd name="connsiteX9" fmla="*/ 86325 w 529609"/>
                <a:gd name="connsiteY9" fmla="*/ 127902 h 377837"/>
                <a:gd name="connsiteX10" fmla="*/ 100527 w 529609"/>
                <a:gd name="connsiteY10" fmla="*/ 113709 h 377837"/>
                <a:gd name="connsiteX11" fmla="*/ 429082 w 529609"/>
                <a:gd name="connsiteY11" fmla="*/ 79181 h 377837"/>
                <a:gd name="connsiteX12" fmla="*/ 380362 w 529609"/>
                <a:gd name="connsiteY12" fmla="*/ 127902 h 377837"/>
                <a:gd name="connsiteX13" fmla="*/ 429082 w 529609"/>
                <a:gd name="connsiteY13" fmla="*/ 176632 h 377837"/>
                <a:gd name="connsiteX14" fmla="*/ 477812 w 529609"/>
                <a:gd name="connsiteY14" fmla="*/ 127902 h 377837"/>
                <a:gd name="connsiteX15" fmla="*/ 429082 w 529609"/>
                <a:gd name="connsiteY15" fmla="*/ 79181 h 377837"/>
                <a:gd name="connsiteX16" fmla="*/ 429082 w 529609"/>
                <a:gd name="connsiteY16" fmla="*/ 79181 h 377837"/>
                <a:gd name="connsiteX17" fmla="*/ 429082 w 529609"/>
                <a:gd name="connsiteY17" fmla="*/ 113709 h 377837"/>
                <a:gd name="connsiteX18" fmla="*/ 443284 w 529609"/>
                <a:gd name="connsiteY18" fmla="*/ 127902 h 377837"/>
                <a:gd name="connsiteX19" fmla="*/ 429082 w 529609"/>
                <a:gd name="connsiteY19" fmla="*/ 142104 h 377837"/>
                <a:gd name="connsiteX20" fmla="*/ 414890 w 529609"/>
                <a:gd name="connsiteY20" fmla="*/ 127902 h 377837"/>
                <a:gd name="connsiteX21" fmla="*/ 429082 w 529609"/>
                <a:gd name="connsiteY21" fmla="*/ 113709 h 377837"/>
                <a:gd name="connsiteX22" fmla="*/ 287160 w 529609"/>
                <a:gd name="connsiteY22" fmla="*/ 277559 h 377837"/>
                <a:gd name="connsiteX23" fmla="*/ 319373 w 529609"/>
                <a:gd name="connsiteY23" fmla="*/ 309772 h 377837"/>
                <a:gd name="connsiteX24" fmla="*/ 312134 w 529609"/>
                <a:gd name="connsiteY24" fmla="*/ 330118 h 377837"/>
                <a:gd name="connsiteX25" fmla="*/ 311849 w 529609"/>
                <a:gd name="connsiteY25" fmla="*/ 330441 h 377837"/>
                <a:gd name="connsiteX26" fmla="*/ 307953 w 529609"/>
                <a:gd name="connsiteY26" fmla="*/ 334489 h 377837"/>
                <a:gd name="connsiteX27" fmla="*/ 266357 w 529609"/>
                <a:gd name="connsiteY27" fmla="*/ 377838 h 377837"/>
                <a:gd name="connsiteX28" fmla="*/ 260899 w 529609"/>
                <a:gd name="connsiteY28" fmla="*/ 372028 h 377837"/>
                <a:gd name="connsiteX29" fmla="*/ 220866 w 529609"/>
                <a:gd name="connsiteY29" fmla="*/ 330289 h 377837"/>
                <a:gd name="connsiteX30" fmla="*/ 220732 w 529609"/>
                <a:gd name="connsiteY30" fmla="*/ 330118 h 377837"/>
                <a:gd name="connsiteX31" fmla="*/ 213493 w 529609"/>
                <a:gd name="connsiteY31" fmla="*/ 309772 h 377837"/>
                <a:gd name="connsiteX32" fmla="*/ 245707 w 529609"/>
                <a:gd name="connsiteY32" fmla="*/ 277559 h 377837"/>
                <a:gd name="connsiteX33" fmla="*/ 266433 w 529609"/>
                <a:gd name="connsiteY33" fmla="*/ 285131 h 377837"/>
                <a:gd name="connsiteX34" fmla="*/ 287160 w 529609"/>
                <a:gd name="connsiteY34" fmla="*/ 277559 h 377837"/>
                <a:gd name="connsiteX35" fmla="*/ 287160 w 529609"/>
                <a:gd name="connsiteY35" fmla="*/ 277559 h 377837"/>
                <a:gd name="connsiteX36" fmla="*/ 428177 w 529609"/>
                <a:gd name="connsiteY36" fmla="*/ 323917 h 377837"/>
                <a:gd name="connsiteX37" fmla="*/ 430663 w 529609"/>
                <a:gd name="connsiteY37" fmla="*/ 335052 h 377837"/>
                <a:gd name="connsiteX38" fmla="*/ 428177 w 529609"/>
                <a:gd name="connsiteY38" fmla="*/ 323917 h 377837"/>
                <a:gd name="connsiteX39" fmla="*/ 428177 w 529609"/>
                <a:gd name="connsiteY39" fmla="*/ 323917 h 377837"/>
                <a:gd name="connsiteX40" fmla="*/ 392640 w 529609"/>
                <a:gd name="connsiteY40" fmla="*/ 339166 h 377837"/>
                <a:gd name="connsiteX41" fmla="*/ 394164 w 529609"/>
                <a:gd name="connsiteY41" fmla="*/ 347891 h 377837"/>
                <a:gd name="connsiteX42" fmla="*/ 395088 w 529609"/>
                <a:gd name="connsiteY42" fmla="*/ 356778 h 377837"/>
                <a:gd name="connsiteX43" fmla="*/ 394164 w 529609"/>
                <a:gd name="connsiteY43" fmla="*/ 347891 h 377837"/>
                <a:gd name="connsiteX44" fmla="*/ 392640 w 529609"/>
                <a:gd name="connsiteY44" fmla="*/ 339166 h 377837"/>
                <a:gd name="connsiteX45" fmla="*/ 392640 w 529609"/>
                <a:gd name="connsiteY45" fmla="*/ 339166 h 377837"/>
                <a:gd name="connsiteX46" fmla="*/ 267500 w 529609"/>
                <a:gd name="connsiteY46" fmla="*/ 237820 h 377837"/>
                <a:gd name="connsiteX47" fmla="*/ 285083 w 529609"/>
                <a:gd name="connsiteY47" fmla="*/ 239039 h 377837"/>
                <a:gd name="connsiteX48" fmla="*/ 267500 w 529609"/>
                <a:gd name="connsiteY48" fmla="*/ 237820 h 377837"/>
                <a:gd name="connsiteX49" fmla="*/ 267500 w 529609"/>
                <a:gd name="connsiteY49" fmla="*/ 237820 h 377837"/>
                <a:gd name="connsiteX50" fmla="*/ 318097 w 529609"/>
                <a:gd name="connsiteY50" fmla="*/ 248336 h 377837"/>
                <a:gd name="connsiteX51" fmla="*/ 307477 w 529609"/>
                <a:gd name="connsiteY51" fmla="*/ 244278 h 377837"/>
                <a:gd name="connsiteX52" fmla="*/ 318097 w 529609"/>
                <a:gd name="connsiteY52" fmla="*/ 248336 h 377837"/>
                <a:gd name="connsiteX53" fmla="*/ 318097 w 529609"/>
                <a:gd name="connsiteY53" fmla="*/ 248336 h 377837"/>
                <a:gd name="connsiteX54" fmla="*/ 528618 w 529609"/>
                <a:gd name="connsiteY54" fmla="*/ 273425 h 377837"/>
                <a:gd name="connsiteX55" fmla="*/ 529609 w 529609"/>
                <a:gd name="connsiteY55" fmla="*/ 287569 h 377837"/>
                <a:gd name="connsiteX56" fmla="*/ 489328 w 529609"/>
                <a:gd name="connsiteY56" fmla="*/ 287569 h 377837"/>
                <a:gd name="connsiteX57" fmla="*/ 488728 w 529609"/>
                <a:gd name="connsiteY57" fmla="*/ 279054 h 377837"/>
                <a:gd name="connsiteX58" fmla="*/ 428987 w 529609"/>
                <a:gd name="connsiteY58" fmla="*/ 227257 h 377837"/>
                <a:gd name="connsiteX59" fmla="*/ 389963 w 529609"/>
                <a:gd name="connsiteY59" fmla="*/ 241573 h 377837"/>
                <a:gd name="connsiteX60" fmla="*/ 357816 w 529609"/>
                <a:gd name="connsiteY60" fmla="*/ 216503 h 377837"/>
                <a:gd name="connsiteX61" fmla="*/ 428987 w 529609"/>
                <a:gd name="connsiteY61" fmla="*/ 186985 h 377837"/>
                <a:gd name="connsiteX62" fmla="*/ 528618 w 529609"/>
                <a:gd name="connsiteY62" fmla="*/ 273425 h 377837"/>
                <a:gd name="connsiteX63" fmla="*/ 528618 w 529609"/>
                <a:gd name="connsiteY63" fmla="*/ 273425 h 377837"/>
                <a:gd name="connsiteX64" fmla="*/ 100613 w 529609"/>
                <a:gd name="connsiteY64" fmla="*/ 186976 h 377837"/>
                <a:gd name="connsiteX65" fmla="*/ 173793 w 529609"/>
                <a:gd name="connsiteY65" fmla="*/ 218627 h 377837"/>
                <a:gd name="connsiteX66" fmla="*/ 142437 w 529609"/>
                <a:gd name="connsiteY66" fmla="*/ 244116 h 377837"/>
                <a:gd name="connsiteX67" fmla="*/ 100603 w 529609"/>
                <a:gd name="connsiteY67" fmla="*/ 227257 h 377837"/>
                <a:gd name="connsiteX68" fmla="*/ 40872 w 529609"/>
                <a:gd name="connsiteY68" fmla="*/ 279054 h 377837"/>
                <a:gd name="connsiteX69" fmla="*/ 40281 w 529609"/>
                <a:gd name="connsiteY69" fmla="*/ 287569 h 377837"/>
                <a:gd name="connsiteX70" fmla="*/ 0 w 529609"/>
                <a:gd name="connsiteY70" fmla="*/ 287569 h 377837"/>
                <a:gd name="connsiteX71" fmla="*/ 991 w 529609"/>
                <a:gd name="connsiteY71" fmla="*/ 273425 h 377837"/>
                <a:gd name="connsiteX72" fmla="*/ 100613 w 529609"/>
                <a:gd name="connsiteY72" fmla="*/ 186976 h 377837"/>
                <a:gd name="connsiteX73" fmla="*/ 100613 w 529609"/>
                <a:gd name="connsiteY73" fmla="*/ 186976 h 377837"/>
                <a:gd name="connsiteX74" fmla="*/ 333165 w 529609"/>
                <a:gd name="connsiteY74" fmla="*/ 213379 h 377837"/>
                <a:gd name="connsiteX75" fmla="*/ 370713 w 529609"/>
                <a:gd name="connsiteY75" fmla="*/ 235953 h 377837"/>
                <a:gd name="connsiteX76" fmla="*/ 386915 w 529609"/>
                <a:gd name="connsiteY76" fmla="*/ 250669 h 377837"/>
                <a:gd name="connsiteX77" fmla="*/ 391878 w 529609"/>
                <a:gd name="connsiteY77" fmla="*/ 256032 h 377837"/>
                <a:gd name="connsiteX78" fmla="*/ 401088 w 529609"/>
                <a:gd name="connsiteY78" fmla="*/ 267395 h 377837"/>
                <a:gd name="connsiteX79" fmla="*/ 409289 w 529609"/>
                <a:gd name="connsiteY79" fmla="*/ 279559 h 377837"/>
                <a:gd name="connsiteX80" fmla="*/ 412994 w 529609"/>
                <a:gd name="connsiteY80" fmla="*/ 285922 h 377837"/>
                <a:gd name="connsiteX81" fmla="*/ 419557 w 529609"/>
                <a:gd name="connsiteY81" fmla="*/ 299180 h 377837"/>
                <a:gd name="connsiteX82" fmla="*/ 424939 w 529609"/>
                <a:gd name="connsiteY82" fmla="*/ 313087 h 377837"/>
                <a:gd name="connsiteX83" fmla="*/ 428158 w 529609"/>
                <a:gd name="connsiteY83" fmla="*/ 323907 h 377837"/>
                <a:gd name="connsiteX84" fmla="*/ 430644 w 529609"/>
                <a:gd name="connsiteY84" fmla="*/ 335042 h 377837"/>
                <a:gd name="connsiteX85" fmla="*/ 431883 w 529609"/>
                <a:gd name="connsiteY85" fmla="*/ 342624 h 377837"/>
                <a:gd name="connsiteX86" fmla="*/ 432578 w 529609"/>
                <a:gd name="connsiteY86" fmla="*/ 348358 h 377837"/>
                <a:gd name="connsiteX87" fmla="*/ 433473 w 529609"/>
                <a:gd name="connsiteY87" fmla="*/ 365712 h 377837"/>
                <a:gd name="connsiteX88" fmla="*/ 395383 w 529609"/>
                <a:gd name="connsiteY88" fmla="*/ 365712 h 377837"/>
                <a:gd name="connsiteX89" fmla="*/ 395068 w 529609"/>
                <a:gd name="connsiteY89" fmla="*/ 356769 h 377837"/>
                <a:gd name="connsiteX90" fmla="*/ 394145 w 529609"/>
                <a:gd name="connsiteY90" fmla="*/ 347882 h 377837"/>
                <a:gd name="connsiteX91" fmla="*/ 392621 w 529609"/>
                <a:gd name="connsiteY91" fmla="*/ 339157 h 377837"/>
                <a:gd name="connsiteX92" fmla="*/ 390515 w 529609"/>
                <a:gd name="connsiteY92" fmla="*/ 330661 h 377837"/>
                <a:gd name="connsiteX93" fmla="*/ 384648 w 529609"/>
                <a:gd name="connsiteY93" fmla="*/ 314420 h 377837"/>
                <a:gd name="connsiteX94" fmla="*/ 376733 w 529609"/>
                <a:gd name="connsiteY94" fmla="*/ 299304 h 377837"/>
                <a:gd name="connsiteX95" fmla="*/ 370408 w 529609"/>
                <a:gd name="connsiteY95" fmla="*/ 289932 h 377837"/>
                <a:gd name="connsiteX96" fmla="*/ 347005 w 529609"/>
                <a:gd name="connsiteY96" fmla="*/ 265710 h 377837"/>
                <a:gd name="connsiteX97" fmla="*/ 328241 w 529609"/>
                <a:gd name="connsiteY97" fmla="*/ 253279 h 377837"/>
                <a:gd name="connsiteX98" fmla="*/ 318068 w 529609"/>
                <a:gd name="connsiteY98" fmla="*/ 248317 h 377837"/>
                <a:gd name="connsiteX99" fmla="*/ 307448 w 529609"/>
                <a:gd name="connsiteY99" fmla="*/ 244259 h 377837"/>
                <a:gd name="connsiteX100" fmla="*/ 296428 w 529609"/>
                <a:gd name="connsiteY100" fmla="*/ 241144 h 377837"/>
                <a:gd name="connsiteX101" fmla="*/ 290789 w 529609"/>
                <a:gd name="connsiteY101" fmla="*/ 239954 h 377837"/>
                <a:gd name="connsiteX102" fmla="*/ 285064 w 529609"/>
                <a:gd name="connsiteY102" fmla="*/ 239020 h 377837"/>
                <a:gd name="connsiteX103" fmla="*/ 267481 w 529609"/>
                <a:gd name="connsiteY103" fmla="*/ 237801 h 377837"/>
                <a:gd name="connsiteX104" fmla="*/ 201873 w 529609"/>
                <a:gd name="connsiteY104" fmla="*/ 256051 h 377837"/>
                <a:gd name="connsiteX105" fmla="*/ 188004 w 529609"/>
                <a:gd name="connsiteY105" fmla="*/ 265662 h 377837"/>
                <a:gd name="connsiteX106" fmla="*/ 179518 w 529609"/>
                <a:gd name="connsiteY106" fmla="*/ 273025 h 377837"/>
                <a:gd name="connsiteX107" fmla="*/ 168050 w 529609"/>
                <a:gd name="connsiteY107" fmla="*/ 285388 h 377837"/>
                <a:gd name="connsiteX108" fmla="*/ 161325 w 529609"/>
                <a:gd name="connsiteY108" fmla="*/ 294437 h 377837"/>
                <a:gd name="connsiteX109" fmla="*/ 140799 w 529609"/>
                <a:gd name="connsiteY109" fmla="*/ 347672 h 377837"/>
                <a:gd name="connsiteX110" fmla="*/ 139541 w 529609"/>
                <a:gd name="connsiteY110" fmla="*/ 365712 h 377837"/>
                <a:gd name="connsiteX111" fmla="*/ 101451 w 529609"/>
                <a:gd name="connsiteY111" fmla="*/ 365712 h 377837"/>
                <a:gd name="connsiteX112" fmla="*/ 103080 w 529609"/>
                <a:gd name="connsiteY112" fmla="*/ 342357 h 377837"/>
                <a:gd name="connsiteX113" fmla="*/ 118605 w 529609"/>
                <a:gd name="connsiteY113" fmla="*/ 292294 h 377837"/>
                <a:gd name="connsiteX114" fmla="*/ 176155 w 529609"/>
                <a:gd name="connsiteY114" fmla="*/ 227314 h 377837"/>
                <a:gd name="connsiteX115" fmla="*/ 179470 w 529609"/>
                <a:gd name="connsiteY115" fmla="*/ 225219 h 377837"/>
                <a:gd name="connsiteX116" fmla="*/ 188690 w 529609"/>
                <a:gd name="connsiteY116" fmla="*/ 219780 h 377837"/>
                <a:gd name="connsiteX117" fmla="*/ 201882 w 529609"/>
                <a:gd name="connsiteY117" fmla="*/ 213351 h 377837"/>
                <a:gd name="connsiteX118" fmla="*/ 215656 w 529609"/>
                <a:gd name="connsiteY118" fmla="*/ 208083 h 377837"/>
                <a:gd name="connsiteX119" fmla="*/ 237268 w 529609"/>
                <a:gd name="connsiteY119" fmla="*/ 202502 h 377837"/>
                <a:gd name="connsiteX120" fmla="*/ 252203 w 529609"/>
                <a:gd name="connsiteY120" fmla="*/ 200416 h 377837"/>
                <a:gd name="connsiteX121" fmla="*/ 267481 w 529609"/>
                <a:gd name="connsiteY121" fmla="*/ 199711 h 377837"/>
                <a:gd name="connsiteX122" fmla="*/ 312268 w 529609"/>
                <a:gd name="connsiteY122" fmla="*/ 205921 h 377837"/>
                <a:gd name="connsiteX123" fmla="*/ 319364 w 529609"/>
                <a:gd name="connsiteY123" fmla="*/ 208102 h 377837"/>
                <a:gd name="connsiteX124" fmla="*/ 333165 w 529609"/>
                <a:gd name="connsiteY124" fmla="*/ 213379 h 377837"/>
                <a:gd name="connsiteX125" fmla="*/ 333165 w 529609"/>
                <a:gd name="connsiteY125" fmla="*/ 213379 h 377837"/>
                <a:gd name="connsiteX126" fmla="*/ 267348 w 529609"/>
                <a:gd name="connsiteY126" fmla="*/ 0 h 377837"/>
                <a:gd name="connsiteX127" fmla="*/ 178346 w 529609"/>
                <a:gd name="connsiteY127" fmla="*/ 88983 h 377837"/>
                <a:gd name="connsiteX128" fmla="*/ 267348 w 529609"/>
                <a:gd name="connsiteY128" fmla="*/ 177984 h 377837"/>
                <a:gd name="connsiteX129" fmla="*/ 356330 w 529609"/>
                <a:gd name="connsiteY129" fmla="*/ 88983 h 377837"/>
                <a:gd name="connsiteX130" fmla="*/ 267348 w 529609"/>
                <a:gd name="connsiteY130" fmla="*/ 0 h 377837"/>
                <a:gd name="connsiteX131" fmla="*/ 267348 w 529609"/>
                <a:gd name="connsiteY131" fmla="*/ 0 h 377837"/>
                <a:gd name="connsiteX132" fmla="*/ 267348 w 529609"/>
                <a:gd name="connsiteY132" fmla="*/ 40281 h 377837"/>
                <a:gd name="connsiteX133" fmla="*/ 316049 w 529609"/>
                <a:gd name="connsiteY133" fmla="*/ 88992 h 377837"/>
                <a:gd name="connsiteX134" fmla="*/ 267348 w 529609"/>
                <a:gd name="connsiteY134" fmla="*/ 137713 h 377837"/>
                <a:gd name="connsiteX135" fmla="*/ 218618 w 529609"/>
                <a:gd name="connsiteY135" fmla="*/ 88992 h 377837"/>
                <a:gd name="connsiteX136" fmla="*/ 267348 w 529609"/>
                <a:gd name="connsiteY136" fmla="*/ 40281 h 377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529609" h="377837">
                  <a:moveTo>
                    <a:pt x="100527" y="79181"/>
                  </a:moveTo>
                  <a:cubicBezTo>
                    <a:pt x="73609" y="79181"/>
                    <a:pt x="51797" y="100994"/>
                    <a:pt x="51797" y="127902"/>
                  </a:cubicBezTo>
                  <a:cubicBezTo>
                    <a:pt x="51797" y="154819"/>
                    <a:pt x="73609" y="176632"/>
                    <a:pt x="100527" y="176632"/>
                  </a:cubicBezTo>
                  <a:cubicBezTo>
                    <a:pt x="127435" y="176632"/>
                    <a:pt x="149247" y="154819"/>
                    <a:pt x="149247" y="127902"/>
                  </a:cubicBezTo>
                  <a:cubicBezTo>
                    <a:pt x="149247" y="101003"/>
                    <a:pt x="127435" y="79181"/>
                    <a:pt x="100527" y="79181"/>
                  </a:cubicBezTo>
                  <a:lnTo>
                    <a:pt x="100527" y="79181"/>
                  </a:lnTo>
                  <a:close/>
                  <a:moveTo>
                    <a:pt x="100527" y="113709"/>
                  </a:moveTo>
                  <a:cubicBezTo>
                    <a:pt x="108356" y="113709"/>
                    <a:pt x="114719" y="120072"/>
                    <a:pt x="114719" y="127902"/>
                  </a:cubicBezTo>
                  <a:cubicBezTo>
                    <a:pt x="114719" y="135731"/>
                    <a:pt x="108356" y="142104"/>
                    <a:pt x="100527" y="142104"/>
                  </a:cubicBezTo>
                  <a:cubicBezTo>
                    <a:pt x="92697" y="142104"/>
                    <a:pt x="86325" y="135731"/>
                    <a:pt x="86325" y="127902"/>
                  </a:cubicBezTo>
                  <a:cubicBezTo>
                    <a:pt x="86325" y="120072"/>
                    <a:pt x="92697" y="113709"/>
                    <a:pt x="100527" y="113709"/>
                  </a:cubicBezTo>
                  <a:moveTo>
                    <a:pt x="429082" y="79181"/>
                  </a:moveTo>
                  <a:cubicBezTo>
                    <a:pt x="402184" y="79181"/>
                    <a:pt x="380362" y="100994"/>
                    <a:pt x="380362" y="127902"/>
                  </a:cubicBezTo>
                  <a:cubicBezTo>
                    <a:pt x="380362" y="154819"/>
                    <a:pt x="402174" y="176632"/>
                    <a:pt x="429082" y="176632"/>
                  </a:cubicBezTo>
                  <a:cubicBezTo>
                    <a:pt x="456000" y="176632"/>
                    <a:pt x="477812" y="154819"/>
                    <a:pt x="477812" y="127902"/>
                  </a:cubicBezTo>
                  <a:cubicBezTo>
                    <a:pt x="477812" y="101003"/>
                    <a:pt x="456000" y="79181"/>
                    <a:pt x="429082" y="79181"/>
                  </a:cubicBezTo>
                  <a:lnTo>
                    <a:pt x="429082" y="79181"/>
                  </a:lnTo>
                  <a:close/>
                  <a:moveTo>
                    <a:pt x="429082" y="113709"/>
                  </a:moveTo>
                  <a:cubicBezTo>
                    <a:pt x="436912" y="113709"/>
                    <a:pt x="443284" y="120072"/>
                    <a:pt x="443284" y="127902"/>
                  </a:cubicBezTo>
                  <a:cubicBezTo>
                    <a:pt x="443284" y="135731"/>
                    <a:pt x="436912" y="142104"/>
                    <a:pt x="429082" y="142104"/>
                  </a:cubicBezTo>
                  <a:cubicBezTo>
                    <a:pt x="421253" y="142104"/>
                    <a:pt x="414890" y="135731"/>
                    <a:pt x="414890" y="127902"/>
                  </a:cubicBezTo>
                  <a:cubicBezTo>
                    <a:pt x="414890" y="120072"/>
                    <a:pt x="421253" y="113709"/>
                    <a:pt x="429082" y="113709"/>
                  </a:cubicBezTo>
                  <a:moveTo>
                    <a:pt x="287160" y="277559"/>
                  </a:moveTo>
                  <a:cubicBezTo>
                    <a:pt x="304924" y="277559"/>
                    <a:pt x="319373" y="292008"/>
                    <a:pt x="319373" y="309772"/>
                  </a:cubicBezTo>
                  <a:cubicBezTo>
                    <a:pt x="319373" y="317164"/>
                    <a:pt x="316801" y="324393"/>
                    <a:pt x="312134" y="330118"/>
                  </a:cubicBezTo>
                  <a:lnTo>
                    <a:pt x="311849" y="330441"/>
                  </a:lnTo>
                  <a:lnTo>
                    <a:pt x="307953" y="334489"/>
                  </a:lnTo>
                  <a:lnTo>
                    <a:pt x="266357" y="377838"/>
                  </a:lnTo>
                  <a:lnTo>
                    <a:pt x="260899" y="372028"/>
                  </a:lnTo>
                  <a:lnTo>
                    <a:pt x="220866" y="330289"/>
                  </a:lnTo>
                  <a:lnTo>
                    <a:pt x="220732" y="330118"/>
                  </a:lnTo>
                  <a:cubicBezTo>
                    <a:pt x="216065" y="324393"/>
                    <a:pt x="213493" y="317173"/>
                    <a:pt x="213493" y="309772"/>
                  </a:cubicBezTo>
                  <a:cubicBezTo>
                    <a:pt x="213493" y="292008"/>
                    <a:pt x="227943" y="277559"/>
                    <a:pt x="245707" y="277559"/>
                  </a:cubicBezTo>
                  <a:cubicBezTo>
                    <a:pt x="253422" y="277559"/>
                    <a:pt x="260718" y="280321"/>
                    <a:pt x="266433" y="285131"/>
                  </a:cubicBezTo>
                  <a:cubicBezTo>
                    <a:pt x="272148" y="280321"/>
                    <a:pt x="279444" y="277559"/>
                    <a:pt x="287160" y="277559"/>
                  </a:cubicBezTo>
                  <a:lnTo>
                    <a:pt x="287160" y="277559"/>
                  </a:lnTo>
                  <a:close/>
                  <a:moveTo>
                    <a:pt x="428177" y="323917"/>
                  </a:moveTo>
                  <a:cubicBezTo>
                    <a:pt x="429130" y="327574"/>
                    <a:pt x="429959" y="331289"/>
                    <a:pt x="430663" y="335052"/>
                  </a:cubicBezTo>
                  <a:cubicBezTo>
                    <a:pt x="429959" y="331289"/>
                    <a:pt x="429130" y="327584"/>
                    <a:pt x="428177" y="323917"/>
                  </a:cubicBezTo>
                  <a:lnTo>
                    <a:pt x="428177" y="323917"/>
                  </a:lnTo>
                  <a:close/>
                  <a:moveTo>
                    <a:pt x="392640" y="339166"/>
                  </a:moveTo>
                  <a:cubicBezTo>
                    <a:pt x="393249" y="342033"/>
                    <a:pt x="393754" y="344948"/>
                    <a:pt x="394164" y="347891"/>
                  </a:cubicBezTo>
                  <a:cubicBezTo>
                    <a:pt x="394573" y="350825"/>
                    <a:pt x="394878" y="353797"/>
                    <a:pt x="395088" y="356778"/>
                  </a:cubicBezTo>
                  <a:cubicBezTo>
                    <a:pt x="394878" y="353797"/>
                    <a:pt x="394573" y="350825"/>
                    <a:pt x="394164" y="347891"/>
                  </a:cubicBezTo>
                  <a:cubicBezTo>
                    <a:pt x="393754" y="344938"/>
                    <a:pt x="393249" y="342033"/>
                    <a:pt x="392640" y="339166"/>
                  </a:cubicBezTo>
                  <a:lnTo>
                    <a:pt x="392640" y="339166"/>
                  </a:lnTo>
                  <a:close/>
                  <a:moveTo>
                    <a:pt x="267500" y="237820"/>
                  </a:moveTo>
                  <a:cubicBezTo>
                    <a:pt x="273453" y="237820"/>
                    <a:pt x="279321" y="238230"/>
                    <a:pt x="285083" y="239039"/>
                  </a:cubicBezTo>
                  <a:cubicBezTo>
                    <a:pt x="279321" y="238230"/>
                    <a:pt x="273453" y="237820"/>
                    <a:pt x="267500" y="237820"/>
                  </a:cubicBezTo>
                  <a:lnTo>
                    <a:pt x="267500" y="237820"/>
                  </a:lnTo>
                  <a:close/>
                  <a:moveTo>
                    <a:pt x="318097" y="248336"/>
                  </a:moveTo>
                  <a:cubicBezTo>
                    <a:pt x="314630" y="246831"/>
                    <a:pt x="311087" y="245469"/>
                    <a:pt x="307477" y="244278"/>
                  </a:cubicBezTo>
                  <a:cubicBezTo>
                    <a:pt x="311087" y="245469"/>
                    <a:pt x="314630" y="246831"/>
                    <a:pt x="318097" y="248336"/>
                  </a:cubicBezTo>
                  <a:lnTo>
                    <a:pt x="318097" y="248336"/>
                  </a:lnTo>
                  <a:close/>
                  <a:moveTo>
                    <a:pt x="528618" y="273425"/>
                  </a:moveTo>
                  <a:cubicBezTo>
                    <a:pt x="529276" y="278073"/>
                    <a:pt x="529609" y="282835"/>
                    <a:pt x="529609" y="287569"/>
                  </a:cubicBezTo>
                  <a:lnTo>
                    <a:pt x="489328" y="287569"/>
                  </a:lnTo>
                  <a:cubicBezTo>
                    <a:pt x="489328" y="284712"/>
                    <a:pt x="489128" y="281845"/>
                    <a:pt x="488728" y="279054"/>
                  </a:cubicBezTo>
                  <a:cubicBezTo>
                    <a:pt x="484565" y="249517"/>
                    <a:pt x="458886" y="227257"/>
                    <a:pt x="428987" y="227257"/>
                  </a:cubicBezTo>
                  <a:cubicBezTo>
                    <a:pt x="414338" y="227257"/>
                    <a:pt x="400621" y="232543"/>
                    <a:pt x="389963" y="241573"/>
                  </a:cubicBezTo>
                  <a:cubicBezTo>
                    <a:pt x="380257" y="232020"/>
                    <a:pt x="369484" y="223590"/>
                    <a:pt x="357816" y="216503"/>
                  </a:cubicBezTo>
                  <a:cubicBezTo>
                    <a:pt x="376276" y="198034"/>
                    <a:pt x="401641" y="186985"/>
                    <a:pt x="428987" y="186985"/>
                  </a:cubicBezTo>
                  <a:cubicBezTo>
                    <a:pt x="478841" y="186976"/>
                    <a:pt x="521665" y="224142"/>
                    <a:pt x="528618" y="273425"/>
                  </a:cubicBezTo>
                  <a:lnTo>
                    <a:pt x="528618" y="273425"/>
                  </a:lnTo>
                  <a:close/>
                  <a:moveTo>
                    <a:pt x="100613" y="186976"/>
                  </a:moveTo>
                  <a:cubicBezTo>
                    <a:pt x="128978" y="186976"/>
                    <a:pt x="155191" y="198892"/>
                    <a:pt x="173793" y="218627"/>
                  </a:cubicBezTo>
                  <a:cubicBezTo>
                    <a:pt x="162401" y="225914"/>
                    <a:pt x="151867" y="234458"/>
                    <a:pt x="142437" y="244116"/>
                  </a:cubicBezTo>
                  <a:cubicBezTo>
                    <a:pt x="131445" y="233544"/>
                    <a:pt x="116586" y="227257"/>
                    <a:pt x="100603" y="227257"/>
                  </a:cubicBezTo>
                  <a:cubicBezTo>
                    <a:pt x="70714" y="227257"/>
                    <a:pt x="45034" y="249526"/>
                    <a:pt x="40872" y="279054"/>
                  </a:cubicBezTo>
                  <a:cubicBezTo>
                    <a:pt x="40481" y="281854"/>
                    <a:pt x="40281" y="284712"/>
                    <a:pt x="40281" y="287569"/>
                  </a:cubicBezTo>
                  <a:lnTo>
                    <a:pt x="0" y="287569"/>
                  </a:lnTo>
                  <a:cubicBezTo>
                    <a:pt x="0" y="282835"/>
                    <a:pt x="333" y="278082"/>
                    <a:pt x="991" y="273425"/>
                  </a:cubicBezTo>
                  <a:cubicBezTo>
                    <a:pt x="7944" y="224142"/>
                    <a:pt x="50768" y="186976"/>
                    <a:pt x="100613" y="186976"/>
                  </a:cubicBezTo>
                  <a:lnTo>
                    <a:pt x="100613" y="186976"/>
                  </a:lnTo>
                  <a:close/>
                  <a:moveTo>
                    <a:pt x="333165" y="213379"/>
                  </a:moveTo>
                  <a:cubicBezTo>
                    <a:pt x="346672" y="219247"/>
                    <a:pt x="359292" y="226857"/>
                    <a:pt x="370713" y="235953"/>
                  </a:cubicBezTo>
                  <a:cubicBezTo>
                    <a:pt x="376428" y="240506"/>
                    <a:pt x="381838" y="245421"/>
                    <a:pt x="386915" y="250669"/>
                  </a:cubicBezTo>
                  <a:cubicBezTo>
                    <a:pt x="388610" y="252422"/>
                    <a:pt x="390268" y="254213"/>
                    <a:pt x="391878" y="256032"/>
                  </a:cubicBezTo>
                  <a:cubicBezTo>
                    <a:pt x="395107" y="259680"/>
                    <a:pt x="398183" y="263471"/>
                    <a:pt x="401088" y="267395"/>
                  </a:cubicBezTo>
                  <a:cubicBezTo>
                    <a:pt x="403993" y="271320"/>
                    <a:pt x="406737" y="275377"/>
                    <a:pt x="409289" y="279559"/>
                  </a:cubicBezTo>
                  <a:cubicBezTo>
                    <a:pt x="410566" y="281654"/>
                    <a:pt x="411804" y="283778"/>
                    <a:pt x="412994" y="285922"/>
                  </a:cubicBezTo>
                  <a:cubicBezTo>
                    <a:pt x="415366" y="290227"/>
                    <a:pt x="417567" y="294646"/>
                    <a:pt x="419557" y="299180"/>
                  </a:cubicBezTo>
                  <a:cubicBezTo>
                    <a:pt x="421557" y="303714"/>
                    <a:pt x="423348" y="308353"/>
                    <a:pt x="424939" y="313087"/>
                  </a:cubicBezTo>
                  <a:cubicBezTo>
                    <a:pt x="426129" y="316640"/>
                    <a:pt x="427206" y="320250"/>
                    <a:pt x="428158" y="323907"/>
                  </a:cubicBezTo>
                  <a:cubicBezTo>
                    <a:pt x="429111" y="327565"/>
                    <a:pt x="429939" y="331280"/>
                    <a:pt x="430644" y="335042"/>
                  </a:cubicBezTo>
                  <a:cubicBezTo>
                    <a:pt x="431111" y="337547"/>
                    <a:pt x="431530" y="340071"/>
                    <a:pt x="431883" y="342624"/>
                  </a:cubicBezTo>
                  <a:cubicBezTo>
                    <a:pt x="432140" y="344529"/>
                    <a:pt x="432378" y="346443"/>
                    <a:pt x="432578" y="348358"/>
                  </a:cubicBezTo>
                  <a:cubicBezTo>
                    <a:pt x="433178" y="354121"/>
                    <a:pt x="433473" y="359931"/>
                    <a:pt x="433473" y="365712"/>
                  </a:cubicBezTo>
                  <a:lnTo>
                    <a:pt x="395383" y="365712"/>
                  </a:lnTo>
                  <a:cubicBezTo>
                    <a:pt x="395383" y="362731"/>
                    <a:pt x="395278" y="359750"/>
                    <a:pt x="395068" y="356769"/>
                  </a:cubicBezTo>
                  <a:cubicBezTo>
                    <a:pt x="394859" y="353787"/>
                    <a:pt x="394554" y="350815"/>
                    <a:pt x="394145" y="347882"/>
                  </a:cubicBezTo>
                  <a:cubicBezTo>
                    <a:pt x="393735" y="344938"/>
                    <a:pt x="393221" y="342033"/>
                    <a:pt x="392621" y="339157"/>
                  </a:cubicBezTo>
                  <a:cubicBezTo>
                    <a:pt x="392020" y="336280"/>
                    <a:pt x="391316" y="333451"/>
                    <a:pt x="390515" y="330661"/>
                  </a:cubicBezTo>
                  <a:cubicBezTo>
                    <a:pt x="388925" y="325079"/>
                    <a:pt x="386953" y="319650"/>
                    <a:pt x="384648" y="314420"/>
                  </a:cubicBezTo>
                  <a:cubicBezTo>
                    <a:pt x="382343" y="309191"/>
                    <a:pt x="379695" y="304143"/>
                    <a:pt x="376733" y="299304"/>
                  </a:cubicBezTo>
                  <a:cubicBezTo>
                    <a:pt x="374761" y="296085"/>
                    <a:pt x="372647" y="292960"/>
                    <a:pt x="370408" y="289932"/>
                  </a:cubicBezTo>
                  <a:cubicBezTo>
                    <a:pt x="363683" y="280864"/>
                    <a:pt x="355806" y="272720"/>
                    <a:pt x="347005" y="265710"/>
                  </a:cubicBezTo>
                  <a:cubicBezTo>
                    <a:pt x="341128" y="261042"/>
                    <a:pt x="334851" y="256880"/>
                    <a:pt x="328241" y="253279"/>
                  </a:cubicBezTo>
                  <a:cubicBezTo>
                    <a:pt x="324936" y="251479"/>
                    <a:pt x="321545" y="249831"/>
                    <a:pt x="318068" y="248317"/>
                  </a:cubicBezTo>
                  <a:cubicBezTo>
                    <a:pt x="314601" y="246812"/>
                    <a:pt x="311058" y="245450"/>
                    <a:pt x="307448" y="244259"/>
                  </a:cubicBezTo>
                  <a:cubicBezTo>
                    <a:pt x="303838" y="243059"/>
                    <a:pt x="300161" y="242021"/>
                    <a:pt x="296428" y="241144"/>
                  </a:cubicBezTo>
                  <a:cubicBezTo>
                    <a:pt x="294561" y="240706"/>
                    <a:pt x="292675" y="240306"/>
                    <a:pt x="290789" y="239954"/>
                  </a:cubicBezTo>
                  <a:cubicBezTo>
                    <a:pt x="288893" y="239602"/>
                    <a:pt x="286988" y="239287"/>
                    <a:pt x="285064" y="239020"/>
                  </a:cubicBezTo>
                  <a:cubicBezTo>
                    <a:pt x="279302" y="238211"/>
                    <a:pt x="273434" y="237801"/>
                    <a:pt x="267481" y="237801"/>
                  </a:cubicBezTo>
                  <a:cubicBezTo>
                    <a:pt x="243716" y="237801"/>
                    <a:pt x="221199" y="244440"/>
                    <a:pt x="201873" y="256051"/>
                  </a:cubicBezTo>
                  <a:cubicBezTo>
                    <a:pt x="197044" y="258956"/>
                    <a:pt x="192414" y="262166"/>
                    <a:pt x="188004" y="265662"/>
                  </a:cubicBezTo>
                  <a:cubicBezTo>
                    <a:pt x="185071" y="267986"/>
                    <a:pt x="182232" y="270453"/>
                    <a:pt x="179518" y="273025"/>
                  </a:cubicBezTo>
                  <a:cubicBezTo>
                    <a:pt x="175441" y="276892"/>
                    <a:pt x="171602" y="281016"/>
                    <a:pt x="168050" y="285388"/>
                  </a:cubicBezTo>
                  <a:cubicBezTo>
                    <a:pt x="165678" y="288303"/>
                    <a:pt x="163439" y="291322"/>
                    <a:pt x="161325" y="294437"/>
                  </a:cubicBezTo>
                  <a:cubicBezTo>
                    <a:pt x="150771" y="310029"/>
                    <a:pt x="143561" y="328098"/>
                    <a:pt x="140799" y="347672"/>
                  </a:cubicBezTo>
                  <a:cubicBezTo>
                    <a:pt x="139960" y="353597"/>
                    <a:pt x="139541" y="359664"/>
                    <a:pt x="139541" y="365712"/>
                  </a:cubicBezTo>
                  <a:lnTo>
                    <a:pt x="101451" y="365712"/>
                  </a:lnTo>
                  <a:cubicBezTo>
                    <a:pt x="101451" y="357892"/>
                    <a:pt x="102003" y="350034"/>
                    <a:pt x="103080" y="342357"/>
                  </a:cubicBezTo>
                  <a:cubicBezTo>
                    <a:pt x="105585" y="324565"/>
                    <a:pt x="110928" y="307734"/>
                    <a:pt x="118605" y="292294"/>
                  </a:cubicBezTo>
                  <a:cubicBezTo>
                    <a:pt x="131759" y="265824"/>
                    <a:pt x="151781" y="243440"/>
                    <a:pt x="176155" y="227314"/>
                  </a:cubicBezTo>
                  <a:cubicBezTo>
                    <a:pt x="177241" y="226590"/>
                    <a:pt x="178365" y="225914"/>
                    <a:pt x="179470" y="225219"/>
                  </a:cubicBezTo>
                  <a:cubicBezTo>
                    <a:pt x="182489" y="223323"/>
                    <a:pt x="185547" y="221485"/>
                    <a:pt x="188690" y="219780"/>
                  </a:cubicBezTo>
                  <a:cubicBezTo>
                    <a:pt x="192986" y="217446"/>
                    <a:pt x="197387" y="215303"/>
                    <a:pt x="201882" y="213351"/>
                  </a:cubicBezTo>
                  <a:cubicBezTo>
                    <a:pt x="206378" y="211398"/>
                    <a:pt x="210979" y="209645"/>
                    <a:pt x="215656" y="208083"/>
                  </a:cubicBezTo>
                  <a:cubicBezTo>
                    <a:pt x="222675" y="205750"/>
                    <a:pt x="229895" y="203883"/>
                    <a:pt x="237268" y="202502"/>
                  </a:cubicBezTo>
                  <a:cubicBezTo>
                    <a:pt x="242183" y="201587"/>
                    <a:pt x="247164" y="200882"/>
                    <a:pt x="252203" y="200416"/>
                  </a:cubicBezTo>
                  <a:cubicBezTo>
                    <a:pt x="257242" y="199949"/>
                    <a:pt x="262338" y="199711"/>
                    <a:pt x="267481" y="199711"/>
                  </a:cubicBezTo>
                  <a:cubicBezTo>
                    <a:pt x="282921" y="199711"/>
                    <a:pt x="297961" y="201873"/>
                    <a:pt x="312268" y="205921"/>
                  </a:cubicBezTo>
                  <a:cubicBezTo>
                    <a:pt x="314649" y="206597"/>
                    <a:pt x="317021" y="207321"/>
                    <a:pt x="319364" y="208102"/>
                  </a:cubicBezTo>
                  <a:cubicBezTo>
                    <a:pt x="324069" y="209664"/>
                    <a:pt x="328670" y="211426"/>
                    <a:pt x="333165" y="213379"/>
                  </a:cubicBezTo>
                  <a:lnTo>
                    <a:pt x="333165" y="213379"/>
                  </a:lnTo>
                  <a:close/>
                  <a:moveTo>
                    <a:pt x="267348" y="0"/>
                  </a:moveTo>
                  <a:cubicBezTo>
                    <a:pt x="218180" y="0"/>
                    <a:pt x="178346" y="39853"/>
                    <a:pt x="178346" y="88983"/>
                  </a:cubicBezTo>
                  <a:cubicBezTo>
                    <a:pt x="178346" y="138141"/>
                    <a:pt x="218189" y="177984"/>
                    <a:pt x="267348" y="177984"/>
                  </a:cubicBezTo>
                  <a:cubicBezTo>
                    <a:pt x="316487" y="177984"/>
                    <a:pt x="356330" y="138141"/>
                    <a:pt x="356330" y="88983"/>
                  </a:cubicBezTo>
                  <a:cubicBezTo>
                    <a:pt x="356330" y="39853"/>
                    <a:pt x="316497" y="0"/>
                    <a:pt x="267348" y="0"/>
                  </a:cubicBezTo>
                  <a:lnTo>
                    <a:pt x="267348" y="0"/>
                  </a:lnTo>
                  <a:close/>
                  <a:moveTo>
                    <a:pt x="267348" y="40281"/>
                  </a:moveTo>
                  <a:cubicBezTo>
                    <a:pt x="294208" y="40281"/>
                    <a:pt x="316049" y="62132"/>
                    <a:pt x="316049" y="88992"/>
                  </a:cubicBezTo>
                  <a:cubicBezTo>
                    <a:pt x="316049" y="115862"/>
                    <a:pt x="294208" y="137713"/>
                    <a:pt x="267348" y="137713"/>
                  </a:cubicBezTo>
                  <a:cubicBezTo>
                    <a:pt x="240478" y="137713"/>
                    <a:pt x="218618" y="115853"/>
                    <a:pt x="218618" y="88992"/>
                  </a:cubicBezTo>
                  <a:cubicBezTo>
                    <a:pt x="218627" y="62132"/>
                    <a:pt x="240478" y="40281"/>
                    <a:pt x="267348" y="40281"/>
                  </a:cubicBezTo>
                </a:path>
              </a:pathLst>
            </a:custGeom>
            <a:solidFill>
              <a:srgbClr val="00A5C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99"/>
                </a:solidFill>
                <a:effectLst/>
                <a:uLnTx/>
                <a:uFillTx/>
                <a:latin typeface="Arial" panose="020B0604020202020204"/>
                <a:ea typeface="+mn-ea"/>
                <a:cs typeface="+mn-cs"/>
              </a:endParaRPr>
            </a:p>
          </p:txBody>
        </p:sp>
        <p:sp>
          <p:nvSpPr>
            <p:cNvPr id="6" name="Oval 5">
              <a:extLst>
                <a:ext uri="{FF2B5EF4-FFF2-40B4-BE49-F238E27FC236}">
                  <a16:creationId xmlns:a16="http://schemas.microsoft.com/office/drawing/2014/main" id="{4EF37A11-7C45-460F-8968-8163F7F6344C}"/>
                </a:ext>
              </a:extLst>
            </p:cNvPr>
            <p:cNvSpPr/>
            <p:nvPr/>
          </p:nvSpPr>
          <p:spPr>
            <a:xfrm>
              <a:off x="5897880" y="3119717"/>
              <a:ext cx="320040" cy="320040"/>
            </a:xfrm>
            <a:prstGeom prst="ellipse">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3" name="Slide Number Placeholder 2">
            <a:extLst>
              <a:ext uri="{FF2B5EF4-FFF2-40B4-BE49-F238E27FC236}">
                <a16:creationId xmlns:a16="http://schemas.microsoft.com/office/drawing/2014/main" id="{9DD27A37-1C9A-95AC-A50F-54D0FEBBFF15}"/>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72C9EDE-4A13-4E4A-9EAA-A59A97CC9CE2}" type="slidenum">
              <a:rPr kumimoji="0" lang="en-US" sz="900" b="0" i="0" u="none" strike="noStrike" kern="1200" cap="none" spc="0" normalizeH="0" baseline="0" noProof="0" smtClean="0">
                <a:ln>
                  <a:noFill/>
                </a:ln>
                <a:solidFill>
                  <a:srgbClr val="666666"/>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1</a:t>
            </a:fld>
            <a:endParaRPr kumimoji="0" lang="en-US" sz="90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Tree>
    <p:custDataLst>
      <p:tags r:id="rId2"/>
    </p:custDataLst>
    <p:extLst>
      <p:ext uri="{BB962C8B-B14F-4D97-AF65-F5344CB8AC3E}">
        <p14:creationId xmlns:p14="http://schemas.microsoft.com/office/powerpoint/2010/main" val="1014822570"/>
      </p:ext>
    </p:extLst>
  </p:cSld>
  <p:clrMapOvr>
    <a:masterClrMapping/>
  </p:clrMapOvr>
  <p:transition spd="slow"/>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2C9A0D-28B6-4CF6-9A7F-8988AA56B495}"/>
              </a:ext>
            </a:extLst>
          </p:cNvPr>
          <p:cNvSpPr>
            <a:spLocks noGrp="1"/>
          </p:cNvSpPr>
          <p:nvPr>
            <p:ph type="title"/>
          </p:nvPr>
        </p:nvSpPr>
        <p:spPr/>
        <p:txBody>
          <a:bodyPr/>
          <a:lstStyle/>
          <a:p>
            <a:r>
              <a:rPr lang="en-US" dirty="0"/>
              <a:t>What is post-trading about? </a:t>
            </a:r>
          </a:p>
        </p:txBody>
      </p:sp>
      <p:sp>
        <p:nvSpPr>
          <p:cNvPr id="3" name="Content Placeholder 2">
            <a:extLst>
              <a:ext uri="{FF2B5EF4-FFF2-40B4-BE49-F238E27FC236}">
                <a16:creationId xmlns:a16="http://schemas.microsoft.com/office/drawing/2014/main" id="{795FC969-4BBC-4515-BD68-AC1CF6AF2F5E}"/>
              </a:ext>
            </a:extLst>
          </p:cNvPr>
          <p:cNvSpPr>
            <a:spLocks noGrp="1"/>
          </p:cNvSpPr>
          <p:nvPr>
            <p:ph sz="quarter" idx="13"/>
          </p:nvPr>
        </p:nvSpPr>
        <p:spPr>
          <a:xfrm>
            <a:off x="587376" y="1484313"/>
            <a:ext cx="11017250" cy="4645025"/>
          </a:xfrm>
        </p:spPr>
        <p:txBody>
          <a:bodyPr/>
          <a:lstStyle/>
          <a:p>
            <a:r>
              <a:rPr lang="en-GB" sz="1500" noProof="1">
                <a:solidFill>
                  <a:schemeClr val="tx1"/>
                </a:solidFill>
                <a:latin typeface="Arial"/>
                <a:cs typeface="Arial"/>
              </a:rPr>
              <a:t>Once assets have been settled correctly, they are held in safe custody. Clearstream administers assets throughout the period for which they are held, offering services such as the handling of corporate actions and dividend payments – across all types of securities. Clearstream also provides investment fund services, including fund processing and fund distribution support. Moreover, the segregation of collateral margins allow market participants to efficiently comply with their regulatory obligations.</a:t>
            </a:r>
          </a:p>
          <a:p>
            <a:endParaRPr lang="en-GB" sz="1800" noProof="1">
              <a:latin typeface="Arial"/>
              <a:cs typeface="Arial"/>
            </a:endParaRPr>
          </a:p>
          <a:p>
            <a:r>
              <a:rPr lang="en-GB" sz="1800" b="1" noProof="1">
                <a:solidFill>
                  <a:schemeClr val="accent1"/>
                </a:solidFill>
                <a:latin typeface="Arial"/>
                <a:cs typeface="Arial"/>
              </a:rPr>
              <a:t>How are we achieving our goals? </a:t>
            </a:r>
          </a:p>
          <a:p>
            <a:endParaRPr lang="en-US" dirty="0"/>
          </a:p>
        </p:txBody>
      </p:sp>
      <p:grpSp>
        <p:nvGrpSpPr>
          <p:cNvPr id="4" name="Group 3">
            <a:extLst>
              <a:ext uri="{FF2B5EF4-FFF2-40B4-BE49-F238E27FC236}">
                <a16:creationId xmlns:a16="http://schemas.microsoft.com/office/drawing/2014/main" id="{621C8208-C1E1-4767-AE94-FA84AA7F15B3}"/>
              </a:ext>
            </a:extLst>
          </p:cNvPr>
          <p:cNvGrpSpPr/>
          <p:nvPr/>
        </p:nvGrpSpPr>
        <p:grpSpPr>
          <a:xfrm>
            <a:off x="589205" y="3431610"/>
            <a:ext cx="11015420" cy="2373628"/>
            <a:chOff x="585163" y="2995327"/>
            <a:chExt cx="11889130" cy="1263764"/>
          </a:xfrm>
        </p:grpSpPr>
        <p:sp>
          <p:nvSpPr>
            <p:cNvPr id="5" name="Rectangle 47">
              <a:extLst>
                <a:ext uri="{FF2B5EF4-FFF2-40B4-BE49-F238E27FC236}">
                  <a16:creationId xmlns:a16="http://schemas.microsoft.com/office/drawing/2014/main" id="{FD38B843-FA45-4C40-B5E2-6687128F3FCE}"/>
                </a:ext>
              </a:extLst>
            </p:cNvPr>
            <p:cNvSpPr/>
            <p:nvPr/>
          </p:nvSpPr>
          <p:spPr>
            <a:xfrm>
              <a:off x="585163" y="2995328"/>
              <a:ext cx="6925456" cy="1263763"/>
            </a:xfrm>
            <a:prstGeom prst="rect">
              <a:avLst/>
            </a:prstGeom>
            <a:solidFill>
              <a:schemeClr val="bg1"/>
            </a:solidFill>
            <a:ln w="6350"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t">
              <a:noAutofit/>
            </a:bodyPr>
            <a:lstStyle>
              <a:lvl1pPr>
                <a:buClrTx/>
                <a:buFont typeface="Arial" panose="020B0604020202020204" pitchFamily="34" charset="0"/>
                <a:buChar char="–"/>
              </a:lvl1pPr>
              <a:lvl2pPr>
                <a:buClrTx/>
                <a:buFont typeface="Arial" panose="020B0604020202020204" pitchFamily="34" charset="0"/>
                <a:buChar char="–"/>
              </a:lvl2pPr>
              <a:lvl3pPr>
                <a:buClrTx/>
                <a:buFont typeface="Arial" panose="020B0604020202020204" pitchFamily="34" charset="0"/>
                <a:buChar char="–"/>
              </a:lvl3pPr>
              <a:lvl4pPr>
                <a:buClrTx/>
                <a:buFont typeface="Arial" panose="020B0604020202020204" pitchFamily="34" charset="0"/>
                <a:buChar char="–"/>
              </a:lvl4pPr>
              <a:lvl5pPr>
                <a:buClrTx/>
                <a:buFont typeface="Arial" panose="020B0604020202020204" pitchFamily="34" charset="0"/>
                <a:buChar char="–"/>
              </a:lvl5pPr>
              <a:lvl6pPr>
                <a:buClrTx/>
                <a:buFont typeface="Arial" panose="020B0604020202020204" pitchFamily="34" charset="0"/>
                <a:buChar char="–"/>
              </a:lvl6pPr>
              <a:lvl7pPr>
                <a:buClrTx/>
                <a:buFont typeface="Arial" panose="020B0604020202020204" pitchFamily="34" charset="0"/>
                <a:buChar char="–"/>
              </a:lvl7pPr>
              <a:lvl8pPr>
                <a:buClrTx/>
                <a:buFont typeface="Arial" panose="020B0604020202020204" pitchFamily="34" charset="0"/>
                <a:buChar char="–"/>
              </a:lvl8pPr>
              <a:lvl9pPr>
                <a:buClrTx/>
                <a:buFont typeface="Arial" panose="020B0604020202020204" pitchFamily="34" charset="0"/>
                <a:buChar char="–"/>
              </a:lvl9pPr>
            </a:lstStyle>
            <a:p>
              <a:pPr marL="0" marR="0" lvl="0" indent="0" algn="l" defTabSz="914400" rtl="0" eaLnBrk="1" fontAlgn="base" latinLnBrk="0" hangingPunct="1">
                <a:lnSpc>
                  <a:spcPct val="100000"/>
                </a:lnSpc>
                <a:spcBef>
                  <a:spcPts val="0"/>
                </a:spcBef>
                <a:spcAft>
                  <a:spcPts val="300"/>
                </a:spcAft>
                <a:buClrTx/>
                <a:buSzTx/>
                <a:buFont typeface="Arial" panose="020B0604020202020204" pitchFamily="34" charset="0"/>
                <a:buNone/>
                <a:tabLst/>
                <a:defRPr/>
              </a:pPr>
              <a:r>
                <a:rPr kumimoji="0" lang="en-GB" sz="1200" b="1" i="0" u="none" strike="noStrike" kern="1200" cap="none" spc="0" normalizeH="0" baseline="0" noProof="1">
                  <a:ln>
                    <a:noFill/>
                  </a:ln>
                  <a:solidFill>
                    <a:srgbClr val="BF2296"/>
                  </a:solidFill>
                  <a:effectLst/>
                  <a:uLnTx/>
                  <a:uFillTx/>
                  <a:latin typeface="Arial"/>
                  <a:ea typeface="+mn-ea"/>
                  <a:cs typeface="Arial"/>
                </a:rPr>
                <a:t>Securities Sevices (custody, settlement, collateral and liquidity management)</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1">
                  <a:ln>
                    <a:noFill/>
                  </a:ln>
                  <a:solidFill>
                    <a:srgbClr val="666666"/>
                  </a:solidFill>
                  <a:effectLst/>
                  <a:uLnTx/>
                  <a:uFillTx/>
                  <a:latin typeface="Arial"/>
                  <a:ea typeface="+mn-ea"/>
                  <a:cs typeface="Arial"/>
                </a:rPr>
                <a:t>Ensuring securities are correctly settled (i.e. credited to the accounts concerned) and </a:t>
              </a:r>
              <a:br>
                <a:rPr kumimoji="0" lang="en-GB" sz="1200" b="0" i="0" u="none" strike="noStrike" kern="1200" cap="none" spc="0" normalizeH="0" baseline="0" noProof="1">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200" b="0" i="0" u="none" strike="noStrike" kern="1200" cap="none" spc="0" normalizeH="0" baseline="0" noProof="1">
                  <a:ln>
                    <a:noFill/>
                  </a:ln>
                  <a:solidFill>
                    <a:srgbClr val="666666"/>
                  </a:solidFill>
                  <a:effectLst/>
                  <a:uLnTx/>
                  <a:uFillTx/>
                  <a:latin typeface="Arial"/>
                  <a:ea typeface="+mn-ea"/>
                  <a:cs typeface="Arial"/>
                </a:rPr>
                <a:t>held in safe custody for banks and their clients</a:t>
              </a:r>
              <a:endParaRPr kumimoji="0" lang="en-GB" sz="1200" b="0" i="0" u="none" strike="noStrike" kern="1200" cap="none" spc="0" normalizeH="0" baseline="0" noProof="1">
                <a:ln>
                  <a:noFill/>
                </a:ln>
                <a:solidFill>
                  <a:srgbClr val="666666"/>
                </a:solidFill>
                <a:effectLst/>
                <a:uLnTx/>
                <a:uFillTx/>
                <a:latin typeface="Arial" panose="020B0604020202020204"/>
                <a:ea typeface="+mn-lt"/>
                <a:cs typeface="Arial" panose="020B0604020202020204"/>
              </a:endParaRP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1">
                  <a:ln>
                    <a:noFill/>
                  </a:ln>
                  <a:solidFill>
                    <a:srgbClr val="666666"/>
                  </a:solidFill>
                  <a:effectLst/>
                  <a:uLnTx/>
                  <a:uFillTx/>
                  <a:latin typeface="Arial"/>
                  <a:ea typeface="+mn-ea"/>
                  <a:cs typeface="Arial"/>
                </a:rPr>
                <a:t>Operating Germany’s central securities depository (CSD) – the largest CSD in the Eurozone (CBF)</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1">
                  <a:ln>
                    <a:noFill/>
                  </a:ln>
                  <a:solidFill>
                    <a:srgbClr val="666666"/>
                  </a:solidFill>
                  <a:effectLst/>
                  <a:uLnTx/>
                  <a:uFillTx/>
                  <a:latin typeface="Arial"/>
                  <a:ea typeface="+mn-ea"/>
                  <a:cs typeface="Arial"/>
                </a:rPr>
                <a:t>Operating Luxembourg’s CSD (LuxCSD) and one of the two international central securities depositories ICSDs (CBL)</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1">
                  <a:ln>
                    <a:noFill/>
                  </a:ln>
                  <a:solidFill>
                    <a:srgbClr val="666666"/>
                  </a:solidFill>
                  <a:effectLst/>
                  <a:uLnTx/>
                  <a:uFillTx/>
                  <a:latin typeface="Arial"/>
                  <a:ea typeface="+mn-ea"/>
                  <a:cs typeface="Arial"/>
                </a:rPr>
                <a:t>Providing services for liquidity and collateral management</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1">
                  <a:ln>
                    <a:noFill/>
                  </a:ln>
                  <a:solidFill>
                    <a:srgbClr val="666666"/>
                  </a:solidFill>
                  <a:effectLst/>
                  <a:uLnTx/>
                  <a:uFillTx/>
                  <a:latin typeface="Arial"/>
                  <a:ea typeface="+mn-ea"/>
                  <a:cs typeface="Arial"/>
                </a:rPr>
                <a:t>Making post-trading future-ready with innovative platform D7</a:t>
              </a:r>
              <a:r>
                <a:rPr kumimoji="0" lang="en-GB" sz="1200" b="0" i="0" u="none" strike="noStrike" kern="1200" cap="none" spc="0" normalizeH="0" baseline="30000" noProof="1">
                  <a:ln>
                    <a:noFill/>
                  </a:ln>
                  <a:solidFill>
                    <a:srgbClr val="666666"/>
                  </a:solidFill>
                  <a:effectLst/>
                  <a:uLnTx/>
                  <a:uFillTx/>
                  <a:latin typeface="Arial"/>
                  <a:ea typeface="+mn-ea"/>
                  <a:cs typeface="Arial"/>
                </a:rPr>
                <a:t>®</a:t>
              </a:r>
              <a:r>
                <a:rPr kumimoji="0" lang="en-GB" sz="1200" b="0" i="0" u="none" strike="noStrike" kern="1200" cap="none" spc="0" normalizeH="0" baseline="0" noProof="1">
                  <a:ln>
                    <a:noFill/>
                  </a:ln>
                  <a:solidFill>
                    <a:srgbClr val="666666"/>
                  </a:solidFill>
                  <a:effectLst/>
                  <a:uLnTx/>
                  <a:uFillTx/>
                  <a:latin typeface="Arial"/>
                  <a:ea typeface="+mn-ea"/>
                  <a:cs typeface="Arial"/>
                </a:rPr>
                <a:t> to issue, hold and transfer digital financial instruments</a:t>
              </a:r>
              <a:endParaRPr kumimoji="0" lang="en-GB" sz="1200" b="0" i="0" u="none" strike="noStrike" kern="1200" cap="none" spc="0" normalizeH="0" baseline="0" noProof="1">
                <a:ln>
                  <a:noFill/>
                </a:ln>
                <a:solidFill>
                  <a:srgbClr val="666666"/>
                </a:solidFill>
                <a:effectLst/>
                <a:uLnTx/>
                <a:uFillTx/>
                <a:latin typeface="Arial" panose="020B0604020202020204"/>
                <a:ea typeface="+mn-lt"/>
                <a:cs typeface="Arial" panose="020B0604020202020204"/>
              </a:endParaRPr>
            </a:p>
          </p:txBody>
        </p:sp>
        <p:sp>
          <p:nvSpPr>
            <p:cNvPr id="6" name="Rectangle 48">
              <a:extLst>
                <a:ext uri="{FF2B5EF4-FFF2-40B4-BE49-F238E27FC236}">
                  <a16:creationId xmlns:a16="http://schemas.microsoft.com/office/drawing/2014/main" id="{403DCEE1-98F7-4E27-8AF5-10BA8D3D160C}"/>
                </a:ext>
              </a:extLst>
            </p:cNvPr>
            <p:cNvSpPr/>
            <p:nvPr/>
          </p:nvSpPr>
          <p:spPr>
            <a:xfrm>
              <a:off x="7749217" y="2995327"/>
              <a:ext cx="4725076" cy="1263763"/>
            </a:xfrm>
            <a:prstGeom prst="rect">
              <a:avLst/>
            </a:prstGeom>
            <a:solidFill>
              <a:schemeClr val="bg1"/>
            </a:solidFill>
            <a:ln w="6350"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oAutofit/>
            </a:bodyPr>
            <a:lstStyle>
              <a:lvl1pPr>
                <a:buClrTx/>
                <a:buFont typeface="Arial" panose="020B0604020202020204" pitchFamily="34" charset="0"/>
                <a:buChar char="–"/>
              </a:lvl1pPr>
              <a:lvl2pPr>
                <a:buClrTx/>
                <a:buFont typeface="Arial" panose="020B0604020202020204" pitchFamily="34" charset="0"/>
                <a:buChar char="–"/>
              </a:lvl2pPr>
              <a:lvl3pPr>
                <a:buClrTx/>
                <a:buFont typeface="Arial" panose="020B0604020202020204" pitchFamily="34" charset="0"/>
                <a:buChar char="–"/>
              </a:lvl3pPr>
              <a:lvl4pPr>
                <a:buClrTx/>
                <a:buFont typeface="Arial" panose="020B0604020202020204" pitchFamily="34" charset="0"/>
                <a:buChar char="–"/>
              </a:lvl4pPr>
              <a:lvl5pPr>
                <a:buClrTx/>
                <a:buFont typeface="Arial" panose="020B0604020202020204" pitchFamily="34" charset="0"/>
                <a:buChar char="–"/>
              </a:lvl5pPr>
              <a:lvl6pPr>
                <a:buClrTx/>
                <a:buFont typeface="Arial" panose="020B0604020202020204" pitchFamily="34" charset="0"/>
                <a:buChar char="–"/>
              </a:lvl6pPr>
              <a:lvl7pPr>
                <a:buClrTx/>
                <a:buFont typeface="Arial" panose="020B0604020202020204" pitchFamily="34" charset="0"/>
                <a:buChar char="–"/>
              </a:lvl7pPr>
              <a:lvl8pPr>
                <a:buClrTx/>
                <a:buFont typeface="Arial" panose="020B0604020202020204" pitchFamily="34" charset="0"/>
                <a:buChar char="–"/>
              </a:lvl8pPr>
              <a:lvl9pPr>
                <a:buClrTx/>
                <a:buFont typeface="Arial" panose="020B0604020202020204" pitchFamily="34" charset="0"/>
                <a:buChar char="–"/>
              </a:lvl9pPr>
            </a:lstStyle>
            <a:p>
              <a:pPr marL="0" marR="0" lvl="0" indent="0" algn="l" defTabSz="914400" rtl="0" eaLnBrk="1" fontAlgn="base" latinLnBrk="0" hangingPunct="1">
                <a:lnSpc>
                  <a:spcPct val="100000"/>
                </a:lnSpc>
                <a:spcBef>
                  <a:spcPts val="0"/>
                </a:spcBef>
                <a:spcAft>
                  <a:spcPts val="300"/>
                </a:spcAft>
                <a:buClrTx/>
                <a:buSzTx/>
                <a:buFont typeface="Arial" panose="020B0604020202020204" pitchFamily="34" charset="0"/>
                <a:buNone/>
                <a:tabLst/>
                <a:defRPr/>
              </a:pPr>
              <a:r>
                <a:rPr kumimoji="0" lang="en-GB" sz="1200" b="1" i="0" u="none" strike="noStrike" kern="1200" cap="none" spc="0" normalizeH="0" baseline="0" noProof="1">
                  <a:ln>
                    <a:noFill/>
                  </a:ln>
                  <a:solidFill>
                    <a:srgbClr val="BF2296"/>
                  </a:solidFill>
                  <a:effectLst/>
                  <a:uLnTx/>
                  <a:uFillTx/>
                  <a:latin typeface="Arial"/>
                  <a:ea typeface="+mn-ea"/>
                  <a:cs typeface="Arial"/>
                </a:rPr>
                <a:t>Fund Services</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1">
                  <a:ln>
                    <a:noFill/>
                  </a:ln>
                  <a:solidFill>
                    <a:srgbClr val="666666"/>
                  </a:solidFill>
                  <a:effectLst/>
                  <a:uLnTx/>
                  <a:uFillTx/>
                  <a:latin typeface="Arial"/>
                  <a:ea typeface="+mn-ea"/>
                  <a:cs typeface="Arial"/>
                </a:rPr>
                <a:t>Delivering investment fund services built on asset safety and distribution efficiency</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1">
                  <a:ln>
                    <a:noFill/>
                  </a:ln>
                  <a:solidFill>
                    <a:srgbClr val="666666"/>
                  </a:solidFill>
                  <a:effectLst/>
                  <a:uLnTx/>
                  <a:uFillTx/>
                  <a:latin typeface="Arial"/>
                  <a:ea typeface="+mn-ea"/>
                  <a:cs typeface="Arial"/>
                </a:rPr>
                <a:t>Providing access to all fund types from mutual funds to ETFs and hedge funds via the Vestima</a:t>
              </a:r>
              <a:r>
                <a:rPr kumimoji="0" lang="en-GB" sz="1200" b="0" i="0" u="none" strike="noStrike" kern="1200" cap="none" spc="0" normalizeH="0" baseline="30000" noProof="1">
                  <a:ln>
                    <a:noFill/>
                  </a:ln>
                  <a:solidFill>
                    <a:srgbClr val="666666"/>
                  </a:solidFill>
                  <a:effectLst/>
                  <a:uLnTx/>
                  <a:uFillTx/>
                  <a:latin typeface="Arial"/>
                  <a:ea typeface="+mn-ea"/>
                  <a:cs typeface="Arial"/>
                </a:rPr>
                <a:t>®</a:t>
              </a:r>
              <a:r>
                <a:rPr kumimoji="0" lang="en-GB" sz="1200" b="0" i="0" u="none" strike="noStrike" kern="1200" cap="none" spc="0" normalizeH="0" baseline="0" noProof="1">
                  <a:ln>
                    <a:noFill/>
                  </a:ln>
                  <a:solidFill>
                    <a:srgbClr val="666666"/>
                  </a:solidFill>
                  <a:effectLst/>
                  <a:uLnTx/>
                  <a:uFillTx/>
                  <a:latin typeface="Arial"/>
                  <a:ea typeface="+mn-ea"/>
                  <a:cs typeface="Arial"/>
                </a:rPr>
                <a:t> fund processing platform</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1">
                  <a:ln>
                    <a:noFill/>
                  </a:ln>
                  <a:solidFill>
                    <a:srgbClr val="666666"/>
                  </a:solidFill>
                  <a:effectLst/>
                  <a:uLnTx/>
                  <a:uFillTx/>
                  <a:latin typeface="Arial"/>
                  <a:ea typeface="+mn-ea"/>
                  <a:cs typeface="Arial"/>
                </a:rPr>
                <a:t>Offering direct access to local domiciled funds in 50 fund jurisdictions worldwide</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1">
                  <a:ln>
                    <a:noFill/>
                  </a:ln>
                  <a:solidFill>
                    <a:srgbClr val="666666"/>
                  </a:solidFill>
                  <a:effectLst/>
                  <a:uLnTx/>
                  <a:uFillTx/>
                  <a:latin typeface="Arial"/>
                  <a:ea typeface="+mn-ea"/>
                  <a:cs typeface="Arial"/>
                </a:rPr>
                <a:t>Providing fund distribution support services for fund distributors and asset managers worldwide via Clearstream Fund Centre</a:t>
              </a:r>
              <a:br>
                <a:rPr kumimoji="0" lang="en-GB" sz="1200" b="0" i="0" u="none" strike="noStrike" kern="1200" cap="none" spc="0" normalizeH="0" baseline="0" noProof="1">
                  <a:ln>
                    <a:noFill/>
                  </a:ln>
                  <a:solidFill>
                    <a:srgbClr val="FFFFFF"/>
                  </a:solidFill>
                  <a:effectLst/>
                  <a:uLnTx/>
                  <a:uFillTx/>
                  <a:latin typeface="Arial" panose="020B0604020202020204" pitchFamily="34" charset="0"/>
                  <a:ea typeface="+mn-ea"/>
                  <a:cs typeface="Arial" panose="020B0604020202020204" pitchFamily="34" charset="0"/>
                </a:rPr>
              </a:br>
              <a:endParaRPr kumimoji="0" lang="en-GB" sz="1200" b="0" i="0" u="none" strike="noStrike" kern="1200" cap="none" spc="0" normalizeH="0" baseline="0" noProof="1">
                <a:ln>
                  <a:noFill/>
                </a:ln>
                <a:solidFill>
                  <a:srgbClr val="666666"/>
                </a:solidFill>
                <a:effectLst/>
                <a:uLnTx/>
                <a:uFillTx/>
                <a:latin typeface="Arial" panose="020B0604020202020204"/>
                <a:ea typeface="+mn-ea"/>
                <a:cs typeface="+mn-cs"/>
              </a:endParaRPr>
            </a:p>
          </p:txBody>
        </p:sp>
      </p:grpSp>
      <p:sp>
        <p:nvSpPr>
          <p:cNvPr id="8" name="Rectangle 12">
            <a:extLst>
              <a:ext uri="{FF2B5EF4-FFF2-40B4-BE49-F238E27FC236}">
                <a16:creationId xmlns:a16="http://schemas.microsoft.com/office/drawing/2014/main" id="{B3E9D1A8-63E8-4887-A294-5BCAD08E6F58}"/>
              </a:ext>
            </a:extLst>
          </p:cNvPr>
          <p:cNvSpPr/>
          <p:nvPr/>
        </p:nvSpPr>
        <p:spPr>
          <a:xfrm>
            <a:off x="587374" y="6114191"/>
            <a:ext cx="1304990" cy="2121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BF2296"/>
                </a:solidFill>
                <a:effectLst/>
                <a:uLnTx/>
                <a:uFillTx/>
                <a:latin typeface="Arial" panose="020B0604020202020204" pitchFamily="34" charset="0"/>
                <a:ea typeface="+mn-ea"/>
                <a:cs typeface="Arial" panose="020B0604020202020204" pitchFamily="34" charset="0"/>
              </a:rPr>
              <a:t>Our brands</a:t>
            </a:r>
          </a:p>
        </p:txBody>
      </p:sp>
      <p:sp>
        <p:nvSpPr>
          <p:cNvPr id="9" name="Gleichschenkliges Dreieck 28">
            <a:extLst>
              <a:ext uri="{FF2B5EF4-FFF2-40B4-BE49-F238E27FC236}">
                <a16:creationId xmlns:a16="http://schemas.microsoft.com/office/drawing/2014/main" id="{B8484C2F-8D82-44FD-8A69-5A133A3239DF}"/>
              </a:ext>
            </a:extLst>
          </p:cNvPr>
          <p:cNvSpPr>
            <a:spLocks noChangeAspect="1"/>
          </p:cNvSpPr>
          <p:nvPr/>
        </p:nvSpPr>
        <p:spPr bwMode="gray">
          <a:xfrm rot="10800000">
            <a:off x="3643348" y="5810009"/>
            <a:ext cx="304185" cy="152093"/>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177800" marR="0" lvl="0" indent="-1778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GB" sz="1600" b="0" i="0" u="none" strike="noStrike" kern="1200" cap="none" spc="0" normalizeH="0" baseline="0" noProof="1">
              <a:ln>
                <a:noFill/>
              </a:ln>
              <a:solidFill>
                <a:srgbClr val="FFFFFF"/>
              </a:solidFill>
              <a:effectLst/>
              <a:uLnTx/>
              <a:uFillTx/>
              <a:latin typeface="Arial" panose="020B0604020202020204"/>
              <a:ea typeface="+mn-ea"/>
              <a:cs typeface="+mn-cs"/>
            </a:endParaRPr>
          </a:p>
        </p:txBody>
      </p:sp>
      <p:sp>
        <p:nvSpPr>
          <p:cNvPr id="10" name="Gleichschenkliges Dreieck 28">
            <a:extLst>
              <a:ext uri="{FF2B5EF4-FFF2-40B4-BE49-F238E27FC236}">
                <a16:creationId xmlns:a16="http://schemas.microsoft.com/office/drawing/2014/main" id="{67C49CD7-F024-420A-A157-42012160B157}"/>
              </a:ext>
            </a:extLst>
          </p:cNvPr>
          <p:cNvSpPr>
            <a:spLocks noChangeAspect="1"/>
          </p:cNvSpPr>
          <p:nvPr/>
        </p:nvSpPr>
        <p:spPr bwMode="gray">
          <a:xfrm rot="10800000">
            <a:off x="9261590" y="5811103"/>
            <a:ext cx="304185" cy="152093"/>
          </a:xfrm>
          <a:prstGeom prst="triangl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177800" marR="0" lvl="0" indent="-1778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GB" sz="1600" b="0" i="0" u="none" strike="noStrike" kern="1200" cap="none" spc="0" normalizeH="0" baseline="0" noProof="1">
              <a:ln>
                <a:noFill/>
              </a:ln>
              <a:solidFill>
                <a:srgbClr val="FFFFFF"/>
              </a:solidFill>
              <a:effectLst/>
              <a:uLnTx/>
              <a:uFillTx/>
              <a:latin typeface="Arial" panose="020B0604020202020204"/>
              <a:ea typeface="+mn-ea"/>
              <a:cs typeface="+mn-cs"/>
            </a:endParaRPr>
          </a:p>
        </p:txBody>
      </p:sp>
      <p:sp>
        <p:nvSpPr>
          <p:cNvPr id="11" name="Rectangle 48">
            <a:extLst>
              <a:ext uri="{FF2B5EF4-FFF2-40B4-BE49-F238E27FC236}">
                <a16:creationId xmlns:a16="http://schemas.microsoft.com/office/drawing/2014/main" id="{FA9DBBC6-B63B-4576-9A1E-E9E5B6D15293}"/>
              </a:ext>
            </a:extLst>
          </p:cNvPr>
          <p:cNvSpPr/>
          <p:nvPr/>
        </p:nvSpPr>
        <p:spPr>
          <a:xfrm>
            <a:off x="1971166" y="6141351"/>
            <a:ext cx="3648547" cy="1882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1">
                <a:ln>
                  <a:noFill/>
                </a:ln>
                <a:solidFill>
                  <a:srgbClr val="BF2296"/>
                </a:solidFill>
                <a:effectLst/>
                <a:uLnTx/>
                <a:uFillTx/>
                <a:latin typeface="Arial"/>
                <a:ea typeface="+mn-ea"/>
                <a:cs typeface="Arial"/>
              </a:rPr>
              <a:t>Clearstream</a:t>
            </a:r>
            <a:r>
              <a:rPr kumimoji="0" lang="en-GB" sz="1200" b="0" i="0" u="none" strike="noStrike" kern="1200" cap="none" spc="0" normalizeH="0" baseline="30000" noProof="1">
                <a:ln>
                  <a:noFill/>
                </a:ln>
                <a:solidFill>
                  <a:srgbClr val="BF2296"/>
                </a:solidFill>
                <a:effectLst/>
                <a:uLnTx/>
                <a:uFillTx/>
                <a:latin typeface="Arial"/>
                <a:ea typeface="+mn-ea"/>
                <a:cs typeface="Arial"/>
              </a:rPr>
              <a:t>®</a:t>
            </a:r>
            <a:r>
              <a:rPr kumimoji="0" lang="en-GB" sz="1200" b="0" i="0" u="none" strike="noStrike" kern="1200" cap="none" spc="0" normalizeH="0" baseline="0" noProof="1">
                <a:ln>
                  <a:noFill/>
                </a:ln>
                <a:solidFill>
                  <a:srgbClr val="BF2296"/>
                </a:solidFill>
                <a:effectLst/>
                <a:uLnTx/>
                <a:uFillTx/>
                <a:latin typeface="Arial"/>
                <a:ea typeface="+mn-ea"/>
                <a:cs typeface="Arial"/>
              </a:rPr>
              <a:t>, D7</a:t>
            </a:r>
            <a:r>
              <a:rPr kumimoji="0" lang="en-GB" sz="1200" b="0" i="0" u="none" strike="noStrike" kern="1200" cap="none" spc="0" normalizeH="0" baseline="30000" noProof="1">
                <a:ln>
                  <a:noFill/>
                </a:ln>
                <a:solidFill>
                  <a:srgbClr val="BF2296"/>
                </a:solidFill>
                <a:effectLst/>
                <a:uLnTx/>
                <a:uFillTx/>
                <a:latin typeface="Arial"/>
                <a:ea typeface="+mn-ea"/>
                <a:cs typeface="Arial"/>
              </a:rPr>
              <a:t>®</a:t>
            </a:r>
            <a:r>
              <a:rPr kumimoji="0" lang="en-GB" sz="1200" b="0" i="0" u="none" strike="noStrike" kern="1200" cap="none" spc="0" normalizeH="0" baseline="0" noProof="1">
                <a:ln>
                  <a:noFill/>
                </a:ln>
                <a:solidFill>
                  <a:srgbClr val="BF2296"/>
                </a:solidFill>
                <a:effectLst/>
                <a:uLnTx/>
                <a:uFillTx/>
                <a:latin typeface="Arial"/>
                <a:ea typeface="+mn-ea"/>
                <a:cs typeface="Arial"/>
              </a:rPr>
              <a:t>, Eurex Repo</a:t>
            </a:r>
            <a:r>
              <a:rPr kumimoji="0" lang="en-GB" sz="1200" b="0" i="0" u="none" strike="noStrike" kern="1200" cap="none" spc="0" normalizeH="0" baseline="30000" noProof="1">
                <a:ln>
                  <a:noFill/>
                </a:ln>
                <a:solidFill>
                  <a:srgbClr val="BF2296"/>
                </a:solidFill>
                <a:effectLst/>
                <a:uLnTx/>
                <a:uFillTx/>
                <a:latin typeface="Arial"/>
                <a:ea typeface="+mn-ea"/>
                <a:cs typeface="Arial"/>
              </a:rPr>
              <a:t>®</a:t>
            </a:r>
            <a:r>
              <a:rPr kumimoji="0" lang="en-GB" sz="1200" b="0" i="0" u="none" strike="noStrike" kern="1200" cap="none" spc="0" normalizeH="0" baseline="0" noProof="1">
                <a:ln>
                  <a:noFill/>
                </a:ln>
                <a:solidFill>
                  <a:srgbClr val="BF2296"/>
                </a:solidFill>
                <a:effectLst/>
                <a:uLnTx/>
                <a:uFillTx/>
                <a:latin typeface="Arial"/>
                <a:ea typeface="+mn-ea"/>
                <a:cs typeface="Arial"/>
              </a:rPr>
              <a:t>, LuxCSD</a:t>
            </a:r>
            <a:r>
              <a:rPr kumimoji="0" lang="en-GB" sz="1200" b="0" i="0" u="none" strike="noStrike" kern="1200" cap="none" spc="0" normalizeH="0" baseline="30000" noProof="1">
                <a:ln>
                  <a:noFill/>
                </a:ln>
                <a:solidFill>
                  <a:srgbClr val="BF2296"/>
                </a:solidFill>
                <a:effectLst/>
                <a:uLnTx/>
                <a:uFillTx/>
                <a:latin typeface="Arial"/>
                <a:ea typeface="+mn-ea"/>
                <a:cs typeface="Arial"/>
              </a:rPr>
              <a:t>®</a:t>
            </a:r>
            <a:endParaRPr kumimoji="0" lang="en-GB" sz="1200" b="0" i="0" u="none" strike="sngStrike" kern="1200" cap="none" spc="0" normalizeH="0" baseline="30000" noProof="1">
              <a:ln>
                <a:noFill/>
              </a:ln>
              <a:solidFill>
                <a:srgbClr val="BF2296"/>
              </a:solidFill>
              <a:effectLst/>
              <a:uLnTx/>
              <a:uFillTx/>
              <a:latin typeface="Arial"/>
              <a:ea typeface="+mn-ea"/>
              <a:cs typeface="Arial"/>
            </a:endParaRPr>
          </a:p>
        </p:txBody>
      </p:sp>
      <p:sp>
        <p:nvSpPr>
          <p:cNvPr id="12" name="Rectangle 48">
            <a:extLst>
              <a:ext uri="{FF2B5EF4-FFF2-40B4-BE49-F238E27FC236}">
                <a16:creationId xmlns:a16="http://schemas.microsoft.com/office/drawing/2014/main" id="{A5AF713E-8D16-43A8-B20C-A475E6537441}"/>
              </a:ext>
            </a:extLst>
          </p:cNvPr>
          <p:cNvSpPr/>
          <p:nvPr/>
        </p:nvSpPr>
        <p:spPr>
          <a:xfrm>
            <a:off x="8292011" y="6141350"/>
            <a:ext cx="2243342" cy="1882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1">
                <a:ln>
                  <a:noFill/>
                </a:ln>
                <a:solidFill>
                  <a:srgbClr val="BF2296"/>
                </a:solidFill>
                <a:effectLst/>
                <a:uLnTx/>
                <a:uFillTx/>
                <a:latin typeface="Arial" panose="020B0604020202020204" pitchFamily="34" charset="0"/>
                <a:ea typeface="+mn-ea"/>
                <a:cs typeface="Arial" panose="020B0604020202020204" pitchFamily="34" charset="0"/>
              </a:rPr>
              <a:t>Clearstream</a:t>
            </a:r>
            <a:r>
              <a:rPr kumimoji="0" lang="en-GB" sz="1200" b="0" i="0" u="none" strike="noStrike" kern="1200" cap="none" spc="0" normalizeH="0" baseline="30000" noProof="1">
                <a:ln>
                  <a:noFill/>
                </a:ln>
                <a:solidFill>
                  <a:srgbClr val="BF2296"/>
                </a:solidFill>
                <a:effectLst/>
                <a:uLnTx/>
                <a:uFillTx/>
                <a:latin typeface="Arial"/>
                <a:ea typeface="+mn-ea"/>
                <a:cs typeface="Arial"/>
              </a:rPr>
              <a:t>®</a:t>
            </a:r>
            <a:r>
              <a:rPr kumimoji="0" lang="en-GB" sz="1200" b="0" i="0" u="none" strike="noStrike" kern="1200" cap="none" spc="0" normalizeH="0" baseline="0" noProof="1">
                <a:ln>
                  <a:noFill/>
                </a:ln>
                <a:solidFill>
                  <a:srgbClr val="BF2296"/>
                </a:solidFill>
                <a:effectLst/>
                <a:uLnTx/>
                <a:uFillTx/>
                <a:latin typeface="Arial" panose="020B0604020202020204" pitchFamily="34" charset="0"/>
                <a:ea typeface="+mn-ea"/>
                <a:cs typeface="Arial" panose="020B0604020202020204" pitchFamily="34" charset="0"/>
              </a:rPr>
              <a:t>, Vestima</a:t>
            </a:r>
            <a:r>
              <a:rPr kumimoji="0" lang="en-GB" sz="1200" b="0" i="0" u="none" strike="noStrike" kern="1200" cap="none" spc="0" normalizeH="0" baseline="30000" noProof="1">
                <a:ln>
                  <a:noFill/>
                </a:ln>
                <a:solidFill>
                  <a:srgbClr val="BF2296"/>
                </a:solidFill>
                <a:effectLst/>
                <a:uLnTx/>
                <a:uFillTx/>
                <a:latin typeface="Arial" panose="020B0604020202020204" pitchFamily="34" charset="0"/>
                <a:ea typeface="+mn-ea"/>
                <a:cs typeface="Arial" panose="020B0604020202020204" pitchFamily="34" charset="0"/>
              </a:rPr>
              <a:t>® </a:t>
            </a:r>
          </a:p>
        </p:txBody>
      </p:sp>
      <p:sp>
        <p:nvSpPr>
          <p:cNvPr id="7" name="Slide Number Placeholder 6">
            <a:extLst>
              <a:ext uri="{FF2B5EF4-FFF2-40B4-BE49-F238E27FC236}">
                <a16:creationId xmlns:a16="http://schemas.microsoft.com/office/drawing/2014/main" id="{3C630457-C0A1-28C9-22FE-97A575D97663}"/>
              </a:ext>
            </a:extLst>
          </p:cNvPr>
          <p:cNvSpPr>
            <a:spLocks noGrp="1"/>
          </p:cNvSpPr>
          <p:nvPr>
            <p:ph type="sldNum" sz="quarter" idx="16"/>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FCA3128-5B09-47E5-B47D-6F0CB7A5DE9F}" type="slidenum">
              <a:rPr kumimoji="0" lang="en-US" sz="900" b="0" i="0" u="none" strike="noStrike" kern="1200" cap="none" spc="0" normalizeH="0" baseline="0" noProof="0" smtClean="0">
                <a:ln>
                  <a:noFill/>
                </a:ln>
                <a:solidFill>
                  <a:srgbClr val="666666"/>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2</a:t>
            </a:fld>
            <a:endParaRPr kumimoji="0" lang="en-US" sz="900" b="0" i="0" u="none" strike="noStrike" kern="1200" cap="none" spc="0" normalizeH="0" baseline="0" noProof="0">
              <a:ln>
                <a:noFill/>
              </a:ln>
              <a:solidFill>
                <a:srgbClr val="666666"/>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390676844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DA67390-0F07-4748-9E69-7ECF0C38E2F0}"/>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2" name="think-cell Slide" r:id="rId6" imgW="347" imgH="348" progId="TCLayout.ActiveDocument.1">
                  <p:embed/>
                </p:oleObj>
              </mc:Choice>
              <mc:Fallback>
                <p:oleObj name="think-cell Slide" r:id="rId6" imgW="347" imgH="348" progId="TCLayout.ActiveDocument.1">
                  <p:embed/>
                  <p:pic>
                    <p:nvPicPr>
                      <p:cNvPr id="4" name="Objekt 3" hidden="1">
                        <a:extLst>
                          <a:ext uri="{FF2B5EF4-FFF2-40B4-BE49-F238E27FC236}">
                            <a16:creationId xmlns:a16="http://schemas.microsoft.com/office/drawing/2014/main" id="{BDA67390-0F07-4748-9E69-7ECF0C38E2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1" name="TextBox 20">
            <a:extLst>
              <a:ext uri="{FF2B5EF4-FFF2-40B4-BE49-F238E27FC236}">
                <a16:creationId xmlns:a16="http://schemas.microsoft.com/office/drawing/2014/main" id="{32BF1140-F7F4-44C9-8FC6-E01E7C85FC4A}"/>
              </a:ext>
            </a:extLst>
          </p:cNvPr>
          <p:cNvSpPr txBox="1"/>
          <p:nvPr/>
        </p:nvSpPr>
        <p:spPr>
          <a:xfrm>
            <a:off x="7299523" y="3316287"/>
            <a:ext cx="4400743" cy="1127040"/>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txBody>
          <a:bodyPr wrap="square" lIns="457200" anchor="ctr">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200" cap="none" spc="0" normalizeH="0" baseline="0" noProof="0">
                <a:ln>
                  <a:noFill/>
                </a:ln>
                <a:solidFill>
                  <a:srgbClr val="666666"/>
                </a:solidFill>
                <a:effectLst/>
                <a:uLnTx/>
                <a:uFillTx/>
                <a:latin typeface="Arial" panose="020B0604020202020204"/>
                <a:ea typeface="+mn-ea"/>
                <a:cs typeface="+mn-cs"/>
              </a:rPr>
              <a:t>We help clients achieve </a:t>
            </a:r>
            <a:r>
              <a:rPr kumimoji="0" lang="en-US" sz="1400" b="1" i="0" u="none" strike="noStrike" kern="1200" cap="none" spc="0" normalizeH="0" baseline="0" noProof="0">
                <a:ln>
                  <a:noFill/>
                </a:ln>
                <a:solidFill>
                  <a:srgbClr val="00A5C0"/>
                </a:solidFill>
                <a:effectLst/>
                <a:uLnTx/>
                <a:uFillTx/>
                <a:latin typeface="Arial" panose="020B0604020202020204"/>
                <a:ea typeface="+mn-ea"/>
                <a:cs typeface="+mn-cs"/>
              </a:rPr>
              <a:t>operational efficiency </a:t>
            </a:r>
            <a:r>
              <a:rPr kumimoji="0" lang="en-US" sz="1400" b="0" i="0" u="none" strike="noStrike" kern="1200" cap="none" spc="0" normalizeH="0" baseline="0" noProof="0">
                <a:ln>
                  <a:noFill/>
                </a:ln>
                <a:solidFill>
                  <a:srgbClr val="666666"/>
                </a:solidFill>
                <a:effectLst/>
                <a:uLnTx/>
                <a:uFillTx/>
                <a:latin typeface="Arial" panose="020B0604020202020204"/>
                <a:ea typeface="+mn-ea"/>
                <a:cs typeface="+mn-cs"/>
              </a:rPr>
              <a:t>and </a:t>
            </a:r>
            <a:r>
              <a:rPr kumimoji="0" lang="en-US" sz="1400" b="1" i="0" u="none" strike="noStrike" kern="1200" cap="none" spc="0" normalizeH="0" baseline="0" noProof="0">
                <a:ln>
                  <a:noFill/>
                </a:ln>
                <a:solidFill>
                  <a:srgbClr val="00A5C0"/>
                </a:solidFill>
                <a:effectLst/>
                <a:uLnTx/>
                <a:uFillTx/>
                <a:latin typeface="Arial" panose="020B0604020202020204"/>
                <a:ea typeface="+mn-ea"/>
                <a:cs typeface="+mn-cs"/>
              </a:rPr>
              <a:t>risk reduction </a:t>
            </a:r>
            <a:r>
              <a:rPr kumimoji="0" lang="en-US" sz="1400" b="0" i="0" u="none" strike="noStrike" kern="1200" cap="none" spc="0" normalizeH="0" baseline="0" noProof="0">
                <a:ln>
                  <a:noFill/>
                </a:ln>
                <a:solidFill>
                  <a:srgbClr val="666666"/>
                </a:solidFill>
                <a:effectLst/>
                <a:uLnTx/>
                <a:uFillTx/>
                <a:latin typeface="Arial" panose="020B0604020202020204"/>
                <a:ea typeface="+mn-ea"/>
                <a:cs typeface="+mn-cs"/>
              </a:rPr>
              <a:t>as a global multi-network operator by expanding Connectivity &amp; Data services </a:t>
            </a:r>
            <a:endParaRPr kumimoji="0" lang="en-US" sz="140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2" name="Oval 41">
            <a:extLst>
              <a:ext uri="{FF2B5EF4-FFF2-40B4-BE49-F238E27FC236}">
                <a16:creationId xmlns:a16="http://schemas.microsoft.com/office/drawing/2014/main" id="{373B4667-9244-4A9A-B22E-A3F46B63B9B1}"/>
              </a:ext>
            </a:extLst>
          </p:cNvPr>
          <p:cNvSpPr/>
          <p:nvPr/>
        </p:nvSpPr>
        <p:spPr>
          <a:xfrm>
            <a:off x="7023136" y="3563445"/>
            <a:ext cx="548640" cy="545657"/>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2" name="Titel 1">
            <a:extLst>
              <a:ext uri="{FF2B5EF4-FFF2-40B4-BE49-F238E27FC236}">
                <a16:creationId xmlns:a16="http://schemas.microsoft.com/office/drawing/2014/main" id="{9EC65BAF-3488-40FF-863F-7A0DC8BF0ED0}"/>
              </a:ext>
            </a:extLst>
          </p:cNvPr>
          <p:cNvSpPr>
            <a:spLocks noGrp="1"/>
          </p:cNvSpPr>
          <p:nvPr>
            <p:ph type="title"/>
          </p:nvPr>
        </p:nvSpPr>
        <p:spPr>
          <a:xfrm>
            <a:off x="587375" y="368300"/>
            <a:ext cx="11200434" cy="934900"/>
          </a:xfrm>
        </p:spPr>
        <p:txBody>
          <a:bodyPr vert="horz"/>
          <a:lstStyle/>
          <a:p>
            <a:r>
              <a:rPr lang="en-US" dirty="0"/>
              <a:t>On the basis of five unique capabilities, Clearstream creates tangible client value</a:t>
            </a:r>
          </a:p>
        </p:txBody>
      </p:sp>
      <p:sp>
        <p:nvSpPr>
          <p:cNvPr id="20" name="TextBox 19">
            <a:extLst>
              <a:ext uri="{FF2B5EF4-FFF2-40B4-BE49-F238E27FC236}">
                <a16:creationId xmlns:a16="http://schemas.microsoft.com/office/drawing/2014/main" id="{BA269676-9C69-445D-A9F5-0B87D967B33C}"/>
              </a:ext>
            </a:extLst>
          </p:cNvPr>
          <p:cNvSpPr txBox="1"/>
          <p:nvPr/>
        </p:nvSpPr>
        <p:spPr>
          <a:xfrm>
            <a:off x="7299522" y="1843626"/>
            <a:ext cx="4400743" cy="1127040"/>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txBody>
          <a:bodyPr wrap="square" lIns="457200" anchor="ctr">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200" cap="none" spc="0" normalizeH="0" baseline="0" noProof="0" dirty="0">
                <a:ln>
                  <a:noFill/>
                </a:ln>
                <a:solidFill>
                  <a:srgbClr val="666666"/>
                </a:solidFill>
                <a:effectLst/>
                <a:uLnTx/>
                <a:uFillTx/>
                <a:latin typeface="Arial" panose="020B0604020202020204"/>
                <a:ea typeface="+mn-ea"/>
                <a:cs typeface="+mn-cs"/>
              </a:rPr>
              <a:t>We provide </a:t>
            </a:r>
            <a:r>
              <a:rPr kumimoji="0" lang="en-US" sz="1400" b="1" i="0" u="none" strike="noStrike" kern="1200" cap="none" spc="0" normalizeH="0" baseline="0" noProof="0" dirty="0">
                <a:ln>
                  <a:noFill/>
                </a:ln>
                <a:solidFill>
                  <a:srgbClr val="00A5C0"/>
                </a:solidFill>
                <a:effectLst/>
                <a:uLnTx/>
                <a:uFillTx/>
                <a:latin typeface="Arial" panose="020B0604020202020204"/>
                <a:ea typeface="+mn-ea"/>
                <a:cs typeface="+mn-cs"/>
              </a:rPr>
              <a:t>safety and reliability </a:t>
            </a:r>
            <a:r>
              <a:rPr kumimoji="0" lang="en-US" sz="1400" b="0" i="0" u="none" strike="noStrike" kern="1200" cap="none" spc="0" normalizeH="0" baseline="0" noProof="0" dirty="0">
                <a:ln>
                  <a:noFill/>
                </a:ln>
                <a:solidFill>
                  <a:srgbClr val="666666"/>
                </a:solidFill>
                <a:effectLst/>
                <a:uLnTx/>
                <a:uFillTx/>
                <a:latin typeface="Arial" panose="020B0604020202020204"/>
                <a:ea typeface="+mn-ea"/>
                <a:cs typeface="+mn-cs"/>
              </a:rPr>
              <a:t>to our clients as the backbone of European capital markets</a:t>
            </a:r>
          </a:p>
        </p:txBody>
      </p:sp>
      <p:sp>
        <p:nvSpPr>
          <p:cNvPr id="22" name="TextBox 21">
            <a:extLst>
              <a:ext uri="{FF2B5EF4-FFF2-40B4-BE49-F238E27FC236}">
                <a16:creationId xmlns:a16="http://schemas.microsoft.com/office/drawing/2014/main" id="{668BB1BD-B47C-49C8-9917-6157B63736A5}"/>
              </a:ext>
            </a:extLst>
          </p:cNvPr>
          <p:cNvSpPr txBox="1"/>
          <p:nvPr/>
        </p:nvSpPr>
        <p:spPr>
          <a:xfrm>
            <a:off x="7299523" y="4830044"/>
            <a:ext cx="4397567" cy="1127040"/>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txBody>
          <a:bodyPr wrap="square" lIns="457200" anchor="ctr">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200" cap="none" spc="0" normalizeH="0" baseline="0" noProof="0" dirty="0">
                <a:ln>
                  <a:noFill/>
                </a:ln>
                <a:solidFill>
                  <a:srgbClr val="666666"/>
                </a:solidFill>
                <a:effectLst/>
                <a:uLnTx/>
                <a:uFillTx/>
                <a:latin typeface="Arial" panose="020B0604020202020204"/>
                <a:ea typeface="+mn-ea"/>
                <a:cs typeface="+mn-cs"/>
              </a:rPr>
              <a:t>We help our clients </a:t>
            </a:r>
            <a:r>
              <a:rPr kumimoji="0" lang="en-US" sz="1400" b="1" i="0" u="none" strike="noStrike" kern="1200" cap="none" spc="0" normalizeH="0" baseline="0" noProof="0" dirty="0">
                <a:ln>
                  <a:noFill/>
                </a:ln>
                <a:solidFill>
                  <a:srgbClr val="00A5C0"/>
                </a:solidFill>
                <a:effectLst/>
                <a:uLnTx/>
                <a:uFillTx/>
                <a:latin typeface="Arial" panose="020B0604020202020204"/>
                <a:ea typeface="+mn-ea"/>
                <a:cs typeface="+mn-cs"/>
              </a:rPr>
              <a:t>transition into the next generation of post-trade technology</a:t>
            </a:r>
            <a:r>
              <a:rPr kumimoji="0" lang="en-US" sz="1400" b="0" i="0" u="none" strike="noStrike" kern="1200" cap="none" spc="0" normalizeH="0" baseline="0" noProof="0" dirty="0">
                <a:ln>
                  <a:noFill/>
                </a:ln>
                <a:solidFill>
                  <a:srgbClr val="666666"/>
                </a:solidFill>
                <a:effectLst/>
                <a:uLnTx/>
                <a:uFillTx/>
                <a:latin typeface="Arial" panose="020B0604020202020204"/>
                <a:ea typeface="+mn-ea"/>
                <a:cs typeface="+mn-cs"/>
              </a:rPr>
              <a:t> by driving </a:t>
            </a:r>
            <a:r>
              <a:rPr kumimoji="0" lang="en-US" sz="1400" b="0" i="0" u="none" strike="noStrike" kern="1200" cap="none" spc="0" normalizeH="0" baseline="0" noProof="0" dirty="0">
                <a:ln>
                  <a:noFill/>
                </a:ln>
                <a:solidFill>
                  <a:srgbClr val="00A5C0"/>
                </a:solidFill>
                <a:effectLst/>
                <a:uLnTx/>
                <a:uFillTx/>
                <a:latin typeface="Arial" panose="020B0604020202020204"/>
                <a:ea typeface="+mn-ea"/>
                <a:cs typeface="+mn-cs"/>
              </a:rPr>
              <a:t>digital processes </a:t>
            </a:r>
            <a:r>
              <a:rPr kumimoji="0" lang="en-US" sz="1400" b="0" i="0" u="none" strike="noStrike" kern="1200" cap="none" spc="0" normalizeH="0" baseline="0" noProof="0" dirty="0">
                <a:ln>
                  <a:noFill/>
                </a:ln>
                <a:solidFill>
                  <a:srgbClr val="666666"/>
                </a:solidFill>
                <a:effectLst/>
                <a:uLnTx/>
                <a:uFillTx/>
                <a:latin typeface="Arial" panose="020B0604020202020204"/>
                <a:ea typeface="+mn-ea"/>
                <a:cs typeface="+mn-cs"/>
              </a:rPr>
              <a:t>with our future-ready platform</a:t>
            </a:r>
          </a:p>
        </p:txBody>
      </p:sp>
      <p:pic>
        <p:nvPicPr>
          <p:cNvPr id="37" name="Graphic 36" descr="Coins with solid fill">
            <a:extLst>
              <a:ext uri="{FF2B5EF4-FFF2-40B4-BE49-F238E27FC236}">
                <a16:creationId xmlns:a16="http://schemas.microsoft.com/office/drawing/2014/main" id="{54D66534-61DF-46C7-A8B0-9B494A8D22E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08311" y="3609412"/>
            <a:ext cx="417126" cy="417126"/>
          </a:xfrm>
          <a:prstGeom prst="rect">
            <a:avLst/>
          </a:prstGeom>
        </p:spPr>
      </p:pic>
      <p:sp>
        <p:nvSpPr>
          <p:cNvPr id="41" name="Oval 40">
            <a:extLst>
              <a:ext uri="{FF2B5EF4-FFF2-40B4-BE49-F238E27FC236}">
                <a16:creationId xmlns:a16="http://schemas.microsoft.com/office/drawing/2014/main" id="{B5354AD6-8DC5-42FB-A52D-C910A042765D}"/>
              </a:ext>
            </a:extLst>
          </p:cNvPr>
          <p:cNvSpPr/>
          <p:nvPr/>
        </p:nvSpPr>
        <p:spPr>
          <a:xfrm>
            <a:off x="7023136" y="2134317"/>
            <a:ext cx="548640" cy="545657"/>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3" name="Graphic 39" descr="Lock with solid fill">
            <a:extLst>
              <a:ext uri="{FF2B5EF4-FFF2-40B4-BE49-F238E27FC236}">
                <a16:creationId xmlns:a16="http://schemas.microsoft.com/office/drawing/2014/main" id="{7AFE569B-5C0C-49E5-8102-44D87FB3345F}"/>
              </a:ext>
            </a:extLst>
          </p:cNvPr>
          <p:cNvSpPr/>
          <p:nvPr/>
        </p:nvSpPr>
        <p:spPr>
          <a:xfrm>
            <a:off x="7159485" y="2202594"/>
            <a:ext cx="297055" cy="387233"/>
          </a:xfrm>
          <a:custGeom>
            <a:avLst/>
            <a:gdLst>
              <a:gd name="connsiteX0" fmla="*/ 159137 w 297055"/>
              <a:gd name="connsiteY0" fmla="*/ 306073 h 387233"/>
              <a:gd name="connsiteX1" fmla="*/ 159137 w 297055"/>
              <a:gd name="connsiteY1" fmla="*/ 334187 h 387233"/>
              <a:gd name="connsiteX2" fmla="*/ 137919 w 297055"/>
              <a:gd name="connsiteY2" fmla="*/ 334187 h 387233"/>
              <a:gd name="connsiteX3" fmla="*/ 137919 w 297055"/>
              <a:gd name="connsiteY3" fmla="*/ 306073 h 387233"/>
              <a:gd name="connsiteX4" fmla="*/ 116700 w 297055"/>
              <a:gd name="connsiteY4" fmla="*/ 275837 h 387233"/>
              <a:gd name="connsiteX5" fmla="*/ 148528 w 297055"/>
              <a:gd name="connsiteY5" fmla="*/ 244010 h 387233"/>
              <a:gd name="connsiteX6" fmla="*/ 180355 w 297055"/>
              <a:gd name="connsiteY6" fmla="*/ 275837 h 387233"/>
              <a:gd name="connsiteX7" fmla="*/ 159137 w 297055"/>
              <a:gd name="connsiteY7" fmla="*/ 306073 h 387233"/>
              <a:gd name="connsiteX8" fmla="*/ 68959 w 297055"/>
              <a:gd name="connsiteY8" fmla="*/ 111396 h 387233"/>
              <a:gd name="connsiteX9" fmla="*/ 148528 w 297055"/>
              <a:gd name="connsiteY9" fmla="*/ 31827 h 387233"/>
              <a:gd name="connsiteX10" fmla="*/ 228096 w 297055"/>
              <a:gd name="connsiteY10" fmla="*/ 111396 h 387233"/>
              <a:gd name="connsiteX11" fmla="*/ 228096 w 297055"/>
              <a:gd name="connsiteY11" fmla="*/ 170276 h 387233"/>
              <a:gd name="connsiteX12" fmla="*/ 148528 w 297055"/>
              <a:gd name="connsiteY12" fmla="*/ 164441 h 387233"/>
              <a:gd name="connsiteX13" fmla="*/ 68959 w 297055"/>
              <a:gd name="connsiteY13" fmla="*/ 170276 h 387233"/>
              <a:gd name="connsiteX14" fmla="*/ 68959 w 297055"/>
              <a:gd name="connsiteY14" fmla="*/ 111396 h 387233"/>
              <a:gd name="connsiteX15" fmla="*/ 259924 w 297055"/>
              <a:gd name="connsiteY15" fmla="*/ 172398 h 387233"/>
              <a:gd name="connsiteX16" fmla="*/ 259924 w 297055"/>
              <a:gd name="connsiteY16" fmla="*/ 111396 h 387233"/>
              <a:gd name="connsiteX17" fmla="*/ 148528 w 297055"/>
              <a:gd name="connsiteY17" fmla="*/ 0 h 387233"/>
              <a:gd name="connsiteX18" fmla="*/ 37132 w 297055"/>
              <a:gd name="connsiteY18" fmla="*/ 111396 h 387233"/>
              <a:gd name="connsiteX19" fmla="*/ 37132 w 297055"/>
              <a:gd name="connsiteY19" fmla="*/ 172398 h 387233"/>
              <a:gd name="connsiteX20" fmla="*/ 0 w 297055"/>
              <a:gd name="connsiteY20" fmla="*/ 175051 h 387233"/>
              <a:gd name="connsiteX21" fmla="*/ 0 w 297055"/>
              <a:gd name="connsiteY21" fmla="*/ 376624 h 387233"/>
              <a:gd name="connsiteX22" fmla="*/ 148528 w 297055"/>
              <a:gd name="connsiteY22" fmla="*/ 387233 h 387233"/>
              <a:gd name="connsiteX23" fmla="*/ 297056 w 297055"/>
              <a:gd name="connsiteY23" fmla="*/ 376624 h 387233"/>
              <a:gd name="connsiteX24" fmla="*/ 297056 w 297055"/>
              <a:gd name="connsiteY24" fmla="*/ 175051 h 387233"/>
              <a:gd name="connsiteX25" fmla="*/ 259924 w 297055"/>
              <a:gd name="connsiteY25" fmla="*/ 172398 h 387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97055" h="387233">
                <a:moveTo>
                  <a:pt x="159137" y="306073"/>
                </a:moveTo>
                <a:lnTo>
                  <a:pt x="159137" y="334187"/>
                </a:lnTo>
                <a:lnTo>
                  <a:pt x="137919" y="334187"/>
                </a:lnTo>
                <a:lnTo>
                  <a:pt x="137919" y="306073"/>
                </a:lnTo>
                <a:cubicBezTo>
                  <a:pt x="125718" y="301830"/>
                  <a:pt x="116700" y="290160"/>
                  <a:pt x="116700" y="275837"/>
                </a:cubicBezTo>
                <a:cubicBezTo>
                  <a:pt x="116700" y="258332"/>
                  <a:pt x="131023" y="244010"/>
                  <a:pt x="148528" y="244010"/>
                </a:cubicBezTo>
                <a:cubicBezTo>
                  <a:pt x="166033" y="244010"/>
                  <a:pt x="180355" y="258332"/>
                  <a:pt x="180355" y="275837"/>
                </a:cubicBezTo>
                <a:cubicBezTo>
                  <a:pt x="180355" y="289629"/>
                  <a:pt x="171337" y="301299"/>
                  <a:pt x="159137" y="306073"/>
                </a:cubicBezTo>
                <a:close/>
                <a:moveTo>
                  <a:pt x="68959" y="111396"/>
                </a:moveTo>
                <a:cubicBezTo>
                  <a:pt x="68959" y="67368"/>
                  <a:pt x="104500" y="31827"/>
                  <a:pt x="148528" y="31827"/>
                </a:cubicBezTo>
                <a:cubicBezTo>
                  <a:pt x="192556" y="31827"/>
                  <a:pt x="228096" y="67368"/>
                  <a:pt x="228096" y="111396"/>
                </a:cubicBezTo>
                <a:lnTo>
                  <a:pt x="228096" y="170276"/>
                </a:lnTo>
                <a:lnTo>
                  <a:pt x="148528" y="164441"/>
                </a:lnTo>
                <a:lnTo>
                  <a:pt x="68959" y="170276"/>
                </a:lnTo>
                <a:lnTo>
                  <a:pt x="68959" y="111396"/>
                </a:lnTo>
                <a:close/>
                <a:moveTo>
                  <a:pt x="259924" y="172398"/>
                </a:moveTo>
                <a:lnTo>
                  <a:pt x="259924" y="111396"/>
                </a:lnTo>
                <a:cubicBezTo>
                  <a:pt x="259924" y="49863"/>
                  <a:pt x="210061" y="0"/>
                  <a:pt x="148528" y="0"/>
                </a:cubicBezTo>
                <a:cubicBezTo>
                  <a:pt x="86995" y="0"/>
                  <a:pt x="37132" y="49863"/>
                  <a:pt x="37132" y="111396"/>
                </a:cubicBezTo>
                <a:lnTo>
                  <a:pt x="37132" y="172398"/>
                </a:lnTo>
                <a:lnTo>
                  <a:pt x="0" y="175051"/>
                </a:lnTo>
                <a:lnTo>
                  <a:pt x="0" y="376624"/>
                </a:lnTo>
                <a:lnTo>
                  <a:pt x="148528" y="387233"/>
                </a:lnTo>
                <a:lnTo>
                  <a:pt x="297056" y="376624"/>
                </a:lnTo>
                <a:lnTo>
                  <a:pt x="297056" y="175051"/>
                </a:lnTo>
                <a:lnTo>
                  <a:pt x="259924" y="172398"/>
                </a:lnTo>
                <a:close/>
              </a:path>
            </a:pathLst>
          </a:custGeom>
          <a:solidFill>
            <a:schemeClr val="accent5"/>
          </a:solidFill>
          <a:ln w="52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5" name="Oval 44">
            <a:extLst>
              <a:ext uri="{FF2B5EF4-FFF2-40B4-BE49-F238E27FC236}">
                <a16:creationId xmlns:a16="http://schemas.microsoft.com/office/drawing/2014/main" id="{9DAAAAD6-0FA7-4B53-8D4A-25D28C92C793}"/>
              </a:ext>
            </a:extLst>
          </p:cNvPr>
          <p:cNvSpPr/>
          <p:nvPr/>
        </p:nvSpPr>
        <p:spPr>
          <a:xfrm>
            <a:off x="7023136" y="5086958"/>
            <a:ext cx="548640" cy="545657"/>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pic>
        <p:nvPicPr>
          <p:cNvPr id="35" name="Graphic 34" descr="Cloud Computing with solid fill">
            <a:extLst>
              <a:ext uri="{FF2B5EF4-FFF2-40B4-BE49-F238E27FC236}">
                <a16:creationId xmlns:a16="http://schemas.microsoft.com/office/drawing/2014/main" id="{1061DACF-0CAD-4713-9578-4068EB8DD18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121388" y="5158666"/>
            <a:ext cx="427547" cy="427547"/>
          </a:xfrm>
          <a:prstGeom prst="rect">
            <a:avLst/>
          </a:prstGeom>
        </p:spPr>
      </p:pic>
      <p:grpSp>
        <p:nvGrpSpPr>
          <p:cNvPr id="18" name="Group 17">
            <a:extLst>
              <a:ext uri="{FF2B5EF4-FFF2-40B4-BE49-F238E27FC236}">
                <a16:creationId xmlns:a16="http://schemas.microsoft.com/office/drawing/2014/main" id="{EDC5546B-C846-435D-8B54-C4750199A9FD}"/>
              </a:ext>
            </a:extLst>
          </p:cNvPr>
          <p:cNvGrpSpPr>
            <a:grpSpLocks/>
          </p:cNvGrpSpPr>
          <p:nvPr/>
        </p:nvGrpSpPr>
        <p:grpSpPr>
          <a:xfrm>
            <a:off x="6411376" y="2110297"/>
            <a:ext cx="321873" cy="550807"/>
            <a:chOff x="6079778" y="645381"/>
            <a:chExt cx="160579" cy="253363"/>
          </a:xfrm>
          <a:solidFill>
            <a:schemeClr val="accent1"/>
          </a:solidFill>
        </p:grpSpPr>
        <p:sp>
          <p:nvSpPr>
            <p:cNvPr id="19" name="Chevron 221">
              <a:extLst>
                <a:ext uri="{FF2B5EF4-FFF2-40B4-BE49-F238E27FC236}">
                  <a16:creationId xmlns:a16="http://schemas.microsoft.com/office/drawing/2014/main" id="{53F20D9C-8D06-44D5-828D-D79AA84DAFBA}"/>
                </a:ext>
              </a:extLst>
            </p:cNvPr>
            <p:cNvSpPr/>
            <p:nvPr/>
          </p:nvSpPr>
          <p:spPr>
            <a:xfrm>
              <a:off x="6134136" y="645381"/>
              <a:ext cx="106221" cy="253363"/>
            </a:xfrm>
            <a:prstGeom prst="chevron">
              <a:avLst>
                <a:gd name="adj" fmla="val 43408"/>
              </a:avLst>
            </a:prstGeom>
            <a:grpFill/>
            <a:ln w="6350" cap="flat" cmpd="sng" algn="ctr">
              <a:solidFill>
                <a:schemeClr val="accent1"/>
              </a:solidFill>
              <a:prstDash val="solid"/>
            </a:ln>
            <a:effectLst/>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74" b="0" i="0" u="none" strike="noStrike" kern="0" cap="none" spc="0" normalizeH="0" baseline="0" noProof="0" dirty="0">
                <a:ln>
                  <a:noFill/>
                </a:ln>
                <a:solidFill>
                  <a:prstClr val="black"/>
                </a:solidFill>
                <a:effectLst/>
                <a:uLnTx/>
                <a:uFillTx/>
                <a:latin typeface="Calibri"/>
                <a:ea typeface="+mn-ea"/>
                <a:cs typeface="+mn-cs"/>
              </a:endParaRPr>
            </a:p>
          </p:txBody>
        </p:sp>
        <p:sp>
          <p:nvSpPr>
            <p:cNvPr id="25" name="Chevron 223">
              <a:extLst>
                <a:ext uri="{FF2B5EF4-FFF2-40B4-BE49-F238E27FC236}">
                  <a16:creationId xmlns:a16="http://schemas.microsoft.com/office/drawing/2014/main" id="{997BBD96-4F5F-4768-A4ED-04C2608332A6}"/>
                </a:ext>
              </a:extLst>
            </p:cNvPr>
            <p:cNvSpPr/>
            <p:nvPr/>
          </p:nvSpPr>
          <p:spPr>
            <a:xfrm>
              <a:off x="6079778" y="667571"/>
              <a:ext cx="81389" cy="208981"/>
            </a:xfrm>
            <a:prstGeom prst="chevron">
              <a:avLst>
                <a:gd name="adj" fmla="val 46728"/>
              </a:avLst>
            </a:prstGeom>
            <a:grpFill/>
            <a:ln w="6350" cap="flat" cmpd="sng" algn="ctr">
              <a:solidFill>
                <a:schemeClr val="accent1"/>
              </a:solidFill>
              <a:prstDash val="solid"/>
            </a:ln>
            <a:effectLst/>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74" b="0" i="0" u="none" strike="noStrike" kern="0" cap="none" spc="0" normalizeH="0" baseline="0" noProof="0" dirty="0">
                <a:ln>
                  <a:noFill/>
                </a:ln>
                <a:solidFill>
                  <a:prstClr val="black"/>
                </a:solidFill>
                <a:effectLst/>
                <a:uLnTx/>
                <a:uFillTx/>
                <a:latin typeface="Calibri"/>
                <a:ea typeface="+mn-ea"/>
                <a:cs typeface="+mn-cs"/>
              </a:endParaRPr>
            </a:p>
          </p:txBody>
        </p:sp>
      </p:grpSp>
      <p:grpSp>
        <p:nvGrpSpPr>
          <p:cNvPr id="39" name="Group 38">
            <a:extLst>
              <a:ext uri="{FF2B5EF4-FFF2-40B4-BE49-F238E27FC236}">
                <a16:creationId xmlns:a16="http://schemas.microsoft.com/office/drawing/2014/main" id="{3BC56148-4BC6-4BB3-81E6-720DDF197FD5}"/>
              </a:ext>
            </a:extLst>
          </p:cNvPr>
          <p:cNvGrpSpPr>
            <a:grpSpLocks/>
          </p:cNvGrpSpPr>
          <p:nvPr/>
        </p:nvGrpSpPr>
        <p:grpSpPr>
          <a:xfrm>
            <a:off x="6409333" y="3558817"/>
            <a:ext cx="321873" cy="550807"/>
            <a:chOff x="6079778" y="645381"/>
            <a:chExt cx="160579" cy="253363"/>
          </a:xfrm>
          <a:solidFill>
            <a:schemeClr val="accent1"/>
          </a:solidFill>
        </p:grpSpPr>
        <p:sp>
          <p:nvSpPr>
            <p:cNvPr id="43" name="Chevron 221">
              <a:extLst>
                <a:ext uri="{FF2B5EF4-FFF2-40B4-BE49-F238E27FC236}">
                  <a16:creationId xmlns:a16="http://schemas.microsoft.com/office/drawing/2014/main" id="{32BCC284-BEB9-49F4-929C-CF8580EF9711}"/>
                </a:ext>
              </a:extLst>
            </p:cNvPr>
            <p:cNvSpPr/>
            <p:nvPr/>
          </p:nvSpPr>
          <p:spPr>
            <a:xfrm>
              <a:off x="6134136" y="645381"/>
              <a:ext cx="106221" cy="253363"/>
            </a:xfrm>
            <a:prstGeom prst="chevron">
              <a:avLst>
                <a:gd name="adj" fmla="val 43408"/>
              </a:avLst>
            </a:prstGeom>
            <a:grpFill/>
            <a:ln w="6350" cap="flat" cmpd="sng" algn="ctr">
              <a:solidFill>
                <a:schemeClr val="accent1"/>
              </a:solidFill>
              <a:prstDash val="solid"/>
            </a:ln>
            <a:effectLst/>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74" b="0" i="0" u="none" strike="noStrike" kern="0" cap="none" spc="0" normalizeH="0" baseline="0" noProof="0" dirty="0">
                <a:ln>
                  <a:noFill/>
                </a:ln>
                <a:solidFill>
                  <a:prstClr val="black"/>
                </a:solidFill>
                <a:effectLst/>
                <a:uLnTx/>
                <a:uFillTx/>
                <a:latin typeface="Calibri"/>
                <a:ea typeface="+mn-ea"/>
                <a:cs typeface="+mn-cs"/>
              </a:endParaRPr>
            </a:p>
          </p:txBody>
        </p:sp>
        <p:sp>
          <p:nvSpPr>
            <p:cNvPr id="44" name="Chevron 223">
              <a:extLst>
                <a:ext uri="{FF2B5EF4-FFF2-40B4-BE49-F238E27FC236}">
                  <a16:creationId xmlns:a16="http://schemas.microsoft.com/office/drawing/2014/main" id="{F5AECEFF-96DC-4799-AE67-3E6C8D187607}"/>
                </a:ext>
              </a:extLst>
            </p:cNvPr>
            <p:cNvSpPr/>
            <p:nvPr/>
          </p:nvSpPr>
          <p:spPr>
            <a:xfrm>
              <a:off x="6079778" y="667571"/>
              <a:ext cx="81389" cy="208981"/>
            </a:xfrm>
            <a:prstGeom prst="chevron">
              <a:avLst>
                <a:gd name="adj" fmla="val 46728"/>
              </a:avLst>
            </a:prstGeom>
            <a:grpFill/>
            <a:ln w="6350" cap="flat" cmpd="sng" algn="ctr">
              <a:solidFill>
                <a:schemeClr val="accent1"/>
              </a:solidFill>
              <a:prstDash val="solid"/>
            </a:ln>
            <a:effectLst/>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74" b="0" i="0" u="none" strike="noStrike" kern="0" cap="none" spc="0" normalizeH="0" baseline="0" noProof="0" dirty="0">
                <a:ln>
                  <a:noFill/>
                </a:ln>
                <a:solidFill>
                  <a:prstClr val="black"/>
                </a:solidFill>
                <a:effectLst/>
                <a:uLnTx/>
                <a:uFillTx/>
                <a:latin typeface="Calibri"/>
                <a:ea typeface="+mn-ea"/>
                <a:cs typeface="+mn-cs"/>
              </a:endParaRPr>
            </a:p>
          </p:txBody>
        </p:sp>
      </p:grpSp>
      <p:grpSp>
        <p:nvGrpSpPr>
          <p:cNvPr id="46" name="Group 45">
            <a:extLst>
              <a:ext uri="{FF2B5EF4-FFF2-40B4-BE49-F238E27FC236}">
                <a16:creationId xmlns:a16="http://schemas.microsoft.com/office/drawing/2014/main" id="{788C69FF-6D63-465D-9D73-0A22265C2C2B}"/>
              </a:ext>
            </a:extLst>
          </p:cNvPr>
          <p:cNvGrpSpPr>
            <a:grpSpLocks/>
          </p:cNvGrpSpPr>
          <p:nvPr/>
        </p:nvGrpSpPr>
        <p:grpSpPr>
          <a:xfrm>
            <a:off x="6409333" y="4983595"/>
            <a:ext cx="321873" cy="550807"/>
            <a:chOff x="6079778" y="645381"/>
            <a:chExt cx="160579" cy="253363"/>
          </a:xfrm>
          <a:solidFill>
            <a:schemeClr val="accent1"/>
          </a:solidFill>
        </p:grpSpPr>
        <p:sp>
          <p:nvSpPr>
            <p:cNvPr id="47" name="Chevron 221">
              <a:extLst>
                <a:ext uri="{FF2B5EF4-FFF2-40B4-BE49-F238E27FC236}">
                  <a16:creationId xmlns:a16="http://schemas.microsoft.com/office/drawing/2014/main" id="{48FF0DBF-BAA2-4E4A-8695-D577A7326D1E}"/>
                </a:ext>
              </a:extLst>
            </p:cNvPr>
            <p:cNvSpPr/>
            <p:nvPr/>
          </p:nvSpPr>
          <p:spPr>
            <a:xfrm>
              <a:off x="6134136" y="645381"/>
              <a:ext cx="106221" cy="253363"/>
            </a:xfrm>
            <a:prstGeom prst="chevron">
              <a:avLst>
                <a:gd name="adj" fmla="val 43408"/>
              </a:avLst>
            </a:prstGeom>
            <a:grpFill/>
            <a:ln w="6350" cap="flat" cmpd="sng" algn="ctr">
              <a:solidFill>
                <a:schemeClr val="accent1"/>
              </a:solidFill>
              <a:prstDash val="solid"/>
            </a:ln>
            <a:effectLst/>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74" b="0" i="0" u="none" strike="noStrike" kern="0" cap="none" spc="0" normalizeH="0" baseline="0" noProof="0" dirty="0">
                <a:ln>
                  <a:noFill/>
                </a:ln>
                <a:solidFill>
                  <a:prstClr val="black"/>
                </a:solidFill>
                <a:effectLst/>
                <a:uLnTx/>
                <a:uFillTx/>
                <a:latin typeface="Calibri"/>
                <a:ea typeface="+mn-ea"/>
                <a:cs typeface="+mn-cs"/>
              </a:endParaRPr>
            </a:p>
          </p:txBody>
        </p:sp>
        <p:sp>
          <p:nvSpPr>
            <p:cNvPr id="48" name="Chevron 223">
              <a:extLst>
                <a:ext uri="{FF2B5EF4-FFF2-40B4-BE49-F238E27FC236}">
                  <a16:creationId xmlns:a16="http://schemas.microsoft.com/office/drawing/2014/main" id="{3569C807-F64B-43C6-951A-24DD53BBB716}"/>
                </a:ext>
              </a:extLst>
            </p:cNvPr>
            <p:cNvSpPr/>
            <p:nvPr/>
          </p:nvSpPr>
          <p:spPr>
            <a:xfrm>
              <a:off x="6079778" y="667571"/>
              <a:ext cx="81389" cy="208981"/>
            </a:xfrm>
            <a:prstGeom prst="chevron">
              <a:avLst>
                <a:gd name="adj" fmla="val 46728"/>
              </a:avLst>
            </a:prstGeom>
            <a:grpFill/>
            <a:ln w="6350" cap="flat" cmpd="sng" algn="ctr">
              <a:solidFill>
                <a:schemeClr val="accent1"/>
              </a:solidFill>
              <a:prstDash val="solid"/>
            </a:ln>
            <a:effectLst/>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74" b="0" i="0" u="none" strike="noStrike" kern="0" cap="none" spc="0" normalizeH="0" baseline="0" noProof="0" dirty="0">
                <a:ln>
                  <a:noFill/>
                </a:ln>
                <a:solidFill>
                  <a:prstClr val="black"/>
                </a:solidFill>
                <a:effectLst/>
                <a:uLnTx/>
                <a:uFillTx/>
                <a:latin typeface="Calibri"/>
                <a:ea typeface="+mn-ea"/>
                <a:cs typeface="+mn-cs"/>
              </a:endParaRPr>
            </a:p>
          </p:txBody>
        </p:sp>
      </p:grpSp>
      <p:graphicFrame>
        <p:nvGraphicFramePr>
          <p:cNvPr id="23" name="Table 6">
            <a:extLst>
              <a:ext uri="{FF2B5EF4-FFF2-40B4-BE49-F238E27FC236}">
                <a16:creationId xmlns:a16="http://schemas.microsoft.com/office/drawing/2014/main" id="{8C6A682B-9B3D-4E1E-97B8-C69BB0143D11}"/>
              </a:ext>
            </a:extLst>
          </p:cNvPr>
          <p:cNvGraphicFramePr>
            <a:graphicFrameLocks noGrp="1"/>
          </p:cNvGraphicFramePr>
          <p:nvPr/>
        </p:nvGraphicFramePr>
        <p:xfrm>
          <a:off x="587376" y="1484315"/>
          <a:ext cx="5843504" cy="4645025"/>
        </p:xfrm>
        <a:graphic>
          <a:graphicData uri="http://schemas.openxmlformats.org/drawingml/2006/table">
            <a:tbl>
              <a:tblPr>
                <a:tableStyleId>{2D5ABB26-0587-4C30-8999-92F81FD0307C}</a:tableStyleId>
              </a:tblPr>
              <a:tblGrid>
                <a:gridCol w="2355570">
                  <a:extLst>
                    <a:ext uri="{9D8B030D-6E8A-4147-A177-3AD203B41FA5}">
                      <a16:colId xmlns:a16="http://schemas.microsoft.com/office/drawing/2014/main" val="3810960951"/>
                    </a:ext>
                  </a:extLst>
                </a:gridCol>
                <a:gridCol w="3487934">
                  <a:extLst>
                    <a:ext uri="{9D8B030D-6E8A-4147-A177-3AD203B41FA5}">
                      <a16:colId xmlns:a16="http://schemas.microsoft.com/office/drawing/2014/main" val="1510671408"/>
                    </a:ext>
                  </a:extLst>
                </a:gridCol>
              </a:tblGrid>
              <a:tr h="929005">
                <a:tc>
                  <a:txBody>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accent5"/>
                          </a:solidFill>
                        </a:rPr>
                        <a:t>Backbone of European capital markets</a:t>
                      </a:r>
                      <a:endParaRPr lang="en-US" sz="1200" b="1" dirty="0">
                        <a:solidFill>
                          <a:schemeClr val="accent5"/>
                        </a:solidFill>
                      </a:endParaRPr>
                    </a:p>
                  </a:txBody>
                  <a:tcPr anchor="ctr">
                    <a:lnB w="12700" cap="flat" cmpd="sng" algn="ctr">
                      <a:solidFill>
                        <a:schemeClr val="tx1">
                          <a:lumMod val="20000"/>
                          <a:lumOff val="80000"/>
                        </a:schemeClr>
                      </a:solidFill>
                      <a:prstDash val="solid"/>
                      <a:round/>
                      <a:headEnd type="none" w="med" len="med"/>
                      <a:tailEnd type="none" w="med" len="med"/>
                    </a:lnB>
                    <a:noFill/>
                  </a:tcPr>
                </a:tc>
                <a:tc>
                  <a:txBody>
                    <a:bodyPr/>
                    <a:lstStyle/>
                    <a:p>
                      <a:pPr marL="182563"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rPr>
                        <a:t>Critical infrastructure provider as </a:t>
                      </a:r>
                      <a:r>
                        <a:rPr lang="en-US" sz="1200" b="1">
                          <a:solidFill>
                            <a:schemeClr val="tx1"/>
                          </a:solidFill>
                        </a:rPr>
                        <a:t>largest CSD and global gateway to Europe</a:t>
                      </a:r>
                      <a:r>
                        <a:rPr lang="en-US" sz="1200">
                          <a:solidFill>
                            <a:schemeClr val="tx1"/>
                          </a:solidFill>
                        </a:rPr>
                        <a:t>, supported by partnerships with Europe's largest exchange</a:t>
                      </a:r>
                      <a:endParaRPr lang="en-US" sz="1200" dirty="0">
                        <a:solidFill>
                          <a:schemeClr val="tx1"/>
                        </a:solidFill>
                      </a:endParaRPr>
                    </a:p>
                  </a:txBody>
                  <a:tcPr anchor="ctr">
                    <a:lnB w="12700" cap="flat" cmpd="sng" algn="ctr">
                      <a:solidFill>
                        <a:schemeClr val="tx1">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1896565127"/>
                  </a:ext>
                </a:extLst>
              </a:tr>
              <a:tr h="929005">
                <a:tc>
                  <a:txBody>
                    <a:bodyPr/>
                    <a:lstStyle/>
                    <a:p>
                      <a:pPr marL="361950" indent="0" algn="l" rtl="0"/>
                      <a:r>
                        <a:rPr lang="en-US" sz="1200" b="1">
                          <a:solidFill>
                            <a:schemeClr val="accent5"/>
                          </a:solidFill>
                        </a:rPr>
                        <a:t>Holistic securities services and collateral management offering </a:t>
                      </a:r>
                      <a:endParaRPr lang="en-US" sz="1200" dirty="0">
                        <a:solidFill>
                          <a:schemeClr val="accent5"/>
                        </a:solidFill>
                      </a:endParaRPr>
                    </a:p>
                  </a:txBody>
                  <a:tcPr anchor="ct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c>
                  <a:txBody>
                    <a:bodyPr/>
                    <a:lstStyle/>
                    <a:p>
                      <a:pPr marL="182563"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rPr>
                        <a:t>Comprehensive European settlement and custody services </a:t>
                      </a:r>
                      <a:r>
                        <a:rPr lang="en-US" sz="1200">
                          <a:solidFill>
                            <a:schemeClr val="tx1"/>
                          </a:solidFill>
                        </a:rPr>
                        <a:t>with </a:t>
                      </a:r>
                      <a:r>
                        <a:rPr lang="en-US" sz="1200" b="1">
                          <a:solidFill>
                            <a:schemeClr val="tx1"/>
                          </a:solidFill>
                        </a:rPr>
                        <a:t>leading collateral management </a:t>
                      </a:r>
                      <a:r>
                        <a:rPr lang="en-US" sz="1200">
                          <a:solidFill>
                            <a:schemeClr val="tx1"/>
                          </a:solidFill>
                        </a:rPr>
                        <a:t>proposition far beyond traditional CSD services</a:t>
                      </a:r>
                      <a:endParaRPr lang="en-US" sz="1200" dirty="0">
                        <a:solidFill>
                          <a:schemeClr val="tx1"/>
                        </a:solidFill>
                      </a:endParaRPr>
                    </a:p>
                  </a:txBody>
                  <a:tcPr anchor="ct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270209467"/>
                  </a:ext>
                </a:extLst>
              </a:tr>
              <a:tr h="929005">
                <a:tc>
                  <a:txBody>
                    <a:bodyPr/>
                    <a:lstStyle/>
                    <a:p>
                      <a:pPr marL="361950" indent="0" algn="l" rtl="0"/>
                      <a:r>
                        <a:rPr lang="en-US" sz="1200" b="1">
                          <a:solidFill>
                            <a:schemeClr val="accent5"/>
                          </a:solidFill>
                        </a:rPr>
                        <a:t>Global multi-network operator with leading data offering</a:t>
                      </a:r>
                      <a:endParaRPr lang="en-US" sz="1200" dirty="0">
                        <a:solidFill>
                          <a:schemeClr val="accent5"/>
                        </a:solidFill>
                      </a:endParaRPr>
                    </a:p>
                  </a:txBody>
                  <a:tcPr anchor="ct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c>
                  <a:txBody>
                    <a:bodyPr/>
                    <a:lstStyle/>
                    <a:p>
                      <a:pPr marL="182563"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rPr>
                        <a:t>Global multi-network with unique data </a:t>
                      </a:r>
                      <a:r>
                        <a:rPr lang="en-US" sz="1200">
                          <a:solidFill>
                            <a:schemeClr val="tx1"/>
                          </a:solidFill>
                        </a:rPr>
                        <a:t>set and tech capabilities to build a </a:t>
                      </a:r>
                      <a:r>
                        <a:rPr lang="en-US" sz="1200" b="1">
                          <a:solidFill>
                            <a:schemeClr val="tx1"/>
                          </a:solidFill>
                        </a:rPr>
                        <a:t>next generation capital markets ecosystem</a:t>
                      </a:r>
                      <a:endParaRPr lang="en-US" sz="1200" b="1" dirty="0">
                        <a:solidFill>
                          <a:schemeClr val="tx1"/>
                        </a:solidFill>
                      </a:endParaRPr>
                    </a:p>
                  </a:txBody>
                  <a:tcPr anchor="ct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785527720"/>
                  </a:ext>
                </a:extLst>
              </a:tr>
              <a:tr h="929005">
                <a:tc>
                  <a:txBody>
                    <a:bodyPr/>
                    <a:lstStyle/>
                    <a:p>
                      <a:pPr marL="361950" indent="0" algn="l" rtl="0"/>
                      <a:r>
                        <a:rPr lang="en-US" sz="1200" b="1">
                          <a:solidFill>
                            <a:schemeClr val="accent5"/>
                          </a:solidFill>
                        </a:rPr>
                        <a:t>Industry leading productivity</a:t>
                      </a:r>
                      <a:endParaRPr lang="en-US" sz="1200" dirty="0">
                        <a:solidFill>
                          <a:schemeClr val="accent5"/>
                        </a:solidFill>
                      </a:endParaRPr>
                    </a:p>
                  </a:txBody>
                  <a:tcPr anchor="ct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c>
                  <a:txBody>
                    <a:bodyPr/>
                    <a:lstStyle/>
                    <a:p>
                      <a:pPr marL="182563"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rPr>
                        <a:t>Industry leading productivity </a:t>
                      </a:r>
                      <a:r>
                        <a:rPr lang="en-US" sz="1200">
                          <a:solidFill>
                            <a:schemeClr val="tx1"/>
                          </a:solidFill>
                        </a:rPr>
                        <a:t>based on highly scalable and automated operations platform</a:t>
                      </a:r>
                      <a:endParaRPr lang="en-US" sz="1200" dirty="0">
                        <a:solidFill>
                          <a:schemeClr val="tx1"/>
                        </a:solidFill>
                      </a:endParaRPr>
                    </a:p>
                  </a:txBody>
                  <a:tcPr anchor="ct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189867154"/>
                  </a:ext>
                </a:extLst>
              </a:tr>
              <a:tr h="929005">
                <a:tc>
                  <a:txBody>
                    <a:bodyPr/>
                    <a:lstStyle/>
                    <a:p>
                      <a:pPr marL="361950" indent="0" algn="l" rtl="0"/>
                      <a:r>
                        <a:rPr lang="en-US" sz="1200" b="1">
                          <a:solidFill>
                            <a:schemeClr val="accent5"/>
                          </a:solidFill>
                        </a:rPr>
                        <a:t>Future-ready digital platform </a:t>
                      </a:r>
                      <a:endParaRPr lang="en-US" sz="1200" dirty="0">
                        <a:solidFill>
                          <a:schemeClr val="accent5"/>
                        </a:solidFill>
                      </a:endParaRPr>
                    </a:p>
                  </a:txBody>
                  <a:tcPr anchor="ct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tc>
                  <a:txBody>
                    <a:bodyPr/>
                    <a:lstStyle/>
                    <a:p>
                      <a:pPr marL="182563"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rPr>
                        <a:t>Future-ready digital platform </a:t>
                      </a:r>
                      <a:r>
                        <a:rPr lang="en-US" sz="1200">
                          <a:solidFill>
                            <a:schemeClr val="tx1"/>
                          </a:solidFill>
                        </a:rPr>
                        <a:t>for growing in digital ecosystems, securities based on DLT and </a:t>
                      </a:r>
                      <a:r>
                        <a:rPr lang="en-US" sz="1200" noProof="0">
                          <a:solidFill>
                            <a:schemeClr val="tx1"/>
                          </a:solidFill>
                        </a:rPr>
                        <a:t>decentralised</a:t>
                      </a:r>
                      <a:r>
                        <a:rPr lang="en-US" sz="1200">
                          <a:solidFill>
                            <a:schemeClr val="tx1"/>
                          </a:solidFill>
                        </a:rPr>
                        <a:t> finance offerings</a:t>
                      </a:r>
                      <a:endParaRPr lang="en-US" sz="1200" dirty="0">
                        <a:solidFill>
                          <a:schemeClr val="tx1"/>
                        </a:solidFill>
                      </a:endParaRPr>
                    </a:p>
                  </a:txBody>
                  <a:tcPr anchor="ctr">
                    <a:lnT w="12700" cap="flat" cmpd="sng" algn="ctr">
                      <a:solidFill>
                        <a:schemeClr val="tx1">
                          <a:lumMod val="20000"/>
                          <a:lumOff val="80000"/>
                        </a:schemeClr>
                      </a:solidFill>
                      <a:prstDash val="solid"/>
                      <a:round/>
                      <a:headEnd type="none" w="med" len="med"/>
                      <a:tailEnd type="none" w="med" len="med"/>
                    </a:lnT>
                    <a:lnB w="12700" cap="flat" cmpd="sng" algn="ctr">
                      <a:solidFill>
                        <a:schemeClr val="tx1">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959482652"/>
                  </a:ext>
                </a:extLst>
              </a:tr>
            </a:tbl>
          </a:graphicData>
        </a:graphic>
      </p:graphicFrame>
      <p:sp>
        <p:nvSpPr>
          <p:cNvPr id="5" name="Slide Number Placeholder 4">
            <a:extLst>
              <a:ext uri="{FF2B5EF4-FFF2-40B4-BE49-F238E27FC236}">
                <a16:creationId xmlns:a16="http://schemas.microsoft.com/office/drawing/2014/main" id="{6B196448-7304-10D3-1E62-B4C9EA3DC4D8}"/>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72C9EDE-4A13-4E4A-9EAA-A59A97CC9CE2}" type="slidenum">
              <a:rPr kumimoji="0" lang="en-US" sz="900" b="0" i="0" u="none" strike="noStrike" kern="1200" cap="none" spc="0" normalizeH="0" baseline="0" noProof="0" smtClean="0">
                <a:ln>
                  <a:noFill/>
                </a:ln>
                <a:solidFill>
                  <a:srgbClr val="666666"/>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3</a:t>
            </a:fld>
            <a:endParaRPr kumimoji="0" lang="en-US" sz="90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Tree>
    <p:custDataLst>
      <p:tags r:id="rId2"/>
    </p:custDataLst>
    <p:extLst>
      <p:ext uri="{BB962C8B-B14F-4D97-AF65-F5344CB8AC3E}">
        <p14:creationId xmlns:p14="http://schemas.microsoft.com/office/powerpoint/2010/main" val="428575078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4F6940D-D833-4F46-9CF3-E1C813A6479A}"/>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6"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A4F6940D-D833-4F46-9CF3-E1C813A6479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56" name="Rectangle 1755">
            <a:extLst>
              <a:ext uri="{FF2B5EF4-FFF2-40B4-BE49-F238E27FC236}">
                <a16:creationId xmlns:a16="http://schemas.microsoft.com/office/drawing/2014/main" id="{1F291232-F3E1-4A83-98EA-873709689837}"/>
              </a:ext>
            </a:extLst>
          </p:cNvPr>
          <p:cNvSpPr/>
          <p:nvPr/>
        </p:nvSpPr>
        <p:spPr>
          <a:xfrm>
            <a:off x="10152112" y="-2"/>
            <a:ext cx="2040050" cy="6858002"/>
          </a:xfrm>
          <a:prstGeom prst="rect">
            <a:avLst/>
          </a:prstGeom>
          <a:solidFill>
            <a:srgbClr val="00C78B"/>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757" name="Rectangle 1756">
            <a:extLst>
              <a:ext uri="{FF2B5EF4-FFF2-40B4-BE49-F238E27FC236}">
                <a16:creationId xmlns:a16="http://schemas.microsoft.com/office/drawing/2014/main" id="{2DE1EEED-1847-4879-A88C-5EB6F1B1658E}"/>
              </a:ext>
            </a:extLst>
          </p:cNvPr>
          <p:cNvSpPr/>
          <p:nvPr/>
        </p:nvSpPr>
        <p:spPr bwMode="auto">
          <a:xfrm>
            <a:off x="10224079" y="1224104"/>
            <a:ext cx="1927201" cy="178631"/>
          </a:xfrm>
          <a:prstGeom prst="rect">
            <a:avLst/>
          </a:prstGeom>
          <a:solidFill>
            <a:srgbClr val="00C78B"/>
          </a:solidFill>
          <a:ln>
            <a:noFill/>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charset="0"/>
                <a:ea typeface="+mn-ea"/>
                <a:cs typeface="Arial" charset="0"/>
              </a:rPr>
              <a:t>ICSD model</a:t>
            </a:r>
          </a:p>
        </p:txBody>
      </p:sp>
      <p:sp>
        <p:nvSpPr>
          <p:cNvPr id="1758" name="Rectangle 1757">
            <a:extLst>
              <a:ext uri="{FF2B5EF4-FFF2-40B4-BE49-F238E27FC236}">
                <a16:creationId xmlns:a16="http://schemas.microsoft.com/office/drawing/2014/main" id="{06B474B8-AF04-4710-A752-18E9933E7854}"/>
              </a:ext>
            </a:extLst>
          </p:cNvPr>
          <p:cNvSpPr/>
          <p:nvPr/>
        </p:nvSpPr>
        <p:spPr>
          <a:xfrm>
            <a:off x="10152112" y="1582339"/>
            <a:ext cx="2510602" cy="5014895"/>
          </a:xfrm>
          <a:prstGeom prst="rect">
            <a:avLst/>
          </a:prstGeom>
        </p:spPr>
        <p:txBody>
          <a:bodyPr wrap="square" numCol="3">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Argentin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Armen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Austral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Austr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Belgi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70C0"/>
                </a:solidFill>
                <a:effectLst/>
                <a:uLnTx/>
                <a:uFillTx/>
                <a:latin typeface="Arial" charset="0"/>
                <a:ea typeface="+mn-ea"/>
                <a:cs typeface="Arial" charset="0"/>
              </a:rPr>
              <a:t>BULGAR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Canad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Chin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Croat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Cypru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Czech Republi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Denmar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Duba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Eston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Finl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Fr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Georg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German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Gree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Hong Ko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Hunga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Icel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Indones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Irel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Israe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Ital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Jap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Latv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Lithuan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Luxembour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Malays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Mal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Mexic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Netherlan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New Zeal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Norwa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Philippin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Pol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Portug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Roman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Russ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Saudi Arab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Serb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Singapo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Slovak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Sloven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South Afric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South Kore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Spa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Swed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Switzerl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Taiw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Thail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Turke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Ukra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U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Urugua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charset="0"/>
                <a:ea typeface="+mn-ea"/>
                <a:cs typeface="Arial" charset="0"/>
              </a:rPr>
              <a:t>USA</a:t>
            </a:r>
          </a:p>
        </p:txBody>
      </p:sp>
      <p:sp>
        <p:nvSpPr>
          <p:cNvPr id="1751" name="Rectangle 1750">
            <a:extLst>
              <a:ext uri="{FF2B5EF4-FFF2-40B4-BE49-F238E27FC236}">
                <a16:creationId xmlns:a16="http://schemas.microsoft.com/office/drawing/2014/main" id="{62720324-5521-4043-BCD4-5DD5586DA907}"/>
              </a:ext>
            </a:extLst>
          </p:cNvPr>
          <p:cNvSpPr/>
          <p:nvPr/>
        </p:nvSpPr>
        <p:spPr>
          <a:xfrm>
            <a:off x="7448060" y="0"/>
            <a:ext cx="2705705" cy="6858000"/>
          </a:xfrm>
          <a:prstGeom prst="rect">
            <a:avLst/>
          </a:prstGeom>
          <a:solidFill>
            <a:srgbClr val="00A5C0"/>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81000" rIns="81000" bIns="81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4C14344C-B9C8-4179-A208-0D9E9456302D}"/>
              </a:ext>
            </a:extLst>
          </p:cNvPr>
          <p:cNvSpPr>
            <a:spLocks noGrp="1"/>
          </p:cNvSpPr>
          <p:nvPr>
            <p:ph type="title"/>
          </p:nvPr>
        </p:nvSpPr>
        <p:spPr>
          <a:xfrm>
            <a:off x="587388" y="368300"/>
            <a:ext cx="11363312" cy="934900"/>
          </a:xfrm>
        </p:spPr>
        <p:txBody>
          <a:bodyPr vert="horz"/>
          <a:lstStyle/>
          <a:p>
            <a:r>
              <a:rPr lang="en-US" dirty="0"/>
              <a:t>Market coverage</a:t>
            </a:r>
            <a:br>
              <a:rPr lang="en-US" dirty="0"/>
            </a:br>
            <a:r>
              <a:rPr lang="en-US" sz="2000" dirty="0">
                <a:solidFill>
                  <a:schemeClr val="tx2"/>
                </a:solidFill>
              </a:rPr>
              <a:t>Our Custody Solution across Europe and beyond</a:t>
            </a:r>
          </a:p>
        </p:txBody>
      </p:sp>
      <p:sp>
        <p:nvSpPr>
          <p:cNvPr id="57" name="Rectangle 56">
            <a:extLst>
              <a:ext uri="{FF2B5EF4-FFF2-40B4-BE49-F238E27FC236}">
                <a16:creationId xmlns:a16="http://schemas.microsoft.com/office/drawing/2014/main" id="{5B037D34-E584-45D4-9A8F-E4C39F7C3069}"/>
              </a:ext>
            </a:extLst>
          </p:cNvPr>
          <p:cNvSpPr/>
          <p:nvPr/>
        </p:nvSpPr>
        <p:spPr bwMode="gray">
          <a:xfrm>
            <a:off x="1415423" y="4908055"/>
            <a:ext cx="1638992" cy="199679"/>
          </a:xfrm>
          <a:prstGeom prst="rect">
            <a:avLst/>
          </a:prstGeom>
          <a:noFill/>
          <a:ln>
            <a:noFill/>
          </a:ln>
        </p:spPr>
        <p:txBody>
          <a:bodyPr wrap="none" rtlCol="0" anchor="ctr"/>
          <a:lstStyle/>
          <a:p>
            <a:pPr marL="0" marR="0" lvl="0" indent="0" algn="l" defTabSz="685800" rtl="0" eaLnBrk="0"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666666"/>
                </a:solidFill>
                <a:effectLst/>
                <a:uLnTx/>
                <a:uFillTx/>
                <a:latin typeface="Arial" panose="020B0604020202020204"/>
                <a:ea typeface="+mn-ea"/>
                <a:cs typeface="+mn-cs"/>
              </a:rPr>
              <a:t>Regulatory Compliance</a:t>
            </a:r>
          </a:p>
        </p:txBody>
      </p:sp>
      <p:grpSp>
        <p:nvGrpSpPr>
          <p:cNvPr id="64" name="Group 1784">
            <a:extLst>
              <a:ext uri="{FF2B5EF4-FFF2-40B4-BE49-F238E27FC236}">
                <a16:creationId xmlns:a16="http://schemas.microsoft.com/office/drawing/2014/main" id="{B4430F96-E5C8-421F-889E-3EDB0DB25205}"/>
              </a:ext>
            </a:extLst>
          </p:cNvPr>
          <p:cNvGrpSpPr>
            <a:grpSpLocks/>
          </p:cNvGrpSpPr>
          <p:nvPr/>
        </p:nvGrpSpPr>
        <p:grpSpPr bwMode="auto">
          <a:xfrm>
            <a:off x="1330001" y="2157659"/>
            <a:ext cx="1915837" cy="2103701"/>
            <a:chOff x="-508" y="79"/>
            <a:chExt cx="3866" cy="3544"/>
          </a:xfrm>
          <a:solidFill>
            <a:schemeClr val="tx1">
              <a:lumMod val="40000"/>
              <a:lumOff val="60000"/>
            </a:schemeClr>
          </a:solidFill>
        </p:grpSpPr>
        <p:sp>
          <p:nvSpPr>
            <p:cNvPr id="1534" name="Freeform 1584">
              <a:extLst>
                <a:ext uri="{FF2B5EF4-FFF2-40B4-BE49-F238E27FC236}">
                  <a16:creationId xmlns:a16="http://schemas.microsoft.com/office/drawing/2014/main" id="{B6A732E8-C864-4704-AD15-391762454D7A}"/>
                </a:ext>
              </a:extLst>
            </p:cNvPr>
            <p:cNvSpPr>
              <a:spLocks/>
            </p:cNvSpPr>
            <p:nvPr/>
          </p:nvSpPr>
          <p:spPr bwMode="auto">
            <a:xfrm>
              <a:off x="1870" y="163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35" name="Freeform 1585">
              <a:extLst>
                <a:ext uri="{FF2B5EF4-FFF2-40B4-BE49-F238E27FC236}">
                  <a16:creationId xmlns:a16="http://schemas.microsoft.com/office/drawing/2014/main" id="{9D8FBB83-1130-4127-9ACB-9A0618C181ED}"/>
                </a:ext>
              </a:extLst>
            </p:cNvPr>
            <p:cNvSpPr>
              <a:spLocks/>
            </p:cNvSpPr>
            <p:nvPr/>
          </p:nvSpPr>
          <p:spPr bwMode="auto">
            <a:xfrm>
              <a:off x="781" y="1958"/>
              <a:ext cx="2" cy="0"/>
            </a:xfrm>
            <a:custGeom>
              <a:avLst/>
              <a:gdLst>
                <a:gd name="T0" fmla="*/ 0 w 1"/>
                <a:gd name="T1" fmla="*/ 0 w 1"/>
                <a:gd name="T2" fmla="*/ 0 w 1"/>
                <a:gd name="T3" fmla="*/ 1 w 1"/>
                <a:gd name="T4" fmla="*/ 0 w 1"/>
              </a:gdLst>
              <a:ahLst/>
              <a:cxnLst>
                <a:cxn ang="0">
                  <a:pos x="T0" y="0"/>
                </a:cxn>
                <a:cxn ang="0">
                  <a:pos x="T1" y="0"/>
                </a:cxn>
                <a:cxn ang="0">
                  <a:pos x="T2" y="0"/>
                </a:cxn>
                <a:cxn ang="0">
                  <a:pos x="T3" y="0"/>
                </a:cxn>
                <a:cxn ang="0">
                  <a:pos x="T4" y="0"/>
                </a:cxn>
              </a:cxnLst>
              <a:rect l="0" t="0" r="r" b="b"/>
              <a:pathLst>
                <a:path w="1">
                  <a:moveTo>
                    <a:pt x="0" y="0"/>
                  </a:moveTo>
                  <a:cubicBezTo>
                    <a:pt x="0" y="0"/>
                    <a:pt x="0" y="0"/>
                    <a:pt x="0" y="0"/>
                  </a:cubicBezTo>
                  <a:cubicBezTo>
                    <a:pt x="0" y="0"/>
                    <a:pt x="0" y="0"/>
                    <a:pt x="0" y="0"/>
                  </a:cubicBezTo>
                  <a:cubicBezTo>
                    <a:pt x="0" y="0"/>
                    <a:pt x="0" y="0"/>
                    <a:pt x="1" y="0"/>
                  </a:cubicBezTo>
                  <a:cubicBezTo>
                    <a:pt x="1" y="0"/>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36" name="Freeform 1586">
              <a:extLst>
                <a:ext uri="{FF2B5EF4-FFF2-40B4-BE49-F238E27FC236}">
                  <a16:creationId xmlns:a16="http://schemas.microsoft.com/office/drawing/2014/main" id="{6D7EA6C5-167E-42ED-9A93-2EC6BBDBF5C0}"/>
                </a:ext>
              </a:extLst>
            </p:cNvPr>
            <p:cNvSpPr>
              <a:spLocks/>
            </p:cNvSpPr>
            <p:nvPr/>
          </p:nvSpPr>
          <p:spPr bwMode="auto">
            <a:xfrm>
              <a:off x="1688" y="189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37" name="Freeform 1587">
              <a:extLst>
                <a:ext uri="{FF2B5EF4-FFF2-40B4-BE49-F238E27FC236}">
                  <a16:creationId xmlns:a16="http://schemas.microsoft.com/office/drawing/2014/main" id="{304626B5-F534-45E5-81BA-C6A89D1622B2}"/>
                </a:ext>
              </a:extLst>
            </p:cNvPr>
            <p:cNvSpPr>
              <a:spLocks/>
            </p:cNvSpPr>
            <p:nvPr/>
          </p:nvSpPr>
          <p:spPr bwMode="auto">
            <a:xfrm>
              <a:off x="1764" y="1719"/>
              <a:ext cx="0" cy="2"/>
            </a:xfrm>
            <a:custGeom>
              <a:avLst/>
              <a:gdLst>
                <a:gd name="T0" fmla="*/ 1 h 1"/>
                <a:gd name="T1" fmla="*/ 1 h 1"/>
                <a:gd name="T2" fmla="*/ 1 h 1"/>
                <a:gd name="T3" fmla="*/ 0 h 1"/>
                <a:gd name="T4" fmla="*/ 1 h 1"/>
                <a:gd name="T5" fmla="*/ 0 h 1"/>
                <a:gd name="T6" fmla="*/ 1 h 1"/>
              </a:gdLst>
              <a:ahLst/>
              <a:cxnLst>
                <a:cxn ang="0">
                  <a:pos x="0" y="T0"/>
                </a:cxn>
                <a:cxn ang="0">
                  <a:pos x="0" y="T1"/>
                </a:cxn>
                <a:cxn ang="0">
                  <a:pos x="0" y="T2"/>
                </a:cxn>
                <a:cxn ang="0">
                  <a:pos x="0" y="T3"/>
                </a:cxn>
                <a:cxn ang="0">
                  <a:pos x="0" y="T4"/>
                </a:cxn>
                <a:cxn ang="0">
                  <a:pos x="0" y="T5"/>
                </a:cxn>
                <a:cxn ang="0">
                  <a:pos x="0" y="T6"/>
                </a:cxn>
              </a:cxnLst>
              <a:rect l="0" t="0" r="r" b="b"/>
              <a:pathLst>
                <a:path h="1">
                  <a:moveTo>
                    <a:pt x="0" y="1"/>
                  </a:moveTo>
                  <a:cubicBezTo>
                    <a:pt x="0" y="1"/>
                    <a:pt x="0" y="1"/>
                    <a:pt x="0" y="1"/>
                  </a:cubicBezTo>
                  <a:cubicBezTo>
                    <a:pt x="0" y="1"/>
                    <a:pt x="0" y="1"/>
                    <a:pt x="0" y="1"/>
                  </a:cubicBezTo>
                  <a:cubicBezTo>
                    <a:pt x="0" y="1"/>
                    <a:pt x="0" y="1"/>
                    <a:pt x="0" y="0"/>
                  </a:cubicBezTo>
                  <a:cubicBezTo>
                    <a:pt x="0" y="0"/>
                    <a:pt x="0" y="0"/>
                    <a:pt x="0" y="1"/>
                  </a:cubicBezTo>
                  <a:cubicBezTo>
                    <a:pt x="0" y="0"/>
                    <a:pt x="0" y="0"/>
                    <a:pt x="0" y="0"/>
                  </a:cubicBezTo>
                  <a:cubicBezTo>
                    <a:pt x="0" y="1"/>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38" name="Freeform 1588">
              <a:extLst>
                <a:ext uri="{FF2B5EF4-FFF2-40B4-BE49-F238E27FC236}">
                  <a16:creationId xmlns:a16="http://schemas.microsoft.com/office/drawing/2014/main" id="{F906633A-374B-40AC-A69B-95151445E9EE}"/>
                </a:ext>
              </a:extLst>
            </p:cNvPr>
            <p:cNvSpPr>
              <a:spLocks/>
            </p:cNvSpPr>
            <p:nvPr/>
          </p:nvSpPr>
          <p:spPr bwMode="auto">
            <a:xfrm>
              <a:off x="1868" y="1641"/>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39" name="Freeform 1589">
              <a:extLst>
                <a:ext uri="{FF2B5EF4-FFF2-40B4-BE49-F238E27FC236}">
                  <a16:creationId xmlns:a16="http://schemas.microsoft.com/office/drawing/2014/main" id="{5CE6CBCD-ADDC-466A-B717-6ED3AA89FAE7}"/>
                </a:ext>
              </a:extLst>
            </p:cNvPr>
            <p:cNvSpPr>
              <a:spLocks/>
            </p:cNvSpPr>
            <p:nvPr/>
          </p:nvSpPr>
          <p:spPr bwMode="auto">
            <a:xfrm>
              <a:off x="1201" y="213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40" name="Freeform 1590">
              <a:extLst>
                <a:ext uri="{FF2B5EF4-FFF2-40B4-BE49-F238E27FC236}">
                  <a16:creationId xmlns:a16="http://schemas.microsoft.com/office/drawing/2014/main" id="{A8F81808-1117-485E-AAB1-871374B3B5EB}"/>
                </a:ext>
              </a:extLst>
            </p:cNvPr>
            <p:cNvSpPr>
              <a:spLocks noEditPoints="1"/>
            </p:cNvSpPr>
            <p:nvPr/>
          </p:nvSpPr>
          <p:spPr bwMode="auto">
            <a:xfrm>
              <a:off x="537" y="1480"/>
              <a:ext cx="1395" cy="676"/>
            </a:xfrm>
            <a:custGeom>
              <a:avLst/>
              <a:gdLst>
                <a:gd name="T0" fmla="*/ 581 w 590"/>
                <a:gd name="T1" fmla="*/ 32 h 286"/>
                <a:gd name="T2" fmla="*/ 558 w 590"/>
                <a:gd name="T3" fmla="*/ 45 h 286"/>
                <a:gd name="T4" fmla="*/ 496 w 590"/>
                <a:gd name="T5" fmla="*/ 65 h 286"/>
                <a:gd name="T6" fmla="*/ 466 w 590"/>
                <a:gd name="T7" fmla="*/ 78 h 286"/>
                <a:gd name="T8" fmla="*/ 441 w 590"/>
                <a:gd name="T9" fmla="*/ 98 h 286"/>
                <a:gd name="T10" fmla="*/ 431 w 590"/>
                <a:gd name="T11" fmla="*/ 77 h 286"/>
                <a:gd name="T12" fmla="*/ 413 w 590"/>
                <a:gd name="T13" fmla="*/ 47 h 286"/>
                <a:gd name="T14" fmla="*/ 395 w 590"/>
                <a:gd name="T15" fmla="*/ 56 h 286"/>
                <a:gd name="T16" fmla="*/ 378 w 590"/>
                <a:gd name="T17" fmla="*/ 68 h 286"/>
                <a:gd name="T18" fmla="*/ 376 w 590"/>
                <a:gd name="T19" fmla="*/ 58 h 286"/>
                <a:gd name="T20" fmla="*/ 392 w 590"/>
                <a:gd name="T21" fmla="*/ 44 h 286"/>
                <a:gd name="T22" fmla="*/ 412 w 590"/>
                <a:gd name="T23" fmla="*/ 36 h 286"/>
                <a:gd name="T24" fmla="*/ 370 w 590"/>
                <a:gd name="T25" fmla="*/ 33 h 286"/>
                <a:gd name="T26" fmla="*/ 348 w 590"/>
                <a:gd name="T27" fmla="*/ 21 h 286"/>
                <a:gd name="T28" fmla="*/ 324 w 590"/>
                <a:gd name="T29" fmla="*/ 10 h 286"/>
                <a:gd name="T30" fmla="*/ 197 w 590"/>
                <a:gd name="T31" fmla="*/ 5 h 286"/>
                <a:gd name="T32" fmla="*/ 24 w 590"/>
                <a:gd name="T33" fmla="*/ 18 h 286"/>
                <a:gd name="T34" fmla="*/ 18 w 590"/>
                <a:gd name="T35" fmla="*/ 26 h 286"/>
                <a:gd name="T36" fmla="*/ 18 w 590"/>
                <a:gd name="T37" fmla="*/ 22 h 286"/>
                <a:gd name="T38" fmla="*/ 9 w 590"/>
                <a:gd name="T39" fmla="*/ 30 h 286"/>
                <a:gd name="T40" fmla="*/ 8 w 590"/>
                <a:gd name="T41" fmla="*/ 49 h 286"/>
                <a:gd name="T42" fmla="*/ 5 w 590"/>
                <a:gd name="T43" fmla="*/ 95 h 286"/>
                <a:gd name="T44" fmla="*/ 21 w 590"/>
                <a:gd name="T45" fmla="*/ 141 h 286"/>
                <a:gd name="T46" fmla="*/ 28 w 590"/>
                <a:gd name="T47" fmla="*/ 140 h 286"/>
                <a:gd name="T48" fmla="*/ 34 w 590"/>
                <a:gd name="T49" fmla="*/ 166 h 286"/>
                <a:gd name="T50" fmla="*/ 61 w 590"/>
                <a:gd name="T51" fmla="*/ 187 h 286"/>
                <a:gd name="T52" fmla="*/ 84 w 590"/>
                <a:gd name="T53" fmla="*/ 202 h 286"/>
                <a:gd name="T54" fmla="*/ 167 w 590"/>
                <a:gd name="T55" fmla="*/ 215 h 286"/>
                <a:gd name="T56" fmla="*/ 215 w 590"/>
                <a:gd name="T57" fmla="*/ 240 h 286"/>
                <a:gd name="T58" fmla="*/ 259 w 590"/>
                <a:gd name="T59" fmla="*/ 262 h 286"/>
                <a:gd name="T60" fmla="*/ 275 w 590"/>
                <a:gd name="T61" fmla="*/ 261 h 286"/>
                <a:gd name="T62" fmla="*/ 285 w 590"/>
                <a:gd name="T63" fmla="*/ 250 h 286"/>
                <a:gd name="T64" fmla="*/ 305 w 590"/>
                <a:gd name="T65" fmla="*/ 240 h 286"/>
                <a:gd name="T66" fmla="*/ 315 w 590"/>
                <a:gd name="T67" fmla="*/ 236 h 286"/>
                <a:gd name="T68" fmla="*/ 338 w 590"/>
                <a:gd name="T69" fmla="*/ 236 h 286"/>
                <a:gd name="T70" fmla="*/ 361 w 590"/>
                <a:gd name="T71" fmla="*/ 242 h 286"/>
                <a:gd name="T72" fmla="*/ 359 w 590"/>
                <a:gd name="T73" fmla="*/ 236 h 286"/>
                <a:gd name="T74" fmla="*/ 373 w 590"/>
                <a:gd name="T75" fmla="*/ 229 h 286"/>
                <a:gd name="T76" fmla="*/ 383 w 590"/>
                <a:gd name="T77" fmla="*/ 228 h 286"/>
                <a:gd name="T78" fmla="*/ 400 w 590"/>
                <a:gd name="T79" fmla="*/ 232 h 286"/>
                <a:gd name="T80" fmla="*/ 429 w 590"/>
                <a:gd name="T81" fmla="*/ 250 h 286"/>
                <a:gd name="T82" fmla="*/ 436 w 590"/>
                <a:gd name="T83" fmla="*/ 267 h 286"/>
                <a:gd name="T84" fmla="*/ 452 w 590"/>
                <a:gd name="T85" fmla="*/ 285 h 286"/>
                <a:gd name="T86" fmla="*/ 441 w 590"/>
                <a:gd name="T87" fmla="*/ 226 h 286"/>
                <a:gd name="T88" fmla="*/ 450 w 590"/>
                <a:gd name="T89" fmla="*/ 206 h 286"/>
                <a:gd name="T90" fmla="*/ 465 w 590"/>
                <a:gd name="T91" fmla="*/ 196 h 286"/>
                <a:gd name="T92" fmla="*/ 490 w 590"/>
                <a:gd name="T93" fmla="*/ 178 h 286"/>
                <a:gd name="T94" fmla="*/ 500 w 590"/>
                <a:gd name="T95" fmla="*/ 166 h 286"/>
                <a:gd name="T96" fmla="*/ 497 w 590"/>
                <a:gd name="T97" fmla="*/ 162 h 286"/>
                <a:gd name="T98" fmla="*/ 494 w 590"/>
                <a:gd name="T99" fmla="*/ 152 h 286"/>
                <a:gd name="T100" fmla="*/ 487 w 590"/>
                <a:gd name="T101" fmla="*/ 137 h 286"/>
                <a:gd name="T102" fmla="*/ 491 w 590"/>
                <a:gd name="T103" fmla="*/ 133 h 286"/>
                <a:gd name="T104" fmla="*/ 497 w 590"/>
                <a:gd name="T105" fmla="*/ 127 h 286"/>
                <a:gd name="T106" fmla="*/ 499 w 590"/>
                <a:gd name="T107" fmla="*/ 136 h 286"/>
                <a:gd name="T108" fmla="*/ 506 w 590"/>
                <a:gd name="T109" fmla="*/ 134 h 286"/>
                <a:gd name="T110" fmla="*/ 515 w 590"/>
                <a:gd name="T111" fmla="*/ 122 h 286"/>
                <a:gd name="T112" fmla="*/ 520 w 590"/>
                <a:gd name="T113" fmla="*/ 106 h 286"/>
                <a:gd name="T114" fmla="*/ 557 w 590"/>
                <a:gd name="T115" fmla="*/ 96 h 286"/>
                <a:gd name="T116" fmla="*/ 561 w 590"/>
                <a:gd name="T117" fmla="*/ 68 h 286"/>
                <a:gd name="T118" fmla="*/ 564 w 590"/>
                <a:gd name="T119" fmla="*/ 68 h 286"/>
                <a:gd name="T120" fmla="*/ 586 w 590"/>
                <a:gd name="T121" fmla="*/ 5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90" h="286">
                  <a:moveTo>
                    <a:pt x="589" y="57"/>
                  </a:moveTo>
                  <a:cubicBezTo>
                    <a:pt x="589" y="57"/>
                    <a:pt x="589" y="57"/>
                    <a:pt x="589" y="57"/>
                  </a:cubicBezTo>
                  <a:cubicBezTo>
                    <a:pt x="589" y="57"/>
                    <a:pt x="589" y="57"/>
                    <a:pt x="589" y="56"/>
                  </a:cubicBezTo>
                  <a:cubicBezTo>
                    <a:pt x="588" y="57"/>
                    <a:pt x="587" y="56"/>
                    <a:pt x="588" y="56"/>
                  </a:cubicBezTo>
                  <a:cubicBezTo>
                    <a:pt x="589" y="55"/>
                    <a:pt x="589" y="55"/>
                    <a:pt x="589" y="55"/>
                  </a:cubicBezTo>
                  <a:cubicBezTo>
                    <a:pt x="589" y="55"/>
                    <a:pt x="589" y="55"/>
                    <a:pt x="589" y="55"/>
                  </a:cubicBezTo>
                  <a:cubicBezTo>
                    <a:pt x="589" y="55"/>
                    <a:pt x="589" y="55"/>
                    <a:pt x="589" y="55"/>
                  </a:cubicBezTo>
                  <a:cubicBezTo>
                    <a:pt x="588" y="55"/>
                    <a:pt x="588" y="55"/>
                    <a:pt x="588" y="55"/>
                  </a:cubicBezTo>
                  <a:cubicBezTo>
                    <a:pt x="588" y="54"/>
                    <a:pt x="588" y="54"/>
                    <a:pt x="588" y="54"/>
                  </a:cubicBezTo>
                  <a:cubicBezTo>
                    <a:pt x="587" y="55"/>
                    <a:pt x="586" y="54"/>
                    <a:pt x="586" y="54"/>
                  </a:cubicBezTo>
                  <a:cubicBezTo>
                    <a:pt x="584" y="53"/>
                    <a:pt x="584" y="51"/>
                    <a:pt x="585" y="51"/>
                  </a:cubicBezTo>
                  <a:cubicBezTo>
                    <a:pt x="585" y="51"/>
                    <a:pt x="585" y="50"/>
                    <a:pt x="585" y="50"/>
                  </a:cubicBezTo>
                  <a:cubicBezTo>
                    <a:pt x="585" y="49"/>
                    <a:pt x="585" y="49"/>
                    <a:pt x="585" y="49"/>
                  </a:cubicBezTo>
                  <a:cubicBezTo>
                    <a:pt x="583" y="49"/>
                    <a:pt x="582" y="48"/>
                    <a:pt x="581" y="47"/>
                  </a:cubicBezTo>
                  <a:cubicBezTo>
                    <a:pt x="580" y="46"/>
                    <a:pt x="581" y="44"/>
                    <a:pt x="581" y="44"/>
                  </a:cubicBezTo>
                  <a:cubicBezTo>
                    <a:pt x="581" y="43"/>
                    <a:pt x="581" y="36"/>
                    <a:pt x="581" y="32"/>
                  </a:cubicBezTo>
                  <a:cubicBezTo>
                    <a:pt x="581" y="31"/>
                    <a:pt x="581" y="29"/>
                    <a:pt x="580" y="29"/>
                  </a:cubicBezTo>
                  <a:cubicBezTo>
                    <a:pt x="580" y="29"/>
                    <a:pt x="580" y="29"/>
                    <a:pt x="580" y="29"/>
                  </a:cubicBezTo>
                  <a:cubicBezTo>
                    <a:pt x="580" y="28"/>
                    <a:pt x="579" y="28"/>
                    <a:pt x="579" y="28"/>
                  </a:cubicBezTo>
                  <a:cubicBezTo>
                    <a:pt x="578" y="27"/>
                    <a:pt x="578" y="27"/>
                    <a:pt x="577" y="26"/>
                  </a:cubicBezTo>
                  <a:cubicBezTo>
                    <a:pt x="577" y="26"/>
                    <a:pt x="576" y="26"/>
                    <a:pt x="573" y="28"/>
                  </a:cubicBezTo>
                  <a:cubicBezTo>
                    <a:pt x="573" y="28"/>
                    <a:pt x="573" y="28"/>
                    <a:pt x="573" y="28"/>
                  </a:cubicBezTo>
                  <a:cubicBezTo>
                    <a:pt x="572" y="28"/>
                    <a:pt x="572" y="28"/>
                    <a:pt x="572" y="28"/>
                  </a:cubicBezTo>
                  <a:cubicBezTo>
                    <a:pt x="570" y="29"/>
                    <a:pt x="569" y="27"/>
                    <a:pt x="568" y="27"/>
                  </a:cubicBezTo>
                  <a:cubicBezTo>
                    <a:pt x="568" y="26"/>
                    <a:pt x="568" y="26"/>
                    <a:pt x="568" y="26"/>
                  </a:cubicBezTo>
                  <a:cubicBezTo>
                    <a:pt x="568" y="26"/>
                    <a:pt x="568" y="26"/>
                    <a:pt x="568" y="26"/>
                  </a:cubicBezTo>
                  <a:cubicBezTo>
                    <a:pt x="568" y="25"/>
                    <a:pt x="568" y="25"/>
                    <a:pt x="568" y="25"/>
                  </a:cubicBezTo>
                  <a:cubicBezTo>
                    <a:pt x="568" y="25"/>
                    <a:pt x="568" y="25"/>
                    <a:pt x="567" y="26"/>
                  </a:cubicBezTo>
                  <a:cubicBezTo>
                    <a:pt x="567" y="26"/>
                    <a:pt x="567" y="27"/>
                    <a:pt x="564" y="32"/>
                  </a:cubicBezTo>
                  <a:cubicBezTo>
                    <a:pt x="561" y="37"/>
                    <a:pt x="561" y="37"/>
                    <a:pt x="561" y="37"/>
                  </a:cubicBezTo>
                  <a:cubicBezTo>
                    <a:pt x="560" y="38"/>
                    <a:pt x="558" y="41"/>
                    <a:pt x="558" y="42"/>
                  </a:cubicBezTo>
                  <a:cubicBezTo>
                    <a:pt x="559" y="43"/>
                    <a:pt x="558" y="44"/>
                    <a:pt x="558" y="45"/>
                  </a:cubicBezTo>
                  <a:cubicBezTo>
                    <a:pt x="557" y="46"/>
                    <a:pt x="555" y="49"/>
                    <a:pt x="554" y="51"/>
                  </a:cubicBezTo>
                  <a:cubicBezTo>
                    <a:pt x="553" y="52"/>
                    <a:pt x="551" y="54"/>
                    <a:pt x="548" y="53"/>
                  </a:cubicBezTo>
                  <a:cubicBezTo>
                    <a:pt x="547" y="52"/>
                    <a:pt x="547" y="52"/>
                    <a:pt x="547" y="53"/>
                  </a:cubicBezTo>
                  <a:cubicBezTo>
                    <a:pt x="546" y="53"/>
                    <a:pt x="546" y="53"/>
                    <a:pt x="545" y="55"/>
                  </a:cubicBezTo>
                  <a:cubicBezTo>
                    <a:pt x="545" y="56"/>
                    <a:pt x="545" y="56"/>
                    <a:pt x="545" y="56"/>
                  </a:cubicBezTo>
                  <a:cubicBezTo>
                    <a:pt x="544" y="56"/>
                    <a:pt x="544" y="56"/>
                    <a:pt x="544" y="56"/>
                  </a:cubicBezTo>
                  <a:cubicBezTo>
                    <a:pt x="544" y="56"/>
                    <a:pt x="518" y="56"/>
                    <a:pt x="513" y="56"/>
                  </a:cubicBezTo>
                  <a:cubicBezTo>
                    <a:pt x="508" y="57"/>
                    <a:pt x="506" y="58"/>
                    <a:pt x="506" y="58"/>
                  </a:cubicBezTo>
                  <a:cubicBezTo>
                    <a:pt x="505" y="59"/>
                    <a:pt x="505" y="59"/>
                    <a:pt x="504" y="60"/>
                  </a:cubicBezTo>
                  <a:cubicBezTo>
                    <a:pt x="504" y="60"/>
                    <a:pt x="504" y="60"/>
                    <a:pt x="504" y="60"/>
                  </a:cubicBezTo>
                  <a:cubicBezTo>
                    <a:pt x="503" y="61"/>
                    <a:pt x="502" y="62"/>
                    <a:pt x="501" y="62"/>
                  </a:cubicBezTo>
                  <a:cubicBezTo>
                    <a:pt x="501" y="63"/>
                    <a:pt x="500" y="64"/>
                    <a:pt x="498" y="64"/>
                  </a:cubicBezTo>
                  <a:cubicBezTo>
                    <a:pt x="498" y="65"/>
                    <a:pt x="498" y="65"/>
                    <a:pt x="498" y="65"/>
                  </a:cubicBezTo>
                  <a:cubicBezTo>
                    <a:pt x="497" y="63"/>
                    <a:pt x="497" y="63"/>
                    <a:pt x="497" y="63"/>
                  </a:cubicBezTo>
                  <a:cubicBezTo>
                    <a:pt x="496" y="64"/>
                    <a:pt x="496" y="64"/>
                    <a:pt x="496" y="64"/>
                  </a:cubicBezTo>
                  <a:cubicBezTo>
                    <a:pt x="496" y="65"/>
                    <a:pt x="496" y="65"/>
                    <a:pt x="496" y="65"/>
                  </a:cubicBezTo>
                  <a:cubicBezTo>
                    <a:pt x="495" y="65"/>
                    <a:pt x="495" y="65"/>
                    <a:pt x="495" y="66"/>
                  </a:cubicBezTo>
                  <a:cubicBezTo>
                    <a:pt x="494" y="66"/>
                    <a:pt x="494" y="66"/>
                    <a:pt x="494" y="67"/>
                  </a:cubicBezTo>
                  <a:cubicBezTo>
                    <a:pt x="494" y="67"/>
                    <a:pt x="494" y="67"/>
                    <a:pt x="495" y="67"/>
                  </a:cubicBezTo>
                  <a:cubicBezTo>
                    <a:pt x="495" y="67"/>
                    <a:pt x="495" y="67"/>
                    <a:pt x="496" y="67"/>
                  </a:cubicBezTo>
                  <a:cubicBezTo>
                    <a:pt x="496" y="67"/>
                    <a:pt x="496" y="68"/>
                    <a:pt x="496" y="68"/>
                  </a:cubicBezTo>
                  <a:cubicBezTo>
                    <a:pt x="496" y="68"/>
                    <a:pt x="496" y="68"/>
                    <a:pt x="496" y="68"/>
                  </a:cubicBezTo>
                  <a:cubicBezTo>
                    <a:pt x="496" y="69"/>
                    <a:pt x="495" y="69"/>
                    <a:pt x="495" y="70"/>
                  </a:cubicBezTo>
                  <a:cubicBezTo>
                    <a:pt x="496" y="70"/>
                    <a:pt x="496" y="73"/>
                    <a:pt x="495" y="74"/>
                  </a:cubicBezTo>
                  <a:cubicBezTo>
                    <a:pt x="494" y="74"/>
                    <a:pt x="494" y="74"/>
                    <a:pt x="494" y="74"/>
                  </a:cubicBezTo>
                  <a:cubicBezTo>
                    <a:pt x="493" y="74"/>
                    <a:pt x="492" y="74"/>
                    <a:pt x="491" y="75"/>
                  </a:cubicBezTo>
                  <a:cubicBezTo>
                    <a:pt x="490" y="76"/>
                    <a:pt x="489" y="76"/>
                    <a:pt x="488" y="77"/>
                  </a:cubicBezTo>
                  <a:cubicBezTo>
                    <a:pt x="488" y="77"/>
                    <a:pt x="488" y="77"/>
                    <a:pt x="487" y="77"/>
                  </a:cubicBezTo>
                  <a:cubicBezTo>
                    <a:pt x="486" y="76"/>
                    <a:pt x="485" y="76"/>
                    <a:pt x="484" y="77"/>
                  </a:cubicBezTo>
                  <a:cubicBezTo>
                    <a:pt x="482" y="77"/>
                    <a:pt x="482" y="77"/>
                    <a:pt x="480" y="76"/>
                  </a:cubicBezTo>
                  <a:cubicBezTo>
                    <a:pt x="476" y="74"/>
                    <a:pt x="470" y="76"/>
                    <a:pt x="466" y="77"/>
                  </a:cubicBezTo>
                  <a:cubicBezTo>
                    <a:pt x="466" y="78"/>
                    <a:pt x="466" y="78"/>
                    <a:pt x="466" y="78"/>
                  </a:cubicBezTo>
                  <a:cubicBezTo>
                    <a:pt x="466" y="78"/>
                    <a:pt x="467" y="79"/>
                    <a:pt x="467" y="79"/>
                  </a:cubicBezTo>
                  <a:cubicBezTo>
                    <a:pt x="467" y="79"/>
                    <a:pt x="468" y="79"/>
                    <a:pt x="468" y="80"/>
                  </a:cubicBezTo>
                  <a:cubicBezTo>
                    <a:pt x="468" y="80"/>
                    <a:pt x="468" y="80"/>
                    <a:pt x="468" y="80"/>
                  </a:cubicBezTo>
                  <a:cubicBezTo>
                    <a:pt x="468" y="81"/>
                    <a:pt x="468" y="81"/>
                    <a:pt x="468" y="81"/>
                  </a:cubicBezTo>
                  <a:cubicBezTo>
                    <a:pt x="468" y="81"/>
                    <a:pt x="468" y="81"/>
                    <a:pt x="468" y="81"/>
                  </a:cubicBezTo>
                  <a:cubicBezTo>
                    <a:pt x="468" y="82"/>
                    <a:pt x="469" y="83"/>
                    <a:pt x="468" y="83"/>
                  </a:cubicBezTo>
                  <a:cubicBezTo>
                    <a:pt x="468" y="83"/>
                    <a:pt x="468" y="83"/>
                    <a:pt x="468" y="83"/>
                  </a:cubicBezTo>
                  <a:cubicBezTo>
                    <a:pt x="467" y="84"/>
                    <a:pt x="466" y="84"/>
                    <a:pt x="465" y="85"/>
                  </a:cubicBezTo>
                  <a:cubicBezTo>
                    <a:pt x="465" y="85"/>
                    <a:pt x="465" y="85"/>
                    <a:pt x="465" y="85"/>
                  </a:cubicBezTo>
                  <a:cubicBezTo>
                    <a:pt x="463" y="86"/>
                    <a:pt x="461" y="88"/>
                    <a:pt x="459" y="89"/>
                  </a:cubicBezTo>
                  <a:cubicBezTo>
                    <a:pt x="458" y="90"/>
                    <a:pt x="455" y="91"/>
                    <a:pt x="453" y="92"/>
                  </a:cubicBezTo>
                  <a:cubicBezTo>
                    <a:pt x="453" y="92"/>
                    <a:pt x="453" y="92"/>
                    <a:pt x="453" y="92"/>
                  </a:cubicBezTo>
                  <a:cubicBezTo>
                    <a:pt x="451" y="93"/>
                    <a:pt x="448" y="94"/>
                    <a:pt x="445" y="95"/>
                  </a:cubicBezTo>
                  <a:cubicBezTo>
                    <a:pt x="443" y="96"/>
                    <a:pt x="442" y="97"/>
                    <a:pt x="441" y="98"/>
                  </a:cubicBezTo>
                  <a:cubicBezTo>
                    <a:pt x="441" y="98"/>
                    <a:pt x="441" y="98"/>
                    <a:pt x="441" y="98"/>
                  </a:cubicBezTo>
                  <a:cubicBezTo>
                    <a:pt x="441" y="98"/>
                    <a:pt x="441" y="98"/>
                    <a:pt x="441" y="98"/>
                  </a:cubicBezTo>
                  <a:cubicBezTo>
                    <a:pt x="441" y="98"/>
                    <a:pt x="440" y="98"/>
                    <a:pt x="440" y="98"/>
                  </a:cubicBezTo>
                  <a:cubicBezTo>
                    <a:pt x="439" y="99"/>
                    <a:pt x="436" y="99"/>
                    <a:pt x="434" y="99"/>
                  </a:cubicBezTo>
                  <a:cubicBezTo>
                    <a:pt x="434" y="99"/>
                    <a:pt x="433" y="99"/>
                    <a:pt x="433" y="100"/>
                  </a:cubicBezTo>
                  <a:cubicBezTo>
                    <a:pt x="432" y="100"/>
                    <a:pt x="432" y="100"/>
                    <a:pt x="432" y="100"/>
                  </a:cubicBezTo>
                  <a:cubicBezTo>
                    <a:pt x="430" y="100"/>
                    <a:pt x="427" y="100"/>
                    <a:pt x="426" y="99"/>
                  </a:cubicBezTo>
                  <a:cubicBezTo>
                    <a:pt x="427" y="98"/>
                    <a:pt x="428" y="99"/>
                    <a:pt x="428" y="98"/>
                  </a:cubicBezTo>
                  <a:cubicBezTo>
                    <a:pt x="429" y="98"/>
                    <a:pt x="429" y="98"/>
                    <a:pt x="428" y="98"/>
                  </a:cubicBezTo>
                  <a:cubicBezTo>
                    <a:pt x="426" y="97"/>
                    <a:pt x="424" y="96"/>
                    <a:pt x="421" y="96"/>
                  </a:cubicBezTo>
                  <a:cubicBezTo>
                    <a:pt x="423" y="92"/>
                    <a:pt x="426" y="89"/>
                    <a:pt x="428" y="85"/>
                  </a:cubicBezTo>
                  <a:cubicBezTo>
                    <a:pt x="428" y="85"/>
                    <a:pt x="428" y="84"/>
                    <a:pt x="429" y="84"/>
                  </a:cubicBezTo>
                  <a:cubicBezTo>
                    <a:pt x="429" y="84"/>
                    <a:pt x="429" y="84"/>
                    <a:pt x="430" y="84"/>
                  </a:cubicBezTo>
                  <a:cubicBezTo>
                    <a:pt x="430" y="84"/>
                    <a:pt x="430" y="84"/>
                    <a:pt x="430" y="85"/>
                  </a:cubicBezTo>
                  <a:cubicBezTo>
                    <a:pt x="430" y="84"/>
                    <a:pt x="431" y="83"/>
                    <a:pt x="431" y="83"/>
                  </a:cubicBezTo>
                  <a:cubicBezTo>
                    <a:pt x="431" y="82"/>
                    <a:pt x="431" y="82"/>
                    <a:pt x="432" y="81"/>
                  </a:cubicBezTo>
                  <a:cubicBezTo>
                    <a:pt x="432" y="80"/>
                    <a:pt x="432" y="80"/>
                    <a:pt x="431" y="79"/>
                  </a:cubicBezTo>
                  <a:cubicBezTo>
                    <a:pt x="431" y="78"/>
                    <a:pt x="431" y="77"/>
                    <a:pt x="431" y="77"/>
                  </a:cubicBezTo>
                  <a:cubicBezTo>
                    <a:pt x="431" y="76"/>
                    <a:pt x="431" y="75"/>
                    <a:pt x="431" y="74"/>
                  </a:cubicBezTo>
                  <a:cubicBezTo>
                    <a:pt x="430" y="72"/>
                    <a:pt x="430" y="69"/>
                    <a:pt x="429" y="68"/>
                  </a:cubicBezTo>
                  <a:cubicBezTo>
                    <a:pt x="427" y="66"/>
                    <a:pt x="424" y="68"/>
                    <a:pt x="422" y="69"/>
                  </a:cubicBezTo>
                  <a:cubicBezTo>
                    <a:pt x="421" y="70"/>
                    <a:pt x="418" y="72"/>
                    <a:pt x="417" y="71"/>
                  </a:cubicBezTo>
                  <a:cubicBezTo>
                    <a:pt x="416" y="71"/>
                    <a:pt x="417" y="70"/>
                    <a:pt x="417" y="70"/>
                  </a:cubicBezTo>
                  <a:cubicBezTo>
                    <a:pt x="417" y="69"/>
                    <a:pt x="417" y="69"/>
                    <a:pt x="417" y="68"/>
                  </a:cubicBezTo>
                  <a:cubicBezTo>
                    <a:pt x="418" y="67"/>
                    <a:pt x="419" y="68"/>
                    <a:pt x="420" y="67"/>
                  </a:cubicBezTo>
                  <a:cubicBezTo>
                    <a:pt x="420" y="66"/>
                    <a:pt x="420" y="65"/>
                    <a:pt x="420" y="65"/>
                  </a:cubicBezTo>
                  <a:cubicBezTo>
                    <a:pt x="421" y="64"/>
                    <a:pt x="422" y="64"/>
                    <a:pt x="423" y="63"/>
                  </a:cubicBezTo>
                  <a:cubicBezTo>
                    <a:pt x="423" y="63"/>
                    <a:pt x="423" y="59"/>
                    <a:pt x="423" y="58"/>
                  </a:cubicBezTo>
                  <a:cubicBezTo>
                    <a:pt x="423" y="57"/>
                    <a:pt x="420" y="54"/>
                    <a:pt x="423" y="55"/>
                  </a:cubicBezTo>
                  <a:cubicBezTo>
                    <a:pt x="423" y="54"/>
                    <a:pt x="423" y="54"/>
                    <a:pt x="422" y="53"/>
                  </a:cubicBezTo>
                  <a:cubicBezTo>
                    <a:pt x="422" y="52"/>
                    <a:pt x="422" y="52"/>
                    <a:pt x="422" y="51"/>
                  </a:cubicBezTo>
                  <a:cubicBezTo>
                    <a:pt x="421" y="51"/>
                    <a:pt x="420" y="50"/>
                    <a:pt x="419" y="50"/>
                  </a:cubicBezTo>
                  <a:cubicBezTo>
                    <a:pt x="418" y="49"/>
                    <a:pt x="416" y="49"/>
                    <a:pt x="415" y="49"/>
                  </a:cubicBezTo>
                  <a:cubicBezTo>
                    <a:pt x="414" y="48"/>
                    <a:pt x="414" y="47"/>
                    <a:pt x="413" y="47"/>
                  </a:cubicBezTo>
                  <a:cubicBezTo>
                    <a:pt x="412" y="46"/>
                    <a:pt x="411" y="47"/>
                    <a:pt x="411" y="46"/>
                  </a:cubicBezTo>
                  <a:cubicBezTo>
                    <a:pt x="410" y="46"/>
                    <a:pt x="410" y="46"/>
                    <a:pt x="409" y="45"/>
                  </a:cubicBezTo>
                  <a:cubicBezTo>
                    <a:pt x="408" y="45"/>
                    <a:pt x="406" y="45"/>
                    <a:pt x="406" y="45"/>
                  </a:cubicBezTo>
                  <a:cubicBezTo>
                    <a:pt x="405" y="46"/>
                    <a:pt x="405" y="50"/>
                    <a:pt x="407" y="50"/>
                  </a:cubicBezTo>
                  <a:cubicBezTo>
                    <a:pt x="405" y="51"/>
                    <a:pt x="404" y="50"/>
                    <a:pt x="402" y="51"/>
                  </a:cubicBezTo>
                  <a:cubicBezTo>
                    <a:pt x="401" y="52"/>
                    <a:pt x="402" y="54"/>
                    <a:pt x="402" y="55"/>
                  </a:cubicBezTo>
                  <a:cubicBezTo>
                    <a:pt x="401" y="56"/>
                    <a:pt x="401" y="55"/>
                    <a:pt x="400" y="55"/>
                  </a:cubicBezTo>
                  <a:cubicBezTo>
                    <a:pt x="400" y="56"/>
                    <a:pt x="400" y="57"/>
                    <a:pt x="399" y="58"/>
                  </a:cubicBezTo>
                  <a:cubicBezTo>
                    <a:pt x="399" y="57"/>
                    <a:pt x="399" y="56"/>
                    <a:pt x="399" y="55"/>
                  </a:cubicBezTo>
                  <a:cubicBezTo>
                    <a:pt x="399" y="55"/>
                    <a:pt x="399" y="55"/>
                    <a:pt x="399" y="55"/>
                  </a:cubicBezTo>
                  <a:cubicBezTo>
                    <a:pt x="399" y="55"/>
                    <a:pt x="400" y="53"/>
                    <a:pt x="399" y="53"/>
                  </a:cubicBezTo>
                  <a:cubicBezTo>
                    <a:pt x="399" y="53"/>
                    <a:pt x="398" y="54"/>
                    <a:pt x="398" y="54"/>
                  </a:cubicBezTo>
                  <a:cubicBezTo>
                    <a:pt x="398" y="55"/>
                    <a:pt x="398" y="56"/>
                    <a:pt x="397" y="56"/>
                  </a:cubicBezTo>
                  <a:cubicBezTo>
                    <a:pt x="397" y="56"/>
                    <a:pt x="397" y="55"/>
                    <a:pt x="396" y="55"/>
                  </a:cubicBezTo>
                  <a:cubicBezTo>
                    <a:pt x="396" y="56"/>
                    <a:pt x="396" y="56"/>
                    <a:pt x="396" y="56"/>
                  </a:cubicBezTo>
                  <a:cubicBezTo>
                    <a:pt x="395" y="56"/>
                    <a:pt x="395" y="56"/>
                    <a:pt x="395" y="56"/>
                  </a:cubicBezTo>
                  <a:cubicBezTo>
                    <a:pt x="394" y="57"/>
                    <a:pt x="394" y="58"/>
                    <a:pt x="394" y="58"/>
                  </a:cubicBezTo>
                  <a:cubicBezTo>
                    <a:pt x="394" y="59"/>
                    <a:pt x="393" y="59"/>
                    <a:pt x="393" y="59"/>
                  </a:cubicBezTo>
                  <a:cubicBezTo>
                    <a:pt x="392" y="61"/>
                    <a:pt x="391" y="64"/>
                    <a:pt x="390" y="66"/>
                  </a:cubicBezTo>
                  <a:cubicBezTo>
                    <a:pt x="390" y="67"/>
                    <a:pt x="391" y="68"/>
                    <a:pt x="391" y="70"/>
                  </a:cubicBezTo>
                  <a:cubicBezTo>
                    <a:pt x="391" y="71"/>
                    <a:pt x="390" y="73"/>
                    <a:pt x="391" y="75"/>
                  </a:cubicBezTo>
                  <a:cubicBezTo>
                    <a:pt x="391" y="76"/>
                    <a:pt x="392" y="78"/>
                    <a:pt x="393" y="77"/>
                  </a:cubicBezTo>
                  <a:cubicBezTo>
                    <a:pt x="393" y="78"/>
                    <a:pt x="393" y="79"/>
                    <a:pt x="393" y="80"/>
                  </a:cubicBezTo>
                  <a:cubicBezTo>
                    <a:pt x="393" y="81"/>
                    <a:pt x="393" y="82"/>
                    <a:pt x="393" y="82"/>
                  </a:cubicBezTo>
                  <a:cubicBezTo>
                    <a:pt x="393" y="87"/>
                    <a:pt x="389" y="91"/>
                    <a:pt x="387" y="95"/>
                  </a:cubicBezTo>
                  <a:cubicBezTo>
                    <a:pt x="383" y="97"/>
                    <a:pt x="383" y="97"/>
                    <a:pt x="383" y="97"/>
                  </a:cubicBezTo>
                  <a:cubicBezTo>
                    <a:pt x="383" y="97"/>
                    <a:pt x="381" y="97"/>
                    <a:pt x="381" y="96"/>
                  </a:cubicBezTo>
                  <a:cubicBezTo>
                    <a:pt x="378" y="92"/>
                    <a:pt x="378" y="92"/>
                    <a:pt x="378" y="92"/>
                  </a:cubicBezTo>
                  <a:cubicBezTo>
                    <a:pt x="377" y="90"/>
                    <a:pt x="377" y="89"/>
                    <a:pt x="377" y="87"/>
                  </a:cubicBezTo>
                  <a:cubicBezTo>
                    <a:pt x="377" y="84"/>
                    <a:pt x="376" y="81"/>
                    <a:pt x="376" y="78"/>
                  </a:cubicBezTo>
                  <a:cubicBezTo>
                    <a:pt x="376" y="77"/>
                    <a:pt x="376" y="76"/>
                    <a:pt x="377" y="75"/>
                  </a:cubicBezTo>
                  <a:cubicBezTo>
                    <a:pt x="377" y="73"/>
                    <a:pt x="377" y="71"/>
                    <a:pt x="378" y="68"/>
                  </a:cubicBezTo>
                  <a:cubicBezTo>
                    <a:pt x="378" y="67"/>
                    <a:pt x="379" y="65"/>
                    <a:pt x="380" y="63"/>
                  </a:cubicBezTo>
                  <a:cubicBezTo>
                    <a:pt x="380" y="62"/>
                    <a:pt x="381" y="60"/>
                    <a:pt x="381" y="59"/>
                  </a:cubicBezTo>
                  <a:cubicBezTo>
                    <a:pt x="382" y="58"/>
                    <a:pt x="382" y="58"/>
                    <a:pt x="381" y="57"/>
                  </a:cubicBezTo>
                  <a:cubicBezTo>
                    <a:pt x="382" y="58"/>
                    <a:pt x="383" y="56"/>
                    <a:pt x="384" y="55"/>
                  </a:cubicBezTo>
                  <a:cubicBezTo>
                    <a:pt x="385" y="54"/>
                    <a:pt x="385" y="53"/>
                    <a:pt x="385" y="51"/>
                  </a:cubicBezTo>
                  <a:cubicBezTo>
                    <a:pt x="384" y="52"/>
                    <a:pt x="384" y="52"/>
                    <a:pt x="383" y="53"/>
                  </a:cubicBezTo>
                  <a:cubicBezTo>
                    <a:pt x="383" y="53"/>
                    <a:pt x="383" y="53"/>
                    <a:pt x="383" y="53"/>
                  </a:cubicBezTo>
                  <a:cubicBezTo>
                    <a:pt x="382" y="54"/>
                    <a:pt x="382" y="54"/>
                    <a:pt x="382" y="54"/>
                  </a:cubicBezTo>
                  <a:cubicBezTo>
                    <a:pt x="382" y="55"/>
                    <a:pt x="382" y="55"/>
                    <a:pt x="382" y="55"/>
                  </a:cubicBezTo>
                  <a:cubicBezTo>
                    <a:pt x="381" y="56"/>
                    <a:pt x="381" y="56"/>
                    <a:pt x="381" y="57"/>
                  </a:cubicBezTo>
                  <a:cubicBezTo>
                    <a:pt x="381" y="57"/>
                    <a:pt x="381" y="57"/>
                    <a:pt x="381" y="57"/>
                  </a:cubicBezTo>
                  <a:cubicBezTo>
                    <a:pt x="380" y="56"/>
                    <a:pt x="379" y="57"/>
                    <a:pt x="378" y="58"/>
                  </a:cubicBezTo>
                  <a:cubicBezTo>
                    <a:pt x="378" y="59"/>
                    <a:pt x="377" y="60"/>
                    <a:pt x="376" y="60"/>
                  </a:cubicBezTo>
                  <a:cubicBezTo>
                    <a:pt x="376" y="61"/>
                    <a:pt x="376" y="61"/>
                    <a:pt x="375" y="61"/>
                  </a:cubicBezTo>
                  <a:cubicBezTo>
                    <a:pt x="375" y="60"/>
                    <a:pt x="375" y="60"/>
                    <a:pt x="375" y="60"/>
                  </a:cubicBezTo>
                  <a:cubicBezTo>
                    <a:pt x="375" y="59"/>
                    <a:pt x="375" y="58"/>
                    <a:pt x="376" y="58"/>
                  </a:cubicBezTo>
                  <a:cubicBezTo>
                    <a:pt x="376" y="57"/>
                    <a:pt x="376" y="56"/>
                    <a:pt x="377" y="56"/>
                  </a:cubicBezTo>
                  <a:cubicBezTo>
                    <a:pt x="377" y="56"/>
                    <a:pt x="377" y="56"/>
                    <a:pt x="378" y="56"/>
                  </a:cubicBezTo>
                  <a:cubicBezTo>
                    <a:pt x="378" y="55"/>
                    <a:pt x="379" y="54"/>
                    <a:pt x="379" y="54"/>
                  </a:cubicBezTo>
                  <a:cubicBezTo>
                    <a:pt x="380" y="52"/>
                    <a:pt x="381" y="51"/>
                    <a:pt x="382" y="50"/>
                  </a:cubicBezTo>
                  <a:cubicBezTo>
                    <a:pt x="382" y="49"/>
                    <a:pt x="382" y="49"/>
                    <a:pt x="383" y="48"/>
                  </a:cubicBezTo>
                  <a:cubicBezTo>
                    <a:pt x="382" y="48"/>
                    <a:pt x="382" y="48"/>
                    <a:pt x="382" y="48"/>
                  </a:cubicBezTo>
                  <a:cubicBezTo>
                    <a:pt x="382" y="48"/>
                    <a:pt x="383" y="48"/>
                    <a:pt x="383" y="47"/>
                  </a:cubicBezTo>
                  <a:cubicBezTo>
                    <a:pt x="384" y="46"/>
                    <a:pt x="385" y="45"/>
                    <a:pt x="385" y="43"/>
                  </a:cubicBezTo>
                  <a:cubicBezTo>
                    <a:pt x="385" y="44"/>
                    <a:pt x="386" y="45"/>
                    <a:pt x="385" y="46"/>
                  </a:cubicBezTo>
                  <a:cubicBezTo>
                    <a:pt x="386" y="46"/>
                    <a:pt x="387" y="46"/>
                    <a:pt x="387" y="45"/>
                  </a:cubicBezTo>
                  <a:cubicBezTo>
                    <a:pt x="387" y="45"/>
                    <a:pt x="387" y="44"/>
                    <a:pt x="387" y="44"/>
                  </a:cubicBezTo>
                  <a:cubicBezTo>
                    <a:pt x="387" y="44"/>
                    <a:pt x="390" y="44"/>
                    <a:pt x="390" y="44"/>
                  </a:cubicBezTo>
                  <a:cubicBezTo>
                    <a:pt x="391" y="45"/>
                    <a:pt x="387" y="46"/>
                    <a:pt x="389" y="47"/>
                  </a:cubicBezTo>
                  <a:cubicBezTo>
                    <a:pt x="390" y="46"/>
                    <a:pt x="390" y="46"/>
                    <a:pt x="391" y="45"/>
                  </a:cubicBezTo>
                  <a:cubicBezTo>
                    <a:pt x="391" y="45"/>
                    <a:pt x="392" y="45"/>
                    <a:pt x="392" y="45"/>
                  </a:cubicBezTo>
                  <a:cubicBezTo>
                    <a:pt x="392" y="45"/>
                    <a:pt x="392" y="44"/>
                    <a:pt x="392" y="44"/>
                  </a:cubicBezTo>
                  <a:cubicBezTo>
                    <a:pt x="393" y="43"/>
                    <a:pt x="395" y="43"/>
                    <a:pt x="396" y="43"/>
                  </a:cubicBezTo>
                  <a:cubicBezTo>
                    <a:pt x="396" y="42"/>
                    <a:pt x="399" y="43"/>
                    <a:pt x="399" y="42"/>
                  </a:cubicBezTo>
                  <a:cubicBezTo>
                    <a:pt x="400" y="42"/>
                    <a:pt x="400" y="41"/>
                    <a:pt x="400" y="41"/>
                  </a:cubicBezTo>
                  <a:cubicBezTo>
                    <a:pt x="401" y="41"/>
                    <a:pt x="402" y="41"/>
                    <a:pt x="403" y="41"/>
                  </a:cubicBezTo>
                  <a:cubicBezTo>
                    <a:pt x="403" y="41"/>
                    <a:pt x="404" y="42"/>
                    <a:pt x="405" y="42"/>
                  </a:cubicBezTo>
                  <a:cubicBezTo>
                    <a:pt x="406" y="42"/>
                    <a:pt x="407" y="44"/>
                    <a:pt x="408" y="44"/>
                  </a:cubicBezTo>
                  <a:cubicBezTo>
                    <a:pt x="409" y="44"/>
                    <a:pt x="408" y="42"/>
                    <a:pt x="409" y="42"/>
                  </a:cubicBezTo>
                  <a:cubicBezTo>
                    <a:pt x="410" y="41"/>
                    <a:pt x="412" y="42"/>
                    <a:pt x="412" y="42"/>
                  </a:cubicBezTo>
                  <a:cubicBezTo>
                    <a:pt x="413" y="42"/>
                    <a:pt x="414" y="43"/>
                    <a:pt x="415" y="43"/>
                  </a:cubicBezTo>
                  <a:cubicBezTo>
                    <a:pt x="415" y="43"/>
                    <a:pt x="417" y="43"/>
                    <a:pt x="417" y="43"/>
                  </a:cubicBezTo>
                  <a:cubicBezTo>
                    <a:pt x="417" y="42"/>
                    <a:pt x="416" y="41"/>
                    <a:pt x="415" y="41"/>
                  </a:cubicBezTo>
                  <a:cubicBezTo>
                    <a:pt x="415" y="41"/>
                    <a:pt x="416" y="41"/>
                    <a:pt x="416" y="41"/>
                  </a:cubicBezTo>
                  <a:cubicBezTo>
                    <a:pt x="415" y="40"/>
                    <a:pt x="414" y="40"/>
                    <a:pt x="414" y="39"/>
                  </a:cubicBezTo>
                  <a:cubicBezTo>
                    <a:pt x="414" y="39"/>
                    <a:pt x="414" y="37"/>
                    <a:pt x="413" y="37"/>
                  </a:cubicBezTo>
                  <a:cubicBezTo>
                    <a:pt x="413" y="36"/>
                    <a:pt x="413" y="36"/>
                    <a:pt x="412" y="36"/>
                  </a:cubicBezTo>
                  <a:cubicBezTo>
                    <a:pt x="412" y="36"/>
                    <a:pt x="412" y="36"/>
                    <a:pt x="412" y="36"/>
                  </a:cubicBezTo>
                  <a:cubicBezTo>
                    <a:pt x="411" y="36"/>
                    <a:pt x="411" y="36"/>
                    <a:pt x="411" y="36"/>
                  </a:cubicBezTo>
                  <a:cubicBezTo>
                    <a:pt x="411" y="36"/>
                    <a:pt x="411" y="36"/>
                    <a:pt x="411" y="36"/>
                  </a:cubicBezTo>
                  <a:cubicBezTo>
                    <a:pt x="411" y="36"/>
                    <a:pt x="411" y="36"/>
                    <a:pt x="411" y="36"/>
                  </a:cubicBezTo>
                  <a:cubicBezTo>
                    <a:pt x="410" y="36"/>
                    <a:pt x="410" y="36"/>
                    <a:pt x="410" y="35"/>
                  </a:cubicBezTo>
                  <a:cubicBezTo>
                    <a:pt x="409" y="35"/>
                    <a:pt x="407" y="35"/>
                    <a:pt x="406" y="35"/>
                  </a:cubicBezTo>
                  <a:cubicBezTo>
                    <a:pt x="405" y="35"/>
                    <a:pt x="406" y="33"/>
                    <a:pt x="406" y="32"/>
                  </a:cubicBezTo>
                  <a:cubicBezTo>
                    <a:pt x="405" y="32"/>
                    <a:pt x="403" y="33"/>
                    <a:pt x="401" y="33"/>
                  </a:cubicBezTo>
                  <a:cubicBezTo>
                    <a:pt x="399" y="33"/>
                    <a:pt x="396" y="34"/>
                    <a:pt x="394" y="34"/>
                  </a:cubicBezTo>
                  <a:cubicBezTo>
                    <a:pt x="393" y="34"/>
                    <a:pt x="392" y="35"/>
                    <a:pt x="391" y="35"/>
                  </a:cubicBezTo>
                  <a:cubicBezTo>
                    <a:pt x="391" y="36"/>
                    <a:pt x="390" y="36"/>
                    <a:pt x="389" y="36"/>
                  </a:cubicBezTo>
                  <a:cubicBezTo>
                    <a:pt x="388" y="37"/>
                    <a:pt x="388" y="36"/>
                    <a:pt x="386" y="36"/>
                  </a:cubicBezTo>
                  <a:cubicBezTo>
                    <a:pt x="385" y="35"/>
                    <a:pt x="383" y="35"/>
                    <a:pt x="381" y="35"/>
                  </a:cubicBezTo>
                  <a:cubicBezTo>
                    <a:pt x="381" y="35"/>
                    <a:pt x="379" y="33"/>
                    <a:pt x="379" y="32"/>
                  </a:cubicBezTo>
                  <a:cubicBezTo>
                    <a:pt x="378" y="31"/>
                    <a:pt x="375" y="31"/>
                    <a:pt x="373" y="30"/>
                  </a:cubicBezTo>
                  <a:cubicBezTo>
                    <a:pt x="373" y="30"/>
                    <a:pt x="374" y="30"/>
                    <a:pt x="374" y="30"/>
                  </a:cubicBezTo>
                  <a:cubicBezTo>
                    <a:pt x="372" y="31"/>
                    <a:pt x="371" y="31"/>
                    <a:pt x="370" y="33"/>
                  </a:cubicBezTo>
                  <a:cubicBezTo>
                    <a:pt x="370" y="32"/>
                    <a:pt x="371" y="31"/>
                    <a:pt x="371" y="30"/>
                  </a:cubicBezTo>
                  <a:cubicBezTo>
                    <a:pt x="370" y="30"/>
                    <a:pt x="370" y="29"/>
                    <a:pt x="370" y="28"/>
                  </a:cubicBezTo>
                  <a:cubicBezTo>
                    <a:pt x="370" y="28"/>
                    <a:pt x="369" y="28"/>
                    <a:pt x="369" y="27"/>
                  </a:cubicBezTo>
                  <a:cubicBezTo>
                    <a:pt x="368" y="27"/>
                    <a:pt x="369" y="27"/>
                    <a:pt x="369" y="27"/>
                  </a:cubicBezTo>
                  <a:cubicBezTo>
                    <a:pt x="368" y="26"/>
                    <a:pt x="366" y="28"/>
                    <a:pt x="366" y="28"/>
                  </a:cubicBezTo>
                  <a:cubicBezTo>
                    <a:pt x="363" y="29"/>
                    <a:pt x="359" y="31"/>
                    <a:pt x="356" y="32"/>
                  </a:cubicBezTo>
                  <a:cubicBezTo>
                    <a:pt x="356" y="32"/>
                    <a:pt x="356" y="32"/>
                    <a:pt x="356" y="32"/>
                  </a:cubicBezTo>
                  <a:cubicBezTo>
                    <a:pt x="356" y="32"/>
                    <a:pt x="356" y="32"/>
                    <a:pt x="356" y="32"/>
                  </a:cubicBezTo>
                  <a:cubicBezTo>
                    <a:pt x="354" y="33"/>
                    <a:pt x="352" y="34"/>
                    <a:pt x="351" y="35"/>
                  </a:cubicBezTo>
                  <a:cubicBezTo>
                    <a:pt x="350" y="35"/>
                    <a:pt x="347" y="34"/>
                    <a:pt x="346" y="33"/>
                  </a:cubicBezTo>
                  <a:cubicBezTo>
                    <a:pt x="345" y="33"/>
                    <a:pt x="347" y="32"/>
                    <a:pt x="347" y="31"/>
                  </a:cubicBezTo>
                  <a:cubicBezTo>
                    <a:pt x="347" y="29"/>
                    <a:pt x="342" y="32"/>
                    <a:pt x="341" y="32"/>
                  </a:cubicBezTo>
                  <a:cubicBezTo>
                    <a:pt x="340" y="32"/>
                    <a:pt x="338" y="33"/>
                    <a:pt x="337" y="33"/>
                  </a:cubicBezTo>
                  <a:cubicBezTo>
                    <a:pt x="336" y="33"/>
                    <a:pt x="335" y="33"/>
                    <a:pt x="333" y="33"/>
                  </a:cubicBezTo>
                  <a:cubicBezTo>
                    <a:pt x="337" y="30"/>
                    <a:pt x="340" y="27"/>
                    <a:pt x="344" y="24"/>
                  </a:cubicBezTo>
                  <a:cubicBezTo>
                    <a:pt x="345" y="23"/>
                    <a:pt x="346" y="22"/>
                    <a:pt x="348" y="21"/>
                  </a:cubicBezTo>
                  <a:cubicBezTo>
                    <a:pt x="351" y="20"/>
                    <a:pt x="353" y="19"/>
                    <a:pt x="356" y="18"/>
                  </a:cubicBezTo>
                  <a:cubicBezTo>
                    <a:pt x="355" y="18"/>
                    <a:pt x="355" y="18"/>
                    <a:pt x="355" y="18"/>
                  </a:cubicBezTo>
                  <a:cubicBezTo>
                    <a:pt x="354" y="18"/>
                    <a:pt x="349" y="17"/>
                    <a:pt x="348" y="17"/>
                  </a:cubicBezTo>
                  <a:cubicBezTo>
                    <a:pt x="346" y="17"/>
                    <a:pt x="346" y="16"/>
                    <a:pt x="346" y="15"/>
                  </a:cubicBezTo>
                  <a:cubicBezTo>
                    <a:pt x="345" y="15"/>
                    <a:pt x="345" y="16"/>
                    <a:pt x="344" y="16"/>
                  </a:cubicBezTo>
                  <a:cubicBezTo>
                    <a:pt x="340" y="19"/>
                    <a:pt x="336" y="16"/>
                    <a:pt x="335" y="14"/>
                  </a:cubicBezTo>
                  <a:cubicBezTo>
                    <a:pt x="335" y="14"/>
                    <a:pt x="335" y="14"/>
                    <a:pt x="335" y="14"/>
                  </a:cubicBezTo>
                  <a:cubicBezTo>
                    <a:pt x="335" y="14"/>
                    <a:pt x="335" y="14"/>
                    <a:pt x="334" y="14"/>
                  </a:cubicBezTo>
                  <a:cubicBezTo>
                    <a:pt x="334" y="14"/>
                    <a:pt x="334" y="13"/>
                    <a:pt x="333" y="13"/>
                  </a:cubicBezTo>
                  <a:cubicBezTo>
                    <a:pt x="333" y="14"/>
                    <a:pt x="333" y="14"/>
                    <a:pt x="333" y="14"/>
                  </a:cubicBezTo>
                  <a:cubicBezTo>
                    <a:pt x="333" y="14"/>
                    <a:pt x="333" y="14"/>
                    <a:pt x="333" y="14"/>
                  </a:cubicBezTo>
                  <a:cubicBezTo>
                    <a:pt x="332" y="15"/>
                    <a:pt x="331" y="15"/>
                    <a:pt x="331" y="15"/>
                  </a:cubicBezTo>
                  <a:cubicBezTo>
                    <a:pt x="330" y="15"/>
                    <a:pt x="329" y="13"/>
                    <a:pt x="329" y="12"/>
                  </a:cubicBezTo>
                  <a:cubicBezTo>
                    <a:pt x="329" y="12"/>
                    <a:pt x="327" y="11"/>
                    <a:pt x="325" y="10"/>
                  </a:cubicBezTo>
                  <a:cubicBezTo>
                    <a:pt x="325" y="10"/>
                    <a:pt x="325" y="10"/>
                    <a:pt x="325" y="10"/>
                  </a:cubicBezTo>
                  <a:cubicBezTo>
                    <a:pt x="324" y="10"/>
                    <a:pt x="324" y="10"/>
                    <a:pt x="324" y="10"/>
                  </a:cubicBezTo>
                  <a:cubicBezTo>
                    <a:pt x="323" y="10"/>
                    <a:pt x="322" y="10"/>
                    <a:pt x="321" y="10"/>
                  </a:cubicBezTo>
                  <a:cubicBezTo>
                    <a:pt x="318" y="13"/>
                    <a:pt x="312" y="10"/>
                    <a:pt x="312" y="9"/>
                  </a:cubicBezTo>
                  <a:cubicBezTo>
                    <a:pt x="311" y="9"/>
                    <a:pt x="311" y="9"/>
                    <a:pt x="310" y="9"/>
                  </a:cubicBezTo>
                  <a:cubicBezTo>
                    <a:pt x="309" y="9"/>
                    <a:pt x="308" y="9"/>
                    <a:pt x="307" y="8"/>
                  </a:cubicBezTo>
                  <a:cubicBezTo>
                    <a:pt x="307" y="7"/>
                    <a:pt x="305" y="3"/>
                    <a:pt x="305" y="1"/>
                  </a:cubicBezTo>
                  <a:cubicBezTo>
                    <a:pt x="305" y="1"/>
                    <a:pt x="305" y="1"/>
                    <a:pt x="304" y="0"/>
                  </a:cubicBezTo>
                  <a:cubicBezTo>
                    <a:pt x="304" y="2"/>
                    <a:pt x="304" y="3"/>
                    <a:pt x="304" y="4"/>
                  </a:cubicBezTo>
                  <a:cubicBezTo>
                    <a:pt x="303" y="4"/>
                    <a:pt x="303" y="4"/>
                    <a:pt x="303" y="4"/>
                  </a:cubicBezTo>
                  <a:cubicBezTo>
                    <a:pt x="303" y="5"/>
                    <a:pt x="302" y="5"/>
                    <a:pt x="296" y="5"/>
                  </a:cubicBezTo>
                  <a:cubicBezTo>
                    <a:pt x="296" y="5"/>
                    <a:pt x="296" y="5"/>
                    <a:pt x="296" y="5"/>
                  </a:cubicBezTo>
                  <a:cubicBezTo>
                    <a:pt x="278" y="5"/>
                    <a:pt x="278" y="5"/>
                    <a:pt x="278" y="5"/>
                  </a:cubicBezTo>
                  <a:cubicBezTo>
                    <a:pt x="248" y="5"/>
                    <a:pt x="211" y="5"/>
                    <a:pt x="211" y="5"/>
                  </a:cubicBezTo>
                  <a:cubicBezTo>
                    <a:pt x="210" y="5"/>
                    <a:pt x="207" y="5"/>
                    <a:pt x="207" y="5"/>
                  </a:cubicBezTo>
                  <a:cubicBezTo>
                    <a:pt x="207" y="5"/>
                    <a:pt x="206" y="5"/>
                    <a:pt x="203" y="5"/>
                  </a:cubicBezTo>
                  <a:cubicBezTo>
                    <a:pt x="203" y="5"/>
                    <a:pt x="203" y="5"/>
                    <a:pt x="203" y="5"/>
                  </a:cubicBezTo>
                  <a:cubicBezTo>
                    <a:pt x="202" y="5"/>
                    <a:pt x="200" y="5"/>
                    <a:pt x="197" y="5"/>
                  </a:cubicBezTo>
                  <a:cubicBezTo>
                    <a:pt x="183" y="5"/>
                    <a:pt x="183" y="5"/>
                    <a:pt x="183" y="5"/>
                  </a:cubicBezTo>
                  <a:cubicBezTo>
                    <a:pt x="174" y="5"/>
                    <a:pt x="164" y="5"/>
                    <a:pt x="162" y="5"/>
                  </a:cubicBezTo>
                  <a:cubicBezTo>
                    <a:pt x="48" y="5"/>
                    <a:pt x="48" y="5"/>
                    <a:pt x="48" y="5"/>
                  </a:cubicBezTo>
                  <a:cubicBezTo>
                    <a:pt x="21" y="5"/>
                    <a:pt x="21" y="5"/>
                    <a:pt x="21" y="5"/>
                  </a:cubicBezTo>
                  <a:cubicBezTo>
                    <a:pt x="20" y="5"/>
                    <a:pt x="20" y="5"/>
                    <a:pt x="20" y="5"/>
                  </a:cubicBezTo>
                  <a:cubicBezTo>
                    <a:pt x="20" y="6"/>
                    <a:pt x="21" y="6"/>
                    <a:pt x="21" y="6"/>
                  </a:cubicBezTo>
                  <a:cubicBezTo>
                    <a:pt x="22" y="7"/>
                    <a:pt x="21" y="7"/>
                    <a:pt x="23" y="7"/>
                  </a:cubicBezTo>
                  <a:cubicBezTo>
                    <a:pt x="22" y="8"/>
                    <a:pt x="23" y="8"/>
                    <a:pt x="23" y="9"/>
                  </a:cubicBezTo>
                  <a:cubicBezTo>
                    <a:pt x="23" y="9"/>
                    <a:pt x="23" y="10"/>
                    <a:pt x="23" y="10"/>
                  </a:cubicBezTo>
                  <a:cubicBezTo>
                    <a:pt x="23" y="10"/>
                    <a:pt x="23" y="10"/>
                    <a:pt x="23" y="11"/>
                  </a:cubicBezTo>
                  <a:cubicBezTo>
                    <a:pt x="23" y="11"/>
                    <a:pt x="22" y="11"/>
                    <a:pt x="21" y="11"/>
                  </a:cubicBezTo>
                  <a:cubicBezTo>
                    <a:pt x="22" y="11"/>
                    <a:pt x="24" y="12"/>
                    <a:pt x="24" y="13"/>
                  </a:cubicBezTo>
                  <a:cubicBezTo>
                    <a:pt x="24" y="14"/>
                    <a:pt x="24" y="15"/>
                    <a:pt x="25" y="16"/>
                  </a:cubicBezTo>
                  <a:cubicBezTo>
                    <a:pt x="25" y="16"/>
                    <a:pt x="26" y="16"/>
                    <a:pt x="26" y="17"/>
                  </a:cubicBezTo>
                  <a:cubicBezTo>
                    <a:pt x="26" y="17"/>
                    <a:pt x="25" y="17"/>
                    <a:pt x="25" y="17"/>
                  </a:cubicBezTo>
                  <a:cubicBezTo>
                    <a:pt x="25" y="18"/>
                    <a:pt x="24" y="18"/>
                    <a:pt x="24" y="18"/>
                  </a:cubicBezTo>
                  <a:cubicBezTo>
                    <a:pt x="24" y="19"/>
                    <a:pt x="24" y="19"/>
                    <a:pt x="24" y="19"/>
                  </a:cubicBezTo>
                  <a:cubicBezTo>
                    <a:pt x="24" y="19"/>
                    <a:pt x="24" y="20"/>
                    <a:pt x="24" y="20"/>
                  </a:cubicBezTo>
                  <a:cubicBezTo>
                    <a:pt x="24" y="20"/>
                    <a:pt x="24" y="20"/>
                    <a:pt x="24" y="21"/>
                  </a:cubicBezTo>
                  <a:cubicBezTo>
                    <a:pt x="24" y="21"/>
                    <a:pt x="24" y="21"/>
                    <a:pt x="24" y="21"/>
                  </a:cubicBezTo>
                  <a:cubicBezTo>
                    <a:pt x="24" y="21"/>
                    <a:pt x="24" y="22"/>
                    <a:pt x="24" y="22"/>
                  </a:cubicBezTo>
                  <a:cubicBezTo>
                    <a:pt x="24" y="22"/>
                    <a:pt x="24" y="22"/>
                    <a:pt x="24" y="23"/>
                  </a:cubicBezTo>
                  <a:cubicBezTo>
                    <a:pt x="24" y="23"/>
                    <a:pt x="24" y="23"/>
                    <a:pt x="24" y="23"/>
                  </a:cubicBezTo>
                  <a:cubicBezTo>
                    <a:pt x="24" y="23"/>
                    <a:pt x="24" y="24"/>
                    <a:pt x="24" y="24"/>
                  </a:cubicBezTo>
                  <a:cubicBezTo>
                    <a:pt x="24" y="25"/>
                    <a:pt x="24" y="24"/>
                    <a:pt x="24" y="25"/>
                  </a:cubicBezTo>
                  <a:cubicBezTo>
                    <a:pt x="24" y="26"/>
                    <a:pt x="23" y="26"/>
                    <a:pt x="22" y="27"/>
                  </a:cubicBezTo>
                  <a:cubicBezTo>
                    <a:pt x="21" y="28"/>
                    <a:pt x="20" y="28"/>
                    <a:pt x="19" y="28"/>
                  </a:cubicBezTo>
                  <a:cubicBezTo>
                    <a:pt x="19" y="29"/>
                    <a:pt x="19" y="29"/>
                    <a:pt x="19" y="29"/>
                  </a:cubicBezTo>
                  <a:cubicBezTo>
                    <a:pt x="18" y="29"/>
                    <a:pt x="18" y="28"/>
                    <a:pt x="18" y="27"/>
                  </a:cubicBezTo>
                  <a:cubicBezTo>
                    <a:pt x="18" y="27"/>
                    <a:pt x="18" y="28"/>
                    <a:pt x="17" y="28"/>
                  </a:cubicBezTo>
                  <a:cubicBezTo>
                    <a:pt x="17" y="28"/>
                    <a:pt x="18" y="27"/>
                    <a:pt x="18" y="27"/>
                  </a:cubicBezTo>
                  <a:cubicBezTo>
                    <a:pt x="18" y="27"/>
                    <a:pt x="18" y="26"/>
                    <a:pt x="18" y="26"/>
                  </a:cubicBezTo>
                  <a:cubicBezTo>
                    <a:pt x="19" y="25"/>
                    <a:pt x="20" y="25"/>
                    <a:pt x="20" y="24"/>
                  </a:cubicBezTo>
                  <a:cubicBezTo>
                    <a:pt x="20" y="25"/>
                    <a:pt x="19" y="26"/>
                    <a:pt x="20" y="27"/>
                  </a:cubicBezTo>
                  <a:cubicBezTo>
                    <a:pt x="20" y="26"/>
                    <a:pt x="20" y="25"/>
                    <a:pt x="21" y="24"/>
                  </a:cubicBezTo>
                  <a:cubicBezTo>
                    <a:pt x="21" y="24"/>
                    <a:pt x="21" y="24"/>
                    <a:pt x="21" y="24"/>
                  </a:cubicBezTo>
                  <a:cubicBezTo>
                    <a:pt x="21" y="24"/>
                    <a:pt x="21" y="24"/>
                    <a:pt x="21" y="24"/>
                  </a:cubicBezTo>
                  <a:cubicBezTo>
                    <a:pt x="21" y="25"/>
                    <a:pt x="21" y="25"/>
                    <a:pt x="21" y="26"/>
                  </a:cubicBezTo>
                  <a:cubicBezTo>
                    <a:pt x="24" y="25"/>
                    <a:pt x="22" y="21"/>
                    <a:pt x="21" y="20"/>
                  </a:cubicBezTo>
                  <a:cubicBezTo>
                    <a:pt x="21" y="20"/>
                    <a:pt x="23" y="20"/>
                    <a:pt x="23" y="20"/>
                  </a:cubicBezTo>
                  <a:cubicBezTo>
                    <a:pt x="23" y="19"/>
                    <a:pt x="23" y="18"/>
                    <a:pt x="23" y="18"/>
                  </a:cubicBezTo>
                  <a:cubicBezTo>
                    <a:pt x="22" y="19"/>
                    <a:pt x="21" y="19"/>
                    <a:pt x="20" y="20"/>
                  </a:cubicBezTo>
                  <a:cubicBezTo>
                    <a:pt x="20" y="21"/>
                    <a:pt x="19" y="21"/>
                    <a:pt x="18" y="22"/>
                  </a:cubicBezTo>
                  <a:cubicBezTo>
                    <a:pt x="18" y="22"/>
                    <a:pt x="17" y="23"/>
                    <a:pt x="17" y="24"/>
                  </a:cubicBezTo>
                  <a:cubicBezTo>
                    <a:pt x="17" y="24"/>
                    <a:pt x="16" y="24"/>
                    <a:pt x="17" y="24"/>
                  </a:cubicBezTo>
                  <a:cubicBezTo>
                    <a:pt x="18" y="25"/>
                    <a:pt x="19" y="24"/>
                    <a:pt x="19" y="24"/>
                  </a:cubicBezTo>
                  <a:cubicBezTo>
                    <a:pt x="19" y="24"/>
                    <a:pt x="17" y="26"/>
                    <a:pt x="16" y="25"/>
                  </a:cubicBezTo>
                  <a:cubicBezTo>
                    <a:pt x="16" y="24"/>
                    <a:pt x="17" y="23"/>
                    <a:pt x="18" y="22"/>
                  </a:cubicBezTo>
                  <a:cubicBezTo>
                    <a:pt x="18" y="21"/>
                    <a:pt x="19" y="21"/>
                    <a:pt x="19" y="20"/>
                  </a:cubicBezTo>
                  <a:cubicBezTo>
                    <a:pt x="19" y="20"/>
                    <a:pt x="19" y="19"/>
                    <a:pt x="20" y="19"/>
                  </a:cubicBezTo>
                  <a:cubicBezTo>
                    <a:pt x="20" y="19"/>
                    <a:pt x="20" y="20"/>
                    <a:pt x="19" y="20"/>
                  </a:cubicBezTo>
                  <a:cubicBezTo>
                    <a:pt x="20" y="20"/>
                    <a:pt x="21" y="19"/>
                    <a:pt x="21" y="19"/>
                  </a:cubicBezTo>
                  <a:cubicBezTo>
                    <a:pt x="21" y="18"/>
                    <a:pt x="22" y="18"/>
                    <a:pt x="21" y="17"/>
                  </a:cubicBezTo>
                  <a:cubicBezTo>
                    <a:pt x="20" y="17"/>
                    <a:pt x="20" y="15"/>
                    <a:pt x="20" y="15"/>
                  </a:cubicBezTo>
                  <a:cubicBezTo>
                    <a:pt x="20" y="15"/>
                    <a:pt x="20" y="16"/>
                    <a:pt x="19" y="16"/>
                  </a:cubicBezTo>
                  <a:cubicBezTo>
                    <a:pt x="19" y="17"/>
                    <a:pt x="17" y="15"/>
                    <a:pt x="16" y="14"/>
                  </a:cubicBezTo>
                  <a:cubicBezTo>
                    <a:pt x="14" y="14"/>
                    <a:pt x="11" y="15"/>
                    <a:pt x="9" y="14"/>
                  </a:cubicBezTo>
                  <a:cubicBezTo>
                    <a:pt x="6" y="14"/>
                    <a:pt x="3" y="13"/>
                    <a:pt x="0" y="11"/>
                  </a:cubicBezTo>
                  <a:cubicBezTo>
                    <a:pt x="0" y="13"/>
                    <a:pt x="0" y="15"/>
                    <a:pt x="1" y="17"/>
                  </a:cubicBezTo>
                  <a:cubicBezTo>
                    <a:pt x="1" y="19"/>
                    <a:pt x="3" y="21"/>
                    <a:pt x="4" y="23"/>
                  </a:cubicBezTo>
                  <a:cubicBezTo>
                    <a:pt x="4" y="24"/>
                    <a:pt x="4" y="24"/>
                    <a:pt x="4" y="25"/>
                  </a:cubicBezTo>
                  <a:cubicBezTo>
                    <a:pt x="5" y="26"/>
                    <a:pt x="5" y="27"/>
                    <a:pt x="6" y="28"/>
                  </a:cubicBezTo>
                  <a:cubicBezTo>
                    <a:pt x="6" y="28"/>
                    <a:pt x="6" y="29"/>
                    <a:pt x="6" y="30"/>
                  </a:cubicBezTo>
                  <a:cubicBezTo>
                    <a:pt x="6" y="27"/>
                    <a:pt x="7" y="30"/>
                    <a:pt x="9" y="30"/>
                  </a:cubicBezTo>
                  <a:cubicBezTo>
                    <a:pt x="9" y="30"/>
                    <a:pt x="7" y="30"/>
                    <a:pt x="7" y="31"/>
                  </a:cubicBezTo>
                  <a:cubicBezTo>
                    <a:pt x="7" y="31"/>
                    <a:pt x="6" y="31"/>
                    <a:pt x="6" y="31"/>
                  </a:cubicBezTo>
                  <a:cubicBezTo>
                    <a:pt x="6" y="31"/>
                    <a:pt x="6" y="32"/>
                    <a:pt x="7" y="32"/>
                  </a:cubicBezTo>
                  <a:cubicBezTo>
                    <a:pt x="7" y="33"/>
                    <a:pt x="9" y="32"/>
                    <a:pt x="9" y="33"/>
                  </a:cubicBezTo>
                  <a:cubicBezTo>
                    <a:pt x="8" y="33"/>
                    <a:pt x="8" y="34"/>
                    <a:pt x="8" y="34"/>
                  </a:cubicBezTo>
                  <a:cubicBezTo>
                    <a:pt x="8" y="34"/>
                    <a:pt x="8" y="34"/>
                    <a:pt x="8" y="34"/>
                  </a:cubicBezTo>
                  <a:cubicBezTo>
                    <a:pt x="8" y="35"/>
                    <a:pt x="8" y="35"/>
                    <a:pt x="9" y="36"/>
                  </a:cubicBezTo>
                  <a:cubicBezTo>
                    <a:pt x="9" y="36"/>
                    <a:pt x="8" y="37"/>
                    <a:pt x="8" y="37"/>
                  </a:cubicBezTo>
                  <a:cubicBezTo>
                    <a:pt x="7" y="38"/>
                    <a:pt x="7" y="35"/>
                    <a:pt x="7" y="34"/>
                  </a:cubicBezTo>
                  <a:cubicBezTo>
                    <a:pt x="7" y="36"/>
                    <a:pt x="7" y="37"/>
                    <a:pt x="7" y="39"/>
                  </a:cubicBezTo>
                  <a:cubicBezTo>
                    <a:pt x="10" y="39"/>
                    <a:pt x="13" y="40"/>
                    <a:pt x="16" y="40"/>
                  </a:cubicBezTo>
                  <a:cubicBezTo>
                    <a:pt x="14" y="40"/>
                    <a:pt x="12" y="40"/>
                    <a:pt x="11" y="41"/>
                  </a:cubicBezTo>
                  <a:cubicBezTo>
                    <a:pt x="9" y="41"/>
                    <a:pt x="9" y="40"/>
                    <a:pt x="8" y="40"/>
                  </a:cubicBezTo>
                  <a:cubicBezTo>
                    <a:pt x="8" y="41"/>
                    <a:pt x="7" y="43"/>
                    <a:pt x="8" y="45"/>
                  </a:cubicBezTo>
                  <a:cubicBezTo>
                    <a:pt x="8" y="46"/>
                    <a:pt x="8" y="46"/>
                    <a:pt x="8" y="47"/>
                  </a:cubicBezTo>
                  <a:cubicBezTo>
                    <a:pt x="8" y="48"/>
                    <a:pt x="8" y="49"/>
                    <a:pt x="8" y="49"/>
                  </a:cubicBezTo>
                  <a:cubicBezTo>
                    <a:pt x="8" y="50"/>
                    <a:pt x="8" y="51"/>
                    <a:pt x="8" y="51"/>
                  </a:cubicBezTo>
                  <a:cubicBezTo>
                    <a:pt x="8" y="53"/>
                    <a:pt x="7" y="55"/>
                    <a:pt x="7" y="57"/>
                  </a:cubicBezTo>
                  <a:cubicBezTo>
                    <a:pt x="7" y="58"/>
                    <a:pt x="7" y="60"/>
                    <a:pt x="7" y="62"/>
                  </a:cubicBezTo>
                  <a:cubicBezTo>
                    <a:pt x="6" y="64"/>
                    <a:pt x="6" y="66"/>
                    <a:pt x="6" y="68"/>
                  </a:cubicBezTo>
                  <a:cubicBezTo>
                    <a:pt x="6" y="68"/>
                    <a:pt x="6" y="69"/>
                    <a:pt x="6" y="70"/>
                  </a:cubicBezTo>
                  <a:cubicBezTo>
                    <a:pt x="6" y="70"/>
                    <a:pt x="6" y="71"/>
                    <a:pt x="6" y="72"/>
                  </a:cubicBezTo>
                  <a:cubicBezTo>
                    <a:pt x="5" y="73"/>
                    <a:pt x="5" y="74"/>
                    <a:pt x="4" y="75"/>
                  </a:cubicBezTo>
                  <a:cubicBezTo>
                    <a:pt x="5" y="75"/>
                    <a:pt x="5" y="75"/>
                    <a:pt x="5" y="74"/>
                  </a:cubicBezTo>
                  <a:cubicBezTo>
                    <a:pt x="5" y="75"/>
                    <a:pt x="6" y="75"/>
                    <a:pt x="6" y="76"/>
                  </a:cubicBezTo>
                  <a:cubicBezTo>
                    <a:pt x="6" y="75"/>
                    <a:pt x="5" y="75"/>
                    <a:pt x="5" y="75"/>
                  </a:cubicBezTo>
                  <a:cubicBezTo>
                    <a:pt x="4" y="77"/>
                    <a:pt x="2" y="80"/>
                    <a:pt x="2" y="82"/>
                  </a:cubicBezTo>
                  <a:cubicBezTo>
                    <a:pt x="2" y="83"/>
                    <a:pt x="2" y="83"/>
                    <a:pt x="3" y="83"/>
                  </a:cubicBezTo>
                  <a:cubicBezTo>
                    <a:pt x="3" y="84"/>
                    <a:pt x="3" y="84"/>
                    <a:pt x="3" y="86"/>
                  </a:cubicBezTo>
                  <a:cubicBezTo>
                    <a:pt x="3" y="87"/>
                    <a:pt x="3" y="88"/>
                    <a:pt x="3" y="89"/>
                  </a:cubicBezTo>
                  <a:cubicBezTo>
                    <a:pt x="4" y="90"/>
                    <a:pt x="4" y="91"/>
                    <a:pt x="5" y="92"/>
                  </a:cubicBezTo>
                  <a:cubicBezTo>
                    <a:pt x="6" y="93"/>
                    <a:pt x="5" y="95"/>
                    <a:pt x="5" y="95"/>
                  </a:cubicBezTo>
                  <a:cubicBezTo>
                    <a:pt x="6" y="97"/>
                    <a:pt x="6" y="100"/>
                    <a:pt x="6" y="102"/>
                  </a:cubicBezTo>
                  <a:cubicBezTo>
                    <a:pt x="6" y="102"/>
                    <a:pt x="6" y="107"/>
                    <a:pt x="5" y="107"/>
                  </a:cubicBezTo>
                  <a:cubicBezTo>
                    <a:pt x="5" y="107"/>
                    <a:pt x="5" y="107"/>
                    <a:pt x="5" y="107"/>
                  </a:cubicBezTo>
                  <a:cubicBezTo>
                    <a:pt x="6" y="107"/>
                    <a:pt x="6" y="106"/>
                    <a:pt x="7" y="106"/>
                  </a:cubicBezTo>
                  <a:cubicBezTo>
                    <a:pt x="6" y="107"/>
                    <a:pt x="5" y="108"/>
                    <a:pt x="5" y="108"/>
                  </a:cubicBezTo>
                  <a:cubicBezTo>
                    <a:pt x="4" y="109"/>
                    <a:pt x="3" y="111"/>
                    <a:pt x="4" y="112"/>
                  </a:cubicBezTo>
                  <a:cubicBezTo>
                    <a:pt x="4" y="113"/>
                    <a:pt x="7" y="117"/>
                    <a:pt x="8" y="117"/>
                  </a:cubicBezTo>
                  <a:cubicBezTo>
                    <a:pt x="8" y="117"/>
                    <a:pt x="8" y="117"/>
                    <a:pt x="8" y="117"/>
                  </a:cubicBezTo>
                  <a:cubicBezTo>
                    <a:pt x="8" y="118"/>
                    <a:pt x="10" y="120"/>
                    <a:pt x="10" y="122"/>
                  </a:cubicBezTo>
                  <a:cubicBezTo>
                    <a:pt x="10" y="122"/>
                    <a:pt x="10" y="123"/>
                    <a:pt x="10" y="123"/>
                  </a:cubicBezTo>
                  <a:cubicBezTo>
                    <a:pt x="9" y="125"/>
                    <a:pt x="10" y="126"/>
                    <a:pt x="11" y="127"/>
                  </a:cubicBezTo>
                  <a:cubicBezTo>
                    <a:pt x="11" y="129"/>
                    <a:pt x="10" y="129"/>
                    <a:pt x="11" y="130"/>
                  </a:cubicBezTo>
                  <a:cubicBezTo>
                    <a:pt x="13" y="133"/>
                    <a:pt x="15" y="136"/>
                    <a:pt x="18" y="139"/>
                  </a:cubicBezTo>
                  <a:cubicBezTo>
                    <a:pt x="18" y="139"/>
                    <a:pt x="18" y="140"/>
                    <a:pt x="18" y="140"/>
                  </a:cubicBezTo>
                  <a:cubicBezTo>
                    <a:pt x="19" y="139"/>
                    <a:pt x="20" y="141"/>
                    <a:pt x="21" y="142"/>
                  </a:cubicBezTo>
                  <a:cubicBezTo>
                    <a:pt x="21" y="142"/>
                    <a:pt x="21" y="142"/>
                    <a:pt x="21" y="141"/>
                  </a:cubicBezTo>
                  <a:cubicBezTo>
                    <a:pt x="21" y="142"/>
                    <a:pt x="24" y="143"/>
                    <a:pt x="23" y="142"/>
                  </a:cubicBezTo>
                  <a:cubicBezTo>
                    <a:pt x="23" y="142"/>
                    <a:pt x="23" y="142"/>
                    <a:pt x="23" y="142"/>
                  </a:cubicBezTo>
                  <a:cubicBezTo>
                    <a:pt x="23" y="142"/>
                    <a:pt x="23" y="141"/>
                    <a:pt x="23" y="141"/>
                  </a:cubicBezTo>
                  <a:cubicBezTo>
                    <a:pt x="23" y="141"/>
                    <a:pt x="23" y="140"/>
                    <a:pt x="23" y="140"/>
                  </a:cubicBezTo>
                  <a:cubicBezTo>
                    <a:pt x="23" y="139"/>
                    <a:pt x="23" y="139"/>
                    <a:pt x="24" y="139"/>
                  </a:cubicBezTo>
                  <a:cubicBezTo>
                    <a:pt x="24" y="139"/>
                    <a:pt x="25" y="140"/>
                    <a:pt x="26" y="140"/>
                  </a:cubicBezTo>
                  <a:cubicBezTo>
                    <a:pt x="27" y="140"/>
                    <a:pt x="26" y="140"/>
                    <a:pt x="27" y="139"/>
                  </a:cubicBezTo>
                  <a:cubicBezTo>
                    <a:pt x="27" y="139"/>
                    <a:pt x="27" y="139"/>
                    <a:pt x="28" y="139"/>
                  </a:cubicBezTo>
                  <a:cubicBezTo>
                    <a:pt x="28" y="139"/>
                    <a:pt x="29" y="140"/>
                    <a:pt x="29" y="140"/>
                  </a:cubicBezTo>
                  <a:cubicBezTo>
                    <a:pt x="30" y="140"/>
                    <a:pt x="31" y="140"/>
                    <a:pt x="31" y="139"/>
                  </a:cubicBezTo>
                  <a:cubicBezTo>
                    <a:pt x="31" y="139"/>
                    <a:pt x="31" y="140"/>
                    <a:pt x="30" y="140"/>
                  </a:cubicBezTo>
                  <a:cubicBezTo>
                    <a:pt x="32" y="139"/>
                    <a:pt x="32" y="139"/>
                    <a:pt x="34" y="140"/>
                  </a:cubicBezTo>
                  <a:cubicBezTo>
                    <a:pt x="33" y="140"/>
                    <a:pt x="32" y="139"/>
                    <a:pt x="32" y="140"/>
                  </a:cubicBezTo>
                  <a:cubicBezTo>
                    <a:pt x="31" y="140"/>
                    <a:pt x="31" y="140"/>
                    <a:pt x="31" y="140"/>
                  </a:cubicBezTo>
                  <a:cubicBezTo>
                    <a:pt x="31" y="140"/>
                    <a:pt x="31" y="140"/>
                    <a:pt x="30" y="140"/>
                  </a:cubicBezTo>
                  <a:cubicBezTo>
                    <a:pt x="29" y="140"/>
                    <a:pt x="29" y="140"/>
                    <a:pt x="28" y="140"/>
                  </a:cubicBezTo>
                  <a:cubicBezTo>
                    <a:pt x="28" y="140"/>
                    <a:pt x="27" y="140"/>
                    <a:pt x="27" y="140"/>
                  </a:cubicBezTo>
                  <a:cubicBezTo>
                    <a:pt x="26" y="140"/>
                    <a:pt x="25" y="140"/>
                    <a:pt x="24" y="141"/>
                  </a:cubicBezTo>
                  <a:cubicBezTo>
                    <a:pt x="23" y="142"/>
                    <a:pt x="27" y="145"/>
                    <a:pt x="27" y="147"/>
                  </a:cubicBezTo>
                  <a:cubicBezTo>
                    <a:pt x="26" y="146"/>
                    <a:pt x="26" y="146"/>
                    <a:pt x="25" y="146"/>
                  </a:cubicBezTo>
                  <a:cubicBezTo>
                    <a:pt x="25" y="145"/>
                    <a:pt x="24" y="145"/>
                    <a:pt x="24" y="145"/>
                  </a:cubicBezTo>
                  <a:cubicBezTo>
                    <a:pt x="24" y="145"/>
                    <a:pt x="24" y="143"/>
                    <a:pt x="24" y="143"/>
                  </a:cubicBezTo>
                  <a:cubicBezTo>
                    <a:pt x="23" y="142"/>
                    <a:pt x="23" y="145"/>
                    <a:pt x="23" y="146"/>
                  </a:cubicBezTo>
                  <a:cubicBezTo>
                    <a:pt x="23" y="147"/>
                    <a:pt x="24" y="148"/>
                    <a:pt x="24" y="149"/>
                  </a:cubicBezTo>
                  <a:cubicBezTo>
                    <a:pt x="24" y="150"/>
                    <a:pt x="24" y="150"/>
                    <a:pt x="25" y="151"/>
                  </a:cubicBezTo>
                  <a:cubicBezTo>
                    <a:pt x="26" y="152"/>
                    <a:pt x="28" y="152"/>
                    <a:pt x="28" y="153"/>
                  </a:cubicBezTo>
                  <a:cubicBezTo>
                    <a:pt x="28" y="153"/>
                    <a:pt x="29" y="153"/>
                    <a:pt x="29" y="153"/>
                  </a:cubicBezTo>
                  <a:cubicBezTo>
                    <a:pt x="30" y="153"/>
                    <a:pt x="30" y="155"/>
                    <a:pt x="30" y="156"/>
                  </a:cubicBezTo>
                  <a:cubicBezTo>
                    <a:pt x="29" y="157"/>
                    <a:pt x="29" y="156"/>
                    <a:pt x="29" y="157"/>
                  </a:cubicBezTo>
                  <a:cubicBezTo>
                    <a:pt x="28" y="157"/>
                    <a:pt x="29" y="158"/>
                    <a:pt x="29" y="158"/>
                  </a:cubicBezTo>
                  <a:cubicBezTo>
                    <a:pt x="29" y="159"/>
                    <a:pt x="29" y="160"/>
                    <a:pt x="29" y="160"/>
                  </a:cubicBezTo>
                  <a:cubicBezTo>
                    <a:pt x="30" y="162"/>
                    <a:pt x="32" y="164"/>
                    <a:pt x="34" y="166"/>
                  </a:cubicBezTo>
                  <a:cubicBezTo>
                    <a:pt x="35" y="168"/>
                    <a:pt x="37" y="169"/>
                    <a:pt x="38" y="171"/>
                  </a:cubicBezTo>
                  <a:cubicBezTo>
                    <a:pt x="39" y="172"/>
                    <a:pt x="39" y="172"/>
                    <a:pt x="39" y="172"/>
                  </a:cubicBezTo>
                  <a:cubicBezTo>
                    <a:pt x="40" y="173"/>
                    <a:pt x="39" y="173"/>
                    <a:pt x="40" y="174"/>
                  </a:cubicBezTo>
                  <a:cubicBezTo>
                    <a:pt x="41" y="174"/>
                    <a:pt x="42" y="175"/>
                    <a:pt x="42" y="176"/>
                  </a:cubicBezTo>
                  <a:cubicBezTo>
                    <a:pt x="42" y="176"/>
                    <a:pt x="42" y="176"/>
                    <a:pt x="42" y="176"/>
                  </a:cubicBezTo>
                  <a:cubicBezTo>
                    <a:pt x="42" y="177"/>
                    <a:pt x="42" y="178"/>
                    <a:pt x="42" y="178"/>
                  </a:cubicBezTo>
                  <a:cubicBezTo>
                    <a:pt x="42" y="179"/>
                    <a:pt x="42" y="180"/>
                    <a:pt x="42" y="180"/>
                  </a:cubicBezTo>
                  <a:cubicBezTo>
                    <a:pt x="42" y="180"/>
                    <a:pt x="42" y="180"/>
                    <a:pt x="42" y="181"/>
                  </a:cubicBezTo>
                  <a:cubicBezTo>
                    <a:pt x="43" y="181"/>
                    <a:pt x="45" y="182"/>
                    <a:pt x="46" y="182"/>
                  </a:cubicBezTo>
                  <a:cubicBezTo>
                    <a:pt x="46" y="182"/>
                    <a:pt x="46" y="182"/>
                    <a:pt x="46" y="182"/>
                  </a:cubicBezTo>
                  <a:cubicBezTo>
                    <a:pt x="46" y="182"/>
                    <a:pt x="47" y="183"/>
                    <a:pt x="47" y="183"/>
                  </a:cubicBezTo>
                  <a:cubicBezTo>
                    <a:pt x="48" y="183"/>
                    <a:pt x="48" y="182"/>
                    <a:pt x="48" y="182"/>
                  </a:cubicBezTo>
                  <a:cubicBezTo>
                    <a:pt x="49" y="182"/>
                    <a:pt x="49" y="182"/>
                    <a:pt x="50" y="183"/>
                  </a:cubicBezTo>
                  <a:cubicBezTo>
                    <a:pt x="51" y="183"/>
                    <a:pt x="52" y="182"/>
                    <a:pt x="53" y="183"/>
                  </a:cubicBezTo>
                  <a:cubicBezTo>
                    <a:pt x="55" y="184"/>
                    <a:pt x="57" y="185"/>
                    <a:pt x="58" y="186"/>
                  </a:cubicBezTo>
                  <a:cubicBezTo>
                    <a:pt x="59" y="186"/>
                    <a:pt x="60" y="187"/>
                    <a:pt x="61" y="187"/>
                  </a:cubicBezTo>
                  <a:cubicBezTo>
                    <a:pt x="61" y="187"/>
                    <a:pt x="61" y="187"/>
                    <a:pt x="61" y="187"/>
                  </a:cubicBezTo>
                  <a:cubicBezTo>
                    <a:pt x="62" y="187"/>
                    <a:pt x="63" y="186"/>
                    <a:pt x="63" y="187"/>
                  </a:cubicBezTo>
                  <a:cubicBezTo>
                    <a:pt x="63" y="187"/>
                    <a:pt x="63" y="188"/>
                    <a:pt x="64" y="188"/>
                  </a:cubicBezTo>
                  <a:cubicBezTo>
                    <a:pt x="63" y="188"/>
                    <a:pt x="63" y="188"/>
                    <a:pt x="63" y="188"/>
                  </a:cubicBezTo>
                  <a:cubicBezTo>
                    <a:pt x="63" y="188"/>
                    <a:pt x="63" y="188"/>
                    <a:pt x="64" y="188"/>
                  </a:cubicBezTo>
                  <a:cubicBezTo>
                    <a:pt x="64" y="189"/>
                    <a:pt x="64" y="190"/>
                    <a:pt x="64" y="190"/>
                  </a:cubicBezTo>
                  <a:cubicBezTo>
                    <a:pt x="65" y="190"/>
                    <a:pt x="66" y="190"/>
                    <a:pt x="66" y="190"/>
                  </a:cubicBezTo>
                  <a:cubicBezTo>
                    <a:pt x="68" y="190"/>
                    <a:pt x="68" y="191"/>
                    <a:pt x="69" y="191"/>
                  </a:cubicBezTo>
                  <a:cubicBezTo>
                    <a:pt x="70" y="192"/>
                    <a:pt x="71" y="193"/>
                    <a:pt x="72" y="193"/>
                  </a:cubicBezTo>
                  <a:cubicBezTo>
                    <a:pt x="74" y="195"/>
                    <a:pt x="74" y="196"/>
                    <a:pt x="75" y="197"/>
                  </a:cubicBezTo>
                  <a:cubicBezTo>
                    <a:pt x="76" y="199"/>
                    <a:pt x="76" y="201"/>
                    <a:pt x="77" y="203"/>
                  </a:cubicBezTo>
                  <a:cubicBezTo>
                    <a:pt x="77" y="203"/>
                    <a:pt x="77" y="203"/>
                    <a:pt x="77" y="203"/>
                  </a:cubicBezTo>
                  <a:cubicBezTo>
                    <a:pt x="77" y="203"/>
                    <a:pt x="77" y="203"/>
                    <a:pt x="77" y="203"/>
                  </a:cubicBezTo>
                  <a:cubicBezTo>
                    <a:pt x="77" y="203"/>
                    <a:pt x="77" y="203"/>
                    <a:pt x="77" y="203"/>
                  </a:cubicBezTo>
                  <a:cubicBezTo>
                    <a:pt x="80" y="203"/>
                    <a:pt x="80" y="203"/>
                    <a:pt x="80" y="203"/>
                  </a:cubicBezTo>
                  <a:cubicBezTo>
                    <a:pt x="80" y="203"/>
                    <a:pt x="82" y="202"/>
                    <a:pt x="84" y="202"/>
                  </a:cubicBezTo>
                  <a:cubicBezTo>
                    <a:pt x="85" y="202"/>
                    <a:pt x="87" y="202"/>
                    <a:pt x="89" y="202"/>
                  </a:cubicBezTo>
                  <a:cubicBezTo>
                    <a:pt x="90" y="202"/>
                    <a:pt x="90" y="202"/>
                    <a:pt x="90" y="202"/>
                  </a:cubicBezTo>
                  <a:cubicBezTo>
                    <a:pt x="92" y="202"/>
                    <a:pt x="94" y="201"/>
                    <a:pt x="94" y="201"/>
                  </a:cubicBezTo>
                  <a:cubicBezTo>
                    <a:pt x="95" y="201"/>
                    <a:pt x="95" y="201"/>
                    <a:pt x="96" y="201"/>
                  </a:cubicBezTo>
                  <a:cubicBezTo>
                    <a:pt x="99" y="201"/>
                    <a:pt x="101" y="201"/>
                    <a:pt x="102" y="201"/>
                  </a:cubicBezTo>
                  <a:cubicBezTo>
                    <a:pt x="103" y="201"/>
                    <a:pt x="103" y="201"/>
                    <a:pt x="103" y="201"/>
                  </a:cubicBezTo>
                  <a:cubicBezTo>
                    <a:pt x="103" y="200"/>
                    <a:pt x="103" y="200"/>
                    <a:pt x="103" y="200"/>
                  </a:cubicBezTo>
                  <a:cubicBezTo>
                    <a:pt x="107" y="201"/>
                    <a:pt x="107" y="201"/>
                    <a:pt x="107" y="201"/>
                  </a:cubicBezTo>
                  <a:cubicBezTo>
                    <a:pt x="104" y="203"/>
                    <a:pt x="104" y="203"/>
                    <a:pt x="104" y="203"/>
                  </a:cubicBezTo>
                  <a:cubicBezTo>
                    <a:pt x="104" y="203"/>
                    <a:pt x="104" y="203"/>
                    <a:pt x="104" y="203"/>
                  </a:cubicBezTo>
                  <a:cubicBezTo>
                    <a:pt x="103" y="203"/>
                    <a:pt x="103" y="203"/>
                    <a:pt x="103" y="203"/>
                  </a:cubicBezTo>
                  <a:cubicBezTo>
                    <a:pt x="103" y="203"/>
                    <a:pt x="103" y="203"/>
                    <a:pt x="103" y="204"/>
                  </a:cubicBezTo>
                  <a:cubicBezTo>
                    <a:pt x="109" y="206"/>
                    <a:pt x="126" y="212"/>
                    <a:pt x="130" y="213"/>
                  </a:cubicBezTo>
                  <a:cubicBezTo>
                    <a:pt x="142" y="216"/>
                    <a:pt x="145" y="216"/>
                    <a:pt x="156" y="216"/>
                  </a:cubicBezTo>
                  <a:cubicBezTo>
                    <a:pt x="167" y="216"/>
                    <a:pt x="167" y="216"/>
                    <a:pt x="167" y="216"/>
                  </a:cubicBezTo>
                  <a:cubicBezTo>
                    <a:pt x="167" y="216"/>
                    <a:pt x="167" y="216"/>
                    <a:pt x="167" y="215"/>
                  </a:cubicBezTo>
                  <a:cubicBezTo>
                    <a:pt x="167" y="215"/>
                    <a:pt x="167" y="215"/>
                    <a:pt x="167" y="214"/>
                  </a:cubicBezTo>
                  <a:cubicBezTo>
                    <a:pt x="167" y="214"/>
                    <a:pt x="167" y="214"/>
                    <a:pt x="167" y="214"/>
                  </a:cubicBezTo>
                  <a:cubicBezTo>
                    <a:pt x="167" y="213"/>
                    <a:pt x="167" y="212"/>
                    <a:pt x="168" y="212"/>
                  </a:cubicBezTo>
                  <a:cubicBezTo>
                    <a:pt x="168" y="211"/>
                    <a:pt x="168" y="211"/>
                    <a:pt x="169" y="211"/>
                  </a:cubicBezTo>
                  <a:cubicBezTo>
                    <a:pt x="170" y="211"/>
                    <a:pt x="176" y="211"/>
                    <a:pt x="181" y="211"/>
                  </a:cubicBezTo>
                  <a:cubicBezTo>
                    <a:pt x="186" y="211"/>
                    <a:pt x="186" y="211"/>
                    <a:pt x="186" y="211"/>
                  </a:cubicBezTo>
                  <a:cubicBezTo>
                    <a:pt x="189" y="211"/>
                    <a:pt x="189" y="214"/>
                    <a:pt x="190" y="215"/>
                  </a:cubicBezTo>
                  <a:cubicBezTo>
                    <a:pt x="190" y="215"/>
                    <a:pt x="190" y="215"/>
                    <a:pt x="190" y="215"/>
                  </a:cubicBezTo>
                  <a:cubicBezTo>
                    <a:pt x="190" y="215"/>
                    <a:pt x="190" y="215"/>
                    <a:pt x="192" y="216"/>
                  </a:cubicBezTo>
                  <a:cubicBezTo>
                    <a:pt x="192" y="216"/>
                    <a:pt x="193" y="217"/>
                    <a:pt x="195" y="219"/>
                  </a:cubicBezTo>
                  <a:cubicBezTo>
                    <a:pt x="198" y="220"/>
                    <a:pt x="200" y="223"/>
                    <a:pt x="202" y="224"/>
                  </a:cubicBezTo>
                  <a:cubicBezTo>
                    <a:pt x="202" y="224"/>
                    <a:pt x="202" y="224"/>
                    <a:pt x="202" y="224"/>
                  </a:cubicBezTo>
                  <a:cubicBezTo>
                    <a:pt x="202" y="224"/>
                    <a:pt x="204" y="226"/>
                    <a:pt x="205" y="228"/>
                  </a:cubicBezTo>
                  <a:cubicBezTo>
                    <a:pt x="205" y="229"/>
                    <a:pt x="206" y="231"/>
                    <a:pt x="206" y="232"/>
                  </a:cubicBezTo>
                  <a:cubicBezTo>
                    <a:pt x="207" y="236"/>
                    <a:pt x="211" y="238"/>
                    <a:pt x="214" y="240"/>
                  </a:cubicBezTo>
                  <a:cubicBezTo>
                    <a:pt x="215" y="240"/>
                    <a:pt x="215" y="240"/>
                    <a:pt x="215" y="240"/>
                  </a:cubicBezTo>
                  <a:cubicBezTo>
                    <a:pt x="216" y="241"/>
                    <a:pt x="219" y="242"/>
                    <a:pt x="220" y="242"/>
                  </a:cubicBezTo>
                  <a:cubicBezTo>
                    <a:pt x="220" y="242"/>
                    <a:pt x="221" y="242"/>
                    <a:pt x="221" y="241"/>
                  </a:cubicBezTo>
                  <a:cubicBezTo>
                    <a:pt x="221" y="240"/>
                    <a:pt x="222" y="240"/>
                    <a:pt x="222" y="239"/>
                  </a:cubicBezTo>
                  <a:cubicBezTo>
                    <a:pt x="223" y="236"/>
                    <a:pt x="224" y="234"/>
                    <a:pt x="227" y="234"/>
                  </a:cubicBezTo>
                  <a:cubicBezTo>
                    <a:pt x="227" y="234"/>
                    <a:pt x="227" y="234"/>
                    <a:pt x="227" y="234"/>
                  </a:cubicBezTo>
                  <a:cubicBezTo>
                    <a:pt x="227" y="234"/>
                    <a:pt x="227" y="233"/>
                    <a:pt x="228" y="233"/>
                  </a:cubicBezTo>
                  <a:cubicBezTo>
                    <a:pt x="229" y="232"/>
                    <a:pt x="230" y="233"/>
                    <a:pt x="231" y="233"/>
                  </a:cubicBezTo>
                  <a:cubicBezTo>
                    <a:pt x="231" y="233"/>
                    <a:pt x="232" y="233"/>
                    <a:pt x="232" y="233"/>
                  </a:cubicBezTo>
                  <a:cubicBezTo>
                    <a:pt x="233" y="233"/>
                    <a:pt x="235" y="234"/>
                    <a:pt x="236" y="234"/>
                  </a:cubicBezTo>
                  <a:cubicBezTo>
                    <a:pt x="237" y="233"/>
                    <a:pt x="239" y="234"/>
                    <a:pt x="241" y="236"/>
                  </a:cubicBezTo>
                  <a:cubicBezTo>
                    <a:pt x="241" y="236"/>
                    <a:pt x="242" y="237"/>
                    <a:pt x="242" y="237"/>
                  </a:cubicBezTo>
                  <a:cubicBezTo>
                    <a:pt x="244" y="238"/>
                    <a:pt x="245" y="240"/>
                    <a:pt x="247" y="243"/>
                  </a:cubicBezTo>
                  <a:cubicBezTo>
                    <a:pt x="250" y="248"/>
                    <a:pt x="251" y="250"/>
                    <a:pt x="253" y="253"/>
                  </a:cubicBezTo>
                  <a:cubicBezTo>
                    <a:pt x="254" y="255"/>
                    <a:pt x="255" y="256"/>
                    <a:pt x="255" y="257"/>
                  </a:cubicBezTo>
                  <a:cubicBezTo>
                    <a:pt x="256" y="257"/>
                    <a:pt x="256" y="257"/>
                    <a:pt x="257" y="258"/>
                  </a:cubicBezTo>
                  <a:cubicBezTo>
                    <a:pt x="259" y="258"/>
                    <a:pt x="259" y="260"/>
                    <a:pt x="259" y="262"/>
                  </a:cubicBezTo>
                  <a:cubicBezTo>
                    <a:pt x="259" y="262"/>
                    <a:pt x="259" y="262"/>
                    <a:pt x="259" y="262"/>
                  </a:cubicBezTo>
                  <a:cubicBezTo>
                    <a:pt x="259" y="263"/>
                    <a:pt x="260" y="265"/>
                    <a:pt x="262" y="271"/>
                  </a:cubicBezTo>
                  <a:cubicBezTo>
                    <a:pt x="263" y="271"/>
                    <a:pt x="263" y="271"/>
                    <a:pt x="265" y="272"/>
                  </a:cubicBezTo>
                  <a:cubicBezTo>
                    <a:pt x="267" y="273"/>
                    <a:pt x="269" y="273"/>
                    <a:pt x="269" y="274"/>
                  </a:cubicBezTo>
                  <a:cubicBezTo>
                    <a:pt x="270" y="274"/>
                    <a:pt x="270" y="274"/>
                    <a:pt x="270" y="274"/>
                  </a:cubicBezTo>
                  <a:cubicBezTo>
                    <a:pt x="270" y="274"/>
                    <a:pt x="270" y="274"/>
                    <a:pt x="270" y="274"/>
                  </a:cubicBezTo>
                  <a:cubicBezTo>
                    <a:pt x="271" y="274"/>
                    <a:pt x="273" y="275"/>
                    <a:pt x="274" y="275"/>
                  </a:cubicBezTo>
                  <a:cubicBezTo>
                    <a:pt x="275" y="275"/>
                    <a:pt x="277" y="276"/>
                    <a:pt x="278" y="276"/>
                  </a:cubicBezTo>
                  <a:cubicBezTo>
                    <a:pt x="278" y="276"/>
                    <a:pt x="279" y="276"/>
                    <a:pt x="280" y="276"/>
                  </a:cubicBezTo>
                  <a:cubicBezTo>
                    <a:pt x="280" y="276"/>
                    <a:pt x="280" y="275"/>
                    <a:pt x="279" y="274"/>
                  </a:cubicBezTo>
                  <a:cubicBezTo>
                    <a:pt x="279" y="272"/>
                    <a:pt x="278" y="270"/>
                    <a:pt x="277" y="267"/>
                  </a:cubicBezTo>
                  <a:cubicBezTo>
                    <a:pt x="277" y="267"/>
                    <a:pt x="277" y="266"/>
                    <a:pt x="278" y="266"/>
                  </a:cubicBezTo>
                  <a:cubicBezTo>
                    <a:pt x="277" y="266"/>
                    <a:pt x="278" y="265"/>
                    <a:pt x="278" y="265"/>
                  </a:cubicBezTo>
                  <a:cubicBezTo>
                    <a:pt x="278" y="265"/>
                    <a:pt x="279" y="263"/>
                    <a:pt x="279" y="263"/>
                  </a:cubicBezTo>
                  <a:cubicBezTo>
                    <a:pt x="277" y="263"/>
                    <a:pt x="277" y="263"/>
                    <a:pt x="275" y="263"/>
                  </a:cubicBezTo>
                  <a:cubicBezTo>
                    <a:pt x="276" y="262"/>
                    <a:pt x="275" y="261"/>
                    <a:pt x="275" y="261"/>
                  </a:cubicBezTo>
                  <a:cubicBezTo>
                    <a:pt x="276" y="261"/>
                    <a:pt x="276" y="262"/>
                    <a:pt x="277" y="262"/>
                  </a:cubicBezTo>
                  <a:cubicBezTo>
                    <a:pt x="277" y="262"/>
                    <a:pt x="279" y="263"/>
                    <a:pt x="278" y="263"/>
                  </a:cubicBezTo>
                  <a:cubicBezTo>
                    <a:pt x="278" y="263"/>
                    <a:pt x="278" y="263"/>
                    <a:pt x="279" y="262"/>
                  </a:cubicBezTo>
                  <a:cubicBezTo>
                    <a:pt x="279" y="262"/>
                    <a:pt x="279" y="261"/>
                    <a:pt x="280" y="260"/>
                  </a:cubicBezTo>
                  <a:cubicBezTo>
                    <a:pt x="280" y="259"/>
                    <a:pt x="281" y="259"/>
                    <a:pt x="280" y="258"/>
                  </a:cubicBezTo>
                  <a:cubicBezTo>
                    <a:pt x="280" y="258"/>
                    <a:pt x="280" y="258"/>
                    <a:pt x="280" y="258"/>
                  </a:cubicBezTo>
                  <a:cubicBezTo>
                    <a:pt x="279" y="256"/>
                    <a:pt x="279" y="257"/>
                    <a:pt x="278" y="256"/>
                  </a:cubicBezTo>
                  <a:cubicBezTo>
                    <a:pt x="279" y="256"/>
                    <a:pt x="280" y="256"/>
                    <a:pt x="280" y="256"/>
                  </a:cubicBezTo>
                  <a:cubicBezTo>
                    <a:pt x="281" y="256"/>
                    <a:pt x="280" y="257"/>
                    <a:pt x="281" y="256"/>
                  </a:cubicBezTo>
                  <a:cubicBezTo>
                    <a:pt x="282" y="256"/>
                    <a:pt x="283" y="254"/>
                    <a:pt x="283" y="254"/>
                  </a:cubicBezTo>
                  <a:cubicBezTo>
                    <a:pt x="282" y="254"/>
                    <a:pt x="282" y="254"/>
                    <a:pt x="281" y="253"/>
                  </a:cubicBezTo>
                  <a:cubicBezTo>
                    <a:pt x="282" y="253"/>
                    <a:pt x="282" y="253"/>
                    <a:pt x="283" y="253"/>
                  </a:cubicBezTo>
                  <a:cubicBezTo>
                    <a:pt x="283" y="253"/>
                    <a:pt x="283" y="253"/>
                    <a:pt x="283" y="253"/>
                  </a:cubicBezTo>
                  <a:cubicBezTo>
                    <a:pt x="283" y="253"/>
                    <a:pt x="284" y="252"/>
                    <a:pt x="284" y="252"/>
                  </a:cubicBezTo>
                  <a:cubicBezTo>
                    <a:pt x="284" y="252"/>
                    <a:pt x="284" y="253"/>
                    <a:pt x="284" y="253"/>
                  </a:cubicBezTo>
                  <a:cubicBezTo>
                    <a:pt x="284" y="253"/>
                    <a:pt x="284" y="250"/>
                    <a:pt x="285" y="250"/>
                  </a:cubicBezTo>
                  <a:cubicBezTo>
                    <a:pt x="286" y="250"/>
                    <a:pt x="286" y="251"/>
                    <a:pt x="286" y="251"/>
                  </a:cubicBezTo>
                  <a:cubicBezTo>
                    <a:pt x="287" y="251"/>
                    <a:pt x="286" y="251"/>
                    <a:pt x="287" y="251"/>
                  </a:cubicBezTo>
                  <a:cubicBezTo>
                    <a:pt x="288" y="251"/>
                    <a:pt x="289" y="250"/>
                    <a:pt x="289" y="250"/>
                  </a:cubicBezTo>
                  <a:cubicBezTo>
                    <a:pt x="288" y="249"/>
                    <a:pt x="287" y="248"/>
                    <a:pt x="287" y="247"/>
                  </a:cubicBezTo>
                  <a:cubicBezTo>
                    <a:pt x="288" y="247"/>
                    <a:pt x="287" y="247"/>
                    <a:pt x="288" y="248"/>
                  </a:cubicBezTo>
                  <a:cubicBezTo>
                    <a:pt x="289" y="248"/>
                    <a:pt x="290" y="248"/>
                    <a:pt x="289" y="246"/>
                  </a:cubicBezTo>
                  <a:cubicBezTo>
                    <a:pt x="289" y="247"/>
                    <a:pt x="289" y="247"/>
                    <a:pt x="290" y="248"/>
                  </a:cubicBezTo>
                  <a:cubicBezTo>
                    <a:pt x="290" y="248"/>
                    <a:pt x="291" y="247"/>
                    <a:pt x="291" y="247"/>
                  </a:cubicBezTo>
                  <a:cubicBezTo>
                    <a:pt x="290" y="249"/>
                    <a:pt x="292" y="248"/>
                    <a:pt x="293" y="248"/>
                  </a:cubicBezTo>
                  <a:cubicBezTo>
                    <a:pt x="293" y="248"/>
                    <a:pt x="292" y="249"/>
                    <a:pt x="291" y="249"/>
                  </a:cubicBezTo>
                  <a:cubicBezTo>
                    <a:pt x="293" y="249"/>
                    <a:pt x="295" y="248"/>
                    <a:pt x="296" y="247"/>
                  </a:cubicBezTo>
                  <a:cubicBezTo>
                    <a:pt x="295" y="247"/>
                    <a:pt x="295" y="247"/>
                    <a:pt x="294" y="247"/>
                  </a:cubicBezTo>
                  <a:cubicBezTo>
                    <a:pt x="296" y="247"/>
                    <a:pt x="297" y="247"/>
                    <a:pt x="298" y="246"/>
                  </a:cubicBezTo>
                  <a:cubicBezTo>
                    <a:pt x="300" y="245"/>
                    <a:pt x="300" y="244"/>
                    <a:pt x="301" y="242"/>
                  </a:cubicBezTo>
                  <a:cubicBezTo>
                    <a:pt x="302" y="241"/>
                    <a:pt x="302" y="242"/>
                    <a:pt x="303" y="242"/>
                  </a:cubicBezTo>
                  <a:cubicBezTo>
                    <a:pt x="304" y="241"/>
                    <a:pt x="305" y="240"/>
                    <a:pt x="305" y="240"/>
                  </a:cubicBezTo>
                  <a:cubicBezTo>
                    <a:pt x="305" y="239"/>
                    <a:pt x="305" y="239"/>
                    <a:pt x="305" y="239"/>
                  </a:cubicBezTo>
                  <a:cubicBezTo>
                    <a:pt x="305" y="239"/>
                    <a:pt x="304" y="239"/>
                    <a:pt x="304" y="239"/>
                  </a:cubicBezTo>
                  <a:cubicBezTo>
                    <a:pt x="304" y="239"/>
                    <a:pt x="305" y="238"/>
                    <a:pt x="304" y="238"/>
                  </a:cubicBezTo>
                  <a:cubicBezTo>
                    <a:pt x="304" y="238"/>
                    <a:pt x="304" y="238"/>
                    <a:pt x="304" y="238"/>
                  </a:cubicBezTo>
                  <a:cubicBezTo>
                    <a:pt x="303" y="238"/>
                    <a:pt x="304" y="237"/>
                    <a:pt x="304" y="237"/>
                  </a:cubicBezTo>
                  <a:cubicBezTo>
                    <a:pt x="304" y="237"/>
                    <a:pt x="303" y="236"/>
                    <a:pt x="303" y="236"/>
                  </a:cubicBezTo>
                  <a:cubicBezTo>
                    <a:pt x="304" y="236"/>
                    <a:pt x="304" y="236"/>
                    <a:pt x="304" y="236"/>
                  </a:cubicBezTo>
                  <a:cubicBezTo>
                    <a:pt x="305" y="236"/>
                    <a:pt x="305" y="235"/>
                    <a:pt x="306" y="235"/>
                  </a:cubicBezTo>
                  <a:cubicBezTo>
                    <a:pt x="307" y="235"/>
                    <a:pt x="307" y="236"/>
                    <a:pt x="306" y="236"/>
                  </a:cubicBezTo>
                  <a:cubicBezTo>
                    <a:pt x="306" y="238"/>
                    <a:pt x="305" y="238"/>
                    <a:pt x="307" y="238"/>
                  </a:cubicBezTo>
                  <a:cubicBezTo>
                    <a:pt x="307" y="238"/>
                    <a:pt x="308" y="237"/>
                    <a:pt x="309" y="238"/>
                  </a:cubicBezTo>
                  <a:cubicBezTo>
                    <a:pt x="308" y="238"/>
                    <a:pt x="306" y="239"/>
                    <a:pt x="306" y="239"/>
                  </a:cubicBezTo>
                  <a:cubicBezTo>
                    <a:pt x="306" y="240"/>
                    <a:pt x="307" y="239"/>
                    <a:pt x="307" y="239"/>
                  </a:cubicBezTo>
                  <a:cubicBezTo>
                    <a:pt x="307" y="239"/>
                    <a:pt x="308" y="238"/>
                    <a:pt x="309" y="238"/>
                  </a:cubicBezTo>
                  <a:cubicBezTo>
                    <a:pt x="310" y="238"/>
                    <a:pt x="311" y="237"/>
                    <a:pt x="312" y="237"/>
                  </a:cubicBezTo>
                  <a:cubicBezTo>
                    <a:pt x="313" y="236"/>
                    <a:pt x="314" y="236"/>
                    <a:pt x="315" y="236"/>
                  </a:cubicBezTo>
                  <a:cubicBezTo>
                    <a:pt x="315" y="235"/>
                    <a:pt x="316" y="234"/>
                    <a:pt x="316" y="233"/>
                  </a:cubicBezTo>
                  <a:cubicBezTo>
                    <a:pt x="316" y="234"/>
                    <a:pt x="315" y="235"/>
                    <a:pt x="315" y="236"/>
                  </a:cubicBezTo>
                  <a:cubicBezTo>
                    <a:pt x="317" y="235"/>
                    <a:pt x="318" y="235"/>
                    <a:pt x="320" y="235"/>
                  </a:cubicBezTo>
                  <a:cubicBezTo>
                    <a:pt x="321" y="235"/>
                    <a:pt x="320" y="234"/>
                    <a:pt x="320" y="234"/>
                  </a:cubicBezTo>
                  <a:cubicBezTo>
                    <a:pt x="320" y="234"/>
                    <a:pt x="319" y="234"/>
                    <a:pt x="319" y="234"/>
                  </a:cubicBezTo>
                  <a:cubicBezTo>
                    <a:pt x="319" y="234"/>
                    <a:pt x="320" y="234"/>
                    <a:pt x="320" y="234"/>
                  </a:cubicBezTo>
                  <a:cubicBezTo>
                    <a:pt x="320" y="234"/>
                    <a:pt x="320" y="233"/>
                    <a:pt x="320" y="233"/>
                  </a:cubicBezTo>
                  <a:cubicBezTo>
                    <a:pt x="321" y="233"/>
                    <a:pt x="321" y="232"/>
                    <a:pt x="321" y="232"/>
                  </a:cubicBezTo>
                  <a:cubicBezTo>
                    <a:pt x="321" y="232"/>
                    <a:pt x="321" y="232"/>
                    <a:pt x="321" y="233"/>
                  </a:cubicBezTo>
                  <a:cubicBezTo>
                    <a:pt x="322" y="234"/>
                    <a:pt x="325" y="235"/>
                    <a:pt x="327" y="236"/>
                  </a:cubicBezTo>
                  <a:cubicBezTo>
                    <a:pt x="329" y="237"/>
                    <a:pt x="330" y="238"/>
                    <a:pt x="332" y="238"/>
                  </a:cubicBezTo>
                  <a:cubicBezTo>
                    <a:pt x="332" y="237"/>
                    <a:pt x="333" y="237"/>
                    <a:pt x="334" y="237"/>
                  </a:cubicBezTo>
                  <a:cubicBezTo>
                    <a:pt x="333" y="237"/>
                    <a:pt x="333" y="236"/>
                    <a:pt x="332" y="236"/>
                  </a:cubicBezTo>
                  <a:cubicBezTo>
                    <a:pt x="332" y="235"/>
                    <a:pt x="332" y="236"/>
                    <a:pt x="333" y="236"/>
                  </a:cubicBezTo>
                  <a:cubicBezTo>
                    <a:pt x="333" y="235"/>
                    <a:pt x="335" y="234"/>
                    <a:pt x="336" y="235"/>
                  </a:cubicBezTo>
                  <a:cubicBezTo>
                    <a:pt x="336" y="235"/>
                    <a:pt x="338" y="235"/>
                    <a:pt x="338" y="236"/>
                  </a:cubicBezTo>
                  <a:cubicBezTo>
                    <a:pt x="338" y="236"/>
                    <a:pt x="338" y="236"/>
                    <a:pt x="338" y="237"/>
                  </a:cubicBezTo>
                  <a:cubicBezTo>
                    <a:pt x="339" y="237"/>
                    <a:pt x="341" y="238"/>
                    <a:pt x="341" y="238"/>
                  </a:cubicBezTo>
                  <a:cubicBezTo>
                    <a:pt x="342" y="238"/>
                    <a:pt x="342" y="237"/>
                    <a:pt x="342" y="237"/>
                  </a:cubicBezTo>
                  <a:cubicBezTo>
                    <a:pt x="342" y="238"/>
                    <a:pt x="342" y="238"/>
                    <a:pt x="342" y="238"/>
                  </a:cubicBezTo>
                  <a:cubicBezTo>
                    <a:pt x="342" y="239"/>
                    <a:pt x="343" y="239"/>
                    <a:pt x="343" y="240"/>
                  </a:cubicBezTo>
                  <a:cubicBezTo>
                    <a:pt x="344" y="241"/>
                    <a:pt x="346" y="243"/>
                    <a:pt x="348" y="242"/>
                  </a:cubicBezTo>
                  <a:cubicBezTo>
                    <a:pt x="348" y="242"/>
                    <a:pt x="349" y="241"/>
                    <a:pt x="349" y="241"/>
                  </a:cubicBezTo>
                  <a:cubicBezTo>
                    <a:pt x="350" y="240"/>
                    <a:pt x="351" y="240"/>
                    <a:pt x="352" y="241"/>
                  </a:cubicBezTo>
                  <a:cubicBezTo>
                    <a:pt x="352" y="242"/>
                    <a:pt x="352" y="243"/>
                    <a:pt x="353" y="242"/>
                  </a:cubicBezTo>
                  <a:cubicBezTo>
                    <a:pt x="355" y="242"/>
                    <a:pt x="353" y="240"/>
                    <a:pt x="354" y="240"/>
                  </a:cubicBezTo>
                  <a:cubicBezTo>
                    <a:pt x="354" y="240"/>
                    <a:pt x="354" y="240"/>
                    <a:pt x="354" y="239"/>
                  </a:cubicBezTo>
                  <a:cubicBezTo>
                    <a:pt x="354" y="239"/>
                    <a:pt x="354" y="239"/>
                    <a:pt x="354" y="239"/>
                  </a:cubicBezTo>
                  <a:cubicBezTo>
                    <a:pt x="354" y="238"/>
                    <a:pt x="353" y="238"/>
                    <a:pt x="353" y="237"/>
                  </a:cubicBezTo>
                  <a:cubicBezTo>
                    <a:pt x="354" y="238"/>
                    <a:pt x="357" y="238"/>
                    <a:pt x="356" y="239"/>
                  </a:cubicBezTo>
                  <a:cubicBezTo>
                    <a:pt x="358" y="240"/>
                    <a:pt x="359" y="240"/>
                    <a:pt x="360" y="241"/>
                  </a:cubicBezTo>
                  <a:cubicBezTo>
                    <a:pt x="360" y="241"/>
                    <a:pt x="360" y="242"/>
                    <a:pt x="361" y="242"/>
                  </a:cubicBezTo>
                  <a:cubicBezTo>
                    <a:pt x="361" y="243"/>
                    <a:pt x="362" y="241"/>
                    <a:pt x="362" y="242"/>
                  </a:cubicBezTo>
                  <a:cubicBezTo>
                    <a:pt x="362" y="243"/>
                    <a:pt x="361" y="244"/>
                    <a:pt x="361" y="244"/>
                  </a:cubicBezTo>
                  <a:cubicBezTo>
                    <a:pt x="362" y="244"/>
                    <a:pt x="363" y="244"/>
                    <a:pt x="364" y="244"/>
                  </a:cubicBezTo>
                  <a:cubicBezTo>
                    <a:pt x="363" y="243"/>
                    <a:pt x="365" y="242"/>
                    <a:pt x="364" y="242"/>
                  </a:cubicBezTo>
                  <a:cubicBezTo>
                    <a:pt x="364" y="242"/>
                    <a:pt x="365" y="242"/>
                    <a:pt x="365" y="242"/>
                  </a:cubicBezTo>
                  <a:cubicBezTo>
                    <a:pt x="364" y="242"/>
                    <a:pt x="364" y="241"/>
                    <a:pt x="363" y="241"/>
                  </a:cubicBezTo>
                  <a:cubicBezTo>
                    <a:pt x="364" y="240"/>
                    <a:pt x="361" y="240"/>
                    <a:pt x="361" y="240"/>
                  </a:cubicBezTo>
                  <a:cubicBezTo>
                    <a:pt x="361" y="240"/>
                    <a:pt x="361" y="240"/>
                    <a:pt x="361" y="239"/>
                  </a:cubicBezTo>
                  <a:cubicBezTo>
                    <a:pt x="361" y="239"/>
                    <a:pt x="360" y="239"/>
                    <a:pt x="359" y="239"/>
                  </a:cubicBezTo>
                  <a:cubicBezTo>
                    <a:pt x="359" y="239"/>
                    <a:pt x="359" y="239"/>
                    <a:pt x="360" y="239"/>
                  </a:cubicBezTo>
                  <a:cubicBezTo>
                    <a:pt x="360" y="239"/>
                    <a:pt x="359" y="239"/>
                    <a:pt x="360" y="239"/>
                  </a:cubicBezTo>
                  <a:cubicBezTo>
                    <a:pt x="359" y="238"/>
                    <a:pt x="358" y="238"/>
                    <a:pt x="357" y="237"/>
                  </a:cubicBezTo>
                  <a:cubicBezTo>
                    <a:pt x="358" y="237"/>
                    <a:pt x="359" y="237"/>
                    <a:pt x="360" y="237"/>
                  </a:cubicBezTo>
                  <a:cubicBezTo>
                    <a:pt x="360" y="236"/>
                    <a:pt x="360" y="236"/>
                    <a:pt x="359" y="236"/>
                  </a:cubicBezTo>
                  <a:cubicBezTo>
                    <a:pt x="359" y="236"/>
                    <a:pt x="360" y="236"/>
                    <a:pt x="360" y="236"/>
                  </a:cubicBezTo>
                  <a:cubicBezTo>
                    <a:pt x="359" y="236"/>
                    <a:pt x="359" y="236"/>
                    <a:pt x="359" y="236"/>
                  </a:cubicBezTo>
                  <a:cubicBezTo>
                    <a:pt x="359" y="235"/>
                    <a:pt x="361" y="235"/>
                    <a:pt x="361" y="235"/>
                  </a:cubicBezTo>
                  <a:cubicBezTo>
                    <a:pt x="361" y="234"/>
                    <a:pt x="361" y="234"/>
                    <a:pt x="361" y="234"/>
                  </a:cubicBezTo>
                  <a:cubicBezTo>
                    <a:pt x="361" y="234"/>
                    <a:pt x="361" y="234"/>
                    <a:pt x="361" y="234"/>
                  </a:cubicBezTo>
                  <a:cubicBezTo>
                    <a:pt x="361" y="234"/>
                    <a:pt x="361" y="234"/>
                    <a:pt x="361" y="234"/>
                  </a:cubicBezTo>
                  <a:cubicBezTo>
                    <a:pt x="361" y="234"/>
                    <a:pt x="361" y="234"/>
                    <a:pt x="361" y="234"/>
                  </a:cubicBezTo>
                  <a:cubicBezTo>
                    <a:pt x="362" y="233"/>
                    <a:pt x="360" y="233"/>
                    <a:pt x="360" y="232"/>
                  </a:cubicBezTo>
                  <a:cubicBezTo>
                    <a:pt x="360" y="232"/>
                    <a:pt x="359" y="232"/>
                    <a:pt x="359" y="233"/>
                  </a:cubicBezTo>
                  <a:cubicBezTo>
                    <a:pt x="358" y="234"/>
                    <a:pt x="359" y="234"/>
                    <a:pt x="358" y="234"/>
                  </a:cubicBezTo>
                  <a:cubicBezTo>
                    <a:pt x="357" y="234"/>
                    <a:pt x="356" y="233"/>
                    <a:pt x="356" y="233"/>
                  </a:cubicBezTo>
                  <a:cubicBezTo>
                    <a:pt x="356" y="232"/>
                    <a:pt x="358" y="232"/>
                    <a:pt x="358" y="232"/>
                  </a:cubicBezTo>
                  <a:cubicBezTo>
                    <a:pt x="357" y="231"/>
                    <a:pt x="350" y="233"/>
                    <a:pt x="350" y="231"/>
                  </a:cubicBezTo>
                  <a:cubicBezTo>
                    <a:pt x="350" y="230"/>
                    <a:pt x="355" y="229"/>
                    <a:pt x="356" y="229"/>
                  </a:cubicBezTo>
                  <a:cubicBezTo>
                    <a:pt x="357" y="230"/>
                    <a:pt x="359" y="231"/>
                    <a:pt x="360" y="230"/>
                  </a:cubicBezTo>
                  <a:cubicBezTo>
                    <a:pt x="361" y="229"/>
                    <a:pt x="361" y="228"/>
                    <a:pt x="362" y="228"/>
                  </a:cubicBezTo>
                  <a:cubicBezTo>
                    <a:pt x="364" y="228"/>
                    <a:pt x="365" y="228"/>
                    <a:pt x="366" y="228"/>
                  </a:cubicBezTo>
                  <a:cubicBezTo>
                    <a:pt x="369" y="228"/>
                    <a:pt x="371" y="229"/>
                    <a:pt x="373" y="229"/>
                  </a:cubicBezTo>
                  <a:cubicBezTo>
                    <a:pt x="374" y="229"/>
                    <a:pt x="374" y="226"/>
                    <a:pt x="375" y="225"/>
                  </a:cubicBezTo>
                  <a:cubicBezTo>
                    <a:pt x="375" y="225"/>
                    <a:pt x="375" y="225"/>
                    <a:pt x="375" y="224"/>
                  </a:cubicBezTo>
                  <a:cubicBezTo>
                    <a:pt x="375" y="225"/>
                    <a:pt x="376" y="225"/>
                    <a:pt x="376" y="226"/>
                  </a:cubicBezTo>
                  <a:cubicBezTo>
                    <a:pt x="376" y="226"/>
                    <a:pt x="376" y="227"/>
                    <a:pt x="376" y="227"/>
                  </a:cubicBezTo>
                  <a:cubicBezTo>
                    <a:pt x="376" y="228"/>
                    <a:pt x="376" y="228"/>
                    <a:pt x="377" y="228"/>
                  </a:cubicBezTo>
                  <a:cubicBezTo>
                    <a:pt x="377" y="228"/>
                    <a:pt x="377" y="229"/>
                    <a:pt x="378" y="230"/>
                  </a:cubicBezTo>
                  <a:cubicBezTo>
                    <a:pt x="378" y="230"/>
                    <a:pt x="379" y="230"/>
                    <a:pt x="380" y="229"/>
                  </a:cubicBezTo>
                  <a:cubicBezTo>
                    <a:pt x="379" y="229"/>
                    <a:pt x="379" y="229"/>
                    <a:pt x="379" y="229"/>
                  </a:cubicBezTo>
                  <a:cubicBezTo>
                    <a:pt x="380" y="229"/>
                    <a:pt x="381" y="228"/>
                    <a:pt x="381" y="227"/>
                  </a:cubicBezTo>
                  <a:cubicBezTo>
                    <a:pt x="381" y="227"/>
                    <a:pt x="381" y="227"/>
                    <a:pt x="381" y="227"/>
                  </a:cubicBezTo>
                  <a:cubicBezTo>
                    <a:pt x="381" y="227"/>
                    <a:pt x="381" y="227"/>
                    <a:pt x="381" y="227"/>
                  </a:cubicBezTo>
                  <a:cubicBezTo>
                    <a:pt x="381" y="227"/>
                    <a:pt x="381" y="227"/>
                    <a:pt x="381" y="227"/>
                  </a:cubicBezTo>
                  <a:cubicBezTo>
                    <a:pt x="381" y="227"/>
                    <a:pt x="381" y="228"/>
                    <a:pt x="381" y="228"/>
                  </a:cubicBezTo>
                  <a:cubicBezTo>
                    <a:pt x="381" y="228"/>
                    <a:pt x="381" y="228"/>
                    <a:pt x="381" y="228"/>
                  </a:cubicBezTo>
                  <a:cubicBezTo>
                    <a:pt x="381" y="228"/>
                    <a:pt x="380" y="229"/>
                    <a:pt x="380" y="229"/>
                  </a:cubicBezTo>
                  <a:cubicBezTo>
                    <a:pt x="381" y="229"/>
                    <a:pt x="382" y="229"/>
                    <a:pt x="383" y="228"/>
                  </a:cubicBezTo>
                  <a:cubicBezTo>
                    <a:pt x="384" y="227"/>
                    <a:pt x="383" y="227"/>
                    <a:pt x="384" y="226"/>
                  </a:cubicBezTo>
                  <a:cubicBezTo>
                    <a:pt x="384" y="226"/>
                    <a:pt x="384" y="227"/>
                    <a:pt x="384" y="227"/>
                  </a:cubicBezTo>
                  <a:cubicBezTo>
                    <a:pt x="385" y="225"/>
                    <a:pt x="386" y="226"/>
                    <a:pt x="386" y="228"/>
                  </a:cubicBezTo>
                  <a:cubicBezTo>
                    <a:pt x="386" y="227"/>
                    <a:pt x="384" y="228"/>
                    <a:pt x="383" y="229"/>
                  </a:cubicBezTo>
                  <a:cubicBezTo>
                    <a:pt x="387" y="228"/>
                    <a:pt x="391" y="228"/>
                    <a:pt x="394" y="227"/>
                  </a:cubicBezTo>
                  <a:cubicBezTo>
                    <a:pt x="394" y="228"/>
                    <a:pt x="394" y="227"/>
                    <a:pt x="394" y="228"/>
                  </a:cubicBezTo>
                  <a:cubicBezTo>
                    <a:pt x="394" y="228"/>
                    <a:pt x="393" y="228"/>
                    <a:pt x="393" y="228"/>
                  </a:cubicBezTo>
                  <a:cubicBezTo>
                    <a:pt x="393" y="228"/>
                    <a:pt x="393" y="228"/>
                    <a:pt x="393" y="228"/>
                  </a:cubicBezTo>
                  <a:cubicBezTo>
                    <a:pt x="391" y="227"/>
                    <a:pt x="393" y="229"/>
                    <a:pt x="394" y="229"/>
                  </a:cubicBezTo>
                  <a:cubicBezTo>
                    <a:pt x="394" y="229"/>
                    <a:pt x="398" y="231"/>
                    <a:pt x="398" y="231"/>
                  </a:cubicBezTo>
                  <a:cubicBezTo>
                    <a:pt x="399" y="231"/>
                    <a:pt x="397" y="230"/>
                    <a:pt x="397" y="230"/>
                  </a:cubicBezTo>
                  <a:cubicBezTo>
                    <a:pt x="398" y="230"/>
                    <a:pt x="400" y="229"/>
                    <a:pt x="400" y="229"/>
                  </a:cubicBezTo>
                  <a:cubicBezTo>
                    <a:pt x="400" y="229"/>
                    <a:pt x="399" y="230"/>
                    <a:pt x="399" y="230"/>
                  </a:cubicBezTo>
                  <a:cubicBezTo>
                    <a:pt x="399" y="230"/>
                    <a:pt x="401" y="232"/>
                    <a:pt x="402" y="232"/>
                  </a:cubicBezTo>
                  <a:cubicBezTo>
                    <a:pt x="401" y="232"/>
                    <a:pt x="399" y="231"/>
                    <a:pt x="399" y="231"/>
                  </a:cubicBezTo>
                  <a:cubicBezTo>
                    <a:pt x="399" y="232"/>
                    <a:pt x="400" y="232"/>
                    <a:pt x="400" y="232"/>
                  </a:cubicBezTo>
                  <a:cubicBezTo>
                    <a:pt x="400" y="232"/>
                    <a:pt x="400" y="232"/>
                    <a:pt x="400" y="232"/>
                  </a:cubicBezTo>
                  <a:cubicBezTo>
                    <a:pt x="400" y="233"/>
                    <a:pt x="401" y="233"/>
                    <a:pt x="402" y="234"/>
                  </a:cubicBezTo>
                  <a:cubicBezTo>
                    <a:pt x="402" y="234"/>
                    <a:pt x="402" y="234"/>
                    <a:pt x="402" y="234"/>
                  </a:cubicBezTo>
                  <a:cubicBezTo>
                    <a:pt x="403" y="236"/>
                    <a:pt x="403" y="236"/>
                    <a:pt x="405" y="235"/>
                  </a:cubicBezTo>
                  <a:cubicBezTo>
                    <a:pt x="404" y="236"/>
                    <a:pt x="404" y="236"/>
                    <a:pt x="404" y="236"/>
                  </a:cubicBezTo>
                  <a:cubicBezTo>
                    <a:pt x="407" y="235"/>
                    <a:pt x="410" y="234"/>
                    <a:pt x="413" y="232"/>
                  </a:cubicBezTo>
                  <a:cubicBezTo>
                    <a:pt x="415" y="232"/>
                    <a:pt x="415" y="231"/>
                    <a:pt x="416" y="232"/>
                  </a:cubicBezTo>
                  <a:cubicBezTo>
                    <a:pt x="417" y="232"/>
                    <a:pt x="419" y="233"/>
                    <a:pt x="420" y="234"/>
                  </a:cubicBezTo>
                  <a:cubicBezTo>
                    <a:pt x="420" y="235"/>
                    <a:pt x="420" y="235"/>
                    <a:pt x="421" y="236"/>
                  </a:cubicBezTo>
                  <a:cubicBezTo>
                    <a:pt x="422" y="237"/>
                    <a:pt x="422" y="237"/>
                    <a:pt x="422" y="237"/>
                  </a:cubicBezTo>
                  <a:cubicBezTo>
                    <a:pt x="422" y="238"/>
                    <a:pt x="422" y="238"/>
                    <a:pt x="423" y="238"/>
                  </a:cubicBezTo>
                  <a:cubicBezTo>
                    <a:pt x="424" y="240"/>
                    <a:pt x="426" y="240"/>
                    <a:pt x="428" y="242"/>
                  </a:cubicBezTo>
                  <a:cubicBezTo>
                    <a:pt x="428" y="242"/>
                    <a:pt x="430" y="245"/>
                    <a:pt x="430" y="246"/>
                  </a:cubicBezTo>
                  <a:cubicBezTo>
                    <a:pt x="429" y="246"/>
                    <a:pt x="430" y="246"/>
                    <a:pt x="430" y="247"/>
                  </a:cubicBezTo>
                  <a:cubicBezTo>
                    <a:pt x="430" y="247"/>
                    <a:pt x="430" y="248"/>
                    <a:pt x="430" y="248"/>
                  </a:cubicBezTo>
                  <a:cubicBezTo>
                    <a:pt x="430" y="249"/>
                    <a:pt x="430" y="250"/>
                    <a:pt x="429" y="250"/>
                  </a:cubicBezTo>
                  <a:cubicBezTo>
                    <a:pt x="429" y="251"/>
                    <a:pt x="428" y="252"/>
                    <a:pt x="428" y="253"/>
                  </a:cubicBezTo>
                  <a:cubicBezTo>
                    <a:pt x="428" y="253"/>
                    <a:pt x="428" y="254"/>
                    <a:pt x="428" y="255"/>
                  </a:cubicBezTo>
                  <a:cubicBezTo>
                    <a:pt x="428" y="255"/>
                    <a:pt x="428" y="255"/>
                    <a:pt x="428" y="256"/>
                  </a:cubicBezTo>
                  <a:cubicBezTo>
                    <a:pt x="428" y="257"/>
                    <a:pt x="428" y="258"/>
                    <a:pt x="429" y="259"/>
                  </a:cubicBezTo>
                  <a:cubicBezTo>
                    <a:pt x="429" y="258"/>
                    <a:pt x="429" y="258"/>
                    <a:pt x="429" y="258"/>
                  </a:cubicBezTo>
                  <a:cubicBezTo>
                    <a:pt x="430" y="259"/>
                    <a:pt x="430" y="258"/>
                    <a:pt x="430" y="258"/>
                  </a:cubicBezTo>
                  <a:cubicBezTo>
                    <a:pt x="431" y="256"/>
                    <a:pt x="430" y="256"/>
                    <a:pt x="429" y="256"/>
                  </a:cubicBezTo>
                  <a:cubicBezTo>
                    <a:pt x="431" y="256"/>
                    <a:pt x="431" y="258"/>
                    <a:pt x="432" y="256"/>
                  </a:cubicBezTo>
                  <a:cubicBezTo>
                    <a:pt x="433" y="258"/>
                    <a:pt x="430" y="259"/>
                    <a:pt x="430" y="260"/>
                  </a:cubicBezTo>
                  <a:cubicBezTo>
                    <a:pt x="430" y="260"/>
                    <a:pt x="430" y="260"/>
                    <a:pt x="430" y="260"/>
                  </a:cubicBezTo>
                  <a:cubicBezTo>
                    <a:pt x="430" y="261"/>
                    <a:pt x="430" y="261"/>
                    <a:pt x="431" y="262"/>
                  </a:cubicBezTo>
                  <a:cubicBezTo>
                    <a:pt x="431" y="265"/>
                    <a:pt x="433" y="266"/>
                    <a:pt x="435" y="268"/>
                  </a:cubicBezTo>
                  <a:cubicBezTo>
                    <a:pt x="435" y="268"/>
                    <a:pt x="435" y="267"/>
                    <a:pt x="435" y="267"/>
                  </a:cubicBezTo>
                  <a:cubicBezTo>
                    <a:pt x="435" y="267"/>
                    <a:pt x="435" y="266"/>
                    <a:pt x="437" y="266"/>
                  </a:cubicBezTo>
                  <a:cubicBezTo>
                    <a:pt x="437" y="266"/>
                    <a:pt x="436" y="267"/>
                    <a:pt x="436" y="266"/>
                  </a:cubicBezTo>
                  <a:cubicBezTo>
                    <a:pt x="436" y="266"/>
                    <a:pt x="436" y="267"/>
                    <a:pt x="436" y="267"/>
                  </a:cubicBezTo>
                  <a:cubicBezTo>
                    <a:pt x="436" y="267"/>
                    <a:pt x="436" y="267"/>
                    <a:pt x="436" y="267"/>
                  </a:cubicBezTo>
                  <a:cubicBezTo>
                    <a:pt x="436" y="269"/>
                    <a:pt x="436" y="270"/>
                    <a:pt x="436" y="271"/>
                  </a:cubicBezTo>
                  <a:cubicBezTo>
                    <a:pt x="437" y="271"/>
                    <a:pt x="437" y="270"/>
                    <a:pt x="439" y="269"/>
                  </a:cubicBezTo>
                  <a:cubicBezTo>
                    <a:pt x="438" y="270"/>
                    <a:pt x="437" y="270"/>
                    <a:pt x="437" y="271"/>
                  </a:cubicBezTo>
                  <a:cubicBezTo>
                    <a:pt x="439" y="272"/>
                    <a:pt x="439" y="277"/>
                    <a:pt x="439" y="278"/>
                  </a:cubicBezTo>
                  <a:cubicBezTo>
                    <a:pt x="439" y="278"/>
                    <a:pt x="440" y="277"/>
                    <a:pt x="440" y="278"/>
                  </a:cubicBezTo>
                  <a:cubicBezTo>
                    <a:pt x="441" y="278"/>
                    <a:pt x="443" y="280"/>
                    <a:pt x="444" y="282"/>
                  </a:cubicBezTo>
                  <a:cubicBezTo>
                    <a:pt x="445" y="282"/>
                    <a:pt x="448" y="285"/>
                    <a:pt x="447" y="285"/>
                  </a:cubicBezTo>
                  <a:cubicBezTo>
                    <a:pt x="447" y="285"/>
                    <a:pt x="446" y="285"/>
                    <a:pt x="446" y="285"/>
                  </a:cubicBezTo>
                  <a:cubicBezTo>
                    <a:pt x="446" y="285"/>
                    <a:pt x="446" y="286"/>
                    <a:pt x="446" y="286"/>
                  </a:cubicBezTo>
                  <a:cubicBezTo>
                    <a:pt x="446" y="286"/>
                    <a:pt x="447" y="286"/>
                    <a:pt x="447" y="286"/>
                  </a:cubicBezTo>
                  <a:cubicBezTo>
                    <a:pt x="448" y="286"/>
                    <a:pt x="448" y="286"/>
                    <a:pt x="448" y="286"/>
                  </a:cubicBezTo>
                  <a:cubicBezTo>
                    <a:pt x="448" y="286"/>
                    <a:pt x="449" y="286"/>
                    <a:pt x="449" y="286"/>
                  </a:cubicBezTo>
                  <a:cubicBezTo>
                    <a:pt x="450" y="286"/>
                    <a:pt x="450" y="286"/>
                    <a:pt x="450" y="286"/>
                  </a:cubicBezTo>
                  <a:cubicBezTo>
                    <a:pt x="451" y="285"/>
                    <a:pt x="451" y="285"/>
                    <a:pt x="452" y="286"/>
                  </a:cubicBezTo>
                  <a:cubicBezTo>
                    <a:pt x="452" y="286"/>
                    <a:pt x="452" y="285"/>
                    <a:pt x="452" y="285"/>
                  </a:cubicBezTo>
                  <a:cubicBezTo>
                    <a:pt x="452" y="285"/>
                    <a:pt x="452" y="285"/>
                    <a:pt x="453" y="286"/>
                  </a:cubicBezTo>
                  <a:cubicBezTo>
                    <a:pt x="452" y="285"/>
                    <a:pt x="452" y="285"/>
                    <a:pt x="453" y="285"/>
                  </a:cubicBezTo>
                  <a:cubicBezTo>
                    <a:pt x="453" y="283"/>
                    <a:pt x="454" y="282"/>
                    <a:pt x="455" y="281"/>
                  </a:cubicBezTo>
                  <a:cubicBezTo>
                    <a:pt x="456" y="277"/>
                    <a:pt x="456" y="274"/>
                    <a:pt x="456" y="270"/>
                  </a:cubicBezTo>
                  <a:cubicBezTo>
                    <a:pt x="456" y="267"/>
                    <a:pt x="456" y="264"/>
                    <a:pt x="454" y="263"/>
                  </a:cubicBezTo>
                  <a:cubicBezTo>
                    <a:pt x="454" y="263"/>
                    <a:pt x="454" y="263"/>
                    <a:pt x="455" y="264"/>
                  </a:cubicBezTo>
                  <a:cubicBezTo>
                    <a:pt x="454" y="262"/>
                    <a:pt x="453" y="260"/>
                    <a:pt x="453" y="258"/>
                  </a:cubicBezTo>
                  <a:cubicBezTo>
                    <a:pt x="452" y="256"/>
                    <a:pt x="451" y="255"/>
                    <a:pt x="450" y="253"/>
                  </a:cubicBezTo>
                  <a:cubicBezTo>
                    <a:pt x="449" y="251"/>
                    <a:pt x="449" y="248"/>
                    <a:pt x="448" y="246"/>
                  </a:cubicBezTo>
                  <a:cubicBezTo>
                    <a:pt x="449" y="246"/>
                    <a:pt x="449" y="249"/>
                    <a:pt x="450" y="248"/>
                  </a:cubicBezTo>
                  <a:cubicBezTo>
                    <a:pt x="450" y="250"/>
                    <a:pt x="450" y="251"/>
                    <a:pt x="450" y="253"/>
                  </a:cubicBezTo>
                  <a:cubicBezTo>
                    <a:pt x="452" y="249"/>
                    <a:pt x="451" y="248"/>
                    <a:pt x="449" y="246"/>
                  </a:cubicBezTo>
                  <a:cubicBezTo>
                    <a:pt x="448" y="244"/>
                    <a:pt x="447" y="243"/>
                    <a:pt x="447" y="241"/>
                  </a:cubicBezTo>
                  <a:cubicBezTo>
                    <a:pt x="446" y="240"/>
                    <a:pt x="445" y="239"/>
                    <a:pt x="445" y="238"/>
                  </a:cubicBezTo>
                  <a:cubicBezTo>
                    <a:pt x="444" y="236"/>
                    <a:pt x="444" y="234"/>
                    <a:pt x="443" y="232"/>
                  </a:cubicBezTo>
                  <a:cubicBezTo>
                    <a:pt x="443" y="230"/>
                    <a:pt x="442" y="228"/>
                    <a:pt x="441" y="226"/>
                  </a:cubicBezTo>
                  <a:cubicBezTo>
                    <a:pt x="441" y="224"/>
                    <a:pt x="441" y="221"/>
                    <a:pt x="442" y="220"/>
                  </a:cubicBezTo>
                  <a:cubicBezTo>
                    <a:pt x="442" y="219"/>
                    <a:pt x="442" y="219"/>
                    <a:pt x="442" y="219"/>
                  </a:cubicBezTo>
                  <a:cubicBezTo>
                    <a:pt x="445" y="218"/>
                    <a:pt x="443" y="218"/>
                    <a:pt x="442" y="217"/>
                  </a:cubicBezTo>
                  <a:cubicBezTo>
                    <a:pt x="442" y="217"/>
                    <a:pt x="442" y="218"/>
                    <a:pt x="443" y="218"/>
                  </a:cubicBezTo>
                  <a:cubicBezTo>
                    <a:pt x="443" y="217"/>
                    <a:pt x="443" y="217"/>
                    <a:pt x="443" y="216"/>
                  </a:cubicBezTo>
                  <a:cubicBezTo>
                    <a:pt x="444" y="216"/>
                    <a:pt x="444" y="216"/>
                    <a:pt x="445" y="215"/>
                  </a:cubicBezTo>
                  <a:cubicBezTo>
                    <a:pt x="444" y="216"/>
                    <a:pt x="444" y="216"/>
                    <a:pt x="444" y="216"/>
                  </a:cubicBezTo>
                  <a:cubicBezTo>
                    <a:pt x="444" y="215"/>
                    <a:pt x="444" y="213"/>
                    <a:pt x="444" y="213"/>
                  </a:cubicBezTo>
                  <a:cubicBezTo>
                    <a:pt x="444" y="213"/>
                    <a:pt x="445" y="213"/>
                    <a:pt x="445" y="213"/>
                  </a:cubicBezTo>
                  <a:cubicBezTo>
                    <a:pt x="446" y="213"/>
                    <a:pt x="447" y="211"/>
                    <a:pt x="447" y="211"/>
                  </a:cubicBezTo>
                  <a:cubicBezTo>
                    <a:pt x="448" y="210"/>
                    <a:pt x="450" y="208"/>
                    <a:pt x="450" y="207"/>
                  </a:cubicBezTo>
                  <a:cubicBezTo>
                    <a:pt x="450" y="207"/>
                    <a:pt x="449" y="207"/>
                    <a:pt x="449" y="207"/>
                  </a:cubicBezTo>
                  <a:cubicBezTo>
                    <a:pt x="449" y="206"/>
                    <a:pt x="448" y="205"/>
                    <a:pt x="448" y="204"/>
                  </a:cubicBezTo>
                  <a:cubicBezTo>
                    <a:pt x="448" y="204"/>
                    <a:pt x="449" y="204"/>
                    <a:pt x="449" y="204"/>
                  </a:cubicBezTo>
                  <a:cubicBezTo>
                    <a:pt x="448" y="206"/>
                    <a:pt x="451" y="204"/>
                    <a:pt x="450" y="206"/>
                  </a:cubicBezTo>
                  <a:cubicBezTo>
                    <a:pt x="450" y="206"/>
                    <a:pt x="450" y="206"/>
                    <a:pt x="450" y="206"/>
                  </a:cubicBezTo>
                  <a:cubicBezTo>
                    <a:pt x="450" y="206"/>
                    <a:pt x="450" y="206"/>
                    <a:pt x="450" y="206"/>
                  </a:cubicBezTo>
                  <a:cubicBezTo>
                    <a:pt x="451" y="206"/>
                    <a:pt x="452" y="206"/>
                    <a:pt x="452" y="205"/>
                  </a:cubicBezTo>
                  <a:cubicBezTo>
                    <a:pt x="452" y="206"/>
                    <a:pt x="452" y="206"/>
                    <a:pt x="452" y="206"/>
                  </a:cubicBezTo>
                  <a:cubicBezTo>
                    <a:pt x="452" y="204"/>
                    <a:pt x="451" y="205"/>
                    <a:pt x="450" y="204"/>
                  </a:cubicBezTo>
                  <a:cubicBezTo>
                    <a:pt x="450" y="204"/>
                    <a:pt x="451" y="204"/>
                    <a:pt x="451" y="204"/>
                  </a:cubicBezTo>
                  <a:cubicBezTo>
                    <a:pt x="452" y="204"/>
                    <a:pt x="452" y="204"/>
                    <a:pt x="452" y="204"/>
                  </a:cubicBezTo>
                  <a:cubicBezTo>
                    <a:pt x="453" y="204"/>
                    <a:pt x="454" y="203"/>
                    <a:pt x="454" y="203"/>
                  </a:cubicBezTo>
                  <a:cubicBezTo>
                    <a:pt x="454" y="203"/>
                    <a:pt x="456" y="203"/>
                    <a:pt x="456" y="203"/>
                  </a:cubicBezTo>
                  <a:cubicBezTo>
                    <a:pt x="457" y="203"/>
                    <a:pt x="457" y="203"/>
                    <a:pt x="457" y="202"/>
                  </a:cubicBezTo>
                  <a:cubicBezTo>
                    <a:pt x="457" y="203"/>
                    <a:pt x="457" y="203"/>
                    <a:pt x="457" y="203"/>
                  </a:cubicBezTo>
                  <a:cubicBezTo>
                    <a:pt x="457" y="202"/>
                    <a:pt x="457" y="201"/>
                    <a:pt x="457" y="200"/>
                  </a:cubicBezTo>
                  <a:cubicBezTo>
                    <a:pt x="458" y="201"/>
                    <a:pt x="458" y="201"/>
                    <a:pt x="459" y="201"/>
                  </a:cubicBezTo>
                  <a:cubicBezTo>
                    <a:pt x="460" y="201"/>
                    <a:pt x="461" y="199"/>
                    <a:pt x="462" y="199"/>
                  </a:cubicBezTo>
                  <a:cubicBezTo>
                    <a:pt x="463" y="198"/>
                    <a:pt x="466" y="197"/>
                    <a:pt x="465" y="196"/>
                  </a:cubicBezTo>
                  <a:cubicBezTo>
                    <a:pt x="464" y="196"/>
                    <a:pt x="464" y="195"/>
                    <a:pt x="464" y="195"/>
                  </a:cubicBezTo>
                  <a:cubicBezTo>
                    <a:pt x="465" y="195"/>
                    <a:pt x="465" y="196"/>
                    <a:pt x="465" y="196"/>
                  </a:cubicBezTo>
                  <a:cubicBezTo>
                    <a:pt x="466" y="194"/>
                    <a:pt x="466" y="193"/>
                    <a:pt x="467" y="192"/>
                  </a:cubicBezTo>
                  <a:cubicBezTo>
                    <a:pt x="469" y="191"/>
                    <a:pt x="470" y="190"/>
                    <a:pt x="471" y="189"/>
                  </a:cubicBezTo>
                  <a:cubicBezTo>
                    <a:pt x="472" y="188"/>
                    <a:pt x="475" y="189"/>
                    <a:pt x="476" y="189"/>
                  </a:cubicBezTo>
                  <a:cubicBezTo>
                    <a:pt x="478" y="188"/>
                    <a:pt x="478" y="187"/>
                    <a:pt x="478" y="185"/>
                  </a:cubicBezTo>
                  <a:cubicBezTo>
                    <a:pt x="478" y="186"/>
                    <a:pt x="478" y="187"/>
                    <a:pt x="478" y="188"/>
                  </a:cubicBezTo>
                  <a:cubicBezTo>
                    <a:pt x="478" y="187"/>
                    <a:pt x="478" y="187"/>
                    <a:pt x="478" y="186"/>
                  </a:cubicBezTo>
                  <a:cubicBezTo>
                    <a:pt x="479" y="184"/>
                    <a:pt x="481" y="183"/>
                    <a:pt x="483" y="182"/>
                  </a:cubicBezTo>
                  <a:cubicBezTo>
                    <a:pt x="483" y="182"/>
                    <a:pt x="483" y="182"/>
                    <a:pt x="483" y="182"/>
                  </a:cubicBezTo>
                  <a:cubicBezTo>
                    <a:pt x="483" y="182"/>
                    <a:pt x="483" y="182"/>
                    <a:pt x="483" y="181"/>
                  </a:cubicBezTo>
                  <a:cubicBezTo>
                    <a:pt x="483" y="182"/>
                    <a:pt x="483" y="182"/>
                    <a:pt x="483" y="182"/>
                  </a:cubicBezTo>
                  <a:cubicBezTo>
                    <a:pt x="483" y="181"/>
                    <a:pt x="484" y="181"/>
                    <a:pt x="483" y="181"/>
                  </a:cubicBezTo>
                  <a:cubicBezTo>
                    <a:pt x="484" y="180"/>
                    <a:pt x="483" y="179"/>
                    <a:pt x="483" y="179"/>
                  </a:cubicBezTo>
                  <a:cubicBezTo>
                    <a:pt x="483" y="179"/>
                    <a:pt x="484" y="179"/>
                    <a:pt x="484" y="179"/>
                  </a:cubicBezTo>
                  <a:cubicBezTo>
                    <a:pt x="484" y="179"/>
                    <a:pt x="485" y="179"/>
                    <a:pt x="486" y="179"/>
                  </a:cubicBezTo>
                  <a:cubicBezTo>
                    <a:pt x="487" y="179"/>
                    <a:pt x="486" y="179"/>
                    <a:pt x="487" y="179"/>
                  </a:cubicBezTo>
                  <a:cubicBezTo>
                    <a:pt x="488" y="179"/>
                    <a:pt x="489" y="179"/>
                    <a:pt x="490" y="178"/>
                  </a:cubicBezTo>
                  <a:cubicBezTo>
                    <a:pt x="491" y="178"/>
                    <a:pt x="494" y="178"/>
                    <a:pt x="495" y="176"/>
                  </a:cubicBezTo>
                  <a:cubicBezTo>
                    <a:pt x="495" y="176"/>
                    <a:pt x="493" y="176"/>
                    <a:pt x="493" y="177"/>
                  </a:cubicBezTo>
                  <a:cubicBezTo>
                    <a:pt x="494" y="175"/>
                    <a:pt x="492" y="176"/>
                    <a:pt x="492" y="176"/>
                  </a:cubicBezTo>
                  <a:cubicBezTo>
                    <a:pt x="492" y="176"/>
                    <a:pt x="491" y="176"/>
                    <a:pt x="491" y="176"/>
                  </a:cubicBezTo>
                  <a:cubicBezTo>
                    <a:pt x="491" y="176"/>
                    <a:pt x="490" y="177"/>
                    <a:pt x="490" y="177"/>
                  </a:cubicBezTo>
                  <a:cubicBezTo>
                    <a:pt x="489" y="177"/>
                    <a:pt x="487" y="175"/>
                    <a:pt x="487" y="174"/>
                  </a:cubicBezTo>
                  <a:cubicBezTo>
                    <a:pt x="487" y="174"/>
                    <a:pt x="487" y="174"/>
                    <a:pt x="487" y="174"/>
                  </a:cubicBezTo>
                  <a:cubicBezTo>
                    <a:pt x="488" y="175"/>
                    <a:pt x="488" y="175"/>
                    <a:pt x="489" y="175"/>
                  </a:cubicBezTo>
                  <a:cubicBezTo>
                    <a:pt x="491" y="175"/>
                    <a:pt x="494" y="173"/>
                    <a:pt x="492" y="172"/>
                  </a:cubicBezTo>
                  <a:cubicBezTo>
                    <a:pt x="490" y="171"/>
                    <a:pt x="488" y="171"/>
                    <a:pt x="487" y="170"/>
                  </a:cubicBezTo>
                  <a:cubicBezTo>
                    <a:pt x="488" y="171"/>
                    <a:pt x="490" y="171"/>
                    <a:pt x="492" y="171"/>
                  </a:cubicBezTo>
                  <a:cubicBezTo>
                    <a:pt x="492" y="171"/>
                    <a:pt x="491" y="170"/>
                    <a:pt x="492" y="169"/>
                  </a:cubicBezTo>
                  <a:cubicBezTo>
                    <a:pt x="492" y="169"/>
                    <a:pt x="492" y="170"/>
                    <a:pt x="492" y="170"/>
                  </a:cubicBezTo>
                  <a:cubicBezTo>
                    <a:pt x="492" y="170"/>
                    <a:pt x="492" y="171"/>
                    <a:pt x="492" y="171"/>
                  </a:cubicBezTo>
                  <a:cubicBezTo>
                    <a:pt x="493" y="170"/>
                    <a:pt x="494" y="170"/>
                    <a:pt x="494" y="171"/>
                  </a:cubicBezTo>
                  <a:cubicBezTo>
                    <a:pt x="496" y="171"/>
                    <a:pt x="501" y="169"/>
                    <a:pt x="500" y="166"/>
                  </a:cubicBezTo>
                  <a:cubicBezTo>
                    <a:pt x="500" y="165"/>
                    <a:pt x="500" y="165"/>
                    <a:pt x="498" y="165"/>
                  </a:cubicBezTo>
                  <a:cubicBezTo>
                    <a:pt x="497" y="165"/>
                    <a:pt x="498" y="167"/>
                    <a:pt x="497" y="168"/>
                  </a:cubicBezTo>
                  <a:cubicBezTo>
                    <a:pt x="497" y="167"/>
                    <a:pt x="497" y="166"/>
                    <a:pt x="497" y="165"/>
                  </a:cubicBezTo>
                  <a:cubicBezTo>
                    <a:pt x="497" y="165"/>
                    <a:pt x="497" y="165"/>
                    <a:pt x="497" y="165"/>
                  </a:cubicBezTo>
                  <a:cubicBezTo>
                    <a:pt x="498" y="164"/>
                    <a:pt x="496" y="164"/>
                    <a:pt x="496" y="164"/>
                  </a:cubicBezTo>
                  <a:cubicBezTo>
                    <a:pt x="495" y="164"/>
                    <a:pt x="495" y="165"/>
                    <a:pt x="495" y="165"/>
                  </a:cubicBezTo>
                  <a:cubicBezTo>
                    <a:pt x="494" y="165"/>
                    <a:pt x="494" y="165"/>
                    <a:pt x="494" y="165"/>
                  </a:cubicBezTo>
                  <a:cubicBezTo>
                    <a:pt x="494" y="164"/>
                    <a:pt x="491" y="165"/>
                    <a:pt x="490" y="165"/>
                  </a:cubicBezTo>
                  <a:cubicBezTo>
                    <a:pt x="491" y="164"/>
                    <a:pt x="490" y="164"/>
                    <a:pt x="490" y="163"/>
                  </a:cubicBezTo>
                  <a:cubicBezTo>
                    <a:pt x="490" y="162"/>
                    <a:pt x="490" y="160"/>
                    <a:pt x="491" y="161"/>
                  </a:cubicBezTo>
                  <a:cubicBezTo>
                    <a:pt x="491" y="161"/>
                    <a:pt x="490" y="161"/>
                    <a:pt x="490" y="162"/>
                  </a:cubicBezTo>
                  <a:cubicBezTo>
                    <a:pt x="490" y="164"/>
                    <a:pt x="492" y="164"/>
                    <a:pt x="494" y="163"/>
                  </a:cubicBezTo>
                  <a:cubicBezTo>
                    <a:pt x="494" y="163"/>
                    <a:pt x="493" y="162"/>
                    <a:pt x="493" y="162"/>
                  </a:cubicBezTo>
                  <a:cubicBezTo>
                    <a:pt x="494" y="162"/>
                    <a:pt x="494" y="163"/>
                    <a:pt x="496" y="163"/>
                  </a:cubicBezTo>
                  <a:cubicBezTo>
                    <a:pt x="495" y="163"/>
                    <a:pt x="495" y="162"/>
                    <a:pt x="495" y="162"/>
                  </a:cubicBezTo>
                  <a:cubicBezTo>
                    <a:pt x="495" y="162"/>
                    <a:pt x="496" y="162"/>
                    <a:pt x="497" y="162"/>
                  </a:cubicBezTo>
                  <a:cubicBezTo>
                    <a:pt x="497" y="162"/>
                    <a:pt x="496" y="161"/>
                    <a:pt x="496" y="160"/>
                  </a:cubicBezTo>
                  <a:cubicBezTo>
                    <a:pt x="496" y="160"/>
                    <a:pt x="496" y="160"/>
                    <a:pt x="496" y="160"/>
                  </a:cubicBezTo>
                  <a:cubicBezTo>
                    <a:pt x="496" y="161"/>
                    <a:pt x="498" y="162"/>
                    <a:pt x="499" y="162"/>
                  </a:cubicBezTo>
                  <a:cubicBezTo>
                    <a:pt x="498" y="162"/>
                    <a:pt x="498" y="161"/>
                    <a:pt x="498" y="160"/>
                  </a:cubicBezTo>
                  <a:cubicBezTo>
                    <a:pt x="499" y="161"/>
                    <a:pt x="499" y="163"/>
                    <a:pt x="500" y="163"/>
                  </a:cubicBezTo>
                  <a:cubicBezTo>
                    <a:pt x="499" y="161"/>
                    <a:pt x="498" y="160"/>
                    <a:pt x="497" y="158"/>
                  </a:cubicBezTo>
                  <a:cubicBezTo>
                    <a:pt x="498" y="158"/>
                    <a:pt x="498" y="157"/>
                    <a:pt x="498" y="156"/>
                  </a:cubicBezTo>
                  <a:cubicBezTo>
                    <a:pt x="499" y="157"/>
                    <a:pt x="499" y="158"/>
                    <a:pt x="499" y="159"/>
                  </a:cubicBezTo>
                  <a:cubicBezTo>
                    <a:pt x="499" y="158"/>
                    <a:pt x="499" y="154"/>
                    <a:pt x="498" y="153"/>
                  </a:cubicBezTo>
                  <a:cubicBezTo>
                    <a:pt x="497" y="153"/>
                    <a:pt x="496" y="153"/>
                    <a:pt x="496" y="153"/>
                  </a:cubicBezTo>
                  <a:cubicBezTo>
                    <a:pt x="495" y="153"/>
                    <a:pt x="495" y="153"/>
                    <a:pt x="494" y="153"/>
                  </a:cubicBezTo>
                  <a:cubicBezTo>
                    <a:pt x="495" y="153"/>
                    <a:pt x="494" y="154"/>
                    <a:pt x="494" y="154"/>
                  </a:cubicBezTo>
                  <a:cubicBezTo>
                    <a:pt x="494" y="154"/>
                    <a:pt x="493" y="154"/>
                    <a:pt x="492" y="154"/>
                  </a:cubicBezTo>
                  <a:cubicBezTo>
                    <a:pt x="493" y="153"/>
                    <a:pt x="491" y="151"/>
                    <a:pt x="491" y="150"/>
                  </a:cubicBezTo>
                  <a:cubicBezTo>
                    <a:pt x="491" y="151"/>
                    <a:pt x="492" y="151"/>
                    <a:pt x="492" y="152"/>
                  </a:cubicBezTo>
                  <a:cubicBezTo>
                    <a:pt x="493" y="152"/>
                    <a:pt x="493" y="153"/>
                    <a:pt x="494" y="152"/>
                  </a:cubicBezTo>
                  <a:cubicBezTo>
                    <a:pt x="494" y="151"/>
                    <a:pt x="494" y="150"/>
                    <a:pt x="493" y="149"/>
                  </a:cubicBezTo>
                  <a:cubicBezTo>
                    <a:pt x="493" y="149"/>
                    <a:pt x="493" y="149"/>
                    <a:pt x="493" y="149"/>
                  </a:cubicBezTo>
                  <a:cubicBezTo>
                    <a:pt x="493" y="149"/>
                    <a:pt x="493" y="149"/>
                    <a:pt x="493" y="149"/>
                  </a:cubicBezTo>
                  <a:cubicBezTo>
                    <a:pt x="493" y="149"/>
                    <a:pt x="493" y="149"/>
                    <a:pt x="493" y="149"/>
                  </a:cubicBezTo>
                  <a:cubicBezTo>
                    <a:pt x="493" y="149"/>
                    <a:pt x="493" y="149"/>
                    <a:pt x="493" y="149"/>
                  </a:cubicBezTo>
                  <a:cubicBezTo>
                    <a:pt x="493" y="149"/>
                    <a:pt x="494" y="149"/>
                    <a:pt x="494" y="149"/>
                  </a:cubicBezTo>
                  <a:cubicBezTo>
                    <a:pt x="495" y="149"/>
                    <a:pt x="495" y="149"/>
                    <a:pt x="495" y="148"/>
                  </a:cubicBezTo>
                  <a:cubicBezTo>
                    <a:pt x="496" y="147"/>
                    <a:pt x="494" y="146"/>
                    <a:pt x="493" y="145"/>
                  </a:cubicBezTo>
                  <a:cubicBezTo>
                    <a:pt x="493" y="145"/>
                    <a:pt x="493" y="145"/>
                    <a:pt x="493" y="145"/>
                  </a:cubicBezTo>
                  <a:cubicBezTo>
                    <a:pt x="493" y="143"/>
                    <a:pt x="493" y="145"/>
                    <a:pt x="493" y="145"/>
                  </a:cubicBezTo>
                  <a:cubicBezTo>
                    <a:pt x="493" y="145"/>
                    <a:pt x="493" y="145"/>
                    <a:pt x="493" y="145"/>
                  </a:cubicBezTo>
                  <a:cubicBezTo>
                    <a:pt x="494" y="145"/>
                    <a:pt x="495" y="143"/>
                    <a:pt x="495" y="143"/>
                  </a:cubicBezTo>
                  <a:cubicBezTo>
                    <a:pt x="495" y="142"/>
                    <a:pt x="495" y="142"/>
                    <a:pt x="495" y="141"/>
                  </a:cubicBezTo>
                  <a:cubicBezTo>
                    <a:pt x="494" y="140"/>
                    <a:pt x="491" y="139"/>
                    <a:pt x="490" y="139"/>
                  </a:cubicBezTo>
                  <a:cubicBezTo>
                    <a:pt x="490" y="139"/>
                    <a:pt x="488" y="139"/>
                    <a:pt x="488" y="138"/>
                  </a:cubicBezTo>
                  <a:cubicBezTo>
                    <a:pt x="487" y="138"/>
                    <a:pt x="487" y="137"/>
                    <a:pt x="487" y="137"/>
                  </a:cubicBezTo>
                  <a:cubicBezTo>
                    <a:pt x="486" y="136"/>
                    <a:pt x="486" y="137"/>
                    <a:pt x="486" y="136"/>
                  </a:cubicBezTo>
                  <a:cubicBezTo>
                    <a:pt x="485" y="136"/>
                    <a:pt x="485" y="137"/>
                    <a:pt x="484" y="137"/>
                  </a:cubicBezTo>
                  <a:cubicBezTo>
                    <a:pt x="484" y="136"/>
                    <a:pt x="484" y="137"/>
                    <a:pt x="484" y="137"/>
                  </a:cubicBezTo>
                  <a:cubicBezTo>
                    <a:pt x="485" y="134"/>
                    <a:pt x="487" y="132"/>
                    <a:pt x="487" y="130"/>
                  </a:cubicBezTo>
                  <a:cubicBezTo>
                    <a:pt x="488" y="132"/>
                    <a:pt x="486" y="133"/>
                    <a:pt x="485" y="135"/>
                  </a:cubicBezTo>
                  <a:cubicBezTo>
                    <a:pt x="485" y="135"/>
                    <a:pt x="485" y="136"/>
                    <a:pt x="485" y="136"/>
                  </a:cubicBezTo>
                  <a:cubicBezTo>
                    <a:pt x="486" y="137"/>
                    <a:pt x="486" y="136"/>
                    <a:pt x="486" y="135"/>
                  </a:cubicBezTo>
                  <a:cubicBezTo>
                    <a:pt x="486" y="136"/>
                    <a:pt x="487" y="136"/>
                    <a:pt x="487" y="135"/>
                  </a:cubicBezTo>
                  <a:cubicBezTo>
                    <a:pt x="487" y="135"/>
                    <a:pt x="488" y="137"/>
                    <a:pt x="488" y="137"/>
                  </a:cubicBezTo>
                  <a:cubicBezTo>
                    <a:pt x="489" y="137"/>
                    <a:pt x="489" y="136"/>
                    <a:pt x="489" y="136"/>
                  </a:cubicBezTo>
                  <a:cubicBezTo>
                    <a:pt x="490" y="137"/>
                    <a:pt x="491" y="137"/>
                    <a:pt x="491" y="138"/>
                  </a:cubicBezTo>
                  <a:cubicBezTo>
                    <a:pt x="492" y="138"/>
                    <a:pt x="493" y="139"/>
                    <a:pt x="494" y="140"/>
                  </a:cubicBezTo>
                  <a:cubicBezTo>
                    <a:pt x="494" y="139"/>
                    <a:pt x="494" y="139"/>
                    <a:pt x="494" y="138"/>
                  </a:cubicBezTo>
                  <a:cubicBezTo>
                    <a:pt x="494" y="138"/>
                    <a:pt x="494" y="137"/>
                    <a:pt x="494" y="137"/>
                  </a:cubicBezTo>
                  <a:cubicBezTo>
                    <a:pt x="494" y="137"/>
                    <a:pt x="493" y="137"/>
                    <a:pt x="493" y="137"/>
                  </a:cubicBezTo>
                  <a:cubicBezTo>
                    <a:pt x="491" y="136"/>
                    <a:pt x="491" y="135"/>
                    <a:pt x="491" y="133"/>
                  </a:cubicBezTo>
                  <a:cubicBezTo>
                    <a:pt x="491" y="135"/>
                    <a:pt x="491" y="135"/>
                    <a:pt x="494" y="136"/>
                  </a:cubicBezTo>
                  <a:cubicBezTo>
                    <a:pt x="493" y="135"/>
                    <a:pt x="493" y="135"/>
                    <a:pt x="492" y="134"/>
                  </a:cubicBezTo>
                  <a:cubicBezTo>
                    <a:pt x="492" y="133"/>
                    <a:pt x="492" y="132"/>
                    <a:pt x="492" y="132"/>
                  </a:cubicBezTo>
                  <a:cubicBezTo>
                    <a:pt x="493" y="129"/>
                    <a:pt x="493" y="130"/>
                    <a:pt x="492" y="128"/>
                  </a:cubicBezTo>
                  <a:cubicBezTo>
                    <a:pt x="492" y="128"/>
                    <a:pt x="493" y="129"/>
                    <a:pt x="493" y="129"/>
                  </a:cubicBezTo>
                  <a:cubicBezTo>
                    <a:pt x="493" y="128"/>
                    <a:pt x="492" y="127"/>
                    <a:pt x="491" y="126"/>
                  </a:cubicBezTo>
                  <a:cubicBezTo>
                    <a:pt x="493" y="126"/>
                    <a:pt x="493" y="125"/>
                    <a:pt x="494" y="124"/>
                  </a:cubicBezTo>
                  <a:cubicBezTo>
                    <a:pt x="494" y="124"/>
                    <a:pt x="494" y="124"/>
                    <a:pt x="495" y="123"/>
                  </a:cubicBezTo>
                  <a:cubicBezTo>
                    <a:pt x="495" y="123"/>
                    <a:pt x="495" y="123"/>
                    <a:pt x="495" y="124"/>
                  </a:cubicBezTo>
                  <a:cubicBezTo>
                    <a:pt x="496" y="123"/>
                    <a:pt x="497" y="122"/>
                    <a:pt x="498" y="122"/>
                  </a:cubicBezTo>
                  <a:cubicBezTo>
                    <a:pt x="500" y="122"/>
                    <a:pt x="498" y="122"/>
                    <a:pt x="499" y="123"/>
                  </a:cubicBezTo>
                  <a:cubicBezTo>
                    <a:pt x="499" y="123"/>
                    <a:pt x="498" y="123"/>
                    <a:pt x="498" y="124"/>
                  </a:cubicBezTo>
                  <a:cubicBezTo>
                    <a:pt x="497" y="124"/>
                    <a:pt x="499" y="124"/>
                    <a:pt x="499" y="124"/>
                  </a:cubicBezTo>
                  <a:cubicBezTo>
                    <a:pt x="498" y="124"/>
                    <a:pt x="497" y="124"/>
                    <a:pt x="496" y="125"/>
                  </a:cubicBezTo>
                  <a:cubicBezTo>
                    <a:pt x="495" y="126"/>
                    <a:pt x="495" y="126"/>
                    <a:pt x="495" y="127"/>
                  </a:cubicBezTo>
                  <a:cubicBezTo>
                    <a:pt x="496" y="127"/>
                    <a:pt x="496" y="127"/>
                    <a:pt x="497" y="127"/>
                  </a:cubicBezTo>
                  <a:cubicBezTo>
                    <a:pt x="496" y="127"/>
                    <a:pt x="496" y="128"/>
                    <a:pt x="496" y="129"/>
                  </a:cubicBezTo>
                  <a:cubicBezTo>
                    <a:pt x="496" y="129"/>
                    <a:pt x="495" y="128"/>
                    <a:pt x="494" y="129"/>
                  </a:cubicBezTo>
                  <a:cubicBezTo>
                    <a:pt x="494" y="129"/>
                    <a:pt x="494" y="130"/>
                    <a:pt x="494" y="131"/>
                  </a:cubicBezTo>
                  <a:cubicBezTo>
                    <a:pt x="494" y="130"/>
                    <a:pt x="495" y="129"/>
                    <a:pt x="495" y="129"/>
                  </a:cubicBezTo>
                  <a:cubicBezTo>
                    <a:pt x="495" y="129"/>
                    <a:pt x="497" y="131"/>
                    <a:pt x="496" y="131"/>
                  </a:cubicBezTo>
                  <a:cubicBezTo>
                    <a:pt x="496" y="132"/>
                    <a:pt x="495" y="132"/>
                    <a:pt x="495" y="132"/>
                  </a:cubicBezTo>
                  <a:cubicBezTo>
                    <a:pt x="496" y="133"/>
                    <a:pt x="497" y="133"/>
                    <a:pt x="498" y="134"/>
                  </a:cubicBezTo>
                  <a:cubicBezTo>
                    <a:pt x="497" y="134"/>
                    <a:pt x="497" y="134"/>
                    <a:pt x="496" y="134"/>
                  </a:cubicBezTo>
                  <a:cubicBezTo>
                    <a:pt x="496" y="133"/>
                    <a:pt x="496" y="133"/>
                    <a:pt x="495" y="134"/>
                  </a:cubicBezTo>
                  <a:cubicBezTo>
                    <a:pt x="494" y="134"/>
                    <a:pt x="496" y="134"/>
                    <a:pt x="496" y="134"/>
                  </a:cubicBezTo>
                  <a:cubicBezTo>
                    <a:pt x="496" y="134"/>
                    <a:pt x="494" y="135"/>
                    <a:pt x="494" y="135"/>
                  </a:cubicBezTo>
                  <a:cubicBezTo>
                    <a:pt x="495" y="136"/>
                    <a:pt x="495" y="136"/>
                    <a:pt x="495" y="137"/>
                  </a:cubicBezTo>
                  <a:cubicBezTo>
                    <a:pt x="495" y="137"/>
                    <a:pt x="495" y="136"/>
                    <a:pt x="495" y="136"/>
                  </a:cubicBezTo>
                  <a:cubicBezTo>
                    <a:pt x="496" y="136"/>
                    <a:pt x="498" y="139"/>
                    <a:pt x="497" y="137"/>
                  </a:cubicBezTo>
                  <a:cubicBezTo>
                    <a:pt x="498" y="137"/>
                    <a:pt x="498" y="137"/>
                    <a:pt x="498" y="138"/>
                  </a:cubicBezTo>
                  <a:cubicBezTo>
                    <a:pt x="498" y="137"/>
                    <a:pt x="499" y="136"/>
                    <a:pt x="499" y="136"/>
                  </a:cubicBezTo>
                  <a:cubicBezTo>
                    <a:pt x="499" y="137"/>
                    <a:pt x="500" y="137"/>
                    <a:pt x="499" y="138"/>
                  </a:cubicBezTo>
                  <a:cubicBezTo>
                    <a:pt x="499" y="138"/>
                    <a:pt x="499" y="139"/>
                    <a:pt x="498" y="139"/>
                  </a:cubicBezTo>
                  <a:cubicBezTo>
                    <a:pt x="499" y="139"/>
                    <a:pt x="499" y="140"/>
                    <a:pt x="500" y="139"/>
                  </a:cubicBezTo>
                  <a:cubicBezTo>
                    <a:pt x="500" y="140"/>
                    <a:pt x="499" y="141"/>
                    <a:pt x="499" y="141"/>
                  </a:cubicBezTo>
                  <a:cubicBezTo>
                    <a:pt x="499" y="141"/>
                    <a:pt x="501" y="141"/>
                    <a:pt x="501" y="141"/>
                  </a:cubicBezTo>
                  <a:cubicBezTo>
                    <a:pt x="500" y="144"/>
                    <a:pt x="498" y="146"/>
                    <a:pt x="498" y="149"/>
                  </a:cubicBezTo>
                  <a:cubicBezTo>
                    <a:pt x="497" y="149"/>
                    <a:pt x="498" y="151"/>
                    <a:pt x="499" y="150"/>
                  </a:cubicBezTo>
                  <a:cubicBezTo>
                    <a:pt x="499" y="150"/>
                    <a:pt x="499" y="149"/>
                    <a:pt x="499" y="148"/>
                  </a:cubicBezTo>
                  <a:cubicBezTo>
                    <a:pt x="500" y="147"/>
                    <a:pt x="501" y="147"/>
                    <a:pt x="502" y="146"/>
                  </a:cubicBezTo>
                  <a:cubicBezTo>
                    <a:pt x="502" y="146"/>
                    <a:pt x="502" y="145"/>
                    <a:pt x="502" y="145"/>
                  </a:cubicBezTo>
                  <a:cubicBezTo>
                    <a:pt x="502" y="144"/>
                    <a:pt x="503" y="143"/>
                    <a:pt x="503" y="143"/>
                  </a:cubicBezTo>
                  <a:cubicBezTo>
                    <a:pt x="503" y="142"/>
                    <a:pt x="504" y="140"/>
                    <a:pt x="505" y="139"/>
                  </a:cubicBezTo>
                  <a:cubicBezTo>
                    <a:pt x="505" y="138"/>
                    <a:pt x="506" y="136"/>
                    <a:pt x="507" y="135"/>
                  </a:cubicBezTo>
                  <a:cubicBezTo>
                    <a:pt x="507" y="136"/>
                    <a:pt x="507" y="136"/>
                    <a:pt x="507" y="137"/>
                  </a:cubicBezTo>
                  <a:cubicBezTo>
                    <a:pt x="507" y="136"/>
                    <a:pt x="507" y="134"/>
                    <a:pt x="507" y="133"/>
                  </a:cubicBezTo>
                  <a:cubicBezTo>
                    <a:pt x="507" y="134"/>
                    <a:pt x="507" y="134"/>
                    <a:pt x="506" y="134"/>
                  </a:cubicBezTo>
                  <a:cubicBezTo>
                    <a:pt x="506" y="133"/>
                    <a:pt x="506" y="133"/>
                    <a:pt x="506" y="133"/>
                  </a:cubicBezTo>
                  <a:cubicBezTo>
                    <a:pt x="507" y="133"/>
                    <a:pt x="507" y="132"/>
                    <a:pt x="507" y="131"/>
                  </a:cubicBezTo>
                  <a:cubicBezTo>
                    <a:pt x="504" y="130"/>
                    <a:pt x="504" y="126"/>
                    <a:pt x="502" y="124"/>
                  </a:cubicBezTo>
                  <a:cubicBezTo>
                    <a:pt x="502" y="123"/>
                    <a:pt x="501" y="122"/>
                    <a:pt x="502" y="122"/>
                  </a:cubicBezTo>
                  <a:cubicBezTo>
                    <a:pt x="502" y="119"/>
                    <a:pt x="505" y="118"/>
                    <a:pt x="507" y="117"/>
                  </a:cubicBezTo>
                  <a:cubicBezTo>
                    <a:pt x="507" y="117"/>
                    <a:pt x="507" y="117"/>
                    <a:pt x="507" y="117"/>
                  </a:cubicBezTo>
                  <a:cubicBezTo>
                    <a:pt x="507" y="117"/>
                    <a:pt x="507" y="117"/>
                    <a:pt x="508" y="117"/>
                  </a:cubicBezTo>
                  <a:cubicBezTo>
                    <a:pt x="506" y="118"/>
                    <a:pt x="504" y="119"/>
                    <a:pt x="503" y="120"/>
                  </a:cubicBezTo>
                  <a:cubicBezTo>
                    <a:pt x="501" y="123"/>
                    <a:pt x="504" y="124"/>
                    <a:pt x="506" y="126"/>
                  </a:cubicBezTo>
                  <a:cubicBezTo>
                    <a:pt x="507" y="127"/>
                    <a:pt x="509" y="126"/>
                    <a:pt x="509" y="127"/>
                  </a:cubicBezTo>
                  <a:cubicBezTo>
                    <a:pt x="509" y="128"/>
                    <a:pt x="508" y="129"/>
                    <a:pt x="508" y="130"/>
                  </a:cubicBezTo>
                  <a:cubicBezTo>
                    <a:pt x="509" y="130"/>
                    <a:pt x="511" y="128"/>
                    <a:pt x="511" y="127"/>
                  </a:cubicBezTo>
                  <a:cubicBezTo>
                    <a:pt x="511" y="127"/>
                    <a:pt x="512" y="126"/>
                    <a:pt x="512" y="126"/>
                  </a:cubicBezTo>
                  <a:cubicBezTo>
                    <a:pt x="512" y="126"/>
                    <a:pt x="512" y="125"/>
                    <a:pt x="512" y="125"/>
                  </a:cubicBezTo>
                  <a:cubicBezTo>
                    <a:pt x="512" y="125"/>
                    <a:pt x="515" y="124"/>
                    <a:pt x="513" y="124"/>
                  </a:cubicBezTo>
                  <a:cubicBezTo>
                    <a:pt x="514" y="123"/>
                    <a:pt x="515" y="123"/>
                    <a:pt x="515" y="122"/>
                  </a:cubicBezTo>
                  <a:cubicBezTo>
                    <a:pt x="515" y="122"/>
                    <a:pt x="516" y="121"/>
                    <a:pt x="516" y="121"/>
                  </a:cubicBezTo>
                  <a:cubicBezTo>
                    <a:pt x="517" y="120"/>
                    <a:pt x="516" y="120"/>
                    <a:pt x="516" y="119"/>
                  </a:cubicBezTo>
                  <a:cubicBezTo>
                    <a:pt x="516" y="119"/>
                    <a:pt x="517" y="119"/>
                    <a:pt x="517" y="118"/>
                  </a:cubicBezTo>
                  <a:cubicBezTo>
                    <a:pt x="517" y="118"/>
                    <a:pt x="517" y="117"/>
                    <a:pt x="518" y="116"/>
                  </a:cubicBezTo>
                  <a:cubicBezTo>
                    <a:pt x="518" y="117"/>
                    <a:pt x="517" y="118"/>
                    <a:pt x="517" y="119"/>
                  </a:cubicBezTo>
                  <a:cubicBezTo>
                    <a:pt x="518" y="118"/>
                    <a:pt x="518" y="116"/>
                    <a:pt x="518" y="114"/>
                  </a:cubicBezTo>
                  <a:cubicBezTo>
                    <a:pt x="518" y="113"/>
                    <a:pt x="519" y="112"/>
                    <a:pt x="518" y="112"/>
                  </a:cubicBezTo>
                  <a:cubicBezTo>
                    <a:pt x="518" y="111"/>
                    <a:pt x="516" y="112"/>
                    <a:pt x="515" y="111"/>
                  </a:cubicBezTo>
                  <a:cubicBezTo>
                    <a:pt x="515" y="111"/>
                    <a:pt x="516" y="110"/>
                    <a:pt x="516" y="110"/>
                  </a:cubicBezTo>
                  <a:cubicBezTo>
                    <a:pt x="515" y="109"/>
                    <a:pt x="515" y="109"/>
                    <a:pt x="515" y="108"/>
                  </a:cubicBezTo>
                  <a:cubicBezTo>
                    <a:pt x="515" y="107"/>
                    <a:pt x="516" y="105"/>
                    <a:pt x="518" y="105"/>
                  </a:cubicBezTo>
                  <a:cubicBezTo>
                    <a:pt x="518" y="105"/>
                    <a:pt x="518" y="105"/>
                    <a:pt x="518" y="105"/>
                  </a:cubicBezTo>
                  <a:cubicBezTo>
                    <a:pt x="518" y="105"/>
                    <a:pt x="518" y="105"/>
                    <a:pt x="518" y="105"/>
                  </a:cubicBezTo>
                  <a:cubicBezTo>
                    <a:pt x="518" y="105"/>
                    <a:pt x="519" y="105"/>
                    <a:pt x="519" y="105"/>
                  </a:cubicBezTo>
                  <a:cubicBezTo>
                    <a:pt x="519" y="105"/>
                    <a:pt x="519" y="105"/>
                    <a:pt x="519" y="105"/>
                  </a:cubicBezTo>
                  <a:cubicBezTo>
                    <a:pt x="519" y="106"/>
                    <a:pt x="520" y="106"/>
                    <a:pt x="520" y="106"/>
                  </a:cubicBezTo>
                  <a:cubicBezTo>
                    <a:pt x="521" y="106"/>
                    <a:pt x="521" y="105"/>
                    <a:pt x="522" y="104"/>
                  </a:cubicBezTo>
                  <a:cubicBezTo>
                    <a:pt x="525" y="103"/>
                    <a:pt x="527" y="102"/>
                    <a:pt x="529" y="101"/>
                  </a:cubicBezTo>
                  <a:cubicBezTo>
                    <a:pt x="531" y="102"/>
                    <a:pt x="534" y="100"/>
                    <a:pt x="535" y="100"/>
                  </a:cubicBezTo>
                  <a:cubicBezTo>
                    <a:pt x="538" y="101"/>
                    <a:pt x="541" y="101"/>
                    <a:pt x="544" y="100"/>
                  </a:cubicBezTo>
                  <a:cubicBezTo>
                    <a:pt x="545" y="100"/>
                    <a:pt x="545" y="96"/>
                    <a:pt x="545" y="95"/>
                  </a:cubicBezTo>
                  <a:cubicBezTo>
                    <a:pt x="545" y="96"/>
                    <a:pt x="546" y="96"/>
                    <a:pt x="548" y="95"/>
                  </a:cubicBezTo>
                  <a:cubicBezTo>
                    <a:pt x="547" y="97"/>
                    <a:pt x="547" y="97"/>
                    <a:pt x="547" y="98"/>
                  </a:cubicBezTo>
                  <a:cubicBezTo>
                    <a:pt x="549" y="98"/>
                    <a:pt x="550" y="96"/>
                    <a:pt x="552" y="96"/>
                  </a:cubicBezTo>
                  <a:cubicBezTo>
                    <a:pt x="552" y="96"/>
                    <a:pt x="553" y="96"/>
                    <a:pt x="552" y="96"/>
                  </a:cubicBezTo>
                  <a:cubicBezTo>
                    <a:pt x="554" y="96"/>
                    <a:pt x="559" y="97"/>
                    <a:pt x="560" y="96"/>
                  </a:cubicBezTo>
                  <a:cubicBezTo>
                    <a:pt x="560" y="96"/>
                    <a:pt x="560" y="94"/>
                    <a:pt x="560" y="94"/>
                  </a:cubicBezTo>
                  <a:cubicBezTo>
                    <a:pt x="559" y="93"/>
                    <a:pt x="559" y="92"/>
                    <a:pt x="558" y="92"/>
                  </a:cubicBezTo>
                  <a:cubicBezTo>
                    <a:pt x="558" y="92"/>
                    <a:pt x="556" y="91"/>
                    <a:pt x="556" y="92"/>
                  </a:cubicBezTo>
                  <a:cubicBezTo>
                    <a:pt x="557" y="92"/>
                    <a:pt x="557" y="91"/>
                    <a:pt x="558" y="92"/>
                  </a:cubicBezTo>
                  <a:cubicBezTo>
                    <a:pt x="558" y="92"/>
                    <a:pt x="558" y="93"/>
                    <a:pt x="558" y="93"/>
                  </a:cubicBezTo>
                  <a:cubicBezTo>
                    <a:pt x="559" y="95"/>
                    <a:pt x="559" y="95"/>
                    <a:pt x="557" y="96"/>
                  </a:cubicBezTo>
                  <a:cubicBezTo>
                    <a:pt x="556" y="96"/>
                    <a:pt x="555" y="96"/>
                    <a:pt x="554" y="95"/>
                  </a:cubicBezTo>
                  <a:cubicBezTo>
                    <a:pt x="553" y="95"/>
                    <a:pt x="553" y="93"/>
                    <a:pt x="553" y="92"/>
                  </a:cubicBezTo>
                  <a:cubicBezTo>
                    <a:pt x="552" y="91"/>
                    <a:pt x="552" y="90"/>
                    <a:pt x="551" y="90"/>
                  </a:cubicBezTo>
                  <a:cubicBezTo>
                    <a:pt x="550" y="88"/>
                    <a:pt x="550" y="90"/>
                    <a:pt x="548" y="88"/>
                  </a:cubicBezTo>
                  <a:cubicBezTo>
                    <a:pt x="549" y="88"/>
                    <a:pt x="550" y="86"/>
                    <a:pt x="551" y="86"/>
                  </a:cubicBezTo>
                  <a:cubicBezTo>
                    <a:pt x="551" y="85"/>
                    <a:pt x="554" y="85"/>
                    <a:pt x="553" y="84"/>
                  </a:cubicBezTo>
                  <a:cubicBezTo>
                    <a:pt x="552" y="85"/>
                    <a:pt x="552" y="85"/>
                    <a:pt x="551" y="84"/>
                  </a:cubicBezTo>
                  <a:cubicBezTo>
                    <a:pt x="550" y="82"/>
                    <a:pt x="551" y="80"/>
                    <a:pt x="552" y="79"/>
                  </a:cubicBezTo>
                  <a:cubicBezTo>
                    <a:pt x="554" y="77"/>
                    <a:pt x="556" y="75"/>
                    <a:pt x="557" y="72"/>
                  </a:cubicBezTo>
                  <a:cubicBezTo>
                    <a:pt x="558" y="70"/>
                    <a:pt x="558" y="70"/>
                    <a:pt x="559" y="69"/>
                  </a:cubicBezTo>
                  <a:cubicBezTo>
                    <a:pt x="559" y="69"/>
                    <a:pt x="559" y="69"/>
                    <a:pt x="559" y="70"/>
                  </a:cubicBezTo>
                  <a:cubicBezTo>
                    <a:pt x="560" y="69"/>
                    <a:pt x="560" y="69"/>
                    <a:pt x="561" y="71"/>
                  </a:cubicBezTo>
                  <a:cubicBezTo>
                    <a:pt x="561" y="70"/>
                    <a:pt x="561" y="68"/>
                    <a:pt x="561" y="67"/>
                  </a:cubicBezTo>
                  <a:cubicBezTo>
                    <a:pt x="561" y="67"/>
                    <a:pt x="561" y="67"/>
                    <a:pt x="561" y="67"/>
                  </a:cubicBezTo>
                  <a:cubicBezTo>
                    <a:pt x="561" y="67"/>
                    <a:pt x="561" y="67"/>
                    <a:pt x="561" y="68"/>
                  </a:cubicBezTo>
                  <a:cubicBezTo>
                    <a:pt x="561" y="68"/>
                    <a:pt x="561" y="68"/>
                    <a:pt x="561" y="68"/>
                  </a:cubicBezTo>
                  <a:cubicBezTo>
                    <a:pt x="561" y="69"/>
                    <a:pt x="561" y="70"/>
                    <a:pt x="562" y="70"/>
                  </a:cubicBezTo>
                  <a:cubicBezTo>
                    <a:pt x="562" y="69"/>
                    <a:pt x="562" y="68"/>
                    <a:pt x="563" y="67"/>
                  </a:cubicBezTo>
                  <a:cubicBezTo>
                    <a:pt x="563" y="67"/>
                    <a:pt x="563" y="67"/>
                    <a:pt x="563" y="67"/>
                  </a:cubicBezTo>
                  <a:cubicBezTo>
                    <a:pt x="563" y="68"/>
                    <a:pt x="563" y="67"/>
                    <a:pt x="563" y="67"/>
                  </a:cubicBezTo>
                  <a:cubicBezTo>
                    <a:pt x="563" y="67"/>
                    <a:pt x="563" y="67"/>
                    <a:pt x="563" y="67"/>
                  </a:cubicBezTo>
                  <a:cubicBezTo>
                    <a:pt x="562" y="68"/>
                    <a:pt x="562" y="69"/>
                    <a:pt x="563" y="70"/>
                  </a:cubicBezTo>
                  <a:cubicBezTo>
                    <a:pt x="563" y="69"/>
                    <a:pt x="563" y="69"/>
                    <a:pt x="563" y="68"/>
                  </a:cubicBezTo>
                  <a:cubicBezTo>
                    <a:pt x="563" y="68"/>
                    <a:pt x="563" y="68"/>
                    <a:pt x="564" y="68"/>
                  </a:cubicBezTo>
                  <a:cubicBezTo>
                    <a:pt x="564" y="68"/>
                    <a:pt x="564" y="68"/>
                    <a:pt x="564" y="67"/>
                  </a:cubicBezTo>
                  <a:cubicBezTo>
                    <a:pt x="564" y="67"/>
                    <a:pt x="564" y="67"/>
                    <a:pt x="564" y="67"/>
                  </a:cubicBezTo>
                  <a:cubicBezTo>
                    <a:pt x="564" y="67"/>
                    <a:pt x="564" y="67"/>
                    <a:pt x="564" y="67"/>
                  </a:cubicBezTo>
                  <a:cubicBezTo>
                    <a:pt x="564" y="67"/>
                    <a:pt x="564" y="67"/>
                    <a:pt x="564" y="67"/>
                  </a:cubicBezTo>
                  <a:cubicBezTo>
                    <a:pt x="564" y="67"/>
                    <a:pt x="564" y="68"/>
                    <a:pt x="564" y="68"/>
                  </a:cubicBezTo>
                  <a:cubicBezTo>
                    <a:pt x="564" y="68"/>
                    <a:pt x="564" y="68"/>
                    <a:pt x="564" y="68"/>
                  </a:cubicBezTo>
                  <a:cubicBezTo>
                    <a:pt x="564" y="68"/>
                    <a:pt x="564" y="68"/>
                    <a:pt x="564" y="68"/>
                  </a:cubicBezTo>
                  <a:cubicBezTo>
                    <a:pt x="564" y="68"/>
                    <a:pt x="564" y="68"/>
                    <a:pt x="564" y="68"/>
                  </a:cubicBezTo>
                  <a:cubicBezTo>
                    <a:pt x="565" y="68"/>
                    <a:pt x="565" y="68"/>
                    <a:pt x="566" y="67"/>
                  </a:cubicBezTo>
                  <a:cubicBezTo>
                    <a:pt x="565" y="67"/>
                    <a:pt x="566" y="67"/>
                    <a:pt x="566" y="68"/>
                  </a:cubicBezTo>
                  <a:cubicBezTo>
                    <a:pt x="567" y="68"/>
                    <a:pt x="568" y="68"/>
                    <a:pt x="569" y="66"/>
                  </a:cubicBezTo>
                  <a:cubicBezTo>
                    <a:pt x="568" y="66"/>
                    <a:pt x="570" y="63"/>
                    <a:pt x="570" y="63"/>
                  </a:cubicBezTo>
                  <a:cubicBezTo>
                    <a:pt x="570" y="62"/>
                    <a:pt x="572" y="59"/>
                    <a:pt x="572" y="61"/>
                  </a:cubicBezTo>
                  <a:cubicBezTo>
                    <a:pt x="572" y="61"/>
                    <a:pt x="571" y="62"/>
                    <a:pt x="571" y="62"/>
                  </a:cubicBezTo>
                  <a:cubicBezTo>
                    <a:pt x="571" y="62"/>
                    <a:pt x="572" y="62"/>
                    <a:pt x="572" y="62"/>
                  </a:cubicBezTo>
                  <a:cubicBezTo>
                    <a:pt x="572" y="62"/>
                    <a:pt x="571" y="63"/>
                    <a:pt x="571" y="63"/>
                  </a:cubicBezTo>
                  <a:cubicBezTo>
                    <a:pt x="572" y="63"/>
                    <a:pt x="573" y="64"/>
                    <a:pt x="574" y="64"/>
                  </a:cubicBezTo>
                  <a:cubicBezTo>
                    <a:pt x="574" y="63"/>
                    <a:pt x="574" y="62"/>
                    <a:pt x="575" y="61"/>
                  </a:cubicBezTo>
                  <a:cubicBezTo>
                    <a:pt x="576" y="61"/>
                    <a:pt x="577" y="61"/>
                    <a:pt x="577" y="61"/>
                  </a:cubicBezTo>
                  <a:cubicBezTo>
                    <a:pt x="579" y="61"/>
                    <a:pt x="578" y="62"/>
                    <a:pt x="579" y="63"/>
                  </a:cubicBezTo>
                  <a:cubicBezTo>
                    <a:pt x="579" y="63"/>
                    <a:pt x="579" y="62"/>
                    <a:pt x="580" y="61"/>
                  </a:cubicBezTo>
                  <a:cubicBezTo>
                    <a:pt x="580" y="62"/>
                    <a:pt x="580" y="62"/>
                    <a:pt x="580" y="62"/>
                  </a:cubicBezTo>
                  <a:cubicBezTo>
                    <a:pt x="581" y="62"/>
                    <a:pt x="581" y="61"/>
                    <a:pt x="582" y="60"/>
                  </a:cubicBezTo>
                  <a:cubicBezTo>
                    <a:pt x="583" y="61"/>
                    <a:pt x="585" y="59"/>
                    <a:pt x="586" y="59"/>
                  </a:cubicBezTo>
                  <a:cubicBezTo>
                    <a:pt x="587" y="59"/>
                    <a:pt x="587" y="60"/>
                    <a:pt x="587" y="59"/>
                  </a:cubicBezTo>
                  <a:cubicBezTo>
                    <a:pt x="588" y="59"/>
                    <a:pt x="589" y="58"/>
                    <a:pt x="589" y="58"/>
                  </a:cubicBezTo>
                  <a:cubicBezTo>
                    <a:pt x="590" y="57"/>
                    <a:pt x="590" y="57"/>
                    <a:pt x="589" y="57"/>
                  </a:cubicBezTo>
                  <a:close/>
                  <a:moveTo>
                    <a:pt x="564" y="68"/>
                  </a:moveTo>
                  <a:cubicBezTo>
                    <a:pt x="564" y="67"/>
                    <a:pt x="564" y="67"/>
                    <a:pt x="564" y="67"/>
                  </a:cubicBezTo>
                  <a:cubicBezTo>
                    <a:pt x="564" y="67"/>
                    <a:pt x="564" y="67"/>
                    <a:pt x="564" y="68"/>
                  </a:cubicBezTo>
                  <a:cubicBezTo>
                    <a:pt x="564" y="68"/>
                    <a:pt x="564" y="68"/>
                    <a:pt x="564" y="6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41" name="Freeform 1591">
              <a:extLst>
                <a:ext uri="{FF2B5EF4-FFF2-40B4-BE49-F238E27FC236}">
                  <a16:creationId xmlns:a16="http://schemas.microsoft.com/office/drawing/2014/main" id="{98C9BA69-76B2-4BC1-85EB-CE525FDB5EBE}"/>
                </a:ext>
              </a:extLst>
            </p:cNvPr>
            <p:cNvSpPr>
              <a:spLocks/>
            </p:cNvSpPr>
            <p:nvPr/>
          </p:nvSpPr>
          <p:spPr bwMode="auto">
            <a:xfrm>
              <a:off x="3197" y="912"/>
              <a:ext cx="2"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1" y="0"/>
                    <a:pt x="0" y="0"/>
                    <a:pt x="0" y="0"/>
                  </a:cubicBezTo>
                  <a:cubicBezTo>
                    <a:pt x="0" y="0"/>
                    <a:pt x="0" y="0"/>
                    <a:pt x="0" y="0"/>
                  </a:cubicBezTo>
                  <a:cubicBezTo>
                    <a:pt x="0" y="0"/>
                    <a:pt x="0"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42" name="Freeform 1592">
              <a:extLst>
                <a:ext uri="{FF2B5EF4-FFF2-40B4-BE49-F238E27FC236}">
                  <a16:creationId xmlns:a16="http://schemas.microsoft.com/office/drawing/2014/main" id="{2947AC07-E06A-43A9-9D16-40AE57118AD9}"/>
                </a:ext>
              </a:extLst>
            </p:cNvPr>
            <p:cNvSpPr>
              <a:spLocks/>
            </p:cNvSpPr>
            <p:nvPr/>
          </p:nvSpPr>
          <p:spPr bwMode="auto">
            <a:xfrm>
              <a:off x="3197" y="91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43" name="Freeform 1593">
              <a:extLst>
                <a:ext uri="{FF2B5EF4-FFF2-40B4-BE49-F238E27FC236}">
                  <a16:creationId xmlns:a16="http://schemas.microsoft.com/office/drawing/2014/main" id="{845B4E85-6B36-4A19-8245-E193F0197B6A}"/>
                </a:ext>
              </a:extLst>
            </p:cNvPr>
            <p:cNvSpPr>
              <a:spLocks/>
            </p:cNvSpPr>
            <p:nvPr/>
          </p:nvSpPr>
          <p:spPr bwMode="auto">
            <a:xfrm>
              <a:off x="3329" y="675"/>
              <a:ext cx="29" cy="15"/>
            </a:xfrm>
            <a:custGeom>
              <a:avLst/>
              <a:gdLst>
                <a:gd name="T0" fmla="*/ 12 w 12"/>
                <a:gd name="T1" fmla="*/ 0 h 6"/>
                <a:gd name="T2" fmla="*/ 0 w 12"/>
                <a:gd name="T3" fmla="*/ 6 h 6"/>
                <a:gd name="T4" fmla="*/ 7 w 12"/>
                <a:gd name="T5" fmla="*/ 3 h 6"/>
                <a:gd name="T6" fmla="*/ 12 w 12"/>
                <a:gd name="T7" fmla="*/ 0 h 6"/>
              </a:gdLst>
              <a:ahLst/>
              <a:cxnLst>
                <a:cxn ang="0">
                  <a:pos x="T0" y="T1"/>
                </a:cxn>
                <a:cxn ang="0">
                  <a:pos x="T2" y="T3"/>
                </a:cxn>
                <a:cxn ang="0">
                  <a:pos x="T4" y="T5"/>
                </a:cxn>
                <a:cxn ang="0">
                  <a:pos x="T6" y="T7"/>
                </a:cxn>
              </a:cxnLst>
              <a:rect l="0" t="0" r="r" b="b"/>
              <a:pathLst>
                <a:path w="12" h="6">
                  <a:moveTo>
                    <a:pt x="12" y="0"/>
                  </a:moveTo>
                  <a:cubicBezTo>
                    <a:pt x="8" y="2"/>
                    <a:pt x="4" y="4"/>
                    <a:pt x="0" y="6"/>
                  </a:cubicBezTo>
                  <a:cubicBezTo>
                    <a:pt x="2" y="5"/>
                    <a:pt x="5" y="4"/>
                    <a:pt x="7" y="3"/>
                  </a:cubicBezTo>
                  <a:cubicBezTo>
                    <a:pt x="9" y="3"/>
                    <a:pt x="10" y="2"/>
                    <a:pt x="1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44" name="Freeform 1594">
              <a:extLst>
                <a:ext uri="{FF2B5EF4-FFF2-40B4-BE49-F238E27FC236}">
                  <a16:creationId xmlns:a16="http://schemas.microsoft.com/office/drawing/2014/main" id="{8DE5ACB0-BF1F-45B7-8B51-9E3D19A581AB}"/>
                </a:ext>
              </a:extLst>
            </p:cNvPr>
            <p:cNvSpPr>
              <a:spLocks/>
            </p:cNvSpPr>
            <p:nvPr/>
          </p:nvSpPr>
          <p:spPr bwMode="auto">
            <a:xfrm>
              <a:off x="3197" y="91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45" name="Freeform 1595">
              <a:extLst>
                <a:ext uri="{FF2B5EF4-FFF2-40B4-BE49-F238E27FC236}">
                  <a16:creationId xmlns:a16="http://schemas.microsoft.com/office/drawing/2014/main" id="{7A253B6B-7DB5-47A3-8915-2B8DD271CDD7}"/>
                </a:ext>
              </a:extLst>
            </p:cNvPr>
            <p:cNvSpPr>
              <a:spLocks/>
            </p:cNvSpPr>
            <p:nvPr/>
          </p:nvSpPr>
          <p:spPr bwMode="auto">
            <a:xfrm>
              <a:off x="3197" y="912"/>
              <a:ext cx="2" cy="0"/>
            </a:xfrm>
            <a:custGeom>
              <a:avLst/>
              <a:gdLst>
                <a:gd name="T0" fmla="*/ 0 w 1"/>
                <a:gd name="T1" fmla="*/ 1 w 1"/>
                <a:gd name="T2" fmla="*/ 0 w 1"/>
                <a:gd name="T3" fmla="*/ 0 w 1"/>
              </a:gdLst>
              <a:ahLst/>
              <a:cxnLst>
                <a:cxn ang="0">
                  <a:pos x="T0" y="0"/>
                </a:cxn>
                <a:cxn ang="0">
                  <a:pos x="T1" y="0"/>
                </a:cxn>
                <a:cxn ang="0">
                  <a:pos x="T2" y="0"/>
                </a:cxn>
                <a:cxn ang="0">
                  <a:pos x="T3" y="0"/>
                </a:cxn>
              </a:cxnLst>
              <a:rect l="0" t="0" r="r" b="b"/>
              <a:pathLst>
                <a:path w="1">
                  <a:moveTo>
                    <a:pt x="0" y="0"/>
                  </a:moveTo>
                  <a:cubicBezTo>
                    <a:pt x="0" y="0"/>
                    <a:pt x="0" y="0"/>
                    <a:pt x="1" y="0"/>
                  </a:cubicBezTo>
                  <a:cubicBezTo>
                    <a:pt x="1"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46" name="Freeform 1596">
              <a:extLst>
                <a:ext uri="{FF2B5EF4-FFF2-40B4-BE49-F238E27FC236}">
                  <a16:creationId xmlns:a16="http://schemas.microsoft.com/office/drawing/2014/main" id="{DAF0BAE4-0193-4AD8-B2E2-8A05255CC6DF}"/>
                </a:ext>
              </a:extLst>
            </p:cNvPr>
            <p:cNvSpPr>
              <a:spLocks/>
            </p:cNvSpPr>
            <p:nvPr/>
          </p:nvSpPr>
          <p:spPr bwMode="auto">
            <a:xfrm>
              <a:off x="3197" y="91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47" name="Freeform 1597">
              <a:extLst>
                <a:ext uri="{FF2B5EF4-FFF2-40B4-BE49-F238E27FC236}">
                  <a16:creationId xmlns:a16="http://schemas.microsoft.com/office/drawing/2014/main" id="{9A1C93A2-96D3-46EA-97EB-CF61C083297C}"/>
                </a:ext>
              </a:extLst>
            </p:cNvPr>
            <p:cNvSpPr>
              <a:spLocks/>
            </p:cNvSpPr>
            <p:nvPr/>
          </p:nvSpPr>
          <p:spPr bwMode="auto">
            <a:xfrm>
              <a:off x="3093" y="477"/>
              <a:ext cx="40" cy="26"/>
            </a:xfrm>
            <a:custGeom>
              <a:avLst/>
              <a:gdLst>
                <a:gd name="T0" fmla="*/ 17 w 17"/>
                <a:gd name="T1" fmla="*/ 6 h 11"/>
                <a:gd name="T2" fmla="*/ 14 w 17"/>
                <a:gd name="T3" fmla="*/ 7 h 11"/>
                <a:gd name="T4" fmla="*/ 11 w 17"/>
                <a:gd name="T5" fmla="*/ 7 h 11"/>
                <a:gd name="T6" fmla="*/ 9 w 17"/>
                <a:gd name="T7" fmla="*/ 5 h 11"/>
                <a:gd name="T8" fmla="*/ 11 w 17"/>
                <a:gd name="T9" fmla="*/ 2 h 11"/>
                <a:gd name="T10" fmla="*/ 9 w 17"/>
                <a:gd name="T11" fmla="*/ 1 h 11"/>
                <a:gd name="T12" fmla="*/ 7 w 17"/>
                <a:gd name="T13" fmla="*/ 3 h 11"/>
                <a:gd name="T14" fmla="*/ 4 w 17"/>
                <a:gd name="T15" fmla="*/ 2 h 11"/>
                <a:gd name="T16" fmla="*/ 1 w 17"/>
                <a:gd name="T17" fmla="*/ 2 h 11"/>
                <a:gd name="T18" fmla="*/ 1 w 17"/>
                <a:gd name="T19" fmla="*/ 3 h 11"/>
                <a:gd name="T20" fmla="*/ 0 w 17"/>
                <a:gd name="T21" fmla="*/ 8 h 11"/>
                <a:gd name="T22" fmla="*/ 1 w 17"/>
                <a:gd name="T23" fmla="*/ 9 h 11"/>
                <a:gd name="T24" fmla="*/ 6 w 17"/>
                <a:gd name="T25" fmla="*/ 9 h 11"/>
                <a:gd name="T26" fmla="*/ 11 w 17"/>
                <a:gd name="T27" fmla="*/ 10 h 11"/>
                <a:gd name="T28" fmla="*/ 15 w 17"/>
                <a:gd name="T29" fmla="*/ 9 h 11"/>
                <a:gd name="T30" fmla="*/ 17 w 17"/>
                <a:gd name="T31"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11">
                  <a:moveTo>
                    <a:pt x="17" y="6"/>
                  </a:moveTo>
                  <a:cubicBezTo>
                    <a:pt x="16" y="5"/>
                    <a:pt x="14" y="6"/>
                    <a:pt x="14" y="7"/>
                  </a:cubicBezTo>
                  <a:cubicBezTo>
                    <a:pt x="13" y="8"/>
                    <a:pt x="12" y="7"/>
                    <a:pt x="11" y="7"/>
                  </a:cubicBezTo>
                  <a:cubicBezTo>
                    <a:pt x="11" y="7"/>
                    <a:pt x="9" y="6"/>
                    <a:pt x="9" y="5"/>
                  </a:cubicBezTo>
                  <a:cubicBezTo>
                    <a:pt x="9" y="4"/>
                    <a:pt x="12" y="4"/>
                    <a:pt x="11" y="2"/>
                  </a:cubicBezTo>
                  <a:cubicBezTo>
                    <a:pt x="11" y="1"/>
                    <a:pt x="9" y="0"/>
                    <a:pt x="9" y="1"/>
                  </a:cubicBezTo>
                  <a:cubicBezTo>
                    <a:pt x="8" y="1"/>
                    <a:pt x="9" y="3"/>
                    <a:pt x="7" y="3"/>
                  </a:cubicBezTo>
                  <a:cubicBezTo>
                    <a:pt x="5" y="3"/>
                    <a:pt x="5" y="2"/>
                    <a:pt x="4" y="2"/>
                  </a:cubicBezTo>
                  <a:cubicBezTo>
                    <a:pt x="3" y="1"/>
                    <a:pt x="2" y="2"/>
                    <a:pt x="1" y="2"/>
                  </a:cubicBezTo>
                  <a:cubicBezTo>
                    <a:pt x="1" y="3"/>
                    <a:pt x="1" y="3"/>
                    <a:pt x="1" y="3"/>
                  </a:cubicBezTo>
                  <a:cubicBezTo>
                    <a:pt x="1" y="5"/>
                    <a:pt x="1" y="6"/>
                    <a:pt x="0" y="8"/>
                  </a:cubicBezTo>
                  <a:cubicBezTo>
                    <a:pt x="0" y="9"/>
                    <a:pt x="1" y="9"/>
                    <a:pt x="1" y="9"/>
                  </a:cubicBezTo>
                  <a:cubicBezTo>
                    <a:pt x="3" y="9"/>
                    <a:pt x="4" y="9"/>
                    <a:pt x="6" y="9"/>
                  </a:cubicBezTo>
                  <a:cubicBezTo>
                    <a:pt x="8" y="9"/>
                    <a:pt x="10" y="10"/>
                    <a:pt x="11" y="10"/>
                  </a:cubicBezTo>
                  <a:cubicBezTo>
                    <a:pt x="12" y="10"/>
                    <a:pt x="16" y="11"/>
                    <a:pt x="15" y="9"/>
                  </a:cubicBezTo>
                  <a:cubicBezTo>
                    <a:pt x="16" y="9"/>
                    <a:pt x="17" y="8"/>
                    <a:pt x="17" y="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48" name="Freeform 1598">
              <a:extLst>
                <a:ext uri="{FF2B5EF4-FFF2-40B4-BE49-F238E27FC236}">
                  <a16:creationId xmlns:a16="http://schemas.microsoft.com/office/drawing/2014/main" id="{505CC1C9-FF58-4224-B273-00B497359B77}"/>
                </a:ext>
              </a:extLst>
            </p:cNvPr>
            <p:cNvSpPr>
              <a:spLocks/>
            </p:cNvSpPr>
            <p:nvPr/>
          </p:nvSpPr>
          <p:spPr bwMode="auto">
            <a:xfrm>
              <a:off x="3112" y="283"/>
              <a:ext cx="14" cy="11"/>
            </a:xfrm>
            <a:custGeom>
              <a:avLst/>
              <a:gdLst>
                <a:gd name="T0" fmla="*/ 5 w 6"/>
                <a:gd name="T1" fmla="*/ 0 h 5"/>
                <a:gd name="T2" fmla="*/ 2 w 6"/>
                <a:gd name="T3" fmla="*/ 2 h 5"/>
                <a:gd name="T4" fmla="*/ 0 w 6"/>
                <a:gd name="T5" fmla="*/ 5 h 5"/>
                <a:gd name="T6" fmla="*/ 5 w 6"/>
                <a:gd name="T7" fmla="*/ 3 h 5"/>
                <a:gd name="T8" fmla="*/ 5 w 6"/>
                <a:gd name="T9" fmla="*/ 0 h 5"/>
              </a:gdLst>
              <a:ahLst/>
              <a:cxnLst>
                <a:cxn ang="0">
                  <a:pos x="T0" y="T1"/>
                </a:cxn>
                <a:cxn ang="0">
                  <a:pos x="T2" y="T3"/>
                </a:cxn>
                <a:cxn ang="0">
                  <a:pos x="T4" y="T5"/>
                </a:cxn>
                <a:cxn ang="0">
                  <a:pos x="T6" y="T7"/>
                </a:cxn>
                <a:cxn ang="0">
                  <a:pos x="T8" y="T9"/>
                </a:cxn>
              </a:cxnLst>
              <a:rect l="0" t="0" r="r" b="b"/>
              <a:pathLst>
                <a:path w="6" h="5">
                  <a:moveTo>
                    <a:pt x="5" y="0"/>
                  </a:moveTo>
                  <a:cubicBezTo>
                    <a:pt x="3" y="0"/>
                    <a:pt x="2" y="1"/>
                    <a:pt x="2" y="2"/>
                  </a:cubicBezTo>
                  <a:cubicBezTo>
                    <a:pt x="1" y="3"/>
                    <a:pt x="1" y="4"/>
                    <a:pt x="0" y="5"/>
                  </a:cubicBezTo>
                  <a:cubicBezTo>
                    <a:pt x="2" y="5"/>
                    <a:pt x="4" y="4"/>
                    <a:pt x="5" y="3"/>
                  </a:cubicBezTo>
                  <a:cubicBezTo>
                    <a:pt x="6" y="3"/>
                    <a:pt x="5" y="1"/>
                    <a:pt x="5"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49" name="Freeform 1599">
              <a:extLst>
                <a:ext uri="{FF2B5EF4-FFF2-40B4-BE49-F238E27FC236}">
                  <a16:creationId xmlns:a16="http://schemas.microsoft.com/office/drawing/2014/main" id="{7D383A0F-5EAE-4516-AB2D-EE75D804A873}"/>
                </a:ext>
              </a:extLst>
            </p:cNvPr>
            <p:cNvSpPr>
              <a:spLocks/>
            </p:cNvSpPr>
            <p:nvPr/>
          </p:nvSpPr>
          <p:spPr bwMode="auto">
            <a:xfrm>
              <a:off x="3067" y="226"/>
              <a:ext cx="21" cy="9"/>
            </a:xfrm>
            <a:custGeom>
              <a:avLst/>
              <a:gdLst>
                <a:gd name="T0" fmla="*/ 0 w 9"/>
                <a:gd name="T1" fmla="*/ 4 h 4"/>
                <a:gd name="T2" fmla="*/ 9 w 9"/>
                <a:gd name="T3" fmla="*/ 3 h 4"/>
                <a:gd name="T4" fmla="*/ 4 w 9"/>
                <a:gd name="T5" fmla="*/ 0 h 4"/>
                <a:gd name="T6" fmla="*/ 0 w 9"/>
                <a:gd name="T7" fmla="*/ 4 h 4"/>
              </a:gdLst>
              <a:ahLst/>
              <a:cxnLst>
                <a:cxn ang="0">
                  <a:pos x="T0" y="T1"/>
                </a:cxn>
                <a:cxn ang="0">
                  <a:pos x="T2" y="T3"/>
                </a:cxn>
                <a:cxn ang="0">
                  <a:pos x="T4" y="T5"/>
                </a:cxn>
                <a:cxn ang="0">
                  <a:pos x="T6" y="T7"/>
                </a:cxn>
              </a:cxnLst>
              <a:rect l="0" t="0" r="r" b="b"/>
              <a:pathLst>
                <a:path w="9" h="4">
                  <a:moveTo>
                    <a:pt x="0" y="4"/>
                  </a:moveTo>
                  <a:cubicBezTo>
                    <a:pt x="3" y="4"/>
                    <a:pt x="6" y="3"/>
                    <a:pt x="9" y="3"/>
                  </a:cubicBezTo>
                  <a:cubicBezTo>
                    <a:pt x="8" y="1"/>
                    <a:pt x="6" y="0"/>
                    <a:pt x="4" y="0"/>
                  </a:cubicBezTo>
                  <a:cubicBezTo>
                    <a:pt x="1" y="0"/>
                    <a:pt x="1" y="2"/>
                    <a:pt x="0"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50" name="Freeform 1600">
              <a:extLst>
                <a:ext uri="{FF2B5EF4-FFF2-40B4-BE49-F238E27FC236}">
                  <a16:creationId xmlns:a16="http://schemas.microsoft.com/office/drawing/2014/main" id="{F2114D8F-6B96-45E4-927D-A62937179BEF}"/>
                </a:ext>
              </a:extLst>
            </p:cNvPr>
            <p:cNvSpPr>
              <a:spLocks/>
            </p:cNvSpPr>
            <p:nvPr/>
          </p:nvSpPr>
          <p:spPr bwMode="auto">
            <a:xfrm>
              <a:off x="3086" y="410"/>
              <a:ext cx="19" cy="43"/>
            </a:xfrm>
            <a:custGeom>
              <a:avLst/>
              <a:gdLst>
                <a:gd name="T0" fmla="*/ 1 w 8"/>
                <a:gd name="T1" fmla="*/ 4 h 18"/>
                <a:gd name="T2" fmla="*/ 3 w 8"/>
                <a:gd name="T3" fmla="*/ 10 h 18"/>
                <a:gd name="T4" fmla="*/ 4 w 8"/>
                <a:gd name="T5" fmla="*/ 13 h 18"/>
                <a:gd name="T6" fmla="*/ 6 w 8"/>
                <a:gd name="T7" fmla="*/ 18 h 18"/>
                <a:gd name="T8" fmla="*/ 6 w 8"/>
                <a:gd name="T9" fmla="*/ 13 h 18"/>
                <a:gd name="T10" fmla="*/ 6 w 8"/>
                <a:gd name="T11" fmla="*/ 7 h 18"/>
                <a:gd name="T12" fmla="*/ 6 w 8"/>
                <a:gd name="T13" fmla="*/ 2 h 18"/>
                <a:gd name="T14" fmla="*/ 3 w 8"/>
                <a:gd name="T15" fmla="*/ 1 h 18"/>
                <a:gd name="T16" fmla="*/ 1 w 8"/>
                <a:gd name="T17" fmla="*/ 1 h 18"/>
                <a:gd name="T18" fmla="*/ 2 w 8"/>
                <a:gd name="T19" fmla="*/ 2 h 18"/>
                <a:gd name="T20" fmla="*/ 3 w 8"/>
                <a:gd name="T21" fmla="*/ 3 h 18"/>
                <a:gd name="T22" fmla="*/ 4 w 8"/>
                <a:gd name="T23" fmla="*/ 4 h 18"/>
                <a:gd name="T24" fmla="*/ 1 w 8"/>
                <a:gd name="T2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8">
                  <a:moveTo>
                    <a:pt x="1" y="4"/>
                  </a:moveTo>
                  <a:cubicBezTo>
                    <a:pt x="0" y="6"/>
                    <a:pt x="3" y="8"/>
                    <a:pt x="3" y="10"/>
                  </a:cubicBezTo>
                  <a:cubicBezTo>
                    <a:pt x="4" y="11"/>
                    <a:pt x="4" y="12"/>
                    <a:pt x="4" y="13"/>
                  </a:cubicBezTo>
                  <a:cubicBezTo>
                    <a:pt x="5" y="15"/>
                    <a:pt x="5" y="17"/>
                    <a:pt x="6" y="18"/>
                  </a:cubicBezTo>
                  <a:cubicBezTo>
                    <a:pt x="8" y="17"/>
                    <a:pt x="7" y="14"/>
                    <a:pt x="6" y="13"/>
                  </a:cubicBezTo>
                  <a:cubicBezTo>
                    <a:pt x="6" y="11"/>
                    <a:pt x="6" y="9"/>
                    <a:pt x="6" y="7"/>
                  </a:cubicBezTo>
                  <a:cubicBezTo>
                    <a:pt x="6" y="5"/>
                    <a:pt x="6" y="4"/>
                    <a:pt x="6" y="2"/>
                  </a:cubicBezTo>
                  <a:cubicBezTo>
                    <a:pt x="5" y="2"/>
                    <a:pt x="4" y="1"/>
                    <a:pt x="3" y="1"/>
                  </a:cubicBezTo>
                  <a:cubicBezTo>
                    <a:pt x="3" y="0"/>
                    <a:pt x="2" y="0"/>
                    <a:pt x="1" y="1"/>
                  </a:cubicBezTo>
                  <a:cubicBezTo>
                    <a:pt x="1" y="1"/>
                    <a:pt x="2" y="2"/>
                    <a:pt x="2" y="2"/>
                  </a:cubicBezTo>
                  <a:cubicBezTo>
                    <a:pt x="2" y="3"/>
                    <a:pt x="2" y="3"/>
                    <a:pt x="3" y="3"/>
                  </a:cubicBezTo>
                  <a:cubicBezTo>
                    <a:pt x="3" y="3"/>
                    <a:pt x="5" y="3"/>
                    <a:pt x="4" y="4"/>
                  </a:cubicBezTo>
                  <a:cubicBezTo>
                    <a:pt x="4" y="5"/>
                    <a:pt x="2" y="3"/>
                    <a:pt x="1"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51" name="Freeform 1601">
              <a:extLst>
                <a:ext uri="{FF2B5EF4-FFF2-40B4-BE49-F238E27FC236}">
                  <a16:creationId xmlns:a16="http://schemas.microsoft.com/office/drawing/2014/main" id="{B05593CB-115F-4D15-A7DF-1A1D140B4226}"/>
                </a:ext>
              </a:extLst>
            </p:cNvPr>
            <p:cNvSpPr>
              <a:spLocks/>
            </p:cNvSpPr>
            <p:nvPr/>
          </p:nvSpPr>
          <p:spPr bwMode="auto">
            <a:xfrm>
              <a:off x="3072" y="297"/>
              <a:ext cx="14" cy="12"/>
            </a:xfrm>
            <a:custGeom>
              <a:avLst/>
              <a:gdLst>
                <a:gd name="T0" fmla="*/ 6 w 6"/>
                <a:gd name="T1" fmla="*/ 2 h 5"/>
                <a:gd name="T2" fmla="*/ 6 w 6"/>
                <a:gd name="T3" fmla="*/ 0 h 5"/>
                <a:gd name="T4" fmla="*/ 4 w 6"/>
                <a:gd name="T5" fmla="*/ 1 h 5"/>
                <a:gd name="T6" fmla="*/ 1 w 6"/>
                <a:gd name="T7" fmla="*/ 4 h 5"/>
                <a:gd name="T8" fmla="*/ 6 w 6"/>
                <a:gd name="T9" fmla="*/ 4 h 5"/>
                <a:gd name="T10" fmla="*/ 4 w 6"/>
                <a:gd name="T11" fmla="*/ 4 h 5"/>
                <a:gd name="T12" fmla="*/ 6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6" y="2"/>
                  </a:moveTo>
                  <a:cubicBezTo>
                    <a:pt x="6" y="2"/>
                    <a:pt x="6" y="0"/>
                    <a:pt x="6" y="0"/>
                  </a:cubicBezTo>
                  <a:cubicBezTo>
                    <a:pt x="5" y="0"/>
                    <a:pt x="4" y="1"/>
                    <a:pt x="4" y="1"/>
                  </a:cubicBezTo>
                  <a:cubicBezTo>
                    <a:pt x="3" y="2"/>
                    <a:pt x="0" y="3"/>
                    <a:pt x="1" y="4"/>
                  </a:cubicBezTo>
                  <a:cubicBezTo>
                    <a:pt x="1" y="5"/>
                    <a:pt x="5" y="4"/>
                    <a:pt x="6" y="4"/>
                  </a:cubicBezTo>
                  <a:cubicBezTo>
                    <a:pt x="5" y="4"/>
                    <a:pt x="5" y="4"/>
                    <a:pt x="4" y="4"/>
                  </a:cubicBezTo>
                  <a:cubicBezTo>
                    <a:pt x="5" y="4"/>
                    <a:pt x="6" y="4"/>
                    <a:pt x="6"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52" name="Freeform 1602">
              <a:extLst>
                <a:ext uri="{FF2B5EF4-FFF2-40B4-BE49-F238E27FC236}">
                  <a16:creationId xmlns:a16="http://schemas.microsoft.com/office/drawing/2014/main" id="{5575B1B6-D533-45CA-BBDE-4DDC199A263B}"/>
                </a:ext>
              </a:extLst>
            </p:cNvPr>
            <p:cNvSpPr>
              <a:spLocks/>
            </p:cNvSpPr>
            <p:nvPr/>
          </p:nvSpPr>
          <p:spPr bwMode="auto">
            <a:xfrm>
              <a:off x="3098" y="311"/>
              <a:ext cx="9" cy="5"/>
            </a:xfrm>
            <a:custGeom>
              <a:avLst/>
              <a:gdLst>
                <a:gd name="T0" fmla="*/ 0 w 4"/>
                <a:gd name="T1" fmla="*/ 2 h 2"/>
                <a:gd name="T2" fmla="*/ 4 w 4"/>
                <a:gd name="T3" fmla="*/ 1 h 2"/>
                <a:gd name="T4" fmla="*/ 0 w 4"/>
                <a:gd name="T5" fmla="*/ 2 h 2"/>
              </a:gdLst>
              <a:ahLst/>
              <a:cxnLst>
                <a:cxn ang="0">
                  <a:pos x="T0" y="T1"/>
                </a:cxn>
                <a:cxn ang="0">
                  <a:pos x="T2" y="T3"/>
                </a:cxn>
                <a:cxn ang="0">
                  <a:pos x="T4" y="T5"/>
                </a:cxn>
              </a:cxnLst>
              <a:rect l="0" t="0" r="r" b="b"/>
              <a:pathLst>
                <a:path w="4" h="2">
                  <a:moveTo>
                    <a:pt x="0" y="2"/>
                  </a:moveTo>
                  <a:cubicBezTo>
                    <a:pt x="2" y="2"/>
                    <a:pt x="3" y="1"/>
                    <a:pt x="4" y="1"/>
                  </a:cubicBezTo>
                  <a:cubicBezTo>
                    <a:pt x="2" y="0"/>
                    <a:pt x="2"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53" name="Freeform 1603">
              <a:extLst>
                <a:ext uri="{FF2B5EF4-FFF2-40B4-BE49-F238E27FC236}">
                  <a16:creationId xmlns:a16="http://schemas.microsoft.com/office/drawing/2014/main" id="{E968771E-444B-4F70-9525-501B8E319BBB}"/>
                </a:ext>
              </a:extLst>
            </p:cNvPr>
            <p:cNvSpPr>
              <a:spLocks/>
            </p:cNvSpPr>
            <p:nvPr/>
          </p:nvSpPr>
          <p:spPr bwMode="auto">
            <a:xfrm>
              <a:off x="3109" y="351"/>
              <a:ext cx="17" cy="14"/>
            </a:xfrm>
            <a:custGeom>
              <a:avLst/>
              <a:gdLst>
                <a:gd name="T0" fmla="*/ 0 w 7"/>
                <a:gd name="T1" fmla="*/ 5 h 6"/>
                <a:gd name="T2" fmla="*/ 4 w 7"/>
                <a:gd name="T3" fmla="*/ 5 h 6"/>
                <a:gd name="T4" fmla="*/ 6 w 7"/>
                <a:gd name="T5" fmla="*/ 1 h 6"/>
                <a:gd name="T6" fmla="*/ 3 w 7"/>
                <a:gd name="T7" fmla="*/ 1 h 6"/>
                <a:gd name="T8" fmla="*/ 3 w 7"/>
                <a:gd name="T9" fmla="*/ 3 h 6"/>
                <a:gd name="T10" fmla="*/ 1 w 7"/>
                <a:gd name="T11" fmla="*/ 4 h 6"/>
                <a:gd name="T12" fmla="*/ 0 w 7"/>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0" y="5"/>
                  </a:moveTo>
                  <a:cubicBezTo>
                    <a:pt x="1" y="6"/>
                    <a:pt x="3" y="6"/>
                    <a:pt x="4" y="5"/>
                  </a:cubicBezTo>
                  <a:cubicBezTo>
                    <a:pt x="6" y="5"/>
                    <a:pt x="7" y="2"/>
                    <a:pt x="6" y="1"/>
                  </a:cubicBezTo>
                  <a:cubicBezTo>
                    <a:pt x="5" y="0"/>
                    <a:pt x="4" y="0"/>
                    <a:pt x="3" y="1"/>
                  </a:cubicBezTo>
                  <a:cubicBezTo>
                    <a:pt x="3" y="1"/>
                    <a:pt x="3" y="2"/>
                    <a:pt x="3" y="3"/>
                  </a:cubicBezTo>
                  <a:cubicBezTo>
                    <a:pt x="3" y="3"/>
                    <a:pt x="2" y="3"/>
                    <a:pt x="1" y="4"/>
                  </a:cubicBezTo>
                  <a:cubicBezTo>
                    <a:pt x="1" y="4"/>
                    <a:pt x="1" y="5"/>
                    <a:pt x="0"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54" name="Freeform 1604">
              <a:extLst>
                <a:ext uri="{FF2B5EF4-FFF2-40B4-BE49-F238E27FC236}">
                  <a16:creationId xmlns:a16="http://schemas.microsoft.com/office/drawing/2014/main" id="{E3D6894A-13D5-4EED-97FC-FEEA75F4A2CF}"/>
                </a:ext>
              </a:extLst>
            </p:cNvPr>
            <p:cNvSpPr>
              <a:spLocks/>
            </p:cNvSpPr>
            <p:nvPr/>
          </p:nvSpPr>
          <p:spPr bwMode="auto">
            <a:xfrm>
              <a:off x="3055" y="97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55" name="Freeform 1605">
              <a:extLst>
                <a:ext uri="{FF2B5EF4-FFF2-40B4-BE49-F238E27FC236}">
                  <a16:creationId xmlns:a16="http://schemas.microsoft.com/office/drawing/2014/main" id="{7FD424CF-5845-4287-98F8-4A96F1337976}"/>
                </a:ext>
              </a:extLst>
            </p:cNvPr>
            <p:cNvSpPr>
              <a:spLocks/>
            </p:cNvSpPr>
            <p:nvPr/>
          </p:nvSpPr>
          <p:spPr bwMode="auto">
            <a:xfrm>
              <a:off x="3024" y="957"/>
              <a:ext cx="10" cy="0"/>
            </a:xfrm>
            <a:custGeom>
              <a:avLst/>
              <a:gdLst>
                <a:gd name="T0" fmla="*/ 0 w 4"/>
                <a:gd name="T1" fmla="*/ 4 w 4"/>
                <a:gd name="T2" fmla="*/ 0 w 4"/>
              </a:gdLst>
              <a:ahLst/>
              <a:cxnLst>
                <a:cxn ang="0">
                  <a:pos x="T0" y="0"/>
                </a:cxn>
                <a:cxn ang="0">
                  <a:pos x="T1" y="0"/>
                </a:cxn>
                <a:cxn ang="0">
                  <a:pos x="T2" y="0"/>
                </a:cxn>
              </a:cxnLst>
              <a:rect l="0" t="0" r="r" b="b"/>
              <a:pathLst>
                <a:path w="4">
                  <a:moveTo>
                    <a:pt x="0" y="0"/>
                  </a:moveTo>
                  <a:cubicBezTo>
                    <a:pt x="1" y="0"/>
                    <a:pt x="3" y="0"/>
                    <a:pt x="4" y="0"/>
                  </a:cubicBezTo>
                  <a:cubicBezTo>
                    <a:pt x="3" y="0"/>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56" name="Freeform 1606">
              <a:extLst>
                <a:ext uri="{FF2B5EF4-FFF2-40B4-BE49-F238E27FC236}">
                  <a16:creationId xmlns:a16="http://schemas.microsoft.com/office/drawing/2014/main" id="{A4B745E9-7E26-4A21-9DE1-310B0B520D68}"/>
                </a:ext>
              </a:extLst>
            </p:cNvPr>
            <p:cNvSpPr>
              <a:spLocks/>
            </p:cNvSpPr>
            <p:nvPr/>
          </p:nvSpPr>
          <p:spPr bwMode="auto">
            <a:xfrm>
              <a:off x="3022" y="945"/>
              <a:ext cx="7" cy="5"/>
            </a:xfrm>
            <a:custGeom>
              <a:avLst/>
              <a:gdLst>
                <a:gd name="T0" fmla="*/ 0 w 3"/>
                <a:gd name="T1" fmla="*/ 2 h 2"/>
                <a:gd name="T2" fmla="*/ 3 w 3"/>
                <a:gd name="T3" fmla="*/ 0 h 2"/>
                <a:gd name="T4" fmla="*/ 0 w 3"/>
                <a:gd name="T5" fmla="*/ 2 h 2"/>
              </a:gdLst>
              <a:ahLst/>
              <a:cxnLst>
                <a:cxn ang="0">
                  <a:pos x="T0" y="T1"/>
                </a:cxn>
                <a:cxn ang="0">
                  <a:pos x="T2" y="T3"/>
                </a:cxn>
                <a:cxn ang="0">
                  <a:pos x="T4" y="T5"/>
                </a:cxn>
              </a:cxnLst>
              <a:rect l="0" t="0" r="r" b="b"/>
              <a:pathLst>
                <a:path w="3" h="2">
                  <a:moveTo>
                    <a:pt x="0" y="2"/>
                  </a:moveTo>
                  <a:cubicBezTo>
                    <a:pt x="1" y="1"/>
                    <a:pt x="2" y="1"/>
                    <a:pt x="3" y="0"/>
                  </a:cubicBezTo>
                  <a:cubicBezTo>
                    <a:pt x="2" y="1"/>
                    <a:pt x="1"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57" name="Freeform 1607">
              <a:extLst>
                <a:ext uri="{FF2B5EF4-FFF2-40B4-BE49-F238E27FC236}">
                  <a16:creationId xmlns:a16="http://schemas.microsoft.com/office/drawing/2014/main" id="{F575DF6B-85BD-467C-984D-20581CD2FFE7}"/>
                </a:ext>
              </a:extLst>
            </p:cNvPr>
            <p:cNvSpPr>
              <a:spLocks/>
            </p:cNvSpPr>
            <p:nvPr/>
          </p:nvSpPr>
          <p:spPr bwMode="auto">
            <a:xfrm>
              <a:off x="3055" y="97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58" name="Freeform 1608">
              <a:extLst>
                <a:ext uri="{FF2B5EF4-FFF2-40B4-BE49-F238E27FC236}">
                  <a16:creationId xmlns:a16="http://schemas.microsoft.com/office/drawing/2014/main" id="{F32A9292-4BB4-4EC1-B304-DE90BEC9A6AD}"/>
                </a:ext>
              </a:extLst>
            </p:cNvPr>
            <p:cNvSpPr>
              <a:spLocks/>
            </p:cNvSpPr>
            <p:nvPr/>
          </p:nvSpPr>
          <p:spPr bwMode="auto">
            <a:xfrm>
              <a:off x="2994" y="2367"/>
              <a:ext cx="2" cy="5"/>
            </a:xfrm>
            <a:custGeom>
              <a:avLst/>
              <a:gdLst>
                <a:gd name="T0" fmla="*/ 1 w 1"/>
                <a:gd name="T1" fmla="*/ 2 h 2"/>
                <a:gd name="T2" fmla="*/ 1 w 1"/>
                <a:gd name="T3" fmla="*/ 0 h 2"/>
                <a:gd name="T4" fmla="*/ 0 w 1"/>
                <a:gd name="T5" fmla="*/ 1 h 2"/>
                <a:gd name="T6" fmla="*/ 1 w 1"/>
                <a:gd name="T7" fmla="*/ 2 h 2"/>
              </a:gdLst>
              <a:ahLst/>
              <a:cxnLst>
                <a:cxn ang="0">
                  <a:pos x="T0" y="T1"/>
                </a:cxn>
                <a:cxn ang="0">
                  <a:pos x="T2" y="T3"/>
                </a:cxn>
                <a:cxn ang="0">
                  <a:pos x="T4" y="T5"/>
                </a:cxn>
                <a:cxn ang="0">
                  <a:pos x="T6" y="T7"/>
                </a:cxn>
              </a:cxnLst>
              <a:rect l="0" t="0" r="r" b="b"/>
              <a:pathLst>
                <a:path w="1" h="2">
                  <a:moveTo>
                    <a:pt x="1" y="2"/>
                  </a:moveTo>
                  <a:cubicBezTo>
                    <a:pt x="1" y="1"/>
                    <a:pt x="1" y="1"/>
                    <a:pt x="1" y="0"/>
                  </a:cubicBezTo>
                  <a:cubicBezTo>
                    <a:pt x="0" y="0"/>
                    <a:pt x="0" y="1"/>
                    <a:pt x="0" y="1"/>
                  </a:cubicBezTo>
                  <a:cubicBezTo>
                    <a:pt x="1" y="1"/>
                    <a:pt x="1" y="2"/>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59" name="Freeform 1609">
              <a:extLst>
                <a:ext uri="{FF2B5EF4-FFF2-40B4-BE49-F238E27FC236}">
                  <a16:creationId xmlns:a16="http://schemas.microsoft.com/office/drawing/2014/main" id="{F78ADF88-F6C8-4C37-93D1-5C2431F9BDB9}"/>
                </a:ext>
              </a:extLst>
            </p:cNvPr>
            <p:cNvSpPr>
              <a:spLocks/>
            </p:cNvSpPr>
            <p:nvPr/>
          </p:nvSpPr>
          <p:spPr bwMode="auto">
            <a:xfrm>
              <a:off x="2994" y="2381"/>
              <a:ext cx="9" cy="7"/>
            </a:xfrm>
            <a:custGeom>
              <a:avLst/>
              <a:gdLst>
                <a:gd name="T0" fmla="*/ 3 w 4"/>
                <a:gd name="T1" fmla="*/ 0 h 3"/>
                <a:gd name="T2" fmla="*/ 1 w 4"/>
                <a:gd name="T3" fmla="*/ 0 h 3"/>
                <a:gd name="T4" fmla="*/ 0 w 4"/>
                <a:gd name="T5" fmla="*/ 2 h 3"/>
                <a:gd name="T6" fmla="*/ 2 w 4"/>
                <a:gd name="T7" fmla="*/ 3 h 3"/>
                <a:gd name="T8" fmla="*/ 3 w 4"/>
                <a:gd name="T9" fmla="*/ 0 h 3"/>
              </a:gdLst>
              <a:ahLst/>
              <a:cxnLst>
                <a:cxn ang="0">
                  <a:pos x="T0" y="T1"/>
                </a:cxn>
                <a:cxn ang="0">
                  <a:pos x="T2" y="T3"/>
                </a:cxn>
                <a:cxn ang="0">
                  <a:pos x="T4" y="T5"/>
                </a:cxn>
                <a:cxn ang="0">
                  <a:pos x="T6" y="T7"/>
                </a:cxn>
                <a:cxn ang="0">
                  <a:pos x="T8" y="T9"/>
                </a:cxn>
              </a:cxnLst>
              <a:rect l="0" t="0" r="r" b="b"/>
              <a:pathLst>
                <a:path w="4" h="3">
                  <a:moveTo>
                    <a:pt x="3" y="0"/>
                  </a:moveTo>
                  <a:cubicBezTo>
                    <a:pt x="2" y="0"/>
                    <a:pt x="1" y="0"/>
                    <a:pt x="1" y="0"/>
                  </a:cubicBezTo>
                  <a:cubicBezTo>
                    <a:pt x="1" y="0"/>
                    <a:pt x="0" y="2"/>
                    <a:pt x="0" y="2"/>
                  </a:cubicBezTo>
                  <a:cubicBezTo>
                    <a:pt x="1" y="3"/>
                    <a:pt x="1" y="3"/>
                    <a:pt x="2" y="3"/>
                  </a:cubicBezTo>
                  <a:cubicBezTo>
                    <a:pt x="3" y="2"/>
                    <a:pt x="4" y="1"/>
                    <a:pt x="3"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60" name="Rectangle 1610">
              <a:extLst>
                <a:ext uri="{FF2B5EF4-FFF2-40B4-BE49-F238E27FC236}">
                  <a16:creationId xmlns:a16="http://schemas.microsoft.com/office/drawing/2014/main" id="{AAE2C039-3E4C-4C5A-880E-A20B4AD77DC8}"/>
                </a:ext>
              </a:extLst>
            </p:cNvPr>
            <p:cNvSpPr>
              <a:spLocks noChangeArrowheads="1"/>
            </p:cNvSpPr>
            <p:nvPr/>
          </p:nvSpPr>
          <p:spPr bwMode="auto">
            <a:xfrm>
              <a:off x="1643" y="1416"/>
              <a:ext cx="1" cy="1"/>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61" name="Freeform 1611">
              <a:extLst>
                <a:ext uri="{FF2B5EF4-FFF2-40B4-BE49-F238E27FC236}">
                  <a16:creationId xmlns:a16="http://schemas.microsoft.com/office/drawing/2014/main" id="{D148CAE3-ECEE-410B-B230-80FC17B9E41A}"/>
                </a:ext>
              </a:extLst>
            </p:cNvPr>
            <p:cNvSpPr>
              <a:spLocks/>
            </p:cNvSpPr>
            <p:nvPr/>
          </p:nvSpPr>
          <p:spPr bwMode="auto">
            <a:xfrm>
              <a:off x="781" y="1958"/>
              <a:ext cx="2" cy="0"/>
            </a:xfrm>
            <a:custGeom>
              <a:avLst/>
              <a:gdLst>
                <a:gd name="T0" fmla="*/ 0 w 1"/>
                <a:gd name="T1" fmla="*/ 1 w 1"/>
                <a:gd name="T2" fmla="*/ 0 w 1"/>
                <a:gd name="T3" fmla="*/ 0 w 1"/>
                <a:gd name="T4" fmla="*/ 0 w 1"/>
              </a:gdLst>
              <a:ahLst/>
              <a:cxnLst>
                <a:cxn ang="0">
                  <a:pos x="T0" y="0"/>
                </a:cxn>
                <a:cxn ang="0">
                  <a:pos x="T1" y="0"/>
                </a:cxn>
                <a:cxn ang="0">
                  <a:pos x="T2" y="0"/>
                </a:cxn>
                <a:cxn ang="0">
                  <a:pos x="T3" y="0"/>
                </a:cxn>
                <a:cxn ang="0">
                  <a:pos x="T4" y="0"/>
                </a:cxn>
              </a:cxnLst>
              <a:rect l="0" t="0" r="r" b="b"/>
              <a:pathLst>
                <a:path w="1">
                  <a:moveTo>
                    <a:pt x="0" y="0"/>
                  </a:moveTo>
                  <a:cubicBezTo>
                    <a:pt x="1" y="0"/>
                    <a:pt x="1" y="0"/>
                    <a:pt x="1" y="0"/>
                  </a:cubicBezTo>
                  <a:cubicBezTo>
                    <a:pt x="0" y="0"/>
                    <a:pt x="0" y="0"/>
                    <a:pt x="0" y="0"/>
                  </a:cubicBez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62" name="Freeform 1612">
              <a:extLst>
                <a:ext uri="{FF2B5EF4-FFF2-40B4-BE49-F238E27FC236}">
                  <a16:creationId xmlns:a16="http://schemas.microsoft.com/office/drawing/2014/main" id="{C0A4E0E1-809C-41E1-8055-F9568313CFBA}"/>
                </a:ext>
              </a:extLst>
            </p:cNvPr>
            <p:cNvSpPr>
              <a:spLocks/>
            </p:cNvSpPr>
            <p:nvPr/>
          </p:nvSpPr>
          <p:spPr bwMode="auto">
            <a:xfrm>
              <a:off x="454" y="1373"/>
              <a:ext cx="7" cy="5"/>
            </a:xfrm>
            <a:custGeom>
              <a:avLst/>
              <a:gdLst>
                <a:gd name="T0" fmla="*/ 0 w 3"/>
                <a:gd name="T1" fmla="*/ 2 h 2"/>
                <a:gd name="T2" fmla="*/ 0 w 3"/>
                <a:gd name="T3" fmla="*/ 2 h 2"/>
                <a:gd name="T4" fmla="*/ 0 w 3"/>
                <a:gd name="T5" fmla="*/ 2 h 2"/>
                <a:gd name="T6" fmla="*/ 1 w 3"/>
                <a:gd name="T7" fmla="*/ 2 h 2"/>
                <a:gd name="T8" fmla="*/ 1 w 3"/>
                <a:gd name="T9" fmla="*/ 2 h 2"/>
                <a:gd name="T10" fmla="*/ 3 w 3"/>
                <a:gd name="T11" fmla="*/ 0 h 2"/>
                <a:gd name="T12" fmla="*/ 0 w 3"/>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0" y="2"/>
                  </a:moveTo>
                  <a:cubicBezTo>
                    <a:pt x="0" y="2"/>
                    <a:pt x="0" y="2"/>
                    <a:pt x="0" y="2"/>
                  </a:cubicBezTo>
                  <a:cubicBezTo>
                    <a:pt x="0" y="2"/>
                    <a:pt x="0" y="2"/>
                    <a:pt x="0" y="2"/>
                  </a:cubicBezTo>
                  <a:cubicBezTo>
                    <a:pt x="1" y="2"/>
                    <a:pt x="1" y="2"/>
                    <a:pt x="1" y="2"/>
                  </a:cubicBezTo>
                  <a:cubicBezTo>
                    <a:pt x="1" y="2"/>
                    <a:pt x="1" y="2"/>
                    <a:pt x="1" y="2"/>
                  </a:cubicBezTo>
                  <a:cubicBezTo>
                    <a:pt x="1" y="1"/>
                    <a:pt x="2" y="1"/>
                    <a:pt x="3" y="0"/>
                  </a:cubicBezTo>
                  <a:cubicBezTo>
                    <a:pt x="2" y="1"/>
                    <a:pt x="1"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63" name="Freeform 1613">
              <a:extLst>
                <a:ext uri="{FF2B5EF4-FFF2-40B4-BE49-F238E27FC236}">
                  <a16:creationId xmlns:a16="http://schemas.microsoft.com/office/drawing/2014/main" id="{FB1E309B-E36A-4730-9410-CDB9A6163FED}"/>
                </a:ext>
              </a:extLst>
            </p:cNvPr>
            <p:cNvSpPr>
              <a:spLocks/>
            </p:cNvSpPr>
            <p:nvPr/>
          </p:nvSpPr>
          <p:spPr bwMode="auto">
            <a:xfrm>
              <a:off x="587" y="153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64" name="Freeform 1614">
              <a:extLst>
                <a:ext uri="{FF2B5EF4-FFF2-40B4-BE49-F238E27FC236}">
                  <a16:creationId xmlns:a16="http://schemas.microsoft.com/office/drawing/2014/main" id="{77B2CC46-2086-45B7-B735-AA950ED4D444}"/>
                </a:ext>
              </a:extLst>
            </p:cNvPr>
            <p:cNvSpPr>
              <a:spLocks/>
            </p:cNvSpPr>
            <p:nvPr/>
          </p:nvSpPr>
          <p:spPr bwMode="auto">
            <a:xfrm>
              <a:off x="1438" y="2017"/>
              <a:ext cx="0" cy="5"/>
            </a:xfrm>
            <a:custGeom>
              <a:avLst/>
              <a:gdLst>
                <a:gd name="T0" fmla="*/ 2 h 2"/>
                <a:gd name="T1" fmla="*/ 0 h 2"/>
                <a:gd name="T2" fmla="*/ 0 h 2"/>
                <a:gd name="T3" fmla="*/ 2 h 2"/>
              </a:gdLst>
              <a:ahLst/>
              <a:cxnLst>
                <a:cxn ang="0">
                  <a:pos x="0" y="T0"/>
                </a:cxn>
                <a:cxn ang="0">
                  <a:pos x="0" y="T1"/>
                </a:cxn>
                <a:cxn ang="0">
                  <a:pos x="0" y="T2"/>
                </a:cxn>
                <a:cxn ang="0">
                  <a:pos x="0" y="T3"/>
                </a:cxn>
              </a:cxnLst>
              <a:rect l="0" t="0" r="r" b="b"/>
              <a:pathLst>
                <a:path h="2">
                  <a:moveTo>
                    <a:pt x="0" y="2"/>
                  </a:moveTo>
                  <a:cubicBezTo>
                    <a:pt x="0" y="1"/>
                    <a:pt x="0" y="1"/>
                    <a:pt x="0" y="0"/>
                  </a:cubicBezTo>
                  <a:cubicBezTo>
                    <a:pt x="0" y="0"/>
                    <a:pt x="0" y="0"/>
                    <a:pt x="0" y="0"/>
                  </a:cubicBezTo>
                  <a:cubicBezTo>
                    <a:pt x="0" y="1"/>
                    <a:pt x="0"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65" name="Freeform 1615">
              <a:extLst>
                <a:ext uri="{FF2B5EF4-FFF2-40B4-BE49-F238E27FC236}">
                  <a16:creationId xmlns:a16="http://schemas.microsoft.com/office/drawing/2014/main" id="{4EFD83A7-7714-474F-A427-13E1421A0FC8}"/>
                </a:ext>
              </a:extLst>
            </p:cNvPr>
            <p:cNvSpPr>
              <a:spLocks/>
            </p:cNvSpPr>
            <p:nvPr/>
          </p:nvSpPr>
          <p:spPr bwMode="auto">
            <a:xfrm>
              <a:off x="1617" y="1953"/>
              <a:ext cx="0" cy="2"/>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66" name="Freeform 1616">
              <a:extLst>
                <a:ext uri="{FF2B5EF4-FFF2-40B4-BE49-F238E27FC236}">
                  <a16:creationId xmlns:a16="http://schemas.microsoft.com/office/drawing/2014/main" id="{910A382E-E050-4BC0-8BA6-A4282B061E46}"/>
                </a:ext>
              </a:extLst>
            </p:cNvPr>
            <p:cNvSpPr>
              <a:spLocks/>
            </p:cNvSpPr>
            <p:nvPr/>
          </p:nvSpPr>
          <p:spPr bwMode="auto">
            <a:xfrm>
              <a:off x="2048" y="867"/>
              <a:ext cx="2" cy="2"/>
            </a:xfrm>
            <a:custGeom>
              <a:avLst/>
              <a:gdLst>
                <a:gd name="T0" fmla="*/ 0 w 1"/>
                <a:gd name="T1" fmla="*/ 0 h 1"/>
                <a:gd name="T2" fmla="*/ 0 w 1"/>
                <a:gd name="T3" fmla="*/ 0 h 1"/>
                <a:gd name="T4" fmla="*/ 1 w 1"/>
                <a:gd name="T5" fmla="*/ 0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0" y="1"/>
                    <a:pt x="1" y="0"/>
                    <a:pt x="1" y="0"/>
                  </a:cubicBezTo>
                  <a:cubicBezTo>
                    <a:pt x="1" y="0"/>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67" name="Rectangle 1617">
              <a:extLst>
                <a:ext uri="{FF2B5EF4-FFF2-40B4-BE49-F238E27FC236}">
                  <a16:creationId xmlns:a16="http://schemas.microsoft.com/office/drawing/2014/main" id="{C63E37F4-B696-4111-95D7-416669810A13}"/>
                </a:ext>
              </a:extLst>
            </p:cNvPr>
            <p:cNvSpPr>
              <a:spLocks noChangeArrowheads="1"/>
            </p:cNvSpPr>
            <p:nvPr/>
          </p:nvSpPr>
          <p:spPr bwMode="auto">
            <a:xfrm>
              <a:off x="1660" y="2570"/>
              <a:ext cx="1" cy="1"/>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68" name="Rectangle 1618">
              <a:extLst>
                <a:ext uri="{FF2B5EF4-FFF2-40B4-BE49-F238E27FC236}">
                  <a16:creationId xmlns:a16="http://schemas.microsoft.com/office/drawing/2014/main" id="{B1464D83-2A1E-407C-AA78-E5A6A5CD47D3}"/>
                </a:ext>
              </a:extLst>
            </p:cNvPr>
            <p:cNvSpPr>
              <a:spLocks noChangeArrowheads="1"/>
            </p:cNvSpPr>
            <p:nvPr/>
          </p:nvSpPr>
          <p:spPr bwMode="auto">
            <a:xfrm>
              <a:off x="1660" y="2570"/>
              <a:ext cx="1" cy="1"/>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69" name="Freeform 1619">
              <a:extLst>
                <a:ext uri="{FF2B5EF4-FFF2-40B4-BE49-F238E27FC236}">
                  <a16:creationId xmlns:a16="http://schemas.microsoft.com/office/drawing/2014/main" id="{572AE0CC-EF4F-42B8-9603-DB72300950F7}"/>
                </a:ext>
              </a:extLst>
            </p:cNvPr>
            <p:cNvSpPr>
              <a:spLocks/>
            </p:cNvSpPr>
            <p:nvPr/>
          </p:nvSpPr>
          <p:spPr bwMode="auto">
            <a:xfrm>
              <a:off x="2050" y="253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70" name="Freeform 1620">
              <a:extLst>
                <a:ext uri="{FF2B5EF4-FFF2-40B4-BE49-F238E27FC236}">
                  <a16:creationId xmlns:a16="http://schemas.microsoft.com/office/drawing/2014/main" id="{9211F1A6-97AF-4FC4-B5F2-17C6E7142C6E}"/>
                </a:ext>
              </a:extLst>
            </p:cNvPr>
            <p:cNvSpPr>
              <a:spLocks/>
            </p:cNvSpPr>
            <p:nvPr/>
          </p:nvSpPr>
          <p:spPr bwMode="auto">
            <a:xfrm>
              <a:off x="442" y="1354"/>
              <a:ext cx="3" cy="7"/>
            </a:xfrm>
            <a:custGeom>
              <a:avLst/>
              <a:gdLst>
                <a:gd name="T0" fmla="*/ 1 w 1"/>
                <a:gd name="T1" fmla="*/ 2 h 3"/>
                <a:gd name="T2" fmla="*/ 1 w 1"/>
                <a:gd name="T3" fmla="*/ 1 h 3"/>
                <a:gd name="T4" fmla="*/ 1 w 1"/>
                <a:gd name="T5" fmla="*/ 1 h 3"/>
                <a:gd name="T6" fmla="*/ 1 w 1"/>
                <a:gd name="T7" fmla="*/ 1 h 3"/>
                <a:gd name="T8" fmla="*/ 1 w 1"/>
                <a:gd name="T9" fmla="*/ 0 h 3"/>
                <a:gd name="T10" fmla="*/ 0 w 1"/>
                <a:gd name="T11" fmla="*/ 2 h 3"/>
                <a:gd name="T12" fmla="*/ 0 w 1"/>
                <a:gd name="T13" fmla="*/ 2 h 3"/>
                <a:gd name="T14" fmla="*/ 1 w 1"/>
                <a:gd name="T15" fmla="*/ 2 h 3"/>
                <a:gd name="T16" fmla="*/ 1 w 1"/>
                <a:gd name="T17" fmla="*/ 2 h 3"/>
                <a:gd name="T18" fmla="*/ 1 w 1"/>
                <a:gd name="T19" fmla="*/ 2 h 3"/>
                <a:gd name="T20" fmla="*/ 1 w 1"/>
                <a:gd name="T21" fmla="*/ 2 h 3"/>
                <a:gd name="T22" fmla="*/ 1 w 1"/>
                <a:gd name="T23" fmla="*/ 3 h 3"/>
                <a:gd name="T24" fmla="*/ 1 w 1"/>
                <a:gd name="T25" fmla="*/ 3 h 3"/>
                <a:gd name="T26" fmla="*/ 1 w 1"/>
                <a:gd name="T27" fmla="*/ 3 h 3"/>
                <a:gd name="T28" fmla="*/ 1 w 1"/>
                <a:gd name="T2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 h="3">
                  <a:moveTo>
                    <a:pt x="1" y="2"/>
                  </a:moveTo>
                  <a:cubicBezTo>
                    <a:pt x="1" y="2"/>
                    <a:pt x="1" y="1"/>
                    <a:pt x="1" y="1"/>
                  </a:cubicBezTo>
                  <a:cubicBezTo>
                    <a:pt x="1" y="1"/>
                    <a:pt x="1" y="1"/>
                    <a:pt x="1" y="1"/>
                  </a:cubicBezTo>
                  <a:cubicBezTo>
                    <a:pt x="1" y="1"/>
                    <a:pt x="1" y="1"/>
                    <a:pt x="1" y="1"/>
                  </a:cubicBezTo>
                  <a:cubicBezTo>
                    <a:pt x="1" y="1"/>
                    <a:pt x="1" y="1"/>
                    <a:pt x="1" y="0"/>
                  </a:cubicBezTo>
                  <a:cubicBezTo>
                    <a:pt x="1" y="1"/>
                    <a:pt x="1" y="2"/>
                    <a:pt x="0" y="2"/>
                  </a:cubicBezTo>
                  <a:cubicBezTo>
                    <a:pt x="0" y="2"/>
                    <a:pt x="0" y="2"/>
                    <a:pt x="0" y="2"/>
                  </a:cubicBezTo>
                  <a:cubicBezTo>
                    <a:pt x="1" y="2"/>
                    <a:pt x="1" y="2"/>
                    <a:pt x="1" y="2"/>
                  </a:cubicBezTo>
                  <a:cubicBezTo>
                    <a:pt x="1" y="2"/>
                    <a:pt x="1" y="2"/>
                    <a:pt x="1" y="2"/>
                  </a:cubicBezTo>
                  <a:cubicBezTo>
                    <a:pt x="1" y="2"/>
                    <a:pt x="1" y="2"/>
                    <a:pt x="1" y="2"/>
                  </a:cubicBezTo>
                  <a:cubicBezTo>
                    <a:pt x="1" y="2"/>
                    <a:pt x="1" y="2"/>
                    <a:pt x="1" y="2"/>
                  </a:cubicBezTo>
                  <a:cubicBezTo>
                    <a:pt x="1" y="2"/>
                    <a:pt x="1" y="2"/>
                    <a:pt x="1" y="3"/>
                  </a:cubicBezTo>
                  <a:cubicBezTo>
                    <a:pt x="1" y="3"/>
                    <a:pt x="1" y="3"/>
                    <a:pt x="1" y="3"/>
                  </a:cubicBezTo>
                  <a:cubicBezTo>
                    <a:pt x="1" y="3"/>
                    <a:pt x="1" y="3"/>
                    <a:pt x="1" y="3"/>
                  </a:cubicBezTo>
                  <a:cubicBezTo>
                    <a:pt x="1" y="3"/>
                    <a:pt x="1" y="3"/>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71" name="Freeform 1621">
              <a:extLst>
                <a:ext uri="{FF2B5EF4-FFF2-40B4-BE49-F238E27FC236}">
                  <a16:creationId xmlns:a16="http://schemas.microsoft.com/office/drawing/2014/main" id="{8F46D7D2-1DDC-4AD1-859B-F2AC337D05EF}"/>
                </a:ext>
              </a:extLst>
            </p:cNvPr>
            <p:cNvSpPr>
              <a:spLocks/>
            </p:cNvSpPr>
            <p:nvPr/>
          </p:nvSpPr>
          <p:spPr bwMode="auto">
            <a:xfrm>
              <a:off x="1643" y="1416"/>
              <a:ext cx="0" cy="2"/>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0"/>
                  </a:cubicBezTo>
                  <a:cubicBezTo>
                    <a:pt x="0" y="0"/>
                    <a:pt x="0" y="0"/>
                    <a:pt x="0" y="0"/>
                  </a:cubicBezTo>
                  <a:cubicBezTo>
                    <a:pt x="0" y="1"/>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72" name="Freeform 1622">
              <a:extLst>
                <a:ext uri="{FF2B5EF4-FFF2-40B4-BE49-F238E27FC236}">
                  <a16:creationId xmlns:a16="http://schemas.microsoft.com/office/drawing/2014/main" id="{9AAF2243-5663-436F-B120-E605C8BC316B}"/>
                </a:ext>
              </a:extLst>
            </p:cNvPr>
            <p:cNvSpPr>
              <a:spLocks/>
            </p:cNvSpPr>
            <p:nvPr/>
          </p:nvSpPr>
          <p:spPr bwMode="auto">
            <a:xfrm>
              <a:off x="2372" y="3403"/>
              <a:ext cx="2" cy="3"/>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0"/>
                    <a:pt x="0" y="0"/>
                    <a:pt x="0" y="0"/>
                  </a:cubicBezTo>
                  <a:cubicBezTo>
                    <a:pt x="0" y="0"/>
                    <a:pt x="1" y="0"/>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73" name="Freeform 1623">
              <a:extLst>
                <a:ext uri="{FF2B5EF4-FFF2-40B4-BE49-F238E27FC236}">
                  <a16:creationId xmlns:a16="http://schemas.microsoft.com/office/drawing/2014/main" id="{CE486980-8D1B-4C0E-91E7-2E34B31C9F24}"/>
                </a:ext>
              </a:extLst>
            </p:cNvPr>
            <p:cNvSpPr>
              <a:spLocks/>
            </p:cNvSpPr>
            <p:nvPr/>
          </p:nvSpPr>
          <p:spPr bwMode="auto">
            <a:xfrm>
              <a:off x="409" y="1293"/>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74" name="Freeform 1624">
              <a:extLst>
                <a:ext uri="{FF2B5EF4-FFF2-40B4-BE49-F238E27FC236}">
                  <a16:creationId xmlns:a16="http://schemas.microsoft.com/office/drawing/2014/main" id="{48ACE9D0-F036-4FE5-B346-FA65BE7D701F}"/>
                </a:ext>
              </a:extLst>
            </p:cNvPr>
            <p:cNvSpPr>
              <a:spLocks/>
            </p:cNvSpPr>
            <p:nvPr/>
          </p:nvSpPr>
          <p:spPr bwMode="auto">
            <a:xfrm>
              <a:off x="650" y="756"/>
              <a:ext cx="3" cy="7"/>
            </a:xfrm>
            <a:custGeom>
              <a:avLst/>
              <a:gdLst>
                <a:gd name="T0" fmla="*/ 0 w 1"/>
                <a:gd name="T1" fmla="*/ 0 h 3"/>
                <a:gd name="T2" fmla="*/ 0 w 1"/>
                <a:gd name="T3" fmla="*/ 3 h 3"/>
                <a:gd name="T4" fmla="*/ 0 w 1"/>
                <a:gd name="T5" fmla="*/ 0 h 3"/>
              </a:gdLst>
              <a:ahLst/>
              <a:cxnLst>
                <a:cxn ang="0">
                  <a:pos x="T0" y="T1"/>
                </a:cxn>
                <a:cxn ang="0">
                  <a:pos x="T2" y="T3"/>
                </a:cxn>
                <a:cxn ang="0">
                  <a:pos x="T4" y="T5"/>
                </a:cxn>
              </a:cxnLst>
              <a:rect l="0" t="0" r="r" b="b"/>
              <a:pathLst>
                <a:path w="1" h="3">
                  <a:moveTo>
                    <a:pt x="0" y="0"/>
                  </a:moveTo>
                  <a:cubicBezTo>
                    <a:pt x="0" y="1"/>
                    <a:pt x="0" y="2"/>
                    <a:pt x="0" y="3"/>
                  </a:cubicBezTo>
                  <a:cubicBezTo>
                    <a:pt x="0" y="3"/>
                    <a:pt x="1"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75" name="Freeform 1625">
              <a:extLst>
                <a:ext uri="{FF2B5EF4-FFF2-40B4-BE49-F238E27FC236}">
                  <a16:creationId xmlns:a16="http://schemas.microsoft.com/office/drawing/2014/main" id="{A8D39C19-5414-4824-A502-E5C044EC9AC4}"/>
                </a:ext>
              </a:extLst>
            </p:cNvPr>
            <p:cNvSpPr>
              <a:spLocks/>
            </p:cNvSpPr>
            <p:nvPr/>
          </p:nvSpPr>
          <p:spPr bwMode="auto">
            <a:xfrm>
              <a:off x="-68" y="1066"/>
              <a:ext cx="9" cy="2"/>
            </a:xfrm>
            <a:custGeom>
              <a:avLst/>
              <a:gdLst>
                <a:gd name="T0" fmla="*/ 0 w 4"/>
                <a:gd name="T1" fmla="*/ 1 h 1"/>
                <a:gd name="T2" fmla="*/ 4 w 4"/>
                <a:gd name="T3" fmla="*/ 0 h 1"/>
                <a:gd name="T4" fmla="*/ 0 w 4"/>
                <a:gd name="T5" fmla="*/ 1 h 1"/>
              </a:gdLst>
              <a:ahLst/>
              <a:cxnLst>
                <a:cxn ang="0">
                  <a:pos x="T0" y="T1"/>
                </a:cxn>
                <a:cxn ang="0">
                  <a:pos x="T2" y="T3"/>
                </a:cxn>
                <a:cxn ang="0">
                  <a:pos x="T4" y="T5"/>
                </a:cxn>
              </a:cxnLst>
              <a:rect l="0" t="0" r="r" b="b"/>
              <a:pathLst>
                <a:path w="4" h="1">
                  <a:moveTo>
                    <a:pt x="0" y="1"/>
                  </a:moveTo>
                  <a:cubicBezTo>
                    <a:pt x="1" y="0"/>
                    <a:pt x="2" y="0"/>
                    <a:pt x="4" y="0"/>
                  </a:cubicBezTo>
                  <a:cubicBezTo>
                    <a:pt x="2" y="0"/>
                    <a:pt x="1"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76" name="Oval 1626">
              <a:extLst>
                <a:ext uri="{FF2B5EF4-FFF2-40B4-BE49-F238E27FC236}">
                  <a16:creationId xmlns:a16="http://schemas.microsoft.com/office/drawing/2014/main" id="{0EF7E788-B163-47A8-9F3E-E43277642EBF}"/>
                </a:ext>
              </a:extLst>
            </p:cNvPr>
            <p:cNvSpPr>
              <a:spLocks noChangeArrowheads="1"/>
            </p:cNvSpPr>
            <p:nvPr/>
          </p:nvSpPr>
          <p:spPr bwMode="auto">
            <a:xfrm>
              <a:off x="409" y="1293"/>
              <a:ext cx="1" cy="1"/>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77" name="Freeform 1627">
              <a:extLst>
                <a:ext uri="{FF2B5EF4-FFF2-40B4-BE49-F238E27FC236}">
                  <a16:creationId xmlns:a16="http://schemas.microsoft.com/office/drawing/2014/main" id="{AA0A53C7-6830-46C2-8629-3A2AF5E71361}"/>
                </a:ext>
              </a:extLst>
            </p:cNvPr>
            <p:cNvSpPr>
              <a:spLocks/>
            </p:cNvSpPr>
            <p:nvPr/>
          </p:nvSpPr>
          <p:spPr bwMode="auto">
            <a:xfrm>
              <a:off x="1688" y="189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78" name="Freeform 1628">
              <a:extLst>
                <a:ext uri="{FF2B5EF4-FFF2-40B4-BE49-F238E27FC236}">
                  <a16:creationId xmlns:a16="http://schemas.microsoft.com/office/drawing/2014/main" id="{53E44363-FE38-42CB-AF4A-48E743A5CC63}"/>
                </a:ext>
              </a:extLst>
            </p:cNvPr>
            <p:cNvSpPr>
              <a:spLocks/>
            </p:cNvSpPr>
            <p:nvPr/>
          </p:nvSpPr>
          <p:spPr bwMode="auto">
            <a:xfrm>
              <a:off x="2391" y="339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79" name="Freeform 1629">
              <a:extLst>
                <a:ext uri="{FF2B5EF4-FFF2-40B4-BE49-F238E27FC236}">
                  <a16:creationId xmlns:a16="http://schemas.microsoft.com/office/drawing/2014/main" id="{E53EE4D9-F6B4-45E3-A716-0CB317F13EEF}"/>
                </a:ext>
              </a:extLst>
            </p:cNvPr>
            <p:cNvSpPr>
              <a:spLocks/>
            </p:cNvSpPr>
            <p:nvPr/>
          </p:nvSpPr>
          <p:spPr bwMode="auto">
            <a:xfrm>
              <a:off x="2391" y="339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80" name="Freeform 1630">
              <a:extLst>
                <a:ext uri="{FF2B5EF4-FFF2-40B4-BE49-F238E27FC236}">
                  <a16:creationId xmlns:a16="http://schemas.microsoft.com/office/drawing/2014/main" id="{96AEF8B7-21BD-4E72-818B-33C6FE1ECC36}"/>
                </a:ext>
              </a:extLst>
            </p:cNvPr>
            <p:cNvSpPr>
              <a:spLocks/>
            </p:cNvSpPr>
            <p:nvPr/>
          </p:nvSpPr>
          <p:spPr bwMode="auto">
            <a:xfrm>
              <a:off x="1643" y="1416"/>
              <a:ext cx="0" cy="5"/>
            </a:xfrm>
            <a:custGeom>
              <a:avLst/>
              <a:gdLst>
                <a:gd name="T0" fmla="*/ 2 h 5"/>
                <a:gd name="T1" fmla="*/ 5 h 5"/>
                <a:gd name="T2" fmla="*/ 2 h 5"/>
                <a:gd name="T3" fmla="*/ 2 h 5"/>
                <a:gd name="T4" fmla="*/ 0 h 5"/>
                <a:gd name="T5" fmla="*/ 2 h 5"/>
                <a:gd name="T6" fmla="*/ 2 h 5"/>
              </a:gdLst>
              <a:ahLst/>
              <a:cxnLst>
                <a:cxn ang="0">
                  <a:pos x="0" y="T0"/>
                </a:cxn>
                <a:cxn ang="0">
                  <a:pos x="0" y="T1"/>
                </a:cxn>
                <a:cxn ang="0">
                  <a:pos x="0" y="T2"/>
                </a:cxn>
                <a:cxn ang="0">
                  <a:pos x="0" y="T3"/>
                </a:cxn>
                <a:cxn ang="0">
                  <a:pos x="0" y="T4"/>
                </a:cxn>
                <a:cxn ang="0">
                  <a:pos x="0" y="T5"/>
                </a:cxn>
                <a:cxn ang="0">
                  <a:pos x="0" y="T6"/>
                </a:cxn>
              </a:cxnLst>
              <a:rect l="0" t="0" r="r" b="b"/>
              <a:pathLst>
                <a:path h="5">
                  <a:moveTo>
                    <a:pt x="0" y="2"/>
                  </a:moveTo>
                  <a:lnTo>
                    <a:pt x="0" y="5"/>
                  </a:lnTo>
                  <a:lnTo>
                    <a:pt x="0" y="2"/>
                  </a:lnTo>
                  <a:lnTo>
                    <a:pt x="0" y="2"/>
                  </a:lnTo>
                  <a:lnTo>
                    <a:pt x="0" y="0"/>
                  </a:lnTo>
                  <a:lnTo>
                    <a:pt x="0" y="2"/>
                  </a:lnTo>
                  <a:lnTo>
                    <a:pt x="0" y="2"/>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81" name="Freeform 1631">
              <a:extLst>
                <a:ext uri="{FF2B5EF4-FFF2-40B4-BE49-F238E27FC236}">
                  <a16:creationId xmlns:a16="http://schemas.microsoft.com/office/drawing/2014/main" id="{341A384C-4005-4C4B-B09A-1DB442DA5075}"/>
                </a:ext>
              </a:extLst>
            </p:cNvPr>
            <p:cNvSpPr>
              <a:spLocks/>
            </p:cNvSpPr>
            <p:nvPr/>
          </p:nvSpPr>
          <p:spPr bwMode="auto">
            <a:xfrm>
              <a:off x="433" y="1343"/>
              <a:ext cx="2" cy="2"/>
            </a:xfrm>
            <a:custGeom>
              <a:avLst/>
              <a:gdLst>
                <a:gd name="T0" fmla="*/ 1 w 1"/>
                <a:gd name="T1" fmla="*/ 1 h 1"/>
                <a:gd name="T2" fmla="*/ 1 w 1"/>
                <a:gd name="T3" fmla="*/ 1 h 1"/>
                <a:gd name="T4" fmla="*/ 1 w 1"/>
                <a:gd name="T5" fmla="*/ 0 h 1"/>
                <a:gd name="T6" fmla="*/ 1 w 1"/>
                <a:gd name="T7" fmla="*/ 0 h 1"/>
                <a:gd name="T8" fmla="*/ 0 w 1"/>
                <a:gd name="T9" fmla="*/ 0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1" y="1"/>
                    <a:pt x="1" y="1"/>
                    <a:pt x="1" y="0"/>
                  </a:cubicBezTo>
                  <a:cubicBezTo>
                    <a:pt x="1" y="0"/>
                    <a:pt x="1" y="0"/>
                    <a:pt x="1" y="0"/>
                  </a:cubicBezTo>
                  <a:cubicBezTo>
                    <a:pt x="1" y="0"/>
                    <a:pt x="0" y="0"/>
                    <a:pt x="0" y="0"/>
                  </a:cubicBezTo>
                  <a:cubicBezTo>
                    <a:pt x="0" y="0"/>
                    <a:pt x="1" y="0"/>
                    <a:pt x="1" y="1"/>
                  </a:cubicBezTo>
                  <a:cubicBezTo>
                    <a:pt x="1" y="1"/>
                    <a:pt x="1" y="1"/>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82" name="Freeform 1632">
              <a:extLst>
                <a:ext uri="{FF2B5EF4-FFF2-40B4-BE49-F238E27FC236}">
                  <a16:creationId xmlns:a16="http://schemas.microsoft.com/office/drawing/2014/main" id="{C8902426-9303-48A0-AC8C-EFCF43B4B4BA}"/>
                </a:ext>
              </a:extLst>
            </p:cNvPr>
            <p:cNvSpPr>
              <a:spLocks/>
            </p:cNvSpPr>
            <p:nvPr/>
          </p:nvSpPr>
          <p:spPr bwMode="auto">
            <a:xfrm>
              <a:off x="2287" y="2817"/>
              <a:ext cx="0" cy="2"/>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1"/>
                    <a:pt x="0" y="0"/>
                    <a:pt x="0" y="0"/>
                  </a:cubicBezTo>
                  <a:cubicBezTo>
                    <a:pt x="0" y="0"/>
                    <a:pt x="0" y="0"/>
                    <a:pt x="0" y="0"/>
                  </a:cubicBezTo>
                  <a:cubicBezTo>
                    <a:pt x="0" y="0"/>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83" name="Freeform 1633">
              <a:extLst>
                <a:ext uri="{FF2B5EF4-FFF2-40B4-BE49-F238E27FC236}">
                  <a16:creationId xmlns:a16="http://schemas.microsoft.com/office/drawing/2014/main" id="{1E867FB4-E4F8-4FB8-9743-626E1D2BDC73}"/>
                </a:ext>
              </a:extLst>
            </p:cNvPr>
            <p:cNvSpPr>
              <a:spLocks/>
            </p:cNvSpPr>
            <p:nvPr/>
          </p:nvSpPr>
          <p:spPr bwMode="auto">
            <a:xfrm>
              <a:off x="2324" y="281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84" name="Freeform 1634">
              <a:extLst>
                <a:ext uri="{FF2B5EF4-FFF2-40B4-BE49-F238E27FC236}">
                  <a16:creationId xmlns:a16="http://schemas.microsoft.com/office/drawing/2014/main" id="{C4FDBEFF-81DF-463E-ACAE-DB85B372696C}"/>
                </a:ext>
              </a:extLst>
            </p:cNvPr>
            <p:cNvSpPr>
              <a:spLocks/>
            </p:cNvSpPr>
            <p:nvPr/>
          </p:nvSpPr>
          <p:spPr bwMode="auto">
            <a:xfrm>
              <a:off x="1833" y="1506"/>
              <a:ext cx="2"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1" y="0"/>
                    <a:pt x="0" y="0"/>
                    <a:pt x="0" y="0"/>
                  </a:cubicBezTo>
                  <a:cubicBezTo>
                    <a:pt x="0" y="0"/>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85" name="Freeform 1635">
              <a:extLst>
                <a:ext uri="{FF2B5EF4-FFF2-40B4-BE49-F238E27FC236}">
                  <a16:creationId xmlns:a16="http://schemas.microsoft.com/office/drawing/2014/main" id="{A05FC972-BFED-406E-A989-4B3CAC57E162}"/>
                </a:ext>
              </a:extLst>
            </p:cNvPr>
            <p:cNvSpPr>
              <a:spLocks/>
            </p:cNvSpPr>
            <p:nvPr/>
          </p:nvSpPr>
          <p:spPr bwMode="auto">
            <a:xfrm>
              <a:off x="1833" y="1506"/>
              <a:ext cx="2" cy="0"/>
            </a:xfrm>
            <a:custGeom>
              <a:avLst/>
              <a:gdLst>
                <a:gd name="T0" fmla="*/ 0 w 2"/>
                <a:gd name="T1" fmla="*/ 0 w 2"/>
                <a:gd name="T2" fmla="*/ 0 w 2"/>
                <a:gd name="T3" fmla="*/ 2 w 2"/>
                <a:gd name="T4" fmla="*/ 2 w 2"/>
                <a:gd name="T5" fmla="*/ 2 w 2"/>
                <a:gd name="T6" fmla="*/ 2 w 2"/>
                <a:gd name="T7" fmla="*/ 0 w 2"/>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2">
                  <a:moveTo>
                    <a:pt x="0" y="0"/>
                  </a:moveTo>
                  <a:lnTo>
                    <a:pt x="0" y="0"/>
                  </a:lnTo>
                  <a:lnTo>
                    <a:pt x="0" y="0"/>
                  </a:lnTo>
                  <a:lnTo>
                    <a:pt x="2" y="0"/>
                  </a:lnTo>
                  <a:lnTo>
                    <a:pt x="2" y="0"/>
                  </a:lnTo>
                  <a:lnTo>
                    <a:pt x="2" y="0"/>
                  </a:lnTo>
                  <a:lnTo>
                    <a:pt x="2" y="0"/>
                  </a:lnTo>
                  <a:lnTo>
                    <a:pt x="0"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86" name="Freeform 1636">
              <a:extLst>
                <a:ext uri="{FF2B5EF4-FFF2-40B4-BE49-F238E27FC236}">
                  <a16:creationId xmlns:a16="http://schemas.microsoft.com/office/drawing/2014/main" id="{12D33EB0-30D4-45E4-B7A5-C48CD0FEFA69}"/>
                </a:ext>
              </a:extLst>
            </p:cNvPr>
            <p:cNvSpPr>
              <a:spLocks/>
            </p:cNvSpPr>
            <p:nvPr/>
          </p:nvSpPr>
          <p:spPr bwMode="auto">
            <a:xfrm>
              <a:off x="2291" y="2670"/>
              <a:ext cx="3" cy="2"/>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1" y="1"/>
                    <a:pt x="0" y="1"/>
                  </a:cubicBezTo>
                  <a:cubicBezTo>
                    <a:pt x="1" y="1"/>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87" name="Freeform 1637">
              <a:extLst>
                <a:ext uri="{FF2B5EF4-FFF2-40B4-BE49-F238E27FC236}">
                  <a16:creationId xmlns:a16="http://schemas.microsoft.com/office/drawing/2014/main" id="{230BD1A9-E2E8-4B78-BF8A-6A47BE72821A}"/>
                </a:ext>
              </a:extLst>
            </p:cNvPr>
            <p:cNvSpPr>
              <a:spLocks/>
            </p:cNvSpPr>
            <p:nvPr/>
          </p:nvSpPr>
          <p:spPr bwMode="auto">
            <a:xfrm>
              <a:off x="376" y="753"/>
              <a:ext cx="5" cy="3"/>
            </a:xfrm>
            <a:custGeom>
              <a:avLst/>
              <a:gdLst>
                <a:gd name="T0" fmla="*/ 2 w 2"/>
                <a:gd name="T1" fmla="*/ 0 h 1"/>
                <a:gd name="T2" fmla="*/ 0 w 2"/>
                <a:gd name="T3" fmla="*/ 1 h 1"/>
                <a:gd name="T4" fmla="*/ 0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1" y="0"/>
                    <a:pt x="0" y="1"/>
                    <a:pt x="0" y="1"/>
                  </a:cubicBezTo>
                  <a:cubicBezTo>
                    <a:pt x="0" y="1"/>
                    <a:pt x="0" y="1"/>
                    <a:pt x="0" y="1"/>
                  </a:cubicBezTo>
                  <a:cubicBezTo>
                    <a:pt x="0" y="1"/>
                    <a:pt x="1" y="0"/>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88" name="Freeform 1638">
              <a:extLst>
                <a:ext uri="{FF2B5EF4-FFF2-40B4-BE49-F238E27FC236}">
                  <a16:creationId xmlns:a16="http://schemas.microsoft.com/office/drawing/2014/main" id="{674B4300-95EC-49C4-A2BE-FC11CC99B519}"/>
                </a:ext>
              </a:extLst>
            </p:cNvPr>
            <p:cNvSpPr>
              <a:spLocks/>
            </p:cNvSpPr>
            <p:nvPr/>
          </p:nvSpPr>
          <p:spPr bwMode="auto">
            <a:xfrm>
              <a:off x="400" y="131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89" name="Oval 1639">
              <a:extLst>
                <a:ext uri="{FF2B5EF4-FFF2-40B4-BE49-F238E27FC236}">
                  <a16:creationId xmlns:a16="http://schemas.microsoft.com/office/drawing/2014/main" id="{4057BECD-A78B-4E88-9745-BD20671E5376}"/>
                </a:ext>
              </a:extLst>
            </p:cNvPr>
            <p:cNvSpPr>
              <a:spLocks noChangeArrowheads="1"/>
            </p:cNvSpPr>
            <p:nvPr/>
          </p:nvSpPr>
          <p:spPr bwMode="auto">
            <a:xfrm>
              <a:off x="405" y="1321"/>
              <a:ext cx="1" cy="1"/>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90" name="Freeform 1640">
              <a:extLst>
                <a:ext uri="{FF2B5EF4-FFF2-40B4-BE49-F238E27FC236}">
                  <a16:creationId xmlns:a16="http://schemas.microsoft.com/office/drawing/2014/main" id="{3F036968-C4B4-4865-BDA2-EF5FB6CEC38E}"/>
                </a:ext>
              </a:extLst>
            </p:cNvPr>
            <p:cNvSpPr>
              <a:spLocks/>
            </p:cNvSpPr>
            <p:nvPr/>
          </p:nvSpPr>
          <p:spPr bwMode="auto">
            <a:xfrm>
              <a:off x="2171" y="1409"/>
              <a:ext cx="4" cy="2"/>
            </a:xfrm>
            <a:custGeom>
              <a:avLst/>
              <a:gdLst>
                <a:gd name="T0" fmla="*/ 0 w 2"/>
                <a:gd name="T1" fmla="*/ 1 h 1"/>
                <a:gd name="T2" fmla="*/ 1 w 2"/>
                <a:gd name="T3" fmla="*/ 1 h 1"/>
                <a:gd name="T4" fmla="*/ 2 w 2"/>
                <a:gd name="T5" fmla="*/ 0 h 1"/>
                <a:gd name="T6" fmla="*/ 0 w 2"/>
                <a:gd name="T7" fmla="*/ 1 h 1"/>
                <a:gd name="T8" fmla="*/ 0 w 2"/>
                <a:gd name="T9" fmla="*/ 1 h 1"/>
              </a:gdLst>
              <a:ahLst/>
              <a:cxnLst>
                <a:cxn ang="0">
                  <a:pos x="T0" y="T1"/>
                </a:cxn>
                <a:cxn ang="0">
                  <a:pos x="T2" y="T3"/>
                </a:cxn>
                <a:cxn ang="0">
                  <a:pos x="T4" y="T5"/>
                </a:cxn>
                <a:cxn ang="0">
                  <a:pos x="T6" y="T7"/>
                </a:cxn>
                <a:cxn ang="0">
                  <a:pos x="T8" y="T9"/>
                </a:cxn>
              </a:cxnLst>
              <a:rect l="0" t="0" r="r" b="b"/>
              <a:pathLst>
                <a:path w="2" h="1">
                  <a:moveTo>
                    <a:pt x="0" y="1"/>
                  </a:moveTo>
                  <a:cubicBezTo>
                    <a:pt x="0" y="1"/>
                    <a:pt x="1" y="1"/>
                    <a:pt x="1" y="1"/>
                  </a:cubicBezTo>
                  <a:cubicBezTo>
                    <a:pt x="1" y="1"/>
                    <a:pt x="2" y="1"/>
                    <a:pt x="2" y="0"/>
                  </a:cubicBezTo>
                  <a:cubicBezTo>
                    <a:pt x="1" y="1"/>
                    <a:pt x="1" y="1"/>
                    <a:pt x="0" y="1"/>
                  </a:cubicBezTo>
                  <a:cubicBezTo>
                    <a:pt x="0" y="1"/>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91" name="Freeform 1641">
              <a:extLst>
                <a:ext uri="{FF2B5EF4-FFF2-40B4-BE49-F238E27FC236}">
                  <a16:creationId xmlns:a16="http://schemas.microsoft.com/office/drawing/2014/main" id="{224C95F3-D293-45EB-9189-D3A6004E3E9A}"/>
                </a:ext>
              </a:extLst>
            </p:cNvPr>
            <p:cNvSpPr>
              <a:spLocks/>
            </p:cNvSpPr>
            <p:nvPr/>
          </p:nvSpPr>
          <p:spPr bwMode="auto">
            <a:xfrm>
              <a:off x="402" y="1316"/>
              <a:ext cx="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92" name="Freeform 1642">
              <a:extLst>
                <a:ext uri="{FF2B5EF4-FFF2-40B4-BE49-F238E27FC236}">
                  <a16:creationId xmlns:a16="http://schemas.microsoft.com/office/drawing/2014/main" id="{78F45B6F-9BF7-4C5A-8A56-B92491D4CFB4}"/>
                </a:ext>
              </a:extLst>
            </p:cNvPr>
            <p:cNvSpPr>
              <a:spLocks/>
            </p:cNvSpPr>
            <p:nvPr/>
          </p:nvSpPr>
          <p:spPr bwMode="auto">
            <a:xfrm>
              <a:off x="402" y="1314"/>
              <a:ext cx="3" cy="2"/>
            </a:xfrm>
            <a:custGeom>
              <a:avLst/>
              <a:gdLst>
                <a:gd name="T0" fmla="*/ 0 w 1"/>
                <a:gd name="T1" fmla="*/ 0 h 1"/>
                <a:gd name="T2" fmla="*/ 0 w 1"/>
                <a:gd name="T3" fmla="*/ 0 h 1"/>
                <a:gd name="T4" fmla="*/ 0 w 1"/>
                <a:gd name="T5" fmla="*/ 0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0"/>
                    <a:pt x="0" y="0"/>
                    <a:pt x="0" y="0"/>
                  </a:cubicBezTo>
                  <a:cubicBezTo>
                    <a:pt x="1" y="0"/>
                    <a:pt x="1" y="1"/>
                    <a:pt x="1" y="1"/>
                  </a:cubicBezTo>
                  <a:cubicBezTo>
                    <a:pt x="1" y="1"/>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93" name="Freeform 1643">
              <a:extLst>
                <a:ext uri="{FF2B5EF4-FFF2-40B4-BE49-F238E27FC236}">
                  <a16:creationId xmlns:a16="http://schemas.microsoft.com/office/drawing/2014/main" id="{EAD6F792-5AE5-4F82-9AFF-52A7CF83B8CF}"/>
                </a:ext>
              </a:extLst>
            </p:cNvPr>
            <p:cNvSpPr>
              <a:spLocks/>
            </p:cNvSpPr>
            <p:nvPr/>
          </p:nvSpPr>
          <p:spPr bwMode="auto">
            <a:xfrm>
              <a:off x="2015" y="1449"/>
              <a:ext cx="2" cy="0"/>
            </a:xfrm>
            <a:custGeom>
              <a:avLst/>
              <a:gdLst>
                <a:gd name="T0" fmla="*/ 0 w 1"/>
                <a:gd name="T1" fmla="*/ 0 w 1"/>
                <a:gd name="T2" fmla="*/ 1 w 1"/>
                <a:gd name="T3" fmla="*/ 1 w 1"/>
                <a:gd name="T4" fmla="*/ 1 w 1"/>
                <a:gd name="T5" fmla="*/ 1 w 1"/>
                <a:gd name="T6" fmla="*/ 0 w 1"/>
                <a:gd name="T7" fmla="*/ 0 w 1"/>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1">
                  <a:moveTo>
                    <a:pt x="0" y="0"/>
                  </a:moveTo>
                  <a:cubicBezTo>
                    <a:pt x="0" y="0"/>
                    <a:pt x="0" y="0"/>
                    <a:pt x="0" y="0"/>
                  </a:cubicBezTo>
                  <a:cubicBezTo>
                    <a:pt x="1" y="0"/>
                    <a:pt x="1" y="0"/>
                    <a:pt x="1" y="0"/>
                  </a:cubicBezTo>
                  <a:cubicBezTo>
                    <a:pt x="1" y="0"/>
                    <a:pt x="1" y="0"/>
                    <a:pt x="1" y="0"/>
                  </a:cubicBezTo>
                  <a:cubicBezTo>
                    <a:pt x="1" y="0"/>
                    <a:pt x="1" y="0"/>
                    <a:pt x="1" y="0"/>
                  </a:cubicBezTo>
                  <a:cubicBezTo>
                    <a:pt x="1" y="0"/>
                    <a:pt x="1" y="0"/>
                    <a:pt x="1" y="0"/>
                  </a:cubicBez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94" name="Freeform 1644">
              <a:extLst>
                <a:ext uri="{FF2B5EF4-FFF2-40B4-BE49-F238E27FC236}">
                  <a16:creationId xmlns:a16="http://schemas.microsoft.com/office/drawing/2014/main" id="{4F53085F-FCC5-4E83-9030-14753D37B2A1}"/>
                </a:ext>
              </a:extLst>
            </p:cNvPr>
            <p:cNvSpPr>
              <a:spLocks/>
            </p:cNvSpPr>
            <p:nvPr/>
          </p:nvSpPr>
          <p:spPr bwMode="auto">
            <a:xfrm>
              <a:off x="2012" y="144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95" name="Freeform 1645">
              <a:extLst>
                <a:ext uri="{FF2B5EF4-FFF2-40B4-BE49-F238E27FC236}">
                  <a16:creationId xmlns:a16="http://schemas.microsoft.com/office/drawing/2014/main" id="{0EC335ED-1927-4DB1-A2D1-2B465ED34E44}"/>
                </a:ext>
              </a:extLst>
            </p:cNvPr>
            <p:cNvSpPr>
              <a:spLocks/>
            </p:cNvSpPr>
            <p:nvPr/>
          </p:nvSpPr>
          <p:spPr bwMode="auto">
            <a:xfrm>
              <a:off x="2003" y="1447"/>
              <a:ext cx="9" cy="2"/>
            </a:xfrm>
            <a:custGeom>
              <a:avLst/>
              <a:gdLst>
                <a:gd name="T0" fmla="*/ 4 w 4"/>
                <a:gd name="T1" fmla="*/ 1 h 1"/>
                <a:gd name="T2" fmla="*/ 3 w 4"/>
                <a:gd name="T3" fmla="*/ 0 h 1"/>
                <a:gd name="T4" fmla="*/ 3 w 4"/>
                <a:gd name="T5" fmla="*/ 0 h 1"/>
                <a:gd name="T6" fmla="*/ 3 w 4"/>
                <a:gd name="T7" fmla="*/ 0 h 1"/>
                <a:gd name="T8" fmla="*/ 2 w 4"/>
                <a:gd name="T9" fmla="*/ 0 h 1"/>
                <a:gd name="T10" fmla="*/ 2 w 4"/>
                <a:gd name="T11" fmla="*/ 0 h 1"/>
                <a:gd name="T12" fmla="*/ 0 w 4"/>
                <a:gd name="T13" fmla="*/ 1 h 1"/>
                <a:gd name="T14" fmla="*/ 4 w 4"/>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
                  <a:moveTo>
                    <a:pt x="4" y="1"/>
                  </a:moveTo>
                  <a:cubicBezTo>
                    <a:pt x="3" y="1"/>
                    <a:pt x="4" y="0"/>
                    <a:pt x="3" y="0"/>
                  </a:cubicBezTo>
                  <a:cubicBezTo>
                    <a:pt x="3" y="0"/>
                    <a:pt x="3" y="0"/>
                    <a:pt x="3" y="0"/>
                  </a:cubicBezTo>
                  <a:cubicBezTo>
                    <a:pt x="3" y="0"/>
                    <a:pt x="3" y="0"/>
                    <a:pt x="3" y="0"/>
                  </a:cubicBezTo>
                  <a:cubicBezTo>
                    <a:pt x="2" y="0"/>
                    <a:pt x="2" y="0"/>
                    <a:pt x="2" y="0"/>
                  </a:cubicBezTo>
                  <a:cubicBezTo>
                    <a:pt x="2" y="0"/>
                    <a:pt x="2" y="0"/>
                    <a:pt x="2" y="0"/>
                  </a:cubicBezTo>
                  <a:cubicBezTo>
                    <a:pt x="2" y="0"/>
                    <a:pt x="1" y="0"/>
                    <a:pt x="0" y="1"/>
                  </a:cubicBezTo>
                  <a:cubicBezTo>
                    <a:pt x="1" y="1"/>
                    <a:pt x="2" y="1"/>
                    <a:pt x="4"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96" name="Freeform 1646">
              <a:extLst>
                <a:ext uri="{FF2B5EF4-FFF2-40B4-BE49-F238E27FC236}">
                  <a16:creationId xmlns:a16="http://schemas.microsoft.com/office/drawing/2014/main" id="{7E3DBA9C-2E74-4C60-93D5-C916E524327F}"/>
                </a:ext>
              </a:extLst>
            </p:cNvPr>
            <p:cNvSpPr>
              <a:spLocks/>
            </p:cNvSpPr>
            <p:nvPr/>
          </p:nvSpPr>
          <p:spPr bwMode="auto">
            <a:xfrm>
              <a:off x="2017" y="144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97" name="Freeform 1647">
              <a:extLst>
                <a:ext uri="{FF2B5EF4-FFF2-40B4-BE49-F238E27FC236}">
                  <a16:creationId xmlns:a16="http://schemas.microsoft.com/office/drawing/2014/main" id="{566CD0CC-21E5-4284-9595-A6981673A99D}"/>
                </a:ext>
              </a:extLst>
            </p:cNvPr>
            <p:cNvSpPr>
              <a:spLocks/>
            </p:cNvSpPr>
            <p:nvPr/>
          </p:nvSpPr>
          <p:spPr bwMode="auto">
            <a:xfrm>
              <a:off x="1896" y="1482"/>
              <a:ext cx="0" cy="2"/>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1"/>
                    <a:pt x="0" y="1"/>
                    <a:pt x="0" y="0"/>
                  </a:cubicBezTo>
                  <a:cubicBezTo>
                    <a:pt x="0" y="1"/>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98" name="Freeform 1648">
              <a:extLst>
                <a:ext uri="{FF2B5EF4-FFF2-40B4-BE49-F238E27FC236}">
                  <a16:creationId xmlns:a16="http://schemas.microsoft.com/office/drawing/2014/main" id="{AEE88394-BC85-4E30-9F1C-02F6DC46E6FA}"/>
                </a:ext>
              </a:extLst>
            </p:cNvPr>
            <p:cNvSpPr>
              <a:spLocks/>
            </p:cNvSpPr>
            <p:nvPr/>
          </p:nvSpPr>
          <p:spPr bwMode="auto">
            <a:xfrm>
              <a:off x="-59" y="1066"/>
              <a:ext cx="3"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0" y="0"/>
                    <a:pt x="1" y="0"/>
                    <a:pt x="1" y="0"/>
                  </a:cubicBezTo>
                  <a:cubicBezTo>
                    <a:pt x="1" y="0"/>
                    <a:pt x="1" y="0"/>
                    <a:pt x="1" y="0"/>
                  </a:cubicBezTo>
                  <a:cubicBezTo>
                    <a:pt x="1"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99" name="Rectangle 1649">
              <a:extLst>
                <a:ext uri="{FF2B5EF4-FFF2-40B4-BE49-F238E27FC236}">
                  <a16:creationId xmlns:a16="http://schemas.microsoft.com/office/drawing/2014/main" id="{0821EB55-332D-47AB-AF5F-3CE46D30725C}"/>
                </a:ext>
              </a:extLst>
            </p:cNvPr>
            <p:cNvSpPr>
              <a:spLocks noChangeArrowheads="1"/>
            </p:cNvSpPr>
            <p:nvPr/>
          </p:nvSpPr>
          <p:spPr bwMode="auto">
            <a:xfrm>
              <a:off x="1896" y="1482"/>
              <a:ext cx="1" cy="1"/>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00" name="Freeform 1650">
              <a:extLst>
                <a:ext uri="{FF2B5EF4-FFF2-40B4-BE49-F238E27FC236}">
                  <a16:creationId xmlns:a16="http://schemas.microsoft.com/office/drawing/2014/main" id="{E2B9D850-2580-41CD-9C24-472EFB482F50}"/>
                </a:ext>
              </a:extLst>
            </p:cNvPr>
            <p:cNvSpPr>
              <a:spLocks/>
            </p:cNvSpPr>
            <p:nvPr/>
          </p:nvSpPr>
          <p:spPr bwMode="auto">
            <a:xfrm>
              <a:off x="1896" y="1482"/>
              <a:ext cx="0" cy="2"/>
            </a:xfrm>
            <a:custGeom>
              <a:avLst/>
              <a:gdLst>
                <a:gd name="T0" fmla="*/ 0 h 2"/>
                <a:gd name="T1" fmla="*/ 0 h 2"/>
                <a:gd name="T2" fmla="*/ 2 h 2"/>
                <a:gd name="T3" fmla="*/ 0 h 2"/>
                <a:gd name="T4" fmla="*/ 0 h 2"/>
              </a:gdLst>
              <a:ahLst/>
              <a:cxnLst>
                <a:cxn ang="0">
                  <a:pos x="0" y="T0"/>
                </a:cxn>
                <a:cxn ang="0">
                  <a:pos x="0" y="T1"/>
                </a:cxn>
                <a:cxn ang="0">
                  <a:pos x="0" y="T2"/>
                </a:cxn>
                <a:cxn ang="0">
                  <a:pos x="0" y="T3"/>
                </a:cxn>
                <a:cxn ang="0">
                  <a:pos x="0" y="T4"/>
                </a:cxn>
              </a:cxnLst>
              <a:rect l="0" t="0" r="r" b="b"/>
              <a:pathLst>
                <a:path h="2">
                  <a:moveTo>
                    <a:pt x="0" y="0"/>
                  </a:moveTo>
                  <a:lnTo>
                    <a:pt x="0" y="0"/>
                  </a:lnTo>
                  <a:lnTo>
                    <a:pt x="0" y="2"/>
                  </a:lnTo>
                  <a:lnTo>
                    <a:pt x="0" y="0"/>
                  </a:lnTo>
                  <a:lnTo>
                    <a:pt x="0"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01" name="Freeform 1651">
              <a:extLst>
                <a:ext uri="{FF2B5EF4-FFF2-40B4-BE49-F238E27FC236}">
                  <a16:creationId xmlns:a16="http://schemas.microsoft.com/office/drawing/2014/main" id="{E4664C63-0C87-4A59-AB8E-331BD798788A}"/>
                </a:ext>
              </a:extLst>
            </p:cNvPr>
            <p:cNvSpPr>
              <a:spLocks/>
            </p:cNvSpPr>
            <p:nvPr/>
          </p:nvSpPr>
          <p:spPr bwMode="auto">
            <a:xfrm>
              <a:off x="1617" y="195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02" name="Freeform 1652">
              <a:extLst>
                <a:ext uri="{FF2B5EF4-FFF2-40B4-BE49-F238E27FC236}">
                  <a16:creationId xmlns:a16="http://schemas.microsoft.com/office/drawing/2014/main" id="{586FC451-8A26-4945-B1CA-E23FD314EE1B}"/>
                </a:ext>
              </a:extLst>
            </p:cNvPr>
            <p:cNvSpPr>
              <a:spLocks/>
            </p:cNvSpPr>
            <p:nvPr/>
          </p:nvSpPr>
          <p:spPr bwMode="auto">
            <a:xfrm>
              <a:off x="851" y="365"/>
              <a:ext cx="5" cy="5"/>
            </a:xfrm>
            <a:custGeom>
              <a:avLst/>
              <a:gdLst>
                <a:gd name="T0" fmla="*/ 2 w 2"/>
                <a:gd name="T1" fmla="*/ 0 h 2"/>
                <a:gd name="T2" fmla="*/ 1 w 2"/>
                <a:gd name="T3" fmla="*/ 1 h 2"/>
                <a:gd name="T4" fmla="*/ 0 w 2"/>
                <a:gd name="T5" fmla="*/ 2 h 2"/>
                <a:gd name="T6" fmla="*/ 2 w 2"/>
                <a:gd name="T7" fmla="*/ 0 h 2"/>
              </a:gdLst>
              <a:ahLst/>
              <a:cxnLst>
                <a:cxn ang="0">
                  <a:pos x="T0" y="T1"/>
                </a:cxn>
                <a:cxn ang="0">
                  <a:pos x="T2" y="T3"/>
                </a:cxn>
                <a:cxn ang="0">
                  <a:pos x="T4" y="T5"/>
                </a:cxn>
                <a:cxn ang="0">
                  <a:pos x="T6" y="T7"/>
                </a:cxn>
              </a:cxnLst>
              <a:rect l="0" t="0" r="r" b="b"/>
              <a:pathLst>
                <a:path w="2" h="2">
                  <a:moveTo>
                    <a:pt x="2" y="0"/>
                  </a:moveTo>
                  <a:cubicBezTo>
                    <a:pt x="2" y="0"/>
                    <a:pt x="1" y="1"/>
                    <a:pt x="1" y="1"/>
                  </a:cubicBezTo>
                  <a:cubicBezTo>
                    <a:pt x="0" y="1"/>
                    <a:pt x="0" y="1"/>
                    <a:pt x="0" y="2"/>
                  </a:cubicBezTo>
                  <a:cubicBezTo>
                    <a:pt x="1" y="1"/>
                    <a:pt x="2" y="1"/>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03" name="Freeform 1653">
              <a:extLst>
                <a:ext uri="{FF2B5EF4-FFF2-40B4-BE49-F238E27FC236}">
                  <a16:creationId xmlns:a16="http://schemas.microsoft.com/office/drawing/2014/main" id="{932E45AD-A430-4CED-BB83-5361C5B16436}"/>
                </a:ext>
              </a:extLst>
            </p:cNvPr>
            <p:cNvSpPr>
              <a:spLocks/>
            </p:cNvSpPr>
            <p:nvPr/>
          </p:nvSpPr>
          <p:spPr bwMode="auto">
            <a:xfrm>
              <a:off x="3055" y="97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04" name="Freeform 1654">
              <a:extLst>
                <a:ext uri="{FF2B5EF4-FFF2-40B4-BE49-F238E27FC236}">
                  <a16:creationId xmlns:a16="http://schemas.microsoft.com/office/drawing/2014/main" id="{33DA23BD-B6EA-4A28-B86E-8DCABEBE8AA8}"/>
                </a:ext>
              </a:extLst>
            </p:cNvPr>
            <p:cNvSpPr>
              <a:spLocks/>
            </p:cNvSpPr>
            <p:nvPr/>
          </p:nvSpPr>
          <p:spPr bwMode="auto">
            <a:xfrm>
              <a:off x="3024" y="957"/>
              <a:ext cx="10" cy="0"/>
            </a:xfrm>
            <a:custGeom>
              <a:avLst/>
              <a:gdLst>
                <a:gd name="T0" fmla="*/ 0 w 4"/>
                <a:gd name="T1" fmla="*/ 4 w 4"/>
                <a:gd name="T2" fmla="*/ 0 w 4"/>
              </a:gdLst>
              <a:ahLst/>
              <a:cxnLst>
                <a:cxn ang="0">
                  <a:pos x="T0" y="0"/>
                </a:cxn>
                <a:cxn ang="0">
                  <a:pos x="T1" y="0"/>
                </a:cxn>
                <a:cxn ang="0">
                  <a:pos x="T2" y="0"/>
                </a:cxn>
              </a:cxnLst>
              <a:rect l="0" t="0" r="r" b="b"/>
              <a:pathLst>
                <a:path w="4">
                  <a:moveTo>
                    <a:pt x="0" y="0"/>
                  </a:moveTo>
                  <a:cubicBezTo>
                    <a:pt x="1" y="0"/>
                    <a:pt x="3" y="0"/>
                    <a:pt x="4" y="0"/>
                  </a:cubicBezTo>
                  <a:cubicBezTo>
                    <a:pt x="3" y="0"/>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05" name="Freeform 1655">
              <a:extLst>
                <a:ext uri="{FF2B5EF4-FFF2-40B4-BE49-F238E27FC236}">
                  <a16:creationId xmlns:a16="http://schemas.microsoft.com/office/drawing/2014/main" id="{D7B54058-8117-454F-8572-1AD9279FE64E}"/>
                </a:ext>
              </a:extLst>
            </p:cNvPr>
            <p:cNvSpPr>
              <a:spLocks/>
            </p:cNvSpPr>
            <p:nvPr/>
          </p:nvSpPr>
          <p:spPr bwMode="auto">
            <a:xfrm>
              <a:off x="3022" y="945"/>
              <a:ext cx="7" cy="5"/>
            </a:xfrm>
            <a:custGeom>
              <a:avLst/>
              <a:gdLst>
                <a:gd name="T0" fmla="*/ 0 w 3"/>
                <a:gd name="T1" fmla="*/ 2 h 2"/>
                <a:gd name="T2" fmla="*/ 3 w 3"/>
                <a:gd name="T3" fmla="*/ 0 h 2"/>
                <a:gd name="T4" fmla="*/ 0 w 3"/>
                <a:gd name="T5" fmla="*/ 2 h 2"/>
              </a:gdLst>
              <a:ahLst/>
              <a:cxnLst>
                <a:cxn ang="0">
                  <a:pos x="T0" y="T1"/>
                </a:cxn>
                <a:cxn ang="0">
                  <a:pos x="T2" y="T3"/>
                </a:cxn>
                <a:cxn ang="0">
                  <a:pos x="T4" y="T5"/>
                </a:cxn>
              </a:cxnLst>
              <a:rect l="0" t="0" r="r" b="b"/>
              <a:pathLst>
                <a:path w="3" h="2">
                  <a:moveTo>
                    <a:pt x="0" y="2"/>
                  </a:moveTo>
                  <a:cubicBezTo>
                    <a:pt x="1" y="1"/>
                    <a:pt x="2" y="1"/>
                    <a:pt x="3" y="0"/>
                  </a:cubicBezTo>
                  <a:cubicBezTo>
                    <a:pt x="2" y="1"/>
                    <a:pt x="1"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06" name="Freeform 1656">
              <a:extLst>
                <a:ext uri="{FF2B5EF4-FFF2-40B4-BE49-F238E27FC236}">
                  <a16:creationId xmlns:a16="http://schemas.microsoft.com/office/drawing/2014/main" id="{579E0E9B-E77B-4AF0-8B01-741C52FD9C64}"/>
                </a:ext>
              </a:extLst>
            </p:cNvPr>
            <p:cNvSpPr>
              <a:spLocks/>
            </p:cNvSpPr>
            <p:nvPr/>
          </p:nvSpPr>
          <p:spPr bwMode="auto">
            <a:xfrm>
              <a:off x="2459" y="1104"/>
              <a:ext cx="3"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07" name="Freeform 1657">
              <a:extLst>
                <a:ext uri="{FF2B5EF4-FFF2-40B4-BE49-F238E27FC236}">
                  <a16:creationId xmlns:a16="http://schemas.microsoft.com/office/drawing/2014/main" id="{D8C7F48B-8F6C-4164-AE3F-72FF6D444244}"/>
                </a:ext>
              </a:extLst>
            </p:cNvPr>
            <p:cNvSpPr>
              <a:spLocks/>
            </p:cNvSpPr>
            <p:nvPr/>
          </p:nvSpPr>
          <p:spPr bwMode="auto">
            <a:xfrm>
              <a:off x="2497" y="1118"/>
              <a:ext cx="2"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1"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08" name="Freeform 1658">
              <a:extLst>
                <a:ext uri="{FF2B5EF4-FFF2-40B4-BE49-F238E27FC236}">
                  <a16:creationId xmlns:a16="http://schemas.microsoft.com/office/drawing/2014/main" id="{21041336-0F36-48F0-AAD2-2AD9590063A2}"/>
                </a:ext>
              </a:extLst>
            </p:cNvPr>
            <p:cNvSpPr>
              <a:spLocks/>
            </p:cNvSpPr>
            <p:nvPr/>
          </p:nvSpPr>
          <p:spPr bwMode="auto">
            <a:xfrm>
              <a:off x="2497" y="1118"/>
              <a:ext cx="5" cy="0"/>
            </a:xfrm>
            <a:custGeom>
              <a:avLst/>
              <a:gdLst>
                <a:gd name="T0" fmla="*/ 0 w 2"/>
                <a:gd name="T1" fmla="*/ 0 w 2"/>
                <a:gd name="T2" fmla="*/ 1 w 2"/>
                <a:gd name="T3" fmla="*/ 2 w 2"/>
                <a:gd name="T4" fmla="*/ 0 w 2"/>
              </a:gdLst>
              <a:ahLst/>
              <a:cxnLst>
                <a:cxn ang="0">
                  <a:pos x="T0" y="0"/>
                </a:cxn>
                <a:cxn ang="0">
                  <a:pos x="T1" y="0"/>
                </a:cxn>
                <a:cxn ang="0">
                  <a:pos x="T2" y="0"/>
                </a:cxn>
                <a:cxn ang="0">
                  <a:pos x="T3" y="0"/>
                </a:cxn>
                <a:cxn ang="0">
                  <a:pos x="T4" y="0"/>
                </a:cxn>
              </a:cxnLst>
              <a:rect l="0" t="0" r="r" b="b"/>
              <a:pathLst>
                <a:path w="2">
                  <a:moveTo>
                    <a:pt x="0" y="0"/>
                  </a:moveTo>
                  <a:cubicBezTo>
                    <a:pt x="0" y="0"/>
                    <a:pt x="0" y="0"/>
                    <a:pt x="0" y="0"/>
                  </a:cubicBezTo>
                  <a:cubicBezTo>
                    <a:pt x="1" y="0"/>
                    <a:pt x="1" y="0"/>
                    <a:pt x="1" y="0"/>
                  </a:cubicBezTo>
                  <a:cubicBezTo>
                    <a:pt x="2" y="0"/>
                    <a:pt x="2" y="0"/>
                    <a:pt x="2" y="0"/>
                  </a:cubicBezTo>
                  <a:cubicBezTo>
                    <a:pt x="1" y="0"/>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09" name="Freeform 1659">
              <a:extLst>
                <a:ext uri="{FF2B5EF4-FFF2-40B4-BE49-F238E27FC236}">
                  <a16:creationId xmlns:a16="http://schemas.microsoft.com/office/drawing/2014/main" id="{B2D45B99-58B0-445D-9EF2-7DD67DC3A33D}"/>
                </a:ext>
              </a:extLst>
            </p:cNvPr>
            <p:cNvSpPr>
              <a:spLocks/>
            </p:cNvSpPr>
            <p:nvPr/>
          </p:nvSpPr>
          <p:spPr bwMode="auto">
            <a:xfrm>
              <a:off x="2925" y="79"/>
              <a:ext cx="9" cy="2"/>
            </a:xfrm>
            <a:custGeom>
              <a:avLst/>
              <a:gdLst>
                <a:gd name="T0" fmla="*/ 0 w 4"/>
                <a:gd name="T1" fmla="*/ 1 h 1"/>
                <a:gd name="T2" fmla="*/ 4 w 4"/>
                <a:gd name="T3" fmla="*/ 0 h 1"/>
                <a:gd name="T4" fmla="*/ 0 w 4"/>
                <a:gd name="T5" fmla="*/ 1 h 1"/>
              </a:gdLst>
              <a:ahLst/>
              <a:cxnLst>
                <a:cxn ang="0">
                  <a:pos x="T0" y="T1"/>
                </a:cxn>
                <a:cxn ang="0">
                  <a:pos x="T2" y="T3"/>
                </a:cxn>
                <a:cxn ang="0">
                  <a:pos x="T4" y="T5"/>
                </a:cxn>
              </a:cxnLst>
              <a:rect l="0" t="0" r="r" b="b"/>
              <a:pathLst>
                <a:path w="4" h="1">
                  <a:moveTo>
                    <a:pt x="0" y="1"/>
                  </a:moveTo>
                  <a:cubicBezTo>
                    <a:pt x="1" y="1"/>
                    <a:pt x="3" y="0"/>
                    <a:pt x="4" y="0"/>
                  </a:cubicBezTo>
                  <a:cubicBezTo>
                    <a:pt x="3" y="0"/>
                    <a:pt x="1"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10" name="Freeform 1660">
              <a:extLst>
                <a:ext uri="{FF2B5EF4-FFF2-40B4-BE49-F238E27FC236}">
                  <a16:creationId xmlns:a16="http://schemas.microsoft.com/office/drawing/2014/main" id="{9BADE8EC-289D-4BC7-B650-7B005765FF4E}"/>
                </a:ext>
              </a:extLst>
            </p:cNvPr>
            <p:cNvSpPr>
              <a:spLocks/>
            </p:cNvSpPr>
            <p:nvPr/>
          </p:nvSpPr>
          <p:spPr bwMode="auto">
            <a:xfrm>
              <a:off x="-328" y="223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11" name="Freeform 1661">
              <a:extLst>
                <a:ext uri="{FF2B5EF4-FFF2-40B4-BE49-F238E27FC236}">
                  <a16:creationId xmlns:a16="http://schemas.microsoft.com/office/drawing/2014/main" id="{B21D254C-F76B-41C4-8DD4-40C405A3B48E}"/>
                </a:ext>
              </a:extLst>
            </p:cNvPr>
            <p:cNvSpPr>
              <a:spLocks/>
            </p:cNvSpPr>
            <p:nvPr/>
          </p:nvSpPr>
          <p:spPr bwMode="auto">
            <a:xfrm>
              <a:off x="43" y="3193"/>
              <a:ext cx="2" cy="4"/>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1" y="1"/>
                    <a:pt x="0" y="1"/>
                    <a:pt x="0" y="0"/>
                  </a:cubicBezTo>
                  <a:cubicBezTo>
                    <a:pt x="0" y="1"/>
                    <a:pt x="1" y="2"/>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12" name="Freeform 1662">
              <a:extLst>
                <a:ext uri="{FF2B5EF4-FFF2-40B4-BE49-F238E27FC236}">
                  <a16:creationId xmlns:a16="http://schemas.microsoft.com/office/drawing/2014/main" id="{B1EF18D6-1474-4A31-B5B1-E10967B92C28}"/>
                </a:ext>
              </a:extLst>
            </p:cNvPr>
            <p:cNvSpPr>
              <a:spLocks/>
            </p:cNvSpPr>
            <p:nvPr/>
          </p:nvSpPr>
          <p:spPr bwMode="auto">
            <a:xfrm>
              <a:off x="-234" y="2270"/>
              <a:ext cx="5" cy="5"/>
            </a:xfrm>
            <a:custGeom>
              <a:avLst/>
              <a:gdLst>
                <a:gd name="T0" fmla="*/ 0 w 2"/>
                <a:gd name="T1" fmla="*/ 2 h 2"/>
                <a:gd name="T2" fmla="*/ 0 w 2"/>
                <a:gd name="T3" fmla="*/ 2 h 2"/>
              </a:gdLst>
              <a:ahLst/>
              <a:cxnLst>
                <a:cxn ang="0">
                  <a:pos x="T0" y="T1"/>
                </a:cxn>
                <a:cxn ang="0">
                  <a:pos x="T2" y="T3"/>
                </a:cxn>
              </a:cxnLst>
              <a:rect l="0" t="0" r="r" b="b"/>
              <a:pathLst>
                <a:path w="2" h="2">
                  <a:moveTo>
                    <a:pt x="0" y="2"/>
                  </a:moveTo>
                  <a:cubicBezTo>
                    <a:pt x="2" y="2"/>
                    <a:pt x="1" y="0"/>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13" name="Freeform 1663">
              <a:extLst>
                <a:ext uri="{FF2B5EF4-FFF2-40B4-BE49-F238E27FC236}">
                  <a16:creationId xmlns:a16="http://schemas.microsoft.com/office/drawing/2014/main" id="{53E65FC4-3A86-4E1E-BF35-7E6A45C66F0F}"/>
                </a:ext>
              </a:extLst>
            </p:cNvPr>
            <p:cNvSpPr>
              <a:spLocks/>
            </p:cNvSpPr>
            <p:nvPr/>
          </p:nvSpPr>
          <p:spPr bwMode="auto">
            <a:xfrm>
              <a:off x="-243" y="2263"/>
              <a:ext cx="5" cy="5"/>
            </a:xfrm>
            <a:custGeom>
              <a:avLst/>
              <a:gdLst>
                <a:gd name="T0" fmla="*/ 1 w 2"/>
                <a:gd name="T1" fmla="*/ 1 h 2"/>
                <a:gd name="T2" fmla="*/ 2 w 2"/>
                <a:gd name="T3" fmla="*/ 0 h 2"/>
                <a:gd name="T4" fmla="*/ 1 w 2"/>
                <a:gd name="T5" fmla="*/ 1 h 2"/>
                <a:gd name="T6" fmla="*/ 0 w 2"/>
                <a:gd name="T7" fmla="*/ 1 h 2"/>
                <a:gd name="T8" fmla="*/ 0 w 2"/>
                <a:gd name="T9" fmla="*/ 2 h 2"/>
                <a:gd name="T10" fmla="*/ 1 w 2"/>
                <a:gd name="T11" fmla="*/ 2 h 2"/>
                <a:gd name="T12" fmla="*/ 1 w 2"/>
                <a:gd name="T13" fmla="*/ 2 h 2"/>
                <a:gd name="T14" fmla="*/ 2 w 2"/>
                <a:gd name="T15" fmla="*/ 1 h 2"/>
                <a:gd name="T16" fmla="*/ 1 w 2"/>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1" y="1"/>
                  </a:moveTo>
                  <a:cubicBezTo>
                    <a:pt x="2" y="1"/>
                    <a:pt x="2" y="0"/>
                    <a:pt x="2" y="0"/>
                  </a:cubicBezTo>
                  <a:cubicBezTo>
                    <a:pt x="2" y="0"/>
                    <a:pt x="1" y="1"/>
                    <a:pt x="1" y="1"/>
                  </a:cubicBezTo>
                  <a:cubicBezTo>
                    <a:pt x="1" y="0"/>
                    <a:pt x="0" y="1"/>
                    <a:pt x="0" y="1"/>
                  </a:cubicBezTo>
                  <a:cubicBezTo>
                    <a:pt x="0" y="1"/>
                    <a:pt x="0" y="2"/>
                    <a:pt x="0" y="2"/>
                  </a:cubicBezTo>
                  <a:cubicBezTo>
                    <a:pt x="0" y="2"/>
                    <a:pt x="0" y="2"/>
                    <a:pt x="1" y="2"/>
                  </a:cubicBezTo>
                  <a:cubicBezTo>
                    <a:pt x="1" y="2"/>
                    <a:pt x="1" y="2"/>
                    <a:pt x="1" y="2"/>
                  </a:cubicBezTo>
                  <a:cubicBezTo>
                    <a:pt x="2" y="2"/>
                    <a:pt x="2" y="2"/>
                    <a:pt x="2" y="1"/>
                  </a:cubicBezTo>
                  <a:cubicBezTo>
                    <a:pt x="2" y="1"/>
                    <a:pt x="2" y="1"/>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14" name="Freeform 1664">
              <a:extLst>
                <a:ext uri="{FF2B5EF4-FFF2-40B4-BE49-F238E27FC236}">
                  <a16:creationId xmlns:a16="http://schemas.microsoft.com/office/drawing/2014/main" id="{CBE76BF3-46DA-4A7B-AB13-587911F666D3}"/>
                </a:ext>
              </a:extLst>
            </p:cNvPr>
            <p:cNvSpPr>
              <a:spLocks/>
            </p:cNvSpPr>
            <p:nvPr/>
          </p:nvSpPr>
          <p:spPr bwMode="auto">
            <a:xfrm>
              <a:off x="-321" y="2237"/>
              <a:ext cx="2" cy="5"/>
            </a:xfrm>
            <a:custGeom>
              <a:avLst/>
              <a:gdLst>
                <a:gd name="T0" fmla="*/ 0 w 1"/>
                <a:gd name="T1" fmla="*/ 2 h 2"/>
                <a:gd name="T2" fmla="*/ 1 w 1"/>
                <a:gd name="T3" fmla="*/ 1 h 2"/>
                <a:gd name="T4" fmla="*/ 1 w 1"/>
                <a:gd name="T5" fmla="*/ 0 h 2"/>
                <a:gd name="T6" fmla="*/ 1 w 1"/>
                <a:gd name="T7" fmla="*/ 1 h 2"/>
                <a:gd name="T8" fmla="*/ 0 w 1"/>
                <a:gd name="T9" fmla="*/ 2 h 2"/>
              </a:gdLst>
              <a:ahLst/>
              <a:cxnLst>
                <a:cxn ang="0">
                  <a:pos x="T0" y="T1"/>
                </a:cxn>
                <a:cxn ang="0">
                  <a:pos x="T2" y="T3"/>
                </a:cxn>
                <a:cxn ang="0">
                  <a:pos x="T4" y="T5"/>
                </a:cxn>
                <a:cxn ang="0">
                  <a:pos x="T6" y="T7"/>
                </a:cxn>
                <a:cxn ang="0">
                  <a:pos x="T8" y="T9"/>
                </a:cxn>
              </a:cxnLst>
              <a:rect l="0" t="0" r="r" b="b"/>
              <a:pathLst>
                <a:path w="1" h="2">
                  <a:moveTo>
                    <a:pt x="0" y="2"/>
                  </a:moveTo>
                  <a:cubicBezTo>
                    <a:pt x="1" y="2"/>
                    <a:pt x="1" y="1"/>
                    <a:pt x="1" y="1"/>
                  </a:cubicBezTo>
                  <a:cubicBezTo>
                    <a:pt x="1" y="1"/>
                    <a:pt x="1" y="1"/>
                    <a:pt x="1" y="0"/>
                  </a:cubicBezTo>
                  <a:cubicBezTo>
                    <a:pt x="1" y="1"/>
                    <a:pt x="1" y="1"/>
                    <a:pt x="1" y="1"/>
                  </a:cubicBezTo>
                  <a:cubicBezTo>
                    <a:pt x="1" y="1"/>
                    <a:pt x="1" y="2"/>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15" name="Freeform 1665">
              <a:extLst>
                <a:ext uri="{FF2B5EF4-FFF2-40B4-BE49-F238E27FC236}">
                  <a16:creationId xmlns:a16="http://schemas.microsoft.com/office/drawing/2014/main" id="{A6DA83AA-758E-46E2-98A3-BEE1A071BBCE}"/>
                </a:ext>
              </a:extLst>
            </p:cNvPr>
            <p:cNvSpPr>
              <a:spLocks/>
            </p:cNvSpPr>
            <p:nvPr/>
          </p:nvSpPr>
          <p:spPr bwMode="auto">
            <a:xfrm>
              <a:off x="-274" y="2244"/>
              <a:ext cx="17" cy="12"/>
            </a:xfrm>
            <a:custGeom>
              <a:avLst/>
              <a:gdLst>
                <a:gd name="T0" fmla="*/ 3 w 7"/>
                <a:gd name="T1" fmla="*/ 0 h 5"/>
                <a:gd name="T2" fmla="*/ 2 w 7"/>
                <a:gd name="T3" fmla="*/ 1 h 5"/>
                <a:gd name="T4" fmla="*/ 0 w 7"/>
                <a:gd name="T5" fmla="*/ 2 h 5"/>
                <a:gd name="T6" fmla="*/ 2 w 7"/>
                <a:gd name="T7" fmla="*/ 4 h 5"/>
                <a:gd name="T8" fmla="*/ 3 w 7"/>
                <a:gd name="T9" fmla="*/ 4 h 5"/>
                <a:gd name="T10" fmla="*/ 5 w 7"/>
                <a:gd name="T11" fmla="*/ 5 h 5"/>
                <a:gd name="T12" fmla="*/ 7 w 7"/>
                <a:gd name="T13" fmla="*/ 4 h 5"/>
                <a:gd name="T14" fmla="*/ 3 w 7"/>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3" y="0"/>
                  </a:moveTo>
                  <a:cubicBezTo>
                    <a:pt x="2" y="0"/>
                    <a:pt x="2" y="1"/>
                    <a:pt x="2" y="1"/>
                  </a:cubicBezTo>
                  <a:cubicBezTo>
                    <a:pt x="1" y="1"/>
                    <a:pt x="1" y="1"/>
                    <a:pt x="0" y="2"/>
                  </a:cubicBezTo>
                  <a:cubicBezTo>
                    <a:pt x="1" y="2"/>
                    <a:pt x="1" y="4"/>
                    <a:pt x="2" y="4"/>
                  </a:cubicBezTo>
                  <a:cubicBezTo>
                    <a:pt x="3" y="5"/>
                    <a:pt x="2" y="4"/>
                    <a:pt x="3" y="4"/>
                  </a:cubicBezTo>
                  <a:cubicBezTo>
                    <a:pt x="3" y="4"/>
                    <a:pt x="4" y="5"/>
                    <a:pt x="5" y="5"/>
                  </a:cubicBezTo>
                  <a:cubicBezTo>
                    <a:pt x="6" y="5"/>
                    <a:pt x="6" y="5"/>
                    <a:pt x="7" y="4"/>
                  </a:cubicBezTo>
                  <a:cubicBezTo>
                    <a:pt x="6" y="3"/>
                    <a:pt x="4" y="0"/>
                    <a:pt x="3"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16" name="Freeform 1666">
              <a:extLst>
                <a:ext uri="{FF2B5EF4-FFF2-40B4-BE49-F238E27FC236}">
                  <a16:creationId xmlns:a16="http://schemas.microsoft.com/office/drawing/2014/main" id="{BAC17C96-2820-4DDF-A5E9-7F2532956F09}"/>
                </a:ext>
              </a:extLst>
            </p:cNvPr>
            <p:cNvSpPr>
              <a:spLocks/>
            </p:cNvSpPr>
            <p:nvPr/>
          </p:nvSpPr>
          <p:spPr bwMode="auto">
            <a:xfrm>
              <a:off x="-220" y="2279"/>
              <a:ext cx="31" cy="36"/>
            </a:xfrm>
            <a:custGeom>
              <a:avLst/>
              <a:gdLst>
                <a:gd name="T0" fmla="*/ 11 w 13"/>
                <a:gd name="T1" fmla="*/ 7 h 15"/>
                <a:gd name="T2" fmla="*/ 10 w 13"/>
                <a:gd name="T3" fmla="*/ 6 h 15"/>
                <a:gd name="T4" fmla="*/ 9 w 13"/>
                <a:gd name="T5" fmla="*/ 4 h 15"/>
                <a:gd name="T6" fmla="*/ 7 w 13"/>
                <a:gd name="T7" fmla="*/ 3 h 15"/>
                <a:gd name="T8" fmla="*/ 4 w 13"/>
                <a:gd name="T9" fmla="*/ 1 h 15"/>
                <a:gd name="T10" fmla="*/ 2 w 13"/>
                <a:gd name="T11" fmla="*/ 2 h 15"/>
                <a:gd name="T12" fmla="*/ 2 w 13"/>
                <a:gd name="T13" fmla="*/ 4 h 15"/>
                <a:gd name="T14" fmla="*/ 0 w 13"/>
                <a:gd name="T15" fmla="*/ 5 h 15"/>
                <a:gd name="T16" fmla="*/ 1 w 13"/>
                <a:gd name="T17" fmla="*/ 8 h 15"/>
                <a:gd name="T18" fmla="*/ 1 w 13"/>
                <a:gd name="T19" fmla="*/ 11 h 15"/>
                <a:gd name="T20" fmla="*/ 4 w 13"/>
                <a:gd name="T21" fmla="*/ 15 h 15"/>
                <a:gd name="T22" fmla="*/ 13 w 13"/>
                <a:gd name="T23" fmla="*/ 8 h 15"/>
                <a:gd name="T24" fmla="*/ 11 w 13"/>
                <a:gd name="T25"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5">
                  <a:moveTo>
                    <a:pt x="11" y="7"/>
                  </a:moveTo>
                  <a:cubicBezTo>
                    <a:pt x="11" y="6"/>
                    <a:pt x="10" y="6"/>
                    <a:pt x="10" y="6"/>
                  </a:cubicBezTo>
                  <a:cubicBezTo>
                    <a:pt x="9" y="5"/>
                    <a:pt x="10" y="4"/>
                    <a:pt x="9" y="4"/>
                  </a:cubicBezTo>
                  <a:cubicBezTo>
                    <a:pt x="8" y="3"/>
                    <a:pt x="7" y="3"/>
                    <a:pt x="7" y="3"/>
                  </a:cubicBezTo>
                  <a:cubicBezTo>
                    <a:pt x="6" y="2"/>
                    <a:pt x="5" y="2"/>
                    <a:pt x="4" y="1"/>
                  </a:cubicBezTo>
                  <a:cubicBezTo>
                    <a:pt x="2" y="1"/>
                    <a:pt x="1" y="0"/>
                    <a:pt x="2" y="2"/>
                  </a:cubicBezTo>
                  <a:cubicBezTo>
                    <a:pt x="2" y="3"/>
                    <a:pt x="2" y="3"/>
                    <a:pt x="2" y="4"/>
                  </a:cubicBezTo>
                  <a:cubicBezTo>
                    <a:pt x="1" y="5"/>
                    <a:pt x="1" y="5"/>
                    <a:pt x="0" y="5"/>
                  </a:cubicBezTo>
                  <a:cubicBezTo>
                    <a:pt x="0" y="6"/>
                    <a:pt x="0" y="7"/>
                    <a:pt x="1" y="8"/>
                  </a:cubicBezTo>
                  <a:cubicBezTo>
                    <a:pt x="1" y="9"/>
                    <a:pt x="2" y="10"/>
                    <a:pt x="1" y="11"/>
                  </a:cubicBezTo>
                  <a:cubicBezTo>
                    <a:pt x="1" y="14"/>
                    <a:pt x="2" y="14"/>
                    <a:pt x="4" y="15"/>
                  </a:cubicBezTo>
                  <a:cubicBezTo>
                    <a:pt x="7" y="13"/>
                    <a:pt x="10" y="11"/>
                    <a:pt x="13" y="8"/>
                  </a:cubicBezTo>
                  <a:cubicBezTo>
                    <a:pt x="12" y="8"/>
                    <a:pt x="11" y="8"/>
                    <a:pt x="11" y="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17" name="Freeform 1667">
              <a:extLst>
                <a:ext uri="{FF2B5EF4-FFF2-40B4-BE49-F238E27FC236}">
                  <a16:creationId xmlns:a16="http://schemas.microsoft.com/office/drawing/2014/main" id="{E8051886-AA07-496F-80D0-391F7A90F9BD}"/>
                </a:ext>
              </a:extLst>
            </p:cNvPr>
            <p:cNvSpPr>
              <a:spLocks/>
            </p:cNvSpPr>
            <p:nvPr/>
          </p:nvSpPr>
          <p:spPr bwMode="auto">
            <a:xfrm>
              <a:off x="-236" y="2261"/>
              <a:ext cx="19" cy="11"/>
            </a:xfrm>
            <a:custGeom>
              <a:avLst/>
              <a:gdLst>
                <a:gd name="T0" fmla="*/ 8 w 8"/>
                <a:gd name="T1" fmla="*/ 3 h 5"/>
                <a:gd name="T2" fmla="*/ 7 w 8"/>
                <a:gd name="T3" fmla="*/ 3 h 5"/>
                <a:gd name="T4" fmla="*/ 5 w 8"/>
                <a:gd name="T5" fmla="*/ 1 h 5"/>
                <a:gd name="T6" fmla="*/ 4 w 8"/>
                <a:gd name="T7" fmla="*/ 1 h 5"/>
                <a:gd name="T8" fmla="*/ 2 w 8"/>
                <a:gd name="T9" fmla="*/ 1 h 5"/>
                <a:gd name="T10" fmla="*/ 2 w 8"/>
                <a:gd name="T11" fmla="*/ 0 h 5"/>
                <a:gd name="T12" fmla="*/ 2 w 8"/>
                <a:gd name="T13" fmla="*/ 1 h 5"/>
                <a:gd name="T14" fmla="*/ 2 w 8"/>
                <a:gd name="T15" fmla="*/ 1 h 5"/>
                <a:gd name="T16" fmla="*/ 2 w 8"/>
                <a:gd name="T17" fmla="*/ 1 h 5"/>
                <a:gd name="T18" fmla="*/ 1 w 8"/>
                <a:gd name="T19" fmla="*/ 1 h 5"/>
                <a:gd name="T20" fmla="*/ 1 w 8"/>
                <a:gd name="T21" fmla="*/ 3 h 5"/>
                <a:gd name="T22" fmla="*/ 2 w 8"/>
                <a:gd name="T23" fmla="*/ 3 h 5"/>
                <a:gd name="T24" fmla="*/ 3 w 8"/>
                <a:gd name="T25" fmla="*/ 4 h 5"/>
                <a:gd name="T26" fmla="*/ 3 w 8"/>
                <a:gd name="T27" fmla="*/ 4 h 5"/>
                <a:gd name="T28" fmla="*/ 5 w 8"/>
                <a:gd name="T29" fmla="*/ 5 h 5"/>
                <a:gd name="T30" fmla="*/ 6 w 8"/>
                <a:gd name="T31" fmla="*/ 5 h 5"/>
                <a:gd name="T32" fmla="*/ 7 w 8"/>
                <a:gd name="T33" fmla="*/ 4 h 5"/>
                <a:gd name="T34" fmla="*/ 8 w 8"/>
                <a:gd name="T3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5">
                  <a:moveTo>
                    <a:pt x="8" y="3"/>
                  </a:moveTo>
                  <a:cubicBezTo>
                    <a:pt x="8" y="3"/>
                    <a:pt x="7" y="3"/>
                    <a:pt x="7" y="3"/>
                  </a:cubicBezTo>
                  <a:cubicBezTo>
                    <a:pt x="6" y="2"/>
                    <a:pt x="5" y="2"/>
                    <a:pt x="5" y="1"/>
                  </a:cubicBezTo>
                  <a:cubicBezTo>
                    <a:pt x="5" y="1"/>
                    <a:pt x="4" y="1"/>
                    <a:pt x="4" y="1"/>
                  </a:cubicBezTo>
                  <a:cubicBezTo>
                    <a:pt x="3" y="1"/>
                    <a:pt x="3" y="1"/>
                    <a:pt x="2" y="1"/>
                  </a:cubicBezTo>
                  <a:cubicBezTo>
                    <a:pt x="2" y="1"/>
                    <a:pt x="2" y="1"/>
                    <a:pt x="2" y="0"/>
                  </a:cubicBezTo>
                  <a:cubicBezTo>
                    <a:pt x="2" y="1"/>
                    <a:pt x="2" y="1"/>
                    <a:pt x="2" y="1"/>
                  </a:cubicBezTo>
                  <a:cubicBezTo>
                    <a:pt x="2" y="1"/>
                    <a:pt x="2" y="1"/>
                    <a:pt x="2" y="1"/>
                  </a:cubicBezTo>
                  <a:cubicBezTo>
                    <a:pt x="2" y="1"/>
                    <a:pt x="2" y="1"/>
                    <a:pt x="2" y="1"/>
                  </a:cubicBezTo>
                  <a:cubicBezTo>
                    <a:pt x="1" y="1"/>
                    <a:pt x="1" y="0"/>
                    <a:pt x="1" y="1"/>
                  </a:cubicBezTo>
                  <a:cubicBezTo>
                    <a:pt x="0" y="2"/>
                    <a:pt x="0" y="2"/>
                    <a:pt x="1" y="3"/>
                  </a:cubicBezTo>
                  <a:cubicBezTo>
                    <a:pt x="1" y="3"/>
                    <a:pt x="1" y="3"/>
                    <a:pt x="2" y="3"/>
                  </a:cubicBezTo>
                  <a:cubicBezTo>
                    <a:pt x="2" y="3"/>
                    <a:pt x="3" y="3"/>
                    <a:pt x="3" y="4"/>
                  </a:cubicBezTo>
                  <a:cubicBezTo>
                    <a:pt x="3" y="4"/>
                    <a:pt x="3" y="4"/>
                    <a:pt x="3" y="4"/>
                  </a:cubicBezTo>
                  <a:cubicBezTo>
                    <a:pt x="4" y="5"/>
                    <a:pt x="4" y="5"/>
                    <a:pt x="5" y="5"/>
                  </a:cubicBezTo>
                  <a:cubicBezTo>
                    <a:pt x="6" y="5"/>
                    <a:pt x="6" y="5"/>
                    <a:pt x="6" y="5"/>
                  </a:cubicBezTo>
                  <a:cubicBezTo>
                    <a:pt x="7" y="5"/>
                    <a:pt x="7" y="4"/>
                    <a:pt x="7" y="4"/>
                  </a:cubicBezTo>
                  <a:cubicBezTo>
                    <a:pt x="8" y="4"/>
                    <a:pt x="8" y="4"/>
                    <a:pt x="8"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18" name="Freeform 1668">
              <a:extLst>
                <a:ext uri="{FF2B5EF4-FFF2-40B4-BE49-F238E27FC236}">
                  <a16:creationId xmlns:a16="http://schemas.microsoft.com/office/drawing/2014/main" id="{8DB9AFB0-9783-49FF-9B64-9AEAFD074EFB}"/>
                </a:ext>
              </a:extLst>
            </p:cNvPr>
            <p:cNvSpPr>
              <a:spLocks/>
            </p:cNvSpPr>
            <p:nvPr/>
          </p:nvSpPr>
          <p:spPr bwMode="auto">
            <a:xfrm>
              <a:off x="-250" y="2256"/>
              <a:ext cx="14" cy="5"/>
            </a:xfrm>
            <a:custGeom>
              <a:avLst/>
              <a:gdLst>
                <a:gd name="T0" fmla="*/ 1 w 6"/>
                <a:gd name="T1" fmla="*/ 0 h 2"/>
                <a:gd name="T2" fmla="*/ 0 w 6"/>
                <a:gd name="T3" fmla="*/ 2 h 2"/>
                <a:gd name="T4" fmla="*/ 3 w 6"/>
                <a:gd name="T5" fmla="*/ 2 h 2"/>
                <a:gd name="T6" fmla="*/ 6 w 6"/>
                <a:gd name="T7" fmla="*/ 1 h 2"/>
                <a:gd name="T8" fmla="*/ 4 w 6"/>
                <a:gd name="T9" fmla="*/ 1 h 2"/>
                <a:gd name="T10" fmla="*/ 1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1" y="0"/>
                  </a:moveTo>
                  <a:cubicBezTo>
                    <a:pt x="0" y="0"/>
                    <a:pt x="0" y="1"/>
                    <a:pt x="0" y="2"/>
                  </a:cubicBezTo>
                  <a:cubicBezTo>
                    <a:pt x="1" y="2"/>
                    <a:pt x="2" y="1"/>
                    <a:pt x="3" y="2"/>
                  </a:cubicBezTo>
                  <a:cubicBezTo>
                    <a:pt x="4" y="2"/>
                    <a:pt x="5" y="1"/>
                    <a:pt x="6" y="1"/>
                  </a:cubicBezTo>
                  <a:cubicBezTo>
                    <a:pt x="6" y="1"/>
                    <a:pt x="5" y="1"/>
                    <a:pt x="4" y="1"/>
                  </a:cubicBezTo>
                  <a:cubicBezTo>
                    <a:pt x="3" y="1"/>
                    <a:pt x="2"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19" name="Freeform 1669">
              <a:extLst>
                <a:ext uri="{FF2B5EF4-FFF2-40B4-BE49-F238E27FC236}">
                  <a16:creationId xmlns:a16="http://schemas.microsoft.com/office/drawing/2014/main" id="{1C0B49F4-5511-478E-8DDE-5410FCA47FCA}"/>
                </a:ext>
              </a:extLst>
            </p:cNvPr>
            <p:cNvSpPr>
              <a:spLocks/>
            </p:cNvSpPr>
            <p:nvPr/>
          </p:nvSpPr>
          <p:spPr bwMode="auto">
            <a:xfrm>
              <a:off x="-312" y="2232"/>
              <a:ext cx="14" cy="7"/>
            </a:xfrm>
            <a:custGeom>
              <a:avLst/>
              <a:gdLst>
                <a:gd name="T0" fmla="*/ 4 w 6"/>
                <a:gd name="T1" fmla="*/ 0 h 3"/>
                <a:gd name="T2" fmla="*/ 2 w 6"/>
                <a:gd name="T3" fmla="*/ 0 h 3"/>
                <a:gd name="T4" fmla="*/ 1 w 6"/>
                <a:gd name="T5" fmla="*/ 1 h 3"/>
                <a:gd name="T6" fmla="*/ 2 w 6"/>
                <a:gd name="T7" fmla="*/ 3 h 3"/>
                <a:gd name="T8" fmla="*/ 2 w 6"/>
                <a:gd name="T9" fmla="*/ 3 h 3"/>
                <a:gd name="T10" fmla="*/ 2 w 6"/>
                <a:gd name="T11" fmla="*/ 3 h 3"/>
                <a:gd name="T12" fmla="*/ 5 w 6"/>
                <a:gd name="T13" fmla="*/ 1 h 3"/>
                <a:gd name="T14" fmla="*/ 4 w 6"/>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4" y="0"/>
                  </a:moveTo>
                  <a:cubicBezTo>
                    <a:pt x="3" y="0"/>
                    <a:pt x="3" y="0"/>
                    <a:pt x="2" y="0"/>
                  </a:cubicBezTo>
                  <a:cubicBezTo>
                    <a:pt x="2" y="0"/>
                    <a:pt x="2" y="1"/>
                    <a:pt x="1" y="1"/>
                  </a:cubicBezTo>
                  <a:cubicBezTo>
                    <a:pt x="1" y="1"/>
                    <a:pt x="0" y="2"/>
                    <a:pt x="2" y="3"/>
                  </a:cubicBezTo>
                  <a:cubicBezTo>
                    <a:pt x="2" y="3"/>
                    <a:pt x="2" y="3"/>
                    <a:pt x="2" y="3"/>
                  </a:cubicBezTo>
                  <a:cubicBezTo>
                    <a:pt x="2" y="3"/>
                    <a:pt x="2" y="3"/>
                    <a:pt x="2" y="3"/>
                  </a:cubicBezTo>
                  <a:cubicBezTo>
                    <a:pt x="4" y="3"/>
                    <a:pt x="5" y="3"/>
                    <a:pt x="5" y="1"/>
                  </a:cubicBezTo>
                  <a:cubicBezTo>
                    <a:pt x="6" y="0"/>
                    <a:pt x="5" y="0"/>
                    <a:pt x="4"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20" name="Freeform 1670">
              <a:extLst>
                <a:ext uri="{FF2B5EF4-FFF2-40B4-BE49-F238E27FC236}">
                  <a16:creationId xmlns:a16="http://schemas.microsoft.com/office/drawing/2014/main" id="{94A02225-AFAF-4213-92F8-55EAD72CC053}"/>
                </a:ext>
              </a:extLst>
            </p:cNvPr>
            <p:cNvSpPr>
              <a:spLocks/>
            </p:cNvSpPr>
            <p:nvPr/>
          </p:nvSpPr>
          <p:spPr bwMode="auto">
            <a:xfrm>
              <a:off x="1809" y="2239"/>
              <a:ext cx="5" cy="3"/>
            </a:xfrm>
            <a:custGeom>
              <a:avLst/>
              <a:gdLst>
                <a:gd name="T0" fmla="*/ 0 w 2"/>
                <a:gd name="T1" fmla="*/ 0 h 1"/>
                <a:gd name="T2" fmla="*/ 2 w 2"/>
                <a:gd name="T3" fmla="*/ 1 h 1"/>
                <a:gd name="T4" fmla="*/ 0 w 2"/>
                <a:gd name="T5" fmla="*/ 0 h 1"/>
              </a:gdLst>
              <a:ahLst/>
              <a:cxnLst>
                <a:cxn ang="0">
                  <a:pos x="T0" y="T1"/>
                </a:cxn>
                <a:cxn ang="0">
                  <a:pos x="T2" y="T3"/>
                </a:cxn>
                <a:cxn ang="0">
                  <a:pos x="T4" y="T5"/>
                </a:cxn>
              </a:cxnLst>
              <a:rect l="0" t="0" r="r" b="b"/>
              <a:pathLst>
                <a:path w="2" h="1">
                  <a:moveTo>
                    <a:pt x="0" y="0"/>
                  </a:moveTo>
                  <a:cubicBezTo>
                    <a:pt x="1" y="0"/>
                    <a:pt x="1" y="1"/>
                    <a:pt x="2" y="1"/>
                  </a:cubicBezTo>
                  <a:cubicBezTo>
                    <a:pt x="1" y="1"/>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21" name="Freeform 1671">
              <a:extLst>
                <a:ext uri="{FF2B5EF4-FFF2-40B4-BE49-F238E27FC236}">
                  <a16:creationId xmlns:a16="http://schemas.microsoft.com/office/drawing/2014/main" id="{495E0B66-79E3-469B-B13F-951E8FD53FF1}"/>
                </a:ext>
              </a:extLst>
            </p:cNvPr>
            <p:cNvSpPr>
              <a:spLocks/>
            </p:cNvSpPr>
            <p:nvPr/>
          </p:nvSpPr>
          <p:spPr bwMode="auto">
            <a:xfrm>
              <a:off x="1814" y="2239"/>
              <a:ext cx="4" cy="5"/>
            </a:xfrm>
            <a:custGeom>
              <a:avLst/>
              <a:gdLst>
                <a:gd name="T0" fmla="*/ 0 w 2"/>
                <a:gd name="T1" fmla="*/ 2 h 2"/>
                <a:gd name="T2" fmla="*/ 2 w 2"/>
                <a:gd name="T3" fmla="*/ 1 h 2"/>
                <a:gd name="T4" fmla="*/ 0 w 2"/>
                <a:gd name="T5" fmla="*/ 2 h 2"/>
              </a:gdLst>
              <a:ahLst/>
              <a:cxnLst>
                <a:cxn ang="0">
                  <a:pos x="T0" y="T1"/>
                </a:cxn>
                <a:cxn ang="0">
                  <a:pos x="T2" y="T3"/>
                </a:cxn>
                <a:cxn ang="0">
                  <a:pos x="T4" y="T5"/>
                </a:cxn>
              </a:cxnLst>
              <a:rect l="0" t="0" r="r" b="b"/>
              <a:pathLst>
                <a:path w="2" h="2">
                  <a:moveTo>
                    <a:pt x="0" y="2"/>
                  </a:moveTo>
                  <a:cubicBezTo>
                    <a:pt x="1" y="2"/>
                    <a:pt x="2" y="2"/>
                    <a:pt x="2" y="1"/>
                  </a:cubicBezTo>
                  <a:cubicBezTo>
                    <a:pt x="2" y="0"/>
                    <a:pt x="1"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22" name="Freeform 1672">
              <a:extLst>
                <a:ext uri="{FF2B5EF4-FFF2-40B4-BE49-F238E27FC236}">
                  <a16:creationId xmlns:a16="http://schemas.microsoft.com/office/drawing/2014/main" id="{80538ADA-CA60-437A-A204-9B5745626BE0}"/>
                </a:ext>
              </a:extLst>
            </p:cNvPr>
            <p:cNvSpPr>
              <a:spLocks/>
            </p:cNvSpPr>
            <p:nvPr/>
          </p:nvSpPr>
          <p:spPr bwMode="auto">
            <a:xfrm>
              <a:off x="1802" y="2242"/>
              <a:ext cx="5" cy="2"/>
            </a:xfrm>
            <a:custGeom>
              <a:avLst/>
              <a:gdLst>
                <a:gd name="T0" fmla="*/ 2 w 2"/>
                <a:gd name="T1" fmla="*/ 0 h 1"/>
                <a:gd name="T2" fmla="*/ 2 w 2"/>
                <a:gd name="T3" fmla="*/ 1 h 1"/>
                <a:gd name="T4" fmla="*/ 2 w 2"/>
                <a:gd name="T5" fmla="*/ 0 h 1"/>
                <a:gd name="T6" fmla="*/ 0 w 2"/>
                <a:gd name="T7" fmla="*/ 1 h 1"/>
                <a:gd name="T8" fmla="*/ 2 w 2"/>
                <a:gd name="T9" fmla="*/ 0 h 1"/>
              </a:gdLst>
              <a:ahLst/>
              <a:cxnLst>
                <a:cxn ang="0">
                  <a:pos x="T0" y="T1"/>
                </a:cxn>
                <a:cxn ang="0">
                  <a:pos x="T2" y="T3"/>
                </a:cxn>
                <a:cxn ang="0">
                  <a:pos x="T4" y="T5"/>
                </a:cxn>
                <a:cxn ang="0">
                  <a:pos x="T6" y="T7"/>
                </a:cxn>
                <a:cxn ang="0">
                  <a:pos x="T8" y="T9"/>
                </a:cxn>
              </a:cxnLst>
              <a:rect l="0" t="0" r="r" b="b"/>
              <a:pathLst>
                <a:path w="2" h="1">
                  <a:moveTo>
                    <a:pt x="2" y="0"/>
                  </a:moveTo>
                  <a:cubicBezTo>
                    <a:pt x="2" y="0"/>
                    <a:pt x="2" y="1"/>
                    <a:pt x="2" y="1"/>
                  </a:cubicBezTo>
                  <a:cubicBezTo>
                    <a:pt x="2" y="0"/>
                    <a:pt x="2" y="0"/>
                    <a:pt x="2" y="0"/>
                  </a:cubicBezTo>
                  <a:cubicBezTo>
                    <a:pt x="1" y="0"/>
                    <a:pt x="1" y="0"/>
                    <a:pt x="0" y="1"/>
                  </a:cubicBezTo>
                  <a:cubicBezTo>
                    <a:pt x="1" y="0"/>
                    <a:pt x="1" y="1"/>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23" name="Freeform 1673">
              <a:extLst>
                <a:ext uri="{FF2B5EF4-FFF2-40B4-BE49-F238E27FC236}">
                  <a16:creationId xmlns:a16="http://schemas.microsoft.com/office/drawing/2014/main" id="{B6FC2DB2-B710-47D0-8584-61C5FEF9700C}"/>
                </a:ext>
              </a:extLst>
            </p:cNvPr>
            <p:cNvSpPr>
              <a:spLocks/>
            </p:cNvSpPr>
            <p:nvPr/>
          </p:nvSpPr>
          <p:spPr bwMode="auto">
            <a:xfrm>
              <a:off x="2079" y="2502"/>
              <a:ext cx="9" cy="5"/>
            </a:xfrm>
            <a:custGeom>
              <a:avLst/>
              <a:gdLst>
                <a:gd name="T0" fmla="*/ 4 w 4"/>
                <a:gd name="T1" fmla="*/ 0 h 2"/>
                <a:gd name="T2" fmla="*/ 0 w 4"/>
                <a:gd name="T3" fmla="*/ 2 h 2"/>
                <a:gd name="T4" fmla="*/ 2 w 4"/>
                <a:gd name="T5" fmla="*/ 2 h 2"/>
                <a:gd name="T6" fmla="*/ 4 w 4"/>
                <a:gd name="T7" fmla="*/ 0 h 2"/>
              </a:gdLst>
              <a:ahLst/>
              <a:cxnLst>
                <a:cxn ang="0">
                  <a:pos x="T0" y="T1"/>
                </a:cxn>
                <a:cxn ang="0">
                  <a:pos x="T2" y="T3"/>
                </a:cxn>
                <a:cxn ang="0">
                  <a:pos x="T4" y="T5"/>
                </a:cxn>
                <a:cxn ang="0">
                  <a:pos x="T6" y="T7"/>
                </a:cxn>
              </a:cxnLst>
              <a:rect l="0" t="0" r="r" b="b"/>
              <a:pathLst>
                <a:path w="4" h="2">
                  <a:moveTo>
                    <a:pt x="4" y="0"/>
                  </a:moveTo>
                  <a:cubicBezTo>
                    <a:pt x="2" y="0"/>
                    <a:pt x="2" y="1"/>
                    <a:pt x="0" y="2"/>
                  </a:cubicBezTo>
                  <a:cubicBezTo>
                    <a:pt x="1" y="2"/>
                    <a:pt x="2" y="2"/>
                    <a:pt x="2" y="2"/>
                  </a:cubicBezTo>
                  <a:cubicBezTo>
                    <a:pt x="3" y="1"/>
                    <a:pt x="4" y="1"/>
                    <a:pt x="4"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24" name="Freeform 1674">
              <a:extLst>
                <a:ext uri="{FF2B5EF4-FFF2-40B4-BE49-F238E27FC236}">
                  <a16:creationId xmlns:a16="http://schemas.microsoft.com/office/drawing/2014/main" id="{7DCF840A-917E-4A8A-A9CD-32276FF8F6F4}"/>
                </a:ext>
              </a:extLst>
            </p:cNvPr>
            <p:cNvSpPr>
              <a:spLocks/>
            </p:cNvSpPr>
            <p:nvPr/>
          </p:nvSpPr>
          <p:spPr bwMode="auto">
            <a:xfrm>
              <a:off x="2074" y="2433"/>
              <a:ext cx="5" cy="10"/>
            </a:xfrm>
            <a:custGeom>
              <a:avLst/>
              <a:gdLst>
                <a:gd name="T0" fmla="*/ 2 w 2"/>
                <a:gd name="T1" fmla="*/ 0 h 4"/>
                <a:gd name="T2" fmla="*/ 0 w 2"/>
                <a:gd name="T3" fmla="*/ 3 h 4"/>
                <a:gd name="T4" fmla="*/ 1 w 2"/>
                <a:gd name="T5" fmla="*/ 4 h 4"/>
                <a:gd name="T6" fmla="*/ 2 w 2"/>
                <a:gd name="T7" fmla="*/ 3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cubicBezTo>
                    <a:pt x="1" y="1"/>
                    <a:pt x="0" y="2"/>
                    <a:pt x="0" y="3"/>
                  </a:cubicBezTo>
                  <a:cubicBezTo>
                    <a:pt x="0" y="4"/>
                    <a:pt x="1" y="4"/>
                    <a:pt x="1" y="4"/>
                  </a:cubicBezTo>
                  <a:cubicBezTo>
                    <a:pt x="2" y="4"/>
                    <a:pt x="2" y="3"/>
                    <a:pt x="2" y="3"/>
                  </a:cubicBezTo>
                  <a:cubicBezTo>
                    <a:pt x="2" y="2"/>
                    <a:pt x="2" y="1"/>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25" name="Freeform 1675">
              <a:extLst>
                <a:ext uri="{FF2B5EF4-FFF2-40B4-BE49-F238E27FC236}">
                  <a16:creationId xmlns:a16="http://schemas.microsoft.com/office/drawing/2014/main" id="{0E7C6E0E-84B8-4436-8BE9-06ECCBF98AB6}"/>
                </a:ext>
              </a:extLst>
            </p:cNvPr>
            <p:cNvSpPr>
              <a:spLocks/>
            </p:cNvSpPr>
            <p:nvPr/>
          </p:nvSpPr>
          <p:spPr bwMode="auto">
            <a:xfrm>
              <a:off x="2031" y="2353"/>
              <a:ext cx="5" cy="2"/>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0" y="0"/>
                    <a:pt x="0" y="0"/>
                  </a:cubicBezTo>
                  <a:cubicBezTo>
                    <a:pt x="0" y="1"/>
                    <a:pt x="1"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26" name="Freeform 1676">
              <a:extLst>
                <a:ext uri="{FF2B5EF4-FFF2-40B4-BE49-F238E27FC236}">
                  <a16:creationId xmlns:a16="http://schemas.microsoft.com/office/drawing/2014/main" id="{26FFA631-58F8-46D9-9E4A-8DF30E71CB0B}"/>
                </a:ext>
              </a:extLst>
            </p:cNvPr>
            <p:cNvSpPr>
              <a:spLocks/>
            </p:cNvSpPr>
            <p:nvPr/>
          </p:nvSpPr>
          <p:spPr bwMode="auto">
            <a:xfrm>
              <a:off x="1925" y="2324"/>
              <a:ext cx="40" cy="17"/>
            </a:xfrm>
            <a:custGeom>
              <a:avLst/>
              <a:gdLst>
                <a:gd name="T0" fmla="*/ 15 w 17"/>
                <a:gd name="T1" fmla="*/ 1 h 7"/>
                <a:gd name="T2" fmla="*/ 13 w 17"/>
                <a:gd name="T3" fmla="*/ 1 h 7"/>
                <a:gd name="T4" fmla="*/ 12 w 17"/>
                <a:gd name="T5" fmla="*/ 1 h 7"/>
                <a:gd name="T6" fmla="*/ 11 w 17"/>
                <a:gd name="T7" fmla="*/ 1 h 7"/>
                <a:gd name="T8" fmla="*/ 2 w 17"/>
                <a:gd name="T9" fmla="*/ 0 h 7"/>
                <a:gd name="T10" fmla="*/ 0 w 17"/>
                <a:gd name="T11" fmla="*/ 2 h 7"/>
                <a:gd name="T12" fmla="*/ 1 w 17"/>
                <a:gd name="T13" fmla="*/ 4 h 7"/>
                <a:gd name="T14" fmla="*/ 3 w 17"/>
                <a:gd name="T15" fmla="*/ 6 h 7"/>
                <a:gd name="T16" fmla="*/ 5 w 17"/>
                <a:gd name="T17" fmla="*/ 6 h 7"/>
                <a:gd name="T18" fmla="*/ 10 w 17"/>
                <a:gd name="T19" fmla="*/ 6 h 7"/>
                <a:gd name="T20" fmla="*/ 15 w 17"/>
                <a:gd name="T21" fmla="*/ 5 h 7"/>
                <a:gd name="T22" fmla="*/ 15 w 17"/>
                <a:gd name="T23"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7">
                  <a:moveTo>
                    <a:pt x="15" y="1"/>
                  </a:moveTo>
                  <a:cubicBezTo>
                    <a:pt x="14" y="1"/>
                    <a:pt x="14" y="1"/>
                    <a:pt x="13" y="1"/>
                  </a:cubicBezTo>
                  <a:cubicBezTo>
                    <a:pt x="12" y="1"/>
                    <a:pt x="12" y="1"/>
                    <a:pt x="12" y="1"/>
                  </a:cubicBezTo>
                  <a:cubicBezTo>
                    <a:pt x="12" y="1"/>
                    <a:pt x="11" y="1"/>
                    <a:pt x="11" y="1"/>
                  </a:cubicBezTo>
                  <a:cubicBezTo>
                    <a:pt x="8" y="1"/>
                    <a:pt x="5" y="1"/>
                    <a:pt x="2" y="0"/>
                  </a:cubicBezTo>
                  <a:cubicBezTo>
                    <a:pt x="1" y="1"/>
                    <a:pt x="0" y="1"/>
                    <a:pt x="0" y="2"/>
                  </a:cubicBezTo>
                  <a:cubicBezTo>
                    <a:pt x="0" y="3"/>
                    <a:pt x="1" y="4"/>
                    <a:pt x="1" y="4"/>
                  </a:cubicBezTo>
                  <a:cubicBezTo>
                    <a:pt x="1" y="6"/>
                    <a:pt x="1" y="6"/>
                    <a:pt x="3" y="6"/>
                  </a:cubicBezTo>
                  <a:cubicBezTo>
                    <a:pt x="3" y="6"/>
                    <a:pt x="4" y="6"/>
                    <a:pt x="5" y="6"/>
                  </a:cubicBezTo>
                  <a:cubicBezTo>
                    <a:pt x="6" y="5"/>
                    <a:pt x="9" y="6"/>
                    <a:pt x="10" y="6"/>
                  </a:cubicBezTo>
                  <a:cubicBezTo>
                    <a:pt x="11" y="7"/>
                    <a:pt x="14" y="6"/>
                    <a:pt x="15" y="5"/>
                  </a:cubicBezTo>
                  <a:cubicBezTo>
                    <a:pt x="16" y="3"/>
                    <a:pt x="17" y="2"/>
                    <a:pt x="15"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27" name="Freeform 1677">
              <a:extLst>
                <a:ext uri="{FF2B5EF4-FFF2-40B4-BE49-F238E27FC236}">
                  <a16:creationId xmlns:a16="http://schemas.microsoft.com/office/drawing/2014/main" id="{ADE7D8B4-392C-442E-97EE-5AC60516BDFB}"/>
                </a:ext>
              </a:extLst>
            </p:cNvPr>
            <p:cNvSpPr>
              <a:spLocks/>
            </p:cNvSpPr>
            <p:nvPr/>
          </p:nvSpPr>
          <p:spPr bwMode="auto">
            <a:xfrm>
              <a:off x="1965" y="2334"/>
              <a:ext cx="5" cy="2"/>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0"/>
                    <a:pt x="1" y="0"/>
                    <a:pt x="0" y="0"/>
                  </a:cubicBezTo>
                  <a:cubicBezTo>
                    <a:pt x="1" y="1"/>
                    <a:pt x="2" y="1"/>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28" name="Freeform 1678">
              <a:extLst>
                <a:ext uri="{FF2B5EF4-FFF2-40B4-BE49-F238E27FC236}">
                  <a16:creationId xmlns:a16="http://schemas.microsoft.com/office/drawing/2014/main" id="{747690E2-6A0B-4022-B598-1F16649F667A}"/>
                </a:ext>
              </a:extLst>
            </p:cNvPr>
            <p:cNvSpPr>
              <a:spLocks/>
            </p:cNvSpPr>
            <p:nvPr/>
          </p:nvSpPr>
          <p:spPr bwMode="auto">
            <a:xfrm>
              <a:off x="2045" y="2367"/>
              <a:ext cx="3" cy="2"/>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0" y="1"/>
                  </a:cubicBezTo>
                  <a:cubicBezTo>
                    <a:pt x="1" y="1"/>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29" name="Freeform 1679">
              <a:extLst>
                <a:ext uri="{FF2B5EF4-FFF2-40B4-BE49-F238E27FC236}">
                  <a16:creationId xmlns:a16="http://schemas.microsoft.com/office/drawing/2014/main" id="{C1C54332-E696-42AB-BF0A-37FCB45F0BA7}"/>
                </a:ext>
              </a:extLst>
            </p:cNvPr>
            <p:cNvSpPr>
              <a:spLocks/>
            </p:cNvSpPr>
            <p:nvPr/>
          </p:nvSpPr>
          <p:spPr bwMode="auto">
            <a:xfrm>
              <a:off x="2069" y="2414"/>
              <a:ext cx="12" cy="12"/>
            </a:xfrm>
            <a:custGeom>
              <a:avLst/>
              <a:gdLst>
                <a:gd name="T0" fmla="*/ 2 w 5"/>
                <a:gd name="T1" fmla="*/ 0 h 5"/>
                <a:gd name="T2" fmla="*/ 1 w 5"/>
                <a:gd name="T3" fmla="*/ 3 h 5"/>
                <a:gd name="T4" fmla="*/ 2 w 5"/>
                <a:gd name="T5" fmla="*/ 4 h 5"/>
                <a:gd name="T6" fmla="*/ 2 w 5"/>
                <a:gd name="T7" fmla="*/ 5 h 5"/>
                <a:gd name="T8" fmla="*/ 5 w 5"/>
                <a:gd name="T9" fmla="*/ 5 h 5"/>
                <a:gd name="T10" fmla="*/ 2 w 5"/>
                <a:gd name="T11" fmla="*/ 0 h 5"/>
              </a:gdLst>
              <a:ahLst/>
              <a:cxnLst>
                <a:cxn ang="0">
                  <a:pos x="T0" y="T1"/>
                </a:cxn>
                <a:cxn ang="0">
                  <a:pos x="T2" y="T3"/>
                </a:cxn>
                <a:cxn ang="0">
                  <a:pos x="T4" y="T5"/>
                </a:cxn>
                <a:cxn ang="0">
                  <a:pos x="T6" y="T7"/>
                </a:cxn>
                <a:cxn ang="0">
                  <a:pos x="T8" y="T9"/>
                </a:cxn>
                <a:cxn ang="0">
                  <a:pos x="T10" y="T11"/>
                </a:cxn>
              </a:cxnLst>
              <a:rect l="0" t="0" r="r" b="b"/>
              <a:pathLst>
                <a:path w="5" h="5">
                  <a:moveTo>
                    <a:pt x="2" y="0"/>
                  </a:moveTo>
                  <a:cubicBezTo>
                    <a:pt x="0" y="0"/>
                    <a:pt x="1" y="2"/>
                    <a:pt x="1" y="3"/>
                  </a:cubicBezTo>
                  <a:cubicBezTo>
                    <a:pt x="2" y="3"/>
                    <a:pt x="4" y="4"/>
                    <a:pt x="2" y="4"/>
                  </a:cubicBezTo>
                  <a:cubicBezTo>
                    <a:pt x="2" y="4"/>
                    <a:pt x="2" y="5"/>
                    <a:pt x="2" y="5"/>
                  </a:cubicBezTo>
                  <a:cubicBezTo>
                    <a:pt x="3" y="4"/>
                    <a:pt x="4" y="5"/>
                    <a:pt x="5" y="5"/>
                  </a:cubicBezTo>
                  <a:cubicBezTo>
                    <a:pt x="4" y="3"/>
                    <a:pt x="3" y="1"/>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30" name="Freeform 1680">
              <a:extLst>
                <a:ext uri="{FF2B5EF4-FFF2-40B4-BE49-F238E27FC236}">
                  <a16:creationId xmlns:a16="http://schemas.microsoft.com/office/drawing/2014/main" id="{C6A5DBCB-5125-4319-8BF6-4AC188AF999F}"/>
                </a:ext>
              </a:extLst>
            </p:cNvPr>
            <p:cNvSpPr>
              <a:spLocks/>
            </p:cNvSpPr>
            <p:nvPr/>
          </p:nvSpPr>
          <p:spPr bwMode="auto">
            <a:xfrm>
              <a:off x="-255" y="2727"/>
              <a:ext cx="9" cy="9"/>
            </a:xfrm>
            <a:custGeom>
              <a:avLst/>
              <a:gdLst>
                <a:gd name="T0" fmla="*/ 2 w 4"/>
                <a:gd name="T1" fmla="*/ 3 h 4"/>
                <a:gd name="T2" fmla="*/ 2 w 4"/>
                <a:gd name="T3" fmla="*/ 1 h 4"/>
                <a:gd name="T4" fmla="*/ 0 w 4"/>
                <a:gd name="T5" fmla="*/ 0 h 4"/>
                <a:gd name="T6" fmla="*/ 1 w 4"/>
                <a:gd name="T7" fmla="*/ 2 h 4"/>
                <a:gd name="T8" fmla="*/ 4 w 4"/>
                <a:gd name="T9" fmla="*/ 4 h 4"/>
                <a:gd name="T10" fmla="*/ 2 w 4"/>
                <a:gd name="T11" fmla="*/ 3 h 4"/>
              </a:gdLst>
              <a:ahLst/>
              <a:cxnLst>
                <a:cxn ang="0">
                  <a:pos x="T0" y="T1"/>
                </a:cxn>
                <a:cxn ang="0">
                  <a:pos x="T2" y="T3"/>
                </a:cxn>
                <a:cxn ang="0">
                  <a:pos x="T4" y="T5"/>
                </a:cxn>
                <a:cxn ang="0">
                  <a:pos x="T6" y="T7"/>
                </a:cxn>
                <a:cxn ang="0">
                  <a:pos x="T8" y="T9"/>
                </a:cxn>
                <a:cxn ang="0">
                  <a:pos x="T10" y="T11"/>
                </a:cxn>
              </a:cxnLst>
              <a:rect l="0" t="0" r="r" b="b"/>
              <a:pathLst>
                <a:path w="4" h="4">
                  <a:moveTo>
                    <a:pt x="2" y="3"/>
                  </a:moveTo>
                  <a:cubicBezTo>
                    <a:pt x="2" y="2"/>
                    <a:pt x="2" y="1"/>
                    <a:pt x="2" y="1"/>
                  </a:cubicBezTo>
                  <a:cubicBezTo>
                    <a:pt x="2" y="1"/>
                    <a:pt x="1" y="0"/>
                    <a:pt x="0" y="0"/>
                  </a:cubicBezTo>
                  <a:cubicBezTo>
                    <a:pt x="1" y="1"/>
                    <a:pt x="2" y="1"/>
                    <a:pt x="1" y="2"/>
                  </a:cubicBezTo>
                  <a:cubicBezTo>
                    <a:pt x="2" y="3"/>
                    <a:pt x="3" y="3"/>
                    <a:pt x="4" y="4"/>
                  </a:cubicBezTo>
                  <a:cubicBezTo>
                    <a:pt x="4" y="3"/>
                    <a:pt x="2" y="3"/>
                    <a:pt x="2"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31" name="Freeform 1681">
              <a:extLst>
                <a:ext uri="{FF2B5EF4-FFF2-40B4-BE49-F238E27FC236}">
                  <a16:creationId xmlns:a16="http://schemas.microsoft.com/office/drawing/2014/main" id="{7303DD91-3A18-418B-91C4-E89B05F71F37}"/>
                </a:ext>
              </a:extLst>
            </p:cNvPr>
            <p:cNvSpPr>
              <a:spLocks/>
            </p:cNvSpPr>
            <p:nvPr/>
          </p:nvSpPr>
          <p:spPr bwMode="auto">
            <a:xfrm>
              <a:off x="1658" y="2324"/>
              <a:ext cx="52" cy="22"/>
            </a:xfrm>
            <a:custGeom>
              <a:avLst/>
              <a:gdLst>
                <a:gd name="T0" fmla="*/ 14 w 22"/>
                <a:gd name="T1" fmla="*/ 6 h 9"/>
                <a:gd name="T2" fmla="*/ 17 w 22"/>
                <a:gd name="T3" fmla="*/ 6 h 9"/>
                <a:gd name="T4" fmla="*/ 22 w 22"/>
                <a:gd name="T5" fmla="*/ 7 h 9"/>
                <a:gd name="T6" fmla="*/ 14 w 22"/>
                <a:gd name="T7" fmla="*/ 2 h 9"/>
                <a:gd name="T8" fmla="*/ 6 w 22"/>
                <a:gd name="T9" fmla="*/ 0 h 9"/>
                <a:gd name="T10" fmla="*/ 0 w 22"/>
                <a:gd name="T11" fmla="*/ 2 h 9"/>
                <a:gd name="T12" fmla="*/ 9 w 22"/>
                <a:gd name="T13" fmla="*/ 7 h 9"/>
                <a:gd name="T14" fmla="*/ 12 w 22"/>
                <a:gd name="T15" fmla="*/ 8 h 9"/>
                <a:gd name="T16" fmla="*/ 11 w 22"/>
                <a:gd name="T17" fmla="*/ 8 h 9"/>
                <a:gd name="T18" fmla="*/ 12 w 22"/>
                <a:gd name="T19" fmla="*/ 7 h 9"/>
                <a:gd name="T20" fmla="*/ 14 w 22"/>
                <a:gd name="T21"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9">
                  <a:moveTo>
                    <a:pt x="14" y="6"/>
                  </a:moveTo>
                  <a:cubicBezTo>
                    <a:pt x="16" y="6"/>
                    <a:pt x="16" y="6"/>
                    <a:pt x="17" y="6"/>
                  </a:cubicBezTo>
                  <a:cubicBezTo>
                    <a:pt x="19" y="7"/>
                    <a:pt x="20" y="7"/>
                    <a:pt x="22" y="7"/>
                  </a:cubicBezTo>
                  <a:cubicBezTo>
                    <a:pt x="21" y="4"/>
                    <a:pt x="17" y="3"/>
                    <a:pt x="14" y="2"/>
                  </a:cubicBezTo>
                  <a:cubicBezTo>
                    <a:pt x="12" y="1"/>
                    <a:pt x="9" y="1"/>
                    <a:pt x="6" y="0"/>
                  </a:cubicBezTo>
                  <a:cubicBezTo>
                    <a:pt x="4" y="1"/>
                    <a:pt x="2" y="1"/>
                    <a:pt x="0" y="2"/>
                  </a:cubicBezTo>
                  <a:cubicBezTo>
                    <a:pt x="3" y="4"/>
                    <a:pt x="6" y="7"/>
                    <a:pt x="9" y="7"/>
                  </a:cubicBezTo>
                  <a:cubicBezTo>
                    <a:pt x="10" y="7"/>
                    <a:pt x="11" y="9"/>
                    <a:pt x="12" y="8"/>
                  </a:cubicBezTo>
                  <a:cubicBezTo>
                    <a:pt x="12" y="8"/>
                    <a:pt x="11" y="8"/>
                    <a:pt x="11" y="8"/>
                  </a:cubicBezTo>
                  <a:cubicBezTo>
                    <a:pt x="12" y="8"/>
                    <a:pt x="12" y="7"/>
                    <a:pt x="12" y="7"/>
                  </a:cubicBezTo>
                  <a:cubicBezTo>
                    <a:pt x="13" y="6"/>
                    <a:pt x="14" y="6"/>
                    <a:pt x="14" y="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32" name="Freeform 1682">
              <a:extLst>
                <a:ext uri="{FF2B5EF4-FFF2-40B4-BE49-F238E27FC236}">
                  <a16:creationId xmlns:a16="http://schemas.microsoft.com/office/drawing/2014/main" id="{43A5C911-E027-49A9-B00E-6EE84F736961}"/>
                </a:ext>
              </a:extLst>
            </p:cNvPr>
            <p:cNvSpPr>
              <a:spLocks/>
            </p:cNvSpPr>
            <p:nvPr/>
          </p:nvSpPr>
          <p:spPr bwMode="auto">
            <a:xfrm>
              <a:off x="1473" y="2374"/>
              <a:ext cx="3" cy="2"/>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0" y="1"/>
                  </a:cubicBezTo>
                  <a:cubicBezTo>
                    <a:pt x="0" y="1"/>
                    <a:pt x="1" y="1"/>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33" name="Freeform 1683">
              <a:extLst>
                <a:ext uri="{FF2B5EF4-FFF2-40B4-BE49-F238E27FC236}">
                  <a16:creationId xmlns:a16="http://schemas.microsoft.com/office/drawing/2014/main" id="{FE4E33D3-3B82-43FF-A7CA-C9CC8B250EAC}"/>
                </a:ext>
              </a:extLst>
            </p:cNvPr>
            <p:cNvSpPr>
              <a:spLocks/>
            </p:cNvSpPr>
            <p:nvPr/>
          </p:nvSpPr>
          <p:spPr bwMode="auto">
            <a:xfrm>
              <a:off x="1778" y="2315"/>
              <a:ext cx="14" cy="5"/>
            </a:xfrm>
            <a:custGeom>
              <a:avLst/>
              <a:gdLst>
                <a:gd name="T0" fmla="*/ 5 w 6"/>
                <a:gd name="T1" fmla="*/ 2 h 2"/>
                <a:gd name="T2" fmla="*/ 0 w 6"/>
                <a:gd name="T3" fmla="*/ 0 h 2"/>
                <a:gd name="T4" fmla="*/ 4 w 6"/>
                <a:gd name="T5" fmla="*/ 2 h 2"/>
                <a:gd name="T6" fmla="*/ 5 w 6"/>
                <a:gd name="T7" fmla="*/ 2 h 2"/>
              </a:gdLst>
              <a:ahLst/>
              <a:cxnLst>
                <a:cxn ang="0">
                  <a:pos x="T0" y="T1"/>
                </a:cxn>
                <a:cxn ang="0">
                  <a:pos x="T2" y="T3"/>
                </a:cxn>
                <a:cxn ang="0">
                  <a:pos x="T4" y="T5"/>
                </a:cxn>
                <a:cxn ang="0">
                  <a:pos x="T6" y="T7"/>
                </a:cxn>
              </a:cxnLst>
              <a:rect l="0" t="0" r="r" b="b"/>
              <a:pathLst>
                <a:path w="6" h="2">
                  <a:moveTo>
                    <a:pt x="5" y="2"/>
                  </a:moveTo>
                  <a:cubicBezTo>
                    <a:pt x="6" y="0"/>
                    <a:pt x="1" y="0"/>
                    <a:pt x="0" y="0"/>
                  </a:cubicBezTo>
                  <a:cubicBezTo>
                    <a:pt x="1" y="1"/>
                    <a:pt x="3" y="2"/>
                    <a:pt x="4" y="2"/>
                  </a:cubicBezTo>
                  <a:cubicBezTo>
                    <a:pt x="4" y="2"/>
                    <a:pt x="5" y="2"/>
                    <a:pt x="5"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34" name="Freeform 1684">
              <a:extLst>
                <a:ext uri="{FF2B5EF4-FFF2-40B4-BE49-F238E27FC236}">
                  <a16:creationId xmlns:a16="http://schemas.microsoft.com/office/drawing/2014/main" id="{A26D0854-72DD-4BE5-94DA-102E25A3B7A7}"/>
                </a:ext>
              </a:extLst>
            </p:cNvPr>
            <p:cNvSpPr>
              <a:spLocks/>
            </p:cNvSpPr>
            <p:nvPr/>
          </p:nvSpPr>
          <p:spPr bwMode="auto">
            <a:xfrm>
              <a:off x="1788" y="2287"/>
              <a:ext cx="7" cy="2"/>
            </a:xfrm>
            <a:custGeom>
              <a:avLst/>
              <a:gdLst>
                <a:gd name="T0" fmla="*/ 3 w 3"/>
                <a:gd name="T1" fmla="*/ 0 h 1"/>
                <a:gd name="T2" fmla="*/ 3 w 3"/>
                <a:gd name="T3" fmla="*/ 0 h 1"/>
                <a:gd name="T4" fmla="*/ 2 w 3"/>
                <a:gd name="T5" fmla="*/ 0 h 1"/>
                <a:gd name="T6" fmla="*/ 0 w 3"/>
                <a:gd name="T7" fmla="*/ 0 h 1"/>
                <a:gd name="T8" fmla="*/ 0 w 3"/>
                <a:gd name="T9" fmla="*/ 0 h 1"/>
                <a:gd name="T10" fmla="*/ 3 w 3"/>
                <a:gd name="T11" fmla="*/ 0 h 1"/>
                <a:gd name="T12" fmla="*/ 3 w 3"/>
                <a:gd name="T13" fmla="*/ 0 h 1"/>
                <a:gd name="T14" fmla="*/ 3 w 3"/>
                <a:gd name="T15" fmla="*/ 0 h 1"/>
                <a:gd name="T16" fmla="*/ 3 w 3"/>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
                  <a:moveTo>
                    <a:pt x="3" y="0"/>
                  </a:moveTo>
                  <a:cubicBezTo>
                    <a:pt x="3" y="0"/>
                    <a:pt x="3" y="0"/>
                    <a:pt x="3" y="0"/>
                  </a:cubicBezTo>
                  <a:cubicBezTo>
                    <a:pt x="2" y="0"/>
                    <a:pt x="2" y="0"/>
                    <a:pt x="2" y="0"/>
                  </a:cubicBezTo>
                  <a:cubicBezTo>
                    <a:pt x="1" y="0"/>
                    <a:pt x="0" y="0"/>
                    <a:pt x="0" y="0"/>
                  </a:cubicBezTo>
                  <a:cubicBezTo>
                    <a:pt x="0" y="0"/>
                    <a:pt x="0" y="0"/>
                    <a:pt x="0" y="0"/>
                  </a:cubicBezTo>
                  <a:cubicBezTo>
                    <a:pt x="1" y="0"/>
                    <a:pt x="2" y="1"/>
                    <a:pt x="3" y="0"/>
                  </a:cubicBezTo>
                  <a:cubicBezTo>
                    <a:pt x="3" y="0"/>
                    <a:pt x="3" y="0"/>
                    <a:pt x="3" y="0"/>
                  </a:cubicBezTo>
                  <a:cubicBezTo>
                    <a:pt x="3" y="0"/>
                    <a:pt x="3" y="0"/>
                    <a:pt x="3" y="0"/>
                  </a:cubicBezTo>
                  <a:cubicBezTo>
                    <a:pt x="3" y="0"/>
                    <a:pt x="3" y="0"/>
                    <a:pt x="3"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35" name="Freeform 1685">
              <a:extLst>
                <a:ext uri="{FF2B5EF4-FFF2-40B4-BE49-F238E27FC236}">
                  <a16:creationId xmlns:a16="http://schemas.microsoft.com/office/drawing/2014/main" id="{DEA01E86-1C40-427E-9206-8C127BC7264E}"/>
                </a:ext>
              </a:extLst>
            </p:cNvPr>
            <p:cNvSpPr>
              <a:spLocks/>
            </p:cNvSpPr>
            <p:nvPr/>
          </p:nvSpPr>
          <p:spPr bwMode="auto">
            <a:xfrm>
              <a:off x="2062" y="2376"/>
              <a:ext cx="9" cy="5"/>
            </a:xfrm>
            <a:custGeom>
              <a:avLst/>
              <a:gdLst>
                <a:gd name="T0" fmla="*/ 2 w 4"/>
                <a:gd name="T1" fmla="*/ 0 h 2"/>
                <a:gd name="T2" fmla="*/ 1 w 4"/>
                <a:gd name="T3" fmla="*/ 2 h 2"/>
                <a:gd name="T4" fmla="*/ 4 w 4"/>
                <a:gd name="T5" fmla="*/ 2 h 2"/>
                <a:gd name="T6" fmla="*/ 2 w 4"/>
                <a:gd name="T7" fmla="*/ 0 h 2"/>
              </a:gdLst>
              <a:ahLst/>
              <a:cxnLst>
                <a:cxn ang="0">
                  <a:pos x="T0" y="T1"/>
                </a:cxn>
                <a:cxn ang="0">
                  <a:pos x="T2" y="T3"/>
                </a:cxn>
                <a:cxn ang="0">
                  <a:pos x="T4" y="T5"/>
                </a:cxn>
                <a:cxn ang="0">
                  <a:pos x="T6" y="T7"/>
                </a:cxn>
              </a:cxnLst>
              <a:rect l="0" t="0" r="r" b="b"/>
              <a:pathLst>
                <a:path w="4" h="2">
                  <a:moveTo>
                    <a:pt x="2" y="0"/>
                  </a:moveTo>
                  <a:cubicBezTo>
                    <a:pt x="1" y="0"/>
                    <a:pt x="0" y="2"/>
                    <a:pt x="1" y="2"/>
                  </a:cubicBezTo>
                  <a:cubicBezTo>
                    <a:pt x="2" y="2"/>
                    <a:pt x="3" y="2"/>
                    <a:pt x="4" y="2"/>
                  </a:cubicBezTo>
                  <a:cubicBezTo>
                    <a:pt x="3" y="1"/>
                    <a:pt x="2" y="1"/>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36" name="Freeform 1686">
              <a:extLst>
                <a:ext uri="{FF2B5EF4-FFF2-40B4-BE49-F238E27FC236}">
                  <a16:creationId xmlns:a16="http://schemas.microsoft.com/office/drawing/2014/main" id="{A38ACE84-4A09-4FF5-8C6D-313147124B1C}"/>
                </a:ext>
              </a:extLst>
            </p:cNvPr>
            <p:cNvSpPr>
              <a:spLocks/>
            </p:cNvSpPr>
            <p:nvPr/>
          </p:nvSpPr>
          <p:spPr bwMode="auto">
            <a:xfrm>
              <a:off x="2069" y="2388"/>
              <a:ext cx="2" cy="3"/>
            </a:xfrm>
            <a:custGeom>
              <a:avLst/>
              <a:gdLst>
                <a:gd name="T0" fmla="*/ 0 w 1"/>
                <a:gd name="T1" fmla="*/ 1 h 1"/>
                <a:gd name="T2" fmla="*/ 1 w 1"/>
                <a:gd name="T3" fmla="*/ 0 h 1"/>
                <a:gd name="T4" fmla="*/ 0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0" y="1"/>
                    <a:pt x="1" y="0"/>
                    <a:pt x="1" y="0"/>
                  </a:cubicBezTo>
                  <a:cubicBezTo>
                    <a:pt x="0" y="0"/>
                    <a:pt x="0" y="0"/>
                    <a:pt x="0" y="0"/>
                  </a:cubicBezTo>
                  <a:cubicBezTo>
                    <a:pt x="0" y="0"/>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37" name="Freeform 1687">
              <a:extLst>
                <a:ext uri="{FF2B5EF4-FFF2-40B4-BE49-F238E27FC236}">
                  <a16:creationId xmlns:a16="http://schemas.microsoft.com/office/drawing/2014/main" id="{B3CC3FE8-5574-4C6F-9A9F-27976B2F7E6D}"/>
                </a:ext>
              </a:extLst>
            </p:cNvPr>
            <p:cNvSpPr>
              <a:spLocks/>
            </p:cNvSpPr>
            <p:nvPr/>
          </p:nvSpPr>
          <p:spPr bwMode="auto">
            <a:xfrm>
              <a:off x="2057" y="2379"/>
              <a:ext cx="7" cy="9"/>
            </a:xfrm>
            <a:custGeom>
              <a:avLst/>
              <a:gdLst>
                <a:gd name="T0" fmla="*/ 1 w 3"/>
                <a:gd name="T1" fmla="*/ 0 h 4"/>
                <a:gd name="T2" fmla="*/ 0 w 3"/>
                <a:gd name="T3" fmla="*/ 1 h 4"/>
                <a:gd name="T4" fmla="*/ 1 w 3"/>
                <a:gd name="T5" fmla="*/ 4 h 4"/>
                <a:gd name="T6" fmla="*/ 1 w 3"/>
                <a:gd name="T7" fmla="*/ 0 h 4"/>
              </a:gdLst>
              <a:ahLst/>
              <a:cxnLst>
                <a:cxn ang="0">
                  <a:pos x="T0" y="T1"/>
                </a:cxn>
                <a:cxn ang="0">
                  <a:pos x="T2" y="T3"/>
                </a:cxn>
                <a:cxn ang="0">
                  <a:pos x="T4" y="T5"/>
                </a:cxn>
                <a:cxn ang="0">
                  <a:pos x="T6" y="T7"/>
                </a:cxn>
              </a:cxnLst>
              <a:rect l="0" t="0" r="r" b="b"/>
              <a:pathLst>
                <a:path w="3" h="4">
                  <a:moveTo>
                    <a:pt x="1" y="0"/>
                  </a:moveTo>
                  <a:cubicBezTo>
                    <a:pt x="1" y="1"/>
                    <a:pt x="0" y="1"/>
                    <a:pt x="0" y="1"/>
                  </a:cubicBezTo>
                  <a:cubicBezTo>
                    <a:pt x="0" y="2"/>
                    <a:pt x="0" y="4"/>
                    <a:pt x="1" y="4"/>
                  </a:cubicBezTo>
                  <a:cubicBezTo>
                    <a:pt x="3" y="3"/>
                    <a:pt x="2" y="1"/>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38" name="Freeform 1688">
              <a:extLst>
                <a:ext uri="{FF2B5EF4-FFF2-40B4-BE49-F238E27FC236}">
                  <a16:creationId xmlns:a16="http://schemas.microsoft.com/office/drawing/2014/main" id="{D8588C35-70F7-44C0-88CF-F5F70C4C31A4}"/>
                </a:ext>
              </a:extLst>
            </p:cNvPr>
            <p:cNvSpPr>
              <a:spLocks/>
            </p:cNvSpPr>
            <p:nvPr/>
          </p:nvSpPr>
          <p:spPr bwMode="auto">
            <a:xfrm>
              <a:off x="2057" y="2476"/>
              <a:ext cx="5" cy="9"/>
            </a:xfrm>
            <a:custGeom>
              <a:avLst/>
              <a:gdLst>
                <a:gd name="T0" fmla="*/ 0 w 2"/>
                <a:gd name="T1" fmla="*/ 4 h 4"/>
                <a:gd name="T2" fmla="*/ 2 w 2"/>
                <a:gd name="T3" fmla="*/ 3 h 4"/>
                <a:gd name="T4" fmla="*/ 0 w 2"/>
                <a:gd name="T5" fmla="*/ 4 h 4"/>
              </a:gdLst>
              <a:ahLst/>
              <a:cxnLst>
                <a:cxn ang="0">
                  <a:pos x="T0" y="T1"/>
                </a:cxn>
                <a:cxn ang="0">
                  <a:pos x="T2" y="T3"/>
                </a:cxn>
                <a:cxn ang="0">
                  <a:pos x="T4" y="T5"/>
                </a:cxn>
              </a:cxnLst>
              <a:rect l="0" t="0" r="r" b="b"/>
              <a:pathLst>
                <a:path w="2" h="4">
                  <a:moveTo>
                    <a:pt x="0" y="4"/>
                  </a:moveTo>
                  <a:cubicBezTo>
                    <a:pt x="0" y="4"/>
                    <a:pt x="1" y="3"/>
                    <a:pt x="2" y="3"/>
                  </a:cubicBezTo>
                  <a:cubicBezTo>
                    <a:pt x="1" y="0"/>
                    <a:pt x="0" y="4"/>
                    <a:pt x="0"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39" name="Freeform 1689">
              <a:extLst>
                <a:ext uri="{FF2B5EF4-FFF2-40B4-BE49-F238E27FC236}">
                  <a16:creationId xmlns:a16="http://schemas.microsoft.com/office/drawing/2014/main" id="{01C6819E-FD8F-4143-A860-53982416C4FD}"/>
                </a:ext>
              </a:extLst>
            </p:cNvPr>
            <p:cNvSpPr>
              <a:spLocks/>
            </p:cNvSpPr>
            <p:nvPr/>
          </p:nvSpPr>
          <p:spPr bwMode="auto">
            <a:xfrm>
              <a:off x="163" y="2989"/>
              <a:ext cx="5" cy="7"/>
            </a:xfrm>
            <a:custGeom>
              <a:avLst/>
              <a:gdLst>
                <a:gd name="T0" fmla="*/ 0 w 2"/>
                <a:gd name="T1" fmla="*/ 1 h 3"/>
                <a:gd name="T2" fmla="*/ 1 w 2"/>
                <a:gd name="T3" fmla="*/ 2 h 3"/>
                <a:gd name="T4" fmla="*/ 2 w 2"/>
                <a:gd name="T5" fmla="*/ 2 h 3"/>
                <a:gd name="T6" fmla="*/ 2 w 2"/>
                <a:gd name="T7" fmla="*/ 2 h 3"/>
                <a:gd name="T8" fmla="*/ 2 w 2"/>
                <a:gd name="T9" fmla="*/ 2 h 3"/>
                <a:gd name="T10" fmla="*/ 2 w 2"/>
                <a:gd name="T11" fmla="*/ 2 h 3"/>
                <a:gd name="T12" fmla="*/ 0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0" y="1"/>
                  </a:moveTo>
                  <a:cubicBezTo>
                    <a:pt x="0" y="3"/>
                    <a:pt x="1" y="2"/>
                    <a:pt x="1" y="2"/>
                  </a:cubicBezTo>
                  <a:cubicBezTo>
                    <a:pt x="1" y="2"/>
                    <a:pt x="1" y="2"/>
                    <a:pt x="2" y="2"/>
                  </a:cubicBezTo>
                  <a:cubicBezTo>
                    <a:pt x="2" y="2"/>
                    <a:pt x="2" y="2"/>
                    <a:pt x="2" y="2"/>
                  </a:cubicBezTo>
                  <a:cubicBezTo>
                    <a:pt x="2" y="2"/>
                    <a:pt x="2" y="2"/>
                    <a:pt x="2" y="2"/>
                  </a:cubicBezTo>
                  <a:cubicBezTo>
                    <a:pt x="2" y="2"/>
                    <a:pt x="2" y="2"/>
                    <a:pt x="2" y="2"/>
                  </a:cubicBezTo>
                  <a:cubicBezTo>
                    <a:pt x="2" y="0"/>
                    <a:pt x="1"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40" name="Freeform 1690">
              <a:extLst>
                <a:ext uri="{FF2B5EF4-FFF2-40B4-BE49-F238E27FC236}">
                  <a16:creationId xmlns:a16="http://schemas.microsoft.com/office/drawing/2014/main" id="{9E0F1739-D069-43F0-8A2B-D7A522345850}"/>
                </a:ext>
              </a:extLst>
            </p:cNvPr>
            <p:cNvSpPr>
              <a:spLocks/>
            </p:cNvSpPr>
            <p:nvPr/>
          </p:nvSpPr>
          <p:spPr bwMode="auto">
            <a:xfrm>
              <a:off x="-108" y="3188"/>
              <a:ext cx="2" cy="0"/>
            </a:xfrm>
            <a:custGeom>
              <a:avLst/>
              <a:gdLst>
                <a:gd name="T0" fmla="*/ 0 w 1"/>
                <a:gd name="T1" fmla="*/ 0 w 1"/>
                <a:gd name="T2" fmla="*/ 1 w 1"/>
                <a:gd name="T3" fmla="*/ 1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cubicBezTo>
                    <a:pt x="0" y="0"/>
                    <a:pt x="0" y="0"/>
                    <a:pt x="0" y="0"/>
                  </a:cubicBezTo>
                  <a:cubicBezTo>
                    <a:pt x="0" y="0"/>
                    <a:pt x="1" y="0"/>
                    <a:pt x="1" y="0"/>
                  </a:cubicBezTo>
                  <a:cubicBezTo>
                    <a:pt x="1" y="0"/>
                    <a:pt x="1" y="0"/>
                    <a:pt x="1" y="0"/>
                  </a:cubicBezTo>
                  <a:cubicBezTo>
                    <a:pt x="1"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41" name="Freeform 1691">
              <a:extLst>
                <a:ext uri="{FF2B5EF4-FFF2-40B4-BE49-F238E27FC236}">
                  <a16:creationId xmlns:a16="http://schemas.microsoft.com/office/drawing/2014/main" id="{9AC66B9A-AB20-44E2-83D9-DE8606F83829}"/>
                </a:ext>
              </a:extLst>
            </p:cNvPr>
            <p:cNvSpPr>
              <a:spLocks/>
            </p:cNvSpPr>
            <p:nvPr/>
          </p:nvSpPr>
          <p:spPr bwMode="auto">
            <a:xfrm>
              <a:off x="-71" y="3205"/>
              <a:ext cx="3" cy="2"/>
            </a:xfrm>
            <a:custGeom>
              <a:avLst/>
              <a:gdLst>
                <a:gd name="T0" fmla="*/ 1 w 1"/>
                <a:gd name="T1" fmla="*/ 0 h 1"/>
                <a:gd name="T2" fmla="*/ 0 w 1"/>
                <a:gd name="T3" fmla="*/ 0 h 1"/>
                <a:gd name="T4" fmla="*/ 1 w 1"/>
                <a:gd name="T5" fmla="*/ 0 h 1"/>
              </a:gdLst>
              <a:ahLst/>
              <a:cxnLst>
                <a:cxn ang="0">
                  <a:pos x="T0" y="T1"/>
                </a:cxn>
                <a:cxn ang="0">
                  <a:pos x="T2" y="T3"/>
                </a:cxn>
                <a:cxn ang="0">
                  <a:pos x="T4" y="T5"/>
                </a:cxn>
              </a:cxnLst>
              <a:rect l="0" t="0" r="r" b="b"/>
              <a:pathLst>
                <a:path w="1" h="1">
                  <a:moveTo>
                    <a:pt x="1" y="0"/>
                  </a:moveTo>
                  <a:cubicBezTo>
                    <a:pt x="1" y="0"/>
                    <a:pt x="0" y="0"/>
                    <a:pt x="0" y="0"/>
                  </a:cubicBezTo>
                  <a:cubicBezTo>
                    <a:pt x="0" y="1"/>
                    <a:pt x="0" y="1"/>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42" name="Freeform 1692">
              <a:extLst>
                <a:ext uri="{FF2B5EF4-FFF2-40B4-BE49-F238E27FC236}">
                  <a16:creationId xmlns:a16="http://schemas.microsoft.com/office/drawing/2014/main" id="{596AE81D-1584-44BD-9F6C-1AF9B2876ABA}"/>
                </a:ext>
              </a:extLst>
            </p:cNvPr>
            <p:cNvSpPr>
              <a:spLocks/>
            </p:cNvSpPr>
            <p:nvPr/>
          </p:nvSpPr>
          <p:spPr bwMode="auto">
            <a:xfrm>
              <a:off x="166" y="3003"/>
              <a:ext cx="0" cy="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43" name="Freeform 1693">
              <a:extLst>
                <a:ext uri="{FF2B5EF4-FFF2-40B4-BE49-F238E27FC236}">
                  <a16:creationId xmlns:a16="http://schemas.microsoft.com/office/drawing/2014/main" id="{9593FFDA-F195-47BD-9C30-FF6C57606352}"/>
                </a:ext>
              </a:extLst>
            </p:cNvPr>
            <p:cNvSpPr>
              <a:spLocks/>
            </p:cNvSpPr>
            <p:nvPr/>
          </p:nvSpPr>
          <p:spPr bwMode="auto">
            <a:xfrm>
              <a:off x="189" y="3018"/>
              <a:ext cx="3" cy="2"/>
            </a:xfrm>
            <a:custGeom>
              <a:avLst/>
              <a:gdLst>
                <a:gd name="T0" fmla="*/ 0 w 1"/>
                <a:gd name="T1" fmla="*/ 1 h 1"/>
                <a:gd name="T2" fmla="*/ 0 w 1"/>
                <a:gd name="T3" fmla="*/ 0 h 1"/>
                <a:gd name="T4" fmla="*/ 0 w 1"/>
                <a:gd name="T5" fmla="*/ 1 h 1"/>
              </a:gdLst>
              <a:ahLst/>
              <a:cxnLst>
                <a:cxn ang="0">
                  <a:pos x="T0" y="T1"/>
                </a:cxn>
                <a:cxn ang="0">
                  <a:pos x="T2" y="T3"/>
                </a:cxn>
                <a:cxn ang="0">
                  <a:pos x="T4" y="T5"/>
                </a:cxn>
              </a:cxnLst>
              <a:rect l="0" t="0" r="r" b="b"/>
              <a:pathLst>
                <a:path w="1" h="1">
                  <a:moveTo>
                    <a:pt x="0" y="1"/>
                  </a:moveTo>
                  <a:cubicBezTo>
                    <a:pt x="1" y="1"/>
                    <a:pt x="1" y="0"/>
                    <a:pt x="0" y="0"/>
                  </a:cubicBezTo>
                  <a:cubicBezTo>
                    <a:pt x="0" y="0"/>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44" name="Freeform 1694">
              <a:extLst>
                <a:ext uri="{FF2B5EF4-FFF2-40B4-BE49-F238E27FC236}">
                  <a16:creationId xmlns:a16="http://schemas.microsoft.com/office/drawing/2014/main" id="{60E1BA06-BFC9-4D16-9745-F87D386BED76}"/>
                </a:ext>
              </a:extLst>
            </p:cNvPr>
            <p:cNvSpPr>
              <a:spLocks/>
            </p:cNvSpPr>
            <p:nvPr/>
          </p:nvSpPr>
          <p:spPr bwMode="auto">
            <a:xfrm>
              <a:off x="185" y="3013"/>
              <a:ext cx="12" cy="2"/>
            </a:xfrm>
            <a:custGeom>
              <a:avLst/>
              <a:gdLst>
                <a:gd name="T0" fmla="*/ 3 w 5"/>
                <a:gd name="T1" fmla="*/ 1 h 1"/>
                <a:gd name="T2" fmla="*/ 5 w 5"/>
                <a:gd name="T3" fmla="*/ 0 h 1"/>
                <a:gd name="T4" fmla="*/ 3 w 5"/>
                <a:gd name="T5" fmla="*/ 0 h 1"/>
                <a:gd name="T6" fmla="*/ 3 w 5"/>
                <a:gd name="T7" fmla="*/ 1 h 1"/>
              </a:gdLst>
              <a:ahLst/>
              <a:cxnLst>
                <a:cxn ang="0">
                  <a:pos x="T0" y="T1"/>
                </a:cxn>
                <a:cxn ang="0">
                  <a:pos x="T2" y="T3"/>
                </a:cxn>
                <a:cxn ang="0">
                  <a:pos x="T4" y="T5"/>
                </a:cxn>
                <a:cxn ang="0">
                  <a:pos x="T6" y="T7"/>
                </a:cxn>
              </a:cxnLst>
              <a:rect l="0" t="0" r="r" b="b"/>
              <a:pathLst>
                <a:path w="5" h="1">
                  <a:moveTo>
                    <a:pt x="3" y="1"/>
                  </a:moveTo>
                  <a:cubicBezTo>
                    <a:pt x="3" y="1"/>
                    <a:pt x="4" y="1"/>
                    <a:pt x="5" y="0"/>
                  </a:cubicBezTo>
                  <a:cubicBezTo>
                    <a:pt x="4" y="0"/>
                    <a:pt x="4" y="0"/>
                    <a:pt x="3" y="0"/>
                  </a:cubicBezTo>
                  <a:cubicBezTo>
                    <a:pt x="3" y="0"/>
                    <a:pt x="0" y="1"/>
                    <a:pt x="3"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45" name="Freeform 1695">
              <a:extLst>
                <a:ext uri="{FF2B5EF4-FFF2-40B4-BE49-F238E27FC236}">
                  <a16:creationId xmlns:a16="http://schemas.microsoft.com/office/drawing/2014/main" id="{2A491DD2-4888-4EE7-AB67-BDEEDD11681B}"/>
                </a:ext>
              </a:extLst>
            </p:cNvPr>
            <p:cNvSpPr>
              <a:spLocks/>
            </p:cNvSpPr>
            <p:nvPr/>
          </p:nvSpPr>
          <p:spPr bwMode="auto">
            <a:xfrm>
              <a:off x="-64" y="3202"/>
              <a:ext cx="12" cy="12"/>
            </a:xfrm>
            <a:custGeom>
              <a:avLst/>
              <a:gdLst>
                <a:gd name="T0" fmla="*/ 3 w 5"/>
                <a:gd name="T1" fmla="*/ 3 h 5"/>
                <a:gd name="T2" fmla="*/ 3 w 5"/>
                <a:gd name="T3" fmla="*/ 1 h 5"/>
                <a:gd name="T4" fmla="*/ 2 w 5"/>
                <a:gd name="T5" fmla="*/ 1 h 5"/>
                <a:gd name="T6" fmla="*/ 0 w 5"/>
                <a:gd name="T7" fmla="*/ 3 h 5"/>
                <a:gd name="T8" fmla="*/ 2 w 5"/>
                <a:gd name="T9" fmla="*/ 4 h 5"/>
                <a:gd name="T10" fmla="*/ 5 w 5"/>
                <a:gd name="T11" fmla="*/ 5 h 5"/>
                <a:gd name="T12" fmla="*/ 4 w 5"/>
                <a:gd name="T13" fmla="*/ 3 h 5"/>
                <a:gd name="T14" fmla="*/ 3 w 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3" y="3"/>
                  </a:moveTo>
                  <a:cubicBezTo>
                    <a:pt x="3" y="2"/>
                    <a:pt x="3" y="2"/>
                    <a:pt x="3" y="1"/>
                  </a:cubicBezTo>
                  <a:cubicBezTo>
                    <a:pt x="3" y="1"/>
                    <a:pt x="2" y="1"/>
                    <a:pt x="2" y="1"/>
                  </a:cubicBezTo>
                  <a:cubicBezTo>
                    <a:pt x="1" y="0"/>
                    <a:pt x="0" y="1"/>
                    <a:pt x="0" y="3"/>
                  </a:cubicBezTo>
                  <a:cubicBezTo>
                    <a:pt x="0" y="3"/>
                    <a:pt x="1" y="3"/>
                    <a:pt x="2" y="4"/>
                  </a:cubicBezTo>
                  <a:cubicBezTo>
                    <a:pt x="3" y="4"/>
                    <a:pt x="4" y="4"/>
                    <a:pt x="5" y="5"/>
                  </a:cubicBezTo>
                  <a:cubicBezTo>
                    <a:pt x="5" y="4"/>
                    <a:pt x="4" y="4"/>
                    <a:pt x="4" y="3"/>
                  </a:cubicBezTo>
                  <a:cubicBezTo>
                    <a:pt x="3" y="3"/>
                    <a:pt x="3" y="4"/>
                    <a:pt x="3"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46" name="Freeform 1696">
              <a:extLst>
                <a:ext uri="{FF2B5EF4-FFF2-40B4-BE49-F238E27FC236}">
                  <a16:creationId xmlns:a16="http://schemas.microsoft.com/office/drawing/2014/main" id="{D55FB146-F412-4A13-8C55-68828C12BA92}"/>
                </a:ext>
              </a:extLst>
            </p:cNvPr>
            <p:cNvSpPr>
              <a:spLocks/>
            </p:cNvSpPr>
            <p:nvPr/>
          </p:nvSpPr>
          <p:spPr bwMode="auto">
            <a:xfrm>
              <a:off x="253" y="3228"/>
              <a:ext cx="5" cy="3"/>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1" y="0"/>
                    <a:pt x="0" y="0"/>
                  </a:cubicBezTo>
                  <a:cubicBezTo>
                    <a:pt x="1" y="1"/>
                    <a:pt x="1"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47" name="Freeform 1697">
              <a:extLst>
                <a:ext uri="{FF2B5EF4-FFF2-40B4-BE49-F238E27FC236}">
                  <a16:creationId xmlns:a16="http://schemas.microsoft.com/office/drawing/2014/main" id="{1D816AB2-309B-4B6A-A0A2-9701D5D0F662}"/>
                </a:ext>
              </a:extLst>
            </p:cNvPr>
            <p:cNvSpPr>
              <a:spLocks/>
            </p:cNvSpPr>
            <p:nvPr/>
          </p:nvSpPr>
          <p:spPr bwMode="auto">
            <a:xfrm>
              <a:off x="31" y="3167"/>
              <a:ext cx="5" cy="7"/>
            </a:xfrm>
            <a:custGeom>
              <a:avLst/>
              <a:gdLst>
                <a:gd name="T0" fmla="*/ 0 w 2"/>
                <a:gd name="T1" fmla="*/ 1 h 3"/>
                <a:gd name="T2" fmla="*/ 2 w 2"/>
                <a:gd name="T3" fmla="*/ 3 h 3"/>
                <a:gd name="T4" fmla="*/ 0 w 2"/>
                <a:gd name="T5" fmla="*/ 1 h 3"/>
              </a:gdLst>
              <a:ahLst/>
              <a:cxnLst>
                <a:cxn ang="0">
                  <a:pos x="T0" y="T1"/>
                </a:cxn>
                <a:cxn ang="0">
                  <a:pos x="T2" y="T3"/>
                </a:cxn>
                <a:cxn ang="0">
                  <a:pos x="T4" y="T5"/>
                </a:cxn>
              </a:cxnLst>
              <a:rect l="0" t="0" r="r" b="b"/>
              <a:pathLst>
                <a:path w="2" h="3">
                  <a:moveTo>
                    <a:pt x="0" y="1"/>
                  </a:moveTo>
                  <a:cubicBezTo>
                    <a:pt x="0" y="2"/>
                    <a:pt x="1" y="3"/>
                    <a:pt x="2" y="3"/>
                  </a:cubicBezTo>
                  <a:cubicBezTo>
                    <a:pt x="1" y="3"/>
                    <a:pt x="1"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48" name="Freeform 1698">
              <a:extLst>
                <a:ext uri="{FF2B5EF4-FFF2-40B4-BE49-F238E27FC236}">
                  <a16:creationId xmlns:a16="http://schemas.microsoft.com/office/drawing/2014/main" id="{B3A2FB66-7A91-482B-8BAC-946A79608D90}"/>
                </a:ext>
              </a:extLst>
            </p:cNvPr>
            <p:cNvSpPr>
              <a:spLocks/>
            </p:cNvSpPr>
            <p:nvPr/>
          </p:nvSpPr>
          <p:spPr bwMode="auto">
            <a:xfrm>
              <a:off x="149" y="3226"/>
              <a:ext cx="3" cy="2"/>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0"/>
                    <a:pt x="1" y="0"/>
                    <a:pt x="0" y="0"/>
                  </a:cubicBezTo>
                  <a:cubicBezTo>
                    <a:pt x="0" y="0"/>
                    <a:pt x="1" y="0"/>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49" name="Freeform 1699">
              <a:extLst>
                <a:ext uri="{FF2B5EF4-FFF2-40B4-BE49-F238E27FC236}">
                  <a16:creationId xmlns:a16="http://schemas.microsoft.com/office/drawing/2014/main" id="{F7609CEF-BBB4-4F4E-A1C6-93E7D5D96CBA}"/>
                </a:ext>
              </a:extLst>
            </p:cNvPr>
            <p:cNvSpPr>
              <a:spLocks/>
            </p:cNvSpPr>
            <p:nvPr/>
          </p:nvSpPr>
          <p:spPr bwMode="auto">
            <a:xfrm>
              <a:off x="149" y="3209"/>
              <a:ext cx="5" cy="5"/>
            </a:xfrm>
            <a:custGeom>
              <a:avLst/>
              <a:gdLst>
                <a:gd name="T0" fmla="*/ 0 w 2"/>
                <a:gd name="T1" fmla="*/ 2 h 2"/>
                <a:gd name="T2" fmla="*/ 0 w 2"/>
                <a:gd name="T3" fmla="*/ 1 h 2"/>
                <a:gd name="T4" fmla="*/ 2 w 2"/>
                <a:gd name="T5" fmla="*/ 0 h 2"/>
                <a:gd name="T6" fmla="*/ 0 w 2"/>
                <a:gd name="T7" fmla="*/ 1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cubicBezTo>
                    <a:pt x="0" y="1"/>
                    <a:pt x="0" y="1"/>
                    <a:pt x="0" y="1"/>
                  </a:cubicBezTo>
                  <a:cubicBezTo>
                    <a:pt x="1" y="1"/>
                    <a:pt x="2" y="1"/>
                    <a:pt x="2" y="0"/>
                  </a:cubicBezTo>
                  <a:cubicBezTo>
                    <a:pt x="1" y="0"/>
                    <a:pt x="1" y="1"/>
                    <a:pt x="0" y="1"/>
                  </a:cubicBezTo>
                  <a:cubicBezTo>
                    <a:pt x="0" y="1"/>
                    <a:pt x="0"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50" name="Freeform 1700">
              <a:extLst>
                <a:ext uri="{FF2B5EF4-FFF2-40B4-BE49-F238E27FC236}">
                  <a16:creationId xmlns:a16="http://schemas.microsoft.com/office/drawing/2014/main" id="{76FBFBE6-E681-4E94-91BC-F33094E28DFD}"/>
                </a:ext>
              </a:extLst>
            </p:cNvPr>
            <p:cNvSpPr>
              <a:spLocks/>
            </p:cNvSpPr>
            <p:nvPr/>
          </p:nvSpPr>
          <p:spPr bwMode="auto">
            <a:xfrm>
              <a:off x="1362" y="2767"/>
              <a:ext cx="3" cy="2"/>
            </a:xfrm>
            <a:custGeom>
              <a:avLst/>
              <a:gdLst>
                <a:gd name="T0" fmla="*/ 0 w 1"/>
                <a:gd name="T1" fmla="*/ 1 h 1"/>
                <a:gd name="T2" fmla="*/ 1 w 1"/>
                <a:gd name="T3" fmla="*/ 1 h 1"/>
                <a:gd name="T4" fmla="*/ 0 w 1"/>
                <a:gd name="T5" fmla="*/ 1 h 1"/>
              </a:gdLst>
              <a:ahLst/>
              <a:cxnLst>
                <a:cxn ang="0">
                  <a:pos x="T0" y="T1"/>
                </a:cxn>
                <a:cxn ang="0">
                  <a:pos x="T2" y="T3"/>
                </a:cxn>
                <a:cxn ang="0">
                  <a:pos x="T4" y="T5"/>
                </a:cxn>
              </a:cxnLst>
              <a:rect l="0" t="0" r="r" b="b"/>
              <a:pathLst>
                <a:path w="1" h="1">
                  <a:moveTo>
                    <a:pt x="0" y="1"/>
                  </a:moveTo>
                  <a:cubicBezTo>
                    <a:pt x="1" y="1"/>
                    <a:pt x="1" y="1"/>
                    <a:pt x="1" y="1"/>
                  </a:cubicBezTo>
                  <a:cubicBezTo>
                    <a:pt x="1" y="1"/>
                    <a:pt x="1"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51" name="Freeform 1701">
              <a:extLst>
                <a:ext uri="{FF2B5EF4-FFF2-40B4-BE49-F238E27FC236}">
                  <a16:creationId xmlns:a16="http://schemas.microsoft.com/office/drawing/2014/main" id="{9732250A-4746-4B6E-914C-2DA40571344D}"/>
                </a:ext>
              </a:extLst>
            </p:cNvPr>
            <p:cNvSpPr>
              <a:spLocks/>
            </p:cNvSpPr>
            <p:nvPr/>
          </p:nvSpPr>
          <p:spPr bwMode="auto">
            <a:xfrm>
              <a:off x="1336" y="2783"/>
              <a:ext cx="7" cy="7"/>
            </a:xfrm>
            <a:custGeom>
              <a:avLst/>
              <a:gdLst>
                <a:gd name="T0" fmla="*/ 3 w 3"/>
                <a:gd name="T1" fmla="*/ 1 h 3"/>
                <a:gd name="T2" fmla="*/ 0 w 3"/>
                <a:gd name="T3" fmla="*/ 0 h 3"/>
                <a:gd name="T4" fmla="*/ 1 w 3"/>
                <a:gd name="T5" fmla="*/ 2 h 3"/>
                <a:gd name="T6" fmla="*/ 3 w 3"/>
                <a:gd name="T7" fmla="*/ 1 h 3"/>
              </a:gdLst>
              <a:ahLst/>
              <a:cxnLst>
                <a:cxn ang="0">
                  <a:pos x="T0" y="T1"/>
                </a:cxn>
                <a:cxn ang="0">
                  <a:pos x="T2" y="T3"/>
                </a:cxn>
                <a:cxn ang="0">
                  <a:pos x="T4" y="T5"/>
                </a:cxn>
                <a:cxn ang="0">
                  <a:pos x="T6" y="T7"/>
                </a:cxn>
              </a:cxnLst>
              <a:rect l="0" t="0" r="r" b="b"/>
              <a:pathLst>
                <a:path w="3" h="3">
                  <a:moveTo>
                    <a:pt x="3" y="1"/>
                  </a:moveTo>
                  <a:cubicBezTo>
                    <a:pt x="2" y="0"/>
                    <a:pt x="1" y="0"/>
                    <a:pt x="0" y="0"/>
                  </a:cubicBezTo>
                  <a:cubicBezTo>
                    <a:pt x="0" y="1"/>
                    <a:pt x="1" y="2"/>
                    <a:pt x="1" y="2"/>
                  </a:cubicBezTo>
                  <a:cubicBezTo>
                    <a:pt x="2" y="3"/>
                    <a:pt x="3" y="2"/>
                    <a:pt x="3"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52" name="Freeform 1702">
              <a:extLst>
                <a:ext uri="{FF2B5EF4-FFF2-40B4-BE49-F238E27FC236}">
                  <a16:creationId xmlns:a16="http://schemas.microsoft.com/office/drawing/2014/main" id="{269EF33F-F412-4266-A5C7-4BA9D8AFDDBD}"/>
                </a:ext>
              </a:extLst>
            </p:cNvPr>
            <p:cNvSpPr>
              <a:spLocks/>
            </p:cNvSpPr>
            <p:nvPr/>
          </p:nvSpPr>
          <p:spPr bwMode="auto">
            <a:xfrm>
              <a:off x="1383" y="2793"/>
              <a:ext cx="10" cy="7"/>
            </a:xfrm>
            <a:custGeom>
              <a:avLst/>
              <a:gdLst>
                <a:gd name="T0" fmla="*/ 2 w 4"/>
                <a:gd name="T1" fmla="*/ 3 h 3"/>
                <a:gd name="T2" fmla="*/ 4 w 4"/>
                <a:gd name="T3" fmla="*/ 1 h 3"/>
                <a:gd name="T4" fmla="*/ 4 w 4"/>
                <a:gd name="T5" fmla="*/ 1 h 3"/>
                <a:gd name="T6" fmla="*/ 2 w 4"/>
                <a:gd name="T7" fmla="*/ 3 h 3"/>
              </a:gdLst>
              <a:ahLst/>
              <a:cxnLst>
                <a:cxn ang="0">
                  <a:pos x="T0" y="T1"/>
                </a:cxn>
                <a:cxn ang="0">
                  <a:pos x="T2" y="T3"/>
                </a:cxn>
                <a:cxn ang="0">
                  <a:pos x="T4" y="T5"/>
                </a:cxn>
                <a:cxn ang="0">
                  <a:pos x="T6" y="T7"/>
                </a:cxn>
              </a:cxnLst>
              <a:rect l="0" t="0" r="r" b="b"/>
              <a:pathLst>
                <a:path w="4" h="3">
                  <a:moveTo>
                    <a:pt x="2" y="3"/>
                  </a:moveTo>
                  <a:cubicBezTo>
                    <a:pt x="2" y="3"/>
                    <a:pt x="4" y="2"/>
                    <a:pt x="4" y="1"/>
                  </a:cubicBezTo>
                  <a:cubicBezTo>
                    <a:pt x="4" y="1"/>
                    <a:pt x="4" y="1"/>
                    <a:pt x="4" y="1"/>
                  </a:cubicBezTo>
                  <a:cubicBezTo>
                    <a:pt x="4" y="0"/>
                    <a:pt x="0" y="2"/>
                    <a:pt x="2"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53" name="Freeform 1703">
              <a:extLst>
                <a:ext uri="{FF2B5EF4-FFF2-40B4-BE49-F238E27FC236}">
                  <a16:creationId xmlns:a16="http://schemas.microsoft.com/office/drawing/2014/main" id="{AF3396EB-E055-49A0-A488-511D785B6467}"/>
                </a:ext>
              </a:extLst>
            </p:cNvPr>
            <p:cNvSpPr>
              <a:spLocks/>
            </p:cNvSpPr>
            <p:nvPr/>
          </p:nvSpPr>
          <p:spPr bwMode="auto">
            <a:xfrm>
              <a:off x="1365" y="2807"/>
              <a:ext cx="2" cy="2"/>
            </a:xfrm>
            <a:custGeom>
              <a:avLst/>
              <a:gdLst>
                <a:gd name="T0" fmla="*/ 0 w 1"/>
                <a:gd name="T1" fmla="*/ 1 h 1"/>
                <a:gd name="T2" fmla="*/ 0 w 1"/>
                <a:gd name="T3" fmla="*/ 0 h 1"/>
                <a:gd name="T4" fmla="*/ 0 w 1"/>
                <a:gd name="T5" fmla="*/ 1 h 1"/>
              </a:gdLst>
              <a:ahLst/>
              <a:cxnLst>
                <a:cxn ang="0">
                  <a:pos x="T0" y="T1"/>
                </a:cxn>
                <a:cxn ang="0">
                  <a:pos x="T2" y="T3"/>
                </a:cxn>
                <a:cxn ang="0">
                  <a:pos x="T4" y="T5"/>
                </a:cxn>
              </a:cxnLst>
              <a:rect l="0" t="0" r="r" b="b"/>
              <a:pathLst>
                <a:path w="1" h="1">
                  <a:moveTo>
                    <a:pt x="0" y="1"/>
                  </a:moveTo>
                  <a:cubicBezTo>
                    <a:pt x="0" y="1"/>
                    <a:pt x="1" y="1"/>
                    <a:pt x="0" y="0"/>
                  </a:cubicBezTo>
                  <a:cubicBezTo>
                    <a:pt x="0" y="0"/>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54" name="Freeform 1704">
              <a:extLst>
                <a:ext uri="{FF2B5EF4-FFF2-40B4-BE49-F238E27FC236}">
                  <a16:creationId xmlns:a16="http://schemas.microsoft.com/office/drawing/2014/main" id="{9BA38A7D-21A1-4465-B8A1-CC00EF8965E4}"/>
                </a:ext>
              </a:extLst>
            </p:cNvPr>
            <p:cNvSpPr>
              <a:spLocks/>
            </p:cNvSpPr>
            <p:nvPr/>
          </p:nvSpPr>
          <p:spPr bwMode="auto">
            <a:xfrm>
              <a:off x="1350" y="2781"/>
              <a:ext cx="12" cy="5"/>
            </a:xfrm>
            <a:custGeom>
              <a:avLst/>
              <a:gdLst>
                <a:gd name="T0" fmla="*/ 3 w 5"/>
                <a:gd name="T1" fmla="*/ 0 h 2"/>
                <a:gd name="T2" fmla="*/ 2 w 5"/>
                <a:gd name="T3" fmla="*/ 0 h 2"/>
                <a:gd name="T4" fmla="*/ 5 w 5"/>
                <a:gd name="T5" fmla="*/ 2 h 2"/>
                <a:gd name="T6" fmla="*/ 3 w 5"/>
                <a:gd name="T7" fmla="*/ 0 h 2"/>
              </a:gdLst>
              <a:ahLst/>
              <a:cxnLst>
                <a:cxn ang="0">
                  <a:pos x="T0" y="T1"/>
                </a:cxn>
                <a:cxn ang="0">
                  <a:pos x="T2" y="T3"/>
                </a:cxn>
                <a:cxn ang="0">
                  <a:pos x="T4" y="T5"/>
                </a:cxn>
                <a:cxn ang="0">
                  <a:pos x="T6" y="T7"/>
                </a:cxn>
              </a:cxnLst>
              <a:rect l="0" t="0" r="r" b="b"/>
              <a:pathLst>
                <a:path w="5" h="2">
                  <a:moveTo>
                    <a:pt x="3" y="0"/>
                  </a:moveTo>
                  <a:cubicBezTo>
                    <a:pt x="3" y="0"/>
                    <a:pt x="3" y="0"/>
                    <a:pt x="2" y="0"/>
                  </a:cubicBezTo>
                  <a:cubicBezTo>
                    <a:pt x="0" y="1"/>
                    <a:pt x="5" y="2"/>
                    <a:pt x="5" y="2"/>
                  </a:cubicBezTo>
                  <a:cubicBezTo>
                    <a:pt x="5" y="1"/>
                    <a:pt x="4" y="0"/>
                    <a:pt x="3"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55" name="Freeform 1705">
              <a:extLst>
                <a:ext uri="{FF2B5EF4-FFF2-40B4-BE49-F238E27FC236}">
                  <a16:creationId xmlns:a16="http://schemas.microsoft.com/office/drawing/2014/main" id="{439D6C55-F3CC-4C31-95C0-76B4110F5445}"/>
                </a:ext>
              </a:extLst>
            </p:cNvPr>
            <p:cNvSpPr>
              <a:spLocks/>
            </p:cNvSpPr>
            <p:nvPr/>
          </p:nvSpPr>
          <p:spPr bwMode="auto">
            <a:xfrm>
              <a:off x="1336" y="2774"/>
              <a:ext cx="21" cy="28"/>
            </a:xfrm>
            <a:custGeom>
              <a:avLst/>
              <a:gdLst>
                <a:gd name="T0" fmla="*/ 7 w 9"/>
                <a:gd name="T1" fmla="*/ 8 h 12"/>
                <a:gd name="T2" fmla="*/ 7 w 9"/>
                <a:gd name="T3" fmla="*/ 5 h 12"/>
                <a:gd name="T4" fmla="*/ 5 w 9"/>
                <a:gd name="T5" fmla="*/ 4 h 12"/>
                <a:gd name="T6" fmla="*/ 3 w 9"/>
                <a:gd name="T7" fmla="*/ 0 h 12"/>
                <a:gd name="T8" fmla="*/ 1 w 9"/>
                <a:gd name="T9" fmla="*/ 1 h 12"/>
                <a:gd name="T10" fmla="*/ 0 w 9"/>
                <a:gd name="T11" fmla="*/ 1 h 12"/>
                <a:gd name="T12" fmla="*/ 2 w 9"/>
                <a:gd name="T13" fmla="*/ 2 h 12"/>
                <a:gd name="T14" fmla="*/ 2 w 9"/>
                <a:gd name="T15" fmla="*/ 3 h 12"/>
                <a:gd name="T16" fmla="*/ 4 w 9"/>
                <a:gd name="T17" fmla="*/ 5 h 12"/>
                <a:gd name="T18" fmla="*/ 5 w 9"/>
                <a:gd name="T19" fmla="*/ 8 h 12"/>
                <a:gd name="T20" fmla="*/ 2 w 9"/>
                <a:gd name="T21" fmla="*/ 9 h 12"/>
                <a:gd name="T22" fmla="*/ 5 w 9"/>
                <a:gd name="T23" fmla="*/ 12 h 12"/>
                <a:gd name="T24" fmla="*/ 9 w 9"/>
                <a:gd name="T25" fmla="*/ 9 h 12"/>
                <a:gd name="T26" fmla="*/ 7 w 9"/>
                <a:gd name="T2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2">
                  <a:moveTo>
                    <a:pt x="7" y="8"/>
                  </a:moveTo>
                  <a:cubicBezTo>
                    <a:pt x="7" y="7"/>
                    <a:pt x="7" y="6"/>
                    <a:pt x="7" y="5"/>
                  </a:cubicBezTo>
                  <a:cubicBezTo>
                    <a:pt x="6" y="5"/>
                    <a:pt x="6" y="5"/>
                    <a:pt x="5" y="4"/>
                  </a:cubicBezTo>
                  <a:cubicBezTo>
                    <a:pt x="5" y="3"/>
                    <a:pt x="5" y="0"/>
                    <a:pt x="3" y="0"/>
                  </a:cubicBezTo>
                  <a:cubicBezTo>
                    <a:pt x="2" y="0"/>
                    <a:pt x="2" y="1"/>
                    <a:pt x="1" y="1"/>
                  </a:cubicBezTo>
                  <a:cubicBezTo>
                    <a:pt x="1" y="1"/>
                    <a:pt x="0" y="1"/>
                    <a:pt x="0" y="1"/>
                  </a:cubicBezTo>
                  <a:cubicBezTo>
                    <a:pt x="0" y="2"/>
                    <a:pt x="2" y="1"/>
                    <a:pt x="2" y="2"/>
                  </a:cubicBezTo>
                  <a:cubicBezTo>
                    <a:pt x="2" y="2"/>
                    <a:pt x="2" y="3"/>
                    <a:pt x="2" y="3"/>
                  </a:cubicBezTo>
                  <a:cubicBezTo>
                    <a:pt x="3" y="4"/>
                    <a:pt x="3" y="4"/>
                    <a:pt x="4" y="5"/>
                  </a:cubicBezTo>
                  <a:cubicBezTo>
                    <a:pt x="4" y="6"/>
                    <a:pt x="6" y="7"/>
                    <a:pt x="5" y="8"/>
                  </a:cubicBezTo>
                  <a:cubicBezTo>
                    <a:pt x="5" y="9"/>
                    <a:pt x="3" y="8"/>
                    <a:pt x="2" y="9"/>
                  </a:cubicBezTo>
                  <a:cubicBezTo>
                    <a:pt x="0" y="12"/>
                    <a:pt x="3" y="12"/>
                    <a:pt x="5" y="12"/>
                  </a:cubicBezTo>
                  <a:cubicBezTo>
                    <a:pt x="6" y="11"/>
                    <a:pt x="7" y="10"/>
                    <a:pt x="9" y="9"/>
                  </a:cubicBezTo>
                  <a:cubicBezTo>
                    <a:pt x="8" y="9"/>
                    <a:pt x="8" y="8"/>
                    <a:pt x="7" y="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56" name="Freeform 1706">
              <a:extLst>
                <a:ext uri="{FF2B5EF4-FFF2-40B4-BE49-F238E27FC236}">
                  <a16:creationId xmlns:a16="http://schemas.microsoft.com/office/drawing/2014/main" id="{A542BD8F-0111-47B1-8618-1BCB639C8E4D}"/>
                </a:ext>
              </a:extLst>
            </p:cNvPr>
            <p:cNvSpPr>
              <a:spLocks/>
            </p:cNvSpPr>
            <p:nvPr/>
          </p:nvSpPr>
          <p:spPr bwMode="auto">
            <a:xfrm>
              <a:off x="1360" y="2788"/>
              <a:ext cx="12" cy="7"/>
            </a:xfrm>
            <a:custGeom>
              <a:avLst/>
              <a:gdLst>
                <a:gd name="T0" fmla="*/ 3 w 5"/>
                <a:gd name="T1" fmla="*/ 1 h 3"/>
                <a:gd name="T2" fmla="*/ 4 w 5"/>
                <a:gd name="T3" fmla="*/ 3 h 3"/>
                <a:gd name="T4" fmla="*/ 3 w 5"/>
                <a:gd name="T5" fmla="*/ 1 h 3"/>
              </a:gdLst>
              <a:ahLst/>
              <a:cxnLst>
                <a:cxn ang="0">
                  <a:pos x="T0" y="T1"/>
                </a:cxn>
                <a:cxn ang="0">
                  <a:pos x="T2" y="T3"/>
                </a:cxn>
                <a:cxn ang="0">
                  <a:pos x="T4" y="T5"/>
                </a:cxn>
              </a:cxnLst>
              <a:rect l="0" t="0" r="r" b="b"/>
              <a:pathLst>
                <a:path w="5" h="3">
                  <a:moveTo>
                    <a:pt x="3" y="1"/>
                  </a:moveTo>
                  <a:cubicBezTo>
                    <a:pt x="0" y="1"/>
                    <a:pt x="1" y="3"/>
                    <a:pt x="4" y="3"/>
                  </a:cubicBezTo>
                  <a:cubicBezTo>
                    <a:pt x="5" y="1"/>
                    <a:pt x="4" y="0"/>
                    <a:pt x="3"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57" name="Freeform 1707">
              <a:extLst>
                <a:ext uri="{FF2B5EF4-FFF2-40B4-BE49-F238E27FC236}">
                  <a16:creationId xmlns:a16="http://schemas.microsoft.com/office/drawing/2014/main" id="{5B26BDC0-0449-4D9A-A082-649F276DA20E}"/>
                </a:ext>
              </a:extLst>
            </p:cNvPr>
            <p:cNvSpPr>
              <a:spLocks/>
            </p:cNvSpPr>
            <p:nvPr/>
          </p:nvSpPr>
          <p:spPr bwMode="auto">
            <a:xfrm>
              <a:off x="1887" y="2334"/>
              <a:ext cx="7" cy="0"/>
            </a:xfrm>
            <a:custGeom>
              <a:avLst/>
              <a:gdLst>
                <a:gd name="T0" fmla="*/ 3 w 3"/>
                <a:gd name="T1" fmla="*/ 2 w 3"/>
                <a:gd name="T2" fmla="*/ 3 w 3"/>
                <a:gd name="T3" fmla="*/ 2 w 3"/>
                <a:gd name="T4" fmla="*/ 2 w 3"/>
                <a:gd name="T5" fmla="*/ 2 w 3"/>
                <a:gd name="T6" fmla="*/ 0 w 3"/>
                <a:gd name="T7" fmla="*/ 2 w 3"/>
                <a:gd name="T8" fmla="*/ 3 w 3"/>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3">
                  <a:moveTo>
                    <a:pt x="3" y="0"/>
                  </a:moveTo>
                  <a:cubicBezTo>
                    <a:pt x="3" y="0"/>
                    <a:pt x="2" y="0"/>
                    <a:pt x="2" y="0"/>
                  </a:cubicBezTo>
                  <a:cubicBezTo>
                    <a:pt x="2" y="0"/>
                    <a:pt x="3" y="0"/>
                    <a:pt x="3" y="0"/>
                  </a:cubicBezTo>
                  <a:cubicBezTo>
                    <a:pt x="2" y="0"/>
                    <a:pt x="2" y="0"/>
                    <a:pt x="2" y="0"/>
                  </a:cubicBezTo>
                  <a:cubicBezTo>
                    <a:pt x="2" y="0"/>
                    <a:pt x="2" y="0"/>
                    <a:pt x="2" y="0"/>
                  </a:cubicBezTo>
                  <a:cubicBezTo>
                    <a:pt x="2" y="0"/>
                    <a:pt x="2" y="0"/>
                    <a:pt x="2" y="0"/>
                  </a:cubicBezTo>
                  <a:cubicBezTo>
                    <a:pt x="1" y="0"/>
                    <a:pt x="1" y="0"/>
                    <a:pt x="0" y="0"/>
                  </a:cubicBezTo>
                  <a:cubicBezTo>
                    <a:pt x="1" y="0"/>
                    <a:pt x="2" y="0"/>
                    <a:pt x="2" y="0"/>
                  </a:cubicBezTo>
                  <a:cubicBezTo>
                    <a:pt x="2" y="0"/>
                    <a:pt x="2" y="0"/>
                    <a:pt x="3"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58" name="Freeform 1708">
              <a:extLst>
                <a:ext uri="{FF2B5EF4-FFF2-40B4-BE49-F238E27FC236}">
                  <a16:creationId xmlns:a16="http://schemas.microsoft.com/office/drawing/2014/main" id="{7FD16E93-5932-45B7-8AAE-163C7620B55A}"/>
                </a:ext>
              </a:extLst>
            </p:cNvPr>
            <p:cNvSpPr>
              <a:spLocks/>
            </p:cNvSpPr>
            <p:nvPr/>
          </p:nvSpPr>
          <p:spPr bwMode="auto">
            <a:xfrm>
              <a:off x="2064" y="2395"/>
              <a:ext cx="7" cy="12"/>
            </a:xfrm>
            <a:custGeom>
              <a:avLst/>
              <a:gdLst>
                <a:gd name="T0" fmla="*/ 0 w 3"/>
                <a:gd name="T1" fmla="*/ 0 h 5"/>
                <a:gd name="T2" fmla="*/ 1 w 3"/>
                <a:gd name="T3" fmla="*/ 5 h 5"/>
                <a:gd name="T4" fmla="*/ 0 w 3"/>
                <a:gd name="T5" fmla="*/ 0 h 5"/>
              </a:gdLst>
              <a:ahLst/>
              <a:cxnLst>
                <a:cxn ang="0">
                  <a:pos x="T0" y="T1"/>
                </a:cxn>
                <a:cxn ang="0">
                  <a:pos x="T2" y="T3"/>
                </a:cxn>
                <a:cxn ang="0">
                  <a:pos x="T4" y="T5"/>
                </a:cxn>
              </a:cxnLst>
              <a:rect l="0" t="0" r="r" b="b"/>
              <a:pathLst>
                <a:path w="3" h="5">
                  <a:moveTo>
                    <a:pt x="0" y="0"/>
                  </a:moveTo>
                  <a:cubicBezTo>
                    <a:pt x="0" y="2"/>
                    <a:pt x="0" y="4"/>
                    <a:pt x="1" y="5"/>
                  </a:cubicBezTo>
                  <a:cubicBezTo>
                    <a:pt x="3" y="3"/>
                    <a:pt x="2" y="2"/>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59" name="Freeform 1709">
              <a:extLst>
                <a:ext uri="{FF2B5EF4-FFF2-40B4-BE49-F238E27FC236}">
                  <a16:creationId xmlns:a16="http://schemas.microsoft.com/office/drawing/2014/main" id="{4051E69E-2D6C-4567-8556-970D7812C94E}"/>
                </a:ext>
              </a:extLst>
            </p:cNvPr>
            <p:cNvSpPr>
              <a:spLocks/>
            </p:cNvSpPr>
            <p:nvPr/>
          </p:nvSpPr>
          <p:spPr bwMode="auto">
            <a:xfrm>
              <a:off x="1674" y="2239"/>
              <a:ext cx="3" cy="3"/>
            </a:xfrm>
            <a:custGeom>
              <a:avLst/>
              <a:gdLst>
                <a:gd name="T0" fmla="*/ 1 w 1"/>
                <a:gd name="T1" fmla="*/ 0 h 1"/>
                <a:gd name="T2" fmla="*/ 0 w 1"/>
                <a:gd name="T3" fmla="*/ 0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1" y="0"/>
                    <a:pt x="0" y="0"/>
                  </a:cubicBezTo>
                  <a:cubicBezTo>
                    <a:pt x="1" y="1"/>
                    <a:pt x="1" y="1"/>
                    <a:pt x="1" y="1"/>
                  </a:cubicBezTo>
                  <a:cubicBezTo>
                    <a:pt x="1" y="1"/>
                    <a:pt x="1" y="1"/>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60" name="Freeform 1710">
              <a:extLst>
                <a:ext uri="{FF2B5EF4-FFF2-40B4-BE49-F238E27FC236}">
                  <a16:creationId xmlns:a16="http://schemas.microsoft.com/office/drawing/2014/main" id="{D41C56D8-AAC3-40E7-B005-73AB62F01338}"/>
                </a:ext>
              </a:extLst>
            </p:cNvPr>
            <p:cNvSpPr>
              <a:spLocks/>
            </p:cNvSpPr>
            <p:nvPr/>
          </p:nvSpPr>
          <p:spPr bwMode="auto">
            <a:xfrm>
              <a:off x="1648" y="2220"/>
              <a:ext cx="10" cy="7"/>
            </a:xfrm>
            <a:custGeom>
              <a:avLst/>
              <a:gdLst>
                <a:gd name="T0" fmla="*/ 2 w 4"/>
                <a:gd name="T1" fmla="*/ 1 h 3"/>
                <a:gd name="T2" fmla="*/ 0 w 4"/>
                <a:gd name="T3" fmla="*/ 1 h 3"/>
                <a:gd name="T4" fmla="*/ 4 w 4"/>
                <a:gd name="T5" fmla="*/ 3 h 3"/>
                <a:gd name="T6" fmla="*/ 2 w 4"/>
                <a:gd name="T7" fmla="*/ 1 h 3"/>
              </a:gdLst>
              <a:ahLst/>
              <a:cxnLst>
                <a:cxn ang="0">
                  <a:pos x="T0" y="T1"/>
                </a:cxn>
                <a:cxn ang="0">
                  <a:pos x="T2" y="T3"/>
                </a:cxn>
                <a:cxn ang="0">
                  <a:pos x="T4" y="T5"/>
                </a:cxn>
                <a:cxn ang="0">
                  <a:pos x="T6" y="T7"/>
                </a:cxn>
              </a:cxnLst>
              <a:rect l="0" t="0" r="r" b="b"/>
              <a:pathLst>
                <a:path w="4" h="3">
                  <a:moveTo>
                    <a:pt x="2" y="1"/>
                  </a:moveTo>
                  <a:cubicBezTo>
                    <a:pt x="1" y="1"/>
                    <a:pt x="1" y="1"/>
                    <a:pt x="0" y="1"/>
                  </a:cubicBezTo>
                  <a:cubicBezTo>
                    <a:pt x="1" y="2"/>
                    <a:pt x="3" y="2"/>
                    <a:pt x="4" y="3"/>
                  </a:cubicBezTo>
                  <a:cubicBezTo>
                    <a:pt x="4" y="0"/>
                    <a:pt x="3" y="2"/>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61" name="Freeform 1711">
              <a:extLst>
                <a:ext uri="{FF2B5EF4-FFF2-40B4-BE49-F238E27FC236}">
                  <a16:creationId xmlns:a16="http://schemas.microsoft.com/office/drawing/2014/main" id="{41ECC258-A374-4CAA-9DF6-E708714F679C}"/>
                </a:ext>
              </a:extLst>
            </p:cNvPr>
            <p:cNvSpPr>
              <a:spLocks/>
            </p:cNvSpPr>
            <p:nvPr/>
          </p:nvSpPr>
          <p:spPr bwMode="auto">
            <a:xfrm>
              <a:off x="1582" y="2303"/>
              <a:ext cx="9" cy="5"/>
            </a:xfrm>
            <a:custGeom>
              <a:avLst/>
              <a:gdLst>
                <a:gd name="T0" fmla="*/ 2 w 4"/>
                <a:gd name="T1" fmla="*/ 1 h 2"/>
                <a:gd name="T2" fmla="*/ 4 w 4"/>
                <a:gd name="T3" fmla="*/ 0 h 2"/>
                <a:gd name="T4" fmla="*/ 0 w 4"/>
                <a:gd name="T5" fmla="*/ 0 h 2"/>
                <a:gd name="T6" fmla="*/ 2 w 4"/>
                <a:gd name="T7" fmla="*/ 1 h 2"/>
              </a:gdLst>
              <a:ahLst/>
              <a:cxnLst>
                <a:cxn ang="0">
                  <a:pos x="T0" y="T1"/>
                </a:cxn>
                <a:cxn ang="0">
                  <a:pos x="T2" y="T3"/>
                </a:cxn>
                <a:cxn ang="0">
                  <a:pos x="T4" y="T5"/>
                </a:cxn>
                <a:cxn ang="0">
                  <a:pos x="T6" y="T7"/>
                </a:cxn>
              </a:cxnLst>
              <a:rect l="0" t="0" r="r" b="b"/>
              <a:pathLst>
                <a:path w="4" h="2">
                  <a:moveTo>
                    <a:pt x="2" y="1"/>
                  </a:moveTo>
                  <a:cubicBezTo>
                    <a:pt x="2" y="1"/>
                    <a:pt x="3" y="1"/>
                    <a:pt x="4" y="0"/>
                  </a:cubicBezTo>
                  <a:cubicBezTo>
                    <a:pt x="2" y="0"/>
                    <a:pt x="1" y="0"/>
                    <a:pt x="0" y="0"/>
                  </a:cubicBezTo>
                  <a:cubicBezTo>
                    <a:pt x="1" y="0"/>
                    <a:pt x="0" y="2"/>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62" name="Freeform 1712">
              <a:extLst>
                <a:ext uri="{FF2B5EF4-FFF2-40B4-BE49-F238E27FC236}">
                  <a16:creationId xmlns:a16="http://schemas.microsoft.com/office/drawing/2014/main" id="{CFADBAFE-087D-449F-AAB8-DAD3C2604734}"/>
                </a:ext>
              </a:extLst>
            </p:cNvPr>
            <p:cNvSpPr>
              <a:spLocks/>
            </p:cNvSpPr>
            <p:nvPr/>
          </p:nvSpPr>
          <p:spPr bwMode="auto">
            <a:xfrm>
              <a:off x="1497" y="2206"/>
              <a:ext cx="262" cy="88"/>
            </a:xfrm>
            <a:custGeom>
              <a:avLst/>
              <a:gdLst>
                <a:gd name="T0" fmla="*/ 100 w 111"/>
                <a:gd name="T1" fmla="*/ 36 h 37"/>
                <a:gd name="T2" fmla="*/ 105 w 111"/>
                <a:gd name="T3" fmla="*/ 34 h 37"/>
                <a:gd name="T4" fmla="*/ 111 w 111"/>
                <a:gd name="T5" fmla="*/ 32 h 37"/>
                <a:gd name="T6" fmla="*/ 100 w 111"/>
                <a:gd name="T7" fmla="*/ 27 h 37"/>
                <a:gd name="T8" fmla="*/ 93 w 111"/>
                <a:gd name="T9" fmla="*/ 22 h 37"/>
                <a:gd name="T10" fmla="*/ 85 w 111"/>
                <a:gd name="T11" fmla="*/ 20 h 37"/>
                <a:gd name="T12" fmla="*/ 80 w 111"/>
                <a:gd name="T13" fmla="*/ 17 h 37"/>
                <a:gd name="T14" fmla="*/ 77 w 111"/>
                <a:gd name="T15" fmla="*/ 17 h 37"/>
                <a:gd name="T16" fmla="*/ 66 w 111"/>
                <a:gd name="T17" fmla="*/ 10 h 37"/>
                <a:gd name="T18" fmla="*/ 54 w 111"/>
                <a:gd name="T19" fmla="*/ 5 h 37"/>
                <a:gd name="T20" fmla="*/ 45 w 111"/>
                <a:gd name="T21" fmla="*/ 2 h 37"/>
                <a:gd name="T22" fmla="*/ 39 w 111"/>
                <a:gd name="T23" fmla="*/ 1 h 37"/>
                <a:gd name="T24" fmla="*/ 29 w 111"/>
                <a:gd name="T25" fmla="*/ 0 h 37"/>
                <a:gd name="T26" fmla="*/ 12 w 111"/>
                <a:gd name="T27" fmla="*/ 5 h 37"/>
                <a:gd name="T28" fmla="*/ 7 w 111"/>
                <a:gd name="T29" fmla="*/ 13 h 37"/>
                <a:gd name="T30" fmla="*/ 2 w 111"/>
                <a:gd name="T31" fmla="*/ 14 h 37"/>
                <a:gd name="T32" fmla="*/ 4 w 111"/>
                <a:gd name="T33" fmla="*/ 15 h 37"/>
                <a:gd name="T34" fmla="*/ 8 w 111"/>
                <a:gd name="T35" fmla="*/ 14 h 37"/>
                <a:gd name="T36" fmla="*/ 11 w 111"/>
                <a:gd name="T37" fmla="*/ 11 h 37"/>
                <a:gd name="T38" fmla="*/ 17 w 111"/>
                <a:gd name="T39" fmla="*/ 10 h 37"/>
                <a:gd name="T40" fmla="*/ 24 w 111"/>
                <a:gd name="T41" fmla="*/ 6 h 37"/>
                <a:gd name="T42" fmla="*/ 32 w 111"/>
                <a:gd name="T43" fmla="*/ 6 h 37"/>
                <a:gd name="T44" fmla="*/ 31 w 111"/>
                <a:gd name="T45" fmla="*/ 8 h 37"/>
                <a:gd name="T46" fmla="*/ 32 w 111"/>
                <a:gd name="T47" fmla="*/ 11 h 37"/>
                <a:gd name="T48" fmla="*/ 41 w 111"/>
                <a:gd name="T49" fmla="*/ 12 h 37"/>
                <a:gd name="T50" fmla="*/ 50 w 111"/>
                <a:gd name="T51" fmla="*/ 15 h 37"/>
                <a:gd name="T52" fmla="*/ 64 w 111"/>
                <a:gd name="T53" fmla="*/ 18 h 37"/>
                <a:gd name="T54" fmla="*/ 66 w 111"/>
                <a:gd name="T55" fmla="*/ 23 h 37"/>
                <a:gd name="T56" fmla="*/ 76 w 111"/>
                <a:gd name="T57" fmla="*/ 27 h 37"/>
                <a:gd name="T58" fmla="*/ 79 w 111"/>
                <a:gd name="T59" fmla="*/ 28 h 37"/>
                <a:gd name="T60" fmla="*/ 75 w 111"/>
                <a:gd name="T61" fmla="*/ 34 h 37"/>
                <a:gd name="T62" fmla="*/ 88 w 111"/>
                <a:gd name="T63" fmla="*/ 3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1" h="37">
                  <a:moveTo>
                    <a:pt x="96" y="35"/>
                  </a:moveTo>
                  <a:cubicBezTo>
                    <a:pt x="97" y="36"/>
                    <a:pt x="99" y="36"/>
                    <a:pt x="100" y="36"/>
                  </a:cubicBezTo>
                  <a:cubicBezTo>
                    <a:pt x="100" y="35"/>
                    <a:pt x="101" y="34"/>
                    <a:pt x="101" y="36"/>
                  </a:cubicBezTo>
                  <a:cubicBezTo>
                    <a:pt x="102" y="35"/>
                    <a:pt x="104" y="34"/>
                    <a:pt x="105" y="34"/>
                  </a:cubicBezTo>
                  <a:cubicBezTo>
                    <a:pt x="106" y="34"/>
                    <a:pt x="108" y="34"/>
                    <a:pt x="109" y="34"/>
                  </a:cubicBezTo>
                  <a:cubicBezTo>
                    <a:pt x="109" y="34"/>
                    <a:pt x="111" y="33"/>
                    <a:pt x="111" y="32"/>
                  </a:cubicBezTo>
                  <a:cubicBezTo>
                    <a:pt x="109" y="31"/>
                    <a:pt x="106" y="29"/>
                    <a:pt x="104" y="28"/>
                  </a:cubicBezTo>
                  <a:cubicBezTo>
                    <a:pt x="102" y="27"/>
                    <a:pt x="101" y="27"/>
                    <a:pt x="100" y="27"/>
                  </a:cubicBezTo>
                  <a:cubicBezTo>
                    <a:pt x="97" y="27"/>
                    <a:pt x="97" y="27"/>
                    <a:pt x="96" y="25"/>
                  </a:cubicBezTo>
                  <a:cubicBezTo>
                    <a:pt x="96" y="23"/>
                    <a:pt x="95" y="22"/>
                    <a:pt x="93" y="22"/>
                  </a:cubicBezTo>
                  <a:cubicBezTo>
                    <a:pt x="91" y="23"/>
                    <a:pt x="90" y="23"/>
                    <a:pt x="89" y="21"/>
                  </a:cubicBezTo>
                  <a:cubicBezTo>
                    <a:pt x="88" y="21"/>
                    <a:pt x="86" y="21"/>
                    <a:pt x="85" y="20"/>
                  </a:cubicBezTo>
                  <a:cubicBezTo>
                    <a:pt x="84" y="20"/>
                    <a:pt x="82" y="19"/>
                    <a:pt x="82" y="19"/>
                  </a:cubicBezTo>
                  <a:cubicBezTo>
                    <a:pt x="81" y="18"/>
                    <a:pt x="80" y="17"/>
                    <a:pt x="80" y="17"/>
                  </a:cubicBezTo>
                  <a:cubicBezTo>
                    <a:pt x="79" y="16"/>
                    <a:pt x="79" y="16"/>
                    <a:pt x="78" y="16"/>
                  </a:cubicBezTo>
                  <a:cubicBezTo>
                    <a:pt x="77" y="15"/>
                    <a:pt x="77" y="15"/>
                    <a:pt x="77" y="17"/>
                  </a:cubicBezTo>
                  <a:cubicBezTo>
                    <a:pt x="75" y="16"/>
                    <a:pt x="74" y="15"/>
                    <a:pt x="71" y="13"/>
                  </a:cubicBezTo>
                  <a:cubicBezTo>
                    <a:pt x="70" y="12"/>
                    <a:pt x="68" y="11"/>
                    <a:pt x="66" y="10"/>
                  </a:cubicBezTo>
                  <a:cubicBezTo>
                    <a:pt x="64" y="10"/>
                    <a:pt x="62" y="9"/>
                    <a:pt x="60" y="9"/>
                  </a:cubicBezTo>
                  <a:cubicBezTo>
                    <a:pt x="57" y="8"/>
                    <a:pt x="56" y="8"/>
                    <a:pt x="54" y="5"/>
                  </a:cubicBezTo>
                  <a:cubicBezTo>
                    <a:pt x="53" y="4"/>
                    <a:pt x="50" y="4"/>
                    <a:pt x="48" y="3"/>
                  </a:cubicBezTo>
                  <a:cubicBezTo>
                    <a:pt x="47" y="3"/>
                    <a:pt x="46" y="2"/>
                    <a:pt x="45" y="2"/>
                  </a:cubicBezTo>
                  <a:cubicBezTo>
                    <a:pt x="44" y="1"/>
                    <a:pt x="43" y="2"/>
                    <a:pt x="42" y="2"/>
                  </a:cubicBezTo>
                  <a:cubicBezTo>
                    <a:pt x="41" y="2"/>
                    <a:pt x="40" y="2"/>
                    <a:pt x="39" y="1"/>
                  </a:cubicBezTo>
                  <a:cubicBezTo>
                    <a:pt x="38" y="1"/>
                    <a:pt x="37" y="1"/>
                    <a:pt x="36" y="1"/>
                  </a:cubicBezTo>
                  <a:cubicBezTo>
                    <a:pt x="34" y="1"/>
                    <a:pt x="32" y="1"/>
                    <a:pt x="29" y="0"/>
                  </a:cubicBezTo>
                  <a:cubicBezTo>
                    <a:pt x="26" y="1"/>
                    <a:pt x="24" y="2"/>
                    <a:pt x="21" y="3"/>
                  </a:cubicBezTo>
                  <a:cubicBezTo>
                    <a:pt x="18" y="3"/>
                    <a:pt x="15" y="4"/>
                    <a:pt x="12" y="5"/>
                  </a:cubicBezTo>
                  <a:cubicBezTo>
                    <a:pt x="10" y="5"/>
                    <a:pt x="8" y="7"/>
                    <a:pt x="6" y="9"/>
                  </a:cubicBezTo>
                  <a:cubicBezTo>
                    <a:pt x="6" y="10"/>
                    <a:pt x="6" y="11"/>
                    <a:pt x="7" y="13"/>
                  </a:cubicBezTo>
                  <a:cubicBezTo>
                    <a:pt x="6" y="13"/>
                    <a:pt x="5" y="13"/>
                    <a:pt x="4" y="13"/>
                  </a:cubicBezTo>
                  <a:cubicBezTo>
                    <a:pt x="3" y="13"/>
                    <a:pt x="2" y="14"/>
                    <a:pt x="2" y="14"/>
                  </a:cubicBezTo>
                  <a:cubicBezTo>
                    <a:pt x="1" y="14"/>
                    <a:pt x="0" y="14"/>
                    <a:pt x="1" y="15"/>
                  </a:cubicBezTo>
                  <a:cubicBezTo>
                    <a:pt x="1" y="15"/>
                    <a:pt x="3" y="15"/>
                    <a:pt x="4" y="15"/>
                  </a:cubicBezTo>
                  <a:cubicBezTo>
                    <a:pt x="4" y="15"/>
                    <a:pt x="5" y="15"/>
                    <a:pt x="5" y="15"/>
                  </a:cubicBezTo>
                  <a:cubicBezTo>
                    <a:pt x="6" y="15"/>
                    <a:pt x="7" y="15"/>
                    <a:pt x="8" y="14"/>
                  </a:cubicBezTo>
                  <a:cubicBezTo>
                    <a:pt x="9" y="14"/>
                    <a:pt x="9" y="14"/>
                    <a:pt x="10" y="14"/>
                  </a:cubicBezTo>
                  <a:cubicBezTo>
                    <a:pt x="10" y="13"/>
                    <a:pt x="10" y="12"/>
                    <a:pt x="11" y="11"/>
                  </a:cubicBezTo>
                  <a:cubicBezTo>
                    <a:pt x="12" y="11"/>
                    <a:pt x="13" y="11"/>
                    <a:pt x="14" y="11"/>
                  </a:cubicBezTo>
                  <a:cubicBezTo>
                    <a:pt x="16" y="11"/>
                    <a:pt x="15" y="11"/>
                    <a:pt x="17" y="10"/>
                  </a:cubicBezTo>
                  <a:cubicBezTo>
                    <a:pt x="18" y="9"/>
                    <a:pt x="19" y="8"/>
                    <a:pt x="20" y="7"/>
                  </a:cubicBezTo>
                  <a:cubicBezTo>
                    <a:pt x="21" y="7"/>
                    <a:pt x="23" y="6"/>
                    <a:pt x="24" y="6"/>
                  </a:cubicBezTo>
                  <a:cubicBezTo>
                    <a:pt x="25" y="6"/>
                    <a:pt x="27" y="6"/>
                    <a:pt x="28" y="6"/>
                  </a:cubicBezTo>
                  <a:cubicBezTo>
                    <a:pt x="29" y="6"/>
                    <a:pt x="31" y="5"/>
                    <a:pt x="32" y="6"/>
                  </a:cubicBezTo>
                  <a:cubicBezTo>
                    <a:pt x="33" y="7"/>
                    <a:pt x="35" y="8"/>
                    <a:pt x="33" y="8"/>
                  </a:cubicBezTo>
                  <a:cubicBezTo>
                    <a:pt x="32" y="8"/>
                    <a:pt x="32" y="8"/>
                    <a:pt x="31" y="8"/>
                  </a:cubicBezTo>
                  <a:cubicBezTo>
                    <a:pt x="31" y="8"/>
                    <a:pt x="29" y="8"/>
                    <a:pt x="29" y="9"/>
                  </a:cubicBezTo>
                  <a:cubicBezTo>
                    <a:pt x="29" y="10"/>
                    <a:pt x="32" y="11"/>
                    <a:pt x="32" y="11"/>
                  </a:cubicBezTo>
                  <a:cubicBezTo>
                    <a:pt x="33" y="11"/>
                    <a:pt x="38" y="11"/>
                    <a:pt x="38" y="10"/>
                  </a:cubicBezTo>
                  <a:cubicBezTo>
                    <a:pt x="39" y="11"/>
                    <a:pt x="39" y="12"/>
                    <a:pt x="41" y="12"/>
                  </a:cubicBezTo>
                  <a:cubicBezTo>
                    <a:pt x="43" y="12"/>
                    <a:pt x="45" y="12"/>
                    <a:pt x="46" y="13"/>
                  </a:cubicBezTo>
                  <a:cubicBezTo>
                    <a:pt x="48" y="13"/>
                    <a:pt x="49" y="15"/>
                    <a:pt x="50" y="15"/>
                  </a:cubicBezTo>
                  <a:cubicBezTo>
                    <a:pt x="53" y="16"/>
                    <a:pt x="56" y="17"/>
                    <a:pt x="59" y="17"/>
                  </a:cubicBezTo>
                  <a:cubicBezTo>
                    <a:pt x="61" y="17"/>
                    <a:pt x="62" y="17"/>
                    <a:pt x="64" y="18"/>
                  </a:cubicBezTo>
                  <a:cubicBezTo>
                    <a:pt x="65" y="18"/>
                    <a:pt x="65" y="20"/>
                    <a:pt x="66" y="21"/>
                  </a:cubicBezTo>
                  <a:cubicBezTo>
                    <a:pt x="66" y="21"/>
                    <a:pt x="66" y="23"/>
                    <a:pt x="66" y="23"/>
                  </a:cubicBezTo>
                  <a:cubicBezTo>
                    <a:pt x="66" y="24"/>
                    <a:pt x="67" y="24"/>
                    <a:pt x="68" y="24"/>
                  </a:cubicBezTo>
                  <a:cubicBezTo>
                    <a:pt x="70" y="26"/>
                    <a:pt x="73" y="27"/>
                    <a:pt x="76" y="27"/>
                  </a:cubicBezTo>
                  <a:cubicBezTo>
                    <a:pt x="77" y="27"/>
                    <a:pt x="77" y="27"/>
                    <a:pt x="78" y="27"/>
                  </a:cubicBezTo>
                  <a:cubicBezTo>
                    <a:pt x="78" y="27"/>
                    <a:pt x="79" y="28"/>
                    <a:pt x="79" y="28"/>
                  </a:cubicBezTo>
                  <a:cubicBezTo>
                    <a:pt x="81" y="30"/>
                    <a:pt x="81" y="30"/>
                    <a:pt x="79" y="31"/>
                  </a:cubicBezTo>
                  <a:cubicBezTo>
                    <a:pt x="78" y="32"/>
                    <a:pt x="76" y="33"/>
                    <a:pt x="75" y="34"/>
                  </a:cubicBezTo>
                  <a:cubicBezTo>
                    <a:pt x="75" y="35"/>
                    <a:pt x="74" y="35"/>
                    <a:pt x="74" y="36"/>
                  </a:cubicBezTo>
                  <a:cubicBezTo>
                    <a:pt x="78" y="37"/>
                    <a:pt x="84" y="35"/>
                    <a:pt x="88" y="35"/>
                  </a:cubicBezTo>
                  <a:cubicBezTo>
                    <a:pt x="91" y="35"/>
                    <a:pt x="93" y="35"/>
                    <a:pt x="96" y="3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63" name="Freeform 1713">
              <a:extLst>
                <a:ext uri="{FF2B5EF4-FFF2-40B4-BE49-F238E27FC236}">
                  <a16:creationId xmlns:a16="http://schemas.microsoft.com/office/drawing/2014/main" id="{2768655D-8A56-4159-BDD4-6B230F9BC39F}"/>
                </a:ext>
              </a:extLst>
            </p:cNvPr>
            <p:cNvSpPr>
              <a:spLocks/>
            </p:cNvSpPr>
            <p:nvPr/>
          </p:nvSpPr>
          <p:spPr bwMode="auto">
            <a:xfrm>
              <a:off x="1629" y="2218"/>
              <a:ext cx="0" cy="2"/>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64" name="Freeform 1714">
              <a:extLst>
                <a:ext uri="{FF2B5EF4-FFF2-40B4-BE49-F238E27FC236}">
                  <a16:creationId xmlns:a16="http://schemas.microsoft.com/office/drawing/2014/main" id="{B9C9C4F2-E7AD-44F9-BF4A-79AAC700C89C}"/>
                </a:ext>
              </a:extLst>
            </p:cNvPr>
            <p:cNvSpPr>
              <a:spLocks/>
            </p:cNvSpPr>
            <p:nvPr/>
          </p:nvSpPr>
          <p:spPr bwMode="auto">
            <a:xfrm>
              <a:off x="1627" y="2216"/>
              <a:ext cx="0" cy="2"/>
            </a:xfrm>
            <a:custGeom>
              <a:avLst/>
              <a:gdLst>
                <a:gd name="T0" fmla="*/ 1 h 1"/>
                <a:gd name="T1" fmla="*/ 1 h 1"/>
                <a:gd name="T2" fmla="*/ 1 h 1"/>
              </a:gdLst>
              <a:ahLst/>
              <a:cxnLst>
                <a:cxn ang="0">
                  <a:pos x="0" y="T0"/>
                </a:cxn>
                <a:cxn ang="0">
                  <a:pos x="0" y="T1"/>
                </a:cxn>
                <a:cxn ang="0">
                  <a:pos x="0" y="T2"/>
                </a:cxn>
              </a:cxnLst>
              <a:rect l="0" t="0" r="r" b="b"/>
              <a:pathLst>
                <a:path h="1">
                  <a:moveTo>
                    <a:pt x="0" y="1"/>
                  </a:moveTo>
                  <a:cubicBezTo>
                    <a:pt x="0" y="1"/>
                    <a:pt x="0" y="1"/>
                    <a:pt x="0" y="1"/>
                  </a:cubicBezTo>
                  <a:cubicBezTo>
                    <a:pt x="0" y="1"/>
                    <a:pt x="0"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65" name="Freeform 1715">
              <a:extLst>
                <a:ext uri="{FF2B5EF4-FFF2-40B4-BE49-F238E27FC236}">
                  <a16:creationId xmlns:a16="http://schemas.microsoft.com/office/drawing/2014/main" id="{B210E6E1-7D40-4582-BE68-1901F8BF98A5}"/>
                </a:ext>
              </a:extLst>
            </p:cNvPr>
            <p:cNvSpPr>
              <a:spLocks/>
            </p:cNvSpPr>
            <p:nvPr/>
          </p:nvSpPr>
          <p:spPr bwMode="auto">
            <a:xfrm>
              <a:off x="1629" y="2220"/>
              <a:ext cx="5" cy="0"/>
            </a:xfrm>
            <a:custGeom>
              <a:avLst/>
              <a:gdLst>
                <a:gd name="T0" fmla="*/ 0 w 2"/>
                <a:gd name="T1" fmla="*/ 2 w 2"/>
                <a:gd name="T2" fmla="*/ 0 w 2"/>
              </a:gdLst>
              <a:ahLst/>
              <a:cxnLst>
                <a:cxn ang="0">
                  <a:pos x="T0" y="0"/>
                </a:cxn>
                <a:cxn ang="0">
                  <a:pos x="T1" y="0"/>
                </a:cxn>
                <a:cxn ang="0">
                  <a:pos x="T2" y="0"/>
                </a:cxn>
              </a:cxnLst>
              <a:rect l="0" t="0" r="r" b="b"/>
              <a:pathLst>
                <a:path w="2">
                  <a:moveTo>
                    <a:pt x="0" y="0"/>
                  </a:moveTo>
                  <a:cubicBezTo>
                    <a:pt x="1" y="0"/>
                    <a:pt x="1" y="0"/>
                    <a:pt x="2" y="0"/>
                  </a:cubicBezTo>
                  <a:cubicBezTo>
                    <a:pt x="1" y="0"/>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66" name="Freeform 1716">
              <a:extLst>
                <a:ext uri="{FF2B5EF4-FFF2-40B4-BE49-F238E27FC236}">
                  <a16:creationId xmlns:a16="http://schemas.microsoft.com/office/drawing/2014/main" id="{4E1CF683-8B69-4157-97DF-0BA0460EE98F}"/>
                </a:ext>
              </a:extLst>
            </p:cNvPr>
            <p:cNvSpPr>
              <a:spLocks/>
            </p:cNvSpPr>
            <p:nvPr/>
          </p:nvSpPr>
          <p:spPr bwMode="auto">
            <a:xfrm>
              <a:off x="1660" y="2230"/>
              <a:ext cx="14" cy="9"/>
            </a:xfrm>
            <a:custGeom>
              <a:avLst/>
              <a:gdLst>
                <a:gd name="T0" fmla="*/ 5 w 6"/>
                <a:gd name="T1" fmla="*/ 4 h 4"/>
                <a:gd name="T2" fmla="*/ 6 w 6"/>
                <a:gd name="T3" fmla="*/ 3 h 4"/>
                <a:gd name="T4" fmla="*/ 5 w 6"/>
                <a:gd name="T5" fmla="*/ 2 h 4"/>
                <a:gd name="T6" fmla="*/ 4 w 6"/>
                <a:gd name="T7" fmla="*/ 3 h 4"/>
                <a:gd name="T8" fmla="*/ 4 w 6"/>
                <a:gd name="T9" fmla="*/ 2 h 4"/>
                <a:gd name="T10" fmla="*/ 3 w 6"/>
                <a:gd name="T11" fmla="*/ 1 h 4"/>
                <a:gd name="T12" fmla="*/ 3 w 6"/>
                <a:gd name="T13" fmla="*/ 1 h 4"/>
                <a:gd name="T14" fmla="*/ 3 w 6"/>
                <a:gd name="T15" fmla="*/ 0 h 4"/>
                <a:gd name="T16" fmla="*/ 2 w 6"/>
                <a:gd name="T17" fmla="*/ 0 h 4"/>
                <a:gd name="T18" fmla="*/ 5 w 6"/>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5" y="4"/>
                  </a:moveTo>
                  <a:cubicBezTo>
                    <a:pt x="6" y="4"/>
                    <a:pt x="6" y="3"/>
                    <a:pt x="6" y="3"/>
                  </a:cubicBezTo>
                  <a:cubicBezTo>
                    <a:pt x="6" y="3"/>
                    <a:pt x="5" y="2"/>
                    <a:pt x="5" y="2"/>
                  </a:cubicBezTo>
                  <a:cubicBezTo>
                    <a:pt x="5" y="2"/>
                    <a:pt x="4" y="2"/>
                    <a:pt x="4" y="3"/>
                  </a:cubicBezTo>
                  <a:cubicBezTo>
                    <a:pt x="4" y="2"/>
                    <a:pt x="4" y="2"/>
                    <a:pt x="4" y="2"/>
                  </a:cubicBezTo>
                  <a:cubicBezTo>
                    <a:pt x="4" y="1"/>
                    <a:pt x="3" y="2"/>
                    <a:pt x="3" y="1"/>
                  </a:cubicBezTo>
                  <a:cubicBezTo>
                    <a:pt x="3" y="1"/>
                    <a:pt x="3" y="1"/>
                    <a:pt x="3" y="1"/>
                  </a:cubicBezTo>
                  <a:cubicBezTo>
                    <a:pt x="3" y="1"/>
                    <a:pt x="3" y="1"/>
                    <a:pt x="3" y="0"/>
                  </a:cubicBezTo>
                  <a:cubicBezTo>
                    <a:pt x="2" y="0"/>
                    <a:pt x="2" y="1"/>
                    <a:pt x="2" y="0"/>
                  </a:cubicBezTo>
                  <a:cubicBezTo>
                    <a:pt x="0" y="1"/>
                    <a:pt x="5" y="4"/>
                    <a:pt x="5"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67" name="Freeform 1717">
              <a:extLst>
                <a:ext uri="{FF2B5EF4-FFF2-40B4-BE49-F238E27FC236}">
                  <a16:creationId xmlns:a16="http://schemas.microsoft.com/office/drawing/2014/main" id="{BF67B8CD-24CA-4B1A-81F4-A3B79711534E}"/>
                </a:ext>
              </a:extLst>
            </p:cNvPr>
            <p:cNvSpPr>
              <a:spLocks/>
            </p:cNvSpPr>
            <p:nvPr/>
          </p:nvSpPr>
          <p:spPr bwMode="auto">
            <a:xfrm>
              <a:off x="1653" y="2272"/>
              <a:ext cx="5" cy="3"/>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0"/>
                    <a:pt x="1" y="0"/>
                    <a:pt x="0" y="0"/>
                  </a:cubicBezTo>
                  <a:cubicBezTo>
                    <a:pt x="1" y="0"/>
                    <a:pt x="1" y="0"/>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68" name="Freeform 1718">
              <a:extLst>
                <a:ext uri="{FF2B5EF4-FFF2-40B4-BE49-F238E27FC236}">
                  <a16:creationId xmlns:a16="http://schemas.microsoft.com/office/drawing/2014/main" id="{5062DC6A-8E4B-41EC-B108-56B264C6C0D9}"/>
                </a:ext>
              </a:extLst>
            </p:cNvPr>
            <p:cNvSpPr>
              <a:spLocks/>
            </p:cNvSpPr>
            <p:nvPr/>
          </p:nvSpPr>
          <p:spPr bwMode="auto">
            <a:xfrm>
              <a:off x="1539" y="2239"/>
              <a:ext cx="17" cy="12"/>
            </a:xfrm>
            <a:custGeom>
              <a:avLst/>
              <a:gdLst>
                <a:gd name="T0" fmla="*/ 6 w 7"/>
                <a:gd name="T1" fmla="*/ 4 h 5"/>
                <a:gd name="T2" fmla="*/ 7 w 7"/>
                <a:gd name="T3" fmla="*/ 4 h 5"/>
                <a:gd name="T4" fmla="*/ 5 w 7"/>
                <a:gd name="T5" fmla="*/ 1 h 5"/>
                <a:gd name="T6" fmla="*/ 3 w 7"/>
                <a:gd name="T7" fmla="*/ 0 h 5"/>
                <a:gd name="T8" fmla="*/ 1 w 7"/>
                <a:gd name="T9" fmla="*/ 4 h 5"/>
                <a:gd name="T10" fmla="*/ 6 w 7"/>
                <a:gd name="T11" fmla="*/ 4 h 5"/>
              </a:gdLst>
              <a:ahLst/>
              <a:cxnLst>
                <a:cxn ang="0">
                  <a:pos x="T0" y="T1"/>
                </a:cxn>
                <a:cxn ang="0">
                  <a:pos x="T2" y="T3"/>
                </a:cxn>
                <a:cxn ang="0">
                  <a:pos x="T4" y="T5"/>
                </a:cxn>
                <a:cxn ang="0">
                  <a:pos x="T6" y="T7"/>
                </a:cxn>
                <a:cxn ang="0">
                  <a:pos x="T8" y="T9"/>
                </a:cxn>
                <a:cxn ang="0">
                  <a:pos x="T10" y="T11"/>
                </a:cxn>
              </a:cxnLst>
              <a:rect l="0" t="0" r="r" b="b"/>
              <a:pathLst>
                <a:path w="7" h="5">
                  <a:moveTo>
                    <a:pt x="6" y="4"/>
                  </a:moveTo>
                  <a:cubicBezTo>
                    <a:pt x="6" y="4"/>
                    <a:pt x="7" y="4"/>
                    <a:pt x="7" y="4"/>
                  </a:cubicBezTo>
                  <a:cubicBezTo>
                    <a:pt x="7" y="3"/>
                    <a:pt x="6" y="1"/>
                    <a:pt x="5" y="1"/>
                  </a:cubicBezTo>
                  <a:cubicBezTo>
                    <a:pt x="6" y="0"/>
                    <a:pt x="4" y="0"/>
                    <a:pt x="3" y="0"/>
                  </a:cubicBezTo>
                  <a:cubicBezTo>
                    <a:pt x="0" y="0"/>
                    <a:pt x="2" y="2"/>
                    <a:pt x="1" y="4"/>
                  </a:cubicBezTo>
                  <a:cubicBezTo>
                    <a:pt x="3" y="5"/>
                    <a:pt x="4" y="5"/>
                    <a:pt x="6"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69" name="Freeform 1719">
              <a:extLst>
                <a:ext uri="{FF2B5EF4-FFF2-40B4-BE49-F238E27FC236}">
                  <a16:creationId xmlns:a16="http://schemas.microsoft.com/office/drawing/2014/main" id="{533F069F-5678-436A-85D4-F4904760A41F}"/>
                </a:ext>
              </a:extLst>
            </p:cNvPr>
            <p:cNvSpPr>
              <a:spLocks/>
            </p:cNvSpPr>
            <p:nvPr/>
          </p:nvSpPr>
          <p:spPr bwMode="auto">
            <a:xfrm>
              <a:off x="1636" y="2263"/>
              <a:ext cx="3" cy="2"/>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0"/>
                    <a:pt x="0" y="0"/>
                    <a:pt x="0" y="0"/>
                  </a:cubicBezTo>
                  <a:cubicBezTo>
                    <a:pt x="0" y="0"/>
                    <a:pt x="1" y="0"/>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70" name="Freeform 1720">
              <a:extLst>
                <a:ext uri="{FF2B5EF4-FFF2-40B4-BE49-F238E27FC236}">
                  <a16:creationId xmlns:a16="http://schemas.microsoft.com/office/drawing/2014/main" id="{22A7C742-F99E-40F4-8698-8ACC02FA0E5C}"/>
                </a:ext>
              </a:extLst>
            </p:cNvPr>
            <p:cNvSpPr>
              <a:spLocks/>
            </p:cNvSpPr>
            <p:nvPr/>
          </p:nvSpPr>
          <p:spPr bwMode="auto">
            <a:xfrm>
              <a:off x="1658" y="2225"/>
              <a:ext cx="7" cy="5"/>
            </a:xfrm>
            <a:custGeom>
              <a:avLst/>
              <a:gdLst>
                <a:gd name="T0" fmla="*/ 0 w 3"/>
                <a:gd name="T1" fmla="*/ 1 h 2"/>
                <a:gd name="T2" fmla="*/ 3 w 3"/>
                <a:gd name="T3" fmla="*/ 2 h 2"/>
                <a:gd name="T4" fmla="*/ 0 w 3"/>
                <a:gd name="T5" fmla="*/ 1 h 2"/>
              </a:gdLst>
              <a:ahLst/>
              <a:cxnLst>
                <a:cxn ang="0">
                  <a:pos x="T0" y="T1"/>
                </a:cxn>
                <a:cxn ang="0">
                  <a:pos x="T2" y="T3"/>
                </a:cxn>
                <a:cxn ang="0">
                  <a:pos x="T4" y="T5"/>
                </a:cxn>
              </a:cxnLst>
              <a:rect l="0" t="0" r="r" b="b"/>
              <a:pathLst>
                <a:path w="3" h="2">
                  <a:moveTo>
                    <a:pt x="0" y="1"/>
                  </a:moveTo>
                  <a:cubicBezTo>
                    <a:pt x="1" y="1"/>
                    <a:pt x="2" y="2"/>
                    <a:pt x="3" y="2"/>
                  </a:cubicBezTo>
                  <a:cubicBezTo>
                    <a:pt x="2" y="1"/>
                    <a:pt x="2"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71" name="Freeform 1721">
              <a:extLst>
                <a:ext uri="{FF2B5EF4-FFF2-40B4-BE49-F238E27FC236}">
                  <a16:creationId xmlns:a16="http://schemas.microsoft.com/office/drawing/2014/main" id="{9FD6B051-82A8-4EBE-BAA3-071903108E86}"/>
                </a:ext>
              </a:extLst>
            </p:cNvPr>
            <p:cNvSpPr>
              <a:spLocks/>
            </p:cNvSpPr>
            <p:nvPr/>
          </p:nvSpPr>
          <p:spPr bwMode="auto">
            <a:xfrm>
              <a:off x="1740" y="2194"/>
              <a:ext cx="3"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72" name="Freeform 1722">
              <a:extLst>
                <a:ext uri="{FF2B5EF4-FFF2-40B4-BE49-F238E27FC236}">
                  <a16:creationId xmlns:a16="http://schemas.microsoft.com/office/drawing/2014/main" id="{28D3B879-8EC1-4D7F-9BDA-7FE24032182E}"/>
                </a:ext>
              </a:extLst>
            </p:cNvPr>
            <p:cNvSpPr>
              <a:spLocks/>
            </p:cNvSpPr>
            <p:nvPr/>
          </p:nvSpPr>
          <p:spPr bwMode="auto">
            <a:xfrm>
              <a:off x="1714" y="2197"/>
              <a:ext cx="8" cy="4"/>
            </a:xfrm>
            <a:custGeom>
              <a:avLst/>
              <a:gdLst>
                <a:gd name="T0" fmla="*/ 2 w 3"/>
                <a:gd name="T1" fmla="*/ 1 h 2"/>
                <a:gd name="T2" fmla="*/ 3 w 3"/>
                <a:gd name="T3" fmla="*/ 2 h 2"/>
                <a:gd name="T4" fmla="*/ 0 w 3"/>
                <a:gd name="T5" fmla="*/ 0 h 2"/>
                <a:gd name="T6" fmla="*/ 2 w 3"/>
                <a:gd name="T7" fmla="*/ 1 h 2"/>
              </a:gdLst>
              <a:ahLst/>
              <a:cxnLst>
                <a:cxn ang="0">
                  <a:pos x="T0" y="T1"/>
                </a:cxn>
                <a:cxn ang="0">
                  <a:pos x="T2" y="T3"/>
                </a:cxn>
                <a:cxn ang="0">
                  <a:pos x="T4" y="T5"/>
                </a:cxn>
                <a:cxn ang="0">
                  <a:pos x="T6" y="T7"/>
                </a:cxn>
              </a:cxnLst>
              <a:rect l="0" t="0" r="r" b="b"/>
              <a:pathLst>
                <a:path w="3" h="2">
                  <a:moveTo>
                    <a:pt x="2" y="1"/>
                  </a:moveTo>
                  <a:cubicBezTo>
                    <a:pt x="2" y="1"/>
                    <a:pt x="3" y="1"/>
                    <a:pt x="3" y="2"/>
                  </a:cubicBezTo>
                  <a:cubicBezTo>
                    <a:pt x="2" y="1"/>
                    <a:pt x="1" y="1"/>
                    <a:pt x="0" y="0"/>
                  </a:cubicBezTo>
                  <a:cubicBezTo>
                    <a:pt x="1" y="0"/>
                    <a:pt x="1"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73" name="Freeform 1723">
              <a:extLst>
                <a:ext uri="{FF2B5EF4-FFF2-40B4-BE49-F238E27FC236}">
                  <a16:creationId xmlns:a16="http://schemas.microsoft.com/office/drawing/2014/main" id="{2013323A-DEC0-4990-8D95-74F9110BE83F}"/>
                </a:ext>
              </a:extLst>
            </p:cNvPr>
            <p:cNvSpPr>
              <a:spLocks/>
            </p:cNvSpPr>
            <p:nvPr/>
          </p:nvSpPr>
          <p:spPr bwMode="auto">
            <a:xfrm>
              <a:off x="1731" y="2204"/>
              <a:ext cx="9" cy="7"/>
            </a:xfrm>
            <a:custGeom>
              <a:avLst/>
              <a:gdLst>
                <a:gd name="T0" fmla="*/ 1 w 4"/>
                <a:gd name="T1" fmla="*/ 2 h 3"/>
                <a:gd name="T2" fmla="*/ 4 w 4"/>
                <a:gd name="T3" fmla="*/ 3 h 3"/>
                <a:gd name="T4" fmla="*/ 2 w 4"/>
                <a:gd name="T5" fmla="*/ 0 h 3"/>
                <a:gd name="T6" fmla="*/ 1 w 4"/>
                <a:gd name="T7" fmla="*/ 2 h 3"/>
              </a:gdLst>
              <a:ahLst/>
              <a:cxnLst>
                <a:cxn ang="0">
                  <a:pos x="T0" y="T1"/>
                </a:cxn>
                <a:cxn ang="0">
                  <a:pos x="T2" y="T3"/>
                </a:cxn>
                <a:cxn ang="0">
                  <a:pos x="T4" y="T5"/>
                </a:cxn>
                <a:cxn ang="0">
                  <a:pos x="T6" y="T7"/>
                </a:cxn>
              </a:cxnLst>
              <a:rect l="0" t="0" r="r" b="b"/>
              <a:pathLst>
                <a:path w="4" h="3">
                  <a:moveTo>
                    <a:pt x="1" y="2"/>
                  </a:moveTo>
                  <a:cubicBezTo>
                    <a:pt x="2" y="3"/>
                    <a:pt x="3" y="2"/>
                    <a:pt x="4" y="3"/>
                  </a:cubicBezTo>
                  <a:cubicBezTo>
                    <a:pt x="3" y="2"/>
                    <a:pt x="2" y="1"/>
                    <a:pt x="2" y="0"/>
                  </a:cubicBezTo>
                  <a:cubicBezTo>
                    <a:pt x="2" y="1"/>
                    <a:pt x="0" y="1"/>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74" name="Freeform 1724">
              <a:extLst>
                <a:ext uri="{FF2B5EF4-FFF2-40B4-BE49-F238E27FC236}">
                  <a16:creationId xmlns:a16="http://schemas.microsoft.com/office/drawing/2014/main" id="{B79EE21C-A0BF-44FF-AA94-162D8BB63BFC}"/>
                </a:ext>
              </a:extLst>
            </p:cNvPr>
            <p:cNvSpPr>
              <a:spLocks/>
            </p:cNvSpPr>
            <p:nvPr/>
          </p:nvSpPr>
          <p:spPr bwMode="auto">
            <a:xfrm>
              <a:off x="1667" y="2175"/>
              <a:ext cx="10" cy="19"/>
            </a:xfrm>
            <a:custGeom>
              <a:avLst/>
              <a:gdLst>
                <a:gd name="T0" fmla="*/ 4 w 4"/>
                <a:gd name="T1" fmla="*/ 7 h 8"/>
                <a:gd name="T2" fmla="*/ 3 w 4"/>
                <a:gd name="T3" fmla="*/ 2 h 8"/>
                <a:gd name="T4" fmla="*/ 2 w 4"/>
                <a:gd name="T5" fmla="*/ 3 h 8"/>
                <a:gd name="T6" fmla="*/ 0 w 4"/>
                <a:gd name="T7" fmla="*/ 4 h 8"/>
                <a:gd name="T8" fmla="*/ 1 w 4"/>
                <a:gd name="T9" fmla="*/ 5 h 8"/>
                <a:gd name="T10" fmla="*/ 2 w 4"/>
                <a:gd name="T11" fmla="*/ 7 h 8"/>
                <a:gd name="T12" fmla="*/ 3 w 4"/>
                <a:gd name="T13" fmla="*/ 8 h 8"/>
                <a:gd name="T14" fmla="*/ 4 w 4"/>
                <a:gd name="T15" fmla="*/ 7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4" y="7"/>
                  </a:moveTo>
                  <a:cubicBezTo>
                    <a:pt x="4" y="6"/>
                    <a:pt x="4" y="2"/>
                    <a:pt x="3" y="2"/>
                  </a:cubicBezTo>
                  <a:cubicBezTo>
                    <a:pt x="3" y="2"/>
                    <a:pt x="3" y="3"/>
                    <a:pt x="2" y="3"/>
                  </a:cubicBezTo>
                  <a:cubicBezTo>
                    <a:pt x="3" y="0"/>
                    <a:pt x="0" y="3"/>
                    <a:pt x="0" y="4"/>
                  </a:cubicBezTo>
                  <a:cubicBezTo>
                    <a:pt x="0" y="3"/>
                    <a:pt x="1" y="5"/>
                    <a:pt x="1" y="5"/>
                  </a:cubicBezTo>
                  <a:cubicBezTo>
                    <a:pt x="1" y="5"/>
                    <a:pt x="1" y="6"/>
                    <a:pt x="2" y="7"/>
                  </a:cubicBezTo>
                  <a:cubicBezTo>
                    <a:pt x="1" y="8"/>
                    <a:pt x="2" y="7"/>
                    <a:pt x="3" y="8"/>
                  </a:cubicBezTo>
                  <a:cubicBezTo>
                    <a:pt x="3" y="7"/>
                    <a:pt x="3" y="7"/>
                    <a:pt x="4" y="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75" name="Freeform 1725">
              <a:extLst>
                <a:ext uri="{FF2B5EF4-FFF2-40B4-BE49-F238E27FC236}">
                  <a16:creationId xmlns:a16="http://schemas.microsoft.com/office/drawing/2014/main" id="{9E5E7D31-2F70-4FD7-885C-165110ED572F}"/>
                </a:ext>
              </a:extLst>
            </p:cNvPr>
            <p:cNvSpPr>
              <a:spLocks/>
            </p:cNvSpPr>
            <p:nvPr/>
          </p:nvSpPr>
          <p:spPr bwMode="auto">
            <a:xfrm>
              <a:off x="1757" y="2218"/>
              <a:ext cx="2"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76" name="Freeform 1726">
              <a:extLst>
                <a:ext uri="{FF2B5EF4-FFF2-40B4-BE49-F238E27FC236}">
                  <a16:creationId xmlns:a16="http://schemas.microsoft.com/office/drawing/2014/main" id="{108E69B2-4CAB-41EC-AE84-30145F8DEF3E}"/>
                </a:ext>
              </a:extLst>
            </p:cNvPr>
            <p:cNvSpPr>
              <a:spLocks/>
            </p:cNvSpPr>
            <p:nvPr/>
          </p:nvSpPr>
          <p:spPr bwMode="auto">
            <a:xfrm>
              <a:off x="1759" y="2218"/>
              <a:ext cx="3"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77" name="Freeform 1727">
              <a:extLst>
                <a:ext uri="{FF2B5EF4-FFF2-40B4-BE49-F238E27FC236}">
                  <a16:creationId xmlns:a16="http://schemas.microsoft.com/office/drawing/2014/main" id="{F2FE0D5E-4EDA-48FA-A662-F72C47D30581}"/>
                </a:ext>
              </a:extLst>
            </p:cNvPr>
            <p:cNvSpPr>
              <a:spLocks/>
            </p:cNvSpPr>
            <p:nvPr/>
          </p:nvSpPr>
          <p:spPr bwMode="auto">
            <a:xfrm>
              <a:off x="1755" y="2216"/>
              <a:ext cx="2" cy="2"/>
            </a:xfrm>
            <a:custGeom>
              <a:avLst/>
              <a:gdLst>
                <a:gd name="T0" fmla="*/ 0 w 1"/>
                <a:gd name="T1" fmla="*/ 1 h 1"/>
                <a:gd name="T2" fmla="*/ 1 w 1"/>
                <a:gd name="T3" fmla="*/ 1 h 1"/>
                <a:gd name="T4" fmla="*/ 0 w 1"/>
                <a:gd name="T5" fmla="*/ 1 h 1"/>
              </a:gdLst>
              <a:ahLst/>
              <a:cxnLst>
                <a:cxn ang="0">
                  <a:pos x="T0" y="T1"/>
                </a:cxn>
                <a:cxn ang="0">
                  <a:pos x="T2" y="T3"/>
                </a:cxn>
                <a:cxn ang="0">
                  <a:pos x="T4" y="T5"/>
                </a:cxn>
              </a:cxnLst>
              <a:rect l="0" t="0" r="r" b="b"/>
              <a:pathLst>
                <a:path w="1" h="1">
                  <a:moveTo>
                    <a:pt x="0" y="1"/>
                  </a:moveTo>
                  <a:cubicBezTo>
                    <a:pt x="0" y="1"/>
                    <a:pt x="1" y="1"/>
                    <a:pt x="1" y="1"/>
                  </a:cubicBezTo>
                  <a:cubicBezTo>
                    <a:pt x="1" y="1"/>
                    <a:pt x="0"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78" name="Freeform 1728">
              <a:extLst>
                <a:ext uri="{FF2B5EF4-FFF2-40B4-BE49-F238E27FC236}">
                  <a16:creationId xmlns:a16="http://schemas.microsoft.com/office/drawing/2014/main" id="{7DDF840B-FC57-4F1D-BC5D-4B3D3D292ED4}"/>
                </a:ext>
              </a:extLst>
            </p:cNvPr>
            <p:cNvSpPr>
              <a:spLocks/>
            </p:cNvSpPr>
            <p:nvPr/>
          </p:nvSpPr>
          <p:spPr bwMode="auto">
            <a:xfrm>
              <a:off x="1769" y="2253"/>
              <a:ext cx="19" cy="12"/>
            </a:xfrm>
            <a:custGeom>
              <a:avLst/>
              <a:gdLst>
                <a:gd name="T0" fmla="*/ 1 w 8"/>
                <a:gd name="T1" fmla="*/ 4 h 5"/>
                <a:gd name="T2" fmla="*/ 6 w 8"/>
                <a:gd name="T3" fmla="*/ 3 h 5"/>
                <a:gd name="T4" fmla="*/ 7 w 8"/>
                <a:gd name="T5" fmla="*/ 0 h 5"/>
                <a:gd name="T6" fmla="*/ 5 w 8"/>
                <a:gd name="T7" fmla="*/ 2 h 5"/>
                <a:gd name="T8" fmla="*/ 3 w 8"/>
                <a:gd name="T9" fmla="*/ 1 h 5"/>
                <a:gd name="T10" fmla="*/ 2 w 8"/>
                <a:gd name="T11" fmla="*/ 2 h 5"/>
                <a:gd name="T12" fmla="*/ 0 w 8"/>
                <a:gd name="T13" fmla="*/ 3 h 5"/>
                <a:gd name="T14" fmla="*/ 1 w 8"/>
                <a:gd name="T15" fmla="*/ 4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5">
                  <a:moveTo>
                    <a:pt x="1" y="4"/>
                  </a:moveTo>
                  <a:cubicBezTo>
                    <a:pt x="3" y="4"/>
                    <a:pt x="5" y="5"/>
                    <a:pt x="6" y="3"/>
                  </a:cubicBezTo>
                  <a:cubicBezTo>
                    <a:pt x="6" y="3"/>
                    <a:pt x="8" y="0"/>
                    <a:pt x="7" y="0"/>
                  </a:cubicBezTo>
                  <a:cubicBezTo>
                    <a:pt x="6" y="1"/>
                    <a:pt x="6" y="2"/>
                    <a:pt x="5" y="2"/>
                  </a:cubicBezTo>
                  <a:cubicBezTo>
                    <a:pt x="4" y="3"/>
                    <a:pt x="4" y="2"/>
                    <a:pt x="3" y="1"/>
                  </a:cubicBezTo>
                  <a:cubicBezTo>
                    <a:pt x="3" y="2"/>
                    <a:pt x="2" y="2"/>
                    <a:pt x="2" y="2"/>
                  </a:cubicBezTo>
                  <a:cubicBezTo>
                    <a:pt x="1" y="2"/>
                    <a:pt x="1" y="3"/>
                    <a:pt x="0" y="3"/>
                  </a:cubicBezTo>
                  <a:cubicBezTo>
                    <a:pt x="1" y="3"/>
                    <a:pt x="0" y="4"/>
                    <a:pt x="1"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79" name="Freeform 1729">
              <a:extLst>
                <a:ext uri="{FF2B5EF4-FFF2-40B4-BE49-F238E27FC236}">
                  <a16:creationId xmlns:a16="http://schemas.microsoft.com/office/drawing/2014/main" id="{DCD279B3-E2E0-4C90-85CA-3CC1393DD78E}"/>
                </a:ext>
              </a:extLst>
            </p:cNvPr>
            <p:cNvSpPr>
              <a:spLocks/>
            </p:cNvSpPr>
            <p:nvPr/>
          </p:nvSpPr>
          <p:spPr bwMode="auto">
            <a:xfrm>
              <a:off x="1757" y="2218"/>
              <a:ext cx="9" cy="14"/>
            </a:xfrm>
            <a:custGeom>
              <a:avLst/>
              <a:gdLst>
                <a:gd name="T0" fmla="*/ 2 w 4"/>
                <a:gd name="T1" fmla="*/ 1 h 6"/>
                <a:gd name="T2" fmla="*/ 2 w 4"/>
                <a:gd name="T3" fmla="*/ 3 h 6"/>
                <a:gd name="T4" fmla="*/ 0 w 4"/>
                <a:gd name="T5" fmla="*/ 6 h 6"/>
                <a:gd name="T6" fmla="*/ 3 w 4"/>
                <a:gd name="T7" fmla="*/ 3 h 6"/>
                <a:gd name="T8" fmla="*/ 3 w 4"/>
                <a:gd name="T9" fmla="*/ 0 h 6"/>
                <a:gd name="T10" fmla="*/ 3 w 4"/>
                <a:gd name="T11" fmla="*/ 0 h 6"/>
                <a:gd name="T12" fmla="*/ 3 w 4"/>
                <a:gd name="T13" fmla="*/ 1 h 6"/>
                <a:gd name="T14" fmla="*/ 2 w 4"/>
                <a:gd name="T15" fmla="*/ 1 h 6"/>
                <a:gd name="T16" fmla="*/ 2 w 4"/>
                <a:gd name="T1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6">
                  <a:moveTo>
                    <a:pt x="2" y="1"/>
                  </a:moveTo>
                  <a:cubicBezTo>
                    <a:pt x="4" y="2"/>
                    <a:pt x="3" y="3"/>
                    <a:pt x="2" y="3"/>
                  </a:cubicBezTo>
                  <a:cubicBezTo>
                    <a:pt x="1" y="4"/>
                    <a:pt x="0" y="4"/>
                    <a:pt x="0" y="6"/>
                  </a:cubicBezTo>
                  <a:cubicBezTo>
                    <a:pt x="1" y="5"/>
                    <a:pt x="2" y="4"/>
                    <a:pt x="3" y="3"/>
                  </a:cubicBezTo>
                  <a:cubicBezTo>
                    <a:pt x="4" y="2"/>
                    <a:pt x="4" y="1"/>
                    <a:pt x="3" y="0"/>
                  </a:cubicBezTo>
                  <a:cubicBezTo>
                    <a:pt x="3" y="0"/>
                    <a:pt x="3" y="0"/>
                    <a:pt x="3" y="0"/>
                  </a:cubicBezTo>
                  <a:cubicBezTo>
                    <a:pt x="2" y="0"/>
                    <a:pt x="3" y="0"/>
                    <a:pt x="3" y="1"/>
                  </a:cubicBezTo>
                  <a:cubicBezTo>
                    <a:pt x="2" y="1"/>
                    <a:pt x="2" y="1"/>
                    <a:pt x="2" y="1"/>
                  </a:cubicBezTo>
                  <a:cubicBezTo>
                    <a:pt x="2" y="1"/>
                    <a:pt x="2"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80" name="Freeform 1730">
              <a:extLst>
                <a:ext uri="{FF2B5EF4-FFF2-40B4-BE49-F238E27FC236}">
                  <a16:creationId xmlns:a16="http://schemas.microsoft.com/office/drawing/2014/main" id="{62FBE5B7-2288-487D-BC31-F74C8D857203}"/>
                </a:ext>
              </a:extLst>
            </p:cNvPr>
            <p:cNvSpPr>
              <a:spLocks/>
            </p:cNvSpPr>
            <p:nvPr/>
          </p:nvSpPr>
          <p:spPr bwMode="auto">
            <a:xfrm>
              <a:off x="1781" y="2225"/>
              <a:ext cx="11" cy="5"/>
            </a:xfrm>
            <a:custGeom>
              <a:avLst/>
              <a:gdLst>
                <a:gd name="T0" fmla="*/ 4 w 5"/>
                <a:gd name="T1" fmla="*/ 1 h 2"/>
                <a:gd name="T2" fmla="*/ 3 w 5"/>
                <a:gd name="T3" fmla="*/ 1 h 2"/>
                <a:gd name="T4" fmla="*/ 1 w 5"/>
                <a:gd name="T5" fmla="*/ 1 h 2"/>
                <a:gd name="T6" fmla="*/ 2 w 5"/>
                <a:gd name="T7" fmla="*/ 1 h 2"/>
                <a:gd name="T8" fmla="*/ 5 w 5"/>
                <a:gd name="T9" fmla="*/ 1 h 2"/>
                <a:gd name="T10" fmla="*/ 4 w 5"/>
                <a:gd name="T11" fmla="*/ 1 h 2"/>
              </a:gdLst>
              <a:ahLst/>
              <a:cxnLst>
                <a:cxn ang="0">
                  <a:pos x="T0" y="T1"/>
                </a:cxn>
                <a:cxn ang="0">
                  <a:pos x="T2" y="T3"/>
                </a:cxn>
                <a:cxn ang="0">
                  <a:pos x="T4" y="T5"/>
                </a:cxn>
                <a:cxn ang="0">
                  <a:pos x="T6" y="T7"/>
                </a:cxn>
                <a:cxn ang="0">
                  <a:pos x="T8" y="T9"/>
                </a:cxn>
                <a:cxn ang="0">
                  <a:pos x="T10" y="T11"/>
                </a:cxn>
              </a:cxnLst>
              <a:rect l="0" t="0" r="r" b="b"/>
              <a:pathLst>
                <a:path w="5" h="2">
                  <a:moveTo>
                    <a:pt x="4" y="1"/>
                  </a:moveTo>
                  <a:cubicBezTo>
                    <a:pt x="3" y="1"/>
                    <a:pt x="3" y="1"/>
                    <a:pt x="3" y="1"/>
                  </a:cubicBezTo>
                  <a:cubicBezTo>
                    <a:pt x="2" y="1"/>
                    <a:pt x="1" y="0"/>
                    <a:pt x="1" y="1"/>
                  </a:cubicBezTo>
                  <a:cubicBezTo>
                    <a:pt x="0" y="1"/>
                    <a:pt x="1" y="1"/>
                    <a:pt x="2" y="1"/>
                  </a:cubicBezTo>
                  <a:cubicBezTo>
                    <a:pt x="3" y="1"/>
                    <a:pt x="4" y="2"/>
                    <a:pt x="5" y="1"/>
                  </a:cubicBezTo>
                  <a:cubicBezTo>
                    <a:pt x="5" y="1"/>
                    <a:pt x="4" y="1"/>
                    <a:pt x="4"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81" name="Freeform 1731">
              <a:extLst>
                <a:ext uri="{FF2B5EF4-FFF2-40B4-BE49-F238E27FC236}">
                  <a16:creationId xmlns:a16="http://schemas.microsoft.com/office/drawing/2014/main" id="{9DB60EA8-B25B-4F13-B01C-817C37C2AAA6}"/>
                </a:ext>
              </a:extLst>
            </p:cNvPr>
            <p:cNvSpPr>
              <a:spLocks/>
            </p:cNvSpPr>
            <p:nvPr/>
          </p:nvSpPr>
          <p:spPr bwMode="auto">
            <a:xfrm>
              <a:off x="1750" y="2182"/>
              <a:ext cx="0" cy="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0"/>
                    <a:pt x="0"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82" name="Freeform 1732">
              <a:extLst>
                <a:ext uri="{FF2B5EF4-FFF2-40B4-BE49-F238E27FC236}">
                  <a16:creationId xmlns:a16="http://schemas.microsoft.com/office/drawing/2014/main" id="{FD3C298C-0F74-4D60-BFDF-7234E95D5115}"/>
                </a:ext>
              </a:extLst>
            </p:cNvPr>
            <p:cNvSpPr>
              <a:spLocks/>
            </p:cNvSpPr>
            <p:nvPr/>
          </p:nvSpPr>
          <p:spPr bwMode="auto">
            <a:xfrm>
              <a:off x="1783" y="2249"/>
              <a:ext cx="2" cy="2"/>
            </a:xfrm>
            <a:custGeom>
              <a:avLst/>
              <a:gdLst>
                <a:gd name="T0" fmla="*/ 1 w 1"/>
                <a:gd name="T1" fmla="*/ 1 h 1"/>
                <a:gd name="T2" fmla="*/ 1 w 1"/>
                <a:gd name="T3" fmla="*/ 0 h 1"/>
                <a:gd name="T4" fmla="*/ 1 w 1"/>
                <a:gd name="T5" fmla="*/ 1 h 1"/>
              </a:gdLst>
              <a:ahLst/>
              <a:cxnLst>
                <a:cxn ang="0">
                  <a:pos x="T0" y="T1"/>
                </a:cxn>
                <a:cxn ang="0">
                  <a:pos x="T2" y="T3"/>
                </a:cxn>
                <a:cxn ang="0">
                  <a:pos x="T4" y="T5"/>
                </a:cxn>
              </a:cxnLst>
              <a:rect l="0" t="0" r="r" b="b"/>
              <a:pathLst>
                <a:path w="1" h="1">
                  <a:moveTo>
                    <a:pt x="1" y="1"/>
                  </a:moveTo>
                  <a:cubicBezTo>
                    <a:pt x="1" y="1"/>
                    <a:pt x="1" y="0"/>
                    <a:pt x="1" y="0"/>
                  </a:cubicBezTo>
                  <a:cubicBezTo>
                    <a:pt x="1" y="0"/>
                    <a:pt x="0" y="1"/>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83" name="Freeform 1733">
              <a:extLst>
                <a:ext uri="{FF2B5EF4-FFF2-40B4-BE49-F238E27FC236}">
                  <a16:creationId xmlns:a16="http://schemas.microsoft.com/office/drawing/2014/main" id="{761A9DEA-77DB-4507-9A49-15B678327A20}"/>
                </a:ext>
              </a:extLst>
            </p:cNvPr>
            <p:cNvSpPr>
              <a:spLocks/>
            </p:cNvSpPr>
            <p:nvPr/>
          </p:nvSpPr>
          <p:spPr bwMode="auto">
            <a:xfrm>
              <a:off x="2107" y="2455"/>
              <a:ext cx="9" cy="4"/>
            </a:xfrm>
            <a:custGeom>
              <a:avLst/>
              <a:gdLst>
                <a:gd name="T0" fmla="*/ 2 w 4"/>
                <a:gd name="T1" fmla="*/ 2 h 2"/>
                <a:gd name="T2" fmla="*/ 1 w 4"/>
                <a:gd name="T3" fmla="*/ 0 h 2"/>
                <a:gd name="T4" fmla="*/ 2 w 4"/>
                <a:gd name="T5" fmla="*/ 2 h 2"/>
              </a:gdLst>
              <a:ahLst/>
              <a:cxnLst>
                <a:cxn ang="0">
                  <a:pos x="T0" y="T1"/>
                </a:cxn>
                <a:cxn ang="0">
                  <a:pos x="T2" y="T3"/>
                </a:cxn>
                <a:cxn ang="0">
                  <a:pos x="T4" y="T5"/>
                </a:cxn>
              </a:cxnLst>
              <a:rect l="0" t="0" r="r" b="b"/>
              <a:pathLst>
                <a:path w="4" h="2">
                  <a:moveTo>
                    <a:pt x="2" y="2"/>
                  </a:moveTo>
                  <a:cubicBezTo>
                    <a:pt x="4" y="2"/>
                    <a:pt x="2" y="1"/>
                    <a:pt x="1" y="0"/>
                  </a:cubicBezTo>
                  <a:cubicBezTo>
                    <a:pt x="0" y="0"/>
                    <a:pt x="0" y="2"/>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84" name="Freeform 1734">
              <a:extLst>
                <a:ext uri="{FF2B5EF4-FFF2-40B4-BE49-F238E27FC236}">
                  <a16:creationId xmlns:a16="http://schemas.microsoft.com/office/drawing/2014/main" id="{61928450-E06C-4550-91A3-720493AA9D32}"/>
                </a:ext>
              </a:extLst>
            </p:cNvPr>
            <p:cNvSpPr>
              <a:spLocks/>
            </p:cNvSpPr>
            <p:nvPr/>
          </p:nvSpPr>
          <p:spPr bwMode="auto">
            <a:xfrm>
              <a:off x="2024" y="2331"/>
              <a:ext cx="5" cy="3"/>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0"/>
                    <a:pt x="0" y="1"/>
                  </a:cubicBezTo>
                  <a:cubicBezTo>
                    <a:pt x="0" y="1"/>
                    <a:pt x="1" y="0"/>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85" name="Freeform 1735">
              <a:extLst>
                <a:ext uri="{FF2B5EF4-FFF2-40B4-BE49-F238E27FC236}">
                  <a16:creationId xmlns:a16="http://schemas.microsoft.com/office/drawing/2014/main" id="{8F7825D3-1E13-464F-85F1-FEB64BAB9AAD}"/>
                </a:ext>
              </a:extLst>
            </p:cNvPr>
            <p:cNvSpPr>
              <a:spLocks/>
            </p:cNvSpPr>
            <p:nvPr/>
          </p:nvSpPr>
          <p:spPr bwMode="auto">
            <a:xfrm>
              <a:off x="2055" y="2358"/>
              <a:ext cx="5" cy="4"/>
            </a:xfrm>
            <a:custGeom>
              <a:avLst/>
              <a:gdLst>
                <a:gd name="T0" fmla="*/ 1 w 2"/>
                <a:gd name="T1" fmla="*/ 2 h 2"/>
                <a:gd name="T2" fmla="*/ 2 w 2"/>
                <a:gd name="T3" fmla="*/ 2 h 2"/>
                <a:gd name="T4" fmla="*/ 1 w 2"/>
                <a:gd name="T5" fmla="*/ 0 h 2"/>
                <a:gd name="T6" fmla="*/ 0 w 2"/>
                <a:gd name="T7" fmla="*/ 2 h 2"/>
                <a:gd name="T8" fmla="*/ 1 w 2"/>
                <a:gd name="T9" fmla="*/ 2 h 2"/>
              </a:gdLst>
              <a:ahLst/>
              <a:cxnLst>
                <a:cxn ang="0">
                  <a:pos x="T0" y="T1"/>
                </a:cxn>
                <a:cxn ang="0">
                  <a:pos x="T2" y="T3"/>
                </a:cxn>
                <a:cxn ang="0">
                  <a:pos x="T4" y="T5"/>
                </a:cxn>
                <a:cxn ang="0">
                  <a:pos x="T6" y="T7"/>
                </a:cxn>
                <a:cxn ang="0">
                  <a:pos x="T8" y="T9"/>
                </a:cxn>
              </a:cxnLst>
              <a:rect l="0" t="0" r="r" b="b"/>
              <a:pathLst>
                <a:path w="2" h="2">
                  <a:moveTo>
                    <a:pt x="1" y="2"/>
                  </a:moveTo>
                  <a:cubicBezTo>
                    <a:pt x="1" y="2"/>
                    <a:pt x="2" y="2"/>
                    <a:pt x="2" y="2"/>
                  </a:cubicBezTo>
                  <a:cubicBezTo>
                    <a:pt x="2" y="1"/>
                    <a:pt x="1" y="1"/>
                    <a:pt x="1" y="0"/>
                  </a:cubicBezTo>
                  <a:cubicBezTo>
                    <a:pt x="0" y="0"/>
                    <a:pt x="0" y="1"/>
                    <a:pt x="0" y="2"/>
                  </a:cubicBezTo>
                  <a:cubicBezTo>
                    <a:pt x="0" y="2"/>
                    <a:pt x="1" y="2"/>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86" name="Freeform 1736">
              <a:extLst>
                <a:ext uri="{FF2B5EF4-FFF2-40B4-BE49-F238E27FC236}">
                  <a16:creationId xmlns:a16="http://schemas.microsoft.com/office/drawing/2014/main" id="{4BF104C7-361D-4319-A5D0-625A68B6AF4C}"/>
                </a:ext>
              </a:extLst>
            </p:cNvPr>
            <p:cNvSpPr>
              <a:spLocks/>
            </p:cNvSpPr>
            <p:nvPr/>
          </p:nvSpPr>
          <p:spPr bwMode="auto">
            <a:xfrm>
              <a:off x="2055" y="2343"/>
              <a:ext cx="0" cy="5"/>
            </a:xfrm>
            <a:custGeom>
              <a:avLst/>
              <a:gdLst>
                <a:gd name="T0" fmla="*/ 0 h 2"/>
                <a:gd name="T1" fmla="*/ 2 h 2"/>
                <a:gd name="T2" fmla="*/ 0 h 2"/>
              </a:gdLst>
              <a:ahLst/>
              <a:cxnLst>
                <a:cxn ang="0">
                  <a:pos x="0" y="T0"/>
                </a:cxn>
                <a:cxn ang="0">
                  <a:pos x="0" y="T1"/>
                </a:cxn>
                <a:cxn ang="0">
                  <a:pos x="0" y="T2"/>
                </a:cxn>
              </a:cxnLst>
              <a:rect l="0" t="0" r="r" b="b"/>
              <a:pathLst>
                <a:path h="2">
                  <a:moveTo>
                    <a:pt x="0" y="0"/>
                  </a:moveTo>
                  <a:cubicBezTo>
                    <a:pt x="0" y="1"/>
                    <a:pt x="0" y="1"/>
                    <a:pt x="0" y="2"/>
                  </a:cubicBezTo>
                  <a:cubicBezTo>
                    <a:pt x="0" y="1"/>
                    <a:pt x="0"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87" name="Freeform 1737">
              <a:extLst>
                <a:ext uri="{FF2B5EF4-FFF2-40B4-BE49-F238E27FC236}">
                  <a16:creationId xmlns:a16="http://schemas.microsoft.com/office/drawing/2014/main" id="{A8E16723-9C6F-49A5-A808-CB867448AFDE}"/>
                </a:ext>
              </a:extLst>
            </p:cNvPr>
            <p:cNvSpPr>
              <a:spLocks/>
            </p:cNvSpPr>
            <p:nvPr/>
          </p:nvSpPr>
          <p:spPr bwMode="auto">
            <a:xfrm>
              <a:off x="1641" y="3621"/>
              <a:ext cx="5" cy="2"/>
            </a:xfrm>
            <a:custGeom>
              <a:avLst/>
              <a:gdLst>
                <a:gd name="T0" fmla="*/ 0 w 2"/>
                <a:gd name="T1" fmla="*/ 1 h 1"/>
                <a:gd name="T2" fmla="*/ 2 w 2"/>
                <a:gd name="T3" fmla="*/ 1 h 1"/>
                <a:gd name="T4" fmla="*/ 1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1"/>
                    <a:pt x="2" y="1"/>
                    <a:pt x="2" y="1"/>
                  </a:cubicBezTo>
                  <a:cubicBezTo>
                    <a:pt x="2" y="0"/>
                    <a:pt x="2" y="0"/>
                    <a:pt x="1" y="0"/>
                  </a:cubicBezTo>
                  <a:cubicBezTo>
                    <a:pt x="1" y="0"/>
                    <a:pt x="0"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88" name="Freeform 1738">
              <a:extLst>
                <a:ext uri="{FF2B5EF4-FFF2-40B4-BE49-F238E27FC236}">
                  <a16:creationId xmlns:a16="http://schemas.microsoft.com/office/drawing/2014/main" id="{ACD64C72-43AA-4C3C-B2C0-D4BE1FAC894E}"/>
                </a:ext>
              </a:extLst>
            </p:cNvPr>
            <p:cNvSpPr>
              <a:spLocks/>
            </p:cNvSpPr>
            <p:nvPr/>
          </p:nvSpPr>
          <p:spPr bwMode="auto">
            <a:xfrm>
              <a:off x="906" y="3446"/>
              <a:ext cx="5" cy="5"/>
            </a:xfrm>
            <a:custGeom>
              <a:avLst/>
              <a:gdLst>
                <a:gd name="T0" fmla="*/ 0 w 2"/>
                <a:gd name="T1" fmla="*/ 2 h 2"/>
                <a:gd name="T2" fmla="*/ 2 w 2"/>
                <a:gd name="T3" fmla="*/ 1 h 2"/>
                <a:gd name="T4" fmla="*/ 0 w 2"/>
                <a:gd name="T5" fmla="*/ 2 h 2"/>
              </a:gdLst>
              <a:ahLst/>
              <a:cxnLst>
                <a:cxn ang="0">
                  <a:pos x="T0" y="T1"/>
                </a:cxn>
                <a:cxn ang="0">
                  <a:pos x="T2" y="T3"/>
                </a:cxn>
                <a:cxn ang="0">
                  <a:pos x="T4" y="T5"/>
                </a:cxn>
              </a:cxnLst>
              <a:rect l="0" t="0" r="r" b="b"/>
              <a:pathLst>
                <a:path w="2" h="2">
                  <a:moveTo>
                    <a:pt x="0" y="2"/>
                  </a:moveTo>
                  <a:cubicBezTo>
                    <a:pt x="1" y="2"/>
                    <a:pt x="2" y="1"/>
                    <a:pt x="2" y="1"/>
                  </a:cubicBezTo>
                  <a:cubicBezTo>
                    <a:pt x="1" y="1"/>
                    <a:pt x="0" y="0"/>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89" name="Freeform 1739">
              <a:extLst>
                <a:ext uri="{FF2B5EF4-FFF2-40B4-BE49-F238E27FC236}">
                  <a16:creationId xmlns:a16="http://schemas.microsoft.com/office/drawing/2014/main" id="{6D34A5AA-E799-4E37-8110-D04B437E9B3E}"/>
                </a:ext>
              </a:extLst>
            </p:cNvPr>
            <p:cNvSpPr>
              <a:spLocks/>
            </p:cNvSpPr>
            <p:nvPr/>
          </p:nvSpPr>
          <p:spPr bwMode="auto">
            <a:xfrm>
              <a:off x="1982" y="2343"/>
              <a:ext cx="7" cy="3"/>
            </a:xfrm>
            <a:custGeom>
              <a:avLst/>
              <a:gdLst>
                <a:gd name="T0" fmla="*/ 0 w 3"/>
                <a:gd name="T1" fmla="*/ 1 h 1"/>
                <a:gd name="T2" fmla="*/ 3 w 3"/>
                <a:gd name="T3" fmla="*/ 0 h 1"/>
                <a:gd name="T4" fmla="*/ 0 w 3"/>
                <a:gd name="T5" fmla="*/ 1 h 1"/>
              </a:gdLst>
              <a:ahLst/>
              <a:cxnLst>
                <a:cxn ang="0">
                  <a:pos x="T0" y="T1"/>
                </a:cxn>
                <a:cxn ang="0">
                  <a:pos x="T2" y="T3"/>
                </a:cxn>
                <a:cxn ang="0">
                  <a:pos x="T4" y="T5"/>
                </a:cxn>
              </a:cxnLst>
              <a:rect l="0" t="0" r="r" b="b"/>
              <a:pathLst>
                <a:path w="3" h="1">
                  <a:moveTo>
                    <a:pt x="0" y="1"/>
                  </a:moveTo>
                  <a:cubicBezTo>
                    <a:pt x="1" y="1"/>
                    <a:pt x="2" y="1"/>
                    <a:pt x="3" y="0"/>
                  </a:cubicBezTo>
                  <a:cubicBezTo>
                    <a:pt x="2" y="0"/>
                    <a:pt x="1"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90" name="Freeform 1740">
              <a:extLst>
                <a:ext uri="{FF2B5EF4-FFF2-40B4-BE49-F238E27FC236}">
                  <a16:creationId xmlns:a16="http://schemas.microsoft.com/office/drawing/2014/main" id="{81215B18-C6DC-4691-A4FF-8DCEF9058F48}"/>
                </a:ext>
              </a:extLst>
            </p:cNvPr>
            <p:cNvSpPr>
              <a:spLocks/>
            </p:cNvSpPr>
            <p:nvPr/>
          </p:nvSpPr>
          <p:spPr bwMode="auto">
            <a:xfrm>
              <a:off x="1979" y="2329"/>
              <a:ext cx="5" cy="0"/>
            </a:xfrm>
            <a:custGeom>
              <a:avLst/>
              <a:gdLst>
                <a:gd name="T0" fmla="*/ 0 w 2"/>
                <a:gd name="T1" fmla="*/ 2 w 2"/>
                <a:gd name="T2" fmla="*/ 0 w 2"/>
              </a:gdLst>
              <a:ahLst/>
              <a:cxnLst>
                <a:cxn ang="0">
                  <a:pos x="T0" y="0"/>
                </a:cxn>
                <a:cxn ang="0">
                  <a:pos x="T1" y="0"/>
                </a:cxn>
                <a:cxn ang="0">
                  <a:pos x="T2" y="0"/>
                </a:cxn>
              </a:cxnLst>
              <a:rect l="0" t="0" r="r" b="b"/>
              <a:pathLst>
                <a:path w="2">
                  <a:moveTo>
                    <a:pt x="0" y="0"/>
                  </a:moveTo>
                  <a:cubicBezTo>
                    <a:pt x="1" y="0"/>
                    <a:pt x="1" y="0"/>
                    <a:pt x="2" y="0"/>
                  </a:cubicBezTo>
                  <a:cubicBezTo>
                    <a:pt x="1"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91" name="Freeform 1741">
              <a:extLst>
                <a:ext uri="{FF2B5EF4-FFF2-40B4-BE49-F238E27FC236}">
                  <a16:creationId xmlns:a16="http://schemas.microsoft.com/office/drawing/2014/main" id="{692D90AA-05CC-43A2-A298-CF86120DE956}"/>
                </a:ext>
              </a:extLst>
            </p:cNvPr>
            <p:cNvSpPr>
              <a:spLocks/>
            </p:cNvSpPr>
            <p:nvPr/>
          </p:nvSpPr>
          <p:spPr bwMode="auto">
            <a:xfrm>
              <a:off x="1986" y="2324"/>
              <a:ext cx="5" cy="3"/>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1" y="1"/>
                    <a:pt x="1" y="1"/>
                    <a:pt x="0" y="1"/>
                  </a:cubicBezTo>
                  <a:cubicBezTo>
                    <a:pt x="1" y="1"/>
                    <a:pt x="2" y="1"/>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92" name="Freeform 1742">
              <a:extLst>
                <a:ext uri="{FF2B5EF4-FFF2-40B4-BE49-F238E27FC236}">
                  <a16:creationId xmlns:a16="http://schemas.microsoft.com/office/drawing/2014/main" id="{60648244-D4BC-4852-AE8F-FF10F5E5B994}"/>
                </a:ext>
              </a:extLst>
            </p:cNvPr>
            <p:cNvSpPr>
              <a:spLocks/>
            </p:cNvSpPr>
            <p:nvPr/>
          </p:nvSpPr>
          <p:spPr bwMode="auto">
            <a:xfrm>
              <a:off x="2069" y="2450"/>
              <a:ext cx="5" cy="9"/>
            </a:xfrm>
            <a:custGeom>
              <a:avLst/>
              <a:gdLst>
                <a:gd name="T0" fmla="*/ 2 w 2"/>
                <a:gd name="T1" fmla="*/ 2 h 4"/>
                <a:gd name="T2" fmla="*/ 0 w 2"/>
                <a:gd name="T3" fmla="*/ 2 h 4"/>
                <a:gd name="T4" fmla="*/ 0 w 2"/>
                <a:gd name="T5" fmla="*/ 3 h 4"/>
                <a:gd name="T6" fmla="*/ 2 w 2"/>
                <a:gd name="T7" fmla="*/ 2 h 4"/>
              </a:gdLst>
              <a:ahLst/>
              <a:cxnLst>
                <a:cxn ang="0">
                  <a:pos x="T0" y="T1"/>
                </a:cxn>
                <a:cxn ang="0">
                  <a:pos x="T2" y="T3"/>
                </a:cxn>
                <a:cxn ang="0">
                  <a:pos x="T4" y="T5"/>
                </a:cxn>
                <a:cxn ang="0">
                  <a:pos x="T6" y="T7"/>
                </a:cxn>
              </a:cxnLst>
              <a:rect l="0" t="0" r="r" b="b"/>
              <a:pathLst>
                <a:path w="2" h="4">
                  <a:moveTo>
                    <a:pt x="2" y="2"/>
                  </a:moveTo>
                  <a:cubicBezTo>
                    <a:pt x="2" y="0"/>
                    <a:pt x="0" y="1"/>
                    <a:pt x="0" y="2"/>
                  </a:cubicBezTo>
                  <a:cubicBezTo>
                    <a:pt x="0" y="2"/>
                    <a:pt x="0" y="3"/>
                    <a:pt x="0" y="3"/>
                  </a:cubicBezTo>
                  <a:cubicBezTo>
                    <a:pt x="1" y="4"/>
                    <a:pt x="1" y="3"/>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93" name="Freeform 1743">
              <a:extLst>
                <a:ext uri="{FF2B5EF4-FFF2-40B4-BE49-F238E27FC236}">
                  <a16:creationId xmlns:a16="http://schemas.microsoft.com/office/drawing/2014/main" id="{59C8A297-5251-44E9-BCD0-23B17D9D35DC}"/>
                </a:ext>
              </a:extLst>
            </p:cNvPr>
            <p:cNvSpPr>
              <a:spLocks/>
            </p:cNvSpPr>
            <p:nvPr/>
          </p:nvSpPr>
          <p:spPr bwMode="auto">
            <a:xfrm>
              <a:off x="-23" y="1106"/>
              <a:ext cx="23" cy="21"/>
            </a:xfrm>
            <a:custGeom>
              <a:avLst/>
              <a:gdLst>
                <a:gd name="T0" fmla="*/ 8 w 10"/>
                <a:gd name="T1" fmla="*/ 0 h 9"/>
                <a:gd name="T2" fmla="*/ 5 w 10"/>
                <a:gd name="T3" fmla="*/ 4 h 9"/>
                <a:gd name="T4" fmla="*/ 3 w 10"/>
                <a:gd name="T5" fmla="*/ 5 h 9"/>
                <a:gd name="T6" fmla="*/ 0 w 10"/>
                <a:gd name="T7" fmla="*/ 9 h 9"/>
                <a:gd name="T8" fmla="*/ 6 w 10"/>
                <a:gd name="T9" fmla="*/ 6 h 9"/>
                <a:gd name="T10" fmla="*/ 9 w 10"/>
                <a:gd name="T11" fmla="*/ 3 h 9"/>
                <a:gd name="T12" fmla="*/ 10 w 10"/>
                <a:gd name="T13" fmla="*/ 2 h 9"/>
                <a:gd name="T14" fmla="*/ 8 w 10"/>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9">
                  <a:moveTo>
                    <a:pt x="8" y="0"/>
                  </a:moveTo>
                  <a:cubicBezTo>
                    <a:pt x="7" y="0"/>
                    <a:pt x="6" y="3"/>
                    <a:pt x="5" y="4"/>
                  </a:cubicBezTo>
                  <a:cubicBezTo>
                    <a:pt x="5" y="5"/>
                    <a:pt x="4" y="5"/>
                    <a:pt x="3" y="5"/>
                  </a:cubicBezTo>
                  <a:cubicBezTo>
                    <a:pt x="2" y="6"/>
                    <a:pt x="0" y="8"/>
                    <a:pt x="0" y="9"/>
                  </a:cubicBezTo>
                  <a:cubicBezTo>
                    <a:pt x="2" y="8"/>
                    <a:pt x="4" y="7"/>
                    <a:pt x="6" y="6"/>
                  </a:cubicBezTo>
                  <a:cubicBezTo>
                    <a:pt x="7" y="4"/>
                    <a:pt x="7" y="4"/>
                    <a:pt x="9" y="3"/>
                  </a:cubicBezTo>
                  <a:cubicBezTo>
                    <a:pt x="9" y="3"/>
                    <a:pt x="10" y="2"/>
                    <a:pt x="10" y="2"/>
                  </a:cubicBezTo>
                  <a:cubicBezTo>
                    <a:pt x="10" y="0"/>
                    <a:pt x="8" y="1"/>
                    <a:pt x="8"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94" name="Freeform 1744">
              <a:extLst>
                <a:ext uri="{FF2B5EF4-FFF2-40B4-BE49-F238E27FC236}">
                  <a16:creationId xmlns:a16="http://schemas.microsoft.com/office/drawing/2014/main" id="{ACFF0668-F0B0-41C8-BDDB-773DE46991D0}"/>
                </a:ext>
              </a:extLst>
            </p:cNvPr>
            <p:cNvSpPr>
              <a:spLocks/>
            </p:cNvSpPr>
            <p:nvPr/>
          </p:nvSpPr>
          <p:spPr bwMode="auto">
            <a:xfrm>
              <a:off x="317" y="1253"/>
              <a:ext cx="14" cy="9"/>
            </a:xfrm>
            <a:custGeom>
              <a:avLst/>
              <a:gdLst>
                <a:gd name="T0" fmla="*/ 6 w 6"/>
                <a:gd name="T1" fmla="*/ 1 h 4"/>
                <a:gd name="T2" fmla="*/ 0 w 6"/>
                <a:gd name="T3" fmla="*/ 4 h 4"/>
                <a:gd name="T4" fmla="*/ 4 w 6"/>
                <a:gd name="T5" fmla="*/ 4 h 4"/>
                <a:gd name="T6" fmla="*/ 6 w 6"/>
                <a:gd name="T7" fmla="*/ 1 h 4"/>
              </a:gdLst>
              <a:ahLst/>
              <a:cxnLst>
                <a:cxn ang="0">
                  <a:pos x="T0" y="T1"/>
                </a:cxn>
                <a:cxn ang="0">
                  <a:pos x="T2" y="T3"/>
                </a:cxn>
                <a:cxn ang="0">
                  <a:pos x="T4" y="T5"/>
                </a:cxn>
                <a:cxn ang="0">
                  <a:pos x="T6" y="T7"/>
                </a:cxn>
              </a:cxnLst>
              <a:rect l="0" t="0" r="r" b="b"/>
              <a:pathLst>
                <a:path w="6" h="4">
                  <a:moveTo>
                    <a:pt x="6" y="1"/>
                  </a:moveTo>
                  <a:cubicBezTo>
                    <a:pt x="4" y="0"/>
                    <a:pt x="1" y="2"/>
                    <a:pt x="0" y="4"/>
                  </a:cubicBezTo>
                  <a:cubicBezTo>
                    <a:pt x="1" y="4"/>
                    <a:pt x="3" y="4"/>
                    <a:pt x="4" y="4"/>
                  </a:cubicBezTo>
                  <a:cubicBezTo>
                    <a:pt x="5" y="3"/>
                    <a:pt x="5" y="3"/>
                    <a:pt x="6"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95" name="Freeform 1745">
              <a:extLst>
                <a:ext uri="{FF2B5EF4-FFF2-40B4-BE49-F238E27FC236}">
                  <a16:creationId xmlns:a16="http://schemas.microsoft.com/office/drawing/2014/main" id="{A7E0C7FC-8273-479A-AEF3-A1A77682B3E4}"/>
                </a:ext>
              </a:extLst>
            </p:cNvPr>
            <p:cNvSpPr>
              <a:spLocks/>
            </p:cNvSpPr>
            <p:nvPr/>
          </p:nvSpPr>
          <p:spPr bwMode="auto">
            <a:xfrm>
              <a:off x="253" y="1182"/>
              <a:ext cx="40" cy="28"/>
            </a:xfrm>
            <a:custGeom>
              <a:avLst/>
              <a:gdLst>
                <a:gd name="T0" fmla="*/ 9 w 17"/>
                <a:gd name="T1" fmla="*/ 12 h 12"/>
                <a:gd name="T2" fmla="*/ 7 w 17"/>
                <a:gd name="T3" fmla="*/ 8 h 12"/>
                <a:gd name="T4" fmla="*/ 10 w 17"/>
                <a:gd name="T5" fmla="*/ 9 h 12"/>
                <a:gd name="T6" fmla="*/ 17 w 17"/>
                <a:gd name="T7" fmla="*/ 11 h 12"/>
                <a:gd name="T8" fmla="*/ 15 w 17"/>
                <a:gd name="T9" fmla="*/ 8 h 12"/>
                <a:gd name="T10" fmla="*/ 13 w 17"/>
                <a:gd name="T11" fmla="*/ 8 h 12"/>
                <a:gd name="T12" fmla="*/ 10 w 17"/>
                <a:gd name="T13" fmla="*/ 6 h 12"/>
                <a:gd name="T14" fmla="*/ 6 w 17"/>
                <a:gd name="T15" fmla="*/ 4 h 12"/>
                <a:gd name="T16" fmla="*/ 10 w 17"/>
                <a:gd name="T17" fmla="*/ 6 h 12"/>
                <a:gd name="T18" fmla="*/ 16 w 17"/>
                <a:gd name="T19" fmla="*/ 7 h 12"/>
                <a:gd name="T20" fmla="*/ 13 w 17"/>
                <a:gd name="T21" fmla="*/ 5 h 12"/>
                <a:gd name="T22" fmla="*/ 16 w 17"/>
                <a:gd name="T23" fmla="*/ 6 h 12"/>
                <a:gd name="T24" fmla="*/ 14 w 17"/>
                <a:gd name="T25" fmla="*/ 3 h 12"/>
                <a:gd name="T26" fmla="*/ 13 w 17"/>
                <a:gd name="T27" fmla="*/ 3 h 12"/>
                <a:gd name="T28" fmla="*/ 11 w 17"/>
                <a:gd name="T29" fmla="*/ 2 h 12"/>
                <a:gd name="T30" fmla="*/ 9 w 17"/>
                <a:gd name="T31" fmla="*/ 4 h 12"/>
                <a:gd name="T32" fmla="*/ 7 w 17"/>
                <a:gd name="T33" fmla="*/ 4 h 12"/>
                <a:gd name="T34" fmla="*/ 9 w 17"/>
                <a:gd name="T35" fmla="*/ 4 h 12"/>
                <a:gd name="T36" fmla="*/ 7 w 17"/>
                <a:gd name="T37" fmla="*/ 3 h 12"/>
                <a:gd name="T38" fmla="*/ 9 w 17"/>
                <a:gd name="T39" fmla="*/ 1 h 12"/>
                <a:gd name="T40" fmla="*/ 7 w 17"/>
                <a:gd name="T41" fmla="*/ 0 h 12"/>
                <a:gd name="T42" fmla="*/ 5 w 17"/>
                <a:gd name="T43" fmla="*/ 1 h 12"/>
                <a:gd name="T44" fmla="*/ 3 w 17"/>
                <a:gd name="T45" fmla="*/ 2 h 12"/>
                <a:gd name="T46" fmla="*/ 1 w 17"/>
                <a:gd name="T47" fmla="*/ 1 h 12"/>
                <a:gd name="T48" fmla="*/ 0 w 17"/>
                <a:gd name="T49" fmla="*/ 2 h 12"/>
                <a:gd name="T50" fmla="*/ 4 w 17"/>
                <a:gd name="T51" fmla="*/ 6 h 12"/>
                <a:gd name="T52" fmla="*/ 1 w 17"/>
                <a:gd name="T53" fmla="*/ 5 h 12"/>
                <a:gd name="T54" fmla="*/ 1 w 17"/>
                <a:gd name="T55" fmla="*/ 7 h 12"/>
                <a:gd name="T56" fmla="*/ 4 w 17"/>
                <a:gd name="T57" fmla="*/ 9 h 12"/>
                <a:gd name="T58" fmla="*/ 3 w 17"/>
                <a:gd name="T59" fmla="*/ 10 h 12"/>
                <a:gd name="T60" fmla="*/ 4 w 17"/>
                <a:gd name="T61" fmla="*/ 9 h 12"/>
                <a:gd name="T62" fmla="*/ 4 w 17"/>
                <a:gd name="T63" fmla="*/ 10 h 12"/>
                <a:gd name="T64" fmla="*/ 6 w 17"/>
                <a:gd name="T65" fmla="*/ 12 h 12"/>
                <a:gd name="T66" fmla="*/ 9 w 17"/>
                <a:gd name="T6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 h="12">
                  <a:moveTo>
                    <a:pt x="9" y="12"/>
                  </a:moveTo>
                  <a:cubicBezTo>
                    <a:pt x="9" y="10"/>
                    <a:pt x="8" y="10"/>
                    <a:pt x="7" y="8"/>
                  </a:cubicBezTo>
                  <a:cubicBezTo>
                    <a:pt x="8" y="8"/>
                    <a:pt x="9" y="9"/>
                    <a:pt x="10" y="9"/>
                  </a:cubicBezTo>
                  <a:cubicBezTo>
                    <a:pt x="12" y="11"/>
                    <a:pt x="14" y="11"/>
                    <a:pt x="17" y="11"/>
                  </a:cubicBezTo>
                  <a:cubicBezTo>
                    <a:pt x="17" y="10"/>
                    <a:pt x="16" y="8"/>
                    <a:pt x="15" y="8"/>
                  </a:cubicBezTo>
                  <a:cubicBezTo>
                    <a:pt x="14" y="7"/>
                    <a:pt x="13" y="8"/>
                    <a:pt x="13" y="8"/>
                  </a:cubicBezTo>
                  <a:cubicBezTo>
                    <a:pt x="12" y="8"/>
                    <a:pt x="11" y="7"/>
                    <a:pt x="10" y="6"/>
                  </a:cubicBezTo>
                  <a:cubicBezTo>
                    <a:pt x="9" y="6"/>
                    <a:pt x="7" y="5"/>
                    <a:pt x="6" y="4"/>
                  </a:cubicBezTo>
                  <a:cubicBezTo>
                    <a:pt x="7" y="5"/>
                    <a:pt x="9" y="5"/>
                    <a:pt x="10" y="6"/>
                  </a:cubicBezTo>
                  <a:cubicBezTo>
                    <a:pt x="12" y="7"/>
                    <a:pt x="13" y="8"/>
                    <a:pt x="16" y="7"/>
                  </a:cubicBezTo>
                  <a:cubicBezTo>
                    <a:pt x="15" y="6"/>
                    <a:pt x="13" y="6"/>
                    <a:pt x="13" y="5"/>
                  </a:cubicBezTo>
                  <a:cubicBezTo>
                    <a:pt x="14" y="5"/>
                    <a:pt x="15" y="6"/>
                    <a:pt x="16" y="6"/>
                  </a:cubicBezTo>
                  <a:cubicBezTo>
                    <a:pt x="15" y="5"/>
                    <a:pt x="16" y="4"/>
                    <a:pt x="14" y="3"/>
                  </a:cubicBezTo>
                  <a:cubicBezTo>
                    <a:pt x="14" y="3"/>
                    <a:pt x="13" y="3"/>
                    <a:pt x="13" y="3"/>
                  </a:cubicBezTo>
                  <a:cubicBezTo>
                    <a:pt x="12" y="2"/>
                    <a:pt x="11" y="2"/>
                    <a:pt x="11" y="2"/>
                  </a:cubicBezTo>
                  <a:cubicBezTo>
                    <a:pt x="11" y="2"/>
                    <a:pt x="10" y="3"/>
                    <a:pt x="9" y="4"/>
                  </a:cubicBezTo>
                  <a:cubicBezTo>
                    <a:pt x="8" y="5"/>
                    <a:pt x="8" y="5"/>
                    <a:pt x="7" y="4"/>
                  </a:cubicBezTo>
                  <a:cubicBezTo>
                    <a:pt x="8" y="4"/>
                    <a:pt x="8" y="4"/>
                    <a:pt x="9" y="4"/>
                  </a:cubicBezTo>
                  <a:cubicBezTo>
                    <a:pt x="8" y="4"/>
                    <a:pt x="8" y="3"/>
                    <a:pt x="7" y="3"/>
                  </a:cubicBezTo>
                  <a:cubicBezTo>
                    <a:pt x="8" y="3"/>
                    <a:pt x="11" y="2"/>
                    <a:pt x="9" y="1"/>
                  </a:cubicBezTo>
                  <a:cubicBezTo>
                    <a:pt x="9" y="1"/>
                    <a:pt x="7" y="0"/>
                    <a:pt x="7" y="0"/>
                  </a:cubicBezTo>
                  <a:cubicBezTo>
                    <a:pt x="6" y="0"/>
                    <a:pt x="5" y="1"/>
                    <a:pt x="5" y="1"/>
                  </a:cubicBezTo>
                  <a:cubicBezTo>
                    <a:pt x="4" y="1"/>
                    <a:pt x="3" y="0"/>
                    <a:pt x="3" y="2"/>
                  </a:cubicBezTo>
                  <a:cubicBezTo>
                    <a:pt x="2" y="2"/>
                    <a:pt x="2" y="1"/>
                    <a:pt x="1" y="1"/>
                  </a:cubicBezTo>
                  <a:cubicBezTo>
                    <a:pt x="2" y="2"/>
                    <a:pt x="2" y="2"/>
                    <a:pt x="0" y="2"/>
                  </a:cubicBezTo>
                  <a:cubicBezTo>
                    <a:pt x="1" y="4"/>
                    <a:pt x="3" y="5"/>
                    <a:pt x="4" y="6"/>
                  </a:cubicBezTo>
                  <a:cubicBezTo>
                    <a:pt x="3" y="6"/>
                    <a:pt x="2" y="5"/>
                    <a:pt x="1" y="5"/>
                  </a:cubicBezTo>
                  <a:cubicBezTo>
                    <a:pt x="1" y="5"/>
                    <a:pt x="1" y="6"/>
                    <a:pt x="1" y="7"/>
                  </a:cubicBezTo>
                  <a:cubicBezTo>
                    <a:pt x="1" y="6"/>
                    <a:pt x="3" y="8"/>
                    <a:pt x="4" y="9"/>
                  </a:cubicBezTo>
                  <a:cubicBezTo>
                    <a:pt x="4" y="9"/>
                    <a:pt x="3" y="9"/>
                    <a:pt x="3" y="10"/>
                  </a:cubicBezTo>
                  <a:cubicBezTo>
                    <a:pt x="4" y="10"/>
                    <a:pt x="4" y="9"/>
                    <a:pt x="4" y="9"/>
                  </a:cubicBezTo>
                  <a:cubicBezTo>
                    <a:pt x="4" y="9"/>
                    <a:pt x="4" y="10"/>
                    <a:pt x="4" y="10"/>
                  </a:cubicBezTo>
                  <a:cubicBezTo>
                    <a:pt x="5" y="11"/>
                    <a:pt x="6" y="11"/>
                    <a:pt x="6" y="12"/>
                  </a:cubicBezTo>
                  <a:cubicBezTo>
                    <a:pt x="7" y="12"/>
                    <a:pt x="8" y="12"/>
                    <a:pt x="9" y="1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96" name="Freeform 1746">
              <a:extLst>
                <a:ext uri="{FF2B5EF4-FFF2-40B4-BE49-F238E27FC236}">
                  <a16:creationId xmlns:a16="http://schemas.microsoft.com/office/drawing/2014/main" id="{389BE26E-7ECC-490A-8958-30B9CD80F1C5}"/>
                </a:ext>
              </a:extLst>
            </p:cNvPr>
            <p:cNvSpPr>
              <a:spLocks/>
            </p:cNvSpPr>
            <p:nvPr/>
          </p:nvSpPr>
          <p:spPr bwMode="auto">
            <a:xfrm>
              <a:off x="-153" y="1172"/>
              <a:ext cx="33" cy="19"/>
            </a:xfrm>
            <a:custGeom>
              <a:avLst/>
              <a:gdLst>
                <a:gd name="T0" fmla="*/ 12 w 14"/>
                <a:gd name="T1" fmla="*/ 4 h 8"/>
                <a:gd name="T2" fmla="*/ 12 w 14"/>
                <a:gd name="T3" fmla="*/ 2 h 8"/>
                <a:gd name="T4" fmla="*/ 11 w 14"/>
                <a:gd name="T5" fmla="*/ 2 h 8"/>
                <a:gd name="T6" fmla="*/ 9 w 14"/>
                <a:gd name="T7" fmla="*/ 3 h 8"/>
                <a:gd name="T8" fmla="*/ 7 w 14"/>
                <a:gd name="T9" fmla="*/ 1 h 8"/>
                <a:gd name="T10" fmla="*/ 4 w 14"/>
                <a:gd name="T11" fmla="*/ 2 h 8"/>
                <a:gd name="T12" fmla="*/ 6 w 14"/>
                <a:gd name="T13" fmla="*/ 3 h 8"/>
                <a:gd name="T14" fmla="*/ 6 w 14"/>
                <a:gd name="T15" fmla="*/ 4 h 8"/>
                <a:gd name="T16" fmla="*/ 3 w 14"/>
                <a:gd name="T17" fmla="*/ 4 h 8"/>
                <a:gd name="T18" fmla="*/ 4 w 14"/>
                <a:gd name="T19" fmla="*/ 6 h 8"/>
                <a:gd name="T20" fmla="*/ 2 w 14"/>
                <a:gd name="T21" fmla="*/ 6 h 8"/>
                <a:gd name="T22" fmla="*/ 2 w 14"/>
                <a:gd name="T23" fmla="*/ 6 h 8"/>
                <a:gd name="T24" fmla="*/ 3 w 14"/>
                <a:gd name="T25" fmla="*/ 7 h 8"/>
                <a:gd name="T26" fmla="*/ 5 w 14"/>
                <a:gd name="T27" fmla="*/ 8 h 8"/>
                <a:gd name="T28" fmla="*/ 8 w 14"/>
                <a:gd name="T29" fmla="*/ 5 h 8"/>
                <a:gd name="T30" fmla="*/ 10 w 14"/>
                <a:gd name="T31" fmla="*/ 6 h 8"/>
                <a:gd name="T32" fmla="*/ 11 w 14"/>
                <a:gd name="T33" fmla="*/ 4 h 8"/>
                <a:gd name="T34" fmla="*/ 13 w 14"/>
                <a:gd name="T35" fmla="*/ 4 h 8"/>
                <a:gd name="T36" fmla="*/ 12 w 14"/>
                <a:gd name="T3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8">
                  <a:moveTo>
                    <a:pt x="12" y="4"/>
                  </a:moveTo>
                  <a:cubicBezTo>
                    <a:pt x="12" y="3"/>
                    <a:pt x="13" y="3"/>
                    <a:pt x="12" y="2"/>
                  </a:cubicBezTo>
                  <a:cubicBezTo>
                    <a:pt x="11" y="2"/>
                    <a:pt x="11" y="3"/>
                    <a:pt x="11" y="2"/>
                  </a:cubicBezTo>
                  <a:cubicBezTo>
                    <a:pt x="10" y="0"/>
                    <a:pt x="10" y="3"/>
                    <a:pt x="9" y="3"/>
                  </a:cubicBezTo>
                  <a:cubicBezTo>
                    <a:pt x="9" y="3"/>
                    <a:pt x="8" y="1"/>
                    <a:pt x="7" y="1"/>
                  </a:cubicBezTo>
                  <a:cubicBezTo>
                    <a:pt x="6" y="1"/>
                    <a:pt x="5" y="2"/>
                    <a:pt x="4" y="2"/>
                  </a:cubicBezTo>
                  <a:cubicBezTo>
                    <a:pt x="5" y="2"/>
                    <a:pt x="5" y="2"/>
                    <a:pt x="6" y="3"/>
                  </a:cubicBezTo>
                  <a:cubicBezTo>
                    <a:pt x="5" y="3"/>
                    <a:pt x="6" y="4"/>
                    <a:pt x="6" y="4"/>
                  </a:cubicBezTo>
                  <a:cubicBezTo>
                    <a:pt x="5" y="4"/>
                    <a:pt x="4" y="3"/>
                    <a:pt x="3" y="4"/>
                  </a:cubicBezTo>
                  <a:cubicBezTo>
                    <a:pt x="1" y="4"/>
                    <a:pt x="3" y="5"/>
                    <a:pt x="4" y="6"/>
                  </a:cubicBezTo>
                  <a:cubicBezTo>
                    <a:pt x="3" y="5"/>
                    <a:pt x="0" y="5"/>
                    <a:pt x="2" y="6"/>
                  </a:cubicBezTo>
                  <a:cubicBezTo>
                    <a:pt x="2" y="7"/>
                    <a:pt x="2" y="6"/>
                    <a:pt x="2" y="6"/>
                  </a:cubicBezTo>
                  <a:cubicBezTo>
                    <a:pt x="3" y="7"/>
                    <a:pt x="3" y="7"/>
                    <a:pt x="3" y="7"/>
                  </a:cubicBezTo>
                  <a:cubicBezTo>
                    <a:pt x="3" y="8"/>
                    <a:pt x="4" y="8"/>
                    <a:pt x="5" y="8"/>
                  </a:cubicBezTo>
                  <a:cubicBezTo>
                    <a:pt x="6" y="7"/>
                    <a:pt x="7" y="6"/>
                    <a:pt x="8" y="5"/>
                  </a:cubicBezTo>
                  <a:cubicBezTo>
                    <a:pt x="8" y="6"/>
                    <a:pt x="9" y="6"/>
                    <a:pt x="10" y="6"/>
                  </a:cubicBezTo>
                  <a:cubicBezTo>
                    <a:pt x="11" y="6"/>
                    <a:pt x="11" y="5"/>
                    <a:pt x="11" y="4"/>
                  </a:cubicBezTo>
                  <a:cubicBezTo>
                    <a:pt x="12" y="6"/>
                    <a:pt x="13" y="6"/>
                    <a:pt x="13" y="4"/>
                  </a:cubicBezTo>
                  <a:cubicBezTo>
                    <a:pt x="14" y="2"/>
                    <a:pt x="13" y="4"/>
                    <a:pt x="12"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97" name="Freeform 1747">
              <a:extLst>
                <a:ext uri="{FF2B5EF4-FFF2-40B4-BE49-F238E27FC236}">
                  <a16:creationId xmlns:a16="http://schemas.microsoft.com/office/drawing/2014/main" id="{7C5D8E54-1C66-4E8D-A93B-7AFCB287F53E}"/>
                </a:ext>
              </a:extLst>
            </p:cNvPr>
            <p:cNvSpPr>
              <a:spLocks/>
            </p:cNvSpPr>
            <p:nvPr/>
          </p:nvSpPr>
          <p:spPr bwMode="auto">
            <a:xfrm>
              <a:off x="267" y="1215"/>
              <a:ext cx="10" cy="12"/>
            </a:xfrm>
            <a:custGeom>
              <a:avLst/>
              <a:gdLst>
                <a:gd name="T0" fmla="*/ 0 w 4"/>
                <a:gd name="T1" fmla="*/ 1 h 5"/>
                <a:gd name="T2" fmla="*/ 1 w 4"/>
                <a:gd name="T3" fmla="*/ 2 h 5"/>
                <a:gd name="T4" fmla="*/ 1 w 4"/>
                <a:gd name="T5" fmla="*/ 4 h 5"/>
                <a:gd name="T6" fmla="*/ 2 w 4"/>
                <a:gd name="T7" fmla="*/ 5 h 5"/>
                <a:gd name="T8" fmla="*/ 2 w 4"/>
                <a:gd name="T9" fmla="*/ 0 h 5"/>
                <a:gd name="T10" fmla="*/ 0 w 4"/>
                <a:gd name="T11" fmla="*/ 1 h 5"/>
              </a:gdLst>
              <a:ahLst/>
              <a:cxnLst>
                <a:cxn ang="0">
                  <a:pos x="T0" y="T1"/>
                </a:cxn>
                <a:cxn ang="0">
                  <a:pos x="T2" y="T3"/>
                </a:cxn>
                <a:cxn ang="0">
                  <a:pos x="T4" y="T5"/>
                </a:cxn>
                <a:cxn ang="0">
                  <a:pos x="T6" y="T7"/>
                </a:cxn>
                <a:cxn ang="0">
                  <a:pos x="T8" y="T9"/>
                </a:cxn>
                <a:cxn ang="0">
                  <a:pos x="T10" y="T11"/>
                </a:cxn>
              </a:cxnLst>
              <a:rect l="0" t="0" r="r" b="b"/>
              <a:pathLst>
                <a:path w="4" h="5">
                  <a:moveTo>
                    <a:pt x="0" y="1"/>
                  </a:moveTo>
                  <a:cubicBezTo>
                    <a:pt x="0" y="2"/>
                    <a:pt x="0" y="2"/>
                    <a:pt x="1" y="2"/>
                  </a:cubicBezTo>
                  <a:cubicBezTo>
                    <a:pt x="2" y="3"/>
                    <a:pt x="1" y="3"/>
                    <a:pt x="1" y="4"/>
                  </a:cubicBezTo>
                  <a:cubicBezTo>
                    <a:pt x="1" y="5"/>
                    <a:pt x="2" y="5"/>
                    <a:pt x="2" y="5"/>
                  </a:cubicBezTo>
                  <a:cubicBezTo>
                    <a:pt x="4" y="4"/>
                    <a:pt x="2" y="1"/>
                    <a:pt x="2" y="0"/>
                  </a:cubicBezTo>
                  <a:cubicBezTo>
                    <a:pt x="1" y="0"/>
                    <a:pt x="0"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98" name="Freeform 1748">
              <a:extLst>
                <a:ext uri="{FF2B5EF4-FFF2-40B4-BE49-F238E27FC236}">
                  <a16:creationId xmlns:a16="http://schemas.microsoft.com/office/drawing/2014/main" id="{ECB180CC-A378-49A1-88FD-0E5316C4833A}"/>
                </a:ext>
              </a:extLst>
            </p:cNvPr>
            <p:cNvSpPr>
              <a:spLocks/>
            </p:cNvSpPr>
            <p:nvPr/>
          </p:nvSpPr>
          <p:spPr bwMode="auto">
            <a:xfrm>
              <a:off x="-189" y="1191"/>
              <a:ext cx="64" cy="45"/>
            </a:xfrm>
            <a:custGeom>
              <a:avLst/>
              <a:gdLst>
                <a:gd name="T0" fmla="*/ 26 w 27"/>
                <a:gd name="T1" fmla="*/ 6 h 19"/>
                <a:gd name="T2" fmla="*/ 24 w 27"/>
                <a:gd name="T3" fmla="*/ 6 h 19"/>
                <a:gd name="T4" fmla="*/ 24 w 27"/>
                <a:gd name="T5" fmla="*/ 5 h 19"/>
                <a:gd name="T6" fmla="*/ 23 w 27"/>
                <a:gd name="T7" fmla="*/ 5 h 19"/>
                <a:gd name="T8" fmla="*/ 25 w 27"/>
                <a:gd name="T9" fmla="*/ 3 h 19"/>
                <a:gd name="T10" fmla="*/ 24 w 27"/>
                <a:gd name="T11" fmla="*/ 2 h 19"/>
                <a:gd name="T12" fmla="*/ 22 w 27"/>
                <a:gd name="T13" fmla="*/ 2 h 19"/>
                <a:gd name="T14" fmla="*/ 20 w 27"/>
                <a:gd name="T15" fmla="*/ 2 h 19"/>
                <a:gd name="T16" fmla="*/ 19 w 27"/>
                <a:gd name="T17" fmla="*/ 1 h 19"/>
                <a:gd name="T18" fmla="*/ 18 w 27"/>
                <a:gd name="T19" fmla="*/ 1 h 19"/>
                <a:gd name="T20" fmla="*/ 15 w 27"/>
                <a:gd name="T21" fmla="*/ 0 h 19"/>
                <a:gd name="T22" fmla="*/ 18 w 27"/>
                <a:gd name="T23" fmla="*/ 3 h 19"/>
                <a:gd name="T24" fmla="*/ 16 w 27"/>
                <a:gd name="T25" fmla="*/ 2 h 19"/>
                <a:gd name="T26" fmla="*/ 16 w 27"/>
                <a:gd name="T27" fmla="*/ 3 h 19"/>
                <a:gd name="T28" fmla="*/ 14 w 27"/>
                <a:gd name="T29" fmla="*/ 3 h 19"/>
                <a:gd name="T30" fmla="*/ 15 w 27"/>
                <a:gd name="T31" fmla="*/ 4 h 19"/>
                <a:gd name="T32" fmla="*/ 14 w 27"/>
                <a:gd name="T33" fmla="*/ 4 h 19"/>
                <a:gd name="T34" fmla="*/ 14 w 27"/>
                <a:gd name="T35" fmla="*/ 4 h 19"/>
                <a:gd name="T36" fmla="*/ 12 w 27"/>
                <a:gd name="T37" fmla="*/ 3 h 19"/>
                <a:gd name="T38" fmla="*/ 9 w 27"/>
                <a:gd name="T39" fmla="*/ 3 h 19"/>
                <a:gd name="T40" fmla="*/ 12 w 27"/>
                <a:gd name="T41" fmla="*/ 6 h 19"/>
                <a:gd name="T42" fmla="*/ 9 w 27"/>
                <a:gd name="T43" fmla="*/ 5 h 19"/>
                <a:gd name="T44" fmla="*/ 11 w 27"/>
                <a:gd name="T45" fmla="*/ 7 h 19"/>
                <a:gd name="T46" fmla="*/ 10 w 27"/>
                <a:gd name="T47" fmla="*/ 6 h 19"/>
                <a:gd name="T48" fmla="*/ 10 w 27"/>
                <a:gd name="T49" fmla="*/ 7 h 19"/>
                <a:gd name="T50" fmla="*/ 7 w 27"/>
                <a:gd name="T51" fmla="*/ 7 h 19"/>
                <a:gd name="T52" fmla="*/ 5 w 27"/>
                <a:gd name="T53" fmla="*/ 5 h 19"/>
                <a:gd name="T54" fmla="*/ 3 w 27"/>
                <a:gd name="T55" fmla="*/ 6 h 19"/>
                <a:gd name="T56" fmla="*/ 4 w 27"/>
                <a:gd name="T57" fmla="*/ 6 h 19"/>
                <a:gd name="T58" fmla="*/ 2 w 27"/>
                <a:gd name="T59" fmla="*/ 7 h 19"/>
                <a:gd name="T60" fmla="*/ 1 w 27"/>
                <a:gd name="T61" fmla="*/ 8 h 19"/>
                <a:gd name="T62" fmla="*/ 0 w 27"/>
                <a:gd name="T63" fmla="*/ 10 h 19"/>
                <a:gd name="T64" fmla="*/ 1 w 27"/>
                <a:gd name="T65" fmla="*/ 11 h 19"/>
                <a:gd name="T66" fmla="*/ 2 w 27"/>
                <a:gd name="T67" fmla="*/ 13 h 19"/>
                <a:gd name="T68" fmla="*/ 4 w 27"/>
                <a:gd name="T69" fmla="*/ 15 h 19"/>
                <a:gd name="T70" fmla="*/ 5 w 27"/>
                <a:gd name="T71" fmla="*/ 17 h 19"/>
                <a:gd name="T72" fmla="*/ 6 w 27"/>
                <a:gd name="T73" fmla="*/ 16 h 19"/>
                <a:gd name="T74" fmla="*/ 6 w 27"/>
                <a:gd name="T75" fmla="*/ 15 h 19"/>
                <a:gd name="T76" fmla="*/ 3 w 27"/>
                <a:gd name="T77" fmla="*/ 13 h 19"/>
                <a:gd name="T78" fmla="*/ 5 w 27"/>
                <a:gd name="T79" fmla="*/ 13 h 19"/>
                <a:gd name="T80" fmla="*/ 8 w 27"/>
                <a:gd name="T81" fmla="*/ 13 h 19"/>
                <a:gd name="T82" fmla="*/ 7 w 27"/>
                <a:gd name="T83" fmla="*/ 15 h 19"/>
                <a:gd name="T84" fmla="*/ 10 w 27"/>
                <a:gd name="T85" fmla="*/ 13 h 19"/>
                <a:gd name="T86" fmla="*/ 7 w 27"/>
                <a:gd name="T87" fmla="*/ 19 h 19"/>
                <a:gd name="T88" fmla="*/ 8 w 27"/>
                <a:gd name="T89" fmla="*/ 18 h 19"/>
                <a:gd name="T90" fmla="*/ 10 w 27"/>
                <a:gd name="T91" fmla="*/ 17 h 19"/>
                <a:gd name="T92" fmla="*/ 11 w 27"/>
                <a:gd name="T93" fmla="*/ 16 h 19"/>
                <a:gd name="T94" fmla="*/ 10 w 27"/>
                <a:gd name="T95" fmla="*/ 14 h 19"/>
                <a:gd name="T96" fmla="*/ 12 w 27"/>
                <a:gd name="T97" fmla="*/ 14 h 19"/>
                <a:gd name="T98" fmla="*/ 14 w 27"/>
                <a:gd name="T99" fmla="*/ 12 h 19"/>
                <a:gd name="T100" fmla="*/ 16 w 27"/>
                <a:gd name="T101" fmla="*/ 12 h 19"/>
                <a:gd name="T102" fmla="*/ 19 w 27"/>
                <a:gd name="T103" fmla="*/ 11 h 19"/>
                <a:gd name="T104" fmla="*/ 17 w 27"/>
                <a:gd name="T105" fmla="*/ 10 h 19"/>
                <a:gd name="T106" fmla="*/ 22 w 27"/>
                <a:gd name="T107" fmla="*/ 9 h 19"/>
                <a:gd name="T108" fmla="*/ 19 w 27"/>
                <a:gd name="T109" fmla="*/ 7 h 19"/>
                <a:gd name="T110" fmla="*/ 25 w 27"/>
                <a:gd name="T111" fmla="*/ 8 h 19"/>
                <a:gd name="T112" fmla="*/ 27 w 27"/>
                <a:gd name="T113" fmla="*/ 6 h 19"/>
                <a:gd name="T114" fmla="*/ 26 w 27"/>
                <a:gd name="T115"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 h="19">
                  <a:moveTo>
                    <a:pt x="26" y="6"/>
                  </a:moveTo>
                  <a:cubicBezTo>
                    <a:pt x="25" y="5"/>
                    <a:pt x="24" y="5"/>
                    <a:pt x="24" y="6"/>
                  </a:cubicBezTo>
                  <a:cubicBezTo>
                    <a:pt x="24" y="5"/>
                    <a:pt x="24" y="5"/>
                    <a:pt x="24" y="5"/>
                  </a:cubicBezTo>
                  <a:cubicBezTo>
                    <a:pt x="24" y="5"/>
                    <a:pt x="24" y="5"/>
                    <a:pt x="23" y="5"/>
                  </a:cubicBezTo>
                  <a:cubicBezTo>
                    <a:pt x="24" y="4"/>
                    <a:pt x="25" y="3"/>
                    <a:pt x="25" y="3"/>
                  </a:cubicBezTo>
                  <a:cubicBezTo>
                    <a:pt x="25" y="2"/>
                    <a:pt x="24" y="3"/>
                    <a:pt x="24" y="2"/>
                  </a:cubicBezTo>
                  <a:cubicBezTo>
                    <a:pt x="24" y="2"/>
                    <a:pt x="22" y="0"/>
                    <a:pt x="22" y="2"/>
                  </a:cubicBezTo>
                  <a:cubicBezTo>
                    <a:pt x="21" y="1"/>
                    <a:pt x="21" y="3"/>
                    <a:pt x="20" y="2"/>
                  </a:cubicBezTo>
                  <a:cubicBezTo>
                    <a:pt x="20" y="2"/>
                    <a:pt x="20" y="1"/>
                    <a:pt x="19" y="1"/>
                  </a:cubicBezTo>
                  <a:cubicBezTo>
                    <a:pt x="19" y="1"/>
                    <a:pt x="18" y="1"/>
                    <a:pt x="18" y="1"/>
                  </a:cubicBezTo>
                  <a:cubicBezTo>
                    <a:pt x="17" y="1"/>
                    <a:pt x="15" y="0"/>
                    <a:pt x="15" y="0"/>
                  </a:cubicBezTo>
                  <a:cubicBezTo>
                    <a:pt x="15" y="0"/>
                    <a:pt x="17" y="2"/>
                    <a:pt x="18" y="3"/>
                  </a:cubicBezTo>
                  <a:cubicBezTo>
                    <a:pt x="17" y="2"/>
                    <a:pt x="16" y="2"/>
                    <a:pt x="16" y="2"/>
                  </a:cubicBezTo>
                  <a:cubicBezTo>
                    <a:pt x="16" y="2"/>
                    <a:pt x="16" y="3"/>
                    <a:pt x="16" y="3"/>
                  </a:cubicBezTo>
                  <a:cubicBezTo>
                    <a:pt x="16" y="3"/>
                    <a:pt x="15" y="3"/>
                    <a:pt x="14" y="3"/>
                  </a:cubicBezTo>
                  <a:cubicBezTo>
                    <a:pt x="12" y="2"/>
                    <a:pt x="15" y="4"/>
                    <a:pt x="15" y="4"/>
                  </a:cubicBezTo>
                  <a:cubicBezTo>
                    <a:pt x="15" y="5"/>
                    <a:pt x="14" y="4"/>
                    <a:pt x="14" y="4"/>
                  </a:cubicBezTo>
                  <a:cubicBezTo>
                    <a:pt x="14" y="4"/>
                    <a:pt x="13" y="3"/>
                    <a:pt x="14" y="4"/>
                  </a:cubicBezTo>
                  <a:cubicBezTo>
                    <a:pt x="14" y="6"/>
                    <a:pt x="12" y="3"/>
                    <a:pt x="12" y="3"/>
                  </a:cubicBezTo>
                  <a:cubicBezTo>
                    <a:pt x="11" y="1"/>
                    <a:pt x="9" y="1"/>
                    <a:pt x="9" y="3"/>
                  </a:cubicBezTo>
                  <a:cubicBezTo>
                    <a:pt x="8" y="5"/>
                    <a:pt x="11" y="4"/>
                    <a:pt x="12" y="6"/>
                  </a:cubicBezTo>
                  <a:cubicBezTo>
                    <a:pt x="12" y="6"/>
                    <a:pt x="10" y="5"/>
                    <a:pt x="9" y="5"/>
                  </a:cubicBezTo>
                  <a:cubicBezTo>
                    <a:pt x="9" y="6"/>
                    <a:pt x="11" y="6"/>
                    <a:pt x="11" y="7"/>
                  </a:cubicBezTo>
                  <a:cubicBezTo>
                    <a:pt x="11" y="7"/>
                    <a:pt x="10" y="7"/>
                    <a:pt x="10" y="6"/>
                  </a:cubicBezTo>
                  <a:cubicBezTo>
                    <a:pt x="10" y="6"/>
                    <a:pt x="10" y="7"/>
                    <a:pt x="10" y="7"/>
                  </a:cubicBezTo>
                  <a:cubicBezTo>
                    <a:pt x="9" y="7"/>
                    <a:pt x="8" y="7"/>
                    <a:pt x="7" y="7"/>
                  </a:cubicBezTo>
                  <a:cubicBezTo>
                    <a:pt x="9" y="5"/>
                    <a:pt x="6" y="5"/>
                    <a:pt x="5" y="5"/>
                  </a:cubicBezTo>
                  <a:cubicBezTo>
                    <a:pt x="4" y="5"/>
                    <a:pt x="4" y="6"/>
                    <a:pt x="3" y="6"/>
                  </a:cubicBezTo>
                  <a:cubicBezTo>
                    <a:pt x="4" y="6"/>
                    <a:pt x="4" y="6"/>
                    <a:pt x="4" y="6"/>
                  </a:cubicBezTo>
                  <a:cubicBezTo>
                    <a:pt x="3" y="6"/>
                    <a:pt x="2" y="6"/>
                    <a:pt x="2" y="7"/>
                  </a:cubicBezTo>
                  <a:cubicBezTo>
                    <a:pt x="2" y="7"/>
                    <a:pt x="1" y="8"/>
                    <a:pt x="1" y="8"/>
                  </a:cubicBezTo>
                  <a:cubicBezTo>
                    <a:pt x="1" y="8"/>
                    <a:pt x="0" y="9"/>
                    <a:pt x="0" y="10"/>
                  </a:cubicBezTo>
                  <a:cubicBezTo>
                    <a:pt x="0" y="11"/>
                    <a:pt x="0" y="11"/>
                    <a:pt x="1" y="11"/>
                  </a:cubicBezTo>
                  <a:cubicBezTo>
                    <a:pt x="2" y="11"/>
                    <a:pt x="2" y="12"/>
                    <a:pt x="2" y="13"/>
                  </a:cubicBezTo>
                  <a:cubicBezTo>
                    <a:pt x="3" y="15"/>
                    <a:pt x="3" y="14"/>
                    <a:pt x="4" y="15"/>
                  </a:cubicBezTo>
                  <a:cubicBezTo>
                    <a:pt x="4" y="16"/>
                    <a:pt x="4" y="16"/>
                    <a:pt x="5" y="17"/>
                  </a:cubicBezTo>
                  <a:cubicBezTo>
                    <a:pt x="5" y="16"/>
                    <a:pt x="6" y="16"/>
                    <a:pt x="6" y="16"/>
                  </a:cubicBezTo>
                  <a:cubicBezTo>
                    <a:pt x="6" y="16"/>
                    <a:pt x="6" y="15"/>
                    <a:pt x="6" y="15"/>
                  </a:cubicBezTo>
                  <a:cubicBezTo>
                    <a:pt x="6" y="14"/>
                    <a:pt x="4" y="14"/>
                    <a:pt x="3" y="13"/>
                  </a:cubicBezTo>
                  <a:cubicBezTo>
                    <a:pt x="4" y="13"/>
                    <a:pt x="5" y="13"/>
                    <a:pt x="5" y="13"/>
                  </a:cubicBezTo>
                  <a:cubicBezTo>
                    <a:pt x="6" y="12"/>
                    <a:pt x="7" y="13"/>
                    <a:pt x="8" y="13"/>
                  </a:cubicBezTo>
                  <a:cubicBezTo>
                    <a:pt x="8" y="13"/>
                    <a:pt x="6" y="14"/>
                    <a:pt x="7" y="15"/>
                  </a:cubicBezTo>
                  <a:cubicBezTo>
                    <a:pt x="7" y="16"/>
                    <a:pt x="10" y="13"/>
                    <a:pt x="10" y="13"/>
                  </a:cubicBezTo>
                  <a:cubicBezTo>
                    <a:pt x="9" y="15"/>
                    <a:pt x="7" y="16"/>
                    <a:pt x="7" y="19"/>
                  </a:cubicBezTo>
                  <a:cubicBezTo>
                    <a:pt x="7" y="18"/>
                    <a:pt x="8" y="19"/>
                    <a:pt x="8" y="18"/>
                  </a:cubicBezTo>
                  <a:cubicBezTo>
                    <a:pt x="9" y="18"/>
                    <a:pt x="10" y="17"/>
                    <a:pt x="10" y="17"/>
                  </a:cubicBezTo>
                  <a:cubicBezTo>
                    <a:pt x="10" y="17"/>
                    <a:pt x="11" y="16"/>
                    <a:pt x="11" y="16"/>
                  </a:cubicBezTo>
                  <a:cubicBezTo>
                    <a:pt x="13" y="15"/>
                    <a:pt x="12" y="15"/>
                    <a:pt x="10" y="14"/>
                  </a:cubicBezTo>
                  <a:cubicBezTo>
                    <a:pt x="11" y="14"/>
                    <a:pt x="12" y="14"/>
                    <a:pt x="12" y="14"/>
                  </a:cubicBezTo>
                  <a:cubicBezTo>
                    <a:pt x="13" y="13"/>
                    <a:pt x="12" y="12"/>
                    <a:pt x="14" y="12"/>
                  </a:cubicBezTo>
                  <a:cubicBezTo>
                    <a:pt x="15" y="12"/>
                    <a:pt x="15" y="12"/>
                    <a:pt x="16" y="12"/>
                  </a:cubicBezTo>
                  <a:cubicBezTo>
                    <a:pt x="16" y="12"/>
                    <a:pt x="18" y="11"/>
                    <a:pt x="19" y="11"/>
                  </a:cubicBezTo>
                  <a:cubicBezTo>
                    <a:pt x="18" y="10"/>
                    <a:pt x="17" y="11"/>
                    <a:pt x="17" y="10"/>
                  </a:cubicBezTo>
                  <a:cubicBezTo>
                    <a:pt x="18" y="10"/>
                    <a:pt x="23" y="11"/>
                    <a:pt x="22" y="9"/>
                  </a:cubicBezTo>
                  <a:cubicBezTo>
                    <a:pt x="21" y="8"/>
                    <a:pt x="19" y="8"/>
                    <a:pt x="19" y="7"/>
                  </a:cubicBezTo>
                  <a:cubicBezTo>
                    <a:pt x="21" y="7"/>
                    <a:pt x="23" y="9"/>
                    <a:pt x="25" y="8"/>
                  </a:cubicBezTo>
                  <a:cubicBezTo>
                    <a:pt x="25" y="8"/>
                    <a:pt x="27" y="6"/>
                    <a:pt x="27" y="6"/>
                  </a:cubicBezTo>
                  <a:cubicBezTo>
                    <a:pt x="27" y="5"/>
                    <a:pt x="26" y="6"/>
                    <a:pt x="26" y="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99" name="Freeform 1749">
              <a:extLst>
                <a:ext uri="{FF2B5EF4-FFF2-40B4-BE49-F238E27FC236}">
                  <a16:creationId xmlns:a16="http://schemas.microsoft.com/office/drawing/2014/main" id="{45F290B9-22B7-408F-A5B1-640D6AAA64CC}"/>
                </a:ext>
              </a:extLst>
            </p:cNvPr>
            <p:cNvSpPr>
              <a:spLocks/>
            </p:cNvSpPr>
            <p:nvPr/>
          </p:nvSpPr>
          <p:spPr bwMode="auto">
            <a:xfrm>
              <a:off x="251" y="1189"/>
              <a:ext cx="5" cy="7"/>
            </a:xfrm>
            <a:custGeom>
              <a:avLst/>
              <a:gdLst>
                <a:gd name="T0" fmla="*/ 1 w 2"/>
                <a:gd name="T1" fmla="*/ 0 h 3"/>
                <a:gd name="T2" fmla="*/ 0 w 2"/>
                <a:gd name="T3" fmla="*/ 2 h 3"/>
                <a:gd name="T4" fmla="*/ 1 w 2"/>
                <a:gd name="T5" fmla="*/ 3 h 3"/>
                <a:gd name="T6" fmla="*/ 1 w 2"/>
                <a:gd name="T7" fmla="*/ 0 h 3"/>
              </a:gdLst>
              <a:ahLst/>
              <a:cxnLst>
                <a:cxn ang="0">
                  <a:pos x="T0" y="T1"/>
                </a:cxn>
                <a:cxn ang="0">
                  <a:pos x="T2" y="T3"/>
                </a:cxn>
                <a:cxn ang="0">
                  <a:pos x="T4" y="T5"/>
                </a:cxn>
                <a:cxn ang="0">
                  <a:pos x="T6" y="T7"/>
                </a:cxn>
              </a:cxnLst>
              <a:rect l="0" t="0" r="r" b="b"/>
              <a:pathLst>
                <a:path w="2" h="3">
                  <a:moveTo>
                    <a:pt x="1" y="0"/>
                  </a:moveTo>
                  <a:cubicBezTo>
                    <a:pt x="0" y="0"/>
                    <a:pt x="0" y="1"/>
                    <a:pt x="0" y="2"/>
                  </a:cubicBezTo>
                  <a:cubicBezTo>
                    <a:pt x="0" y="2"/>
                    <a:pt x="1" y="3"/>
                    <a:pt x="1" y="3"/>
                  </a:cubicBezTo>
                  <a:cubicBezTo>
                    <a:pt x="2" y="2"/>
                    <a:pt x="2" y="1"/>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00" name="Freeform 1750">
              <a:extLst>
                <a:ext uri="{FF2B5EF4-FFF2-40B4-BE49-F238E27FC236}">
                  <a16:creationId xmlns:a16="http://schemas.microsoft.com/office/drawing/2014/main" id="{E3020298-2F9D-4269-96B4-B2F48A32681A}"/>
                </a:ext>
              </a:extLst>
            </p:cNvPr>
            <p:cNvSpPr>
              <a:spLocks/>
            </p:cNvSpPr>
            <p:nvPr/>
          </p:nvSpPr>
          <p:spPr bwMode="auto">
            <a:xfrm>
              <a:off x="353" y="1243"/>
              <a:ext cx="9" cy="14"/>
            </a:xfrm>
            <a:custGeom>
              <a:avLst/>
              <a:gdLst>
                <a:gd name="T0" fmla="*/ 3 w 4"/>
                <a:gd name="T1" fmla="*/ 5 h 6"/>
                <a:gd name="T2" fmla="*/ 3 w 4"/>
                <a:gd name="T3" fmla="*/ 6 h 6"/>
                <a:gd name="T4" fmla="*/ 4 w 4"/>
                <a:gd name="T5" fmla="*/ 4 h 6"/>
                <a:gd name="T6" fmla="*/ 0 w 4"/>
                <a:gd name="T7" fmla="*/ 0 h 6"/>
                <a:gd name="T8" fmla="*/ 1 w 4"/>
                <a:gd name="T9" fmla="*/ 4 h 6"/>
                <a:gd name="T10" fmla="*/ 3 w 4"/>
                <a:gd name="T11" fmla="*/ 5 h 6"/>
              </a:gdLst>
              <a:ahLst/>
              <a:cxnLst>
                <a:cxn ang="0">
                  <a:pos x="T0" y="T1"/>
                </a:cxn>
                <a:cxn ang="0">
                  <a:pos x="T2" y="T3"/>
                </a:cxn>
                <a:cxn ang="0">
                  <a:pos x="T4" y="T5"/>
                </a:cxn>
                <a:cxn ang="0">
                  <a:pos x="T6" y="T7"/>
                </a:cxn>
                <a:cxn ang="0">
                  <a:pos x="T8" y="T9"/>
                </a:cxn>
                <a:cxn ang="0">
                  <a:pos x="T10" y="T11"/>
                </a:cxn>
              </a:cxnLst>
              <a:rect l="0" t="0" r="r" b="b"/>
              <a:pathLst>
                <a:path w="4" h="6">
                  <a:moveTo>
                    <a:pt x="3" y="5"/>
                  </a:moveTo>
                  <a:cubicBezTo>
                    <a:pt x="3" y="5"/>
                    <a:pt x="3" y="6"/>
                    <a:pt x="3" y="6"/>
                  </a:cubicBezTo>
                  <a:cubicBezTo>
                    <a:pt x="4" y="5"/>
                    <a:pt x="4" y="5"/>
                    <a:pt x="4" y="4"/>
                  </a:cubicBezTo>
                  <a:cubicBezTo>
                    <a:pt x="3" y="3"/>
                    <a:pt x="2" y="2"/>
                    <a:pt x="0" y="0"/>
                  </a:cubicBezTo>
                  <a:cubicBezTo>
                    <a:pt x="0" y="2"/>
                    <a:pt x="0" y="3"/>
                    <a:pt x="1" y="4"/>
                  </a:cubicBezTo>
                  <a:cubicBezTo>
                    <a:pt x="1" y="5"/>
                    <a:pt x="2" y="5"/>
                    <a:pt x="3"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01" name="Freeform 1751">
              <a:extLst>
                <a:ext uri="{FF2B5EF4-FFF2-40B4-BE49-F238E27FC236}">
                  <a16:creationId xmlns:a16="http://schemas.microsoft.com/office/drawing/2014/main" id="{D41286F0-DB1B-4F23-900B-263FC5BFE425}"/>
                </a:ext>
              </a:extLst>
            </p:cNvPr>
            <p:cNvSpPr>
              <a:spLocks/>
            </p:cNvSpPr>
            <p:nvPr/>
          </p:nvSpPr>
          <p:spPr bwMode="auto">
            <a:xfrm>
              <a:off x="-338" y="1281"/>
              <a:ext cx="12" cy="9"/>
            </a:xfrm>
            <a:custGeom>
              <a:avLst/>
              <a:gdLst>
                <a:gd name="T0" fmla="*/ 3 w 5"/>
                <a:gd name="T1" fmla="*/ 0 h 4"/>
                <a:gd name="T2" fmla="*/ 1 w 5"/>
                <a:gd name="T3" fmla="*/ 4 h 4"/>
                <a:gd name="T4" fmla="*/ 4 w 5"/>
                <a:gd name="T5" fmla="*/ 3 h 4"/>
                <a:gd name="T6" fmla="*/ 5 w 5"/>
                <a:gd name="T7" fmla="*/ 3 h 4"/>
                <a:gd name="T8" fmla="*/ 3 w 5"/>
                <a:gd name="T9" fmla="*/ 0 h 4"/>
              </a:gdLst>
              <a:ahLst/>
              <a:cxnLst>
                <a:cxn ang="0">
                  <a:pos x="T0" y="T1"/>
                </a:cxn>
                <a:cxn ang="0">
                  <a:pos x="T2" y="T3"/>
                </a:cxn>
                <a:cxn ang="0">
                  <a:pos x="T4" y="T5"/>
                </a:cxn>
                <a:cxn ang="0">
                  <a:pos x="T6" y="T7"/>
                </a:cxn>
                <a:cxn ang="0">
                  <a:pos x="T8" y="T9"/>
                </a:cxn>
              </a:cxnLst>
              <a:rect l="0" t="0" r="r" b="b"/>
              <a:pathLst>
                <a:path w="5" h="4">
                  <a:moveTo>
                    <a:pt x="3" y="0"/>
                  </a:moveTo>
                  <a:cubicBezTo>
                    <a:pt x="0" y="0"/>
                    <a:pt x="2" y="2"/>
                    <a:pt x="1" y="4"/>
                  </a:cubicBezTo>
                  <a:cubicBezTo>
                    <a:pt x="2" y="4"/>
                    <a:pt x="3" y="3"/>
                    <a:pt x="4" y="3"/>
                  </a:cubicBezTo>
                  <a:cubicBezTo>
                    <a:pt x="4" y="3"/>
                    <a:pt x="5" y="4"/>
                    <a:pt x="5" y="3"/>
                  </a:cubicBezTo>
                  <a:cubicBezTo>
                    <a:pt x="4" y="2"/>
                    <a:pt x="3" y="1"/>
                    <a:pt x="3"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02" name="Freeform 1752">
              <a:extLst>
                <a:ext uri="{FF2B5EF4-FFF2-40B4-BE49-F238E27FC236}">
                  <a16:creationId xmlns:a16="http://schemas.microsoft.com/office/drawing/2014/main" id="{183F5E88-D9D3-4201-821B-664C05AB875A}"/>
                </a:ext>
              </a:extLst>
            </p:cNvPr>
            <p:cNvSpPr>
              <a:spLocks/>
            </p:cNvSpPr>
            <p:nvPr/>
          </p:nvSpPr>
          <p:spPr bwMode="auto">
            <a:xfrm>
              <a:off x="-321" y="1283"/>
              <a:ext cx="9" cy="15"/>
            </a:xfrm>
            <a:custGeom>
              <a:avLst/>
              <a:gdLst>
                <a:gd name="T0" fmla="*/ 1 w 4"/>
                <a:gd name="T1" fmla="*/ 3 h 6"/>
                <a:gd name="T2" fmla="*/ 1 w 4"/>
                <a:gd name="T3" fmla="*/ 4 h 6"/>
                <a:gd name="T4" fmla="*/ 0 w 4"/>
                <a:gd name="T5" fmla="*/ 6 h 6"/>
                <a:gd name="T6" fmla="*/ 2 w 4"/>
                <a:gd name="T7" fmla="*/ 4 h 6"/>
                <a:gd name="T8" fmla="*/ 3 w 4"/>
                <a:gd name="T9" fmla="*/ 3 h 6"/>
                <a:gd name="T10" fmla="*/ 4 w 4"/>
                <a:gd name="T11" fmla="*/ 3 h 6"/>
                <a:gd name="T12" fmla="*/ 4 w 4"/>
                <a:gd name="T13" fmla="*/ 2 h 6"/>
                <a:gd name="T14" fmla="*/ 4 w 4"/>
                <a:gd name="T15" fmla="*/ 1 h 6"/>
                <a:gd name="T16" fmla="*/ 1 w 4"/>
                <a:gd name="T1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6">
                  <a:moveTo>
                    <a:pt x="1" y="3"/>
                  </a:moveTo>
                  <a:cubicBezTo>
                    <a:pt x="1" y="3"/>
                    <a:pt x="1" y="4"/>
                    <a:pt x="1" y="4"/>
                  </a:cubicBezTo>
                  <a:cubicBezTo>
                    <a:pt x="1" y="5"/>
                    <a:pt x="1" y="6"/>
                    <a:pt x="0" y="6"/>
                  </a:cubicBezTo>
                  <a:cubicBezTo>
                    <a:pt x="1" y="5"/>
                    <a:pt x="2" y="5"/>
                    <a:pt x="2" y="4"/>
                  </a:cubicBezTo>
                  <a:cubicBezTo>
                    <a:pt x="3" y="4"/>
                    <a:pt x="3" y="3"/>
                    <a:pt x="3" y="3"/>
                  </a:cubicBezTo>
                  <a:cubicBezTo>
                    <a:pt x="3" y="2"/>
                    <a:pt x="4" y="3"/>
                    <a:pt x="4" y="3"/>
                  </a:cubicBezTo>
                  <a:cubicBezTo>
                    <a:pt x="4" y="3"/>
                    <a:pt x="4" y="3"/>
                    <a:pt x="4" y="2"/>
                  </a:cubicBezTo>
                  <a:cubicBezTo>
                    <a:pt x="4" y="2"/>
                    <a:pt x="4" y="1"/>
                    <a:pt x="4" y="1"/>
                  </a:cubicBezTo>
                  <a:cubicBezTo>
                    <a:pt x="4" y="0"/>
                    <a:pt x="1" y="2"/>
                    <a:pt x="1"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03" name="Freeform 1753">
              <a:extLst>
                <a:ext uri="{FF2B5EF4-FFF2-40B4-BE49-F238E27FC236}">
                  <a16:creationId xmlns:a16="http://schemas.microsoft.com/office/drawing/2014/main" id="{24251576-0D94-4782-84C6-85ECD9E523DE}"/>
                </a:ext>
              </a:extLst>
            </p:cNvPr>
            <p:cNvSpPr>
              <a:spLocks/>
            </p:cNvSpPr>
            <p:nvPr/>
          </p:nvSpPr>
          <p:spPr bwMode="auto">
            <a:xfrm>
              <a:off x="-503" y="1328"/>
              <a:ext cx="38" cy="24"/>
            </a:xfrm>
            <a:custGeom>
              <a:avLst/>
              <a:gdLst>
                <a:gd name="T0" fmla="*/ 9 w 16"/>
                <a:gd name="T1" fmla="*/ 8 h 10"/>
                <a:gd name="T2" fmla="*/ 9 w 16"/>
                <a:gd name="T3" fmla="*/ 7 h 10"/>
                <a:gd name="T4" fmla="*/ 9 w 16"/>
                <a:gd name="T5" fmla="*/ 7 h 10"/>
                <a:gd name="T6" fmla="*/ 10 w 16"/>
                <a:gd name="T7" fmla="*/ 7 h 10"/>
                <a:gd name="T8" fmla="*/ 10 w 16"/>
                <a:gd name="T9" fmla="*/ 6 h 10"/>
                <a:gd name="T10" fmla="*/ 12 w 16"/>
                <a:gd name="T11" fmla="*/ 6 h 10"/>
                <a:gd name="T12" fmla="*/ 12 w 16"/>
                <a:gd name="T13" fmla="*/ 6 h 10"/>
                <a:gd name="T14" fmla="*/ 13 w 16"/>
                <a:gd name="T15" fmla="*/ 5 h 10"/>
                <a:gd name="T16" fmla="*/ 15 w 16"/>
                <a:gd name="T17" fmla="*/ 4 h 10"/>
                <a:gd name="T18" fmla="*/ 16 w 16"/>
                <a:gd name="T19" fmla="*/ 4 h 10"/>
                <a:gd name="T20" fmla="*/ 13 w 16"/>
                <a:gd name="T21" fmla="*/ 3 h 10"/>
                <a:gd name="T22" fmla="*/ 13 w 16"/>
                <a:gd name="T23" fmla="*/ 3 h 10"/>
                <a:gd name="T24" fmla="*/ 13 w 16"/>
                <a:gd name="T25" fmla="*/ 3 h 10"/>
                <a:gd name="T26" fmla="*/ 15 w 16"/>
                <a:gd name="T27" fmla="*/ 1 h 10"/>
                <a:gd name="T28" fmla="*/ 16 w 16"/>
                <a:gd name="T29" fmla="*/ 1 h 10"/>
                <a:gd name="T30" fmla="*/ 15 w 16"/>
                <a:gd name="T31" fmla="*/ 0 h 10"/>
                <a:gd name="T32" fmla="*/ 12 w 16"/>
                <a:gd name="T33" fmla="*/ 1 h 10"/>
                <a:gd name="T34" fmla="*/ 11 w 16"/>
                <a:gd name="T35" fmla="*/ 0 h 10"/>
                <a:gd name="T36" fmla="*/ 9 w 16"/>
                <a:gd name="T37" fmla="*/ 0 h 10"/>
                <a:gd name="T38" fmla="*/ 8 w 16"/>
                <a:gd name="T39" fmla="*/ 2 h 10"/>
                <a:gd name="T40" fmla="*/ 8 w 16"/>
                <a:gd name="T41" fmla="*/ 3 h 10"/>
                <a:gd name="T42" fmla="*/ 11 w 16"/>
                <a:gd name="T43" fmla="*/ 4 h 10"/>
                <a:gd name="T44" fmla="*/ 7 w 16"/>
                <a:gd name="T45" fmla="*/ 6 h 10"/>
                <a:gd name="T46" fmla="*/ 8 w 16"/>
                <a:gd name="T47" fmla="*/ 6 h 10"/>
                <a:gd name="T48" fmla="*/ 0 w 16"/>
                <a:gd name="T49" fmla="*/ 9 h 10"/>
                <a:gd name="T50" fmla="*/ 1 w 16"/>
                <a:gd name="T51" fmla="*/ 10 h 10"/>
                <a:gd name="T52" fmla="*/ 3 w 16"/>
                <a:gd name="T53" fmla="*/ 10 h 10"/>
                <a:gd name="T54" fmla="*/ 4 w 16"/>
                <a:gd name="T55" fmla="*/ 9 h 10"/>
                <a:gd name="T56" fmla="*/ 5 w 16"/>
                <a:gd name="T57" fmla="*/ 9 h 10"/>
                <a:gd name="T58" fmla="*/ 9 w 16"/>
                <a:gd name="T59"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 h="10">
                  <a:moveTo>
                    <a:pt x="9" y="8"/>
                  </a:moveTo>
                  <a:cubicBezTo>
                    <a:pt x="9" y="7"/>
                    <a:pt x="9" y="7"/>
                    <a:pt x="9" y="7"/>
                  </a:cubicBezTo>
                  <a:cubicBezTo>
                    <a:pt x="9" y="8"/>
                    <a:pt x="9" y="7"/>
                    <a:pt x="9" y="7"/>
                  </a:cubicBezTo>
                  <a:cubicBezTo>
                    <a:pt x="10" y="7"/>
                    <a:pt x="10" y="7"/>
                    <a:pt x="10" y="7"/>
                  </a:cubicBezTo>
                  <a:cubicBezTo>
                    <a:pt x="11" y="7"/>
                    <a:pt x="11" y="7"/>
                    <a:pt x="10" y="6"/>
                  </a:cubicBezTo>
                  <a:cubicBezTo>
                    <a:pt x="11" y="7"/>
                    <a:pt x="12" y="7"/>
                    <a:pt x="12" y="6"/>
                  </a:cubicBezTo>
                  <a:cubicBezTo>
                    <a:pt x="12" y="6"/>
                    <a:pt x="12" y="6"/>
                    <a:pt x="12" y="6"/>
                  </a:cubicBezTo>
                  <a:cubicBezTo>
                    <a:pt x="12" y="6"/>
                    <a:pt x="13" y="5"/>
                    <a:pt x="13" y="5"/>
                  </a:cubicBezTo>
                  <a:cubicBezTo>
                    <a:pt x="13" y="4"/>
                    <a:pt x="14" y="5"/>
                    <a:pt x="15" y="4"/>
                  </a:cubicBezTo>
                  <a:cubicBezTo>
                    <a:pt x="15" y="4"/>
                    <a:pt x="16" y="4"/>
                    <a:pt x="16" y="4"/>
                  </a:cubicBezTo>
                  <a:cubicBezTo>
                    <a:pt x="15" y="3"/>
                    <a:pt x="13" y="3"/>
                    <a:pt x="13" y="3"/>
                  </a:cubicBezTo>
                  <a:cubicBezTo>
                    <a:pt x="13" y="3"/>
                    <a:pt x="13" y="3"/>
                    <a:pt x="13" y="3"/>
                  </a:cubicBezTo>
                  <a:cubicBezTo>
                    <a:pt x="13" y="3"/>
                    <a:pt x="13" y="3"/>
                    <a:pt x="13" y="3"/>
                  </a:cubicBezTo>
                  <a:cubicBezTo>
                    <a:pt x="14" y="2"/>
                    <a:pt x="15" y="2"/>
                    <a:pt x="15" y="1"/>
                  </a:cubicBezTo>
                  <a:cubicBezTo>
                    <a:pt x="15" y="1"/>
                    <a:pt x="16" y="2"/>
                    <a:pt x="16" y="1"/>
                  </a:cubicBezTo>
                  <a:cubicBezTo>
                    <a:pt x="16" y="1"/>
                    <a:pt x="15" y="0"/>
                    <a:pt x="15" y="0"/>
                  </a:cubicBezTo>
                  <a:cubicBezTo>
                    <a:pt x="14" y="0"/>
                    <a:pt x="13" y="1"/>
                    <a:pt x="12" y="1"/>
                  </a:cubicBezTo>
                  <a:cubicBezTo>
                    <a:pt x="12" y="0"/>
                    <a:pt x="13" y="0"/>
                    <a:pt x="11" y="0"/>
                  </a:cubicBezTo>
                  <a:cubicBezTo>
                    <a:pt x="11" y="0"/>
                    <a:pt x="9" y="0"/>
                    <a:pt x="9" y="0"/>
                  </a:cubicBezTo>
                  <a:cubicBezTo>
                    <a:pt x="8" y="1"/>
                    <a:pt x="8" y="1"/>
                    <a:pt x="8" y="2"/>
                  </a:cubicBezTo>
                  <a:cubicBezTo>
                    <a:pt x="8" y="4"/>
                    <a:pt x="8" y="3"/>
                    <a:pt x="8" y="3"/>
                  </a:cubicBezTo>
                  <a:cubicBezTo>
                    <a:pt x="9" y="3"/>
                    <a:pt x="10" y="3"/>
                    <a:pt x="11" y="4"/>
                  </a:cubicBezTo>
                  <a:cubicBezTo>
                    <a:pt x="9" y="4"/>
                    <a:pt x="7" y="3"/>
                    <a:pt x="7" y="6"/>
                  </a:cubicBezTo>
                  <a:cubicBezTo>
                    <a:pt x="8" y="6"/>
                    <a:pt x="8" y="6"/>
                    <a:pt x="8" y="6"/>
                  </a:cubicBezTo>
                  <a:cubicBezTo>
                    <a:pt x="6" y="7"/>
                    <a:pt x="2" y="8"/>
                    <a:pt x="0" y="9"/>
                  </a:cubicBezTo>
                  <a:cubicBezTo>
                    <a:pt x="0" y="10"/>
                    <a:pt x="1" y="10"/>
                    <a:pt x="1" y="10"/>
                  </a:cubicBezTo>
                  <a:cubicBezTo>
                    <a:pt x="2" y="10"/>
                    <a:pt x="3" y="10"/>
                    <a:pt x="3" y="10"/>
                  </a:cubicBezTo>
                  <a:cubicBezTo>
                    <a:pt x="3" y="10"/>
                    <a:pt x="3" y="9"/>
                    <a:pt x="4" y="9"/>
                  </a:cubicBezTo>
                  <a:cubicBezTo>
                    <a:pt x="4" y="9"/>
                    <a:pt x="5" y="9"/>
                    <a:pt x="5" y="9"/>
                  </a:cubicBezTo>
                  <a:cubicBezTo>
                    <a:pt x="6" y="8"/>
                    <a:pt x="8" y="7"/>
                    <a:pt x="9" y="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04" name="Freeform 1754">
              <a:extLst>
                <a:ext uri="{FF2B5EF4-FFF2-40B4-BE49-F238E27FC236}">
                  <a16:creationId xmlns:a16="http://schemas.microsoft.com/office/drawing/2014/main" id="{B22BE6B3-D2B4-4FEA-AFBB-095DF99BB6B0}"/>
                </a:ext>
              </a:extLst>
            </p:cNvPr>
            <p:cNvSpPr>
              <a:spLocks/>
            </p:cNvSpPr>
            <p:nvPr/>
          </p:nvSpPr>
          <p:spPr bwMode="auto">
            <a:xfrm>
              <a:off x="-463" y="1319"/>
              <a:ext cx="12" cy="7"/>
            </a:xfrm>
            <a:custGeom>
              <a:avLst/>
              <a:gdLst>
                <a:gd name="T0" fmla="*/ 3 w 5"/>
                <a:gd name="T1" fmla="*/ 1 h 3"/>
                <a:gd name="T2" fmla="*/ 1 w 5"/>
                <a:gd name="T3" fmla="*/ 1 h 3"/>
                <a:gd name="T4" fmla="*/ 2 w 5"/>
                <a:gd name="T5" fmla="*/ 3 h 3"/>
                <a:gd name="T6" fmla="*/ 5 w 5"/>
                <a:gd name="T7" fmla="*/ 2 h 3"/>
                <a:gd name="T8" fmla="*/ 3 w 5"/>
                <a:gd name="T9" fmla="*/ 1 h 3"/>
                <a:gd name="T10" fmla="*/ 3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3" y="1"/>
                  </a:moveTo>
                  <a:cubicBezTo>
                    <a:pt x="2" y="1"/>
                    <a:pt x="1" y="0"/>
                    <a:pt x="1" y="1"/>
                  </a:cubicBezTo>
                  <a:cubicBezTo>
                    <a:pt x="0" y="2"/>
                    <a:pt x="1" y="3"/>
                    <a:pt x="2" y="3"/>
                  </a:cubicBezTo>
                  <a:cubicBezTo>
                    <a:pt x="3" y="3"/>
                    <a:pt x="5" y="3"/>
                    <a:pt x="5" y="2"/>
                  </a:cubicBezTo>
                  <a:cubicBezTo>
                    <a:pt x="5" y="2"/>
                    <a:pt x="4" y="1"/>
                    <a:pt x="3" y="1"/>
                  </a:cubicBezTo>
                  <a:cubicBezTo>
                    <a:pt x="3" y="1"/>
                    <a:pt x="3" y="1"/>
                    <a:pt x="3"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05" name="Freeform 1755">
              <a:extLst>
                <a:ext uri="{FF2B5EF4-FFF2-40B4-BE49-F238E27FC236}">
                  <a16:creationId xmlns:a16="http://schemas.microsoft.com/office/drawing/2014/main" id="{A567FEB4-0C11-4A3B-94A1-3220FA8F9643}"/>
                </a:ext>
              </a:extLst>
            </p:cNvPr>
            <p:cNvSpPr>
              <a:spLocks/>
            </p:cNvSpPr>
            <p:nvPr/>
          </p:nvSpPr>
          <p:spPr bwMode="auto">
            <a:xfrm>
              <a:off x="-380" y="1312"/>
              <a:ext cx="2" cy="4"/>
            </a:xfrm>
            <a:custGeom>
              <a:avLst/>
              <a:gdLst>
                <a:gd name="T0" fmla="*/ 1 w 1"/>
                <a:gd name="T1" fmla="*/ 1 h 2"/>
                <a:gd name="T2" fmla="*/ 0 w 1"/>
                <a:gd name="T3" fmla="*/ 0 h 2"/>
                <a:gd name="T4" fmla="*/ 1 w 1"/>
                <a:gd name="T5" fmla="*/ 1 h 2"/>
              </a:gdLst>
              <a:ahLst/>
              <a:cxnLst>
                <a:cxn ang="0">
                  <a:pos x="T0" y="T1"/>
                </a:cxn>
                <a:cxn ang="0">
                  <a:pos x="T2" y="T3"/>
                </a:cxn>
                <a:cxn ang="0">
                  <a:pos x="T4" y="T5"/>
                </a:cxn>
              </a:cxnLst>
              <a:rect l="0" t="0" r="r" b="b"/>
              <a:pathLst>
                <a:path w="1" h="2">
                  <a:moveTo>
                    <a:pt x="1" y="1"/>
                  </a:moveTo>
                  <a:cubicBezTo>
                    <a:pt x="1" y="1"/>
                    <a:pt x="0" y="0"/>
                    <a:pt x="0" y="0"/>
                  </a:cubicBezTo>
                  <a:cubicBezTo>
                    <a:pt x="0" y="1"/>
                    <a:pt x="0" y="2"/>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06" name="Freeform 1756">
              <a:extLst>
                <a:ext uri="{FF2B5EF4-FFF2-40B4-BE49-F238E27FC236}">
                  <a16:creationId xmlns:a16="http://schemas.microsoft.com/office/drawing/2014/main" id="{B9773A9F-67F4-4E2E-91FC-E005601C111F}"/>
                </a:ext>
              </a:extLst>
            </p:cNvPr>
            <p:cNvSpPr>
              <a:spLocks/>
            </p:cNvSpPr>
            <p:nvPr/>
          </p:nvSpPr>
          <p:spPr bwMode="auto">
            <a:xfrm>
              <a:off x="336" y="1231"/>
              <a:ext cx="12" cy="15"/>
            </a:xfrm>
            <a:custGeom>
              <a:avLst/>
              <a:gdLst>
                <a:gd name="T0" fmla="*/ 2 w 5"/>
                <a:gd name="T1" fmla="*/ 1 h 6"/>
                <a:gd name="T2" fmla="*/ 2 w 5"/>
                <a:gd name="T3" fmla="*/ 3 h 6"/>
                <a:gd name="T4" fmla="*/ 1 w 5"/>
                <a:gd name="T5" fmla="*/ 5 h 6"/>
                <a:gd name="T6" fmla="*/ 4 w 5"/>
                <a:gd name="T7" fmla="*/ 4 h 6"/>
                <a:gd name="T8" fmla="*/ 5 w 5"/>
                <a:gd name="T9" fmla="*/ 4 h 6"/>
                <a:gd name="T10" fmla="*/ 2 w 5"/>
                <a:gd name="T11" fmla="*/ 1 h 6"/>
              </a:gdLst>
              <a:ahLst/>
              <a:cxnLst>
                <a:cxn ang="0">
                  <a:pos x="T0" y="T1"/>
                </a:cxn>
                <a:cxn ang="0">
                  <a:pos x="T2" y="T3"/>
                </a:cxn>
                <a:cxn ang="0">
                  <a:pos x="T4" y="T5"/>
                </a:cxn>
                <a:cxn ang="0">
                  <a:pos x="T6" y="T7"/>
                </a:cxn>
                <a:cxn ang="0">
                  <a:pos x="T8" y="T9"/>
                </a:cxn>
                <a:cxn ang="0">
                  <a:pos x="T10" y="T11"/>
                </a:cxn>
              </a:cxnLst>
              <a:rect l="0" t="0" r="r" b="b"/>
              <a:pathLst>
                <a:path w="5" h="6">
                  <a:moveTo>
                    <a:pt x="2" y="1"/>
                  </a:moveTo>
                  <a:cubicBezTo>
                    <a:pt x="0" y="0"/>
                    <a:pt x="2" y="2"/>
                    <a:pt x="2" y="3"/>
                  </a:cubicBezTo>
                  <a:cubicBezTo>
                    <a:pt x="1" y="3"/>
                    <a:pt x="0" y="4"/>
                    <a:pt x="1" y="5"/>
                  </a:cubicBezTo>
                  <a:cubicBezTo>
                    <a:pt x="2" y="6"/>
                    <a:pt x="3" y="5"/>
                    <a:pt x="4" y="4"/>
                  </a:cubicBezTo>
                  <a:cubicBezTo>
                    <a:pt x="4" y="4"/>
                    <a:pt x="5" y="4"/>
                    <a:pt x="5" y="4"/>
                  </a:cubicBezTo>
                  <a:cubicBezTo>
                    <a:pt x="5" y="3"/>
                    <a:pt x="3"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07" name="Freeform 1757">
              <a:extLst>
                <a:ext uri="{FF2B5EF4-FFF2-40B4-BE49-F238E27FC236}">
                  <a16:creationId xmlns:a16="http://schemas.microsoft.com/office/drawing/2014/main" id="{840821B5-B3D1-4E2F-B170-214263ED59EB}"/>
                </a:ext>
              </a:extLst>
            </p:cNvPr>
            <p:cNvSpPr>
              <a:spLocks/>
            </p:cNvSpPr>
            <p:nvPr/>
          </p:nvSpPr>
          <p:spPr bwMode="auto">
            <a:xfrm>
              <a:off x="312" y="1222"/>
              <a:ext cx="29" cy="24"/>
            </a:xfrm>
            <a:custGeom>
              <a:avLst/>
              <a:gdLst>
                <a:gd name="T0" fmla="*/ 0 w 12"/>
                <a:gd name="T1" fmla="*/ 2 h 10"/>
                <a:gd name="T2" fmla="*/ 3 w 12"/>
                <a:gd name="T3" fmla="*/ 3 h 10"/>
                <a:gd name="T4" fmla="*/ 1 w 12"/>
                <a:gd name="T5" fmla="*/ 3 h 10"/>
                <a:gd name="T6" fmla="*/ 4 w 12"/>
                <a:gd name="T7" fmla="*/ 4 h 10"/>
                <a:gd name="T8" fmla="*/ 3 w 12"/>
                <a:gd name="T9" fmla="*/ 6 h 10"/>
                <a:gd name="T10" fmla="*/ 3 w 12"/>
                <a:gd name="T11" fmla="*/ 8 h 10"/>
                <a:gd name="T12" fmla="*/ 5 w 12"/>
                <a:gd name="T13" fmla="*/ 10 h 10"/>
                <a:gd name="T14" fmla="*/ 9 w 12"/>
                <a:gd name="T15" fmla="*/ 8 h 10"/>
                <a:gd name="T16" fmla="*/ 8 w 12"/>
                <a:gd name="T17" fmla="*/ 7 h 10"/>
                <a:gd name="T18" fmla="*/ 7 w 12"/>
                <a:gd name="T19" fmla="*/ 4 h 10"/>
                <a:gd name="T20" fmla="*/ 8 w 12"/>
                <a:gd name="T21" fmla="*/ 5 h 10"/>
                <a:gd name="T22" fmla="*/ 9 w 12"/>
                <a:gd name="T23" fmla="*/ 6 h 10"/>
                <a:gd name="T24" fmla="*/ 11 w 12"/>
                <a:gd name="T25" fmla="*/ 7 h 10"/>
                <a:gd name="T26" fmla="*/ 11 w 12"/>
                <a:gd name="T27" fmla="*/ 6 h 10"/>
                <a:gd name="T28" fmla="*/ 8 w 12"/>
                <a:gd name="T29" fmla="*/ 2 h 10"/>
                <a:gd name="T30" fmla="*/ 8 w 12"/>
                <a:gd name="T31" fmla="*/ 3 h 10"/>
                <a:gd name="T32" fmla="*/ 2 w 12"/>
                <a:gd name="T33" fmla="*/ 1 h 10"/>
                <a:gd name="T34" fmla="*/ 0 w 12"/>
                <a:gd name="T3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10">
                  <a:moveTo>
                    <a:pt x="0" y="2"/>
                  </a:moveTo>
                  <a:cubicBezTo>
                    <a:pt x="1" y="2"/>
                    <a:pt x="2" y="3"/>
                    <a:pt x="3" y="3"/>
                  </a:cubicBezTo>
                  <a:cubicBezTo>
                    <a:pt x="2" y="3"/>
                    <a:pt x="2" y="3"/>
                    <a:pt x="1" y="3"/>
                  </a:cubicBezTo>
                  <a:cubicBezTo>
                    <a:pt x="2" y="4"/>
                    <a:pt x="2" y="4"/>
                    <a:pt x="4" y="4"/>
                  </a:cubicBezTo>
                  <a:cubicBezTo>
                    <a:pt x="3" y="5"/>
                    <a:pt x="3" y="5"/>
                    <a:pt x="3" y="6"/>
                  </a:cubicBezTo>
                  <a:cubicBezTo>
                    <a:pt x="3" y="6"/>
                    <a:pt x="4" y="8"/>
                    <a:pt x="3" y="8"/>
                  </a:cubicBezTo>
                  <a:cubicBezTo>
                    <a:pt x="4" y="8"/>
                    <a:pt x="4" y="9"/>
                    <a:pt x="5" y="10"/>
                  </a:cubicBezTo>
                  <a:cubicBezTo>
                    <a:pt x="6" y="10"/>
                    <a:pt x="10" y="9"/>
                    <a:pt x="9" y="8"/>
                  </a:cubicBezTo>
                  <a:cubicBezTo>
                    <a:pt x="9" y="7"/>
                    <a:pt x="9" y="7"/>
                    <a:pt x="8" y="7"/>
                  </a:cubicBezTo>
                  <a:cubicBezTo>
                    <a:pt x="9" y="5"/>
                    <a:pt x="7" y="6"/>
                    <a:pt x="7" y="4"/>
                  </a:cubicBezTo>
                  <a:cubicBezTo>
                    <a:pt x="7" y="4"/>
                    <a:pt x="8" y="5"/>
                    <a:pt x="8" y="5"/>
                  </a:cubicBezTo>
                  <a:cubicBezTo>
                    <a:pt x="8" y="5"/>
                    <a:pt x="8" y="6"/>
                    <a:pt x="9" y="6"/>
                  </a:cubicBezTo>
                  <a:cubicBezTo>
                    <a:pt x="9" y="7"/>
                    <a:pt x="10" y="7"/>
                    <a:pt x="11" y="7"/>
                  </a:cubicBezTo>
                  <a:cubicBezTo>
                    <a:pt x="12" y="7"/>
                    <a:pt x="11" y="7"/>
                    <a:pt x="11" y="6"/>
                  </a:cubicBezTo>
                  <a:cubicBezTo>
                    <a:pt x="11" y="4"/>
                    <a:pt x="11" y="2"/>
                    <a:pt x="8" y="2"/>
                  </a:cubicBezTo>
                  <a:cubicBezTo>
                    <a:pt x="8" y="2"/>
                    <a:pt x="8" y="3"/>
                    <a:pt x="8" y="3"/>
                  </a:cubicBezTo>
                  <a:cubicBezTo>
                    <a:pt x="7" y="1"/>
                    <a:pt x="4" y="1"/>
                    <a:pt x="2" y="1"/>
                  </a:cubicBezTo>
                  <a:cubicBezTo>
                    <a:pt x="1" y="1"/>
                    <a:pt x="0" y="0"/>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08" name="Freeform 1758">
              <a:extLst>
                <a:ext uri="{FF2B5EF4-FFF2-40B4-BE49-F238E27FC236}">
                  <a16:creationId xmlns:a16="http://schemas.microsoft.com/office/drawing/2014/main" id="{973659ED-2DB5-44B6-B01C-AB055EBFAF21}"/>
                </a:ext>
              </a:extLst>
            </p:cNvPr>
            <p:cNvSpPr>
              <a:spLocks/>
            </p:cNvSpPr>
            <p:nvPr/>
          </p:nvSpPr>
          <p:spPr bwMode="auto">
            <a:xfrm>
              <a:off x="272" y="1205"/>
              <a:ext cx="26" cy="50"/>
            </a:xfrm>
            <a:custGeom>
              <a:avLst/>
              <a:gdLst>
                <a:gd name="T0" fmla="*/ 11 w 11"/>
                <a:gd name="T1" fmla="*/ 18 h 21"/>
                <a:gd name="T2" fmla="*/ 11 w 11"/>
                <a:gd name="T3" fmla="*/ 16 h 21"/>
                <a:gd name="T4" fmla="*/ 10 w 11"/>
                <a:gd name="T5" fmla="*/ 10 h 21"/>
                <a:gd name="T6" fmla="*/ 7 w 11"/>
                <a:gd name="T7" fmla="*/ 3 h 21"/>
                <a:gd name="T8" fmla="*/ 3 w 11"/>
                <a:gd name="T9" fmla="*/ 2 h 21"/>
                <a:gd name="T10" fmla="*/ 2 w 11"/>
                <a:gd name="T11" fmla="*/ 1 h 21"/>
                <a:gd name="T12" fmla="*/ 2 w 11"/>
                <a:gd name="T13" fmla="*/ 2 h 21"/>
                <a:gd name="T14" fmla="*/ 2 w 11"/>
                <a:gd name="T15" fmla="*/ 4 h 21"/>
                <a:gd name="T16" fmla="*/ 0 w 11"/>
                <a:gd name="T17" fmla="*/ 4 h 21"/>
                <a:gd name="T18" fmla="*/ 2 w 11"/>
                <a:gd name="T19" fmla="*/ 5 h 21"/>
                <a:gd name="T20" fmla="*/ 3 w 11"/>
                <a:gd name="T21" fmla="*/ 6 h 21"/>
                <a:gd name="T22" fmla="*/ 4 w 11"/>
                <a:gd name="T23" fmla="*/ 6 h 21"/>
                <a:gd name="T24" fmla="*/ 4 w 11"/>
                <a:gd name="T25" fmla="*/ 8 h 21"/>
                <a:gd name="T26" fmla="*/ 5 w 11"/>
                <a:gd name="T27" fmla="*/ 9 h 21"/>
                <a:gd name="T28" fmla="*/ 3 w 11"/>
                <a:gd name="T29" fmla="*/ 9 h 21"/>
                <a:gd name="T30" fmla="*/ 4 w 11"/>
                <a:gd name="T31" fmla="*/ 10 h 21"/>
                <a:gd name="T32" fmla="*/ 3 w 11"/>
                <a:gd name="T33" fmla="*/ 11 h 21"/>
                <a:gd name="T34" fmla="*/ 6 w 11"/>
                <a:gd name="T35" fmla="*/ 11 h 21"/>
                <a:gd name="T36" fmla="*/ 5 w 11"/>
                <a:gd name="T37" fmla="*/ 13 h 21"/>
                <a:gd name="T38" fmla="*/ 7 w 11"/>
                <a:gd name="T39" fmla="*/ 12 h 21"/>
                <a:gd name="T40" fmla="*/ 6 w 11"/>
                <a:gd name="T41" fmla="*/ 15 h 21"/>
                <a:gd name="T42" fmla="*/ 8 w 11"/>
                <a:gd name="T43" fmla="*/ 13 h 21"/>
                <a:gd name="T44" fmla="*/ 11 w 11"/>
                <a:gd name="T45" fmla="*/ 21 h 21"/>
                <a:gd name="T46" fmla="*/ 11 w 11"/>
                <a:gd name="T47" fmla="*/ 19 h 21"/>
                <a:gd name="T48" fmla="*/ 11 w 11"/>
                <a:gd name="T49" fmla="*/ 19 h 21"/>
                <a:gd name="T50" fmla="*/ 11 w 11"/>
                <a:gd name="T51"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 h="21">
                  <a:moveTo>
                    <a:pt x="11" y="18"/>
                  </a:moveTo>
                  <a:cubicBezTo>
                    <a:pt x="11" y="17"/>
                    <a:pt x="11" y="17"/>
                    <a:pt x="11" y="16"/>
                  </a:cubicBezTo>
                  <a:cubicBezTo>
                    <a:pt x="11" y="14"/>
                    <a:pt x="11" y="12"/>
                    <a:pt x="10" y="10"/>
                  </a:cubicBezTo>
                  <a:cubicBezTo>
                    <a:pt x="10" y="8"/>
                    <a:pt x="9" y="5"/>
                    <a:pt x="7" y="3"/>
                  </a:cubicBezTo>
                  <a:cubicBezTo>
                    <a:pt x="6" y="2"/>
                    <a:pt x="4" y="1"/>
                    <a:pt x="3" y="2"/>
                  </a:cubicBezTo>
                  <a:cubicBezTo>
                    <a:pt x="5" y="1"/>
                    <a:pt x="3" y="0"/>
                    <a:pt x="2" y="1"/>
                  </a:cubicBezTo>
                  <a:cubicBezTo>
                    <a:pt x="2" y="1"/>
                    <a:pt x="2" y="2"/>
                    <a:pt x="2" y="2"/>
                  </a:cubicBezTo>
                  <a:cubicBezTo>
                    <a:pt x="2" y="3"/>
                    <a:pt x="1" y="3"/>
                    <a:pt x="2" y="4"/>
                  </a:cubicBezTo>
                  <a:cubicBezTo>
                    <a:pt x="2" y="4"/>
                    <a:pt x="1" y="3"/>
                    <a:pt x="0" y="4"/>
                  </a:cubicBezTo>
                  <a:cubicBezTo>
                    <a:pt x="1" y="4"/>
                    <a:pt x="1" y="5"/>
                    <a:pt x="2" y="5"/>
                  </a:cubicBezTo>
                  <a:cubicBezTo>
                    <a:pt x="3" y="6"/>
                    <a:pt x="4" y="5"/>
                    <a:pt x="3" y="6"/>
                  </a:cubicBezTo>
                  <a:cubicBezTo>
                    <a:pt x="3" y="6"/>
                    <a:pt x="3" y="6"/>
                    <a:pt x="4" y="6"/>
                  </a:cubicBezTo>
                  <a:cubicBezTo>
                    <a:pt x="3" y="7"/>
                    <a:pt x="3" y="8"/>
                    <a:pt x="4" y="8"/>
                  </a:cubicBezTo>
                  <a:cubicBezTo>
                    <a:pt x="5" y="9"/>
                    <a:pt x="6" y="8"/>
                    <a:pt x="5" y="9"/>
                  </a:cubicBezTo>
                  <a:cubicBezTo>
                    <a:pt x="4" y="9"/>
                    <a:pt x="4" y="9"/>
                    <a:pt x="3" y="9"/>
                  </a:cubicBezTo>
                  <a:cubicBezTo>
                    <a:pt x="3" y="10"/>
                    <a:pt x="4" y="10"/>
                    <a:pt x="4" y="10"/>
                  </a:cubicBezTo>
                  <a:cubicBezTo>
                    <a:pt x="3" y="10"/>
                    <a:pt x="3" y="11"/>
                    <a:pt x="3" y="11"/>
                  </a:cubicBezTo>
                  <a:cubicBezTo>
                    <a:pt x="4" y="12"/>
                    <a:pt x="5" y="11"/>
                    <a:pt x="6" y="11"/>
                  </a:cubicBezTo>
                  <a:cubicBezTo>
                    <a:pt x="5" y="12"/>
                    <a:pt x="5" y="12"/>
                    <a:pt x="5" y="13"/>
                  </a:cubicBezTo>
                  <a:cubicBezTo>
                    <a:pt x="5" y="14"/>
                    <a:pt x="7" y="12"/>
                    <a:pt x="7" y="12"/>
                  </a:cubicBezTo>
                  <a:cubicBezTo>
                    <a:pt x="6" y="13"/>
                    <a:pt x="6" y="14"/>
                    <a:pt x="6" y="15"/>
                  </a:cubicBezTo>
                  <a:cubicBezTo>
                    <a:pt x="7" y="14"/>
                    <a:pt x="8" y="14"/>
                    <a:pt x="8" y="13"/>
                  </a:cubicBezTo>
                  <a:cubicBezTo>
                    <a:pt x="7" y="15"/>
                    <a:pt x="9" y="19"/>
                    <a:pt x="11" y="21"/>
                  </a:cubicBezTo>
                  <a:cubicBezTo>
                    <a:pt x="11" y="20"/>
                    <a:pt x="11" y="20"/>
                    <a:pt x="11" y="19"/>
                  </a:cubicBezTo>
                  <a:cubicBezTo>
                    <a:pt x="11" y="20"/>
                    <a:pt x="11" y="19"/>
                    <a:pt x="11" y="19"/>
                  </a:cubicBezTo>
                  <a:cubicBezTo>
                    <a:pt x="11" y="18"/>
                    <a:pt x="11" y="18"/>
                    <a:pt x="11" y="1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09" name="Freeform 1759">
              <a:extLst>
                <a:ext uri="{FF2B5EF4-FFF2-40B4-BE49-F238E27FC236}">
                  <a16:creationId xmlns:a16="http://schemas.microsoft.com/office/drawing/2014/main" id="{895C0778-561C-4093-8628-DFC745752E9E}"/>
                </a:ext>
              </a:extLst>
            </p:cNvPr>
            <p:cNvSpPr>
              <a:spLocks/>
            </p:cNvSpPr>
            <p:nvPr/>
          </p:nvSpPr>
          <p:spPr bwMode="auto">
            <a:xfrm>
              <a:off x="303" y="1229"/>
              <a:ext cx="16" cy="31"/>
            </a:xfrm>
            <a:custGeom>
              <a:avLst/>
              <a:gdLst>
                <a:gd name="T0" fmla="*/ 7 w 7"/>
                <a:gd name="T1" fmla="*/ 4 h 13"/>
                <a:gd name="T2" fmla="*/ 7 w 7"/>
                <a:gd name="T3" fmla="*/ 2 h 13"/>
                <a:gd name="T4" fmla="*/ 6 w 7"/>
                <a:gd name="T5" fmla="*/ 2 h 13"/>
                <a:gd name="T6" fmla="*/ 5 w 7"/>
                <a:gd name="T7" fmla="*/ 3 h 13"/>
                <a:gd name="T8" fmla="*/ 2 w 7"/>
                <a:gd name="T9" fmla="*/ 0 h 13"/>
                <a:gd name="T10" fmla="*/ 3 w 7"/>
                <a:gd name="T11" fmla="*/ 1 h 13"/>
                <a:gd name="T12" fmla="*/ 0 w 7"/>
                <a:gd name="T13" fmla="*/ 1 h 13"/>
                <a:gd name="T14" fmla="*/ 0 w 7"/>
                <a:gd name="T15" fmla="*/ 3 h 13"/>
                <a:gd name="T16" fmla="*/ 2 w 7"/>
                <a:gd name="T17" fmla="*/ 4 h 13"/>
                <a:gd name="T18" fmla="*/ 2 w 7"/>
                <a:gd name="T19" fmla="*/ 4 h 13"/>
                <a:gd name="T20" fmla="*/ 3 w 7"/>
                <a:gd name="T21" fmla="*/ 4 h 13"/>
                <a:gd name="T22" fmla="*/ 1 w 7"/>
                <a:gd name="T23" fmla="*/ 5 h 13"/>
                <a:gd name="T24" fmla="*/ 4 w 7"/>
                <a:gd name="T25" fmla="*/ 6 h 13"/>
                <a:gd name="T26" fmla="*/ 4 w 7"/>
                <a:gd name="T27" fmla="*/ 8 h 13"/>
                <a:gd name="T28" fmla="*/ 1 w 7"/>
                <a:gd name="T29" fmla="*/ 9 h 13"/>
                <a:gd name="T30" fmla="*/ 3 w 7"/>
                <a:gd name="T31" fmla="*/ 9 h 13"/>
                <a:gd name="T32" fmla="*/ 2 w 7"/>
                <a:gd name="T33" fmla="*/ 11 h 13"/>
                <a:gd name="T34" fmla="*/ 2 w 7"/>
                <a:gd name="T35" fmla="*/ 11 h 13"/>
                <a:gd name="T36" fmla="*/ 2 w 7"/>
                <a:gd name="T37" fmla="*/ 12 h 13"/>
                <a:gd name="T38" fmla="*/ 3 w 7"/>
                <a:gd name="T39" fmla="*/ 13 h 13"/>
                <a:gd name="T40" fmla="*/ 4 w 7"/>
                <a:gd name="T41" fmla="*/ 9 h 13"/>
                <a:gd name="T42" fmla="*/ 5 w 7"/>
                <a:gd name="T43" fmla="*/ 11 h 13"/>
                <a:gd name="T44" fmla="*/ 5 w 7"/>
                <a:gd name="T45" fmla="*/ 8 h 13"/>
                <a:gd name="T46" fmla="*/ 5 w 7"/>
                <a:gd name="T47" fmla="*/ 4 h 13"/>
                <a:gd name="T48" fmla="*/ 7 w 7"/>
                <a:gd name="T49"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 h="13">
                  <a:moveTo>
                    <a:pt x="7" y="4"/>
                  </a:moveTo>
                  <a:cubicBezTo>
                    <a:pt x="7" y="4"/>
                    <a:pt x="7" y="3"/>
                    <a:pt x="7" y="2"/>
                  </a:cubicBezTo>
                  <a:cubicBezTo>
                    <a:pt x="7" y="2"/>
                    <a:pt x="6" y="2"/>
                    <a:pt x="6" y="2"/>
                  </a:cubicBezTo>
                  <a:cubicBezTo>
                    <a:pt x="6" y="2"/>
                    <a:pt x="6" y="3"/>
                    <a:pt x="5" y="3"/>
                  </a:cubicBezTo>
                  <a:cubicBezTo>
                    <a:pt x="4" y="1"/>
                    <a:pt x="4" y="0"/>
                    <a:pt x="2" y="0"/>
                  </a:cubicBezTo>
                  <a:cubicBezTo>
                    <a:pt x="2" y="0"/>
                    <a:pt x="3" y="1"/>
                    <a:pt x="3" y="1"/>
                  </a:cubicBezTo>
                  <a:cubicBezTo>
                    <a:pt x="2" y="1"/>
                    <a:pt x="1" y="0"/>
                    <a:pt x="0" y="1"/>
                  </a:cubicBezTo>
                  <a:cubicBezTo>
                    <a:pt x="0" y="1"/>
                    <a:pt x="0" y="3"/>
                    <a:pt x="0" y="3"/>
                  </a:cubicBezTo>
                  <a:cubicBezTo>
                    <a:pt x="1" y="4"/>
                    <a:pt x="2" y="3"/>
                    <a:pt x="2" y="4"/>
                  </a:cubicBezTo>
                  <a:cubicBezTo>
                    <a:pt x="2" y="4"/>
                    <a:pt x="1" y="4"/>
                    <a:pt x="2" y="4"/>
                  </a:cubicBezTo>
                  <a:cubicBezTo>
                    <a:pt x="2" y="4"/>
                    <a:pt x="3" y="4"/>
                    <a:pt x="3" y="4"/>
                  </a:cubicBezTo>
                  <a:cubicBezTo>
                    <a:pt x="3" y="4"/>
                    <a:pt x="2" y="5"/>
                    <a:pt x="1" y="5"/>
                  </a:cubicBezTo>
                  <a:cubicBezTo>
                    <a:pt x="2" y="5"/>
                    <a:pt x="4" y="5"/>
                    <a:pt x="4" y="6"/>
                  </a:cubicBezTo>
                  <a:cubicBezTo>
                    <a:pt x="3" y="7"/>
                    <a:pt x="4" y="7"/>
                    <a:pt x="4" y="8"/>
                  </a:cubicBezTo>
                  <a:cubicBezTo>
                    <a:pt x="3" y="6"/>
                    <a:pt x="1" y="8"/>
                    <a:pt x="1" y="9"/>
                  </a:cubicBezTo>
                  <a:cubicBezTo>
                    <a:pt x="2" y="9"/>
                    <a:pt x="2" y="9"/>
                    <a:pt x="3" y="9"/>
                  </a:cubicBezTo>
                  <a:cubicBezTo>
                    <a:pt x="2" y="9"/>
                    <a:pt x="2" y="10"/>
                    <a:pt x="2" y="11"/>
                  </a:cubicBezTo>
                  <a:cubicBezTo>
                    <a:pt x="2" y="11"/>
                    <a:pt x="2" y="11"/>
                    <a:pt x="2" y="11"/>
                  </a:cubicBezTo>
                  <a:cubicBezTo>
                    <a:pt x="2" y="11"/>
                    <a:pt x="2" y="11"/>
                    <a:pt x="2" y="12"/>
                  </a:cubicBezTo>
                  <a:cubicBezTo>
                    <a:pt x="2" y="12"/>
                    <a:pt x="2" y="13"/>
                    <a:pt x="3" y="13"/>
                  </a:cubicBezTo>
                  <a:cubicBezTo>
                    <a:pt x="3" y="12"/>
                    <a:pt x="3" y="10"/>
                    <a:pt x="4" y="9"/>
                  </a:cubicBezTo>
                  <a:cubicBezTo>
                    <a:pt x="4" y="10"/>
                    <a:pt x="3" y="10"/>
                    <a:pt x="5" y="11"/>
                  </a:cubicBezTo>
                  <a:cubicBezTo>
                    <a:pt x="6" y="11"/>
                    <a:pt x="5" y="8"/>
                    <a:pt x="5" y="8"/>
                  </a:cubicBezTo>
                  <a:cubicBezTo>
                    <a:pt x="7" y="11"/>
                    <a:pt x="5" y="4"/>
                    <a:pt x="5" y="4"/>
                  </a:cubicBezTo>
                  <a:cubicBezTo>
                    <a:pt x="5" y="4"/>
                    <a:pt x="7" y="4"/>
                    <a:pt x="7"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10" name="Freeform 1760">
              <a:extLst>
                <a:ext uri="{FF2B5EF4-FFF2-40B4-BE49-F238E27FC236}">
                  <a16:creationId xmlns:a16="http://schemas.microsoft.com/office/drawing/2014/main" id="{654964F1-4FED-4839-BD3E-C454EA3F0428}"/>
                </a:ext>
              </a:extLst>
            </p:cNvPr>
            <p:cNvSpPr>
              <a:spLocks/>
            </p:cNvSpPr>
            <p:nvPr/>
          </p:nvSpPr>
          <p:spPr bwMode="auto">
            <a:xfrm>
              <a:off x="343" y="1248"/>
              <a:ext cx="17" cy="16"/>
            </a:xfrm>
            <a:custGeom>
              <a:avLst/>
              <a:gdLst>
                <a:gd name="T0" fmla="*/ 2 w 7"/>
                <a:gd name="T1" fmla="*/ 2 h 7"/>
                <a:gd name="T2" fmla="*/ 1 w 7"/>
                <a:gd name="T3" fmla="*/ 3 h 7"/>
                <a:gd name="T4" fmla="*/ 2 w 7"/>
                <a:gd name="T5" fmla="*/ 4 h 7"/>
                <a:gd name="T6" fmla="*/ 3 w 7"/>
                <a:gd name="T7" fmla="*/ 4 h 7"/>
                <a:gd name="T8" fmla="*/ 3 w 7"/>
                <a:gd name="T9" fmla="*/ 5 h 7"/>
                <a:gd name="T10" fmla="*/ 4 w 7"/>
                <a:gd name="T11" fmla="*/ 5 h 7"/>
                <a:gd name="T12" fmla="*/ 4 w 7"/>
                <a:gd name="T13" fmla="*/ 6 h 7"/>
                <a:gd name="T14" fmla="*/ 5 w 7"/>
                <a:gd name="T15" fmla="*/ 6 h 7"/>
                <a:gd name="T16" fmla="*/ 6 w 7"/>
                <a:gd name="T17" fmla="*/ 6 h 7"/>
                <a:gd name="T18" fmla="*/ 7 w 7"/>
                <a:gd name="T19" fmla="*/ 4 h 7"/>
                <a:gd name="T20" fmla="*/ 3 w 7"/>
                <a:gd name="T21" fmla="*/ 3 h 7"/>
                <a:gd name="T22" fmla="*/ 4 w 7"/>
                <a:gd name="T23" fmla="*/ 0 h 7"/>
                <a:gd name="T24" fmla="*/ 2 w 7"/>
                <a:gd name="T2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7">
                  <a:moveTo>
                    <a:pt x="2" y="2"/>
                  </a:moveTo>
                  <a:cubicBezTo>
                    <a:pt x="1" y="2"/>
                    <a:pt x="1" y="2"/>
                    <a:pt x="1" y="3"/>
                  </a:cubicBezTo>
                  <a:cubicBezTo>
                    <a:pt x="0" y="4"/>
                    <a:pt x="1" y="4"/>
                    <a:pt x="2" y="4"/>
                  </a:cubicBezTo>
                  <a:cubicBezTo>
                    <a:pt x="2" y="4"/>
                    <a:pt x="2" y="4"/>
                    <a:pt x="3" y="4"/>
                  </a:cubicBezTo>
                  <a:cubicBezTo>
                    <a:pt x="3" y="5"/>
                    <a:pt x="3" y="5"/>
                    <a:pt x="3" y="5"/>
                  </a:cubicBezTo>
                  <a:cubicBezTo>
                    <a:pt x="3" y="5"/>
                    <a:pt x="4" y="5"/>
                    <a:pt x="4" y="5"/>
                  </a:cubicBezTo>
                  <a:cubicBezTo>
                    <a:pt x="4" y="5"/>
                    <a:pt x="3" y="6"/>
                    <a:pt x="4" y="6"/>
                  </a:cubicBezTo>
                  <a:cubicBezTo>
                    <a:pt x="4" y="7"/>
                    <a:pt x="5" y="6"/>
                    <a:pt x="5" y="6"/>
                  </a:cubicBezTo>
                  <a:cubicBezTo>
                    <a:pt x="6" y="6"/>
                    <a:pt x="6" y="6"/>
                    <a:pt x="6" y="6"/>
                  </a:cubicBezTo>
                  <a:cubicBezTo>
                    <a:pt x="6" y="6"/>
                    <a:pt x="7" y="4"/>
                    <a:pt x="7" y="4"/>
                  </a:cubicBezTo>
                  <a:cubicBezTo>
                    <a:pt x="6" y="3"/>
                    <a:pt x="4" y="2"/>
                    <a:pt x="3" y="3"/>
                  </a:cubicBezTo>
                  <a:cubicBezTo>
                    <a:pt x="3" y="2"/>
                    <a:pt x="3" y="1"/>
                    <a:pt x="4" y="0"/>
                  </a:cubicBezTo>
                  <a:cubicBezTo>
                    <a:pt x="2" y="0"/>
                    <a:pt x="2" y="1"/>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11" name="Freeform 1761">
              <a:extLst>
                <a:ext uri="{FF2B5EF4-FFF2-40B4-BE49-F238E27FC236}">
                  <a16:creationId xmlns:a16="http://schemas.microsoft.com/office/drawing/2014/main" id="{575245D5-E1F4-4588-B11E-F5EB15AB1E1E}"/>
                </a:ext>
              </a:extLst>
            </p:cNvPr>
            <p:cNvSpPr>
              <a:spLocks/>
            </p:cNvSpPr>
            <p:nvPr/>
          </p:nvSpPr>
          <p:spPr bwMode="auto">
            <a:xfrm>
              <a:off x="-447" y="1324"/>
              <a:ext cx="5" cy="2"/>
            </a:xfrm>
            <a:custGeom>
              <a:avLst/>
              <a:gdLst>
                <a:gd name="T0" fmla="*/ 0 w 2"/>
                <a:gd name="T1" fmla="*/ 1 h 1"/>
                <a:gd name="T2" fmla="*/ 2 w 2"/>
                <a:gd name="T3" fmla="*/ 1 h 1"/>
                <a:gd name="T4" fmla="*/ 0 w 2"/>
                <a:gd name="T5" fmla="*/ 1 h 1"/>
              </a:gdLst>
              <a:ahLst/>
              <a:cxnLst>
                <a:cxn ang="0">
                  <a:pos x="T0" y="T1"/>
                </a:cxn>
                <a:cxn ang="0">
                  <a:pos x="T2" y="T3"/>
                </a:cxn>
                <a:cxn ang="0">
                  <a:pos x="T4" y="T5"/>
                </a:cxn>
              </a:cxnLst>
              <a:rect l="0" t="0" r="r" b="b"/>
              <a:pathLst>
                <a:path w="2" h="1">
                  <a:moveTo>
                    <a:pt x="0" y="1"/>
                  </a:moveTo>
                  <a:cubicBezTo>
                    <a:pt x="0" y="1"/>
                    <a:pt x="1" y="1"/>
                    <a:pt x="2" y="1"/>
                  </a:cubicBezTo>
                  <a:cubicBezTo>
                    <a:pt x="1" y="1"/>
                    <a:pt x="0"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12" name="Freeform 1762">
              <a:extLst>
                <a:ext uri="{FF2B5EF4-FFF2-40B4-BE49-F238E27FC236}">
                  <a16:creationId xmlns:a16="http://schemas.microsoft.com/office/drawing/2014/main" id="{A0A5BB7C-9BB2-4FFE-A4C1-15CD7E270301}"/>
                </a:ext>
              </a:extLst>
            </p:cNvPr>
            <p:cNvSpPr>
              <a:spLocks/>
            </p:cNvSpPr>
            <p:nvPr/>
          </p:nvSpPr>
          <p:spPr bwMode="auto">
            <a:xfrm>
              <a:off x="-494" y="1104"/>
              <a:ext cx="47" cy="26"/>
            </a:xfrm>
            <a:custGeom>
              <a:avLst/>
              <a:gdLst>
                <a:gd name="T0" fmla="*/ 18 w 20"/>
                <a:gd name="T1" fmla="*/ 4 h 11"/>
                <a:gd name="T2" fmla="*/ 15 w 20"/>
                <a:gd name="T3" fmla="*/ 2 h 11"/>
                <a:gd name="T4" fmla="*/ 14 w 20"/>
                <a:gd name="T5" fmla="*/ 2 h 11"/>
                <a:gd name="T6" fmla="*/ 13 w 20"/>
                <a:gd name="T7" fmla="*/ 1 h 11"/>
                <a:gd name="T8" fmla="*/ 10 w 20"/>
                <a:gd name="T9" fmla="*/ 2 h 11"/>
                <a:gd name="T10" fmla="*/ 8 w 20"/>
                <a:gd name="T11" fmla="*/ 2 h 11"/>
                <a:gd name="T12" fmla="*/ 7 w 20"/>
                <a:gd name="T13" fmla="*/ 2 h 11"/>
                <a:gd name="T14" fmla="*/ 5 w 20"/>
                <a:gd name="T15" fmla="*/ 4 h 11"/>
                <a:gd name="T16" fmla="*/ 2 w 20"/>
                <a:gd name="T17" fmla="*/ 3 h 11"/>
                <a:gd name="T18" fmla="*/ 0 w 20"/>
                <a:gd name="T19" fmla="*/ 4 h 11"/>
                <a:gd name="T20" fmla="*/ 13 w 20"/>
                <a:gd name="T21" fmla="*/ 11 h 11"/>
                <a:gd name="T22" fmla="*/ 13 w 20"/>
                <a:gd name="T23" fmla="*/ 9 h 11"/>
                <a:gd name="T24" fmla="*/ 14 w 20"/>
                <a:gd name="T25" fmla="*/ 9 h 11"/>
                <a:gd name="T26" fmla="*/ 16 w 20"/>
                <a:gd name="T27" fmla="*/ 9 h 11"/>
                <a:gd name="T28" fmla="*/ 17 w 20"/>
                <a:gd name="T29" fmla="*/ 8 h 11"/>
                <a:gd name="T30" fmla="*/ 17 w 20"/>
                <a:gd name="T31" fmla="*/ 9 h 11"/>
                <a:gd name="T32" fmla="*/ 19 w 20"/>
                <a:gd name="T33" fmla="*/ 8 h 11"/>
                <a:gd name="T34" fmla="*/ 17 w 20"/>
                <a:gd name="T35" fmla="*/ 6 h 11"/>
                <a:gd name="T36" fmla="*/ 18 w 20"/>
                <a:gd name="T37" fmla="*/ 5 h 11"/>
                <a:gd name="T38" fmla="*/ 17 w 20"/>
                <a:gd name="T39" fmla="*/ 4 h 11"/>
                <a:gd name="T40" fmla="*/ 18 w 20"/>
                <a:gd name="T41"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11">
                  <a:moveTo>
                    <a:pt x="18" y="4"/>
                  </a:moveTo>
                  <a:cubicBezTo>
                    <a:pt x="18" y="2"/>
                    <a:pt x="17" y="2"/>
                    <a:pt x="15" y="2"/>
                  </a:cubicBezTo>
                  <a:cubicBezTo>
                    <a:pt x="15" y="2"/>
                    <a:pt x="14" y="2"/>
                    <a:pt x="14" y="2"/>
                  </a:cubicBezTo>
                  <a:cubicBezTo>
                    <a:pt x="13" y="2"/>
                    <a:pt x="13" y="1"/>
                    <a:pt x="13" y="1"/>
                  </a:cubicBezTo>
                  <a:cubicBezTo>
                    <a:pt x="13" y="0"/>
                    <a:pt x="11" y="1"/>
                    <a:pt x="10" y="2"/>
                  </a:cubicBezTo>
                  <a:cubicBezTo>
                    <a:pt x="10" y="0"/>
                    <a:pt x="8" y="2"/>
                    <a:pt x="8" y="2"/>
                  </a:cubicBezTo>
                  <a:cubicBezTo>
                    <a:pt x="7" y="2"/>
                    <a:pt x="7" y="2"/>
                    <a:pt x="7" y="2"/>
                  </a:cubicBezTo>
                  <a:cubicBezTo>
                    <a:pt x="6" y="3"/>
                    <a:pt x="6" y="4"/>
                    <a:pt x="5" y="4"/>
                  </a:cubicBezTo>
                  <a:cubicBezTo>
                    <a:pt x="5" y="4"/>
                    <a:pt x="3" y="3"/>
                    <a:pt x="2" y="3"/>
                  </a:cubicBezTo>
                  <a:cubicBezTo>
                    <a:pt x="1" y="3"/>
                    <a:pt x="0" y="4"/>
                    <a:pt x="0" y="4"/>
                  </a:cubicBezTo>
                  <a:cubicBezTo>
                    <a:pt x="4" y="6"/>
                    <a:pt x="8" y="8"/>
                    <a:pt x="13" y="11"/>
                  </a:cubicBezTo>
                  <a:cubicBezTo>
                    <a:pt x="12" y="10"/>
                    <a:pt x="11" y="9"/>
                    <a:pt x="13" y="9"/>
                  </a:cubicBezTo>
                  <a:cubicBezTo>
                    <a:pt x="14" y="9"/>
                    <a:pt x="14" y="9"/>
                    <a:pt x="14" y="9"/>
                  </a:cubicBezTo>
                  <a:cubicBezTo>
                    <a:pt x="15" y="9"/>
                    <a:pt x="16" y="9"/>
                    <a:pt x="16" y="9"/>
                  </a:cubicBezTo>
                  <a:cubicBezTo>
                    <a:pt x="17" y="9"/>
                    <a:pt x="17" y="8"/>
                    <a:pt x="17" y="8"/>
                  </a:cubicBezTo>
                  <a:cubicBezTo>
                    <a:pt x="17" y="8"/>
                    <a:pt x="17" y="9"/>
                    <a:pt x="17" y="9"/>
                  </a:cubicBezTo>
                  <a:cubicBezTo>
                    <a:pt x="18" y="9"/>
                    <a:pt x="18" y="8"/>
                    <a:pt x="19" y="8"/>
                  </a:cubicBezTo>
                  <a:cubicBezTo>
                    <a:pt x="20" y="7"/>
                    <a:pt x="18" y="6"/>
                    <a:pt x="17" y="6"/>
                  </a:cubicBezTo>
                  <a:cubicBezTo>
                    <a:pt x="18" y="6"/>
                    <a:pt x="18" y="5"/>
                    <a:pt x="18" y="5"/>
                  </a:cubicBezTo>
                  <a:cubicBezTo>
                    <a:pt x="18" y="5"/>
                    <a:pt x="17" y="5"/>
                    <a:pt x="17" y="4"/>
                  </a:cubicBezTo>
                  <a:cubicBezTo>
                    <a:pt x="17" y="4"/>
                    <a:pt x="18" y="4"/>
                    <a:pt x="18"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13" name="Freeform 1763">
              <a:extLst>
                <a:ext uri="{FF2B5EF4-FFF2-40B4-BE49-F238E27FC236}">
                  <a16:creationId xmlns:a16="http://schemas.microsoft.com/office/drawing/2014/main" id="{25E6DF34-DFE6-4FF7-9225-0A24D969E6A0}"/>
                </a:ext>
              </a:extLst>
            </p:cNvPr>
            <p:cNvSpPr>
              <a:spLocks/>
            </p:cNvSpPr>
            <p:nvPr/>
          </p:nvSpPr>
          <p:spPr bwMode="auto">
            <a:xfrm>
              <a:off x="-137" y="1170"/>
              <a:ext cx="7" cy="2"/>
            </a:xfrm>
            <a:custGeom>
              <a:avLst/>
              <a:gdLst>
                <a:gd name="T0" fmla="*/ 0 w 3"/>
                <a:gd name="T1" fmla="*/ 1 h 1"/>
                <a:gd name="T2" fmla="*/ 3 w 3"/>
                <a:gd name="T3" fmla="*/ 0 h 1"/>
                <a:gd name="T4" fmla="*/ 0 w 3"/>
                <a:gd name="T5" fmla="*/ 1 h 1"/>
              </a:gdLst>
              <a:ahLst/>
              <a:cxnLst>
                <a:cxn ang="0">
                  <a:pos x="T0" y="T1"/>
                </a:cxn>
                <a:cxn ang="0">
                  <a:pos x="T2" y="T3"/>
                </a:cxn>
                <a:cxn ang="0">
                  <a:pos x="T4" y="T5"/>
                </a:cxn>
              </a:cxnLst>
              <a:rect l="0" t="0" r="r" b="b"/>
              <a:pathLst>
                <a:path w="3" h="1">
                  <a:moveTo>
                    <a:pt x="0" y="1"/>
                  </a:moveTo>
                  <a:cubicBezTo>
                    <a:pt x="1" y="1"/>
                    <a:pt x="2" y="0"/>
                    <a:pt x="3" y="0"/>
                  </a:cubicBezTo>
                  <a:cubicBezTo>
                    <a:pt x="2" y="0"/>
                    <a:pt x="1"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14" name="Freeform 1764">
              <a:extLst>
                <a:ext uri="{FF2B5EF4-FFF2-40B4-BE49-F238E27FC236}">
                  <a16:creationId xmlns:a16="http://schemas.microsoft.com/office/drawing/2014/main" id="{A075E31A-174C-453C-A177-C58368A4A90B}"/>
                </a:ext>
              </a:extLst>
            </p:cNvPr>
            <p:cNvSpPr>
              <a:spLocks/>
            </p:cNvSpPr>
            <p:nvPr/>
          </p:nvSpPr>
          <p:spPr bwMode="auto">
            <a:xfrm>
              <a:off x="1360" y="1551"/>
              <a:ext cx="2" cy="2"/>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0"/>
                    <a:pt x="0" y="1"/>
                  </a:cubicBezTo>
                  <a:cubicBezTo>
                    <a:pt x="0" y="1"/>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15" name="Freeform 1765">
              <a:extLst>
                <a:ext uri="{FF2B5EF4-FFF2-40B4-BE49-F238E27FC236}">
                  <a16:creationId xmlns:a16="http://schemas.microsoft.com/office/drawing/2014/main" id="{64BE50CA-7440-409E-82D0-6C72B2883A07}"/>
                </a:ext>
              </a:extLst>
            </p:cNvPr>
            <p:cNvSpPr>
              <a:spLocks/>
            </p:cNvSpPr>
            <p:nvPr/>
          </p:nvSpPr>
          <p:spPr bwMode="auto">
            <a:xfrm>
              <a:off x="-156" y="1219"/>
              <a:ext cx="12" cy="5"/>
            </a:xfrm>
            <a:custGeom>
              <a:avLst/>
              <a:gdLst>
                <a:gd name="T0" fmla="*/ 2 w 5"/>
                <a:gd name="T1" fmla="*/ 1 h 2"/>
                <a:gd name="T2" fmla="*/ 2 w 5"/>
                <a:gd name="T3" fmla="*/ 0 h 2"/>
                <a:gd name="T4" fmla="*/ 0 w 5"/>
                <a:gd name="T5" fmla="*/ 2 h 2"/>
                <a:gd name="T6" fmla="*/ 5 w 5"/>
                <a:gd name="T7" fmla="*/ 1 h 2"/>
                <a:gd name="T8" fmla="*/ 2 w 5"/>
                <a:gd name="T9" fmla="*/ 1 h 2"/>
              </a:gdLst>
              <a:ahLst/>
              <a:cxnLst>
                <a:cxn ang="0">
                  <a:pos x="T0" y="T1"/>
                </a:cxn>
                <a:cxn ang="0">
                  <a:pos x="T2" y="T3"/>
                </a:cxn>
                <a:cxn ang="0">
                  <a:pos x="T4" y="T5"/>
                </a:cxn>
                <a:cxn ang="0">
                  <a:pos x="T6" y="T7"/>
                </a:cxn>
                <a:cxn ang="0">
                  <a:pos x="T8" y="T9"/>
                </a:cxn>
              </a:cxnLst>
              <a:rect l="0" t="0" r="r" b="b"/>
              <a:pathLst>
                <a:path w="5" h="2">
                  <a:moveTo>
                    <a:pt x="2" y="1"/>
                  </a:moveTo>
                  <a:cubicBezTo>
                    <a:pt x="2" y="1"/>
                    <a:pt x="2" y="0"/>
                    <a:pt x="2" y="0"/>
                  </a:cubicBezTo>
                  <a:cubicBezTo>
                    <a:pt x="1" y="0"/>
                    <a:pt x="0" y="1"/>
                    <a:pt x="0" y="2"/>
                  </a:cubicBezTo>
                  <a:cubicBezTo>
                    <a:pt x="2" y="1"/>
                    <a:pt x="4" y="1"/>
                    <a:pt x="5" y="1"/>
                  </a:cubicBezTo>
                  <a:cubicBezTo>
                    <a:pt x="4" y="0"/>
                    <a:pt x="3" y="0"/>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16" name="Freeform 1766">
              <a:extLst>
                <a:ext uri="{FF2B5EF4-FFF2-40B4-BE49-F238E27FC236}">
                  <a16:creationId xmlns:a16="http://schemas.microsoft.com/office/drawing/2014/main" id="{E860F539-DF29-43BB-84A9-2DFE53DBDEF0}"/>
                </a:ext>
              </a:extLst>
            </p:cNvPr>
            <p:cNvSpPr>
              <a:spLocks/>
            </p:cNvSpPr>
            <p:nvPr/>
          </p:nvSpPr>
          <p:spPr bwMode="auto">
            <a:xfrm>
              <a:off x="289" y="1177"/>
              <a:ext cx="28" cy="50"/>
            </a:xfrm>
            <a:custGeom>
              <a:avLst/>
              <a:gdLst>
                <a:gd name="T0" fmla="*/ 6 w 12"/>
                <a:gd name="T1" fmla="*/ 16 h 21"/>
                <a:gd name="T2" fmla="*/ 6 w 12"/>
                <a:gd name="T3" fmla="*/ 16 h 21"/>
                <a:gd name="T4" fmla="*/ 5 w 12"/>
                <a:gd name="T5" fmla="*/ 17 h 21"/>
                <a:gd name="T6" fmla="*/ 4 w 12"/>
                <a:gd name="T7" fmla="*/ 21 h 21"/>
                <a:gd name="T8" fmla="*/ 7 w 12"/>
                <a:gd name="T9" fmla="*/ 19 h 21"/>
                <a:gd name="T10" fmla="*/ 9 w 12"/>
                <a:gd name="T11" fmla="*/ 16 h 21"/>
                <a:gd name="T12" fmla="*/ 12 w 12"/>
                <a:gd name="T13" fmla="*/ 15 h 21"/>
                <a:gd name="T14" fmla="*/ 11 w 12"/>
                <a:gd name="T15" fmla="*/ 13 h 21"/>
                <a:gd name="T16" fmla="*/ 10 w 12"/>
                <a:gd name="T17" fmla="*/ 11 h 21"/>
                <a:gd name="T18" fmla="*/ 9 w 12"/>
                <a:gd name="T19" fmla="*/ 10 h 21"/>
                <a:gd name="T20" fmla="*/ 7 w 12"/>
                <a:gd name="T21" fmla="*/ 9 h 21"/>
                <a:gd name="T22" fmla="*/ 7 w 12"/>
                <a:gd name="T23" fmla="*/ 5 h 21"/>
                <a:gd name="T24" fmla="*/ 9 w 12"/>
                <a:gd name="T25" fmla="*/ 8 h 21"/>
                <a:gd name="T26" fmla="*/ 10 w 12"/>
                <a:gd name="T27" fmla="*/ 9 h 21"/>
                <a:gd name="T28" fmla="*/ 12 w 12"/>
                <a:gd name="T29" fmla="*/ 12 h 21"/>
                <a:gd name="T30" fmla="*/ 11 w 12"/>
                <a:gd name="T31" fmla="*/ 10 h 21"/>
                <a:gd name="T32" fmla="*/ 11 w 12"/>
                <a:gd name="T33" fmla="*/ 8 h 21"/>
                <a:gd name="T34" fmla="*/ 8 w 12"/>
                <a:gd name="T35" fmla="*/ 4 h 21"/>
                <a:gd name="T36" fmla="*/ 6 w 12"/>
                <a:gd name="T37" fmla="*/ 4 h 21"/>
                <a:gd name="T38" fmla="*/ 4 w 12"/>
                <a:gd name="T39" fmla="*/ 3 h 21"/>
                <a:gd name="T40" fmla="*/ 3 w 12"/>
                <a:gd name="T41" fmla="*/ 2 h 21"/>
                <a:gd name="T42" fmla="*/ 0 w 12"/>
                <a:gd name="T43" fmla="*/ 0 h 21"/>
                <a:gd name="T44" fmla="*/ 1 w 12"/>
                <a:gd name="T45" fmla="*/ 2 h 21"/>
                <a:gd name="T46" fmla="*/ 3 w 12"/>
                <a:gd name="T47" fmla="*/ 3 h 21"/>
                <a:gd name="T48" fmla="*/ 2 w 12"/>
                <a:gd name="T49" fmla="*/ 6 h 21"/>
                <a:gd name="T50" fmla="*/ 3 w 12"/>
                <a:gd name="T51" fmla="*/ 8 h 21"/>
                <a:gd name="T52" fmla="*/ 4 w 12"/>
                <a:gd name="T53" fmla="*/ 13 h 21"/>
                <a:gd name="T54" fmla="*/ 7 w 12"/>
                <a:gd name="T55" fmla="*/ 13 h 21"/>
                <a:gd name="T56" fmla="*/ 7 w 12"/>
                <a:gd name="T57" fmla="*/ 15 h 21"/>
                <a:gd name="T58" fmla="*/ 6 w 12"/>
                <a:gd name="T59" fmla="*/ 1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 h="21">
                  <a:moveTo>
                    <a:pt x="6" y="16"/>
                  </a:moveTo>
                  <a:cubicBezTo>
                    <a:pt x="6" y="16"/>
                    <a:pt x="6" y="16"/>
                    <a:pt x="6" y="16"/>
                  </a:cubicBezTo>
                  <a:cubicBezTo>
                    <a:pt x="6" y="16"/>
                    <a:pt x="5" y="17"/>
                    <a:pt x="5" y="17"/>
                  </a:cubicBezTo>
                  <a:cubicBezTo>
                    <a:pt x="5" y="18"/>
                    <a:pt x="4" y="19"/>
                    <a:pt x="4" y="21"/>
                  </a:cubicBezTo>
                  <a:cubicBezTo>
                    <a:pt x="5" y="20"/>
                    <a:pt x="6" y="20"/>
                    <a:pt x="7" y="19"/>
                  </a:cubicBezTo>
                  <a:cubicBezTo>
                    <a:pt x="6" y="19"/>
                    <a:pt x="10" y="17"/>
                    <a:pt x="9" y="16"/>
                  </a:cubicBezTo>
                  <a:cubicBezTo>
                    <a:pt x="10" y="16"/>
                    <a:pt x="11" y="16"/>
                    <a:pt x="12" y="15"/>
                  </a:cubicBezTo>
                  <a:cubicBezTo>
                    <a:pt x="12" y="14"/>
                    <a:pt x="12" y="14"/>
                    <a:pt x="11" y="13"/>
                  </a:cubicBezTo>
                  <a:cubicBezTo>
                    <a:pt x="11" y="13"/>
                    <a:pt x="11" y="12"/>
                    <a:pt x="10" y="11"/>
                  </a:cubicBezTo>
                  <a:cubicBezTo>
                    <a:pt x="10" y="11"/>
                    <a:pt x="9" y="10"/>
                    <a:pt x="9" y="10"/>
                  </a:cubicBezTo>
                  <a:cubicBezTo>
                    <a:pt x="9" y="9"/>
                    <a:pt x="8" y="8"/>
                    <a:pt x="7" y="9"/>
                  </a:cubicBezTo>
                  <a:cubicBezTo>
                    <a:pt x="8" y="7"/>
                    <a:pt x="8" y="6"/>
                    <a:pt x="7" y="5"/>
                  </a:cubicBezTo>
                  <a:cubicBezTo>
                    <a:pt x="8" y="5"/>
                    <a:pt x="8" y="7"/>
                    <a:pt x="9" y="8"/>
                  </a:cubicBezTo>
                  <a:cubicBezTo>
                    <a:pt x="9" y="8"/>
                    <a:pt x="10" y="9"/>
                    <a:pt x="10" y="9"/>
                  </a:cubicBezTo>
                  <a:cubicBezTo>
                    <a:pt x="11" y="10"/>
                    <a:pt x="11" y="11"/>
                    <a:pt x="12" y="12"/>
                  </a:cubicBezTo>
                  <a:cubicBezTo>
                    <a:pt x="11" y="11"/>
                    <a:pt x="11" y="11"/>
                    <a:pt x="11" y="10"/>
                  </a:cubicBezTo>
                  <a:cubicBezTo>
                    <a:pt x="11" y="9"/>
                    <a:pt x="11" y="9"/>
                    <a:pt x="11" y="8"/>
                  </a:cubicBezTo>
                  <a:cubicBezTo>
                    <a:pt x="10" y="7"/>
                    <a:pt x="9" y="4"/>
                    <a:pt x="8" y="4"/>
                  </a:cubicBezTo>
                  <a:cubicBezTo>
                    <a:pt x="7" y="4"/>
                    <a:pt x="6" y="4"/>
                    <a:pt x="6" y="4"/>
                  </a:cubicBezTo>
                  <a:cubicBezTo>
                    <a:pt x="5" y="3"/>
                    <a:pt x="5" y="4"/>
                    <a:pt x="4" y="3"/>
                  </a:cubicBezTo>
                  <a:cubicBezTo>
                    <a:pt x="3" y="3"/>
                    <a:pt x="3" y="3"/>
                    <a:pt x="3" y="2"/>
                  </a:cubicBezTo>
                  <a:cubicBezTo>
                    <a:pt x="2" y="1"/>
                    <a:pt x="1" y="0"/>
                    <a:pt x="0" y="0"/>
                  </a:cubicBezTo>
                  <a:cubicBezTo>
                    <a:pt x="0" y="1"/>
                    <a:pt x="0" y="2"/>
                    <a:pt x="1" y="2"/>
                  </a:cubicBezTo>
                  <a:cubicBezTo>
                    <a:pt x="0" y="3"/>
                    <a:pt x="2" y="4"/>
                    <a:pt x="3" y="3"/>
                  </a:cubicBezTo>
                  <a:cubicBezTo>
                    <a:pt x="2" y="4"/>
                    <a:pt x="2" y="5"/>
                    <a:pt x="2" y="6"/>
                  </a:cubicBezTo>
                  <a:cubicBezTo>
                    <a:pt x="2" y="6"/>
                    <a:pt x="3" y="7"/>
                    <a:pt x="3" y="8"/>
                  </a:cubicBezTo>
                  <a:cubicBezTo>
                    <a:pt x="3" y="10"/>
                    <a:pt x="3" y="11"/>
                    <a:pt x="4" y="13"/>
                  </a:cubicBezTo>
                  <a:cubicBezTo>
                    <a:pt x="5" y="13"/>
                    <a:pt x="6" y="13"/>
                    <a:pt x="7" y="13"/>
                  </a:cubicBezTo>
                  <a:cubicBezTo>
                    <a:pt x="6" y="14"/>
                    <a:pt x="7" y="15"/>
                    <a:pt x="7" y="15"/>
                  </a:cubicBezTo>
                  <a:cubicBezTo>
                    <a:pt x="7" y="17"/>
                    <a:pt x="7" y="15"/>
                    <a:pt x="6" y="1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17" name="Freeform 1767">
              <a:extLst>
                <a:ext uri="{FF2B5EF4-FFF2-40B4-BE49-F238E27FC236}">
                  <a16:creationId xmlns:a16="http://schemas.microsoft.com/office/drawing/2014/main" id="{63C07759-3924-4EFD-AA17-D4D78320B506}"/>
                </a:ext>
              </a:extLst>
            </p:cNvPr>
            <p:cNvSpPr>
              <a:spLocks/>
            </p:cNvSpPr>
            <p:nvPr/>
          </p:nvSpPr>
          <p:spPr bwMode="auto">
            <a:xfrm>
              <a:off x="324" y="1283"/>
              <a:ext cx="7" cy="5"/>
            </a:xfrm>
            <a:custGeom>
              <a:avLst/>
              <a:gdLst>
                <a:gd name="T0" fmla="*/ 1 w 3"/>
                <a:gd name="T1" fmla="*/ 1 h 2"/>
                <a:gd name="T2" fmla="*/ 2 w 3"/>
                <a:gd name="T3" fmla="*/ 2 h 2"/>
                <a:gd name="T4" fmla="*/ 2 w 3"/>
                <a:gd name="T5" fmla="*/ 0 h 2"/>
                <a:gd name="T6" fmla="*/ 1 w 3"/>
                <a:gd name="T7" fmla="*/ 1 h 2"/>
              </a:gdLst>
              <a:ahLst/>
              <a:cxnLst>
                <a:cxn ang="0">
                  <a:pos x="T0" y="T1"/>
                </a:cxn>
                <a:cxn ang="0">
                  <a:pos x="T2" y="T3"/>
                </a:cxn>
                <a:cxn ang="0">
                  <a:pos x="T4" y="T5"/>
                </a:cxn>
                <a:cxn ang="0">
                  <a:pos x="T6" y="T7"/>
                </a:cxn>
              </a:cxnLst>
              <a:rect l="0" t="0" r="r" b="b"/>
              <a:pathLst>
                <a:path w="3" h="2">
                  <a:moveTo>
                    <a:pt x="1" y="1"/>
                  </a:moveTo>
                  <a:cubicBezTo>
                    <a:pt x="1" y="2"/>
                    <a:pt x="2" y="2"/>
                    <a:pt x="2" y="2"/>
                  </a:cubicBezTo>
                  <a:cubicBezTo>
                    <a:pt x="3" y="2"/>
                    <a:pt x="3" y="0"/>
                    <a:pt x="2" y="0"/>
                  </a:cubicBezTo>
                  <a:cubicBezTo>
                    <a:pt x="2" y="0"/>
                    <a:pt x="0" y="0"/>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18" name="Freeform 1768">
              <a:extLst>
                <a:ext uri="{FF2B5EF4-FFF2-40B4-BE49-F238E27FC236}">
                  <a16:creationId xmlns:a16="http://schemas.microsoft.com/office/drawing/2014/main" id="{8A4B6945-433F-4AC0-94E9-996358339538}"/>
                </a:ext>
              </a:extLst>
            </p:cNvPr>
            <p:cNvSpPr>
              <a:spLocks/>
            </p:cNvSpPr>
            <p:nvPr/>
          </p:nvSpPr>
          <p:spPr bwMode="auto">
            <a:xfrm>
              <a:off x="364" y="1262"/>
              <a:ext cx="24" cy="26"/>
            </a:xfrm>
            <a:custGeom>
              <a:avLst/>
              <a:gdLst>
                <a:gd name="T0" fmla="*/ 1 w 10"/>
                <a:gd name="T1" fmla="*/ 7 h 11"/>
                <a:gd name="T2" fmla="*/ 3 w 10"/>
                <a:gd name="T3" fmla="*/ 9 h 11"/>
                <a:gd name="T4" fmla="*/ 4 w 10"/>
                <a:gd name="T5" fmla="*/ 6 h 11"/>
                <a:gd name="T6" fmla="*/ 6 w 10"/>
                <a:gd name="T7" fmla="*/ 7 h 11"/>
                <a:gd name="T8" fmla="*/ 5 w 10"/>
                <a:gd name="T9" fmla="*/ 5 h 11"/>
                <a:gd name="T10" fmla="*/ 6 w 10"/>
                <a:gd name="T11" fmla="*/ 8 h 11"/>
                <a:gd name="T12" fmla="*/ 5 w 10"/>
                <a:gd name="T13" fmla="*/ 9 h 11"/>
                <a:gd name="T14" fmla="*/ 7 w 10"/>
                <a:gd name="T15" fmla="*/ 8 h 11"/>
                <a:gd name="T16" fmla="*/ 7 w 10"/>
                <a:gd name="T17" fmla="*/ 11 h 11"/>
                <a:gd name="T18" fmla="*/ 8 w 10"/>
                <a:gd name="T19" fmla="*/ 2 h 11"/>
                <a:gd name="T20" fmla="*/ 5 w 10"/>
                <a:gd name="T21" fmla="*/ 0 h 11"/>
                <a:gd name="T22" fmla="*/ 3 w 10"/>
                <a:gd name="T23" fmla="*/ 1 h 11"/>
                <a:gd name="T24" fmla="*/ 4 w 10"/>
                <a:gd name="T25" fmla="*/ 2 h 11"/>
                <a:gd name="T26" fmla="*/ 2 w 10"/>
                <a:gd name="T27" fmla="*/ 2 h 11"/>
                <a:gd name="T28" fmla="*/ 4 w 10"/>
                <a:gd name="T29" fmla="*/ 2 h 11"/>
                <a:gd name="T30" fmla="*/ 2 w 10"/>
                <a:gd name="T31" fmla="*/ 3 h 11"/>
                <a:gd name="T32" fmla="*/ 4 w 10"/>
                <a:gd name="T33" fmla="*/ 3 h 11"/>
                <a:gd name="T34" fmla="*/ 2 w 10"/>
                <a:gd name="T35" fmla="*/ 4 h 11"/>
                <a:gd name="T36" fmla="*/ 2 w 10"/>
                <a:gd name="T37" fmla="*/ 6 h 11"/>
                <a:gd name="T38" fmla="*/ 1 w 10"/>
                <a:gd name="T39"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1">
                  <a:moveTo>
                    <a:pt x="1" y="7"/>
                  </a:moveTo>
                  <a:cubicBezTo>
                    <a:pt x="1" y="8"/>
                    <a:pt x="2" y="9"/>
                    <a:pt x="3" y="9"/>
                  </a:cubicBezTo>
                  <a:cubicBezTo>
                    <a:pt x="3" y="8"/>
                    <a:pt x="4" y="7"/>
                    <a:pt x="4" y="6"/>
                  </a:cubicBezTo>
                  <a:cubicBezTo>
                    <a:pt x="4" y="7"/>
                    <a:pt x="5" y="8"/>
                    <a:pt x="6" y="7"/>
                  </a:cubicBezTo>
                  <a:cubicBezTo>
                    <a:pt x="6" y="7"/>
                    <a:pt x="5" y="5"/>
                    <a:pt x="5" y="5"/>
                  </a:cubicBezTo>
                  <a:cubicBezTo>
                    <a:pt x="6" y="6"/>
                    <a:pt x="6" y="7"/>
                    <a:pt x="6" y="8"/>
                  </a:cubicBezTo>
                  <a:cubicBezTo>
                    <a:pt x="6" y="8"/>
                    <a:pt x="5" y="9"/>
                    <a:pt x="5" y="9"/>
                  </a:cubicBezTo>
                  <a:cubicBezTo>
                    <a:pt x="6" y="10"/>
                    <a:pt x="6" y="8"/>
                    <a:pt x="7" y="8"/>
                  </a:cubicBezTo>
                  <a:cubicBezTo>
                    <a:pt x="7" y="9"/>
                    <a:pt x="7" y="10"/>
                    <a:pt x="7" y="11"/>
                  </a:cubicBezTo>
                  <a:cubicBezTo>
                    <a:pt x="10" y="9"/>
                    <a:pt x="10" y="4"/>
                    <a:pt x="8" y="2"/>
                  </a:cubicBezTo>
                  <a:cubicBezTo>
                    <a:pt x="8" y="1"/>
                    <a:pt x="7" y="0"/>
                    <a:pt x="5" y="0"/>
                  </a:cubicBezTo>
                  <a:cubicBezTo>
                    <a:pt x="5" y="0"/>
                    <a:pt x="4" y="0"/>
                    <a:pt x="3" y="1"/>
                  </a:cubicBezTo>
                  <a:cubicBezTo>
                    <a:pt x="3" y="1"/>
                    <a:pt x="3" y="1"/>
                    <a:pt x="4" y="2"/>
                  </a:cubicBezTo>
                  <a:cubicBezTo>
                    <a:pt x="4" y="2"/>
                    <a:pt x="2" y="1"/>
                    <a:pt x="2" y="2"/>
                  </a:cubicBezTo>
                  <a:cubicBezTo>
                    <a:pt x="2" y="2"/>
                    <a:pt x="3" y="2"/>
                    <a:pt x="4" y="2"/>
                  </a:cubicBezTo>
                  <a:cubicBezTo>
                    <a:pt x="3" y="3"/>
                    <a:pt x="2" y="2"/>
                    <a:pt x="2" y="3"/>
                  </a:cubicBezTo>
                  <a:cubicBezTo>
                    <a:pt x="1" y="4"/>
                    <a:pt x="3" y="3"/>
                    <a:pt x="4" y="3"/>
                  </a:cubicBezTo>
                  <a:cubicBezTo>
                    <a:pt x="3" y="3"/>
                    <a:pt x="2" y="4"/>
                    <a:pt x="2" y="4"/>
                  </a:cubicBezTo>
                  <a:cubicBezTo>
                    <a:pt x="2" y="5"/>
                    <a:pt x="3" y="4"/>
                    <a:pt x="2" y="6"/>
                  </a:cubicBezTo>
                  <a:cubicBezTo>
                    <a:pt x="2" y="6"/>
                    <a:pt x="0" y="6"/>
                    <a:pt x="1" y="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19" name="Freeform 1769">
              <a:extLst>
                <a:ext uri="{FF2B5EF4-FFF2-40B4-BE49-F238E27FC236}">
                  <a16:creationId xmlns:a16="http://schemas.microsoft.com/office/drawing/2014/main" id="{9BBFA6C7-B805-4483-A366-DB685EF08E6E}"/>
                </a:ext>
              </a:extLst>
            </p:cNvPr>
            <p:cNvSpPr>
              <a:spLocks/>
            </p:cNvSpPr>
            <p:nvPr/>
          </p:nvSpPr>
          <p:spPr bwMode="auto">
            <a:xfrm>
              <a:off x="-508" y="1343"/>
              <a:ext cx="5" cy="4"/>
            </a:xfrm>
            <a:custGeom>
              <a:avLst/>
              <a:gdLst>
                <a:gd name="T0" fmla="*/ 0 w 2"/>
                <a:gd name="T1" fmla="*/ 0 h 2"/>
                <a:gd name="T2" fmla="*/ 0 w 2"/>
                <a:gd name="T3" fmla="*/ 2 h 2"/>
                <a:gd name="T4" fmla="*/ 2 w 2"/>
                <a:gd name="T5" fmla="*/ 1 h 2"/>
                <a:gd name="T6" fmla="*/ 0 w 2"/>
                <a:gd name="T7" fmla="*/ 0 h 2"/>
              </a:gdLst>
              <a:ahLst/>
              <a:cxnLst>
                <a:cxn ang="0">
                  <a:pos x="T0" y="T1"/>
                </a:cxn>
                <a:cxn ang="0">
                  <a:pos x="T2" y="T3"/>
                </a:cxn>
                <a:cxn ang="0">
                  <a:pos x="T4" y="T5"/>
                </a:cxn>
                <a:cxn ang="0">
                  <a:pos x="T6" y="T7"/>
                </a:cxn>
              </a:cxnLst>
              <a:rect l="0" t="0" r="r" b="b"/>
              <a:pathLst>
                <a:path w="2" h="2">
                  <a:moveTo>
                    <a:pt x="0" y="0"/>
                  </a:moveTo>
                  <a:cubicBezTo>
                    <a:pt x="0" y="1"/>
                    <a:pt x="0" y="1"/>
                    <a:pt x="0" y="2"/>
                  </a:cubicBezTo>
                  <a:cubicBezTo>
                    <a:pt x="1" y="2"/>
                    <a:pt x="1" y="1"/>
                    <a:pt x="2" y="1"/>
                  </a:cubicBezTo>
                  <a:cubicBezTo>
                    <a:pt x="1"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20" name="Freeform 1770">
              <a:extLst>
                <a:ext uri="{FF2B5EF4-FFF2-40B4-BE49-F238E27FC236}">
                  <a16:creationId xmlns:a16="http://schemas.microsoft.com/office/drawing/2014/main" id="{F41CA98B-AF39-4242-9593-3FACA4DC66DB}"/>
                </a:ext>
              </a:extLst>
            </p:cNvPr>
            <p:cNvSpPr>
              <a:spLocks/>
            </p:cNvSpPr>
            <p:nvPr/>
          </p:nvSpPr>
          <p:spPr bwMode="auto">
            <a:xfrm>
              <a:off x="1355" y="1553"/>
              <a:ext cx="5" cy="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1"/>
                    <a:pt x="0" y="2"/>
                  </a:cubicBezTo>
                  <a:cubicBezTo>
                    <a:pt x="1" y="1"/>
                    <a:pt x="2" y="1"/>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21" name="Freeform 1771">
              <a:extLst>
                <a:ext uri="{FF2B5EF4-FFF2-40B4-BE49-F238E27FC236}">
                  <a16:creationId xmlns:a16="http://schemas.microsoft.com/office/drawing/2014/main" id="{2DCA0678-5822-409B-AD24-EEB422367D53}"/>
                </a:ext>
              </a:extLst>
            </p:cNvPr>
            <p:cNvSpPr>
              <a:spLocks/>
            </p:cNvSpPr>
            <p:nvPr/>
          </p:nvSpPr>
          <p:spPr bwMode="auto">
            <a:xfrm>
              <a:off x="374" y="1295"/>
              <a:ext cx="5" cy="5"/>
            </a:xfrm>
            <a:custGeom>
              <a:avLst/>
              <a:gdLst>
                <a:gd name="T0" fmla="*/ 0 w 2"/>
                <a:gd name="T1" fmla="*/ 0 h 2"/>
                <a:gd name="T2" fmla="*/ 2 w 2"/>
                <a:gd name="T3" fmla="*/ 0 h 2"/>
                <a:gd name="T4" fmla="*/ 0 w 2"/>
                <a:gd name="T5" fmla="*/ 0 h 2"/>
              </a:gdLst>
              <a:ahLst/>
              <a:cxnLst>
                <a:cxn ang="0">
                  <a:pos x="T0" y="T1"/>
                </a:cxn>
                <a:cxn ang="0">
                  <a:pos x="T2" y="T3"/>
                </a:cxn>
                <a:cxn ang="0">
                  <a:pos x="T4" y="T5"/>
                </a:cxn>
              </a:cxnLst>
              <a:rect l="0" t="0" r="r" b="b"/>
              <a:pathLst>
                <a:path w="2" h="2">
                  <a:moveTo>
                    <a:pt x="0" y="0"/>
                  </a:moveTo>
                  <a:cubicBezTo>
                    <a:pt x="0" y="1"/>
                    <a:pt x="2" y="2"/>
                    <a:pt x="2" y="0"/>
                  </a:cubicBezTo>
                  <a:cubicBezTo>
                    <a:pt x="2"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22" name="Freeform 1772">
              <a:extLst>
                <a:ext uri="{FF2B5EF4-FFF2-40B4-BE49-F238E27FC236}">
                  <a16:creationId xmlns:a16="http://schemas.microsoft.com/office/drawing/2014/main" id="{C840D483-8A8A-42FD-B192-81FE121223E3}"/>
                </a:ext>
              </a:extLst>
            </p:cNvPr>
            <p:cNvSpPr>
              <a:spLocks/>
            </p:cNvSpPr>
            <p:nvPr/>
          </p:nvSpPr>
          <p:spPr bwMode="auto">
            <a:xfrm>
              <a:off x="-508" y="902"/>
              <a:ext cx="2" cy="3"/>
            </a:xfrm>
            <a:custGeom>
              <a:avLst/>
              <a:gdLst>
                <a:gd name="T0" fmla="*/ 0 w 1"/>
                <a:gd name="T1" fmla="*/ 0 h 1"/>
                <a:gd name="T2" fmla="*/ 0 w 1"/>
                <a:gd name="T3" fmla="*/ 1 h 1"/>
                <a:gd name="T4" fmla="*/ 1 w 1"/>
                <a:gd name="T5" fmla="*/ 0 h 1"/>
                <a:gd name="T6" fmla="*/ 0 w 1"/>
                <a:gd name="T7" fmla="*/ 0 h 1"/>
              </a:gdLst>
              <a:ahLst/>
              <a:cxnLst>
                <a:cxn ang="0">
                  <a:pos x="T0" y="T1"/>
                </a:cxn>
                <a:cxn ang="0">
                  <a:pos x="T2" y="T3"/>
                </a:cxn>
                <a:cxn ang="0">
                  <a:pos x="T4" y="T5"/>
                </a:cxn>
                <a:cxn ang="0">
                  <a:pos x="T6" y="T7"/>
                </a:cxn>
              </a:cxnLst>
              <a:rect l="0" t="0" r="r" b="b"/>
              <a:pathLst>
                <a:path w="1" h="1">
                  <a:moveTo>
                    <a:pt x="0" y="0"/>
                  </a:moveTo>
                  <a:cubicBezTo>
                    <a:pt x="0" y="1"/>
                    <a:pt x="0" y="1"/>
                    <a:pt x="0" y="1"/>
                  </a:cubicBezTo>
                  <a:cubicBezTo>
                    <a:pt x="0" y="1"/>
                    <a:pt x="1" y="0"/>
                    <a:pt x="1" y="0"/>
                  </a:cubicBezTo>
                  <a:cubicBezTo>
                    <a:pt x="1"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23" name="Freeform 1773">
              <a:extLst>
                <a:ext uri="{FF2B5EF4-FFF2-40B4-BE49-F238E27FC236}">
                  <a16:creationId xmlns:a16="http://schemas.microsoft.com/office/drawing/2014/main" id="{C2F10A8A-54C7-40BE-8712-5F5BE318DD62}"/>
                </a:ext>
              </a:extLst>
            </p:cNvPr>
            <p:cNvSpPr>
              <a:spLocks/>
            </p:cNvSpPr>
            <p:nvPr/>
          </p:nvSpPr>
          <p:spPr bwMode="auto">
            <a:xfrm>
              <a:off x="322" y="1248"/>
              <a:ext cx="40" cy="59"/>
            </a:xfrm>
            <a:custGeom>
              <a:avLst/>
              <a:gdLst>
                <a:gd name="T0" fmla="*/ 4 w 17"/>
                <a:gd name="T1" fmla="*/ 15 h 25"/>
                <a:gd name="T2" fmla="*/ 7 w 17"/>
                <a:gd name="T3" fmla="*/ 16 h 25"/>
                <a:gd name="T4" fmla="*/ 6 w 17"/>
                <a:gd name="T5" fmla="*/ 17 h 25"/>
                <a:gd name="T6" fmla="*/ 8 w 17"/>
                <a:gd name="T7" fmla="*/ 16 h 25"/>
                <a:gd name="T8" fmla="*/ 9 w 17"/>
                <a:gd name="T9" fmla="*/ 17 h 25"/>
                <a:gd name="T10" fmla="*/ 10 w 17"/>
                <a:gd name="T11" fmla="*/ 16 h 25"/>
                <a:gd name="T12" fmla="*/ 10 w 17"/>
                <a:gd name="T13" fmla="*/ 19 h 25"/>
                <a:gd name="T14" fmla="*/ 11 w 17"/>
                <a:gd name="T15" fmla="*/ 18 h 25"/>
                <a:gd name="T16" fmla="*/ 12 w 17"/>
                <a:gd name="T17" fmla="*/ 19 h 25"/>
                <a:gd name="T18" fmla="*/ 12 w 17"/>
                <a:gd name="T19" fmla="*/ 21 h 25"/>
                <a:gd name="T20" fmla="*/ 14 w 17"/>
                <a:gd name="T21" fmla="*/ 24 h 25"/>
                <a:gd name="T22" fmla="*/ 17 w 17"/>
                <a:gd name="T23" fmla="*/ 22 h 25"/>
                <a:gd name="T24" fmla="*/ 17 w 17"/>
                <a:gd name="T25" fmla="*/ 19 h 25"/>
                <a:gd name="T26" fmla="*/ 15 w 17"/>
                <a:gd name="T27" fmla="*/ 20 h 25"/>
                <a:gd name="T28" fmla="*/ 17 w 17"/>
                <a:gd name="T29" fmla="*/ 18 h 25"/>
                <a:gd name="T30" fmla="*/ 16 w 17"/>
                <a:gd name="T31" fmla="*/ 16 h 25"/>
                <a:gd name="T32" fmla="*/ 14 w 17"/>
                <a:gd name="T33" fmla="*/ 14 h 25"/>
                <a:gd name="T34" fmla="*/ 13 w 17"/>
                <a:gd name="T35" fmla="*/ 14 h 25"/>
                <a:gd name="T36" fmla="*/ 12 w 17"/>
                <a:gd name="T37" fmla="*/ 14 h 25"/>
                <a:gd name="T38" fmla="*/ 14 w 17"/>
                <a:gd name="T39" fmla="*/ 13 h 25"/>
                <a:gd name="T40" fmla="*/ 12 w 17"/>
                <a:gd name="T41" fmla="*/ 12 h 25"/>
                <a:gd name="T42" fmla="*/ 10 w 17"/>
                <a:gd name="T43" fmla="*/ 13 h 25"/>
                <a:gd name="T44" fmla="*/ 11 w 17"/>
                <a:gd name="T45" fmla="*/ 11 h 25"/>
                <a:gd name="T46" fmla="*/ 12 w 17"/>
                <a:gd name="T47" fmla="*/ 12 h 25"/>
                <a:gd name="T48" fmla="*/ 15 w 17"/>
                <a:gd name="T49" fmla="*/ 13 h 25"/>
                <a:gd name="T50" fmla="*/ 14 w 17"/>
                <a:gd name="T51" fmla="*/ 12 h 25"/>
                <a:gd name="T52" fmla="*/ 12 w 17"/>
                <a:gd name="T53" fmla="*/ 9 h 25"/>
                <a:gd name="T54" fmla="*/ 8 w 17"/>
                <a:gd name="T55" fmla="*/ 5 h 25"/>
                <a:gd name="T56" fmla="*/ 6 w 17"/>
                <a:gd name="T57" fmla="*/ 4 h 25"/>
                <a:gd name="T58" fmla="*/ 5 w 17"/>
                <a:gd name="T59" fmla="*/ 1 h 25"/>
                <a:gd name="T60" fmla="*/ 3 w 17"/>
                <a:gd name="T61" fmla="*/ 1 h 25"/>
                <a:gd name="T62" fmla="*/ 0 w 17"/>
                <a:gd name="T63" fmla="*/ 0 h 25"/>
                <a:gd name="T64" fmla="*/ 0 w 17"/>
                <a:gd name="T65" fmla="*/ 2 h 25"/>
                <a:gd name="T66" fmla="*/ 4 w 17"/>
                <a:gd name="T67" fmla="*/ 3 h 25"/>
                <a:gd name="T68" fmla="*/ 4 w 17"/>
                <a:gd name="T69" fmla="*/ 5 h 25"/>
                <a:gd name="T70" fmla="*/ 4 w 17"/>
                <a:gd name="T71" fmla="*/ 6 h 25"/>
                <a:gd name="T72" fmla="*/ 5 w 17"/>
                <a:gd name="T73" fmla="*/ 7 h 25"/>
                <a:gd name="T74" fmla="*/ 3 w 17"/>
                <a:gd name="T75" fmla="*/ 11 h 25"/>
                <a:gd name="T76" fmla="*/ 7 w 17"/>
                <a:gd name="T77" fmla="*/ 11 h 25"/>
                <a:gd name="T78" fmla="*/ 7 w 17"/>
                <a:gd name="T79" fmla="*/ 11 h 25"/>
                <a:gd name="T80" fmla="*/ 7 w 17"/>
                <a:gd name="T81" fmla="*/ 11 h 25"/>
                <a:gd name="T82" fmla="*/ 6 w 17"/>
                <a:gd name="T83" fmla="*/ 11 h 25"/>
                <a:gd name="T84" fmla="*/ 6 w 17"/>
                <a:gd name="T85" fmla="*/ 13 h 25"/>
                <a:gd name="T86" fmla="*/ 6 w 17"/>
                <a:gd name="T87" fmla="*/ 13 h 25"/>
                <a:gd name="T88" fmla="*/ 8 w 17"/>
                <a:gd name="T89" fmla="*/ 14 h 25"/>
                <a:gd name="T90" fmla="*/ 4 w 17"/>
                <a:gd name="T9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 h="25">
                  <a:moveTo>
                    <a:pt x="4" y="15"/>
                  </a:moveTo>
                  <a:cubicBezTo>
                    <a:pt x="4" y="16"/>
                    <a:pt x="6" y="16"/>
                    <a:pt x="7" y="16"/>
                  </a:cubicBezTo>
                  <a:cubicBezTo>
                    <a:pt x="6" y="16"/>
                    <a:pt x="6" y="16"/>
                    <a:pt x="6" y="17"/>
                  </a:cubicBezTo>
                  <a:cubicBezTo>
                    <a:pt x="7" y="17"/>
                    <a:pt x="8" y="16"/>
                    <a:pt x="8" y="16"/>
                  </a:cubicBezTo>
                  <a:cubicBezTo>
                    <a:pt x="9" y="16"/>
                    <a:pt x="9" y="17"/>
                    <a:pt x="9" y="17"/>
                  </a:cubicBezTo>
                  <a:cubicBezTo>
                    <a:pt x="10" y="18"/>
                    <a:pt x="10" y="17"/>
                    <a:pt x="10" y="16"/>
                  </a:cubicBezTo>
                  <a:cubicBezTo>
                    <a:pt x="11" y="17"/>
                    <a:pt x="10" y="18"/>
                    <a:pt x="10" y="19"/>
                  </a:cubicBezTo>
                  <a:cubicBezTo>
                    <a:pt x="10" y="18"/>
                    <a:pt x="11" y="18"/>
                    <a:pt x="11" y="18"/>
                  </a:cubicBezTo>
                  <a:cubicBezTo>
                    <a:pt x="11" y="18"/>
                    <a:pt x="11" y="19"/>
                    <a:pt x="12" y="19"/>
                  </a:cubicBezTo>
                  <a:cubicBezTo>
                    <a:pt x="10" y="20"/>
                    <a:pt x="11" y="20"/>
                    <a:pt x="12" y="21"/>
                  </a:cubicBezTo>
                  <a:cubicBezTo>
                    <a:pt x="13" y="22"/>
                    <a:pt x="15" y="22"/>
                    <a:pt x="14" y="24"/>
                  </a:cubicBezTo>
                  <a:cubicBezTo>
                    <a:pt x="16" y="23"/>
                    <a:pt x="17" y="25"/>
                    <a:pt x="17" y="22"/>
                  </a:cubicBezTo>
                  <a:cubicBezTo>
                    <a:pt x="17" y="21"/>
                    <a:pt x="17" y="20"/>
                    <a:pt x="17" y="19"/>
                  </a:cubicBezTo>
                  <a:cubicBezTo>
                    <a:pt x="16" y="19"/>
                    <a:pt x="16" y="20"/>
                    <a:pt x="15" y="20"/>
                  </a:cubicBezTo>
                  <a:cubicBezTo>
                    <a:pt x="15" y="19"/>
                    <a:pt x="17" y="18"/>
                    <a:pt x="17" y="18"/>
                  </a:cubicBezTo>
                  <a:cubicBezTo>
                    <a:pt x="17" y="17"/>
                    <a:pt x="17" y="15"/>
                    <a:pt x="16" y="16"/>
                  </a:cubicBezTo>
                  <a:cubicBezTo>
                    <a:pt x="16" y="15"/>
                    <a:pt x="15" y="14"/>
                    <a:pt x="14" y="14"/>
                  </a:cubicBezTo>
                  <a:cubicBezTo>
                    <a:pt x="14" y="14"/>
                    <a:pt x="13" y="14"/>
                    <a:pt x="13" y="14"/>
                  </a:cubicBezTo>
                  <a:cubicBezTo>
                    <a:pt x="13" y="14"/>
                    <a:pt x="12" y="14"/>
                    <a:pt x="12" y="14"/>
                  </a:cubicBezTo>
                  <a:cubicBezTo>
                    <a:pt x="12" y="13"/>
                    <a:pt x="13" y="13"/>
                    <a:pt x="14" y="13"/>
                  </a:cubicBezTo>
                  <a:cubicBezTo>
                    <a:pt x="13" y="13"/>
                    <a:pt x="13" y="12"/>
                    <a:pt x="12" y="12"/>
                  </a:cubicBezTo>
                  <a:cubicBezTo>
                    <a:pt x="11" y="12"/>
                    <a:pt x="11" y="13"/>
                    <a:pt x="10" y="13"/>
                  </a:cubicBezTo>
                  <a:cubicBezTo>
                    <a:pt x="10" y="12"/>
                    <a:pt x="11" y="11"/>
                    <a:pt x="11" y="11"/>
                  </a:cubicBezTo>
                  <a:cubicBezTo>
                    <a:pt x="12" y="11"/>
                    <a:pt x="12" y="11"/>
                    <a:pt x="12" y="12"/>
                  </a:cubicBezTo>
                  <a:cubicBezTo>
                    <a:pt x="13" y="12"/>
                    <a:pt x="14" y="13"/>
                    <a:pt x="15" y="13"/>
                  </a:cubicBezTo>
                  <a:cubicBezTo>
                    <a:pt x="15" y="12"/>
                    <a:pt x="14" y="12"/>
                    <a:pt x="14" y="12"/>
                  </a:cubicBezTo>
                  <a:cubicBezTo>
                    <a:pt x="13" y="11"/>
                    <a:pt x="13" y="10"/>
                    <a:pt x="12" y="9"/>
                  </a:cubicBezTo>
                  <a:cubicBezTo>
                    <a:pt x="11" y="7"/>
                    <a:pt x="10" y="6"/>
                    <a:pt x="8" y="5"/>
                  </a:cubicBezTo>
                  <a:cubicBezTo>
                    <a:pt x="8" y="4"/>
                    <a:pt x="7" y="5"/>
                    <a:pt x="6" y="4"/>
                  </a:cubicBezTo>
                  <a:cubicBezTo>
                    <a:pt x="4" y="3"/>
                    <a:pt x="7" y="2"/>
                    <a:pt x="5" y="1"/>
                  </a:cubicBezTo>
                  <a:cubicBezTo>
                    <a:pt x="4" y="0"/>
                    <a:pt x="4" y="1"/>
                    <a:pt x="3" y="1"/>
                  </a:cubicBezTo>
                  <a:cubicBezTo>
                    <a:pt x="2" y="1"/>
                    <a:pt x="1" y="0"/>
                    <a:pt x="0" y="0"/>
                  </a:cubicBezTo>
                  <a:cubicBezTo>
                    <a:pt x="0" y="1"/>
                    <a:pt x="0" y="2"/>
                    <a:pt x="0" y="2"/>
                  </a:cubicBezTo>
                  <a:cubicBezTo>
                    <a:pt x="1" y="3"/>
                    <a:pt x="3" y="2"/>
                    <a:pt x="4" y="3"/>
                  </a:cubicBezTo>
                  <a:cubicBezTo>
                    <a:pt x="4" y="4"/>
                    <a:pt x="4" y="5"/>
                    <a:pt x="4" y="5"/>
                  </a:cubicBezTo>
                  <a:cubicBezTo>
                    <a:pt x="4" y="6"/>
                    <a:pt x="4" y="6"/>
                    <a:pt x="4" y="6"/>
                  </a:cubicBezTo>
                  <a:cubicBezTo>
                    <a:pt x="4" y="7"/>
                    <a:pt x="5" y="7"/>
                    <a:pt x="5" y="7"/>
                  </a:cubicBezTo>
                  <a:cubicBezTo>
                    <a:pt x="6" y="9"/>
                    <a:pt x="2" y="9"/>
                    <a:pt x="3" y="11"/>
                  </a:cubicBezTo>
                  <a:cubicBezTo>
                    <a:pt x="3" y="12"/>
                    <a:pt x="5" y="11"/>
                    <a:pt x="7" y="11"/>
                  </a:cubicBezTo>
                  <a:cubicBezTo>
                    <a:pt x="7" y="11"/>
                    <a:pt x="7" y="11"/>
                    <a:pt x="7" y="11"/>
                  </a:cubicBezTo>
                  <a:cubicBezTo>
                    <a:pt x="7" y="11"/>
                    <a:pt x="7" y="11"/>
                    <a:pt x="7" y="11"/>
                  </a:cubicBezTo>
                  <a:cubicBezTo>
                    <a:pt x="6" y="11"/>
                    <a:pt x="6" y="11"/>
                    <a:pt x="6" y="11"/>
                  </a:cubicBezTo>
                  <a:cubicBezTo>
                    <a:pt x="5" y="12"/>
                    <a:pt x="6" y="12"/>
                    <a:pt x="6" y="13"/>
                  </a:cubicBezTo>
                  <a:cubicBezTo>
                    <a:pt x="6" y="13"/>
                    <a:pt x="6" y="13"/>
                    <a:pt x="6" y="13"/>
                  </a:cubicBezTo>
                  <a:cubicBezTo>
                    <a:pt x="7" y="14"/>
                    <a:pt x="7" y="14"/>
                    <a:pt x="8" y="14"/>
                  </a:cubicBezTo>
                  <a:cubicBezTo>
                    <a:pt x="6" y="15"/>
                    <a:pt x="5" y="14"/>
                    <a:pt x="4" y="1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24" name="Freeform 1774">
              <a:extLst>
                <a:ext uri="{FF2B5EF4-FFF2-40B4-BE49-F238E27FC236}">
                  <a16:creationId xmlns:a16="http://schemas.microsoft.com/office/drawing/2014/main" id="{60082C17-7949-4D2A-A7CC-9E54D26587DA}"/>
                </a:ext>
              </a:extLst>
            </p:cNvPr>
            <p:cNvSpPr>
              <a:spLocks/>
            </p:cNvSpPr>
            <p:nvPr/>
          </p:nvSpPr>
          <p:spPr bwMode="auto">
            <a:xfrm>
              <a:off x="1582" y="2166"/>
              <a:ext cx="2" cy="5"/>
            </a:xfrm>
            <a:custGeom>
              <a:avLst/>
              <a:gdLst>
                <a:gd name="T0" fmla="*/ 1 w 1"/>
                <a:gd name="T1" fmla="*/ 2 h 2"/>
                <a:gd name="T2" fmla="*/ 1 w 1"/>
                <a:gd name="T3" fmla="*/ 2 h 2"/>
                <a:gd name="T4" fmla="*/ 1 w 1"/>
                <a:gd name="T5" fmla="*/ 1 h 2"/>
                <a:gd name="T6" fmla="*/ 0 w 1"/>
                <a:gd name="T7" fmla="*/ 0 h 2"/>
                <a:gd name="T8" fmla="*/ 1 w 1"/>
                <a:gd name="T9" fmla="*/ 1 h 2"/>
                <a:gd name="T10" fmla="*/ 1 w 1"/>
                <a:gd name="T11" fmla="*/ 2 h 2"/>
                <a:gd name="T12" fmla="*/ 1 w 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2"/>
                  </a:moveTo>
                  <a:cubicBezTo>
                    <a:pt x="1" y="2"/>
                    <a:pt x="1" y="2"/>
                    <a:pt x="1" y="2"/>
                  </a:cubicBezTo>
                  <a:cubicBezTo>
                    <a:pt x="1" y="2"/>
                    <a:pt x="1" y="2"/>
                    <a:pt x="1" y="1"/>
                  </a:cubicBezTo>
                  <a:cubicBezTo>
                    <a:pt x="1" y="1"/>
                    <a:pt x="1" y="1"/>
                    <a:pt x="0" y="0"/>
                  </a:cubicBezTo>
                  <a:cubicBezTo>
                    <a:pt x="0" y="1"/>
                    <a:pt x="1" y="1"/>
                    <a:pt x="1" y="1"/>
                  </a:cubicBezTo>
                  <a:cubicBezTo>
                    <a:pt x="1" y="1"/>
                    <a:pt x="1" y="2"/>
                    <a:pt x="1" y="2"/>
                  </a:cubicBezTo>
                  <a:cubicBezTo>
                    <a:pt x="1" y="2"/>
                    <a:pt x="1" y="2"/>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25" name="Freeform 1775">
              <a:extLst>
                <a:ext uri="{FF2B5EF4-FFF2-40B4-BE49-F238E27FC236}">
                  <a16:creationId xmlns:a16="http://schemas.microsoft.com/office/drawing/2014/main" id="{13C3C6CD-784D-4843-A594-FDB10DAFB6C4}"/>
                </a:ext>
              </a:extLst>
            </p:cNvPr>
            <p:cNvSpPr>
              <a:spLocks/>
            </p:cNvSpPr>
            <p:nvPr/>
          </p:nvSpPr>
          <p:spPr bwMode="auto">
            <a:xfrm>
              <a:off x="-442" y="1324"/>
              <a:ext cx="7" cy="0"/>
            </a:xfrm>
            <a:custGeom>
              <a:avLst/>
              <a:gdLst>
                <a:gd name="T0" fmla="*/ 0 w 3"/>
                <a:gd name="T1" fmla="*/ 3 w 3"/>
                <a:gd name="T2" fmla="*/ 0 w 3"/>
              </a:gdLst>
              <a:ahLst/>
              <a:cxnLst>
                <a:cxn ang="0">
                  <a:pos x="T0" y="0"/>
                </a:cxn>
                <a:cxn ang="0">
                  <a:pos x="T1" y="0"/>
                </a:cxn>
                <a:cxn ang="0">
                  <a:pos x="T2" y="0"/>
                </a:cxn>
              </a:cxnLst>
              <a:rect l="0" t="0" r="r" b="b"/>
              <a:pathLst>
                <a:path w="3">
                  <a:moveTo>
                    <a:pt x="0" y="0"/>
                  </a:moveTo>
                  <a:cubicBezTo>
                    <a:pt x="1" y="0"/>
                    <a:pt x="2" y="0"/>
                    <a:pt x="3" y="0"/>
                  </a:cubicBezTo>
                  <a:cubicBezTo>
                    <a:pt x="2" y="0"/>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26" name="Freeform 1776">
              <a:extLst>
                <a:ext uri="{FF2B5EF4-FFF2-40B4-BE49-F238E27FC236}">
                  <a16:creationId xmlns:a16="http://schemas.microsoft.com/office/drawing/2014/main" id="{D3E26250-BF7D-4453-B3CE-A141FE68B1B8}"/>
                </a:ext>
              </a:extLst>
            </p:cNvPr>
            <p:cNvSpPr>
              <a:spLocks/>
            </p:cNvSpPr>
            <p:nvPr/>
          </p:nvSpPr>
          <p:spPr bwMode="auto">
            <a:xfrm>
              <a:off x="-158" y="1191"/>
              <a:ext cx="7" cy="7"/>
            </a:xfrm>
            <a:custGeom>
              <a:avLst/>
              <a:gdLst>
                <a:gd name="T0" fmla="*/ 3 w 3"/>
                <a:gd name="T1" fmla="*/ 3 h 3"/>
                <a:gd name="T2" fmla="*/ 0 w 3"/>
                <a:gd name="T3" fmla="*/ 0 h 3"/>
                <a:gd name="T4" fmla="*/ 3 w 3"/>
                <a:gd name="T5" fmla="*/ 3 h 3"/>
              </a:gdLst>
              <a:ahLst/>
              <a:cxnLst>
                <a:cxn ang="0">
                  <a:pos x="T0" y="T1"/>
                </a:cxn>
                <a:cxn ang="0">
                  <a:pos x="T2" y="T3"/>
                </a:cxn>
                <a:cxn ang="0">
                  <a:pos x="T4" y="T5"/>
                </a:cxn>
              </a:cxnLst>
              <a:rect l="0" t="0" r="r" b="b"/>
              <a:pathLst>
                <a:path w="3" h="3">
                  <a:moveTo>
                    <a:pt x="3" y="3"/>
                  </a:moveTo>
                  <a:cubicBezTo>
                    <a:pt x="2" y="2"/>
                    <a:pt x="1" y="1"/>
                    <a:pt x="0" y="0"/>
                  </a:cubicBezTo>
                  <a:cubicBezTo>
                    <a:pt x="1" y="2"/>
                    <a:pt x="2" y="3"/>
                    <a:pt x="3"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27" name="Freeform 1777">
              <a:extLst>
                <a:ext uri="{FF2B5EF4-FFF2-40B4-BE49-F238E27FC236}">
                  <a16:creationId xmlns:a16="http://schemas.microsoft.com/office/drawing/2014/main" id="{F441248B-E519-4D26-B0E2-00CE5BB10FD8}"/>
                </a:ext>
              </a:extLst>
            </p:cNvPr>
            <p:cNvSpPr>
              <a:spLocks/>
            </p:cNvSpPr>
            <p:nvPr/>
          </p:nvSpPr>
          <p:spPr bwMode="auto">
            <a:xfrm>
              <a:off x="1343" y="2048"/>
              <a:ext cx="5" cy="2"/>
            </a:xfrm>
            <a:custGeom>
              <a:avLst/>
              <a:gdLst>
                <a:gd name="T0" fmla="*/ 0 w 2"/>
                <a:gd name="T1" fmla="*/ 0 h 1"/>
                <a:gd name="T2" fmla="*/ 0 w 2"/>
                <a:gd name="T3" fmla="*/ 1 h 1"/>
                <a:gd name="T4" fmla="*/ 1 w 2"/>
                <a:gd name="T5" fmla="*/ 1 h 1"/>
                <a:gd name="T6" fmla="*/ 1 w 2"/>
                <a:gd name="T7" fmla="*/ 1 h 1"/>
                <a:gd name="T8" fmla="*/ 2 w 2"/>
                <a:gd name="T9" fmla="*/ 1 h 1"/>
                <a:gd name="T10" fmla="*/ 0 w 2"/>
                <a:gd name="T11" fmla="*/ 0 h 1"/>
                <a:gd name="T12" fmla="*/ 0 w 2"/>
                <a:gd name="T13" fmla="*/ 0 h 1"/>
                <a:gd name="T14" fmla="*/ 0 w 2"/>
                <a:gd name="T15" fmla="*/ 0 h 1"/>
                <a:gd name="T16" fmla="*/ 0 w 2"/>
                <a:gd name="T17" fmla="*/ 0 h 1"/>
                <a:gd name="T18" fmla="*/ 0 w 2"/>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1">
                  <a:moveTo>
                    <a:pt x="0" y="0"/>
                  </a:moveTo>
                  <a:cubicBezTo>
                    <a:pt x="0" y="1"/>
                    <a:pt x="0" y="1"/>
                    <a:pt x="0" y="1"/>
                  </a:cubicBezTo>
                  <a:cubicBezTo>
                    <a:pt x="0" y="1"/>
                    <a:pt x="1" y="1"/>
                    <a:pt x="1" y="1"/>
                  </a:cubicBezTo>
                  <a:cubicBezTo>
                    <a:pt x="1" y="1"/>
                    <a:pt x="1" y="1"/>
                    <a:pt x="1" y="1"/>
                  </a:cubicBezTo>
                  <a:cubicBezTo>
                    <a:pt x="1" y="1"/>
                    <a:pt x="2" y="1"/>
                    <a:pt x="2" y="1"/>
                  </a:cubicBezTo>
                  <a:cubicBezTo>
                    <a:pt x="1" y="1"/>
                    <a:pt x="1" y="1"/>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28" name="Freeform 1778">
              <a:extLst>
                <a:ext uri="{FF2B5EF4-FFF2-40B4-BE49-F238E27FC236}">
                  <a16:creationId xmlns:a16="http://schemas.microsoft.com/office/drawing/2014/main" id="{54CB84D6-A0CA-43C3-8925-CB06D2FEFDA0}"/>
                </a:ext>
              </a:extLst>
            </p:cNvPr>
            <p:cNvSpPr>
              <a:spLocks/>
            </p:cNvSpPr>
            <p:nvPr/>
          </p:nvSpPr>
          <p:spPr bwMode="auto">
            <a:xfrm>
              <a:off x="-343" y="1163"/>
              <a:ext cx="12" cy="14"/>
            </a:xfrm>
            <a:custGeom>
              <a:avLst/>
              <a:gdLst>
                <a:gd name="T0" fmla="*/ 5 w 5"/>
                <a:gd name="T1" fmla="*/ 0 h 6"/>
                <a:gd name="T2" fmla="*/ 0 w 5"/>
                <a:gd name="T3" fmla="*/ 2 h 6"/>
                <a:gd name="T4" fmla="*/ 5 w 5"/>
                <a:gd name="T5" fmla="*/ 0 h 6"/>
              </a:gdLst>
              <a:ahLst/>
              <a:cxnLst>
                <a:cxn ang="0">
                  <a:pos x="T0" y="T1"/>
                </a:cxn>
                <a:cxn ang="0">
                  <a:pos x="T2" y="T3"/>
                </a:cxn>
                <a:cxn ang="0">
                  <a:pos x="T4" y="T5"/>
                </a:cxn>
              </a:cxnLst>
              <a:rect l="0" t="0" r="r" b="b"/>
              <a:pathLst>
                <a:path w="5" h="6">
                  <a:moveTo>
                    <a:pt x="5" y="0"/>
                  </a:moveTo>
                  <a:cubicBezTo>
                    <a:pt x="3" y="1"/>
                    <a:pt x="2" y="1"/>
                    <a:pt x="0" y="2"/>
                  </a:cubicBezTo>
                  <a:cubicBezTo>
                    <a:pt x="1" y="6"/>
                    <a:pt x="4" y="1"/>
                    <a:pt x="5"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29" name="Freeform 1779">
              <a:extLst>
                <a:ext uri="{FF2B5EF4-FFF2-40B4-BE49-F238E27FC236}">
                  <a16:creationId xmlns:a16="http://schemas.microsoft.com/office/drawing/2014/main" id="{F326CEC6-215A-4911-B9CE-D134C1EE9F96}"/>
                </a:ext>
              </a:extLst>
            </p:cNvPr>
            <p:cNvSpPr>
              <a:spLocks/>
            </p:cNvSpPr>
            <p:nvPr/>
          </p:nvSpPr>
          <p:spPr bwMode="auto">
            <a:xfrm>
              <a:off x="1206" y="2081"/>
              <a:ext cx="5" cy="4"/>
            </a:xfrm>
            <a:custGeom>
              <a:avLst/>
              <a:gdLst>
                <a:gd name="T0" fmla="*/ 0 w 2"/>
                <a:gd name="T1" fmla="*/ 2 h 2"/>
                <a:gd name="T2" fmla="*/ 2 w 2"/>
                <a:gd name="T3" fmla="*/ 0 h 2"/>
                <a:gd name="T4" fmla="*/ 1 w 2"/>
                <a:gd name="T5" fmla="*/ 0 h 2"/>
                <a:gd name="T6" fmla="*/ 0 w 2"/>
                <a:gd name="T7" fmla="*/ 2 h 2"/>
              </a:gdLst>
              <a:ahLst/>
              <a:cxnLst>
                <a:cxn ang="0">
                  <a:pos x="T0" y="T1"/>
                </a:cxn>
                <a:cxn ang="0">
                  <a:pos x="T2" y="T3"/>
                </a:cxn>
                <a:cxn ang="0">
                  <a:pos x="T4" y="T5"/>
                </a:cxn>
                <a:cxn ang="0">
                  <a:pos x="T6" y="T7"/>
                </a:cxn>
              </a:cxnLst>
              <a:rect l="0" t="0" r="r" b="b"/>
              <a:pathLst>
                <a:path w="2" h="2">
                  <a:moveTo>
                    <a:pt x="0" y="2"/>
                  </a:moveTo>
                  <a:cubicBezTo>
                    <a:pt x="0" y="2"/>
                    <a:pt x="1" y="1"/>
                    <a:pt x="2" y="0"/>
                  </a:cubicBezTo>
                  <a:cubicBezTo>
                    <a:pt x="1" y="0"/>
                    <a:pt x="1" y="0"/>
                    <a:pt x="1" y="0"/>
                  </a:cubicBezTo>
                  <a:cubicBezTo>
                    <a:pt x="0" y="1"/>
                    <a:pt x="0" y="2"/>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30" name="Freeform 1780">
              <a:extLst>
                <a:ext uri="{FF2B5EF4-FFF2-40B4-BE49-F238E27FC236}">
                  <a16:creationId xmlns:a16="http://schemas.microsoft.com/office/drawing/2014/main" id="{9B7B4D9F-14FF-45C4-B660-4A13F603B13C}"/>
                </a:ext>
              </a:extLst>
            </p:cNvPr>
            <p:cNvSpPr>
              <a:spLocks/>
            </p:cNvSpPr>
            <p:nvPr/>
          </p:nvSpPr>
          <p:spPr bwMode="auto">
            <a:xfrm>
              <a:off x="336" y="1243"/>
              <a:ext cx="9" cy="10"/>
            </a:xfrm>
            <a:custGeom>
              <a:avLst/>
              <a:gdLst>
                <a:gd name="T0" fmla="*/ 3 w 4"/>
                <a:gd name="T1" fmla="*/ 1 h 4"/>
                <a:gd name="T2" fmla="*/ 1 w 4"/>
                <a:gd name="T3" fmla="*/ 1 h 4"/>
                <a:gd name="T4" fmla="*/ 0 w 4"/>
                <a:gd name="T5" fmla="*/ 3 h 4"/>
                <a:gd name="T6" fmla="*/ 3 w 4"/>
                <a:gd name="T7" fmla="*/ 4 h 4"/>
                <a:gd name="T8" fmla="*/ 3 w 4"/>
                <a:gd name="T9" fmla="*/ 1 h 4"/>
              </a:gdLst>
              <a:ahLst/>
              <a:cxnLst>
                <a:cxn ang="0">
                  <a:pos x="T0" y="T1"/>
                </a:cxn>
                <a:cxn ang="0">
                  <a:pos x="T2" y="T3"/>
                </a:cxn>
                <a:cxn ang="0">
                  <a:pos x="T4" y="T5"/>
                </a:cxn>
                <a:cxn ang="0">
                  <a:pos x="T6" y="T7"/>
                </a:cxn>
                <a:cxn ang="0">
                  <a:pos x="T8" y="T9"/>
                </a:cxn>
              </a:cxnLst>
              <a:rect l="0" t="0" r="r" b="b"/>
              <a:pathLst>
                <a:path w="4" h="4">
                  <a:moveTo>
                    <a:pt x="3" y="1"/>
                  </a:moveTo>
                  <a:cubicBezTo>
                    <a:pt x="2" y="1"/>
                    <a:pt x="2" y="0"/>
                    <a:pt x="1" y="1"/>
                  </a:cubicBezTo>
                  <a:cubicBezTo>
                    <a:pt x="0" y="1"/>
                    <a:pt x="0" y="2"/>
                    <a:pt x="0" y="3"/>
                  </a:cubicBezTo>
                  <a:cubicBezTo>
                    <a:pt x="1" y="3"/>
                    <a:pt x="2" y="4"/>
                    <a:pt x="3" y="4"/>
                  </a:cubicBezTo>
                  <a:cubicBezTo>
                    <a:pt x="4" y="4"/>
                    <a:pt x="4" y="2"/>
                    <a:pt x="3"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31" name="Freeform 1781">
              <a:extLst>
                <a:ext uri="{FF2B5EF4-FFF2-40B4-BE49-F238E27FC236}">
                  <a16:creationId xmlns:a16="http://schemas.microsoft.com/office/drawing/2014/main" id="{F7D67AAB-0F8B-4414-9CBE-85DD8E5D2DCF}"/>
                </a:ext>
              </a:extLst>
            </p:cNvPr>
            <p:cNvSpPr>
              <a:spLocks/>
            </p:cNvSpPr>
            <p:nvPr/>
          </p:nvSpPr>
          <p:spPr bwMode="auto">
            <a:xfrm>
              <a:off x="1480" y="1589"/>
              <a:ext cx="5" cy="2"/>
            </a:xfrm>
            <a:custGeom>
              <a:avLst/>
              <a:gdLst>
                <a:gd name="T0" fmla="*/ 0 w 2"/>
                <a:gd name="T1" fmla="*/ 1 h 1"/>
                <a:gd name="T2" fmla="*/ 2 w 2"/>
                <a:gd name="T3" fmla="*/ 0 h 1"/>
                <a:gd name="T4" fmla="*/ 0 w 2"/>
                <a:gd name="T5" fmla="*/ 1 h 1"/>
              </a:gdLst>
              <a:ahLst/>
              <a:cxnLst>
                <a:cxn ang="0">
                  <a:pos x="T0" y="T1"/>
                </a:cxn>
                <a:cxn ang="0">
                  <a:pos x="T2" y="T3"/>
                </a:cxn>
                <a:cxn ang="0">
                  <a:pos x="T4" y="T5"/>
                </a:cxn>
              </a:cxnLst>
              <a:rect l="0" t="0" r="r" b="b"/>
              <a:pathLst>
                <a:path w="2" h="1">
                  <a:moveTo>
                    <a:pt x="0" y="1"/>
                  </a:moveTo>
                  <a:cubicBezTo>
                    <a:pt x="1" y="1"/>
                    <a:pt x="1" y="0"/>
                    <a:pt x="2" y="0"/>
                  </a:cubicBezTo>
                  <a:cubicBezTo>
                    <a:pt x="1" y="0"/>
                    <a:pt x="1"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32" name="Freeform 1782">
              <a:extLst>
                <a:ext uri="{FF2B5EF4-FFF2-40B4-BE49-F238E27FC236}">
                  <a16:creationId xmlns:a16="http://schemas.microsoft.com/office/drawing/2014/main" id="{EC660DDE-0C26-4650-81E1-A64E30220F95}"/>
                </a:ext>
              </a:extLst>
            </p:cNvPr>
            <p:cNvSpPr>
              <a:spLocks/>
            </p:cNvSpPr>
            <p:nvPr/>
          </p:nvSpPr>
          <p:spPr bwMode="auto">
            <a:xfrm>
              <a:off x="-373" y="1295"/>
              <a:ext cx="4" cy="7"/>
            </a:xfrm>
            <a:custGeom>
              <a:avLst/>
              <a:gdLst>
                <a:gd name="T0" fmla="*/ 0 w 2"/>
                <a:gd name="T1" fmla="*/ 1 h 3"/>
                <a:gd name="T2" fmla="*/ 2 w 2"/>
                <a:gd name="T3" fmla="*/ 0 h 3"/>
                <a:gd name="T4" fmla="*/ 0 w 2"/>
                <a:gd name="T5" fmla="*/ 1 h 3"/>
              </a:gdLst>
              <a:ahLst/>
              <a:cxnLst>
                <a:cxn ang="0">
                  <a:pos x="T0" y="T1"/>
                </a:cxn>
                <a:cxn ang="0">
                  <a:pos x="T2" y="T3"/>
                </a:cxn>
                <a:cxn ang="0">
                  <a:pos x="T4" y="T5"/>
                </a:cxn>
              </a:cxnLst>
              <a:rect l="0" t="0" r="r" b="b"/>
              <a:pathLst>
                <a:path w="2" h="3">
                  <a:moveTo>
                    <a:pt x="0" y="1"/>
                  </a:moveTo>
                  <a:cubicBezTo>
                    <a:pt x="0" y="3"/>
                    <a:pt x="2" y="1"/>
                    <a:pt x="2" y="0"/>
                  </a:cubicBezTo>
                  <a:cubicBezTo>
                    <a:pt x="1" y="0"/>
                    <a:pt x="0"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33" name="Freeform 1783">
              <a:extLst>
                <a:ext uri="{FF2B5EF4-FFF2-40B4-BE49-F238E27FC236}">
                  <a16:creationId xmlns:a16="http://schemas.microsoft.com/office/drawing/2014/main" id="{F6E3A9F5-4E1C-4619-98BB-9F281D7C0D42}"/>
                </a:ext>
              </a:extLst>
            </p:cNvPr>
            <p:cNvSpPr>
              <a:spLocks/>
            </p:cNvSpPr>
            <p:nvPr/>
          </p:nvSpPr>
          <p:spPr bwMode="auto">
            <a:xfrm>
              <a:off x="-307" y="1286"/>
              <a:ext cx="5" cy="7"/>
            </a:xfrm>
            <a:custGeom>
              <a:avLst/>
              <a:gdLst>
                <a:gd name="T0" fmla="*/ 1 w 2"/>
                <a:gd name="T1" fmla="*/ 3 h 3"/>
                <a:gd name="T2" fmla="*/ 2 w 2"/>
                <a:gd name="T3" fmla="*/ 0 h 3"/>
                <a:gd name="T4" fmla="*/ 1 w 2"/>
                <a:gd name="T5" fmla="*/ 2 h 3"/>
                <a:gd name="T6" fmla="*/ 0 w 2"/>
                <a:gd name="T7" fmla="*/ 2 h 3"/>
                <a:gd name="T8" fmla="*/ 1 w 2"/>
                <a:gd name="T9" fmla="*/ 3 h 3"/>
              </a:gdLst>
              <a:ahLst/>
              <a:cxnLst>
                <a:cxn ang="0">
                  <a:pos x="T0" y="T1"/>
                </a:cxn>
                <a:cxn ang="0">
                  <a:pos x="T2" y="T3"/>
                </a:cxn>
                <a:cxn ang="0">
                  <a:pos x="T4" y="T5"/>
                </a:cxn>
                <a:cxn ang="0">
                  <a:pos x="T6" y="T7"/>
                </a:cxn>
                <a:cxn ang="0">
                  <a:pos x="T8" y="T9"/>
                </a:cxn>
              </a:cxnLst>
              <a:rect l="0" t="0" r="r" b="b"/>
              <a:pathLst>
                <a:path w="2" h="3">
                  <a:moveTo>
                    <a:pt x="1" y="3"/>
                  </a:moveTo>
                  <a:cubicBezTo>
                    <a:pt x="2" y="3"/>
                    <a:pt x="2" y="1"/>
                    <a:pt x="2" y="0"/>
                  </a:cubicBezTo>
                  <a:cubicBezTo>
                    <a:pt x="1" y="1"/>
                    <a:pt x="0" y="1"/>
                    <a:pt x="1" y="2"/>
                  </a:cubicBezTo>
                  <a:cubicBezTo>
                    <a:pt x="1" y="2"/>
                    <a:pt x="0" y="2"/>
                    <a:pt x="0" y="2"/>
                  </a:cubicBezTo>
                  <a:cubicBezTo>
                    <a:pt x="0" y="2"/>
                    <a:pt x="0" y="3"/>
                    <a:pt x="1"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grpSp>
      <p:grpSp>
        <p:nvGrpSpPr>
          <p:cNvPr id="65" name="Group 1985">
            <a:extLst>
              <a:ext uri="{FF2B5EF4-FFF2-40B4-BE49-F238E27FC236}">
                <a16:creationId xmlns:a16="http://schemas.microsoft.com/office/drawing/2014/main" id="{6142A64A-BE43-4FA3-BE82-7A8E413CF181}"/>
              </a:ext>
            </a:extLst>
          </p:cNvPr>
          <p:cNvGrpSpPr>
            <a:grpSpLocks/>
          </p:cNvGrpSpPr>
          <p:nvPr/>
        </p:nvGrpSpPr>
        <p:grpSpPr bwMode="auto">
          <a:xfrm>
            <a:off x="1356761" y="2127979"/>
            <a:ext cx="1841998" cy="2529902"/>
            <a:chOff x="-454" y="29"/>
            <a:chExt cx="3717" cy="4262"/>
          </a:xfrm>
          <a:solidFill>
            <a:schemeClr val="tx1">
              <a:lumMod val="40000"/>
              <a:lumOff val="60000"/>
            </a:schemeClr>
          </a:solidFill>
        </p:grpSpPr>
        <p:sp>
          <p:nvSpPr>
            <p:cNvPr id="1334" name="Freeform 1785">
              <a:extLst>
                <a:ext uri="{FF2B5EF4-FFF2-40B4-BE49-F238E27FC236}">
                  <a16:creationId xmlns:a16="http://schemas.microsoft.com/office/drawing/2014/main" id="{8F9FAD4E-ED2D-4AF0-9CD9-31F78570968A}"/>
                </a:ext>
              </a:extLst>
            </p:cNvPr>
            <p:cNvSpPr>
              <a:spLocks/>
            </p:cNvSpPr>
            <p:nvPr/>
          </p:nvSpPr>
          <p:spPr bwMode="auto">
            <a:xfrm>
              <a:off x="1393" y="1515"/>
              <a:ext cx="19" cy="7"/>
            </a:xfrm>
            <a:custGeom>
              <a:avLst/>
              <a:gdLst>
                <a:gd name="T0" fmla="*/ 1 w 8"/>
                <a:gd name="T1" fmla="*/ 3 h 3"/>
                <a:gd name="T2" fmla="*/ 8 w 8"/>
                <a:gd name="T3" fmla="*/ 0 h 3"/>
                <a:gd name="T4" fmla="*/ 1 w 8"/>
                <a:gd name="T5" fmla="*/ 3 h 3"/>
              </a:gdLst>
              <a:ahLst/>
              <a:cxnLst>
                <a:cxn ang="0">
                  <a:pos x="T0" y="T1"/>
                </a:cxn>
                <a:cxn ang="0">
                  <a:pos x="T2" y="T3"/>
                </a:cxn>
                <a:cxn ang="0">
                  <a:pos x="T4" y="T5"/>
                </a:cxn>
              </a:cxnLst>
              <a:rect l="0" t="0" r="r" b="b"/>
              <a:pathLst>
                <a:path w="8" h="3">
                  <a:moveTo>
                    <a:pt x="1" y="3"/>
                  </a:moveTo>
                  <a:cubicBezTo>
                    <a:pt x="3" y="2"/>
                    <a:pt x="6" y="1"/>
                    <a:pt x="8" y="0"/>
                  </a:cubicBezTo>
                  <a:cubicBezTo>
                    <a:pt x="7" y="0"/>
                    <a:pt x="0" y="2"/>
                    <a:pt x="1"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35" name="Freeform 1786">
              <a:extLst>
                <a:ext uri="{FF2B5EF4-FFF2-40B4-BE49-F238E27FC236}">
                  <a16:creationId xmlns:a16="http://schemas.microsoft.com/office/drawing/2014/main" id="{E16E4CC8-A047-4616-82FE-587704DCB3AD}"/>
                </a:ext>
              </a:extLst>
            </p:cNvPr>
            <p:cNvSpPr>
              <a:spLocks/>
            </p:cNvSpPr>
            <p:nvPr/>
          </p:nvSpPr>
          <p:spPr bwMode="auto">
            <a:xfrm>
              <a:off x="-454" y="1316"/>
              <a:ext cx="7" cy="8"/>
            </a:xfrm>
            <a:custGeom>
              <a:avLst/>
              <a:gdLst>
                <a:gd name="T0" fmla="*/ 2 w 3"/>
                <a:gd name="T1" fmla="*/ 1 h 3"/>
                <a:gd name="T2" fmla="*/ 2 w 3"/>
                <a:gd name="T3" fmla="*/ 3 h 3"/>
                <a:gd name="T4" fmla="*/ 3 w 3"/>
                <a:gd name="T5" fmla="*/ 2 h 3"/>
                <a:gd name="T6" fmla="*/ 2 w 3"/>
                <a:gd name="T7" fmla="*/ 1 h 3"/>
              </a:gdLst>
              <a:ahLst/>
              <a:cxnLst>
                <a:cxn ang="0">
                  <a:pos x="T0" y="T1"/>
                </a:cxn>
                <a:cxn ang="0">
                  <a:pos x="T2" y="T3"/>
                </a:cxn>
                <a:cxn ang="0">
                  <a:pos x="T4" y="T5"/>
                </a:cxn>
                <a:cxn ang="0">
                  <a:pos x="T6" y="T7"/>
                </a:cxn>
              </a:cxnLst>
              <a:rect l="0" t="0" r="r" b="b"/>
              <a:pathLst>
                <a:path w="3" h="3">
                  <a:moveTo>
                    <a:pt x="2" y="1"/>
                  </a:moveTo>
                  <a:cubicBezTo>
                    <a:pt x="0" y="0"/>
                    <a:pt x="1" y="2"/>
                    <a:pt x="2" y="3"/>
                  </a:cubicBezTo>
                  <a:cubicBezTo>
                    <a:pt x="2" y="3"/>
                    <a:pt x="3" y="2"/>
                    <a:pt x="3" y="2"/>
                  </a:cubicBezTo>
                  <a:cubicBezTo>
                    <a:pt x="3" y="2"/>
                    <a:pt x="1"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36" name="Freeform 1787">
              <a:extLst>
                <a:ext uri="{FF2B5EF4-FFF2-40B4-BE49-F238E27FC236}">
                  <a16:creationId xmlns:a16="http://schemas.microsoft.com/office/drawing/2014/main" id="{EB2D5B85-49E2-4AA7-AC1E-07AD0F5893A1}"/>
                </a:ext>
              </a:extLst>
            </p:cNvPr>
            <p:cNvSpPr>
              <a:spLocks/>
            </p:cNvSpPr>
            <p:nvPr/>
          </p:nvSpPr>
          <p:spPr bwMode="auto">
            <a:xfrm>
              <a:off x="-432" y="1290"/>
              <a:ext cx="42" cy="24"/>
            </a:xfrm>
            <a:custGeom>
              <a:avLst/>
              <a:gdLst>
                <a:gd name="T0" fmla="*/ 17 w 18"/>
                <a:gd name="T1" fmla="*/ 5 h 10"/>
                <a:gd name="T2" fmla="*/ 15 w 18"/>
                <a:gd name="T3" fmla="*/ 4 h 10"/>
                <a:gd name="T4" fmla="*/ 14 w 18"/>
                <a:gd name="T5" fmla="*/ 1 h 10"/>
                <a:gd name="T6" fmla="*/ 9 w 18"/>
                <a:gd name="T7" fmla="*/ 2 h 10"/>
                <a:gd name="T8" fmla="*/ 3 w 18"/>
                <a:gd name="T9" fmla="*/ 4 h 10"/>
                <a:gd name="T10" fmla="*/ 0 w 18"/>
                <a:gd name="T11" fmla="*/ 7 h 10"/>
                <a:gd name="T12" fmla="*/ 3 w 18"/>
                <a:gd name="T13" fmla="*/ 10 h 10"/>
                <a:gd name="T14" fmla="*/ 5 w 18"/>
                <a:gd name="T15" fmla="*/ 9 h 10"/>
                <a:gd name="T16" fmla="*/ 6 w 18"/>
                <a:gd name="T17" fmla="*/ 8 h 10"/>
                <a:gd name="T18" fmla="*/ 8 w 18"/>
                <a:gd name="T19" fmla="*/ 8 h 10"/>
                <a:gd name="T20" fmla="*/ 12 w 18"/>
                <a:gd name="T21" fmla="*/ 7 h 10"/>
                <a:gd name="T22" fmla="*/ 15 w 18"/>
                <a:gd name="T23" fmla="*/ 6 h 10"/>
                <a:gd name="T24" fmla="*/ 18 w 18"/>
                <a:gd name="T25" fmla="*/ 6 h 10"/>
                <a:gd name="T26" fmla="*/ 17 w 18"/>
                <a:gd name="T2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0">
                  <a:moveTo>
                    <a:pt x="17" y="5"/>
                  </a:moveTo>
                  <a:cubicBezTo>
                    <a:pt x="16" y="5"/>
                    <a:pt x="15" y="5"/>
                    <a:pt x="15" y="4"/>
                  </a:cubicBezTo>
                  <a:cubicBezTo>
                    <a:pt x="14" y="3"/>
                    <a:pt x="14" y="2"/>
                    <a:pt x="14" y="1"/>
                  </a:cubicBezTo>
                  <a:cubicBezTo>
                    <a:pt x="13" y="0"/>
                    <a:pt x="10" y="1"/>
                    <a:pt x="9" y="2"/>
                  </a:cubicBezTo>
                  <a:cubicBezTo>
                    <a:pt x="7" y="3"/>
                    <a:pt x="4" y="2"/>
                    <a:pt x="3" y="4"/>
                  </a:cubicBezTo>
                  <a:cubicBezTo>
                    <a:pt x="2" y="5"/>
                    <a:pt x="1" y="6"/>
                    <a:pt x="0" y="7"/>
                  </a:cubicBezTo>
                  <a:cubicBezTo>
                    <a:pt x="0" y="10"/>
                    <a:pt x="0" y="10"/>
                    <a:pt x="3" y="10"/>
                  </a:cubicBezTo>
                  <a:cubicBezTo>
                    <a:pt x="4" y="10"/>
                    <a:pt x="4" y="10"/>
                    <a:pt x="5" y="9"/>
                  </a:cubicBezTo>
                  <a:cubicBezTo>
                    <a:pt x="6" y="9"/>
                    <a:pt x="5" y="8"/>
                    <a:pt x="6" y="8"/>
                  </a:cubicBezTo>
                  <a:cubicBezTo>
                    <a:pt x="6" y="8"/>
                    <a:pt x="7" y="8"/>
                    <a:pt x="8" y="8"/>
                  </a:cubicBezTo>
                  <a:cubicBezTo>
                    <a:pt x="9" y="8"/>
                    <a:pt x="11" y="7"/>
                    <a:pt x="12" y="7"/>
                  </a:cubicBezTo>
                  <a:cubicBezTo>
                    <a:pt x="13" y="7"/>
                    <a:pt x="14" y="6"/>
                    <a:pt x="15" y="6"/>
                  </a:cubicBezTo>
                  <a:cubicBezTo>
                    <a:pt x="16" y="5"/>
                    <a:pt x="17" y="6"/>
                    <a:pt x="18" y="6"/>
                  </a:cubicBezTo>
                  <a:cubicBezTo>
                    <a:pt x="18" y="6"/>
                    <a:pt x="18" y="5"/>
                    <a:pt x="17"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37" name="Freeform 1788">
              <a:extLst>
                <a:ext uri="{FF2B5EF4-FFF2-40B4-BE49-F238E27FC236}">
                  <a16:creationId xmlns:a16="http://schemas.microsoft.com/office/drawing/2014/main" id="{DB985B78-B3B1-487C-BCE5-609D83BBB8E9}"/>
                </a:ext>
              </a:extLst>
            </p:cNvPr>
            <p:cNvSpPr>
              <a:spLocks/>
            </p:cNvSpPr>
            <p:nvPr/>
          </p:nvSpPr>
          <p:spPr bwMode="auto">
            <a:xfrm>
              <a:off x="331" y="1286"/>
              <a:ext cx="14" cy="19"/>
            </a:xfrm>
            <a:custGeom>
              <a:avLst/>
              <a:gdLst>
                <a:gd name="T0" fmla="*/ 2 w 6"/>
                <a:gd name="T1" fmla="*/ 5 h 8"/>
                <a:gd name="T2" fmla="*/ 1 w 6"/>
                <a:gd name="T3" fmla="*/ 5 h 8"/>
                <a:gd name="T4" fmla="*/ 3 w 6"/>
                <a:gd name="T5" fmla="*/ 6 h 8"/>
                <a:gd name="T6" fmla="*/ 4 w 6"/>
                <a:gd name="T7" fmla="*/ 7 h 8"/>
                <a:gd name="T8" fmla="*/ 6 w 6"/>
                <a:gd name="T9" fmla="*/ 8 h 8"/>
                <a:gd name="T10" fmla="*/ 1 w 6"/>
                <a:gd name="T11" fmla="*/ 0 h 8"/>
                <a:gd name="T12" fmla="*/ 0 w 6"/>
                <a:gd name="T13" fmla="*/ 3 h 8"/>
                <a:gd name="T14" fmla="*/ 2 w 6"/>
                <a:gd name="T15" fmla="*/ 5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2" y="5"/>
                  </a:moveTo>
                  <a:cubicBezTo>
                    <a:pt x="2" y="5"/>
                    <a:pt x="2" y="5"/>
                    <a:pt x="1" y="5"/>
                  </a:cubicBezTo>
                  <a:cubicBezTo>
                    <a:pt x="2" y="5"/>
                    <a:pt x="2" y="6"/>
                    <a:pt x="3" y="6"/>
                  </a:cubicBezTo>
                  <a:cubicBezTo>
                    <a:pt x="3" y="6"/>
                    <a:pt x="4" y="7"/>
                    <a:pt x="4" y="7"/>
                  </a:cubicBezTo>
                  <a:cubicBezTo>
                    <a:pt x="4" y="8"/>
                    <a:pt x="5" y="8"/>
                    <a:pt x="6" y="8"/>
                  </a:cubicBezTo>
                  <a:cubicBezTo>
                    <a:pt x="4" y="5"/>
                    <a:pt x="3" y="3"/>
                    <a:pt x="1" y="0"/>
                  </a:cubicBezTo>
                  <a:cubicBezTo>
                    <a:pt x="0" y="1"/>
                    <a:pt x="0" y="2"/>
                    <a:pt x="0" y="3"/>
                  </a:cubicBezTo>
                  <a:cubicBezTo>
                    <a:pt x="1" y="3"/>
                    <a:pt x="1" y="4"/>
                    <a:pt x="2"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38" name="Freeform 1789">
              <a:extLst>
                <a:ext uri="{FF2B5EF4-FFF2-40B4-BE49-F238E27FC236}">
                  <a16:creationId xmlns:a16="http://schemas.microsoft.com/office/drawing/2014/main" id="{30C79D8E-8420-4C1A-8004-2AFB56D15E64}"/>
                </a:ext>
              </a:extLst>
            </p:cNvPr>
            <p:cNvSpPr>
              <a:spLocks/>
            </p:cNvSpPr>
            <p:nvPr/>
          </p:nvSpPr>
          <p:spPr bwMode="auto">
            <a:xfrm>
              <a:off x="369" y="1283"/>
              <a:ext cx="7" cy="12"/>
            </a:xfrm>
            <a:custGeom>
              <a:avLst/>
              <a:gdLst>
                <a:gd name="T0" fmla="*/ 1 w 3"/>
                <a:gd name="T1" fmla="*/ 5 h 5"/>
                <a:gd name="T2" fmla="*/ 3 w 3"/>
                <a:gd name="T3" fmla="*/ 4 h 5"/>
                <a:gd name="T4" fmla="*/ 2 w 3"/>
                <a:gd name="T5" fmla="*/ 1 h 5"/>
                <a:gd name="T6" fmla="*/ 1 w 3"/>
                <a:gd name="T7" fmla="*/ 3 h 5"/>
                <a:gd name="T8" fmla="*/ 1 w 3"/>
                <a:gd name="T9" fmla="*/ 5 h 5"/>
              </a:gdLst>
              <a:ahLst/>
              <a:cxnLst>
                <a:cxn ang="0">
                  <a:pos x="T0" y="T1"/>
                </a:cxn>
                <a:cxn ang="0">
                  <a:pos x="T2" y="T3"/>
                </a:cxn>
                <a:cxn ang="0">
                  <a:pos x="T4" y="T5"/>
                </a:cxn>
                <a:cxn ang="0">
                  <a:pos x="T6" y="T7"/>
                </a:cxn>
                <a:cxn ang="0">
                  <a:pos x="T8" y="T9"/>
                </a:cxn>
              </a:cxnLst>
              <a:rect l="0" t="0" r="r" b="b"/>
              <a:pathLst>
                <a:path w="3" h="5">
                  <a:moveTo>
                    <a:pt x="1" y="5"/>
                  </a:moveTo>
                  <a:cubicBezTo>
                    <a:pt x="1" y="5"/>
                    <a:pt x="3" y="5"/>
                    <a:pt x="3" y="4"/>
                  </a:cubicBezTo>
                  <a:cubicBezTo>
                    <a:pt x="3" y="4"/>
                    <a:pt x="2" y="2"/>
                    <a:pt x="2" y="1"/>
                  </a:cubicBezTo>
                  <a:cubicBezTo>
                    <a:pt x="0" y="0"/>
                    <a:pt x="1" y="2"/>
                    <a:pt x="1" y="3"/>
                  </a:cubicBezTo>
                  <a:cubicBezTo>
                    <a:pt x="1" y="3"/>
                    <a:pt x="0" y="4"/>
                    <a:pt x="1"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39" name="Freeform 1790">
              <a:extLst>
                <a:ext uri="{FF2B5EF4-FFF2-40B4-BE49-F238E27FC236}">
                  <a16:creationId xmlns:a16="http://schemas.microsoft.com/office/drawing/2014/main" id="{DE68C301-CE3B-4314-992B-728B82E1D648}"/>
                </a:ext>
              </a:extLst>
            </p:cNvPr>
            <p:cNvSpPr>
              <a:spLocks/>
            </p:cNvSpPr>
            <p:nvPr/>
          </p:nvSpPr>
          <p:spPr bwMode="auto">
            <a:xfrm>
              <a:off x="364" y="1281"/>
              <a:ext cx="8" cy="9"/>
            </a:xfrm>
            <a:custGeom>
              <a:avLst/>
              <a:gdLst>
                <a:gd name="T0" fmla="*/ 1 w 3"/>
                <a:gd name="T1" fmla="*/ 4 h 4"/>
                <a:gd name="T2" fmla="*/ 2 w 3"/>
                <a:gd name="T3" fmla="*/ 1 h 4"/>
                <a:gd name="T4" fmla="*/ 3 w 3"/>
                <a:gd name="T5" fmla="*/ 2 h 4"/>
                <a:gd name="T6" fmla="*/ 0 w 3"/>
                <a:gd name="T7" fmla="*/ 0 h 4"/>
                <a:gd name="T8" fmla="*/ 1 w 3"/>
                <a:gd name="T9" fmla="*/ 4 h 4"/>
              </a:gdLst>
              <a:ahLst/>
              <a:cxnLst>
                <a:cxn ang="0">
                  <a:pos x="T0" y="T1"/>
                </a:cxn>
                <a:cxn ang="0">
                  <a:pos x="T2" y="T3"/>
                </a:cxn>
                <a:cxn ang="0">
                  <a:pos x="T4" y="T5"/>
                </a:cxn>
                <a:cxn ang="0">
                  <a:pos x="T6" y="T7"/>
                </a:cxn>
                <a:cxn ang="0">
                  <a:pos x="T8" y="T9"/>
                </a:cxn>
              </a:cxnLst>
              <a:rect l="0" t="0" r="r" b="b"/>
              <a:pathLst>
                <a:path w="3" h="4">
                  <a:moveTo>
                    <a:pt x="1" y="4"/>
                  </a:moveTo>
                  <a:cubicBezTo>
                    <a:pt x="2" y="3"/>
                    <a:pt x="2" y="2"/>
                    <a:pt x="2" y="1"/>
                  </a:cubicBezTo>
                  <a:cubicBezTo>
                    <a:pt x="2" y="1"/>
                    <a:pt x="3" y="2"/>
                    <a:pt x="3" y="2"/>
                  </a:cubicBezTo>
                  <a:cubicBezTo>
                    <a:pt x="2" y="1"/>
                    <a:pt x="1" y="0"/>
                    <a:pt x="0" y="0"/>
                  </a:cubicBezTo>
                  <a:cubicBezTo>
                    <a:pt x="0" y="1"/>
                    <a:pt x="0" y="3"/>
                    <a:pt x="1"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40" name="Freeform 1791">
              <a:extLst>
                <a:ext uri="{FF2B5EF4-FFF2-40B4-BE49-F238E27FC236}">
                  <a16:creationId xmlns:a16="http://schemas.microsoft.com/office/drawing/2014/main" id="{322081AE-A111-4578-B92C-47DECF318EB6}"/>
                </a:ext>
              </a:extLst>
            </p:cNvPr>
            <p:cNvSpPr>
              <a:spLocks/>
            </p:cNvSpPr>
            <p:nvPr/>
          </p:nvSpPr>
          <p:spPr bwMode="auto">
            <a:xfrm>
              <a:off x="2053" y="2514"/>
              <a:ext cx="26" cy="19"/>
            </a:xfrm>
            <a:custGeom>
              <a:avLst/>
              <a:gdLst>
                <a:gd name="T0" fmla="*/ 8 w 11"/>
                <a:gd name="T1" fmla="*/ 1 h 8"/>
                <a:gd name="T2" fmla="*/ 3 w 11"/>
                <a:gd name="T3" fmla="*/ 2 h 8"/>
                <a:gd name="T4" fmla="*/ 5 w 11"/>
                <a:gd name="T5" fmla="*/ 4 h 8"/>
                <a:gd name="T6" fmla="*/ 5 w 11"/>
                <a:gd name="T7" fmla="*/ 6 h 8"/>
                <a:gd name="T8" fmla="*/ 3 w 11"/>
                <a:gd name="T9" fmla="*/ 7 h 8"/>
                <a:gd name="T10" fmla="*/ 0 w 11"/>
                <a:gd name="T11" fmla="*/ 8 h 8"/>
                <a:gd name="T12" fmla="*/ 5 w 11"/>
                <a:gd name="T13" fmla="*/ 8 h 8"/>
                <a:gd name="T14" fmla="*/ 9 w 11"/>
                <a:gd name="T15" fmla="*/ 8 h 8"/>
                <a:gd name="T16" fmla="*/ 9 w 11"/>
                <a:gd name="T17" fmla="*/ 4 h 8"/>
                <a:gd name="T18" fmla="*/ 11 w 11"/>
                <a:gd name="T19" fmla="*/ 0 h 8"/>
                <a:gd name="T20" fmla="*/ 8 w 11"/>
                <a:gd name="T21"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8">
                  <a:moveTo>
                    <a:pt x="8" y="1"/>
                  </a:moveTo>
                  <a:cubicBezTo>
                    <a:pt x="6" y="1"/>
                    <a:pt x="5" y="1"/>
                    <a:pt x="3" y="2"/>
                  </a:cubicBezTo>
                  <a:cubicBezTo>
                    <a:pt x="5" y="2"/>
                    <a:pt x="5" y="2"/>
                    <a:pt x="5" y="4"/>
                  </a:cubicBezTo>
                  <a:cubicBezTo>
                    <a:pt x="5" y="5"/>
                    <a:pt x="5" y="6"/>
                    <a:pt x="5" y="6"/>
                  </a:cubicBezTo>
                  <a:cubicBezTo>
                    <a:pt x="5" y="7"/>
                    <a:pt x="4" y="7"/>
                    <a:pt x="3" y="7"/>
                  </a:cubicBezTo>
                  <a:cubicBezTo>
                    <a:pt x="2" y="7"/>
                    <a:pt x="1" y="8"/>
                    <a:pt x="0" y="8"/>
                  </a:cubicBezTo>
                  <a:cubicBezTo>
                    <a:pt x="2" y="8"/>
                    <a:pt x="3" y="8"/>
                    <a:pt x="5" y="8"/>
                  </a:cubicBezTo>
                  <a:cubicBezTo>
                    <a:pt x="6" y="8"/>
                    <a:pt x="7" y="8"/>
                    <a:pt x="9" y="8"/>
                  </a:cubicBezTo>
                  <a:cubicBezTo>
                    <a:pt x="10" y="7"/>
                    <a:pt x="10" y="5"/>
                    <a:pt x="9" y="4"/>
                  </a:cubicBezTo>
                  <a:cubicBezTo>
                    <a:pt x="9" y="3"/>
                    <a:pt x="10" y="2"/>
                    <a:pt x="11" y="0"/>
                  </a:cubicBezTo>
                  <a:cubicBezTo>
                    <a:pt x="10" y="0"/>
                    <a:pt x="9" y="1"/>
                    <a:pt x="8"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41" name="Freeform 1792">
              <a:extLst>
                <a:ext uri="{FF2B5EF4-FFF2-40B4-BE49-F238E27FC236}">
                  <a16:creationId xmlns:a16="http://schemas.microsoft.com/office/drawing/2014/main" id="{08736E58-0AA2-449D-BA98-DDF558DBA67C}"/>
                </a:ext>
              </a:extLst>
            </p:cNvPr>
            <p:cNvSpPr>
              <a:spLocks/>
            </p:cNvSpPr>
            <p:nvPr/>
          </p:nvSpPr>
          <p:spPr bwMode="auto">
            <a:xfrm>
              <a:off x="1573" y="2592"/>
              <a:ext cx="4" cy="9"/>
            </a:xfrm>
            <a:custGeom>
              <a:avLst/>
              <a:gdLst>
                <a:gd name="T0" fmla="*/ 0 w 2"/>
                <a:gd name="T1" fmla="*/ 1 h 4"/>
                <a:gd name="T2" fmla="*/ 2 w 2"/>
                <a:gd name="T3" fmla="*/ 3 h 4"/>
                <a:gd name="T4" fmla="*/ 1 w 2"/>
                <a:gd name="T5" fmla="*/ 0 h 4"/>
                <a:gd name="T6" fmla="*/ 0 w 2"/>
                <a:gd name="T7" fmla="*/ 1 h 4"/>
              </a:gdLst>
              <a:ahLst/>
              <a:cxnLst>
                <a:cxn ang="0">
                  <a:pos x="T0" y="T1"/>
                </a:cxn>
                <a:cxn ang="0">
                  <a:pos x="T2" y="T3"/>
                </a:cxn>
                <a:cxn ang="0">
                  <a:pos x="T4" y="T5"/>
                </a:cxn>
                <a:cxn ang="0">
                  <a:pos x="T6" y="T7"/>
                </a:cxn>
              </a:cxnLst>
              <a:rect l="0" t="0" r="r" b="b"/>
              <a:pathLst>
                <a:path w="2" h="4">
                  <a:moveTo>
                    <a:pt x="0" y="1"/>
                  </a:moveTo>
                  <a:cubicBezTo>
                    <a:pt x="0" y="3"/>
                    <a:pt x="1" y="4"/>
                    <a:pt x="2" y="3"/>
                  </a:cubicBezTo>
                  <a:cubicBezTo>
                    <a:pt x="2" y="2"/>
                    <a:pt x="1" y="1"/>
                    <a:pt x="1" y="0"/>
                  </a:cubicBezTo>
                  <a:cubicBezTo>
                    <a:pt x="0" y="1"/>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42" name="Freeform 1793">
              <a:extLst>
                <a:ext uri="{FF2B5EF4-FFF2-40B4-BE49-F238E27FC236}">
                  <a16:creationId xmlns:a16="http://schemas.microsoft.com/office/drawing/2014/main" id="{D9084560-D481-451A-B67B-03AF203DA333}"/>
                </a:ext>
              </a:extLst>
            </p:cNvPr>
            <p:cNvSpPr>
              <a:spLocks/>
            </p:cNvSpPr>
            <p:nvPr/>
          </p:nvSpPr>
          <p:spPr bwMode="auto">
            <a:xfrm>
              <a:off x="1591" y="259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43" name="Freeform 1794">
              <a:extLst>
                <a:ext uri="{FF2B5EF4-FFF2-40B4-BE49-F238E27FC236}">
                  <a16:creationId xmlns:a16="http://schemas.microsoft.com/office/drawing/2014/main" id="{46F0CE99-5ED4-47D7-BF1D-0C5F83AC10AF}"/>
                </a:ext>
              </a:extLst>
            </p:cNvPr>
            <p:cNvSpPr>
              <a:spLocks/>
            </p:cNvSpPr>
            <p:nvPr/>
          </p:nvSpPr>
          <p:spPr bwMode="auto">
            <a:xfrm>
              <a:off x="1589" y="2594"/>
              <a:ext cx="2"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44" name="Freeform 1795">
              <a:extLst>
                <a:ext uri="{FF2B5EF4-FFF2-40B4-BE49-F238E27FC236}">
                  <a16:creationId xmlns:a16="http://schemas.microsoft.com/office/drawing/2014/main" id="{54E5ACAB-0EF4-4921-8635-131058070923}"/>
                </a:ext>
              </a:extLst>
            </p:cNvPr>
            <p:cNvSpPr>
              <a:spLocks/>
            </p:cNvSpPr>
            <p:nvPr/>
          </p:nvSpPr>
          <p:spPr bwMode="auto">
            <a:xfrm>
              <a:off x="1563" y="2552"/>
              <a:ext cx="5" cy="2"/>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1" y="0"/>
                    <a:pt x="1" y="0"/>
                    <a:pt x="0" y="0"/>
                  </a:cubicBezTo>
                  <a:cubicBezTo>
                    <a:pt x="0" y="0"/>
                    <a:pt x="1" y="1"/>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45" name="Freeform 1796">
              <a:extLst>
                <a:ext uri="{FF2B5EF4-FFF2-40B4-BE49-F238E27FC236}">
                  <a16:creationId xmlns:a16="http://schemas.microsoft.com/office/drawing/2014/main" id="{CE5F80F1-070C-4AF8-ADDD-19ED9D9E3EB9}"/>
                </a:ext>
              </a:extLst>
            </p:cNvPr>
            <p:cNvSpPr>
              <a:spLocks/>
            </p:cNvSpPr>
            <p:nvPr/>
          </p:nvSpPr>
          <p:spPr bwMode="auto">
            <a:xfrm>
              <a:off x="1641" y="2573"/>
              <a:ext cx="2" cy="5"/>
            </a:xfrm>
            <a:custGeom>
              <a:avLst/>
              <a:gdLst>
                <a:gd name="T0" fmla="*/ 1 w 1"/>
                <a:gd name="T1" fmla="*/ 2 h 2"/>
                <a:gd name="T2" fmla="*/ 1 w 1"/>
                <a:gd name="T3" fmla="*/ 0 h 2"/>
                <a:gd name="T4" fmla="*/ 1 w 1"/>
                <a:gd name="T5" fmla="*/ 2 h 2"/>
              </a:gdLst>
              <a:ahLst/>
              <a:cxnLst>
                <a:cxn ang="0">
                  <a:pos x="T0" y="T1"/>
                </a:cxn>
                <a:cxn ang="0">
                  <a:pos x="T2" y="T3"/>
                </a:cxn>
                <a:cxn ang="0">
                  <a:pos x="T4" y="T5"/>
                </a:cxn>
              </a:cxnLst>
              <a:rect l="0" t="0" r="r" b="b"/>
              <a:pathLst>
                <a:path w="1" h="2">
                  <a:moveTo>
                    <a:pt x="1" y="2"/>
                  </a:moveTo>
                  <a:cubicBezTo>
                    <a:pt x="1" y="1"/>
                    <a:pt x="1" y="1"/>
                    <a:pt x="1" y="0"/>
                  </a:cubicBezTo>
                  <a:cubicBezTo>
                    <a:pt x="0" y="0"/>
                    <a:pt x="1" y="2"/>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46" name="Freeform 1797">
              <a:extLst>
                <a:ext uri="{FF2B5EF4-FFF2-40B4-BE49-F238E27FC236}">
                  <a16:creationId xmlns:a16="http://schemas.microsoft.com/office/drawing/2014/main" id="{94EDF15B-FCD4-40BC-90AC-064E9B0E2157}"/>
                </a:ext>
              </a:extLst>
            </p:cNvPr>
            <p:cNvSpPr>
              <a:spLocks/>
            </p:cNvSpPr>
            <p:nvPr/>
          </p:nvSpPr>
          <p:spPr bwMode="auto">
            <a:xfrm>
              <a:off x="1882" y="2478"/>
              <a:ext cx="3" cy="3"/>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1"/>
                    <a:pt x="0" y="1"/>
                    <a:pt x="0" y="0"/>
                  </a:cubicBezTo>
                  <a:cubicBezTo>
                    <a:pt x="0" y="1"/>
                    <a:pt x="0" y="1"/>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47" name="Freeform 1798">
              <a:extLst>
                <a:ext uri="{FF2B5EF4-FFF2-40B4-BE49-F238E27FC236}">
                  <a16:creationId xmlns:a16="http://schemas.microsoft.com/office/drawing/2014/main" id="{5D3D0733-D339-4A08-A03B-28E0BF685539}"/>
                </a:ext>
              </a:extLst>
            </p:cNvPr>
            <p:cNvSpPr>
              <a:spLocks/>
            </p:cNvSpPr>
            <p:nvPr/>
          </p:nvSpPr>
          <p:spPr bwMode="auto">
            <a:xfrm>
              <a:off x="1885" y="2481"/>
              <a:ext cx="4" cy="4"/>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cubicBezTo>
                    <a:pt x="1" y="1"/>
                    <a:pt x="1" y="1"/>
                    <a:pt x="2" y="2"/>
                  </a:cubicBezTo>
                  <a:cubicBezTo>
                    <a:pt x="1" y="1"/>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48" name="Freeform 1799">
              <a:extLst>
                <a:ext uri="{FF2B5EF4-FFF2-40B4-BE49-F238E27FC236}">
                  <a16:creationId xmlns:a16="http://schemas.microsoft.com/office/drawing/2014/main" id="{0086FA8B-0C00-4B1B-AFC3-47610F0DE3B8}"/>
                </a:ext>
              </a:extLst>
            </p:cNvPr>
            <p:cNvSpPr>
              <a:spLocks/>
            </p:cNvSpPr>
            <p:nvPr/>
          </p:nvSpPr>
          <p:spPr bwMode="auto">
            <a:xfrm>
              <a:off x="1880" y="2476"/>
              <a:ext cx="2" cy="2"/>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1" y="1"/>
                  </a:cubicBezTo>
                  <a:cubicBezTo>
                    <a:pt x="0" y="1"/>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49" name="Freeform 1800">
              <a:extLst>
                <a:ext uri="{FF2B5EF4-FFF2-40B4-BE49-F238E27FC236}">
                  <a16:creationId xmlns:a16="http://schemas.microsoft.com/office/drawing/2014/main" id="{901D2B3A-7C44-4AC5-9745-294F53B4D79F}"/>
                </a:ext>
              </a:extLst>
            </p:cNvPr>
            <p:cNvSpPr>
              <a:spLocks/>
            </p:cNvSpPr>
            <p:nvPr/>
          </p:nvSpPr>
          <p:spPr bwMode="auto">
            <a:xfrm>
              <a:off x="1896" y="2478"/>
              <a:ext cx="8" cy="7"/>
            </a:xfrm>
            <a:custGeom>
              <a:avLst/>
              <a:gdLst>
                <a:gd name="T0" fmla="*/ 0 w 3"/>
                <a:gd name="T1" fmla="*/ 0 h 3"/>
                <a:gd name="T2" fmla="*/ 2 w 3"/>
                <a:gd name="T3" fmla="*/ 3 h 3"/>
                <a:gd name="T4" fmla="*/ 0 w 3"/>
                <a:gd name="T5" fmla="*/ 0 h 3"/>
              </a:gdLst>
              <a:ahLst/>
              <a:cxnLst>
                <a:cxn ang="0">
                  <a:pos x="T0" y="T1"/>
                </a:cxn>
                <a:cxn ang="0">
                  <a:pos x="T2" y="T3"/>
                </a:cxn>
                <a:cxn ang="0">
                  <a:pos x="T4" y="T5"/>
                </a:cxn>
              </a:cxnLst>
              <a:rect l="0" t="0" r="r" b="b"/>
              <a:pathLst>
                <a:path w="3" h="3">
                  <a:moveTo>
                    <a:pt x="0" y="0"/>
                  </a:moveTo>
                  <a:cubicBezTo>
                    <a:pt x="1" y="1"/>
                    <a:pt x="1" y="2"/>
                    <a:pt x="2" y="3"/>
                  </a:cubicBezTo>
                  <a:cubicBezTo>
                    <a:pt x="3" y="1"/>
                    <a:pt x="2"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50" name="Freeform 1801">
              <a:extLst>
                <a:ext uri="{FF2B5EF4-FFF2-40B4-BE49-F238E27FC236}">
                  <a16:creationId xmlns:a16="http://schemas.microsoft.com/office/drawing/2014/main" id="{9AE4D358-FF47-45AF-81E0-A55DC4F43F5F}"/>
                </a:ext>
              </a:extLst>
            </p:cNvPr>
            <p:cNvSpPr>
              <a:spLocks/>
            </p:cNvSpPr>
            <p:nvPr/>
          </p:nvSpPr>
          <p:spPr bwMode="auto">
            <a:xfrm>
              <a:off x="972" y="2244"/>
              <a:ext cx="5" cy="5"/>
            </a:xfrm>
            <a:custGeom>
              <a:avLst/>
              <a:gdLst>
                <a:gd name="T0" fmla="*/ 2 w 2"/>
                <a:gd name="T1" fmla="*/ 2 h 2"/>
                <a:gd name="T2" fmla="*/ 0 w 2"/>
                <a:gd name="T3" fmla="*/ 0 h 2"/>
                <a:gd name="T4" fmla="*/ 2 w 2"/>
                <a:gd name="T5" fmla="*/ 2 h 2"/>
              </a:gdLst>
              <a:ahLst/>
              <a:cxnLst>
                <a:cxn ang="0">
                  <a:pos x="T0" y="T1"/>
                </a:cxn>
                <a:cxn ang="0">
                  <a:pos x="T2" y="T3"/>
                </a:cxn>
                <a:cxn ang="0">
                  <a:pos x="T4" y="T5"/>
                </a:cxn>
              </a:cxnLst>
              <a:rect l="0" t="0" r="r" b="b"/>
              <a:pathLst>
                <a:path w="2" h="2">
                  <a:moveTo>
                    <a:pt x="2" y="2"/>
                  </a:moveTo>
                  <a:cubicBezTo>
                    <a:pt x="1" y="1"/>
                    <a:pt x="1" y="1"/>
                    <a:pt x="0" y="0"/>
                  </a:cubicBezTo>
                  <a:cubicBezTo>
                    <a:pt x="1" y="1"/>
                    <a:pt x="1" y="2"/>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51" name="Freeform 1802">
              <a:extLst>
                <a:ext uri="{FF2B5EF4-FFF2-40B4-BE49-F238E27FC236}">
                  <a16:creationId xmlns:a16="http://schemas.microsoft.com/office/drawing/2014/main" id="{EE845899-564E-4A8C-880E-EEA50A9AA077}"/>
                </a:ext>
              </a:extLst>
            </p:cNvPr>
            <p:cNvSpPr>
              <a:spLocks/>
            </p:cNvSpPr>
            <p:nvPr/>
          </p:nvSpPr>
          <p:spPr bwMode="auto">
            <a:xfrm>
              <a:off x="688" y="2052"/>
              <a:ext cx="5" cy="7"/>
            </a:xfrm>
            <a:custGeom>
              <a:avLst/>
              <a:gdLst>
                <a:gd name="T0" fmla="*/ 2 w 2"/>
                <a:gd name="T1" fmla="*/ 3 h 3"/>
                <a:gd name="T2" fmla="*/ 2 w 2"/>
                <a:gd name="T3" fmla="*/ 0 h 3"/>
                <a:gd name="T4" fmla="*/ 2 w 2"/>
                <a:gd name="T5" fmla="*/ 3 h 3"/>
              </a:gdLst>
              <a:ahLst/>
              <a:cxnLst>
                <a:cxn ang="0">
                  <a:pos x="T0" y="T1"/>
                </a:cxn>
                <a:cxn ang="0">
                  <a:pos x="T2" y="T3"/>
                </a:cxn>
                <a:cxn ang="0">
                  <a:pos x="T4" y="T5"/>
                </a:cxn>
              </a:cxnLst>
              <a:rect l="0" t="0" r="r" b="b"/>
              <a:pathLst>
                <a:path w="2" h="3">
                  <a:moveTo>
                    <a:pt x="2" y="3"/>
                  </a:moveTo>
                  <a:cubicBezTo>
                    <a:pt x="2" y="2"/>
                    <a:pt x="2" y="1"/>
                    <a:pt x="2" y="0"/>
                  </a:cubicBezTo>
                  <a:cubicBezTo>
                    <a:pt x="0" y="0"/>
                    <a:pt x="2" y="2"/>
                    <a:pt x="2"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52" name="Freeform 1803">
              <a:extLst>
                <a:ext uri="{FF2B5EF4-FFF2-40B4-BE49-F238E27FC236}">
                  <a16:creationId xmlns:a16="http://schemas.microsoft.com/office/drawing/2014/main" id="{6252A645-7F85-4965-8F26-56B164EDB11E}"/>
                </a:ext>
              </a:extLst>
            </p:cNvPr>
            <p:cNvSpPr>
              <a:spLocks/>
            </p:cNvSpPr>
            <p:nvPr/>
          </p:nvSpPr>
          <p:spPr bwMode="auto">
            <a:xfrm>
              <a:off x="764" y="2074"/>
              <a:ext cx="2" cy="7"/>
            </a:xfrm>
            <a:custGeom>
              <a:avLst/>
              <a:gdLst>
                <a:gd name="T0" fmla="*/ 1 w 1"/>
                <a:gd name="T1" fmla="*/ 1 h 3"/>
                <a:gd name="T2" fmla="*/ 0 w 1"/>
                <a:gd name="T3" fmla="*/ 2 h 3"/>
                <a:gd name="T4" fmla="*/ 1 w 1"/>
                <a:gd name="T5" fmla="*/ 3 h 3"/>
                <a:gd name="T6" fmla="*/ 1 w 1"/>
                <a:gd name="T7" fmla="*/ 0 h 3"/>
                <a:gd name="T8" fmla="*/ 1 w 1"/>
                <a:gd name="T9" fmla="*/ 1 h 3"/>
              </a:gdLst>
              <a:ahLst/>
              <a:cxnLst>
                <a:cxn ang="0">
                  <a:pos x="T0" y="T1"/>
                </a:cxn>
                <a:cxn ang="0">
                  <a:pos x="T2" y="T3"/>
                </a:cxn>
                <a:cxn ang="0">
                  <a:pos x="T4" y="T5"/>
                </a:cxn>
                <a:cxn ang="0">
                  <a:pos x="T6" y="T7"/>
                </a:cxn>
                <a:cxn ang="0">
                  <a:pos x="T8" y="T9"/>
                </a:cxn>
              </a:cxnLst>
              <a:rect l="0" t="0" r="r" b="b"/>
              <a:pathLst>
                <a:path w="1" h="3">
                  <a:moveTo>
                    <a:pt x="1" y="1"/>
                  </a:moveTo>
                  <a:cubicBezTo>
                    <a:pt x="1" y="2"/>
                    <a:pt x="0" y="2"/>
                    <a:pt x="0" y="2"/>
                  </a:cubicBezTo>
                  <a:cubicBezTo>
                    <a:pt x="0" y="3"/>
                    <a:pt x="0" y="3"/>
                    <a:pt x="1" y="3"/>
                  </a:cubicBezTo>
                  <a:cubicBezTo>
                    <a:pt x="1" y="2"/>
                    <a:pt x="1" y="1"/>
                    <a:pt x="1" y="0"/>
                  </a:cubicBezTo>
                  <a:cubicBezTo>
                    <a:pt x="1" y="0"/>
                    <a:pt x="1" y="1"/>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53" name="Freeform 1804">
              <a:extLst>
                <a:ext uri="{FF2B5EF4-FFF2-40B4-BE49-F238E27FC236}">
                  <a16:creationId xmlns:a16="http://schemas.microsoft.com/office/drawing/2014/main" id="{92C45D77-4BC3-45CB-A0EF-04B411C2019E}"/>
                </a:ext>
              </a:extLst>
            </p:cNvPr>
            <p:cNvSpPr>
              <a:spLocks/>
            </p:cNvSpPr>
            <p:nvPr/>
          </p:nvSpPr>
          <p:spPr bwMode="auto">
            <a:xfrm>
              <a:off x="1334" y="2320"/>
              <a:ext cx="2" cy="2"/>
            </a:xfrm>
            <a:custGeom>
              <a:avLst/>
              <a:gdLst>
                <a:gd name="T0" fmla="*/ 0 w 1"/>
                <a:gd name="T1" fmla="*/ 0 h 1"/>
                <a:gd name="T2" fmla="*/ 1 w 1"/>
                <a:gd name="T3" fmla="*/ 0 h 1"/>
                <a:gd name="T4" fmla="*/ 1 w 1"/>
                <a:gd name="T5" fmla="*/ 0 h 1"/>
                <a:gd name="T6" fmla="*/ 1 w 1"/>
                <a:gd name="T7" fmla="*/ 0 h 1"/>
                <a:gd name="T8" fmla="*/ 1 w 1"/>
                <a:gd name="T9" fmla="*/ 0 h 1"/>
                <a:gd name="T10" fmla="*/ 1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1"/>
                    <a:pt x="1" y="0"/>
                    <a:pt x="1" y="0"/>
                  </a:cubicBezTo>
                  <a:cubicBezTo>
                    <a:pt x="1" y="0"/>
                    <a:pt x="1" y="0"/>
                    <a:pt x="1" y="0"/>
                  </a:cubicBezTo>
                  <a:cubicBezTo>
                    <a:pt x="1" y="0"/>
                    <a:pt x="1" y="0"/>
                    <a:pt x="1" y="0"/>
                  </a:cubicBezTo>
                  <a:cubicBezTo>
                    <a:pt x="1" y="0"/>
                    <a:pt x="1" y="0"/>
                    <a:pt x="1" y="0"/>
                  </a:cubicBezTo>
                  <a:cubicBezTo>
                    <a:pt x="1" y="0"/>
                    <a:pt x="1" y="0"/>
                    <a:pt x="1"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54" name="Freeform 1805">
              <a:extLst>
                <a:ext uri="{FF2B5EF4-FFF2-40B4-BE49-F238E27FC236}">
                  <a16:creationId xmlns:a16="http://schemas.microsoft.com/office/drawing/2014/main" id="{EAA80A85-3723-4F99-8C47-1BED30450A97}"/>
                </a:ext>
              </a:extLst>
            </p:cNvPr>
            <p:cNvSpPr>
              <a:spLocks/>
            </p:cNvSpPr>
            <p:nvPr/>
          </p:nvSpPr>
          <p:spPr bwMode="auto">
            <a:xfrm>
              <a:off x="804" y="2040"/>
              <a:ext cx="12" cy="17"/>
            </a:xfrm>
            <a:custGeom>
              <a:avLst/>
              <a:gdLst>
                <a:gd name="T0" fmla="*/ 3 w 5"/>
                <a:gd name="T1" fmla="*/ 2 h 7"/>
                <a:gd name="T2" fmla="*/ 2 w 5"/>
                <a:gd name="T3" fmla="*/ 1 h 7"/>
                <a:gd name="T4" fmla="*/ 1 w 5"/>
                <a:gd name="T5" fmla="*/ 0 h 7"/>
                <a:gd name="T6" fmla="*/ 5 w 5"/>
                <a:gd name="T7" fmla="*/ 7 h 7"/>
                <a:gd name="T8" fmla="*/ 5 w 5"/>
                <a:gd name="T9" fmla="*/ 4 h 7"/>
                <a:gd name="T10" fmla="*/ 3 w 5"/>
                <a:gd name="T11" fmla="*/ 3 h 7"/>
                <a:gd name="T12" fmla="*/ 3 w 5"/>
                <a:gd name="T13" fmla="*/ 2 h 7"/>
              </a:gdLst>
              <a:ahLst/>
              <a:cxnLst>
                <a:cxn ang="0">
                  <a:pos x="T0" y="T1"/>
                </a:cxn>
                <a:cxn ang="0">
                  <a:pos x="T2" y="T3"/>
                </a:cxn>
                <a:cxn ang="0">
                  <a:pos x="T4" y="T5"/>
                </a:cxn>
                <a:cxn ang="0">
                  <a:pos x="T6" y="T7"/>
                </a:cxn>
                <a:cxn ang="0">
                  <a:pos x="T8" y="T9"/>
                </a:cxn>
                <a:cxn ang="0">
                  <a:pos x="T10" y="T11"/>
                </a:cxn>
                <a:cxn ang="0">
                  <a:pos x="T12" y="T13"/>
                </a:cxn>
              </a:cxnLst>
              <a:rect l="0" t="0" r="r" b="b"/>
              <a:pathLst>
                <a:path w="5" h="7">
                  <a:moveTo>
                    <a:pt x="3" y="2"/>
                  </a:moveTo>
                  <a:cubicBezTo>
                    <a:pt x="3" y="2"/>
                    <a:pt x="3" y="1"/>
                    <a:pt x="2" y="1"/>
                  </a:cubicBezTo>
                  <a:cubicBezTo>
                    <a:pt x="2" y="1"/>
                    <a:pt x="1" y="0"/>
                    <a:pt x="1" y="0"/>
                  </a:cubicBezTo>
                  <a:cubicBezTo>
                    <a:pt x="0" y="3"/>
                    <a:pt x="3" y="5"/>
                    <a:pt x="5" y="7"/>
                  </a:cubicBezTo>
                  <a:cubicBezTo>
                    <a:pt x="5" y="6"/>
                    <a:pt x="5" y="4"/>
                    <a:pt x="5" y="4"/>
                  </a:cubicBezTo>
                  <a:cubicBezTo>
                    <a:pt x="4" y="3"/>
                    <a:pt x="3" y="4"/>
                    <a:pt x="3" y="3"/>
                  </a:cubicBezTo>
                  <a:cubicBezTo>
                    <a:pt x="3" y="3"/>
                    <a:pt x="3" y="2"/>
                    <a:pt x="3"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55" name="Freeform 1806">
              <a:extLst>
                <a:ext uri="{FF2B5EF4-FFF2-40B4-BE49-F238E27FC236}">
                  <a16:creationId xmlns:a16="http://schemas.microsoft.com/office/drawing/2014/main" id="{56A8DA8B-CE9A-4B32-8F00-E1CC1D2FE869}"/>
                </a:ext>
              </a:extLst>
            </p:cNvPr>
            <p:cNvSpPr>
              <a:spLocks/>
            </p:cNvSpPr>
            <p:nvPr/>
          </p:nvSpPr>
          <p:spPr bwMode="auto">
            <a:xfrm>
              <a:off x="830" y="2050"/>
              <a:ext cx="10" cy="12"/>
            </a:xfrm>
            <a:custGeom>
              <a:avLst/>
              <a:gdLst>
                <a:gd name="T0" fmla="*/ 1 w 4"/>
                <a:gd name="T1" fmla="*/ 1 h 5"/>
                <a:gd name="T2" fmla="*/ 0 w 4"/>
                <a:gd name="T3" fmla="*/ 4 h 5"/>
                <a:gd name="T4" fmla="*/ 3 w 4"/>
                <a:gd name="T5" fmla="*/ 5 h 5"/>
                <a:gd name="T6" fmla="*/ 4 w 4"/>
                <a:gd name="T7" fmla="*/ 2 h 5"/>
                <a:gd name="T8" fmla="*/ 3 w 4"/>
                <a:gd name="T9" fmla="*/ 0 h 5"/>
                <a:gd name="T10" fmla="*/ 1 w 4"/>
                <a:gd name="T11" fmla="*/ 1 h 5"/>
              </a:gdLst>
              <a:ahLst/>
              <a:cxnLst>
                <a:cxn ang="0">
                  <a:pos x="T0" y="T1"/>
                </a:cxn>
                <a:cxn ang="0">
                  <a:pos x="T2" y="T3"/>
                </a:cxn>
                <a:cxn ang="0">
                  <a:pos x="T4" y="T5"/>
                </a:cxn>
                <a:cxn ang="0">
                  <a:pos x="T6" y="T7"/>
                </a:cxn>
                <a:cxn ang="0">
                  <a:pos x="T8" y="T9"/>
                </a:cxn>
                <a:cxn ang="0">
                  <a:pos x="T10" y="T11"/>
                </a:cxn>
              </a:cxnLst>
              <a:rect l="0" t="0" r="r" b="b"/>
              <a:pathLst>
                <a:path w="4" h="5">
                  <a:moveTo>
                    <a:pt x="1" y="1"/>
                  </a:moveTo>
                  <a:cubicBezTo>
                    <a:pt x="1" y="2"/>
                    <a:pt x="1" y="3"/>
                    <a:pt x="0" y="4"/>
                  </a:cubicBezTo>
                  <a:cubicBezTo>
                    <a:pt x="1" y="5"/>
                    <a:pt x="2" y="5"/>
                    <a:pt x="3" y="5"/>
                  </a:cubicBezTo>
                  <a:cubicBezTo>
                    <a:pt x="3" y="4"/>
                    <a:pt x="4" y="3"/>
                    <a:pt x="4" y="2"/>
                  </a:cubicBezTo>
                  <a:cubicBezTo>
                    <a:pt x="4" y="1"/>
                    <a:pt x="3" y="1"/>
                    <a:pt x="3" y="0"/>
                  </a:cubicBezTo>
                  <a:cubicBezTo>
                    <a:pt x="2" y="0"/>
                    <a:pt x="1" y="1"/>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56" name="Freeform 1807">
              <a:extLst>
                <a:ext uri="{FF2B5EF4-FFF2-40B4-BE49-F238E27FC236}">
                  <a16:creationId xmlns:a16="http://schemas.microsoft.com/office/drawing/2014/main" id="{94780FD8-9F89-43DE-821F-9A1117066AB2}"/>
                </a:ext>
              </a:extLst>
            </p:cNvPr>
            <p:cNvSpPr>
              <a:spLocks noEditPoints="1"/>
            </p:cNvSpPr>
            <p:nvPr/>
          </p:nvSpPr>
          <p:spPr bwMode="auto">
            <a:xfrm>
              <a:off x="2956" y="872"/>
              <a:ext cx="267" cy="123"/>
            </a:xfrm>
            <a:custGeom>
              <a:avLst/>
              <a:gdLst>
                <a:gd name="T0" fmla="*/ 108 w 113"/>
                <a:gd name="T1" fmla="*/ 22 h 52"/>
                <a:gd name="T2" fmla="*/ 110 w 113"/>
                <a:gd name="T3" fmla="*/ 20 h 52"/>
                <a:gd name="T4" fmla="*/ 112 w 113"/>
                <a:gd name="T5" fmla="*/ 17 h 52"/>
                <a:gd name="T6" fmla="*/ 106 w 113"/>
                <a:gd name="T7" fmla="*/ 15 h 52"/>
                <a:gd name="T8" fmla="*/ 105 w 113"/>
                <a:gd name="T9" fmla="*/ 13 h 52"/>
                <a:gd name="T10" fmla="*/ 102 w 113"/>
                <a:gd name="T11" fmla="*/ 10 h 52"/>
                <a:gd name="T12" fmla="*/ 98 w 113"/>
                <a:gd name="T13" fmla="*/ 4 h 52"/>
                <a:gd name="T14" fmla="*/ 94 w 113"/>
                <a:gd name="T15" fmla="*/ 5 h 52"/>
                <a:gd name="T16" fmla="*/ 90 w 113"/>
                <a:gd name="T17" fmla="*/ 2 h 52"/>
                <a:gd name="T18" fmla="*/ 82 w 113"/>
                <a:gd name="T19" fmla="*/ 2 h 52"/>
                <a:gd name="T20" fmla="*/ 77 w 113"/>
                <a:gd name="T21" fmla="*/ 5 h 52"/>
                <a:gd name="T22" fmla="*/ 64 w 113"/>
                <a:gd name="T23" fmla="*/ 6 h 52"/>
                <a:gd name="T24" fmla="*/ 56 w 113"/>
                <a:gd name="T25" fmla="*/ 6 h 52"/>
                <a:gd name="T26" fmla="*/ 52 w 113"/>
                <a:gd name="T27" fmla="*/ 10 h 52"/>
                <a:gd name="T28" fmla="*/ 50 w 113"/>
                <a:gd name="T29" fmla="*/ 11 h 52"/>
                <a:gd name="T30" fmla="*/ 43 w 113"/>
                <a:gd name="T31" fmla="*/ 9 h 52"/>
                <a:gd name="T32" fmla="*/ 40 w 113"/>
                <a:gd name="T33" fmla="*/ 16 h 52"/>
                <a:gd name="T34" fmla="*/ 36 w 113"/>
                <a:gd name="T35" fmla="*/ 19 h 52"/>
                <a:gd name="T36" fmla="*/ 32 w 113"/>
                <a:gd name="T37" fmla="*/ 18 h 52"/>
                <a:gd name="T38" fmla="*/ 30 w 113"/>
                <a:gd name="T39" fmla="*/ 15 h 52"/>
                <a:gd name="T40" fmla="*/ 33 w 113"/>
                <a:gd name="T41" fmla="*/ 11 h 52"/>
                <a:gd name="T42" fmla="*/ 29 w 113"/>
                <a:gd name="T43" fmla="*/ 7 h 52"/>
                <a:gd name="T44" fmla="*/ 15 w 113"/>
                <a:gd name="T45" fmla="*/ 1 h 52"/>
                <a:gd name="T46" fmla="*/ 20 w 113"/>
                <a:gd name="T47" fmla="*/ 2 h 52"/>
                <a:gd name="T48" fmla="*/ 22 w 113"/>
                <a:gd name="T49" fmla="*/ 4 h 52"/>
                <a:gd name="T50" fmla="*/ 22 w 113"/>
                <a:gd name="T51" fmla="*/ 9 h 52"/>
                <a:gd name="T52" fmla="*/ 20 w 113"/>
                <a:gd name="T53" fmla="*/ 12 h 52"/>
                <a:gd name="T54" fmla="*/ 16 w 113"/>
                <a:gd name="T55" fmla="*/ 7 h 52"/>
                <a:gd name="T56" fmla="*/ 9 w 113"/>
                <a:gd name="T57" fmla="*/ 7 h 52"/>
                <a:gd name="T58" fmla="*/ 11 w 113"/>
                <a:gd name="T59" fmla="*/ 11 h 52"/>
                <a:gd name="T60" fmla="*/ 8 w 113"/>
                <a:gd name="T61" fmla="*/ 10 h 52"/>
                <a:gd name="T62" fmla="*/ 14 w 113"/>
                <a:gd name="T63" fmla="*/ 12 h 52"/>
                <a:gd name="T64" fmla="*/ 8 w 113"/>
                <a:gd name="T65" fmla="*/ 13 h 52"/>
                <a:gd name="T66" fmla="*/ 5 w 113"/>
                <a:gd name="T67" fmla="*/ 15 h 52"/>
                <a:gd name="T68" fmla="*/ 1 w 113"/>
                <a:gd name="T69" fmla="*/ 16 h 52"/>
                <a:gd name="T70" fmla="*/ 13 w 113"/>
                <a:gd name="T71" fmla="*/ 17 h 52"/>
                <a:gd name="T72" fmla="*/ 29 w 113"/>
                <a:gd name="T73" fmla="*/ 18 h 52"/>
                <a:gd name="T74" fmla="*/ 27 w 113"/>
                <a:gd name="T75" fmla="*/ 23 h 52"/>
                <a:gd name="T76" fmla="*/ 24 w 113"/>
                <a:gd name="T77" fmla="*/ 25 h 52"/>
                <a:gd name="T78" fmla="*/ 19 w 113"/>
                <a:gd name="T79" fmla="*/ 25 h 52"/>
                <a:gd name="T80" fmla="*/ 16 w 113"/>
                <a:gd name="T81" fmla="*/ 25 h 52"/>
                <a:gd name="T82" fmla="*/ 13 w 113"/>
                <a:gd name="T83" fmla="*/ 27 h 52"/>
                <a:gd name="T84" fmla="*/ 5 w 113"/>
                <a:gd name="T85" fmla="*/ 27 h 52"/>
                <a:gd name="T86" fmla="*/ 22 w 113"/>
                <a:gd name="T87" fmla="*/ 31 h 52"/>
                <a:gd name="T88" fmla="*/ 24 w 113"/>
                <a:gd name="T89" fmla="*/ 34 h 52"/>
                <a:gd name="T90" fmla="*/ 28 w 113"/>
                <a:gd name="T91" fmla="*/ 33 h 52"/>
                <a:gd name="T92" fmla="*/ 29 w 113"/>
                <a:gd name="T93" fmla="*/ 36 h 52"/>
                <a:gd name="T94" fmla="*/ 27 w 113"/>
                <a:gd name="T95" fmla="*/ 38 h 52"/>
                <a:gd name="T96" fmla="*/ 21 w 113"/>
                <a:gd name="T97" fmla="*/ 42 h 52"/>
                <a:gd name="T98" fmla="*/ 39 w 113"/>
                <a:gd name="T99" fmla="*/ 44 h 52"/>
                <a:gd name="T100" fmla="*/ 42 w 113"/>
                <a:gd name="T101" fmla="*/ 48 h 52"/>
                <a:gd name="T102" fmla="*/ 65 w 113"/>
                <a:gd name="T103" fmla="*/ 51 h 52"/>
                <a:gd name="T104" fmla="*/ 67 w 113"/>
                <a:gd name="T105" fmla="*/ 47 h 52"/>
                <a:gd name="T106" fmla="*/ 86 w 113"/>
                <a:gd name="T107" fmla="*/ 40 h 52"/>
                <a:gd name="T108" fmla="*/ 94 w 113"/>
                <a:gd name="T109" fmla="*/ 36 h 52"/>
                <a:gd name="T110" fmla="*/ 102 w 113"/>
                <a:gd name="T111" fmla="*/ 35 h 52"/>
                <a:gd name="T112" fmla="*/ 103 w 113"/>
                <a:gd name="T113" fmla="*/ 29 h 52"/>
                <a:gd name="T114" fmla="*/ 107 w 113"/>
                <a:gd name="T115" fmla="*/ 30 h 52"/>
                <a:gd name="T116" fmla="*/ 109 w 113"/>
                <a:gd name="T117" fmla="*/ 26 h 52"/>
                <a:gd name="T118" fmla="*/ 113 w 113"/>
                <a:gd name="T119" fmla="*/ 24 h 52"/>
                <a:gd name="T120" fmla="*/ 42 w 113"/>
                <a:gd name="T121" fmla="*/ 45 h 52"/>
                <a:gd name="T122" fmla="*/ 102 w 113"/>
                <a:gd name="T123" fmla="*/ 17 h 52"/>
                <a:gd name="T124" fmla="*/ 102 w 113"/>
                <a:gd name="T125" fmla="*/ 1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3" h="52">
                  <a:moveTo>
                    <a:pt x="111" y="23"/>
                  </a:moveTo>
                  <a:cubicBezTo>
                    <a:pt x="111" y="23"/>
                    <a:pt x="110" y="22"/>
                    <a:pt x="110" y="22"/>
                  </a:cubicBezTo>
                  <a:cubicBezTo>
                    <a:pt x="109" y="22"/>
                    <a:pt x="108" y="22"/>
                    <a:pt x="108" y="22"/>
                  </a:cubicBezTo>
                  <a:cubicBezTo>
                    <a:pt x="109" y="22"/>
                    <a:pt x="111" y="21"/>
                    <a:pt x="112" y="21"/>
                  </a:cubicBezTo>
                  <a:cubicBezTo>
                    <a:pt x="111" y="21"/>
                    <a:pt x="109" y="20"/>
                    <a:pt x="108" y="21"/>
                  </a:cubicBezTo>
                  <a:cubicBezTo>
                    <a:pt x="109" y="21"/>
                    <a:pt x="109" y="21"/>
                    <a:pt x="110" y="20"/>
                  </a:cubicBezTo>
                  <a:cubicBezTo>
                    <a:pt x="110" y="20"/>
                    <a:pt x="110" y="20"/>
                    <a:pt x="111" y="20"/>
                  </a:cubicBezTo>
                  <a:cubicBezTo>
                    <a:pt x="111" y="19"/>
                    <a:pt x="111" y="19"/>
                    <a:pt x="112" y="18"/>
                  </a:cubicBezTo>
                  <a:cubicBezTo>
                    <a:pt x="112" y="18"/>
                    <a:pt x="112" y="17"/>
                    <a:pt x="112" y="17"/>
                  </a:cubicBezTo>
                  <a:cubicBezTo>
                    <a:pt x="112" y="16"/>
                    <a:pt x="109" y="16"/>
                    <a:pt x="108" y="16"/>
                  </a:cubicBezTo>
                  <a:cubicBezTo>
                    <a:pt x="107" y="15"/>
                    <a:pt x="106" y="15"/>
                    <a:pt x="105" y="14"/>
                  </a:cubicBezTo>
                  <a:cubicBezTo>
                    <a:pt x="106" y="15"/>
                    <a:pt x="106" y="15"/>
                    <a:pt x="106" y="15"/>
                  </a:cubicBezTo>
                  <a:cubicBezTo>
                    <a:pt x="104" y="14"/>
                    <a:pt x="104" y="16"/>
                    <a:pt x="103" y="17"/>
                  </a:cubicBezTo>
                  <a:cubicBezTo>
                    <a:pt x="103" y="16"/>
                    <a:pt x="104" y="15"/>
                    <a:pt x="104" y="15"/>
                  </a:cubicBezTo>
                  <a:cubicBezTo>
                    <a:pt x="105" y="14"/>
                    <a:pt x="105" y="14"/>
                    <a:pt x="105" y="13"/>
                  </a:cubicBezTo>
                  <a:cubicBezTo>
                    <a:pt x="104" y="12"/>
                    <a:pt x="103" y="13"/>
                    <a:pt x="102" y="13"/>
                  </a:cubicBezTo>
                  <a:cubicBezTo>
                    <a:pt x="100" y="13"/>
                    <a:pt x="98" y="14"/>
                    <a:pt x="100" y="11"/>
                  </a:cubicBezTo>
                  <a:cubicBezTo>
                    <a:pt x="101" y="11"/>
                    <a:pt x="101" y="11"/>
                    <a:pt x="102" y="10"/>
                  </a:cubicBezTo>
                  <a:cubicBezTo>
                    <a:pt x="102" y="9"/>
                    <a:pt x="100" y="8"/>
                    <a:pt x="99" y="8"/>
                  </a:cubicBezTo>
                  <a:cubicBezTo>
                    <a:pt x="97" y="8"/>
                    <a:pt x="95" y="7"/>
                    <a:pt x="97" y="6"/>
                  </a:cubicBezTo>
                  <a:cubicBezTo>
                    <a:pt x="98" y="6"/>
                    <a:pt x="97" y="5"/>
                    <a:pt x="98" y="4"/>
                  </a:cubicBezTo>
                  <a:cubicBezTo>
                    <a:pt x="98" y="4"/>
                    <a:pt x="98" y="4"/>
                    <a:pt x="98" y="4"/>
                  </a:cubicBezTo>
                  <a:cubicBezTo>
                    <a:pt x="100" y="3"/>
                    <a:pt x="101" y="3"/>
                    <a:pt x="102" y="2"/>
                  </a:cubicBezTo>
                  <a:cubicBezTo>
                    <a:pt x="100" y="2"/>
                    <a:pt x="96" y="3"/>
                    <a:pt x="94" y="5"/>
                  </a:cubicBezTo>
                  <a:cubicBezTo>
                    <a:pt x="94" y="5"/>
                    <a:pt x="94" y="6"/>
                    <a:pt x="94" y="6"/>
                  </a:cubicBezTo>
                  <a:cubicBezTo>
                    <a:pt x="92" y="6"/>
                    <a:pt x="91" y="5"/>
                    <a:pt x="90" y="4"/>
                  </a:cubicBezTo>
                  <a:cubicBezTo>
                    <a:pt x="91" y="3"/>
                    <a:pt x="91" y="3"/>
                    <a:pt x="90" y="2"/>
                  </a:cubicBezTo>
                  <a:cubicBezTo>
                    <a:pt x="90" y="2"/>
                    <a:pt x="87" y="2"/>
                    <a:pt x="89" y="0"/>
                  </a:cubicBezTo>
                  <a:cubicBezTo>
                    <a:pt x="87" y="0"/>
                    <a:pt x="86" y="0"/>
                    <a:pt x="83" y="0"/>
                  </a:cubicBezTo>
                  <a:cubicBezTo>
                    <a:pt x="82" y="0"/>
                    <a:pt x="82" y="0"/>
                    <a:pt x="82" y="2"/>
                  </a:cubicBezTo>
                  <a:cubicBezTo>
                    <a:pt x="82" y="3"/>
                    <a:pt x="83" y="4"/>
                    <a:pt x="83" y="4"/>
                  </a:cubicBezTo>
                  <a:cubicBezTo>
                    <a:pt x="83" y="5"/>
                    <a:pt x="82" y="6"/>
                    <a:pt x="83" y="6"/>
                  </a:cubicBezTo>
                  <a:cubicBezTo>
                    <a:pt x="81" y="6"/>
                    <a:pt x="79" y="6"/>
                    <a:pt x="77" y="5"/>
                  </a:cubicBezTo>
                  <a:cubicBezTo>
                    <a:pt x="76" y="6"/>
                    <a:pt x="72" y="9"/>
                    <a:pt x="70" y="8"/>
                  </a:cubicBezTo>
                  <a:cubicBezTo>
                    <a:pt x="70" y="8"/>
                    <a:pt x="69" y="7"/>
                    <a:pt x="69" y="7"/>
                  </a:cubicBezTo>
                  <a:cubicBezTo>
                    <a:pt x="68" y="6"/>
                    <a:pt x="66" y="6"/>
                    <a:pt x="64" y="6"/>
                  </a:cubicBezTo>
                  <a:cubicBezTo>
                    <a:pt x="65" y="9"/>
                    <a:pt x="66" y="11"/>
                    <a:pt x="66" y="14"/>
                  </a:cubicBezTo>
                  <a:cubicBezTo>
                    <a:pt x="65" y="11"/>
                    <a:pt x="63" y="9"/>
                    <a:pt x="61" y="7"/>
                  </a:cubicBezTo>
                  <a:cubicBezTo>
                    <a:pt x="60" y="6"/>
                    <a:pt x="58" y="6"/>
                    <a:pt x="56" y="6"/>
                  </a:cubicBezTo>
                  <a:cubicBezTo>
                    <a:pt x="55" y="6"/>
                    <a:pt x="54" y="7"/>
                    <a:pt x="53" y="8"/>
                  </a:cubicBezTo>
                  <a:cubicBezTo>
                    <a:pt x="52" y="8"/>
                    <a:pt x="53" y="8"/>
                    <a:pt x="53" y="9"/>
                  </a:cubicBezTo>
                  <a:cubicBezTo>
                    <a:pt x="52" y="9"/>
                    <a:pt x="52" y="9"/>
                    <a:pt x="52" y="10"/>
                  </a:cubicBezTo>
                  <a:cubicBezTo>
                    <a:pt x="52" y="10"/>
                    <a:pt x="53" y="11"/>
                    <a:pt x="53" y="11"/>
                  </a:cubicBezTo>
                  <a:cubicBezTo>
                    <a:pt x="53" y="11"/>
                    <a:pt x="53" y="12"/>
                    <a:pt x="53" y="12"/>
                  </a:cubicBezTo>
                  <a:cubicBezTo>
                    <a:pt x="52" y="14"/>
                    <a:pt x="51" y="12"/>
                    <a:pt x="50" y="11"/>
                  </a:cubicBezTo>
                  <a:cubicBezTo>
                    <a:pt x="49" y="10"/>
                    <a:pt x="47" y="9"/>
                    <a:pt x="46" y="7"/>
                  </a:cubicBezTo>
                  <a:cubicBezTo>
                    <a:pt x="45" y="7"/>
                    <a:pt x="45" y="7"/>
                    <a:pt x="44" y="7"/>
                  </a:cubicBezTo>
                  <a:cubicBezTo>
                    <a:pt x="42" y="7"/>
                    <a:pt x="42" y="7"/>
                    <a:pt x="43" y="9"/>
                  </a:cubicBezTo>
                  <a:cubicBezTo>
                    <a:pt x="43" y="10"/>
                    <a:pt x="44" y="11"/>
                    <a:pt x="44" y="13"/>
                  </a:cubicBezTo>
                  <a:cubicBezTo>
                    <a:pt x="44" y="14"/>
                    <a:pt x="43" y="16"/>
                    <a:pt x="42" y="17"/>
                  </a:cubicBezTo>
                  <a:cubicBezTo>
                    <a:pt x="41" y="17"/>
                    <a:pt x="41" y="16"/>
                    <a:pt x="40" y="16"/>
                  </a:cubicBezTo>
                  <a:cubicBezTo>
                    <a:pt x="40" y="15"/>
                    <a:pt x="41" y="14"/>
                    <a:pt x="39" y="14"/>
                  </a:cubicBezTo>
                  <a:cubicBezTo>
                    <a:pt x="39" y="14"/>
                    <a:pt x="38" y="15"/>
                    <a:pt x="38" y="15"/>
                  </a:cubicBezTo>
                  <a:cubicBezTo>
                    <a:pt x="37" y="16"/>
                    <a:pt x="38" y="18"/>
                    <a:pt x="36" y="19"/>
                  </a:cubicBezTo>
                  <a:cubicBezTo>
                    <a:pt x="36" y="18"/>
                    <a:pt x="36" y="18"/>
                    <a:pt x="36" y="18"/>
                  </a:cubicBezTo>
                  <a:cubicBezTo>
                    <a:pt x="35" y="19"/>
                    <a:pt x="36" y="21"/>
                    <a:pt x="36" y="23"/>
                  </a:cubicBezTo>
                  <a:cubicBezTo>
                    <a:pt x="34" y="21"/>
                    <a:pt x="33" y="20"/>
                    <a:pt x="32" y="18"/>
                  </a:cubicBezTo>
                  <a:cubicBezTo>
                    <a:pt x="31" y="18"/>
                    <a:pt x="33" y="17"/>
                    <a:pt x="33" y="17"/>
                  </a:cubicBezTo>
                  <a:cubicBezTo>
                    <a:pt x="34" y="16"/>
                    <a:pt x="33" y="16"/>
                    <a:pt x="32" y="16"/>
                  </a:cubicBezTo>
                  <a:cubicBezTo>
                    <a:pt x="33" y="14"/>
                    <a:pt x="31" y="15"/>
                    <a:pt x="30" y="15"/>
                  </a:cubicBezTo>
                  <a:cubicBezTo>
                    <a:pt x="29" y="14"/>
                    <a:pt x="29" y="13"/>
                    <a:pt x="29" y="13"/>
                  </a:cubicBezTo>
                  <a:cubicBezTo>
                    <a:pt x="30" y="13"/>
                    <a:pt x="31" y="15"/>
                    <a:pt x="33" y="13"/>
                  </a:cubicBezTo>
                  <a:cubicBezTo>
                    <a:pt x="33" y="13"/>
                    <a:pt x="33" y="12"/>
                    <a:pt x="33" y="11"/>
                  </a:cubicBezTo>
                  <a:cubicBezTo>
                    <a:pt x="34" y="10"/>
                    <a:pt x="32" y="10"/>
                    <a:pt x="30" y="10"/>
                  </a:cubicBezTo>
                  <a:cubicBezTo>
                    <a:pt x="31" y="9"/>
                    <a:pt x="32" y="9"/>
                    <a:pt x="33" y="9"/>
                  </a:cubicBezTo>
                  <a:cubicBezTo>
                    <a:pt x="31" y="8"/>
                    <a:pt x="30" y="9"/>
                    <a:pt x="29" y="7"/>
                  </a:cubicBezTo>
                  <a:cubicBezTo>
                    <a:pt x="27" y="5"/>
                    <a:pt x="26" y="4"/>
                    <a:pt x="24" y="2"/>
                  </a:cubicBezTo>
                  <a:cubicBezTo>
                    <a:pt x="23" y="2"/>
                    <a:pt x="22" y="1"/>
                    <a:pt x="21" y="1"/>
                  </a:cubicBezTo>
                  <a:cubicBezTo>
                    <a:pt x="19" y="1"/>
                    <a:pt x="17" y="1"/>
                    <a:pt x="15" y="1"/>
                  </a:cubicBezTo>
                  <a:cubicBezTo>
                    <a:pt x="16" y="2"/>
                    <a:pt x="14" y="4"/>
                    <a:pt x="16" y="4"/>
                  </a:cubicBezTo>
                  <a:cubicBezTo>
                    <a:pt x="17" y="4"/>
                    <a:pt x="17" y="3"/>
                    <a:pt x="18" y="3"/>
                  </a:cubicBezTo>
                  <a:cubicBezTo>
                    <a:pt x="17" y="4"/>
                    <a:pt x="19" y="3"/>
                    <a:pt x="20" y="2"/>
                  </a:cubicBezTo>
                  <a:cubicBezTo>
                    <a:pt x="19" y="3"/>
                    <a:pt x="18" y="4"/>
                    <a:pt x="20" y="4"/>
                  </a:cubicBezTo>
                  <a:cubicBezTo>
                    <a:pt x="21" y="4"/>
                    <a:pt x="22" y="3"/>
                    <a:pt x="21" y="4"/>
                  </a:cubicBezTo>
                  <a:cubicBezTo>
                    <a:pt x="21" y="4"/>
                    <a:pt x="22" y="4"/>
                    <a:pt x="22" y="4"/>
                  </a:cubicBezTo>
                  <a:cubicBezTo>
                    <a:pt x="21" y="5"/>
                    <a:pt x="20" y="6"/>
                    <a:pt x="18" y="6"/>
                  </a:cubicBezTo>
                  <a:cubicBezTo>
                    <a:pt x="20" y="7"/>
                    <a:pt x="21" y="8"/>
                    <a:pt x="22" y="7"/>
                  </a:cubicBezTo>
                  <a:cubicBezTo>
                    <a:pt x="21" y="8"/>
                    <a:pt x="22" y="8"/>
                    <a:pt x="22" y="9"/>
                  </a:cubicBezTo>
                  <a:cubicBezTo>
                    <a:pt x="22" y="10"/>
                    <a:pt x="22" y="10"/>
                    <a:pt x="22" y="11"/>
                  </a:cubicBezTo>
                  <a:cubicBezTo>
                    <a:pt x="21" y="10"/>
                    <a:pt x="21" y="9"/>
                    <a:pt x="20" y="11"/>
                  </a:cubicBezTo>
                  <a:cubicBezTo>
                    <a:pt x="20" y="11"/>
                    <a:pt x="20" y="11"/>
                    <a:pt x="20" y="12"/>
                  </a:cubicBezTo>
                  <a:cubicBezTo>
                    <a:pt x="20" y="9"/>
                    <a:pt x="20" y="9"/>
                    <a:pt x="19" y="8"/>
                  </a:cubicBezTo>
                  <a:cubicBezTo>
                    <a:pt x="19" y="9"/>
                    <a:pt x="18" y="9"/>
                    <a:pt x="18" y="10"/>
                  </a:cubicBezTo>
                  <a:cubicBezTo>
                    <a:pt x="17" y="9"/>
                    <a:pt x="17" y="8"/>
                    <a:pt x="16" y="7"/>
                  </a:cubicBezTo>
                  <a:cubicBezTo>
                    <a:pt x="14" y="6"/>
                    <a:pt x="12" y="6"/>
                    <a:pt x="10" y="6"/>
                  </a:cubicBezTo>
                  <a:cubicBezTo>
                    <a:pt x="11" y="6"/>
                    <a:pt x="11" y="7"/>
                    <a:pt x="12" y="7"/>
                  </a:cubicBezTo>
                  <a:cubicBezTo>
                    <a:pt x="11" y="7"/>
                    <a:pt x="10" y="7"/>
                    <a:pt x="9" y="7"/>
                  </a:cubicBezTo>
                  <a:cubicBezTo>
                    <a:pt x="10" y="8"/>
                    <a:pt x="12" y="8"/>
                    <a:pt x="12" y="9"/>
                  </a:cubicBezTo>
                  <a:cubicBezTo>
                    <a:pt x="11" y="8"/>
                    <a:pt x="8" y="7"/>
                    <a:pt x="8" y="8"/>
                  </a:cubicBezTo>
                  <a:cubicBezTo>
                    <a:pt x="7" y="9"/>
                    <a:pt x="10" y="10"/>
                    <a:pt x="11" y="11"/>
                  </a:cubicBezTo>
                  <a:cubicBezTo>
                    <a:pt x="12" y="11"/>
                    <a:pt x="13" y="11"/>
                    <a:pt x="13" y="11"/>
                  </a:cubicBezTo>
                  <a:cubicBezTo>
                    <a:pt x="12" y="11"/>
                    <a:pt x="11" y="11"/>
                    <a:pt x="10" y="11"/>
                  </a:cubicBezTo>
                  <a:cubicBezTo>
                    <a:pt x="9" y="11"/>
                    <a:pt x="9" y="10"/>
                    <a:pt x="8" y="10"/>
                  </a:cubicBezTo>
                  <a:cubicBezTo>
                    <a:pt x="8" y="10"/>
                    <a:pt x="7" y="10"/>
                    <a:pt x="7" y="10"/>
                  </a:cubicBezTo>
                  <a:cubicBezTo>
                    <a:pt x="7" y="11"/>
                    <a:pt x="10" y="12"/>
                    <a:pt x="10" y="12"/>
                  </a:cubicBezTo>
                  <a:cubicBezTo>
                    <a:pt x="12" y="13"/>
                    <a:pt x="13" y="13"/>
                    <a:pt x="14" y="12"/>
                  </a:cubicBezTo>
                  <a:cubicBezTo>
                    <a:pt x="13" y="13"/>
                    <a:pt x="12" y="13"/>
                    <a:pt x="11" y="13"/>
                  </a:cubicBezTo>
                  <a:cubicBezTo>
                    <a:pt x="10" y="14"/>
                    <a:pt x="11" y="16"/>
                    <a:pt x="10" y="15"/>
                  </a:cubicBezTo>
                  <a:cubicBezTo>
                    <a:pt x="9" y="14"/>
                    <a:pt x="9" y="14"/>
                    <a:pt x="8" y="13"/>
                  </a:cubicBezTo>
                  <a:cubicBezTo>
                    <a:pt x="7" y="13"/>
                    <a:pt x="6" y="12"/>
                    <a:pt x="5" y="12"/>
                  </a:cubicBezTo>
                  <a:cubicBezTo>
                    <a:pt x="4" y="15"/>
                    <a:pt x="6" y="14"/>
                    <a:pt x="8" y="15"/>
                  </a:cubicBezTo>
                  <a:cubicBezTo>
                    <a:pt x="7" y="15"/>
                    <a:pt x="6" y="15"/>
                    <a:pt x="5" y="15"/>
                  </a:cubicBezTo>
                  <a:cubicBezTo>
                    <a:pt x="5" y="16"/>
                    <a:pt x="7" y="16"/>
                    <a:pt x="7" y="17"/>
                  </a:cubicBezTo>
                  <a:cubicBezTo>
                    <a:pt x="6" y="17"/>
                    <a:pt x="4" y="14"/>
                    <a:pt x="2" y="15"/>
                  </a:cubicBezTo>
                  <a:cubicBezTo>
                    <a:pt x="2" y="15"/>
                    <a:pt x="2" y="16"/>
                    <a:pt x="1" y="16"/>
                  </a:cubicBezTo>
                  <a:cubicBezTo>
                    <a:pt x="1" y="17"/>
                    <a:pt x="1" y="17"/>
                    <a:pt x="0" y="17"/>
                  </a:cubicBezTo>
                  <a:cubicBezTo>
                    <a:pt x="2" y="18"/>
                    <a:pt x="5" y="18"/>
                    <a:pt x="6" y="19"/>
                  </a:cubicBezTo>
                  <a:cubicBezTo>
                    <a:pt x="8" y="19"/>
                    <a:pt x="11" y="17"/>
                    <a:pt x="13" y="17"/>
                  </a:cubicBezTo>
                  <a:cubicBezTo>
                    <a:pt x="14" y="17"/>
                    <a:pt x="15" y="16"/>
                    <a:pt x="17" y="16"/>
                  </a:cubicBezTo>
                  <a:cubicBezTo>
                    <a:pt x="18" y="16"/>
                    <a:pt x="19" y="16"/>
                    <a:pt x="20" y="16"/>
                  </a:cubicBezTo>
                  <a:cubicBezTo>
                    <a:pt x="23" y="17"/>
                    <a:pt x="26" y="17"/>
                    <a:pt x="29" y="18"/>
                  </a:cubicBezTo>
                  <a:cubicBezTo>
                    <a:pt x="27" y="19"/>
                    <a:pt x="26" y="19"/>
                    <a:pt x="25" y="20"/>
                  </a:cubicBezTo>
                  <a:cubicBezTo>
                    <a:pt x="23" y="21"/>
                    <a:pt x="21" y="21"/>
                    <a:pt x="21" y="22"/>
                  </a:cubicBezTo>
                  <a:cubicBezTo>
                    <a:pt x="22" y="23"/>
                    <a:pt x="25" y="24"/>
                    <a:pt x="27" y="23"/>
                  </a:cubicBezTo>
                  <a:cubicBezTo>
                    <a:pt x="27" y="23"/>
                    <a:pt x="28" y="22"/>
                    <a:pt x="28" y="22"/>
                  </a:cubicBezTo>
                  <a:cubicBezTo>
                    <a:pt x="29" y="22"/>
                    <a:pt x="28" y="24"/>
                    <a:pt x="28" y="25"/>
                  </a:cubicBezTo>
                  <a:cubicBezTo>
                    <a:pt x="27" y="25"/>
                    <a:pt x="25" y="25"/>
                    <a:pt x="24" y="25"/>
                  </a:cubicBezTo>
                  <a:cubicBezTo>
                    <a:pt x="23" y="25"/>
                    <a:pt x="22" y="24"/>
                    <a:pt x="21" y="25"/>
                  </a:cubicBezTo>
                  <a:cubicBezTo>
                    <a:pt x="21" y="25"/>
                    <a:pt x="20" y="26"/>
                    <a:pt x="19" y="26"/>
                  </a:cubicBezTo>
                  <a:cubicBezTo>
                    <a:pt x="19" y="26"/>
                    <a:pt x="19" y="25"/>
                    <a:pt x="19" y="25"/>
                  </a:cubicBezTo>
                  <a:cubicBezTo>
                    <a:pt x="19" y="25"/>
                    <a:pt x="19" y="24"/>
                    <a:pt x="19" y="24"/>
                  </a:cubicBezTo>
                  <a:cubicBezTo>
                    <a:pt x="18" y="25"/>
                    <a:pt x="17" y="25"/>
                    <a:pt x="17" y="26"/>
                  </a:cubicBezTo>
                  <a:cubicBezTo>
                    <a:pt x="16" y="26"/>
                    <a:pt x="16" y="25"/>
                    <a:pt x="16" y="25"/>
                  </a:cubicBezTo>
                  <a:cubicBezTo>
                    <a:pt x="15" y="26"/>
                    <a:pt x="15" y="27"/>
                    <a:pt x="15" y="26"/>
                  </a:cubicBezTo>
                  <a:cubicBezTo>
                    <a:pt x="14" y="26"/>
                    <a:pt x="15" y="26"/>
                    <a:pt x="14" y="25"/>
                  </a:cubicBezTo>
                  <a:cubicBezTo>
                    <a:pt x="14" y="25"/>
                    <a:pt x="13" y="26"/>
                    <a:pt x="13" y="27"/>
                  </a:cubicBezTo>
                  <a:cubicBezTo>
                    <a:pt x="12" y="25"/>
                    <a:pt x="11" y="27"/>
                    <a:pt x="9" y="27"/>
                  </a:cubicBezTo>
                  <a:cubicBezTo>
                    <a:pt x="9" y="27"/>
                    <a:pt x="8" y="27"/>
                    <a:pt x="7" y="27"/>
                  </a:cubicBezTo>
                  <a:cubicBezTo>
                    <a:pt x="6" y="27"/>
                    <a:pt x="6" y="27"/>
                    <a:pt x="5" y="27"/>
                  </a:cubicBezTo>
                  <a:cubicBezTo>
                    <a:pt x="6" y="30"/>
                    <a:pt x="7" y="30"/>
                    <a:pt x="9" y="30"/>
                  </a:cubicBezTo>
                  <a:cubicBezTo>
                    <a:pt x="14" y="30"/>
                    <a:pt x="19" y="30"/>
                    <a:pt x="24" y="30"/>
                  </a:cubicBezTo>
                  <a:cubicBezTo>
                    <a:pt x="24" y="30"/>
                    <a:pt x="23" y="31"/>
                    <a:pt x="22" y="31"/>
                  </a:cubicBezTo>
                  <a:cubicBezTo>
                    <a:pt x="22" y="32"/>
                    <a:pt x="22" y="32"/>
                    <a:pt x="22" y="32"/>
                  </a:cubicBezTo>
                  <a:cubicBezTo>
                    <a:pt x="23" y="33"/>
                    <a:pt x="23" y="33"/>
                    <a:pt x="24" y="33"/>
                  </a:cubicBezTo>
                  <a:cubicBezTo>
                    <a:pt x="24" y="34"/>
                    <a:pt x="23" y="34"/>
                    <a:pt x="24" y="34"/>
                  </a:cubicBezTo>
                  <a:cubicBezTo>
                    <a:pt x="25" y="35"/>
                    <a:pt x="27" y="33"/>
                    <a:pt x="28" y="33"/>
                  </a:cubicBezTo>
                  <a:cubicBezTo>
                    <a:pt x="29" y="32"/>
                    <a:pt x="30" y="32"/>
                    <a:pt x="31" y="31"/>
                  </a:cubicBezTo>
                  <a:cubicBezTo>
                    <a:pt x="30" y="32"/>
                    <a:pt x="29" y="32"/>
                    <a:pt x="28" y="33"/>
                  </a:cubicBezTo>
                  <a:cubicBezTo>
                    <a:pt x="28" y="33"/>
                    <a:pt x="27" y="33"/>
                    <a:pt x="26" y="34"/>
                  </a:cubicBezTo>
                  <a:cubicBezTo>
                    <a:pt x="26" y="35"/>
                    <a:pt x="26" y="36"/>
                    <a:pt x="25" y="37"/>
                  </a:cubicBezTo>
                  <a:cubicBezTo>
                    <a:pt x="27" y="37"/>
                    <a:pt x="28" y="36"/>
                    <a:pt x="29" y="36"/>
                  </a:cubicBezTo>
                  <a:cubicBezTo>
                    <a:pt x="30" y="36"/>
                    <a:pt x="32" y="36"/>
                    <a:pt x="33" y="36"/>
                  </a:cubicBezTo>
                  <a:cubicBezTo>
                    <a:pt x="32" y="36"/>
                    <a:pt x="30" y="36"/>
                    <a:pt x="29" y="36"/>
                  </a:cubicBezTo>
                  <a:cubicBezTo>
                    <a:pt x="28" y="36"/>
                    <a:pt x="28" y="37"/>
                    <a:pt x="27" y="38"/>
                  </a:cubicBezTo>
                  <a:cubicBezTo>
                    <a:pt x="28" y="39"/>
                    <a:pt x="28" y="39"/>
                    <a:pt x="29" y="39"/>
                  </a:cubicBezTo>
                  <a:cubicBezTo>
                    <a:pt x="27" y="40"/>
                    <a:pt x="25" y="40"/>
                    <a:pt x="23" y="41"/>
                  </a:cubicBezTo>
                  <a:cubicBezTo>
                    <a:pt x="22" y="41"/>
                    <a:pt x="21" y="42"/>
                    <a:pt x="21" y="42"/>
                  </a:cubicBezTo>
                  <a:cubicBezTo>
                    <a:pt x="20" y="42"/>
                    <a:pt x="20" y="41"/>
                    <a:pt x="19" y="41"/>
                  </a:cubicBezTo>
                  <a:cubicBezTo>
                    <a:pt x="19" y="42"/>
                    <a:pt x="19" y="43"/>
                    <a:pt x="19" y="45"/>
                  </a:cubicBezTo>
                  <a:cubicBezTo>
                    <a:pt x="26" y="45"/>
                    <a:pt x="33" y="44"/>
                    <a:pt x="39" y="44"/>
                  </a:cubicBezTo>
                  <a:cubicBezTo>
                    <a:pt x="39" y="45"/>
                    <a:pt x="39" y="45"/>
                    <a:pt x="39" y="46"/>
                  </a:cubicBezTo>
                  <a:cubicBezTo>
                    <a:pt x="40" y="47"/>
                    <a:pt x="41" y="46"/>
                    <a:pt x="42" y="45"/>
                  </a:cubicBezTo>
                  <a:cubicBezTo>
                    <a:pt x="41" y="46"/>
                    <a:pt x="41" y="46"/>
                    <a:pt x="42" y="48"/>
                  </a:cubicBezTo>
                  <a:cubicBezTo>
                    <a:pt x="43" y="49"/>
                    <a:pt x="45" y="49"/>
                    <a:pt x="47" y="50"/>
                  </a:cubicBezTo>
                  <a:cubicBezTo>
                    <a:pt x="51" y="50"/>
                    <a:pt x="54" y="51"/>
                    <a:pt x="58" y="52"/>
                  </a:cubicBezTo>
                  <a:cubicBezTo>
                    <a:pt x="60" y="52"/>
                    <a:pt x="62" y="51"/>
                    <a:pt x="65" y="51"/>
                  </a:cubicBezTo>
                  <a:cubicBezTo>
                    <a:pt x="65" y="50"/>
                    <a:pt x="64" y="50"/>
                    <a:pt x="64" y="49"/>
                  </a:cubicBezTo>
                  <a:cubicBezTo>
                    <a:pt x="65" y="50"/>
                    <a:pt x="65" y="51"/>
                    <a:pt x="66" y="50"/>
                  </a:cubicBezTo>
                  <a:cubicBezTo>
                    <a:pt x="67" y="49"/>
                    <a:pt x="67" y="48"/>
                    <a:pt x="67" y="47"/>
                  </a:cubicBezTo>
                  <a:cubicBezTo>
                    <a:pt x="69" y="45"/>
                    <a:pt x="73" y="46"/>
                    <a:pt x="76" y="45"/>
                  </a:cubicBezTo>
                  <a:cubicBezTo>
                    <a:pt x="78" y="45"/>
                    <a:pt x="80" y="45"/>
                    <a:pt x="81" y="44"/>
                  </a:cubicBezTo>
                  <a:cubicBezTo>
                    <a:pt x="83" y="43"/>
                    <a:pt x="85" y="42"/>
                    <a:pt x="86" y="40"/>
                  </a:cubicBezTo>
                  <a:cubicBezTo>
                    <a:pt x="88" y="39"/>
                    <a:pt x="93" y="38"/>
                    <a:pt x="94" y="36"/>
                  </a:cubicBezTo>
                  <a:cubicBezTo>
                    <a:pt x="93" y="36"/>
                    <a:pt x="93" y="36"/>
                    <a:pt x="93" y="35"/>
                  </a:cubicBezTo>
                  <a:cubicBezTo>
                    <a:pt x="93" y="36"/>
                    <a:pt x="94" y="36"/>
                    <a:pt x="94" y="36"/>
                  </a:cubicBezTo>
                  <a:cubicBezTo>
                    <a:pt x="94" y="37"/>
                    <a:pt x="96" y="38"/>
                    <a:pt x="96" y="38"/>
                  </a:cubicBezTo>
                  <a:cubicBezTo>
                    <a:pt x="96" y="38"/>
                    <a:pt x="97" y="38"/>
                    <a:pt x="98" y="38"/>
                  </a:cubicBezTo>
                  <a:cubicBezTo>
                    <a:pt x="99" y="37"/>
                    <a:pt x="101" y="36"/>
                    <a:pt x="102" y="35"/>
                  </a:cubicBezTo>
                  <a:cubicBezTo>
                    <a:pt x="103" y="34"/>
                    <a:pt x="102" y="33"/>
                    <a:pt x="102" y="33"/>
                  </a:cubicBezTo>
                  <a:cubicBezTo>
                    <a:pt x="102" y="32"/>
                    <a:pt x="102" y="32"/>
                    <a:pt x="103" y="31"/>
                  </a:cubicBezTo>
                  <a:cubicBezTo>
                    <a:pt x="104" y="29"/>
                    <a:pt x="104" y="30"/>
                    <a:pt x="103" y="29"/>
                  </a:cubicBezTo>
                  <a:cubicBezTo>
                    <a:pt x="103" y="29"/>
                    <a:pt x="103" y="29"/>
                    <a:pt x="103" y="29"/>
                  </a:cubicBezTo>
                  <a:cubicBezTo>
                    <a:pt x="103" y="29"/>
                    <a:pt x="103" y="29"/>
                    <a:pt x="103" y="29"/>
                  </a:cubicBezTo>
                  <a:cubicBezTo>
                    <a:pt x="104" y="30"/>
                    <a:pt x="105" y="31"/>
                    <a:pt x="107" y="30"/>
                  </a:cubicBezTo>
                  <a:cubicBezTo>
                    <a:pt x="107" y="30"/>
                    <a:pt x="109" y="28"/>
                    <a:pt x="108" y="27"/>
                  </a:cubicBezTo>
                  <a:cubicBezTo>
                    <a:pt x="108" y="27"/>
                    <a:pt x="108" y="27"/>
                    <a:pt x="107" y="27"/>
                  </a:cubicBezTo>
                  <a:cubicBezTo>
                    <a:pt x="109" y="27"/>
                    <a:pt x="110" y="27"/>
                    <a:pt x="109" y="26"/>
                  </a:cubicBezTo>
                  <a:cubicBezTo>
                    <a:pt x="109" y="26"/>
                    <a:pt x="109" y="25"/>
                    <a:pt x="109" y="25"/>
                  </a:cubicBezTo>
                  <a:cubicBezTo>
                    <a:pt x="108" y="25"/>
                    <a:pt x="107" y="25"/>
                    <a:pt x="106" y="25"/>
                  </a:cubicBezTo>
                  <a:cubicBezTo>
                    <a:pt x="108" y="25"/>
                    <a:pt x="111" y="24"/>
                    <a:pt x="113" y="24"/>
                  </a:cubicBezTo>
                  <a:cubicBezTo>
                    <a:pt x="112" y="24"/>
                    <a:pt x="112" y="24"/>
                    <a:pt x="111" y="23"/>
                  </a:cubicBezTo>
                  <a:close/>
                  <a:moveTo>
                    <a:pt x="42" y="45"/>
                  </a:moveTo>
                  <a:cubicBezTo>
                    <a:pt x="42" y="45"/>
                    <a:pt x="42" y="45"/>
                    <a:pt x="42" y="45"/>
                  </a:cubicBezTo>
                  <a:cubicBezTo>
                    <a:pt x="42" y="45"/>
                    <a:pt x="42" y="45"/>
                    <a:pt x="42" y="45"/>
                  </a:cubicBezTo>
                  <a:close/>
                  <a:moveTo>
                    <a:pt x="102" y="17"/>
                  </a:moveTo>
                  <a:cubicBezTo>
                    <a:pt x="102" y="17"/>
                    <a:pt x="102" y="17"/>
                    <a:pt x="102" y="17"/>
                  </a:cubicBezTo>
                  <a:cubicBezTo>
                    <a:pt x="102" y="17"/>
                    <a:pt x="102" y="17"/>
                    <a:pt x="102" y="17"/>
                  </a:cubicBezTo>
                  <a:close/>
                  <a:moveTo>
                    <a:pt x="102" y="17"/>
                  </a:moveTo>
                  <a:cubicBezTo>
                    <a:pt x="102" y="17"/>
                    <a:pt x="102" y="17"/>
                    <a:pt x="102" y="17"/>
                  </a:cubicBezTo>
                  <a:cubicBezTo>
                    <a:pt x="102" y="17"/>
                    <a:pt x="103" y="17"/>
                    <a:pt x="103" y="17"/>
                  </a:cubicBezTo>
                  <a:cubicBezTo>
                    <a:pt x="102" y="17"/>
                    <a:pt x="102" y="17"/>
                    <a:pt x="102" y="17"/>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57" name="Freeform 1808">
              <a:extLst>
                <a:ext uri="{FF2B5EF4-FFF2-40B4-BE49-F238E27FC236}">
                  <a16:creationId xmlns:a16="http://schemas.microsoft.com/office/drawing/2014/main" id="{CD7805B1-1852-4E8F-ACF4-681910183BE9}"/>
                </a:ext>
              </a:extLst>
            </p:cNvPr>
            <p:cNvSpPr>
              <a:spLocks/>
            </p:cNvSpPr>
            <p:nvPr/>
          </p:nvSpPr>
          <p:spPr bwMode="auto">
            <a:xfrm>
              <a:off x="1457" y="2376"/>
              <a:ext cx="9" cy="5"/>
            </a:xfrm>
            <a:custGeom>
              <a:avLst/>
              <a:gdLst>
                <a:gd name="T0" fmla="*/ 0 w 4"/>
                <a:gd name="T1" fmla="*/ 2 h 2"/>
                <a:gd name="T2" fmla="*/ 4 w 4"/>
                <a:gd name="T3" fmla="*/ 0 h 2"/>
                <a:gd name="T4" fmla="*/ 0 w 4"/>
                <a:gd name="T5" fmla="*/ 2 h 2"/>
              </a:gdLst>
              <a:ahLst/>
              <a:cxnLst>
                <a:cxn ang="0">
                  <a:pos x="T0" y="T1"/>
                </a:cxn>
                <a:cxn ang="0">
                  <a:pos x="T2" y="T3"/>
                </a:cxn>
                <a:cxn ang="0">
                  <a:pos x="T4" y="T5"/>
                </a:cxn>
              </a:cxnLst>
              <a:rect l="0" t="0" r="r" b="b"/>
              <a:pathLst>
                <a:path w="4" h="2">
                  <a:moveTo>
                    <a:pt x="0" y="2"/>
                  </a:moveTo>
                  <a:cubicBezTo>
                    <a:pt x="1" y="1"/>
                    <a:pt x="3" y="1"/>
                    <a:pt x="4" y="0"/>
                  </a:cubicBezTo>
                  <a:cubicBezTo>
                    <a:pt x="3" y="0"/>
                    <a:pt x="1"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58" name="Freeform 1809">
              <a:extLst>
                <a:ext uri="{FF2B5EF4-FFF2-40B4-BE49-F238E27FC236}">
                  <a16:creationId xmlns:a16="http://schemas.microsoft.com/office/drawing/2014/main" id="{EC2325FE-6675-4A2E-BA2D-745B73DD4FF5}"/>
                </a:ext>
              </a:extLst>
            </p:cNvPr>
            <p:cNvSpPr>
              <a:spLocks/>
            </p:cNvSpPr>
            <p:nvPr/>
          </p:nvSpPr>
          <p:spPr bwMode="auto">
            <a:xfrm>
              <a:off x="1797" y="375"/>
              <a:ext cx="29" cy="9"/>
            </a:xfrm>
            <a:custGeom>
              <a:avLst/>
              <a:gdLst>
                <a:gd name="T0" fmla="*/ 5 w 12"/>
                <a:gd name="T1" fmla="*/ 3 h 4"/>
                <a:gd name="T2" fmla="*/ 6 w 12"/>
                <a:gd name="T3" fmla="*/ 3 h 4"/>
                <a:gd name="T4" fmla="*/ 12 w 12"/>
                <a:gd name="T5" fmla="*/ 2 h 4"/>
                <a:gd name="T6" fmla="*/ 3 w 12"/>
                <a:gd name="T7" fmla="*/ 0 h 4"/>
                <a:gd name="T8" fmla="*/ 0 w 12"/>
                <a:gd name="T9" fmla="*/ 1 h 4"/>
                <a:gd name="T10" fmla="*/ 4 w 12"/>
                <a:gd name="T11" fmla="*/ 3 h 4"/>
                <a:gd name="T12" fmla="*/ 5 w 12"/>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5" y="3"/>
                  </a:moveTo>
                  <a:cubicBezTo>
                    <a:pt x="5" y="4"/>
                    <a:pt x="6" y="3"/>
                    <a:pt x="6" y="3"/>
                  </a:cubicBezTo>
                  <a:cubicBezTo>
                    <a:pt x="8" y="3"/>
                    <a:pt x="10" y="3"/>
                    <a:pt x="12" y="2"/>
                  </a:cubicBezTo>
                  <a:cubicBezTo>
                    <a:pt x="9" y="1"/>
                    <a:pt x="6" y="1"/>
                    <a:pt x="3" y="0"/>
                  </a:cubicBezTo>
                  <a:cubicBezTo>
                    <a:pt x="2" y="0"/>
                    <a:pt x="1" y="1"/>
                    <a:pt x="0" y="1"/>
                  </a:cubicBezTo>
                  <a:cubicBezTo>
                    <a:pt x="1" y="2"/>
                    <a:pt x="3" y="2"/>
                    <a:pt x="4" y="3"/>
                  </a:cubicBezTo>
                  <a:cubicBezTo>
                    <a:pt x="4" y="3"/>
                    <a:pt x="4" y="3"/>
                    <a:pt x="5"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59" name="Freeform 1810">
              <a:extLst>
                <a:ext uri="{FF2B5EF4-FFF2-40B4-BE49-F238E27FC236}">
                  <a16:creationId xmlns:a16="http://schemas.microsoft.com/office/drawing/2014/main" id="{3B189A6E-C29A-49CD-A34E-F66F49986C84}"/>
                </a:ext>
              </a:extLst>
            </p:cNvPr>
            <p:cNvSpPr>
              <a:spLocks/>
            </p:cNvSpPr>
            <p:nvPr/>
          </p:nvSpPr>
          <p:spPr bwMode="auto">
            <a:xfrm>
              <a:off x="2651" y="910"/>
              <a:ext cx="2" cy="2"/>
            </a:xfrm>
            <a:custGeom>
              <a:avLst/>
              <a:gdLst>
                <a:gd name="T0" fmla="*/ 1 w 1"/>
                <a:gd name="T1" fmla="*/ 0 h 1"/>
                <a:gd name="T2" fmla="*/ 1 w 1"/>
                <a:gd name="T3" fmla="*/ 0 h 1"/>
                <a:gd name="T4" fmla="*/ 1 w 1"/>
                <a:gd name="T5" fmla="*/ 0 h 1"/>
                <a:gd name="T6" fmla="*/ 0 w 1"/>
                <a:gd name="T7" fmla="*/ 1 h 1"/>
                <a:gd name="T8" fmla="*/ 1 w 1"/>
                <a:gd name="T9" fmla="*/ 0 h 1"/>
                <a:gd name="T10" fmla="*/ 1 w 1"/>
                <a:gd name="T11" fmla="*/ 0 h 1"/>
                <a:gd name="T12" fmla="*/ 1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cubicBezTo>
                    <a:pt x="1" y="0"/>
                    <a:pt x="1" y="0"/>
                    <a:pt x="1" y="0"/>
                  </a:cubicBezTo>
                  <a:cubicBezTo>
                    <a:pt x="1" y="0"/>
                    <a:pt x="1" y="0"/>
                    <a:pt x="1" y="0"/>
                  </a:cubicBezTo>
                  <a:cubicBezTo>
                    <a:pt x="1" y="0"/>
                    <a:pt x="0" y="0"/>
                    <a:pt x="0" y="1"/>
                  </a:cubicBezTo>
                  <a:cubicBezTo>
                    <a:pt x="0" y="1"/>
                    <a:pt x="1" y="1"/>
                    <a:pt x="1" y="0"/>
                  </a:cubicBezTo>
                  <a:cubicBezTo>
                    <a:pt x="1" y="0"/>
                    <a:pt x="1" y="0"/>
                    <a:pt x="1" y="0"/>
                  </a:cubicBezTo>
                  <a:cubicBezTo>
                    <a:pt x="1" y="0"/>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60" name="Freeform 1811">
              <a:extLst>
                <a:ext uri="{FF2B5EF4-FFF2-40B4-BE49-F238E27FC236}">
                  <a16:creationId xmlns:a16="http://schemas.microsoft.com/office/drawing/2014/main" id="{C95CC4B4-05B5-4E22-BA83-0273B7B8F681}"/>
                </a:ext>
              </a:extLst>
            </p:cNvPr>
            <p:cNvSpPr>
              <a:spLocks/>
            </p:cNvSpPr>
            <p:nvPr/>
          </p:nvSpPr>
          <p:spPr bwMode="auto">
            <a:xfrm>
              <a:off x="2398" y="86"/>
              <a:ext cx="78" cy="38"/>
            </a:xfrm>
            <a:custGeom>
              <a:avLst/>
              <a:gdLst>
                <a:gd name="T0" fmla="*/ 26 w 33"/>
                <a:gd name="T1" fmla="*/ 15 h 16"/>
                <a:gd name="T2" fmla="*/ 30 w 33"/>
                <a:gd name="T3" fmla="*/ 15 h 16"/>
                <a:gd name="T4" fmla="*/ 28 w 33"/>
                <a:gd name="T5" fmla="*/ 13 h 16"/>
                <a:gd name="T6" fmla="*/ 28 w 33"/>
                <a:gd name="T7" fmla="*/ 11 h 16"/>
                <a:gd name="T8" fmla="*/ 33 w 33"/>
                <a:gd name="T9" fmla="*/ 8 h 16"/>
                <a:gd name="T10" fmla="*/ 30 w 33"/>
                <a:gd name="T11" fmla="*/ 6 h 16"/>
                <a:gd name="T12" fmla="*/ 27 w 33"/>
                <a:gd name="T13" fmla="*/ 4 h 16"/>
                <a:gd name="T14" fmla="*/ 19 w 33"/>
                <a:gd name="T15" fmla="*/ 2 h 16"/>
                <a:gd name="T16" fmla="*/ 15 w 33"/>
                <a:gd name="T17" fmla="*/ 0 h 16"/>
                <a:gd name="T18" fmla="*/ 9 w 33"/>
                <a:gd name="T19" fmla="*/ 0 h 16"/>
                <a:gd name="T20" fmla="*/ 9 w 33"/>
                <a:gd name="T21" fmla="*/ 1 h 16"/>
                <a:gd name="T22" fmla="*/ 5 w 33"/>
                <a:gd name="T23" fmla="*/ 1 h 16"/>
                <a:gd name="T24" fmla="*/ 0 w 33"/>
                <a:gd name="T25" fmla="*/ 1 h 16"/>
                <a:gd name="T26" fmla="*/ 4 w 33"/>
                <a:gd name="T27" fmla="*/ 4 h 16"/>
                <a:gd name="T28" fmla="*/ 26 w 33"/>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16">
                  <a:moveTo>
                    <a:pt x="26" y="15"/>
                  </a:moveTo>
                  <a:cubicBezTo>
                    <a:pt x="27" y="16"/>
                    <a:pt x="29" y="16"/>
                    <a:pt x="30" y="15"/>
                  </a:cubicBezTo>
                  <a:cubicBezTo>
                    <a:pt x="30" y="14"/>
                    <a:pt x="28" y="13"/>
                    <a:pt x="28" y="13"/>
                  </a:cubicBezTo>
                  <a:cubicBezTo>
                    <a:pt x="26" y="12"/>
                    <a:pt x="27" y="12"/>
                    <a:pt x="28" y="11"/>
                  </a:cubicBezTo>
                  <a:cubicBezTo>
                    <a:pt x="29" y="9"/>
                    <a:pt x="31" y="9"/>
                    <a:pt x="33" y="8"/>
                  </a:cubicBezTo>
                  <a:cubicBezTo>
                    <a:pt x="33" y="7"/>
                    <a:pt x="31" y="6"/>
                    <a:pt x="30" y="6"/>
                  </a:cubicBezTo>
                  <a:cubicBezTo>
                    <a:pt x="29" y="5"/>
                    <a:pt x="28" y="5"/>
                    <a:pt x="27" y="4"/>
                  </a:cubicBezTo>
                  <a:cubicBezTo>
                    <a:pt x="25" y="3"/>
                    <a:pt x="22" y="3"/>
                    <a:pt x="19" y="2"/>
                  </a:cubicBezTo>
                  <a:cubicBezTo>
                    <a:pt x="18" y="1"/>
                    <a:pt x="16" y="1"/>
                    <a:pt x="15" y="0"/>
                  </a:cubicBezTo>
                  <a:cubicBezTo>
                    <a:pt x="13" y="0"/>
                    <a:pt x="10" y="0"/>
                    <a:pt x="9" y="0"/>
                  </a:cubicBezTo>
                  <a:cubicBezTo>
                    <a:pt x="9" y="1"/>
                    <a:pt x="9" y="1"/>
                    <a:pt x="9" y="1"/>
                  </a:cubicBezTo>
                  <a:cubicBezTo>
                    <a:pt x="8" y="1"/>
                    <a:pt x="6" y="1"/>
                    <a:pt x="5" y="1"/>
                  </a:cubicBezTo>
                  <a:cubicBezTo>
                    <a:pt x="4" y="1"/>
                    <a:pt x="1" y="1"/>
                    <a:pt x="0" y="1"/>
                  </a:cubicBezTo>
                  <a:cubicBezTo>
                    <a:pt x="2" y="2"/>
                    <a:pt x="3" y="4"/>
                    <a:pt x="4" y="4"/>
                  </a:cubicBezTo>
                  <a:cubicBezTo>
                    <a:pt x="12" y="8"/>
                    <a:pt x="19" y="12"/>
                    <a:pt x="26" y="1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61" name="Freeform 1812">
              <a:extLst>
                <a:ext uri="{FF2B5EF4-FFF2-40B4-BE49-F238E27FC236}">
                  <a16:creationId xmlns:a16="http://schemas.microsoft.com/office/drawing/2014/main" id="{A9045D53-BD9C-44FE-97C1-E3004344517A}"/>
                </a:ext>
              </a:extLst>
            </p:cNvPr>
            <p:cNvSpPr>
              <a:spLocks/>
            </p:cNvSpPr>
            <p:nvPr/>
          </p:nvSpPr>
          <p:spPr bwMode="auto">
            <a:xfrm>
              <a:off x="2261" y="107"/>
              <a:ext cx="52" cy="19"/>
            </a:xfrm>
            <a:custGeom>
              <a:avLst/>
              <a:gdLst>
                <a:gd name="T0" fmla="*/ 1 w 22"/>
                <a:gd name="T1" fmla="*/ 4 h 8"/>
                <a:gd name="T2" fmla="*/ 9 w 22"/>
                <a:gd name="T3" fmla="*/ 7 h 8"/>
                <a:gd name="T4" fmla="*/ 22 w 22"/>
                <a:gd name="T5" fmla="*/ 8 h 8"/>
                <a:gd name="T6" fmla="*/ 17 w 22"/>
                <a:gd name="T7" fmla="*/ 5 h 8"/>
                <a:gd name="T8" fmla="*/ 10 w 22"/>
                <a:gd name="T9" fmla="*/ 3 h 8"/>
                <a:gd name="T10" fmla="*/ 3 w 22"/>
                <a:gd name="T11" fmla="*/ 0 h 8"/>
                <a:gd name="T12" fmla="*/ 0 w 22"/>
                <a:gd name="T13" fmla="*/ 3 h 8"/>
                <a:gd name="T14" fmla="*/ 1 w 22"/>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8">
                  <a:moveTo>
                    <a:pt x="1" y="4"/>
                  </a:moveTo>
                  <a:cubicBezTo>
                    <a:pt x="2" y="7"/>
                    <a:pt x="6" y="6"/>
                    <a:pt x="9" y="7"/>
                  </a:cubicBezTo>
                  <a:cubicBezTo>
                    <a:pt x="13" y="7"/>
                    <a:pt x="18" y="8"/>
                    <a:pt x="22" y="8"/>
                  </a:cubicBezTo>
                  <a:cubicBezTo>
                    <a:pt x="20" y="7"/>
                    <a:pt x="19" y="6"/>
                    <a:pt x="17" y="5"/>
                  </a:cubicBezTo>
                  <a:cubicBezTo>
                    <a:pt x="14" y="4"/>
                    <a:pt x="12" y="4"/>
                    <a:pt x="10" y="3"/>
                  </a:cubicBezTo>
                  <a:cubicBezTo>
                    <a:pt x="7" y="2"/>
                    <a:pt x="5" y="0"/>
                    <a:pt x="3" y="0"/>
                  </a:cubicBezTo>
                  <a:cubicBezTo>
                    <a:pt x="2" y="0"/>
                    <a:pt x="0" y="2"/>
                    <a:pt x="0" y="3"/>
                  </a:cubicBezTo>
                  <a:cubicBezTo>
                    <a:pt x="0" y="3"/>
                    <a:pt x="0" y="3"/>
                    <a:pt x="1"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62" name="Freeform 1813">
              <a:extLst>
                <a:ext uri="{FF2B5EF4-FFF2-40B4-BE49-F238E27FC236}">
                  <a16:creationId xmlns:a16="http://schemas.microsoft.com/office/drawing/2014/main" id="{2A797DC6-734C-462F-948F-3891D1300DD9}"/>
                </a:ext>
              </a:extLst>
            </p:cNvPr>
            <p:cNvSpPr>
              <a:spLocks/>
            </p:cNvSpPr>
            <p:nvPr/>
          </p:nvSpPr>
          <p:spPr bwMode="auto">
            <a:xfrm>
              <a:off x="2220" y="706"/>
              <a:ext cx="10" cy="5"/>
            </a:xfrm>
            <a:custGeom>
              <a:avLst/>
              <a:gdLst>
                <a:gd name="T0" fmla="*/ 4 w 4"/>
                <a:gd name="T1" fmla="*/ 2 h 2"/>
                <a:gd name="T2" fmla="*/ 0 w 4"/>
                <a:gd name="T3" fmla="*/ 0 h 2"/>
                <a:gd name="T4" fmla="*/ 4 w 4"/>
                <a:gd name="T5" fmla="*/ 2 h 2"/>
              </a:gdLst>
              <a:ahLst/>
              <a:cxnLst>
                <a:cxn ang="0">
                  <a:pos x="T0" y="T1"/>
                </a:cxn>
                <a:cxn ang="0">
                  <a:pos x="T2" y="T3"/>
                </a:cxn>
                <a:cxn ang="0">
                  <a:pos x="T4" y="T5"/>
                </a:cxn>
              </a:cxnLst>
              <a:rect l="0" t="0" r="r" b="b"/>
              <a:pathLst>
                <a:path w="4" h="2">
                  <a:moveTo>
                    <a:pt x="4" y="2"/>
                  </a:moveTo>
                  <a:cubicBezTo>
                    <a:pt x="3" y="1"/>
                    <a:pt x="1" y="0"/>
                    <a:pt x="0" y="0"/>
                  </a:cubicBezTo>
                  <a:cubicBezTo>
                    <a:pt x="1" y="2"/>
                    <a:pt x="1" y="2"/>
                    <a:pt x="4"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63" name="Freeform 1814">
              <a:extLst>
                <a:ext uri="{FF2B5EF4-FFF2-40B4-BE49-F238E27FC236}">
                  <a16:creationId xmlns:a16="http://schemas.microsoft.com/office/drawing/2014/main" id="{917EED64-2AB1-42D7-A8D1-71E053BB4554}"/>
                </a:ext>
              </a:extLst>
            </p:cNvPr>
            <p:cNvSpPr>
              <a:spLocks/>
            </p:cNvSpPr>
            <p:nvPr/>
          </p:nvSpPr>
          <p:spPr bwMode="auto">
            <a:xfrm>
              <a:off x="2563" y="933"/>
              <a:ext cx="14" cy="21"/>
            </a:xfrm>
            <a:custGeom>
              <a:avLst/>
              <a:gdLst>
                <a:gd name="T0" fmla="*/ 3 w 6"/>
                <a:gd name="T1" fmla="*/ 8 h 9"/>
                <a:gd name="T2" fmla="*/ 6 w 6"/>
                <a:gd name="T3" fmla="*/ 9 h 9"/>
                <a:gd name="T4" fmla="*/ 5 w 6"/>
                <a:gd name="T5" fmla="*/ 7 h 9"/>
                <a:gd name="T6" fmla="*/ 4 w 6"/>
                <a:gd name="T7" fmla="*/ 6 h 9"/>
                <a:gd name="T8" fmla="*/ 3 w 6"/>
                <a:gd name="T9" fmla="*/ 6 h 9"/>
                <a:gd name="T10" fmla="*/ 3 w 6"/>
                <a:gd name="T11" fmla="*/ 5 h 9"/>
                <a:gd name="T12" fmla="*/ 3 w 6"/>
                <a:gd name="T13" fmla="*/ 5 h 9"/>
                <a:gd name="T14" fmla="*/ 3 w 6"/>
                <a:gd name="T15" fmla="*/ 4 h 9"/>
                <a:gd name="T16" fmla="*/ 3 w 6"/>
                <a:gd name="T17" fmla="*/ 4 h 9"/>
                <a:gd name="T18" fmla="*/ 3 w 6"/>
                <a:gd name="T19" fmla="*/ 3 h 9"/>
                <a:gd name="T20" fmla="*/ 3 w 6"/>
                <a:gd name="T21" fmla="*/ 2 h 9"/>
                <a:gd name="T22" fmla="*/ 1 w 6"/>
                <a:gd name="T23" fmla="*/ 1 h 9"/>
                <a:gd name="T24" fmla="*/ 1 w 6"/>
                <a:gd name="T25" fmla="*/ 1 h 9"/>
                <a:gd name="T26" fmla="*/ 0 w 6"/>
                <a:gd name="T27" fmla="*/ 1 h 9"/>
                <a:gd name="T28" fmla="*/ 0 w 6"/>
                <a:gd name="T29" fmla="*/ 2 h 9"/>
                <a:gd name="T30" fmla="*/ 2 w 6"/>
                <a:gd name="T31" fmla="*/ 5 h 9"/>
                <a:gd name="T32" fmla="*/ 2 w 6"/>
                <a:gd name="T33" fmla="*/ 5 h 9"/>
                <a:gd name="T34" fmla="*/ 2 w 6"/>
                <a:gd name="T35" fmla="*/ 5 h 9"/>
                <a:gd name="T36" fmla="*/ 3 w 6"/>
                <a:gd name="T3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9">
                  <a:moveTo>
                    <a:pt x="3" y="8"/>
                  </a:moveTo>
                  <a:cubicBezTo>
                    <a:pt x="4" y="8"/>
                    <a:pt x="5" y="9"/>
                    <a:pt x="6" y="9"/>
                  </a:cubicBezTo>
                  <a:cubicBezTo>
                    <a:pt x="6" y="8"/>
                    <a:pt x="6" y="7"/>
                    <a:pt x="5" y="7"/>
                  </a:cubicBezTo>
                  <a:cubicBezTo>
                    <a:pt x="5" y="7"/>
                    <a:pt x="4" y="7"/>
                    <a:pt x="4" y="6"/>
                  </a:cubicBezTo>
                  <a:cubicBezTo>
                    <a:pt x="3" y="6"/>
                    <a:pt x="3" y="6"/>
                    <a:pt x="3" y="6"/>
                  </a:cubicBezTo>
                  <a:cubicBezTo>
                    <a:pt x="3" y="6"/>
                    <a:pt x="3" y="5"/>
                    <a:pt x="3" y="5"/>
                  </a:cubicBezTo>
                  <a:cubicBezTo>
                    <a:pt x="3" y="5"/>
                    <a:pt x="3" y="5"/>
                    <a:pt x="3" y="5"/>
                  </a:cubicBezTo>
                  <a:cubicBezTo>
                    <a:pt x="3" y="4"/>
                    <a:pt x="3" y="4"/>
                    <a:pt x="3" y="4"/>
                  </a:cubicBezTo>
                  <a:cubicBezTo>
                    <a:pt x="3" y="4"/>
                    <a:pt x="3" y="4"/>
                    <a:pt x="3" y="4"/>
                  </a:cubicBezTo>
                  <a:cubicBezTo>
                    <a:pt x="3" y="4"/>
                    <a:pt x="3" y="3"/>
                    <a:pt x="3" y="3"/>
                  </a:cubicBezTo>
                  <a:cubicBezTo>
                    <a:pt x="3" y="3"/>
                    <a:pt x="3" y="2"/>
                    <a:pt x="3" y="2"/>
                  </a:cubicBezTo>
                  <a:cubicBezTo>
                    <a:pt x="2" y="1"/>
                    <a:pt x="2" y="1"/>
                    <a:pt x="1" y="1"/>
                  </a:cubicBezTo>
                  <a:cubicBezTo>
                    <a:pt x="1" y="1"/>
                    <a:pt x="1" y="1"/>
                    <a:pt x="1" y="1"/>
                  </a:cubicBezTo>
                  <a:cubicBezTo>
                    <a:pt x="1" y="1"/>
                    <a:pt x="0" y="0"/>
                    <a:pt x="0" y="1"/>
                  </a:cubicBezTo>
                  <a:cubicBezTo>
                    <a:pt x="0" y="1"/>
                    <a:pt x="0" y="1"/>
                    <a:pt x="0" y="2"/>
                  </a:cubicBezTo>
                  <a:cubicBezTo>
                    <a:pt x="0" y="3"/>
                    <a:pt x="1" y="4"/>
                    <a:pt x="2" y="5"/>
                  </a:cubicBezTo>
                  <a:cubicBezTo>
                    <a:pt x="2" y="5"/>
                    <a:pt x="2" y="5"/>
                    <a:pt x="2" y="5"/>
                  </a:cubicBezTo>
                  <a:cubicBezTo>
                    <a:pt x="2" y="5"/>
                    <a:pt x="2" y="5"/>
                    <a:pt x="2" y="5"/>
                  </a:cubicBezTo>
                  <a:cubicBezTo>
                    <a:pt x="2" y="6"/>
                    <a:pt x="3" y="7"/>
                    <a:pt x="3" y="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64" name="Freeform 1815">
              <a:extLst>
                <a:ext uri="{FF2B5EF4-FFF2-40B4-BE49-F238E27FC236}">
                  <a16:creationId xmlns:a16="http://schemas.microsoft.com/office/drawing/2014/main" id="{ABD152E7-DE5B-4DCB-A8EF-6EB4A5BA05B8}"/>
                </a:ext>
              </a:extLst>
            </p:cNvPr>
            <p:cNvSpPr>
              <a:spLocks/>
            </p:cNvSpPr>
            <p:nvPr/>
          </p:nvSpPr>
          <p:spPr bwMode="auto">
            <a:xfrm>
              <a:off x="2218" y="713"/>
              <a:ext cx="80" cy="45"/>
            </a:xfrm>
            <a:custGeom>
              <a:avLst/>
              <a:gdLst>
                <a:gd name="T0" fmla="*/ 32 w 34"/>
                <a:gd name="T1" fmla="*/ 9 h 19"/>
                <a:gd name="T2" fmla="*/ 25 w 34"/>
                <a:gd name="T3" fmla="*/ 7 h 19"/>
                <a:gd name="T4" fmla="*/ 21 w 34"/>
                <a:gd name="T5" fmla="*/ 4 h 19"/>
                <a:gd name="T6" fmla="*/ 10 w 34"/>
                <a:gd name="T7" fmla="*/ 0 h 19"/>
                <a:gd name="T8" fmla="*/ 3 w 34"/>
                <a:gd name="T9" fmla="*/ 2 h 19"/>
                <a:gd name="T10" fmla="*/ 6 w 34"/>
                <a:gd name="T11" fmla="*/ 6 h 19"/>
                <a:gd name="T12" fmla="*/ 9 w 34"/>
                <a:gd name="T13" fmla="*/ 7 h 19"/>
                <a:gd name="T14" fmla="*/ 3 w 34"/>
                <a:gd name="T15" fmla="*/ 7 h 19"/>
                <a:gd name="T16" fmla="*/ 5 w 34"/>
                <a:gd name="T17" fmla="*/ 10 h 19"/>
                <a:gd name="T18" fmla="*/ 7 w 34"/>
                <a:gd name="T19" fmla="*/ 11 h 19"/>
                <a:gd name="T20" fmla="*/ 2 w 34"/>
                <a:gd name="T21" fmla="*/ 12 h 19"/>
                <a:gd name="T22" fmla="*/ 8 w 34"/>
                <a:gd name="T23" fmla="*/ 13 h 19"/>
                <a:gd name="T24" fmla="*/ 12 w 34"/>
                <a:gd name="T25" fmla="*/ 14 h 19"/>
                <a:gd name="T26" fmla="*/ 13 w 34"/>
                <a:gd name="T27" fmla="*/ 15 h 19"/>
                <a:gd name="T28" fmla="*/ 13 w 34"/>
                <a:gd name="T29" fmla="*/ 15 h 19"/>
                <a:gd name="T30" fmla="*/ 18 w 34"/>
                <a:gd name="T31" fmla="*/ 16 h 19"/>
                <a:gd name="T32" fmla="*/ 12 w 34"/>
                <a:gd name="T33" fmla="*/ 16 h 19"/>
                <a:gd name="T34" fmla="*/ 10 w 34"/>
                <a:gd name="T35" fmla="*/ 18 h 19"/>
                <a:gd name="T36" fmla="*/ 11 w 34"/>
                <a:gd name="T37" fmla="*/ 18 h 19"/>
                <a:gd name="T38" fmla="*/ 13 w 34"/>
                <a:gd name="T39" fmla="*/ 19 h 19"/>
                <a:gd name="T40" fmla="*/ 18 w 34"/>
                <a:gd name="T41" fmla="*/ 19 h 19"/>
                <a:gd name="T42" fmla="*/ 29 w 34"/>
                <a:gd name="T43" fmla="*/ 16 h 19"/>
                <a:gd name="T44" fmla="*/ 33 w 34"/>
                <a:gd name="T45" fmla="*/ 13 h 19"/>
                <a:gd name="T46" fmla="*/ 32 w 34"/>
                <a:gd name="T47" fmla="*/ 11 h 19"/>
                <a:gd name="T48" fmla="*/ 32 w 34"/>
                <a:gd name="T49"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19">
                  <a:moveTo>
                    <a:pt x="32" y="9"/>
                  </a:moveTo>
                  <a:cubicBezTo>
                    <a:pt x="31" y="8"/>
                    <a:pt x="27" y="8"/>
                    <a:pt x="25" y="7"/>
                  </a:cubicBezTo>
                  <a:cubicBezTo>
                    <a:pt x="24" y="6"/>
                    <a:pt x="23" y="5"/>
                    <a:pt x="21" y="4"/>
                  </a:cubicBezTo>
                  <a:cubicBezTo>
                    <a:pt x="19" y="1"/>
                    <a:pt x="13" y="0"/>
                    <a:pt x="10" y="0"/>
                  </a:cubicBezTo>
                  <a:cubicBezTo>
                    <a:pt x="8" y="0"/>
                    <a:pt x="3" y="0"/>
                    <a:pt x="3" y="2"/>
                  </a:cubicBezTo>
                  <a:cubicBezTo>
                    <a:pt x="3" y="4"/>
                    <a:pt x="4" y="5"/>
                    <a:pt x="6" y="6"/>
                  </a:cubicBezTo>
                  <a:cubicBezTo>
                    <a:pt x="7" y="6"/>
                    <a:pt x="8" y="6"/>
                    <a:pt x="9" y="7"/>
                  </a:cubicBezTo>
                  <a:cubicBezTo>
                    <a:pt x="8" y="7"/>
                    <a:pt x="2" y="5"/>
                    <a:pt x="3" y="7"/>
                  </a:cubicBezTo>
                  <a:cubicBezTo>
                    <a:pt x="3" y="9"/>
                    <a:pt x="4" y="9"/>
                    <a:pt x="5" y="10"/>
                  </a:cubicBezTo>
                  <a:cubicBezTo>
                    <a:pt x="6" y="10"/>
                    <a:pt x="7" y="11"/>
                    <a:pt x="7" y="11"/>
                  </a:cubicBezTo>
                  <a:cubicBezTo>
                    <a:pt x="6" y="11"/>
                    <a:pt x="0" y="9"/>
                    <a:pt x="2" y="12"/>
                  </a:cubicBezTo>
                  <a:cubicBezTo>
                    <a:pt x="4" y="12"/>
                    <a:pt x="6" y="13"/>
                    <a:pt x="8" y="13"/>
                  </a:cubicBezTo>
                  <a:cubicBezTo>
                    <a:pt x="9" y="14"/>
                    <a:pt x="11" y="14"/>
                    <a:pt x="12" y="14"/>
                  </a:cubicBezTo>
                  <a:cubicBezTo>
                    <a:pt x="10" y="15"/>
                    <a:pt x="13" y="15"/>
                    <a:pt x="13" y="15"/>
                  </a:cubicBezTo>
                  <a:cubicBezTo>
                    <a:pt x="13" y="15"/>
                    <a:pt x="13" y="15"/>
                    <a:pt x="13" y="15"/>
                  </a:cubicBezTo>
                  <a:cubicBezTo>
                    <a:pt x="14" y="16"/>
                    <a:pt x="16" y="15"/>
                    <a:pt x="18" y="16"/>
                  </a:cubicBezTo>
                  <a:cubicBezTo>
                    <a:pt x="16" y="16"/>
                    <a:pt x="13" y="16"/>
                    <a:pt x="12" y="16"/>
                  </a:cubicBezTo>
                  <a:cubicBezTo>
                    <a:pt x="10" y="16"/>
                    <a:pt x="7" y="16"/>
                    <a:pt x="10" y="18"/>
                  </a:cubicBezTo>
                  <a:cubicBezTo>
                    <a:pt x="10" y="18"/>
                    <a:pt x="11" y="18"/>
                    <a:pt x="11" y="18"/>
                  </a:cubicBezTo>
                  <a:cubicBezTo>
                    <a:pt x="12" y="18"/>
                    <a:pt x="12" y="18"/>
                    <a:pt x="13" y="19"/>
                  </a:cubicBezTo>
                  <a:cubicBezTo>
                    <a:pt x="14" y="19"/>
                    <a:pt x="16" y="19"/>
                    <a:pt x="18" y="19"/>
                  </a:cubicBezTo>
                  <a:cubicBezTo>
                    <a:pt x="21" y="18"/>
                    <a:pt x="25" y="17"/>
                    <a:pt x="29" y="16"/>
                  </a:cubicBezTo>
                  <a:cubicBezTo>
                    <a:pt x="30" y="15"/>
                    <a:pt x="32" y="14"/>
                    <a:pt x="33" y="13"/>
                  </a:cubicBezTo>
                  <a:cubicBezTo>
                    <a:pt x="34" y="12"/>
                    <a:pt x="31" y="12"/>
                    <a:pt x="32" y="11"/>
                  </a:cubicBezTo>
                  <a:cubicBezTo>
                    <a:pt x="32" y="10"/>
                    <a:pt x="33" y="10"/>
                    <a:pt x="32" y="9"/>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65" name="Freeform 1816">
              <a:extLst>
                <a:ext uri="{FF2B5EF4-FFF2-40B4-BE49-F238E27FC236}">
                  <a16:creationId xmlns:a16="http://schemas.microsoft.com/office/drawing/2014/main" id="{2DCDC522-999F-42C5-B830-F1B0CCE818D3}"/>
                </a:ext>
              </a:extLst>
            </p:cNvPr>
            <p:cNvSpPr>
              <a:spLocks/>
            </p:cNvSpPr>
            <p:nvPr/>
          </p:nvSpPr>
          <p:spPr bwMode="auto">
            <a:xfrm>
              <a:off x="2558" y="959"/>
              <a:ext cx="10" cy="5"/>
            </a:xfrm>
            <a:custGeom>
              <a:avLst/>
              <a:gdLst>
                <a:gd name="T0" fmla="*/ 2 w 4"/>
                <a:gd name="T1" fmla="*/ 0 h 2"/>
                <a:gd name="T2" fmla="*/ 2 w 4"/>
                <a:gd name="T3" fmla="*/ 0 h 2"/>
                <a:gd name="T4" fmla="*/ 0 w 4"/>
                <a:gd name="T5" fmla="*/ 2 h 2"/>
                <a:gd name="T6" fmla="*/ 2 w 4"/>
                <a:gd name="T7" fmla="*/ 2 h 2"/>
                <a:gd name="T8" fmla="*/ 3 w 4"/>
                <a:gd name="T9" fmla="*/ 2 h 2"/>
                <a:gd name="T10" fmla="*/ 4 w 4"/>
                <a:gd name="T11" fmla="*/ 2 h 2"/>
                <a:gd name="T12" fmla="*/ 2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2" y="0"/>
                  </a:moveTo>
                  <a:cubicBezTo>
                    <a:pt x="2" y="0"/>
                    <a:pt x="2" y="0"/>
                    <a:pt x="2" y="0"/>
                  </a:cubicBezTo>
                  <a:cubicBezTo>
                    <a:pt x="1" y="0"/>
                    <a:pt x="1" y="1"/>
                    <a:pt x="0" y="2"/>
                  </a:cubicBezTo>
                  <a:cubicBezTo>
                    <a:pt x="1" y="2"/>
                    <a:pt x="1" y="2"/>
                    <a:pt x="2" y="2"/>
                  </a:cubicBezTo>
                  <a:cubicBezTo>
                    <a:pt x="2" y="2"/>
                    <a:pt x="3" y="2"/>
                    <a:pt x="3" y="2"/>
                  </a:cubicBezTo>
                  <a:cubicBezTo>
                    <a:pt x="3" y="2"/>
                    <a:pt x="4" y="2"/>
                    <a:pt x="4" y="2"/>
                  </a:cubicBezTo>
                  <a:cubicBezTo>
                    <a:pt x="3" y="1"/>
                    <a:pt x="3" y="1"/>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66" name="Freeform 1817">
              <a:extLst>
                <a:ext uri="{FF2B5EF4-FFF2-40B4-BE49-F238E27FC236}">
                  <a16:creationId xmlns:a16="http://schemas.microsoft.com/office/drawing/2014/main" id="{D6E7D8CB-F040-4D7D-81C7-B3083DF15EF0}"/>
                </a:ext>
              </a:extLst>
            </p:cNvPr>
            <p:cNvSpPr>
              <a:spLocks/>
            </p:cNvSpPr>
            <p:nvPr/>
          </p:nvSpPr>
          <p:spPr bwMode="auto">
            <a:xfrm>
              <a:off x="2476" y="1118"/>
              <a:ext cx="4" cy="4"/>
            </a:xfrm>
            <a:custGeom>
              <a:avLst/>
              <a:gdLst>
                <a:gd name="T0" fmla="*/ 2 w 2"/>
                <a:gd name="T1" fmla="*/ 0 h 2"/>
                <a:gd name="T2" fmla="*/ 2 w 2"/>
                <a:gd name="T3" fmla="*/ 0 h 2"/>
                <a:gd name="T4" fmla="*/ 1 w 2"/>
                <a:gd name="T5" fmla="*/ 0 h 2"/>
                <a:gd name="T6" fmla="*/ 1 w 2"/>
                <a:gd name="T7" fmla="*/ 0 h 2"/>
                <a:gd name="T8" fmla="*/ 0 w 2"/>
                <a:gd name="T9" fmla="*/ 1 h 2"/>
                <a:gd name="T10" fmla="*/ 0 w 2"/>
                <a:gd name="T11" fmla="*/ 2 h 2"/>
                <a:gd name="T12" fmla="*/ 1 w 2"/>
                <a:gd name="T13" fmla="*/ 1 h 2"/>
                <a:gd name="T14" fmla="*/ 2 w 2"/>
                <a:gd name="T15" fmla="*/ 1 h 2"/>
                <a:gd name="T16" fmla="*/ 2 w 2"/>
                <a:gd name="T17" fmla="*/ 1 h 2"/>
                <a:gd name="T18" fmla="*/ 2 w 2"/>
                <a:gd name="T19" fmla="*/ 1 h 2"/>
                <a:gd name="T20" fmla="*/ 2 w 2"/>
                <a:gd name="T21" fmla="*/ 0 h 2"/>
                <a:gd name="T22" fmla="*/ 2 w 2"/>
                <a:gd name="T23" fmla="*/ 0 h 2"/>
                <a:gd name="T24" fmla="*/ 2 w 2"/>
                <a:gd name="T25" fmla="*/ 0 h 2"/>
                <a:gd name="T26" fmla="*/ 2 w 2"/>
                <a:gd name="T27" fmla="*/ 0 h 2"/>
                <a:gd name="T28" fmla="*/ 2 w 2"/>
                <a:gd name="T2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
                  <a:moveTo>
                    <a:pt x="2" y="0"/>
                  </a:moveTo>
                  <a:cubicBezTo>
                    <a:pt x="2" y="0"/>
                    <a:pt x="2" y="0"/>
                    <a:pt x="2" y="0"/>
                  </a:cubicBezTo>
                  <a:cubicBezTo>
                    <a:pt x="1" y="0"/>
                    <a:pt x="1" y="0"/>
                    <a:pt x="1" y="0"/>
                  </a:cubicBezTo>
                  <a:cubicBezTo>
                    <a:pt x="1" y="0"/>
                    <a:pt x="1" y="0"/>
                    <a:pt x="1" y="0"/>
                  </a:cubicBezTo>
                  <a:cubicBezTo>
                    <a:pt x="0" y="0"/>
                    <a:pt x="0" y="1"/>
                    <a:pt x="0" y="1"/>
                  </a:cubicBezTo>
                  <a:cubicBezTo>
                    <a:pt x="0" y="1"/>
                    <a:pt x="0" y="1"/>
                    <a:pt x="0" y="2"/>
                  </a:cubicBezTo>
                  <a:cubicBezTo>
                    <a:pt x="1" y="1"/>
                    <a:pt x="1" y="1"/>
                    <a:pt x="1" y="1"/>
                  </a:cubicBezTo>
                  <a:cubicBezTo>
                    <a:pt x="1" y="1"/>
                    <a:pt x="2" y="1"/>
                    <a:pt x="2" y="1"/>
                  </a:cubicBezTo>
                  <a:cubicBezTo>
                    <a:pt x="2" y="1"/>
                    <a:pt x="2" y="1"/>
                    <a:pt x="2" y="1"/>
                  </a:cubicBezTo>
                  <a:cubicBezTo>
                    <a:pt x="2" y="1"/>
                    <a:pt x="2" y="1"/>
                    <a:pt x="2" y="1"/>
                  </a:cubicBezTo>
                  <a:cubicBezTo>
                    <a:pt x="2" y="1"/>
                    <a:pt x="2" y="1"/>
                    <a:pt x="2" y="0"/>
                  </a:cubicBezTo>
                  <a:cubicBezTo>
                    <a:pt x="2" y="0"/>
                    <a:pt x="2" y="0"/>
                    <a:pt x="2" y="0"/>
                  </a:cubicBezTo>
                  <a:cubicBezTo>
                    <a:pt x="2" y="0"/>
                    <a:pt x="2" y="0"/>
                    <a:pt x="2" y="0"/>
                  </a:cubicBezTo>
                  <a:cubicBezTo>
                    <a:pt x="2" y="0"/>
                    <a:pt x="2" y="0"/>
                    <a:pt x="2" y="0"/>
                  </a:cubicBezTo>
                  <a:cubicBezTo>
                    <a:pt x="2" y="0"/>
                    <a:pt x="2" y="0"/>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67" name="Freeform 1818">
              <a:extLst>
                <a:ext uri="{FF2B5EF4-FFF2-40B4-BE49-F238E27FC236}">
                  <a16:creationId xmlns:a16="http://schemas.microsoft.com/office/drawing/2014/main" id="{26C9921F-83FD-4600-B166-AF35BE405A52}"/>
                </a:ext>
              </a:extLst>
            </p:cNvPr>
            <p:cNvSpPr>
              <a:spLocks/>
            </p:cNvSpPr>
            <p:nvPr/>
          </p:nvSpPr>
          <p:spPr bwMode="auto">
            <a:xfrm>
              <a:off x="2528" y="1025"/>
              <a:ext cx="2" cy="3"/>
            </a:xfrm>
            <a:custGeom>
              <a:avLst/>
              <a:gdLst>
                <a:gd name="T0" fmla="*/ 0 w 1"/>
                <a:gd name="T1" fmla="*/ 0 h 1"/>
                <a:gd name="T2" fmla="*/ 0 w 1"/>
                <a:gd name="T3" fmla="*/ 1 h 1"/>
                <a:gd name="T4" fmla="*/ 1 w 1"/>
                <a:gd name="T5" fmla="*/ 1 h 1"/>
                <a:gd name="T6" fmla="*/ 1 w 1"/>
                <a:gd name="T7" fmla="*/ 1 h 1"/>
                <a:gd name="T8" fmla="*/ 1 w 1"/>
                <a:gd name="T9" fmla="*/ 1 h 1"/>
                <a:gd name="T10" fmla="*/ 0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0" y="0"/>
                  </a:moveTo>
                  <a:cubicBezTo>
                    <a:pt x="0" y="0"/>
                    <a:pt x="0" y="0"/>
                    <a:pt x="0" y="1"/>
                  </a:cubicBezTo>
                  <a:cubicBezTo>
                    <a:pt x="1" y="1"/>
                    <a:pt x="1" y="1"/>
                    <a:pt x="1" y="1"/>
                  </a:cubicBezTo>
                  <a:cubicBezTo>
                    <a:pt x="1" y="1"/>
                    <a:pt x="1" y="1"/>
                    <a:pt x="1" y="1"/>
                  </a:cubicBezTo>
                  <a:cubicBezTo>
                    <a:pt x="1" y="1"/>
                    <a:pt x="1" y="1"/>
                    <a:pt x="1" y="1"/>
                  </a:cubicBezTo>
                  <a:cubicBezTo>
                    <a:pt x="1" y="1"/>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68" name="Freeform 1819">
              <a:extLst>
                <a:ext uri="{FF2B5EF4-FFF2-40B4-BE49-F238E27FC236}">
                  <a16:creationId xmlns:a16="http://schemas.microsoft.com/office/drawing/2014/main" id="{D07B9D6A-DCF3-4458-81EA-2B1CE4D7B6C7}"/>
                </a:ext>
              </a:extLst>
            </p:cNvPr>
            <p:cNvSpPr>
              <a:spLocks/>
            </p:cNvSpPr>
            <p:nvPr/>
          </p:nvSpPr>
          <p:spPr bwMode="auto">
            <a:xfrm>
              <a:off x="2244" y="668"/>
              <a:ext cx="19" cy="14"/>
            </a:xfrm>
            <a:custGeom>
              <a:avLst/>
              <a:gdLst>
                <a:gd name="T0" fmla="*/ 2 w 8"/>
                <a:gd name="T1" fmla="*/ 2 h 6"/>
                <a:gd name="T2" fmla="*/ 2 w 8"/>
                <a:gd name="T3" fmla="*/ 5 h 6"/>
                <a:gd name="T4" fmla="*/ 5 w 8"/>
                <a:gd name="T5" fmla="*/ 5 h 6"/>
                <a:gd name="T6" fmla="*/ 5 w 8"/>
                <a:gd name="T7" fmla="*/ 0 h 6"/>
                <a:gd name="T8" fmla="*/ 2 w 8"/>
                <a:gd name="T9" fmla="*/ 2 h 6"/>
              </a:gdLst>
              <a:ahLst/>
              <a:cxnLst>
                <a:cxn ang="0">
                  <a:pos x="T0" y="T1"/>
                </a:cxn>
                <a:cxn ang="0">
                  <a:pos x="T2" y="T3"/>
                </a:cxn>
                <a:cxn ang="0">
                  <a:pos x="T4" y="T5"/>
                </a:cxn>
                <a:cxn ang="0">
                  <a:pos x="T6" y="T7"/>
                </a:cxn>
                <a:cxn ang="0">
                  <a:pos x="T8" y="T9"/>
                </a:cxn>
              </a:cxnLst>
              <a:rect l="0" t="0" r="r" b="b"/>
              <a:pathLst>
                <a:path w="8" h="6">
                  <a:moveTo>
                    <a:pt x="2" y="2"/>
                  </a:moveTo>
                  <a:cubicBezTo>
                    <a:pt x="0" y="4"/>
                    <a:pt x="1" y="4"/>
                    <a:pt x="2" y="5"/>
                  </a:cubicBezTo>
                  <a:cubicBezTo>
                    <a:pt x="3" y="5"/>
                    <a:pt x="4" y="6"/>
                    <a:pt x="5" y="5"/>
                  </a:cubicBezTo>
                  <a:cubicBezTo>
                    <a:pt x="8" y="4"/>
                    <a:pt x="6" y="2"/>
                    <a:pt x="5" y="0"/>
                  </a:cubicBezTo>
                  <a:cubicBezTo>
                    <a:pt x="3" y="0"/>
                    <a:pt x="2" y="2"/>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69" name="Freeform 1820">
              <a:extLst>
                <a:ext uri="{FF2B5EF4-FFF2-40B4-BE49-F238E27FC236}">
                  <a16:creationId xmlns:a16="http://schemas.microsoft.com/office/drawing/2014/main" id="{E27CA8DC-1C8E-4209-85C7-FE756AB1E1B2}"/>
                </a:ext>
              </a:extLst>
            </p:cNvPr>
            <p:cNvSpPr>
              <a:spLocks/>
            </p:cNvSpPr>
            <p:nvPr/>
          </p:nvSpPr>
          <p:spPr bwMode="auto">
            <a:xfrm>
              <a:off x="2310" y="730"/>
              <a:ext cx="14" cy="19"/>
            </a:xfrm>
            <a:custGeom>
              <a:avLst/>
              <a:gdLst>
                <a:gd name="T0" fmla="*/ 3 w 6"/>
                <a:gd name="T1" fmla="*/ 1 h 8"/>
                <a:gd name="T2" fmla="*/ 0 w 6"/>
                <a:gd name="T3" fmla="*/ 5 h 8"/>
                <a:gd name="T4" fmla="*/ 3 w 6"/>
                <a:gd name="T5" fmla="*/ 7 h 8"/>
                <a:gd name="T6" fmla="*/ 3 w 6"/>
                <a:gd name="T7" fmla="*/ 5 h 8"/>
                <a:gd name="T8" fmla="*/ 6 w 6"/>
                <a:gd name="T9" fmla="*/ 2 h 8"/>
                <a:gd name="T10" fmla="*/ 6 w 6"/>
                <a:gd name="T11" fmla="*/ 1 h 8"/>
                <a:gd name="T12" fmla="*/ 4 w 6"/>
                <a:gd name="T13" fmla="*/ 0 h 8"/>
                <a:gd name="T14" fmla="*/ 1 w 6"/>
                <a:gd name="T15" fmla="*/ 0 h 8"/>
                <a:gd name="T16" fmla="*/ 1 w 6"/>
                <a:gd name="T17" fmla="*/ 0 h 8"/>
                <a:gd name="T18" fmla="*/ 0 w 6"/>
                <a:gd name="T19" fmla="*/ 1 h 8"/>
                <a:gd name="T20" fmla="*/ 3 w 6"/>
                <a:gd name="T21"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8">
                  <a:moveTo>
                    <a:pt x="3" y="1"/>
                  </a:moveTo>
                  <a:cubicBezTo>
                    <a:pt x="1" y="2"/>
                    <a:pt x="0" y="2"/>
                    <a:pt x="0" y="5"/>
                  </a:cubicBezTo>
                  <a:cubicBezTo>
                    <a:pt x="0" y="6"/>
                    <a:pt x="2" y="8"/>
                    <a:pt x="3" y="7"/>
                  </a:cubicBezTo>
                  <a:cubicBezTo>
                    <a:pt x="4" y="6"/>
                    <a:pt x="3" y="6"/>
                    <a:pt x="3" y="5"/>
                  </a:cubicBezTo>
                  <a:cubicBezTo>
                    <a:pt x="3" y="4"/>
                    <a:pt x="6" y="3"/>
                    <a:pt x="6" y="2"/>
                  </a:cubicBezTo>
                  <a:cubicBezTo>
                    <a:pt x="6" y="1"/>
                    <a:pt x="6" y="1"/>
                    <a:pt x="6" y="1"/>
                  </a:cubicBezTo>
                  <a:cubicBezTo>
                    <a:pt x="5" y="1"/>
                    <a:pt x="5" y="0"/>
                    <a:pt x="4" y="0"/>
                  </a:cubicBezTo>
                  <a:cubicBezTo>
                    <a:pt x="3" y="0"/>
                    <a:pt x="2" y="0"/>
                    <a:pt x="1" y="0"/>
                  </a:cubicBezTo>
                  <a:cubicBezTo>
                    <a:pt x="1" y="0"/>
                    <a:pt x="1" y="0"/>
                    <a:pt x="1" y="0"/>
                  </a:cubicBezTo>
                  <a:cubicBezTo>
                    <a:pt x="1" y="1"/>
                    <a:pt x="0" y="1"/>
                    <a:pt x="0" y="1"/>
                  </a:cubicBezTo>
                  <a:cubicBezTo>
                    <a:pt x="1" y="2"/>
                    <a:pt x="1" y="1"/>
                    <a:pt x="3"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70" name="Freeform 1821">
              <a:extLst>
                <a:ext uri="{FF2B5EF4-FFF2-40B4-BE49-F238E27FC236}">
                  <a16:creationId xmlns:a16="http://schemas.microsoft.com/office/drawing/2014/main" id="{3902C5D1-7B6C-4490-AD2A-1300AC521223}"/>
                </a:ext>
              </a:extLst>
            </p:cNvPr>
            <p:cNvSpPr>
              <a:spLocks/>
            </p:cNvSpPr>
            <p:nvPr/>
          </p:nvSpPr>
          <p:spPr bwMode="auto">
            <a:xfrm>
              <a:off x="2265" y="668"/>
              <a:ext cx="19" cy="7"/>
            </a:xfrm>
            <a:custGeom>
              <a:avLst/>
              <a:gdLst>
                <a:gd name="T0" fmla="*/ 4 w 8"/>
                <a:gd name="T1" fmla="*/ 3 h 3"/>
                <a:gd name="T2" fmla="*/ 6 w 8"/>
                <a:gd name="T3" fmla="*/ 2 h 3"/>
                <a:gd name="T4" fmla="*/ 8 w 8"/>
                <a:gd name="T5" fmla="*/ 1 h 3"/>
                <a:gd name="T6" fmla="*/ 0 w 8"/>
                <a:gd name="T7" fmla="*/ 0 h 3"/>
                <a:gd name="T8" fmla="*/ 4 w 8"/>
                <a:gd name="T9" fmla="*/ 3 h 3"/>
              </a:gdLst>
              <a:ahLst/>
              <a:cxnLst>
                <a:cxn ang="0">
                  <a:pos x="T0" y="T1"/>
                </a:cxn>
                <a:cxn ang="0">
                  <a:pos x="T2" y="T3"/>
                </a:cxn>
                <a:cxn ang="0">
                  <a:pos x="T4" y="T5"/>
                </a:cxn>
                <a:cxn ang="0">
                  <a:pos x="T6" y="T7"/>
                </a:cxn>
                <a:cxn ang="0">
                  <a:pos x="T8" y="T9"/>
                </a:cxn>
              </a:cxnLst>
              <a:rect l="0" t="0" r="r" b="b"/>
              <a:pathLst>
                <a:path w="8" h="3">
                  <a:moveTo>
                    <a:pt x="4" y="3"/>
                  </a:moveTo>
                  <a:cubicBezTo>
                    <a:pt x="5" y="3"/>
                    <a:pt x="5" y="3"/>
                    <a:pt x="6" y="2"/>
                  </a:cubicBezTo>
                  <a:cubicBezTo>
                    <a:pt x="6" y="1"/>
                    <a:pt x="8" y="1"/>
                    <a:pt x="8" y="1"/>
                  </a:cubicBezTo>
                  <a:cubicBezTo>
                    <a:pt x="6" y="0"/>
                    <a:pt x="3" y="0"/>
                    <a:pt x="0" y="0"/>
                  </a:cubicBezTo>
                  <a:cubicBezTo>
                    <a:pt x="0" y="2"/>
                    <a:pt x="1" y="3"/>
                    <a:pt x="4"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71" name="Freeform 1822">
              <a:extLst>
                <a:ext uri="{FF2B5EF4-FFF2-40B4-BE49-F238E27FC236}">
                  <a16:creationId xmlns:a16="http://schemas.microsoft.com/office/drawing/2014/main" id="{9E21BD16-D9E9-489E-8953-EDF13DFC51BA}"/>
                </a:ext>
              </a:extLst>
            </p:cNvPr>
            <p:cNvSpPr>
              <a:spLocks/>
            </p:cNvSpPr>
            <p:nvPr/>
          </p:nvSpPr>
          <p:spPr bwMode="auto">
            <a:xfrm>
              <a:off x="2419" y="1087"/>
              <a:ext cx="14" cy="5"/>
            </a:xfrm>
            <a:custGeom>
              <a:avLst/>
              <a:gdLst>
                <a:gd name="T0" fmla="*/ 6 w 6"/>
                <a:gd name="T1" fmla="*/ 0 h 2"/>
                <a:gd name="T2" fmla="*/ 5 w 6"/>
                <a:gd name="T3" fmla="*/ 0 h 2"/>
                <a:gd name="T4" fmla="*/ 4 w 6"/>
                <a:gd name="T5" fmla="*/ 0 h 2"/>
                <a:gd name="T6" fmla="*/ 0 w 6"/>
                <a:gd name="T7" fmla="*/ 2 h 2"/>
                <a:gd name="T8" fmla="*/ 1 w 6"/>
                <a:gd name="T9" fmla="*/ 2 h 2"/>
                <a:gd name="T10" fmla="*/ 6 w 6"/>
                <a:gd name="T11" fmla="*/ 0 h 2"/>
                <a:gd name="T12" fmla="*/ 6 w 6"/>
                <a:gd name="T13" fmla="*/ 0 h 2"/>
                <a:gd name="T14" fmla="*/ 6 w 6"/>
                <a:gd name="T15" fmla="*/ 0 h 2"/>
                <a:gd name="T16" fmla="*/ 6 w 6"/>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
                  <a:moveTo>
                    <a:pt x="6" y="0"/>
                  </a:moveTo>
                  <a:cubicBezTo>
                    <a:pt x="6" y="0"/>
                    <a:pt x="5" y="0"/>
                    <a:pt x="5" y="0"/>
                  </a:cubicBezTo>
                  <a:cubicBezTo>
                    <a:pt x="5" y="0"/>
                    <a:pt x="4" y="0"/>
                    <a:pt x="4" y="0"/>
                  </a:cubicBezTo>
                  <a:cubicBezTo>
                    <a:pt x="2" y="0"/>
                    <a:pt x="0" y="2"/>
                    <a:pt x="0" y="2"/>
                  </a:cubicBezTo>
                  <a:cubicBezTo>
                    <a:pt x="0" y="2"/>
                    <a:pt x="1" y="2"/>
                    <a:pt x="1" y="2"/>
                  </a:cubicBezTo>
                  <a:cubicBezTo>
                    <a:pt x="3" y="1"/>
                    <a:pt x="4" y="1"/>
                    <a:pt x="6" y="0"/>
                  </a:cubicBezTo>
                  <a:cubicBezTo>
                    <a:pt x="6" y="0"/>
                    <a:pt x="6" y="0"/>
                    <a:pt x="6" y="0"/>
                  </a:cubicBezTo>
                  <a:cubicBezTo>
                    <a:pt x="6" y="0"/>
                    <a:pt x="6" y="0"/>
                    <a:pt x="6" y="0"/>
                  </a:cubicBezTo>
                  <a:cubicBezTo>
                    <a:pt x="6" y="0"/>
                    <a:pt x="6" y="0"/>
                    <a:pt x="6"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72" name="Freeform 1823">
              <a:extLst>
                <a:ext uri="{FF2B5EF4-FFF2-40B4-BE49-F238E27FC236}">
                  <a16:creationId xmlns:a16="http://schemas.microsoft.com/office/drawing/2014/main" id="{06E18FCB-C966-4806-B1DD-BA2B03E3ADFA}"/>
                </a:ext>
              </a:extLst>
            </p:cNvPr>
            <p:cNvSpPr>
              <a:spLocks/>
            </p:cNvSpPr>
            <p:nvPr/>
          </p:nvSpPr>
          <p:spPr bwMode="auto">
            <a:xfrm>
              <a:off x="1828" y="375"/>
              <a:ext cx="28" cy="5"/>
            </a:xfrm>
            <a:custGeom>
              <a:avLst/>
              <a:gdLst>
                <a:gd name="T0" fmla="*/ 3 w 12"/>
                <a:gd name="T1" fmla="*/ 2 h 2"/>
                <a:gd name="T2" fmla="*/ 6 w 12"/>
                <a:gd name="T3" fmla="*/ 2 h 2"/>
                <a:gd name="T4" fmla="*/ 12 w 12"/>
                <a:gd name="T5" fmla="*/ 1 h 2"/>
                <a:gd name="T6" fmla="*/ 0 w 12"/>
                <a:gd name="T7" fmla="*/ 0 h 2"/>
                <a:gd name="T8" fmla="*/ 3 w 12"/>
                <a:gd name="T9" fmla="*/ 2 h 2"/>
              </a:gdLst>
              <a:ahLst/>
              <a:cxnLst>
                <a:cxn ang="0">
                  <a:pos x="T0" y="T1"/>
                </a:cxn>
                <a:cxn ang="0">
                  <a:pos x="T2" y="T3"/>
                </a:cxn>
                <a:cxn ang="0">
                  <a:pos x="T4" y="T5"/>
                </a:cxn>
                <a:cxn ang="0">
                  <a:pos x="T6" y="T7"/>
                </a:cxn>
                <a:cxn ang="0">
                  <a:pos x="T8" y="T9"/>
                </a:cxn>
              </a:cxnLst>
              <a:rect l="0" t="0" r="r" b="b"/>
              <a:pathLst>
                <a:path w="12" h="2">
                  <a:moveTo>
                    <a:pt x="3" y="2"/>
                  </a:moveTo>
                  <a:cubicBezTo>
                    <a:pt x="4" y="2"/>
                    <a:pt x="5" y="2"/>
                    <a:pt x="6" y="2"/>
                  </a:cubicBezTo>
                  <a:cubicBezTo>
                    <a:pt x="8" y="2"/>
                    <a:pt x="10" y="2"/>
                    <a:pt x="12" y="1"/>
                  </a:cubicBezTo>
                  <a:cubicBezTo>
                    <a:pt x="8" y="1"/>
                    <a:pt x="4" y="1"/>
                    <a:pt x="0" y="0"/>
                  </a:cubicBezTo>
                  <a:cubicBezTo>
                    <a:pt x="1" y="1"/>
                    <a:pt x="1" y="2"/>
                    <a:pt x="3"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73" name="Freeform 1824">
              <a:extLst>
                <a:ext uri="{FF2B5EF4-FFF2-40B4-BE49-F238E27FC236}">
                  <a16:creationId xmlns:a16="http://schemas.microsoft.com/office/drawing/2014/main" id="{2531FD89-981A-4606-B406-639690EDD749}"/>
                </a:ext>
              </a:extLst>
            </p:cNvPr>
            <p:cNvSpPr>
              <a:spLocks/>
            </p:cNvSpPr>
            <p:nvPr/>
          </p:nvSpPr>
          <p:spPr bwMode="auto">
            <a:xfrm>
              <a:off x="1532" y="1581"/>
              <a:ext cx="5" cy="3"/>
            </a:xfrm>
            <a:custGeom>
              <a:avLst/>
              <a:gdLst>
                <a:gd name="T0" fmla="*/ 2 w 2"/>
                <a:gd name="T1" fmla="*/ 1 h 1"/>
                <a:gd name="T2" fmla="*/ 2 w 2"/>
                <a:gd name="T3" fmla="*/ 0 h 1"/>
                <a:gd name="T4" fmla="*/ 0 w 2"/>
                <a:gd name="T5" fmla="*/ 1 h 1"/>
                <a:gd name="T6" fmla="*/ 2 w 2"/>
                <a:gd name="T7" fmla="*/ 1 h 1"/>
              </a:gdLst>
              <a:ahLst/>
              <a:cxnLst>
                <a:cxn ang="0">
                  <a:pos x="T0" y="T1"/>
                </a:cxn>
                <a:cxn ang="0">
                  <a:pos x="T2" y="T3"/>
                </a:cxn>
                <a:cxn ang="0">
                  <a:pos x="T4" y="T5"/>
                </a:cxn>
                <a:cxn ang="0">
                  <a:pos x="T6" y="T7"/>
                </a:cxn>
              </a:cxnLst>
              <a:rect l="0" t="0" r="r" b="b"/>
              <a:pathLst>
                <a:path w="2" h="1">
                  <a:moveTo>
                    <a:pt x="2" y="1"/>
                  </a:moveTo>
                  <a:cubicBezTo>
                    <a:pt x="2" y="1"/>
                    <a:pt x="2" y="0"/>
                    <a:pt x="2" y="0"/>
                  </a:cubicBezTo>
                  <a:cubicBezTo>
                    <a:pt x="1" y="0"/>
                    <a:pt x="0" y="0"/>
                    <a:pt x="0" y="1"/>
                  </a:cubicBezTo>
                  <a:cubicBezTo>
                    <a:pt x="0" y="1"/>
                    <a:pt x="1"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74" name="Freeform 1825">
              <a:extLst>
                <a:ext uri="{FF2B5EF4-FFF2-40B4-BE49-F238E27FC236}">
                  <a16:creationId xmlns:a16="http://schemas.microsoft.com/office/drawing/2014/main" id="{928BD61A-BF39-4A86-968F-65A6B78BDFB4}"/>
                </a:ext>
              </a:extLst>
            </p:cNvPr>
            <p:cNvSpPr>
              <a:spLocks/>
            </p:cNvSpPr>
            <p:nvPr/>
          </p:nvSpPr>
          <p:spPr bwMode="auto">
            <a:xfrm>
              <a:off x="1419" y="1492"/>
              <a:ext cx="9" cy="4"/>
            </a:xfrm>
            <a:custGeom>
              <a:avLst/>
              <a:gdLst>
                <a:gd name="T0" fmla="*/ 4 w 4"/>
                <a:gd name="T1" fmla="*/ 1 h 2"/>
                <a:gd name="T2" fmla="*/ 2 w 4"/>
                <a:gd name="T3" fmla="*/ 1 h 2"/>
                <a:gd name="T4" fmla="*/ 4 w 4"/>
                <a:gd name="T5" fmla="*/ 1 h 2"/>
              </a:gdLst>
              <a:ahLst/>
              <a:cxnLst>
                <a:cxn ang="0">
                  <a:pos x="T0" y="T1"/>
                </a:cxn>
                <a:cxn ang="0">
                  <a:pos x="T2" y="T3"/>
                </a:cxn>
                <a:cxn ang="0">
                  <a:pos x="T4" y="T5"/>
                </a:cxn>
              </a:cxnLst>
              <a:rect l="0" t="0" r="r" b="b"/>
              <a:pathLst>
                <a:path w="4" h="2">
                  <a:moveTo>
                    <a:pt x="4" y="1"/>
                  </a:moveTo>
                  <a:cubicBezTo>
                    <a:pt x="4" y="0"/>
                    <a:pt x="3" y="0"/>
                    <a:pt x="2" y="1"/>
                  </a:cubicBezTo>
                  <a:cubicBezTo>
                    <a:pt x="0" y="2"/>
                    <a:pt x="4" y="1"/>
                    <a:pt x="4"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75" name="Freeform 1826">
              <a:extLst>
                <a:ext uri="{FF2B5EF4-FFF2-40B4-BE49-F238E27FC236}">
                  <a16:creationId xmlns:a16="http://schemas.microsoft.com/office/drawing/2014/main" id="{E891C75D-E99B-40CE-A078-31B4FFF51F80}"/>
                </a:ext>
              </a:extLst>
            </p:cNvPr>
            <p:cNvSpPr>
              <a:spLocks/>
            </p:cNvSpPr>
            <p:nvPr/>
          </p:nvSpPr>
          <p:spPr bwMode="auto">
            <a:xfrm>
              <a:off x="1518" y="1570"/>
              <a:ext cx="7" cy="7"/>
            </a:xfrm>
            <a:custGeom>
              <a:avLst/>
              <a:gdLst>
                <a:gd name="T0" fmla="*/ 2 w 3"/>
                <a:gd name="T1" fmla="*/ 3 h 3"/>
                <a:gd name="T2" fmla="*/ 2 w 3"/>
                <a:gd name="T3" fmla="*/ 1 h 3"/>
                <a:gd name="T4" fmla="*/ 0 w 3"/>
                <a:gd name="T5" fmla="*/ 1 h 3"/>
                <a:gd name="T6" fmla="*/ 2 w 3"/>
                <a:gd name="T7" fmla="*/ 3 h 3"/>
              </a:gdLst>
              <a:ahLst/>
              <a:cxnLst>
                <a:cxn ang="0">
                  <a:pos x="T0" y="T1"/>
                </a:cxn>
                <a:cxn ang="0">
                  <a:pos x="T2" y="T3"/>
                </a:cxn>
                <a:cxn ang="0">
                  <a:pos x="T4" y="T5"/>
                </a:cxn>
                <a:cxn ang="0">
                  <a:pos x="T6" y="T7"/>
                </a:cxn>
              </a:cxnLst>
              <a:rect l="0" t="0" r="r" b="b"/>
              <a:pathLst>
                <a:path w="3" h="3">
                  <a:moveTo>
                    <a:pt x="2" y="3"/>
                  </a:moveTo>
                  <a:cubicBezTo>
                    <a:pt x="3" y="2"/>
                    <a:pt x="3" y="2"/>
                    <a:pt x="2" y="1"/>
                  </a:cubicBezTo>
                  <a:cubicBezTo>
                    <a:pt x="1" y="1"/>
                    <a:pt x="0" y="0"/>
                    <a:pt x="0" y="1"/>
                  </a:cubicBezTo>
                  <a:cubicBezTo>
                    <a:pt x="0" y="2"/>
                    <a:pt x="1" y="3"/>
                    <a:pt x="2"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76" name="Freeform 1827">
              <a:extLst>
                <a:ext uri="{FF2B5EF4-FFF2-40B4-BE49-F238E27FC236}">
                  <a16:creationId xmlns:a16="http://schemas.microsoft.com/office/drawing/2014/main" id="{1F65F686-B0F4-4FA7-B9DB-D40011114D05}"/>
                </a:ext>
              </a:extLst>
            </p:cNvPr>
            <p:cNvSpPr>
              <a:spLocks/>
            </p:cNvSpPr>
            <p:nvPr/>
          </p:nvSpPr>
          <p:spPr bwMode="auto">
            <a:xfrm>
              <a:off x="1667" y="2109"/>
              <a:ext cx="21" cy="28"/>
            </a:xfrm>
            <a:custGeom>
              <a:avLst/>
              <a:gdLst>
                <a:gd name="T0" fmla="*/ 4 w 9"/>
                <a:gd name="T1" fmla="*/ 1 h 12"/>
                <a:gd name="T2" fmla="*/ 0 w 9"/>
                <a:gd name="T3" fmla="*/ 1 h 12"/>
                <a:gd name="T4" fmla="*/ 2 w 9"/>
                <a:gd name="T5" fmla="*/ 1 h 12"/>
                <a:gd name="T6" fmla="*/ 5 w 9"/>
                <a:gd name="T7" fmla="*/ 3 h 12"/>
                <a:gd name="T8" fmla="*/ 7 w 9"/>
                <a:gd name="T9" fmla="*/ 4 h 12"/>
                <a:gd name="T10" fmla="*/ 8 w 9"/>
                <a:gd name="T11" fmla="*/ 5 h 12"/>
                <a:gd name="T12" fmla="*/ 5 w 9"/>
                <a:gd name="T13" fmla="*/ 10 h 12"/>
                <a:gd name="T14" fmla="*/ 7 w 9"/>
                <a:gd name="T15" fmla="*/ 12 h 12"/>
                <a:gd name="T16" fmla="*/ 9 w 9"/>
                <a:gd name="T17" fmla="*/ 7 h 12"/>
                <a:gd name="T18" fmla="*/ 9 w 9"/>
                <a:gd name="T19" fmla="*/ 5 h 12"/>
                <a:gd name="T20" fmla="*/ 6 w 9"/>
                <a:gd name="T21" fmla="*/ 3 h 12"/>
                <a:gd name="T22" fmla="*/ 7 w 9"/>
                <a:gd name="T23" fmla="*/ 3 h 12"/>
                <a:gd name="T24" fmla="*/ 4 w 9"/>
                <a:gd name="T25"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2">
                  <a:moveTo>
                    <a:pt x="4" y="1"/>
                  </a:moveTo>
                  <a:cubicBezTo>
                    <a:pt x="3" y="1"/>
                    <a:pt x="1" y="0"/>
                    <a:pt x="0" y="1"/>
                  </a:cubicBezTo>
                  <a:cubicBezTo>
                    <a:pt x="1" y="1"/>
                    <a:pt x="1" y="1"/>
                    <a:pt x="2" y="1"/>
                  </a:cubicBezTo>
                  <a:cubicBezTo>
                    <a:pt x="4" y="2"/>
                    <a:pt x="4" y="1"/>
                    <a:pt x="5" y="3"/>
                  </a:cubicBezTo>
                  <a:cubicBezTo>
                    <a:pt x="6" y="3"/>
                    <a:pt x="6" y="4"/>
                    <a:pt x="7" y="4"/>
                  </a:cubicBezTo>
                  <a:cubicBezTo>
                    <a:pt x="8" y="5"/>
                    <a:pt x="8" y="4"/>
                    <a:pt x="8" y="5"/>
                  </a:cubicBezTo>
                  <a:cubicBezTo>
                    <a:pt x="8" y="7"/>
                    <a:pt x="7" y="10"/>
                    <a:pt x="5" y="10"/>
                  </a:cubicBezTo>
                  <a:cubicBezTo>
                    <a:pt x="6" y="11"/>
                    <a:pt x="7" y="12"/>
                    <a:pt x="7" y="12"/>
                  </a:cubicBezTo>
                  <a:cubicBezTo>
                    <a:pt x="8" y="11"/>
                    <a:pt x="7" y="7"/>
                    <a:pt x="9" y="7"/>
                  </a:cubicBezTo>
                  <a:cubicBezTo>
                    <a:pt x="9" y="7"/>
                    <a:pt x="9" y="5"/>
                    <a:pt x="9" y="5"/>
                  </a:cubicBezTo>
                  <a:cubicBezTo>
                    <a:pt x="8" y="4"/>
                    <a:pt x="7" y="4"/>
                    <a:pt x="6" y="3"/>
                  </a:cubicBezTo>
                  <a:cubicBezTo>
                    <a:pt x="6" y="3"/>
                    <a:pt x="7" y="3"/>
                    <a:pt x="7" y="3"/>
                  </a:cubicBezTo>
                  <a:cubicBezTo>
                    <a:pt x="6" y="3"/>
                    <a:pt x="5" y="2"/>
                    <a:pt x="4"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77" name="Freeform 1828">
              <a:extLst>
                <a:ext uri="{FF2B5EF4-FFF2-40B4-BE49-F238E27FC236}">
                  <a16:creationId xmlns:a16="http://schemas.microsoft.com/office/drawing/2014/main" id="{3D23EBB5-B504-4CCB-B3CC-C01BD1BE196A}"/>
                </a:ext>
              </a:extLst>
            </p:cNvPr>
            <p:cNvSpPr>
              <a:spLocks/>
            </p:cNvSpPr>
            <p:nvPr/>
          </p:nvSpPr>
          <p:spPr bwMode="auto">
            <a:xfrm>
              <a:off x="1655" y="2154"/>
              <a:ext cx="19" cy="26"/>
            </a:xfrm>
            <a:custGeom>
              <a:avLst/>
              <a:gdLst>
                <a:gd name="T0" fmla="*/ 3 w 8"/>
                <a:gd name="T1" fmla="*/ 9 h 11"/>
                <a:gd name="T2" fmla="*/ 4 w 8"/>
                <a:gd name="T3" fmla="*/ 10 h 11"/>
                <a:gd name="T4" fmla="*/ 6 w 8"/>
                <a:gd name="T5" fmla="*/ 9 h 11"/>
                <a:gd name="T6" fmla="*/ 7 w 8"/>
                <a:gd name="T7" fmla="*/ 8 h 11"/>
                <a:gd name="T8" fmla="*/ 6 w 8"/>
                <a:gd name="T9" fmla="*/ 5 h 11"/>
                <a:gd name="T10" fmla="*/ 2 w 8"/>
                <a:gd name="T11" fmla="*/ 0 h 11"/>
                <a:gd name="T12" fmla="*/ 2 w 8"/>
                <a:gd name="T13" fmla="*/ 4 h 11"/>
                <a:gd name="T14" fmla="*/ 1 w 8"/>
                <a:gd name="T15" fmla="*/ 6 h 11"/>
                <a:gd name="T16" fmla="*/ 2 w 8"/>
                <a:gd name="T17" fmla="*/ 7 h 11"/>
                <a:gd name="T18" fmla="*/ 1 w 8"/>
                <a:gd name="T19" fmla="*/ 6 h 11"/>
                <a:gd name="T20" fmla="*/ 0 w 8"/>
                <a:gd name="T21" fmla="*/ 7 h 11"/>
                <a:gd name="T22" fmla="*/ 2 w 8"/>
                <a:gd name="T23" fmla="*/ 8 h 11"/>
                <a:gd name="T24" fmla="*/ 3 w 8"/>
                <a:gd name="T25"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1">
                  <a:moveTo>
                    <a:pt x="3" y="9"/>
                  </a:moveTo>
                  <a:cubicBezTo>
                    <a:pt x="4" y="10"/>
                    <a:pt x="4" y="11"/>
                    <a:pt x="4" y="10"/>
                  </a:cubicBezTo>
                  <a:cubicBezTo>
                    <a:pt x="5" y="10"/>
                    <a:pt x="5" y="9"/>
                    <a:pt x="6" y="9"/>
                  </a:cubicBezTo>
                  <a:cubicBezTo>
                    <a:pt x="6" y="9"/>
                    <a:pt x="7" y="9"/>
                    <a:pt x="7" y="8"/>
                  </a:cubicBezTo>
                  <a:cubicBezTo>
                    <a:pt x="8" y="8"/>
                    <a:pt x="7" y="5"/>
                    <a:pt x="6" y="5"/>
                  </a:cubicBezTo>
                  <a:cubicBezTo>
                    <a:pt x="5" y="2"/>
                    <a:pt x="5" y="1"/>
                    <a:pt x="2" y="0"/>
                  </a:cubicBezTo>
                  <a:cubicBezTo>
                    <a:pt x="2" y="2"/>
                    <a:pt x="3" y="3"/>
                    <a:pt x="2" y="4"/>
                  </a:cubicBezTo>
                  <a:cubicBezTo>
                    <a:pt x="1" y="5"/>
                    <a:pt x="1" y="5"/>
                    <a:pt x="1" y="6"/>
                  </a:cubicBezTo>
                  <a:cubicBezTo>
                    <a:pt x="1" y="7"/>
                    <a:pt x="3" y="7"/>
                    <a:pt x="2" y="7"/>
                  </a:cubicBezTo>
                  <a:cubicBezTo>
                    <a:pt x="1" y="7"/>
                    <a:pt x="1" y="6"/>
                    <a:pt x="1" y="6"/>
                  </a:cubicBezTo>
                  <a:cubicBezTo>
                    <a:pt x="1" y="6"/>
                    <a:pt x="0" y="7"/>
                    <a:pt x="0" y="7"/>
                  </a:cubicBezTo>
                  <a:cubicBezTo>
                    <a:pt x="0" y="8"/>
                    <a:pt x="1" y="8"/>
                    <a:pt x="2" y="8"/>
                  </a:cubicBezTo>
                  <a:cubicBezTo>
                    <a:pt x="2" y="9"/>
                    <a:pt x="3" y="9"/>
                    <a:pt x="3" y="9"/>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78" name="Freeform 1829">
              <a:extLst>
                <a:ext uri="{FF2B5EF4-FFF2-40B4-BE49-F238E27FC236}">
                  <a16:creationId xmlns:a16="http://schemas.microsoft.com/office/drawing/2014/main" id="{D4264A3E-13CB-4BBF-8B54-A1507A989B82}"/>
                </a:ext>
              </a:extLst>
            </p:cNvPr>
            <p:cNvSpPr>
              <a:spLocks/>
            </p:cNvSpPr>
            <p:nvPr/>
          </p:nvSpPr>
          <p:spPr bwMode="auto">
            <a:xfrm>
              <a:off x="1679" y="2159"/>
              <a:ext cx="5" cy="2"/>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0" y="1"/>
                  </a:cubicBezTo>
                  <a:cubicBezTo>
                    <a:pt x="0" y="1"/>
                    <a:pt x="1" y="1"/>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79" name="Freeform 1830">
              <a:extLst>
                <a:ext uri="{FF2B5EF4-FFF2-40B4-BE49-F238E27FC236}">
                  <a16:creationId xmlns:a16="http://schemas.microsoft.com/office/drawing/2014/main" id="{9CE3E166-B0DE-4A8B-AC17-2E893D9C6D19}"/>
                </a:ext>
              </a:extLst>
            </p:cNvPr>
            <p:cNvSpPr>
              <a:spLocks/>
            </p:cNvSpPr>
            <p:nvPr/>
          </p:nvSpPr>
          <p:spPr bwMode="auto">
            <a:xfrm>
              <a:off x="1641" y="2114"/>
              <a:ext cx="29" cy="7"/>
            </a:xfrm>
            <a:custGeom>
              <a:avLst/>
              <a:gdLst>
                <a:gd name="T0" fmla="*/ 5 w 12"/>
                <a:gd name="T1" fmla="*/ 1 h 3"/>
                <a:gd name="T2" fmla="*/ 4 w 12"/>
                <a:gd name="T3" fmla="*/ 0 h 3"/>
                <a:gd name="T4" fmla="*/ 2 w 12"/>
                <a:gd name="T5" fmla="*/ 2 h 3"/>
                <a:gd name="T6" fmla="*/ 1 w 12"/>
                <a:gd name="T7" fmla="*/ 2 h 3"/>
                <a:gd name="T8" fmla="*/ 0 w 12"/>
                <a:gd name="T9" fmla="*/ 1 h 3"/>
                <a:gd name="T10" fmla="*/ 3 w 12"/>
                <a:gd name="T11" fmla="*/ 3 h 3"/>
                <a:gd name="T12" fmla="*/ 8 w 12"/>
                <a:gd name="T13" fmla="*/ 2 h 3"/>
                <a:gd name="T14" fmla="*/ 10 w 12"/>
                <a:gd name="T15" fmla="*/ 2 h 3"/>
                <a:gd name="T16" fmla="*/ 11 w 12"/>
                <a:gd name="T17" fmla="*/ 1 h 3"/>
                <a:gd name="T18" fmla="*/ 5 w 12"/>
                <a:gd name="T1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3">
                  <a:moveTo>
                    <a:pt x="5" y="1"/>
                  </a:moveTo>
                  <a:cubicBezTo>
                    <a:pt x="5" y="1"/>
                    <a:pt x="4" y="0"/>
                    <a:pt x="4" y="0"/>
                  </a:cubicBezTo>
                  <a:cubicBezTo>
                    <a:pt x="3" y="0"/>
                    <a:pt x="3" y="2"/>
                    <a:pt x="2" y="2"/>
                  </a:cubicBezTo>
                  <a:cubicBezTo>
                    <a:pt x="2" y="2"/>
                    <a:pt x="1" y="2"/>
                    <a:pt x="1" y="2"/>
                  </a:cubicBezTo>
                  <a:cubicBezTo>
                    <a:pt x="1" y="2"/>
                    <a:pt x="1" y="1"/>
                    <a:pt x="0" y="1"/>
                  </a:cubicBezTo>
                  <a:cubicBezTo>
                    <a:pt x="1" y="2"/>
                    <a:pt x="2" y="3"/>
                    <a:pt x="3" y="3"/>
                  </a:cubicBezTo>
                  <a:cubicBezTo>
                    <a:pt x="4" y="3"/>
                    <a:pt x="6" y="2"/>
                    <a:pt x="8" y="2"/>
                  </a:cubicBezTo>
                  <a:cubicBezTo>
                    <a:pt x="8" y="2"/>
                    <a:pt x="9" y="2"/>
                    <a:pt x="10" y="2"/>
                  </a:cubicBezTo>
                  <a:cubicBezTo>
                    <a:pt x="11" y="2"/>
                    <a:pt x="12" y="2"/>
                    <a:pt x="11" y="1"/>
                  </a:cubicBezTo>
                  <a:cubicBezTo>
                    <a:pt x="9" y="1"/>
                    <a:pt x="7" y="1"/>
                    <a:pt x="5"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80" name="Freeform 1831">
              <a:extLst>
                <a:ext uri="{FF2B5EF4-FFF2-40B4-BE49-F238E27FC236}">
                  <a16:creationId xmlns:a16="http://schemas.microsoft.com/office/drawing/2014/main" id="{AA5F4B89-8FBC-4EC3-B9AF-1909A2D80F26}"/>
                </a:ext>
              </a:extLst>
            </p:cNvPr>
            <p:cNvSpPr>
              <a:spLocks/>
            </p:cNvSpPr>
            <p:nvPr/>
          </p:nvSpPr>
          <p:spPr bwMode="auto">
            <a:xfrm>
              <a:off x="1705" y="2154"/>
              <a:ext cx="7" cy="17"/>
            </a:xfrm>
            <a:custGeom>
              <a:avLst/>
              <a:gdLst>
                <a:gd name="T0" fmla="*/ 0 w 3"/>
                <a:gd name="T1" fmla="*/ 5 h 7"/>
                <a:gd name="T2" fmla="*/ 2 w 3"/>
                <a:gd name="T3" fmla="*/ 7 h 7"/>
                <a:gd name="T4" fmla="*/ 2 w 3"/>
                <a:gd name="T5" fmla="*/ 3 h 7"/>
                <a:gd name="T6" fmla="*/ 1 w 3"/>
                <a:gd name="T7" fmla="*/ 0 h 7"/>
                <a:gd name="T8" fmla="*/ 2 w 3"/>
                <a:gd name="T9" fmla="*/ 1 h 7"/>
                <a:gd name="T10" fmla="*/ 2 w 3"/>
                <a:gd name="T11" fmla="*/ 4 h 7"/>
                <a:gd name="T12" fmla="*/ 2 w 3"/>
                <a:gd name="T13" fmla="*/ 4 h 7"/>
                <a:gd name="T14" fmla="*/ 0 w 3"/>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7">
                  <a:moveTo>
                    <a:pt x="0" y="5"/>
                  </a:moveTo>
                  <a:cubicBezTo>
                    <a:pt x="1" y="5"/>
                    <a:pt x="1" y="6"/>
                    <a:pt x="2" y="7"/>
                  </a:cubicBezTo>
                  <a:cubicBezTo>
                    <a:pt x="2" y="5"/>
                    <a:pt x="2" y="4"/>
                    <a:pt x="2" y="3"/>
                  </a:cubicBezTo>
                  <a:cubicBezTo>
                    <a:pt x="2" y="1"/>
                    <a:pt x="3" y="1"/>
                    <a:pt x="1" y="0"/>
                  </a:cubicBezTo>
                  <a:cubicBezTo>
                    <a:pt x="1" y="1"/>
                    <a:pt x="2" y="1"/>
                    <a:pt x="2" y="1"/>
                  </a:cubicBezTo>
                  <a:cubicBezTo>
                    <a:pt x="3" y="2"/>
                    <a:pt x="1" y="3"/>
                    <a:pt x="2" y="4"/>
                  </a:cubicBezTo>
                  <a:cubicBezTo>
                    <a:pt x="2" y="4"/>
                    <a:pt x="2" y="4"/>
                    <a:pt x="2" y="4"/>
                  </a:cubicBezTo>
                  <a:cubicBezTo>
                    <a:pt x="2" y="5"/>
                    <a:pt x="1" y="5"/>
                    <a:pt x="0"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81" name="Freeform 1832">
              <a:extLst>
                <a:ext uri="{FF2B5EF4-FFF2-40B4-BE49-F238E27FC236}">
                  <a16:creationId xmlns:a16="http://schemas.microsoft.com/office/drawing/2014/main" id="{71C2A637-5A60-4327-8B2E-5CEB286A747C}"/>
                </a:ext>
              </a:extLst>
            </p:cNvPr>
            <p:cNvSpPr>
              <a:spLocks/>
            </p:cNvSpPr>
            <p:nvPr/>
          </p:nvSpPr>
          <p:spPr bwMode="auto">
            <a:xfrm>
              <a:off x="1719" y="2168"/>
              <a:ext cx="12" cy="14"/>
            </a:xfrm>
            <a:custGeom>
              <a:avLst/>
              <a:gdLst>
                <a:gd name="T0" fmla="*/ 2 w 5"/>
                <a:gd name="T1" fmla="*/ 2 h 6"/>
                <a:gd name="T2" fmla="*/ 3 w 5"/>
                <a:gd name="T3" fmla="*/ 6 h 6"/>
                <a:gd name="T4" fmla="*/ 4 w 5"/>
                <a:gd name="T5" fmla="*/ 4 h 6"/>
                <a:gd name="T6" fmla="*/ 0 w 5"/>
                <a:gd name="T7" fmla="*/ 0 h 6"/>
                <a:gd name="T8" fmla="*/ 2 w 5"/>
                <a:gd name="T9" fmla="*/ 2 h 6"/>
              </a:gdLst>
              <a:ahLst/>
              <a:cxnLst>
                <a:cxn ang="0">
                  <a:pos x="T0" y="T1"/>
                </a:cxn>
                <a:cxn ang="0">
                  <a:pos x="T2" y="T3"/>
                </a:cxn>
                <a:cxn ang="0">
                  <a:pos x="T4" y="T5"/>
                </a:cxn>
                <a:cxn ang="0">
                  <a:pos x="T6" y="T7"/>
                </a:cxn>
                <a:cxn ang="0">
                  <a:pos x="T8" y="T9"/>
                </a:cxn>
              </a:cxnLst>
              <a:rect l="0" t="0" r="r" b="b"/>
              <a:pathLst>
                <a:path w="5" h="6">
                  <a:moveTo>
                    <a:pt x="2" y="2"/>
                  </a:moveTo>
                  <a:cubicBezTo>
                    <a:pt x="3" y="4"/>
                    <a:pt x="4" y="5"/>
                    <a:pt x="3" y="6"/>
                  </a:cubicBezTo>
                  <a:cubicBezTo>
                    <a:pt x="5" y="5"/>
                    <a:pt x="5" y="5"/>
                    <a:pt x="4" y="4"/>
                  </a:cubicBezTo>
                  <a:cubicBezTo>
                    <a:pt x="3" y="3"/>
                    <a:pt x="1" y="1"/>
                    <a:pt x="0" y="0"/>
                  </a:cubicBezTo>
                  <a:cubicBezTo>
                    <a:pt x="0" y="1"/>
                    <a:pt x="2" y="2"/>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82" name="Freeform 1833">
              <a:extLst>
                <a:ext uri="{FF2B5EF4-FFF2-40B4-BE49-F238E27FC236}">
                  <a16:creationId xmlns:a16="http://schemas.microsoft.com/office/drawing/2014/main" id="{78B4BB61-6EB1-4C78-8B38-A4BFFC4C4457}"/>
                </a:ext>
              </a:extLst>
            </p:cNvPr>
            <p:cNvSpPr>
              <a:spLocks/>
            </p:cNvSpPr>
            <p:nvPr/>
          </p:nvSpPr>
          <p:spPr bwMode="auto">
            <a:xfrm>
              <a:off x="1856" y="2471"/>
              <a:ext cx="5" cy="5"/>
            </a:xfrm>
            <a:custGeom>
              <a:avLst/>
              <a:gdLst>
                <a:gd name="T0" fmla="*/ 2 w 2"/>
                <a:gd name="T1" fmla="*/ 2 h 2"/>
                <a:gd name="T2" fmla="*/ 0 w 2"/>
                <a:gd name="T3" fmla="*/ 0 h 2"/>
                <a:gd name="T4" fmla="*/ 1 w 2"/>
                <a:gd name="T5" fmla="*/ 1 h 2"/>
                <a:gd name="T6" fmla="*/ 2 w 2"/>
                <a:gd name="T7" fmla="*/ 2 h 2"/>
              </a:gdLst>
              <a:ahLst/>
              <a:cxnLst>
                <a:cxn ang="0">
                  <a:pos x="T0" y="T1"/>
                </a:cxn>
                <a:cxn ang="0">
                  <a:pos x="T2" y="T3"/>
                </a:cxn>
                <a:cxn ang="0">
                  <a:pos x="T4" y="T5"/>
                </a:cxn>
                <a:cxn ang="0">
                  <a:pos x="T6" y="T7"/>
                </a:cxn>
              </a:cxnLst>
              <a:rect l="0" t="0" r="r" b="b"/>
              <a:pathLst>
                <a:path w="2" h="2">
                  <a:moveTo>
                    <a:pt x="2" y="2"/>
                  </a:moveTo>
                  <a:cubicBezTo>
                    <a:pt x="2" y="1"/>
                    <a:pt x="1" y="0"/>
                    <a:pt x="0" y="0"/>
                  </a:cubicBezTo>
                  <a:cubicBezTo>
                    <a:pt x="1" y="0"/>
                    <a:pt x="1" y="1"/>
                    <a:pt x="1" y="1"/>
                  </a:cubicBezTo>
                  <a:cubicBezTo>
                    <a:pt x="1" y="2"/>
                    <a:pt x="2" y="2"/>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83" name="Freeform 1834">
              <a:extLst>
                <a:ext uri="{FF2B5EF4-FFF2-40B4-BE49-F238E27FC236}">
                  <a16:creationId xmlns:a16="http://schemas.microsoft.com/office/drawing/2014/main" id="{1C39AFA4-258A-4047-B87C-97D20A16BBAA}"/>
                </a:ext>
              </a:extLst>
            </p:cNvPr>
            <p:cNvSpPr>
              <a:spLocks/>
            </p:cNvSpPr>
            <p:nvPr/>
          </p:nvSpPr>
          <p:spPr bwMode="auto">
            <a:xfrm>
              <a:off x="2003" y="2516"/>
              <a:ext cx="2"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84" name="Freeform 1835">
              <a:extLst>
                <a:ext uri="{FF2B5EF4-FFF2-40B4-BE49-F238E27FC236}">
                  <a16:creationId xmlns:a16="http://schemas.microsoft.com/office/drawing/2014/main" id="{803B95B0-9BAF-40FE-AD79-44C4B0C838A0}"/>
                </a:ext>
              </a:extLst>
            </p:cNvPr>
            <p:cNvSpPr>
              <a:spLocks/>
            </p:cNvSpPr>
            <p:nvPr/>
          </p:nvSpPr>
          <p:spPr bwMode="auto">
            <a:xfrm>
              <a:off x="1970" y="2511"/>
              <a:ext cx="4" cy="3"/>
            </a:xfrm>
            <a:custGeom>
              <a:avLst/>
              <a:gdLst>
                <a:gd name="T0" fmla="*/ 2 w 2"/>
                <a:gd name="T1" fmla="*/ 0 h 1"/>
                <a:gd name="T2" fmla="*/ 0 w 2"/>
                <a:gd name="T3" fmla="*/ 0 h 1"/>
                <a:gd name="T4" fmla="*/ 1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1" y="0"/>
                    <a:pt x="0" y="0"/>
                    <a:pt x="0" y="0"/>
                  </a:cubicBezTo>
                  <a:cubicBezTo>
                    <a:pt x="0" y="1"/>
                    <a:pt x="1" y="1"/>
                    <a:pt x="1" y="1"/>
                  </a:cubicBezTo>
                  <a:cubicBezTo>
                    <a:pt x="1" y="1"/>
                    <a:pt x="1" y="0"/>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85" name="Freeform 1836">
              <a:extLst>
                <a:ext uri="{FF2B5EF4-FFF2-40B4-BE49-F238E27FC236}">
                  <a16:creationId xmlns:a16="http://schemas.microsoft.com/office/drawing/2014/main" id="{44852639-C443-4E92-9B5D-783044A14204}"/>
                </a:ext>
              </a:extLst>
            </p:cNvPr>
            <p:cNvSpPr>
              <a:spLocks/>
            </p:cNvSpPr>
            <p:nvPr/>
          </p:nvSpPr>
          <p:spPr bwMode="auto">
            <a:xfrm>
              <a:off x="1993" y="2507"/>
              <a:ext cx="15" cy="7"/>
            </a:xfrm>
            <a:custGeom>
              <a:avLst/>
              <a:gdLst>
                <a:gd name="T0" fmla="*/ 5 w 6"/>
                <a:gd name="T1" fmla="*/ 0 h 3"/>
                <a:gd name="T2" fmla="*/ 3 w 6"/>
                <a:gd name="T3" fmla="*/ 1 h 3"/>
                <a:gd name="T4" fmla="*/ 2 w 6"/>
                <a:gd name="T5" fmla="*/ 1 h 3"/>
                <a:gd name="T6" fmla="*/ 0 w 6"/>
                <a:gd name="T7" fmla="*/ 1 h 3"/>
                <a:gd name="T8" fmla="*/ 4 w 6"/>
                <a:gd name="T9" fmla="*/ 3 h 3"/>
                <a:gd name="T10" fmla="*/ 6 w 6"/>
                <a:gd name="T11" fmla="*/ 2 h 3"/>
                <a:gd name="T12" fmla="*/ 5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5" y="0"/>
                  </a:moveTo>
                  <a:cubicBezTo>
                    <a:pt x="5" y="0"/>
                    <a:pt x="4" y="2"/>
                    <a:pt x="3" y="1"/>
                  </a:cubicBezTo>
                  <a:cubicBezTo>
                    <a:pt x="3" y="1"/>
                    <a:pt x="2" y="1"/>
                    <a:pt x="2" y="1"/>
                  </a:cubicBezTo>
                  <a:cubicBezTo>
                    <a:pt x="2" y="1"/>
                    <a:pt x="1" y="1"/>
                    <a:pt x="0" y="1"/>
                  </a:cubicBezTo>
                  <a:cubicBezTo>
                    <a:pt x="1" y="2"/>
                    <a:pt x="3" y="2"/>
                    <a:pt x="4" y="3"/>
                  </a:cubicBezTo>
                  <a:cubicBezTo>
                    <a:pt x="4" y="3"/>
                    <a:pt x="6" y="3"/>
                    <a:pt x="6" y="2"/>
                  </a:cubicBezTo>
                  <a:cubicBezTo>
                    <a:pt x="6" y="1"/>
                    <a:pt x="6" y="1"/>
                    <a:pt x="5"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86" name="Freeform 1837">
              <a:extLst>
                <a:ext uri="{FF2B5EF4-FFF2-40B4-BE49-F238E27FC236}">
                  <a16:creationId xmlns:a16="http://schemas.microsoft.com/office/drawing/2014/main" id="{4F3A0F32-15A7-4A16-B095-86056F5C37FB}"/>
                </a:ext>
              </a:extLst>
            </p:cNvPr>
            <p:cNvSpPr>
              <a:spLocks/>
            </p:cNvSpPr>
            <p:nvPr/>
          </p:nvSpPr>
          <p:spPr bwMode="auto">
            <a:xfrm>
              <a:off x="2629" y="4227"/>
              <a:ext cx="55" cy="30"/>
            </a:xfrm>
            <a:custGeom>
              <a:avLst/>
              <a:gdLst>
                <a:gd name="T0" fmla="*/ 22 w 23"/>
                <a:gd name="T1" fmla="*/ 9 h 13"/>
                <a:gd name="T2" fmla="*/ 21 w 23"/>
                <a:gd name="T3" fmla="*/ 8 h 13"/>
                <a:gd name="T4" fmla="*/ 19 w 23"/>
                <a:gd name="T5" fmla="*/ 7 h 13"/>
                <a:gd name="T6" fmla="*/ 19 w 23"/>
                <a:gd name="T7" fmla="*/ 6 h 13"/>
                <a:gd name="T8" fmla="*/ 19 w 23"/>
                <a:gd name="T9" fmla="*/ 6 h 13"/>
                <a:gd name="T10" fmla="*/ 19 w 23"/>
                <a:gd name="T11" fmla="*/ 6 h 13"/>
                <a:gd name="T12" fmla="*/ 18 w 23"/>
                <a:gd name="T13" fmla="*/ 5 h 13"/>
                <a:gd name="T14" fmla="*/ 16 w 23"/>
                <a:gd name="T15" fmla="*/ 6 h 13"/>
                <a:gd name="T16" fmla="*/ 16 w 23"/>
                <a:gd name="T17" fmla="*/ 4 h 13"/>
                <a:gd name="T18" fmla="*/ 15 w 23"/>
                <a:gd name="T19" fmla="*/ 5 h 13"/>
                <a:gd name="T20" fmla="*/ 16 w 23"/>
                <a:gd name="T21" fmla="*/ 3 h 13"/>
                <a:gd name="T22" fmla="*/ 14 w 23"/>
                <a:gd name="T23" fmla="*/ 2 h 13"/>
                <a:gd name="T24" fmla="*/ 13 w 23"/>
                <a:gd name="T25" fmla="*/ 3 h 13"/>
                <a:gd name="T26" fmla="*/ 10 w 23"/>
                <a:gd name="T27" fmla="*/ 2 h 13"/>
                <a:gd name="T28" fmla="*/ 11 w 23"/>
                <a:gd name="T29" fmla="*/ 2 h 13"/>
                <a:gd name="T30" fmla="*/ 9 w 23"/>
                <a:gd name="T31" fmla="*/ 2 h 13"/>
                <a:gd name="T32" fmla="*/ 9 w 23"/>
                <a:gd name="T33" fmla="*/ 1 h 13"/>
                <a:gd name="T34" fmla="*/ 9 w 23"/>
                <a:gd name="T35" fmla="*/ 2 h 13"/>
                <a:gd name="T36" fmla="*/ 6 w 23"/>
                <a:gd name="T37" fmla="*/ 1 h 13"/>
                <a:gd name="T38" fmla="*/ 5 w 23"/>
                <a:gd name="T39" fmla="*/ 1 h 13"/>
                <a:gd name="T40" fmla="*/ 3 w 23"/>
                <a:gd name="T41" fmla="*/ 0 h 13"/>
                <a:gd name="T42" fmla="*/ 3 w 23"/>
                <a:gd name="T43" fmla="*/ 1 h 13"/>
                <a:gd name="T44" fmla="*/ 2 w 23"/>
                <a:gd name="T45" fmla="*/ 1 h 13"/>
                <a:gd name="T46" fmla="*/ 0 w 23"/>
                <a:gd name="T47" fmla="*/ 1 h 13"/>
                <a:gd name="T48" fmla="*/ 4 w 23"/>
                <a:gd name="T49" fmla="*/ 1 h 13"/>
                <a:gd name="T50" fmla="*/ 4 w 23"/>
                <a:gd name="T51" fmla="*/ 3 h 13"/>
                <a:gd name="T52" fmla="*/ 6 w 23"/>
                <a:gd name="T53" fmla="*/ 3 h 13"/>
                <a:gd name="T54" fmla="*/ 8 w 23"/>
                <a:gd name="T55" fmla="*/ 3 h 13"/>
                <a:gd name="T56" fmla="*/ 7 w 23"/>
                <a:gd name="T57" fmla="*/ 3 h 13"/>
                <a:gd name="T58" fmla="*/ 7 w 23"/>
                <a:gd name="T59" fmla="*/ 4 h 13"/>
                <a:gd name="T60" fmla="*/ 7 w 23"/>
                <a:gd name="T61" fmla="*/ 4 h 13"/>
                <a:gd name="T62" fmla="*/ 12 w 23"/>
                <a:gd name="T63" fmla="*/ 6 h 13"/>
                <a:gd name="T64" fmla="*/ 20 w 23"/>
                <a:gd name="T65" fmla="*/ 13 h 13"/>
                <a:gd name="T66" fmla="*/ 22 w 23"/>
                <a:gd name="T67" fmla="*/ 13 h 13"/>
                <a:gd name="T68" fmla="*/ 20 w 23"/>
                <a:gd name="T69" fmla="*/ 12 h 13"/>
                <a:gd name="T70" fmla="*/ 23 w 23"/>
                <a:gd name="T71" fmla="*/ 12 h 13"/>
                <a:gd name="T72" fmla="*/ 22 w 23"/>
                <a:gd name="T7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 h="13">
                  <a:moveTo>
                    <a:pt x="22" y="9"/>
                  </a:moveTo>
                  <a:cubicBezTo>
                    <a:pt x="22" y="9"/>
                    <a:pt x="19" y="9"/>
                    <a:pt x="21" y="8"/>
                  </a:cubicBezTo>
                  <a:cubicBezTo>
                    <a:pt x="20" y="7"/>
                    <a:pt x="20" y="7"/>
                    <a:pt x="19" y="7"/>
                  </a:cubicBezTo>
                  <a:cubicBezTo>
                    <a:pt x="19" y="7"/>
                    <a:pt x="19" y="6"/>
                    <a:pt x="19" y="6"/>
                  </a:cubicBezTo>
                  <a:cubicBezTo>
                    <a:pt x="19" y="6"/>
                    <a:pt x="19" y="6"/>
                    <a:pt x="19" y="6"/>
                  </a:cubicBezTo>
                  <a:cubicBezTo>
                    <a:pt x="19" y="6"/>
                    <a:pt x="18" y="6"/>
                    <a:pt x="19" y="6"/>
                  </a:cubicBezTo>
                  <a:cubicBezTo>
                    <a:pt x="18" y="5"/>
                    <a:pt x="18" y="5"/>
                    <a:pt x="18" y="5"/>
                  </a:cubicBezTo>
                  <a:cubicBezTo>
                    <a:pt x="17" y="4"/>
                    <a:pt x="17" y="5"/>
                    <a:pt x="16" y="6"/>
                  </a:cubicBezTo>
                  <a:cubicBezTo>
                    <a:pt x="16" y="5"/>
                    <a:pt x="16" y="4"/>
                    <a:pt x="16" y="4"/>
                  </a:cubicBezTo>
                  <a:cubicBezTo>
                    <a:pt x="15" y="4"/>
                    <a:pt x="15" y="5"/>
                    <a:pt x="15" y="5"/>
                  </a:cubicBezTo>
                  <a:cubicBezTo>
                    <a:pt x="13" y="5"/>
                    <a:pt x="15" y="3"/>
                    <a:pt x="16" y="3"/>
                  </a:cubicBezTo>
                  <a:cubicBezTo>
                    <a:pt x="15" y="3"/>
                    <a:pt x="13" y="4"/>
                    <a:pt x="14" y="2"/>
                  </a:cubicBezTo>
                  <a:cubicBezTo>
                    <a:pt x="14" y="2"/>
                    <a:pt x="13" y="2"/>
                    <a:pt x="13" y="3"/>
                  </a:cubicBezTo>
                  <a:cubicBezTo>
                    <a:pt x="13" y="1"/>
                    <a:pt x="11" y="2"/>
                    <a:pt x="10" y="2"/>
                  </a:cubicBezTo>
                  <a:cubicBezTo>
                    <a:pt x="11" y="2"/>
                    <a:pt x="11" y="2"/>
                    <a:pt x="11" y="2"/>
                  </a:cubicBezTo>
                  <a:cubicBezTo>
                    <a:pt x="10" y="2"/>
                    <a:pt x="10" y="2"/>
                    <a:pt x="9" y="2"/>
                  </a:cubicBezTo>
                  <a:cubicBezTo>
                    <a:pt x="9" y="2"/>
                    <a:pt x="10" y="1"/>
                    <a:pt x="9" y="1"/>
                  </a:cubicBezTo>
                  <a:cubicBezTo>
                    <a:pt x="9" y="1"/>
                    <a:pt x="9" y="2"/>
                    <a:pt x="9" y="2"/>
                  </a:cubicBezTo>
                  <a:cubicBezTo>
                    <a:pt x="8" y="1"/>
                    <a:pt x="6" y="2"/>
                    <a:pt x="6" y="1"/>
                  </a:cubicBezTo>
                  <a:cubicBezTo>
                    <a:pt x="6" y="1"/>
                    <a:pt x="5" y="1"/>
                    <a:pt x="5" y="1"/>
                  </a:cubicBezTo>
                  <a:cubicBezTo>
                    <a:pt x="4" y="1"/>
                    <a:pt x="4" y="0"/>
                    <a:pt x="3" y="0"/>
                  </a:cubicBezTo>
                  <a:cubicBezTo>
                    <a:pt x="3" y="0"/>
                    <a:pt x="3" y="1"/>
                    <a:pt x="3" y="1"/>
                  </a:cubicBezTo>
                  <a:cubicBezTo>
                    <a:pt x="2" y="1"/>
                    <a:pt x="2" y="1"/>
                    <a:pt x="2" y="1"/>
                  </a:cubicBezTo>
                  <a:cubicBezTo>
                    <a:pt x="1" y="1"/>
                    <a:pt x="1" y="1"/>
                    <a:pt x="0" y="1"/>
                  </a:cubicBezTo>
                  <a:cubicBezTo>
                    <a:pt x="1" y="1"/>
                    <a:pt x="4" y="1"/>
                    <a:pt x="4" y="1"/>
                  </a:cubicBezTo>
                  <a:cubicBezTo>
                    <a:pt x="5" y="2"/>
                    <a:pt x="3" y="3"/>
                    <a:pt x="4" y="3"/>
                  </a:cubicBezTo>
                  <a:cubicBezTo>
                    <a:pt x="4" y="3"/>
                    <a:pt x="6" y="3"/>
                    <a:pt x="6" y="3"/>
                  </a:cubicBezTo>
                  <a:cubicBezTo>
                    <a:pt x="7" y="3"/>
                    <a:pt x="8" y="3"/>
                    <a:pt x="8" y="3"/>
                  </a:cubicBezTo>
                  <a:cubicBezTo>
                    <a:pt x="8" y="3"/>
                    <a:pt x="7" y="3"/>
                    <a:pt x="7" y="3"/>
                  </a:cubicBezTo>
                  <a:cubicBezTo>
                    <a:pt x="7" y="4"/>
                    <a:pt x="7" y="4"/>
                    <a:pt x="7" y="4"/>
                  </a:cubicBezTo>
                  <a:cubicBezTo>
                    <a:pt x="7" y="4"/>
                    <a:pt x="7" y="4"/>
                    <a:pt x="7" y="4"/>
                  </a:cubicBezTo>
                  <a:cubicBezTo>
                    <a:pt x="9" y="5"/>
                    <a:pt x="10" y="5"/>
                    <a:pt x="12" y="6"/>
                  </a:cubicBezTo>
                  <a:cubicBezTo>
                    <a:pt x="16" y="8"/>
                    <a:pt x="18" y="10"/>
                    <a:pt x="20" y="13"/>
                  </a:cubicBezTo>
                  <a:cubicBezTo>
                    <a:pt x="21" y="13"/>
                    <a:pt x="21" y="13"/>
                    <a:pt x="22" y="13"/>
                  </a:cubicBezTo>
                  <a:cubicBezTo>
                    <a:pt x="21" y="12"/>
                    <a:pt x="20" y="12"/>
                    <a:pt x="20" y="12"/>
                  </a:cubicBezTo>
                  <a:cubicBezTo>
                    <a:pt x="21" y="12"/>
                    <a:pt x="22" y="12"/>
                    <a:pt x="23" y="12"/>
                  </a:cubicBezTo>
                  <a:cubicBezTo>
                    <a:pt x="22" y="11"/>
                    <a:pt x="21" y="10"/>
                    <a:pt x="22" y="9"/>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87" name="Freeform 1838">
              <a:extLst>
                <a:ext uri="{FF2B5EF4-FFF2-40B4-BE49-F238E27FC236}">
                  <a16:creationId xmlns:a16="http://schemas.microsoft.com/office/drawing/2014/main" id="{7B9B7D3F-054C-455D-B13F-9E716559E4FB}"/>
                </a:ext>
              </a:extLst>
            </p:cNvPr>
            <p:cNvSpPr>
              <a:spLocks/>
            </p:cNvSpPr>
            <p:nvPr/>
          </p:nvSpPr>
          <p:spPr bwMode="auto">
            <a:xfrm>
              <a:off x="1748" y="3955"/>
              <a:ext cx="9" cy="11"/>
            </a:xfrm>
            <a:custGeom>
              <a:avLst/>
              <a:gdLst>
                <a:gd name="T0" fmla="*/ 2 w 4"/>
                <a:gd name="T1" fmla="*/ 5 h 5"/>
                <a:gd name="T2" fmla="*/ 4 w 4"/>
                <a:gd name="T3" fmla="*/ 4 h 5"/>
                <a:gd name="T4" fmla="*/ 3 w 4"/>
                <a:gd name="T5" fmla="*/ 2 h 5"/>
                <a:gd name="T6" fmla="*/ 2 w 4"/>
                <a:gd name="T7" fmla="*/ 5 h 5"/>
              </a:gdLst>
              <a:ahLst/>
              <a:cxnLst>
                <a:cxn ang="0">
                  <a:pos x="T0" y="T1"/>
                </a:cxn>
                <a:cxn ang="0">
                  <a:pos x="T2" y="T3"/>
                </a:cxn>
                <a:cxn ang="0">
                  <a:pos x="T4" y="T5"/>
                </a:cxn>
                <a:cxn ang="0">
                  <a:pos x="T6" y="T7"/>
                </a:cxn>
              </a:cxnLst>
              <a:rect l="0" t="0" r="r" b="b"/>
              <a:pathLst>
                <a:path w="4" h="5">
                  <a:moveTo>
                    <a:pt x="2" y="5"/>
                  </a:moveTo>
                  <a:cubicBezTo>
                    <a:pt x="3" y="4"/>
                    <a:pt x="4" y="5"/>
                    <a:pt x="4" y="4"/>
                  </a:cubicBezTo>
                  <a:cubicBezTo>
                    <a:pt x="4" y="3"/>
                    <a:pt x="4" y="2"/>
                    <a:pt x="3" y="2"/>
                  </a:cubicBezTo>
                  <a:cubicBezTo>
                    <a:pt x="2" y="0"/>
                    <a:pt x="0" y="5"/>
                    <a:pt x="2"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88" name="Freeform 1839">
              <a:extLst>
                <a:ext uri="{FF2B5EF4-FFF2-40B4-BE49-F238E27FC236}">
                  <a16:creationId xmlns:a16="http://schemas.microsoft.com/office/drawing/2014/main" id="{275A6449-F0B8-4A04-AE13-3284BDEE3BD6}"/>
                </a:ext>
              </a:extLst>
            </p:cNvPr>
            <p:cNvSpPr>
              <a:spLocks/>
            </p:cNvSpPr>
            <p:nvPr/>
          </p:nvSpPr>
          <p:spPr bwMode="auto">
            <a:xfrm>
              <a:off x="1740" y="4167"/>
              <a:ext cx="8" cy="5"/>
            </a:xfrm>
            <a:custGeom>
              <a:avLst/>
              <a:gdLst>
                <a:gd name="T0" fmla="*/ 3 w 3"/>
                <a:gd name="T1" fmla="*/ 0 h 2"/>
                <a:gd name="T2" fmla="*/ 0 w 3"/>
                <a:gd name="T3" fmla="*/ 0 h 2"/>
                <a:gd name="T4" fmla="*/ 1 w 3"/>
                <a:gd name="T5" fmla="*/ 2 h 2"/>
                <a:gd name="T6" fmla="*/ 3 w 3"/>
                <a:gd name="T7" fmla="*/ 0 h 2"/>
              </a:gdLst>
              <a:ahLst/>
              <a:cxnLst>
                <a:cxn ang="0">
                  <a:pos x="T0" y="T1"/>
                </a:cxn>
                <a:cxn ang="0">
                  <a:pos x="T2" y="T3"/>
                </a:cxn>
                <a:cxn ang="0">
                  <a:pos x="T4" y="T5"/>
                </a:cxn>
                <a:cxn ang="0">
                  <a:pos x="T6" y="T7"/>
                </a:cxn>
              </a:cxnLst>
              <a:rect l="0" t="0" r="r" b="b"/>
              <a:pathLst>
                <a:path w="3" h="2">
                  <a:moveTo>
                    <a:pt x="3" y="0"/>
                  </a:moveTo>
                  <a:cubicBezTo>
                    <a:pt x="2" y="0"/>
                    <a:pt x="1" y="1"/>
                    <a:pt x="0" y="0"/>
                  </a:cubicBezTo>
                  <a:cubicBezTo>
                    <a:pt x="0" y="1"/>
                    <a:pt x="1" y="1"/>
                    <a:pt x="1" y="2"/>
                  </a:cubicBezTo>
                  <a:cubicBezTo>
                    <a:pt x="2" y="1"/>
                    <a:pt x="2" y="1"/>
                    <a:pt x="3"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89" name="Freeform 1840">
              <a:extLst>
                <a:ext uri="{FF2B5EF4-FFF2-40B4-BE49-F238E27FC236}">
                  <a16:creationId xmlns:a16="http://schemas.microsoft.com/office/drawing/2014/main" id="{D46E0B19-BF9C-4195-A224-77A02827E84F}"/>
                </a:ext>
              </a:extLst>
            </p:cNvPr>
            <p:cNvSpPr>
              <a:spLocks/>
            </p:cNvSpPr>
            <p:nvPr/>
          </p:nvSpPr>
          <p:spPr bwMode="auto">
            <a:xfrm>
              <a:off x="1731" y="4066"/>
              <a:ext cx="9" cy="9"/>
            </a:xfrm>
            <a:custGeom>
              <a:avLst/>
              <a:gdLst>
                <a:gd name="T0" fmla="*/ 4 w 4"/>
                <a:gd name="T1" fmla="*/ 4 h 4"/>
                <a:gd name="T2" fmla="*/ 3 w 4"/>
                <a:gd name="T3" fmla="*/ 1 h 4"/>
                <a:gd name="T4" fmla="*/ 1 w 4"/>
                <a:gd name="T5" fmla="*/ 1 h 4"/>
                <a:gd name="T6" fmla="*/ 2 w 4"/>
                <a:gd name="T7" fmla="*/ 3 h 4"/>
                <a:gd name="T8" fmla="*/ 4 w 4"/>
                <a:gd name="T9" fmla="*/ 4 h 4"/>
              </a:gdLst>
              <a:ahLst/>
              <a:cxnLst>
                <a:cxn ang="0">
                  <a:pos x="T0" y="T1"/>
                </a:cxn>
                <a:cxn ang="0">
                  <a:pos x="T2" y="T3"/>
                </a:cxn>
                <a:cxn ang="0">
                  <a:pos x="T4" y="T5"/>
                </a:cxn>
                <a:cxn ang="0">
                  <a:pos x="T6" y="T7"/>
                </a:cxn>
                <a:cxn ang="0">
                  <a:pos x="T8" y="T9"/>
                </a:cxn>
              </a:cxnLst>
              <a:rect l="0" t="0" r="r" b="b"/>
              <a:pathLst>
                <a:path w="4" h="4">
                  <a:moveTo>
                    <a:pt x="4" y="4"/>
                  </a:moveTo>
                  <a:cubicBezTo>
                    <a:pt x="4" y="3"/>
                    <a:pt x="4" y="0"/>
                    <a:pt x="3" y="1"/>
                  </a:cubicBezTo>
                  <a:cubicBezTo>
                    <a:pt x="2" y="1"/>
                    <a:pt x="2" y="0"/>
                    <a:pt x="1" y="1"/>
                  </a:cubicBezTo>
                  <a:cubicBezTo>
                    <a:pt x="0" y="2"/>
                    <a:pt x="1" y="2"/>
                    <a:pt x="2" y="3"/>
                  </a:cubicBezTo>
                  <a:cubicBezTo>
                    <a:pt x="2" y="3"/>
                    <a:pt x="3" y="4"/>
                    <a:pt x="4"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90" name="Freeform 1841">
              <a:extLst>
                <a:ext uri="{FF2B5EF4-FFF2-40B4-BE49-F238E27FC236}">
                  <a16:creationId xmlns:a16="http://schemas.microsoft.com/office/drawing/2014/main" id="{C6F6D94E-1ECA-41E1-8A48-5364BF3E8215}"/>
                </a:ext>
              </a:extLst>
            </p:cNvPr>
            <p:cNvSpPr>
              <a:spLocks/>
            </p:cNvSpPr>
            <p:nvPr/>
          </p:nvSpPr>
          <p:spPr bwMode="auto">
            <a:xfrm>
              <a:off x="1745" y="3962"/>
              <a:ext cx="5" cy="7"/>
            </a:xfrm>
            <a:custGeom>
              <a:avLst/>
              <a:gdLst>
                <a:gd name="T0" fmla="*/ 2 w 2"/>
                <a:gd name="T1" fmla="*/ 0 h 3"/>
                <a:gd name="T2" fmla="*/ 0 w 2"/>
                <a:gd name="T3" fmla="*/ 2 h 3"/>
                <a:gd name="T4" fmla="*/ 2 w 2"/>
                <a:gd name="T5" fmla="*/ 0 h 3"/>
              </a:gdLst>
              <a:ahLst/>
              <a:cxnLst>
                <a:cxn ang="0">
                  <a:pos x="T0" y="T1"/>
                </a:cxn>
                <a:cxn ang="0">
                  <a:pos x="T2" y="T3"/>
                </a:cxn>
                <a:cxn ang="0">
                  <a:pos x="T4" y="T5"/>
                </a:cxn>
              </a:cxnLst>
              <a:rect l="0" t="0" r="r" b="b"/>
              <a:pathLst>
                <a:path w="2" h="3">
                  <a:moveTo>
                    <a:pt x="2" y="0"/>
                  </a:moveTo>
                  <a:cubicBezTo>
                    <a:pt x="1" y="1"/>
                    <a:pt x="0" y="1"/>
                    <a:pt x="0" y="2"/>
                  </a:cubicBezTo>
                  <a:cubicBezTo>
                    <a:pt x="2" y="3"/>
                    <a:pt x="1" y="1"/>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91" name="Freeform 1842">
              <a:extLst>
                <a:ext uri="{FF2B5EF4-FFF2-40B4-BE49-F238E27FC236}">
                  <a16:creationId xmlns:a16="http://schemas.microsoft.com/office/drawing/2014/main" id="{8CA9965D-1DFB-40CC-91C6-CC9625C3B587}"/>
                </a:ext>
              </a:extLst>
            </p:cNvPr>
            <p:cNvSpPr>
              <a:spLocks/>
            </p:cNvSpPr>
            <p:nvPr/>
          </p:nvSpPr>
          <p:spPr bwMode="auto">
            <a:xfrm>
              <a:off x="1722" y="4049"/>
              <a:ext cx="9" cy="7"/>
            </a:xfrm>
            <a:custGeom>
              <a:avLst/>
              <a:gdLst>
                <a:gd name="T0" fmla="*/ 2 w 4"/>
                <a:gd name="T1" fmla="*/ 2 h 3"/>
                <a:gd name="T2" fmla="*/ 1 w 4"/>
                <a:gd name="T3" fmla="*/ 3 h 3"/>
                <a:gd name="T4" fmla="*/ 3 w 4"/>
                <a:gd name="T5" fmla="*/ 0 h 3"/>
                <a:gd name="T6" fmla="*/ 2 w 4"/>
                <a:gd name="T7" fmla="*/ 0 h 3"/>
                <a:gd name="T8" fmla="*/ 1 w 4"/>
                <a:gd name="T9" fmla="*/ 0 h 3"/>
                <a:gd name="T10" fmla="*/ 0 w 4"/>
                <a:gd name="T11" fmla="*/ 0 h 3"/>
                <a:gd name="T12" fmla="*/ 2 w 4"/>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2" y="2"/>
                  </a:moveTo>
                  <a:cubicBezTo>
                    <a:pt x="2" y="3"/>
                    <a:pt x="2" y="3"/>
                    <a:pt x="1" y="3"/>
                  </a:cubicBezTo>
                  <a:cubicBezTo>
                    <a:pt x="3" y="3"/>
                    <a:pt x="4" y="2"/>
                    <a:pt x="3" y="0"/>
                  </a:cubicBezTo>
                  <a:cubicBezTo>
                    <a:pt x="3" y="0"/>
                    <a:pt x="3" y="0"/>
                    <a:pt x="2" y="0"/>
                  </a:cubicBezTo>
                  <a:cubicBezTo>
                    <a:pt x="2" y="0"/>
                    <a:pt x="1" y="0"/>
                    <a:pt x="1" y="0"/>
                  </a:cubicBezTo>
                  <a:cubicBezTo>
                    <a:pt x="1" y="0"/>
                    <a:pt x="0" y="0"/>
                    <a:pt x="0" y="0"/>
                  </a:cubicBezTo>
                  <a:cubicBezTo>
                    <a:pt x="1" y="1"/>
                    <a:pt x="2" y="2"/>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92" name="Freeform 1843">
              <a:extLst>
                <a:ext uri="{FF2B5EF4-FFF2-40B4-BE49-F238E27FC236}">
                  <a16:creationId xmlns:a16="http://schemas.microsoft.com/office/drawing/2014/main" id="{62164753-E67F-495F-879F-D8031C709229}"/>
                </a:ext>
              </a:extLst>
            </p:cNvPr>
            <p:cNvSpPr>
              <a:spLocks/>
            </p:cNvSpPr>
            <p:nvPr/>
          </p:nvSpPr>
          <p:spPr bwMode="auto">
            <a:xfrm>
              <a:off x="1722" y="4035"/>
              <a:ext cx="14" cy="21"/>
            </a:xfrm>
            <a:custGeom>
              <a:avLst/>
              <a:gdLst>
                <a:gd name="T0" fmla="*/ 3 w 6"/>
                <a:gd name="T1" fmla="*/ 5 h 9"/>
                <a:gd name="T2" fmla="*/ 4 w 6"/>
                <a:gd name="T3" fmla="*/ 9 h 9"/>
                <a:gd name="T4" fmla="*/ 6 w 6"/>
                <a:gd name="T5" fmla="*/ 6 h 9"/>
                <a:gd name="T6" fmla="*/ 4 w 6"/>
                <a:gd name="T7" fmla="*/ 3 h 9"/>
                <a:gd name="T8" fmla="*/ 3 w 6"/>
                <a:gd name="T9" fmla="*/ 1 h 9"/>
                <a:gd name="T10" fmla="*/ 3 w 6"/>
                <a:gd name="T11" fmla="*/ 0 h 9"/>
                <a:gd name="T12" fmla="*/ 2 w 6"/>
                <a:gd name="T13" fmla="*/ 1 h 9"/>
                <a:gd name="T14" fmla="*/ 1 w 6"/>
                <a:gd name="T15" fmla="*/ 4 h 9"/>
                <a:gd name="T16" fmla="*/ 3 w 6"/>
                <a:gd name="T17" fmla="*/ 4 h 9"/>
                <a:gd name="T18" fmla="*/ 1 w 6"/>
                <a:gd name="T19" fmla="*/ 5 h 9"/>
                <a:gd name="T20" fmla="*/ 3 w 6"/>
                <a:gd name="T21"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9">
                  <a:moveTo>
                    <a:pt x="3" y="5"/>
                  </a:moveTo>
                  <a:cubicBezTo>
                    <a:pt x="4" y="6"/>
                    <a:pt x="4" y="8"/>
                    <a:pt x="4" y="9"/>
                  </a:cubicBezTo>
                  <a:cubicBezTo>
                    <a:pt x="6" y="8"/>
                    <a:pt x="6" y="8"/>
                    <a:pt x="6" y="6"/>
                  </a:cubicBezTo>
                  <a:cubicBezTo>
                    <a:pt x="5" y="5"/>
                    <a:pt x="5" y="5"/>
                    <a:pt x="4" y="3"/>
                  </a:cubicBezTo>
                  <a:cubicBezTo>
                    <a:pt x="4" y="3"/>
                    <a:pt x="4" y="2"/>
                    <a:pt x="3" y="1"/>
                  </a:cubicBezTo>
                  <a:cubicBezTo>
                    <a:pt x="3" y="1"/>
                    <a:pt x="4" y="0"/>
                    <a:pt x="3" y="0"/>
                  </a:cubicBezTo>
                  <a:cubicBezTo>
                    <a:pt x="3" y="0"/>
                    <a:pt x="2" y="0"/>
                    <a:pt x="2" y="1"/>
                  </a:cubicBezTo>
                  <a:cubicBezTo>
                    <a:pt x="0" y="2"/>
                    <a:pt x="2" y="3"/>
                    <a:pt x="1" y="4"/>
                  </a:cubicBezTo>
                  <a:cubicBezTo>
                    <a:pt x="2" y="4"/>
                    <a:pt x="3" y="4"/>
                    <a:pt x="3" y="4"/>
                  </a:cubicBezTo>
                  <a:cubicBezTo>
                    <a:pt x="3" y="5"/>
                    <a:pt x="2" y="5"/>
                    <a:pt x="1" y="5"/>
                  </a:cubicBezTo>
                  <a:cubicBezTo>
                    <a:pt x="2" y="5"/>
                    <a:pt x="3" y="6"/>
                    <a:pt x="3"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93" name="Freeform 1844">
              <a:extLst>
                <a:ext uri="{FF2B5EF4-FFF2-40B4-BE49-F238E27FC236}">
                  <a16:creationId xmlns:a16="http://schemas.microsoft.com/office/drawing/2014/main" id="{90AAE58B-005E-4604-B1B2-2C0B6A56DA01}"/>
                </a:ext>
              </a:extLst>
            </p:cNvPr>
            <p:cNvSpPr>
              <a:spLocks/>
            </p:cNvSpPr>
            <p:nvPr/>
          </p:nvSpPr>
          <p:spPr bwMode="auto">
            <a:xfrm>
              <a:off x="1726" y="4099"/>
              <a:ext cx="19" cy="12"/>
            </a:xfrm>
            <a:custGeom>
              <a:avLst/>
              <a:gdLst>
                <a:gd name="T0" fmla="*/ 5 w 8"/>
                <a:gd name="T1" fmla="*/ 3 h 5"/>
                <a:gd name="T2" fmla="*/ 7 w 8"/>
                <a:gd name="T3" fmla="*/ 2 h 5"/>
                <a:gd name="T4" fmla="*/ 4 w 8"/>
                <a:gd name="T5" fmla="*/ 2 h 5"/>
                <a:gd name="T6" fmla="*/ 5 w 8"/>
                <a:gd name="T7" fmla="*/ 1 h 5"/>
                <a:gd name="T8" fmla="*/ 4 w 8"/>
                <a:gd name="T9" fmla="*/ 1 h 5"/>
                <a:gd name="T10" fmla="*/ 4 w 8"/>
                <a:gd name="T11" fmla="*/ 0 h 5"/>
                <a:gd name="T12" fmla="*/ 2 w 8"/>
                <a:gd name="T13" fmla="*/ 0 h 5"/>
                <a:gd name="T14" fmla="*/ 2 w 8"/>
                <a:gd name="T15" fmla="*/ 0 h 5"/>
                <a:gd name="T16" fmla="*/ 1 w 8"/>
                <a:gd name="T17" fmla="*/ 0 h 5"/>
                <a:gd name="T18" fmla="*/ 4 w 8"/>
                <a:gd name="T19" fmla="*/ 1 h 5"/>
                <a:gd name="T20" fmla="*/ 2 w 8"/>
                <a:gd name="T21" fmla="*/ 2 h 5"/>
                <a:gd name="T22" fmla="*/ 1 w 8"/>
                <a:gd name="T23" fmla="*/ 2 h 5"/>
                <a:gd name="T24" fmla="*/ 3 w 8"/>
                <a:gd name="T25" fmla="*/ 4 h 5"/>
                <a:gd name="T26" fmla="*/ 2 w 8"/>
                <a:gd name="T27" fmla="*/ 5 h 5"/>
                <a:gd name="T28" fmla="*/ 5 w 8"/>
                <a:gd name="T2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5">
                  <a:moveTo>
                    <a:pt x="5" y="3"/>
                  </a:moveTo>
                  <a:cubicBezTo>
                    <a:pt x="6" y="2"/>
                    <a:pt x="6" y="3"/>
                    <a:pt x="7" y="2"/>
                  </a:cubicBezTo>
                  <a:cubicBezTo>
                    <a:pt x="8" y="1"/>
                    <a:pt x="5" y="2"/>
                    <a:pt x="4" y="2"/>
                  </a:cubicBezTo>
                  <a:cubicBezTo>
                    <a:pt x="4" y="2"/>
                    <a:pt x="5" y="1"/>
                    <a:pt x="5" y="1"/>
                  </a:cubicBezTo>
                  <a:cubicBezTo>
                    <a:pt x="5" y="1"/>
                    <a:pt x="4" y="1"/>
                    <a:pt x="4" y="1"/>
                  </a:cubicBezTo>
                  <a:cubicBezTo>
                    <a:pt x="3" y="1"/>
                    <a:pt x="4" y="0"/>
                    <a:pt x="4" y="0"/>
                  </a:cubicBezTo>
                  <a:cubicBezTo>
                    <a:pt x="3" y="0"/>
                    <a:pt x="3" y="0"/>
                    <a:pt x="2" y="0"/>
                  </a:cubicBezTo>
                  <a:cubicBezTo>
                    <a:pt x="3" y="0"/>
                    <a:pt x="1" y="0"/>
                    <a:pt x="2" y="0"/>
                  </a:cubicBezTo>
                  <a:cubicBezTo>
                    <a:pt x="2" y="0"/>
                    <a:pt x="1" y="0"/>
                    <a:pt x="1" y="0"/>
                  </a:cubicBezTo>
                  <a:cubicBezTo>
                    <a:pt x="2" y="1"/>
                    <a:pt x="3" y="2"/>
                    <a:pt x="4" y="1"/>
                  </a:cubicBezTo>
                  <a:cubicBezTo>
                    <a:pt x="3" y="2"/>
                    <a:pt x="2" y="3"/>
                    <a:pt x="2" y="2"/>
                  </a:cubicBezTo>
                  <a:cubicBezTo>
                    <a:pt x="2" y="2"/>
                    <a:pt x="1" y="2"/>
                    <a:pt x="1" y="2"/>
                  </a:cubicBezTo>
                  <a:cubicBezTo>
                    <a:pt x="0" y="1"/>
                    <a:pt x="1" y="4"/>
                    <a:pt x="3" y="4"/>
                  </a:cubicBezTo>
                  <a:cubicBezTo>
                    <a:pt x="3" y="4"/>
                    <a:pt x="3" y="5"/>
                    <a:pt x="2" y="5"/>
                  </a:cubicBezTo>
                  <a:cubicBezTo>
                    <a:pt x="3" y="5"/>
                    <a:pt x="4" y="3"/>
                    <a:pt x="5"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94" name="Freeform 1845">
              <a:extLst>
                <a:ext uri="{FF2B5EF4-FFF2-40B4-BE49-F238E27FC236}">
                  <a16:creationId xmlns:a16="http://schemas.microsoft.com/office/drawing/2014/main" id="{790BC185-BA5F-4ADD-9032-4821F44699C2}"/>
                </a:ext>
              </a:extLst>
            </p:cNvPr>
            <p:cNvSpPr>
              <a:spLocks/>
            </p:cNvSpPr>
            <p:nvPr/>
          </p:nvSpPr>
          <p:spPr bwMode="auto">
            <a:xfrm>
              <a:off x="1722" y="4059"/>
              <a:ext cx="9" cy="7"/>
            </a:xfrm>
            <a:custGeom>
              <a:avLst/>
              <a:gdLst>
                <a:gd name="T0" fmla="*/ 4 w 4"/>
                <a:gd name="T1" fmla="*/ 3 h 3"/>
                <a:gd name="T2" fmla="*/ 3 w 4"/>
                <a:gd name="T3" fmla="*/ 2 h 3"/>
                <a:gd name="T4" fmla="*/ 3 w 4"/>
                <a:gd name="T5" fmla="*/ 1 h 3"/>
                <a:gd name="T6" fmla="*/ 2 w 4"/>
                <a:gd name="T7" fmla="*/ 2 h 3"/>
                <a:gd name="T8" fmla="*/ 1 w 4"/>
                <a:gd name="T9" fmla="*/ 1 h 3"/>
                <a:gd name="T10" fmla="*/ 0 w 4"/>
                <a:gd name="T11" fmla="*/ 1 h 3"/>
                <a:gd name="T12" fmla="*/ 4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3"/>
                  </a:moveTo>
                  <a:cubicBezTo>
                    <a:pt x="4" y="2"/>
                    <a:pt x="4" y="0"/>
                    <a:pt x="3" y="2"/>
                  </a:cubicBezTo>
                  <a:cubicBezTo>
                    <a:pt x="3" y="1"/>
                    <a:pt x="3" y="1"/>
                    <a:pt x="3" y="1"/>
                  </a:cubicBezTo>
                  <a:cubicBezTo>
                    <a:pt x="2" y="1"/>
                    <a:pt x="2" y="2"/>
                    <a:pt x="2" y="2"/>
                  </a:cubicBezTo>
                  <a:cubicBezTo>
                    <a:pt x="2" y="2"/>
                    <a:pt x="2" y="1"/>
                    <a:pt x="1" y="1"/>
                  </a:cubicBezTo>
                  <a:cubicBezTo>
                    <a:pt x="1" y="1"/>
                    <a:pt x="0" y="1"/>
                    <a:pt x="0" y="1"/>
                  </a:cubicBezTo>
                  <a:cubicBezTo>
                    <a:pt x="0" y="3"/>
                    <a:pt x="4" y="3"/>
                    <a:pt x="4"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95" name="Freeform 1846">
              <a:extLst>
                <a:ext uri="{FF2B5EF4-FFF2-40B4-BE49-F238E27FC236}">
                  <a16:creationId xmlns:a16="http://schemas.microsoft.com/office/drawing/2014/main" id="{661A7CC7-D68F-43F1-A066-BF4F2E6BC45B}"/>
                </a:ext>
              </a:extLst>
            </p:cNvPr>
            <p:cNvSpPr>
              <a:spLocks/>
            </p:cNvSpPr>
            <p:nvPr/>
          </p:nvSpPr>
          <p:spPr bwMode="auto">
            <a:xfrm>
              <a:off x="1752" y="3848"/>
              <a:ext cx="26" cy="50"/>
            </a:xfrm>
            <a:custGeom>
              <a:avLst/>
              <a:gdLst>
                <a:gd name="T0" fmla="*/ 0 w 11"/>
                <a:gd name="T1" fmla="*/ 19 h 21"/>
                <a:gd name="T2" fmla="*/ 5 w 11"/>
                <a:gd name="T3" fmla="*/ 21 h 21"/>
                <a:gd name="T4" fmla="*/ 7 w 11"/>
                <a:gd name="T5" fmla="*/ 19 h 21"/>
                <a:gd name="T6" fmla="*/ 6 w 11"/>
                <a:gd name="T7" fmla="*/ 17 h 21"/>
                <a:gd name="T8" fmla="*/ 8 w 11"/>
                <a:gd name="T9" fmla="*/ 16 h 21"/>
                <a:gd name="T10" fmla="*/ 9 w 11"/>
                <a:gd name="T11" fmla="*/ 16 h 21"/>
                <a:gd name="T12" fmla="*/ 7 w 11"/>
                <a:gd name="T13" fmla="*/ 14 h 21"/>
                <a:gd name="T14" fmla="*/ 9 w 11"/>
                <a:gd name="T15" fmla="*/ 14 h 21"/>
                <a:gd name="T16" fmla="*/ 7 w 11"/>
                <a:gd name="T17" fmla="*/ 11 h 21"/>
                <a:gd name="T18" fmla="*/ 6 w 11"/>
                <a:gd name="T19" fmla="*/ 10 h 21"/>
                <a:gd name="T20" fmla="*/ 8 w 11"/>
                <a:gd name="T21" fmla="*/ 10 h 21"/>
                <a:gd name="T22" fmla="*/ 8 w 11"/>
                <a:gd name="T23" fmla="*/ 7 h 21"/>
                <a:gd name="T24" fmla="*/ 10 w 11"/>
                <a:gd name="T25" fmla="*/ 6 h 21"/>
                <a:gd name="T26" fmla="*/ 9 w 11"/>
                <a:gd name="T27" fmla="*/ 5 h 21"/>
                <a:gd name="T28" fmla="*/ 10 w 11"/>
                <a:gd name="T29" fmla="*/ 4 h 21"/>
                <a:gd name="T30" fmla="*/ 9 w 11"/>
                <a:gd name="T31" fmla="*/ 3 h 21"/>
                <a:gd name="T32" fmla="*/ 9 w 11"/>
                <a:gd name="T33" fmla="*/ 1 h 21"/>
                <a:gd name="T34" fmla="*/ 6 w 11"/>
                <a:gd name="T35" fmla="*/ 2 h 21"/>
                <a:gd name="T36" fmla="*/ 4 w 11"/>
                <a:gd name="T37" fmla="*/ 1 h 21"/>
                <a:gd name="T38" fmla="*/ 4 w 11"/>
                <a:gd name="T39" fmla="*/ 2 h 21"/>
                <a:gd name="T40" fmla="*/ 3 w 11"/>
                <a:gd name="T41" fmla="*/ 6 h 21"/>
                <a:gd name="T42" fmla="*/ 2 w 11"/>
                <a:gd name="T43" fmla="*/ 9 h 21"/>
                <a:gd name="T44" fmla="*/ 1 w 11"/>
                <a:gd name="T45" fmla="*/ 16 h 21"/>
                <a:gd name="T46" fmla="*/ 0 w 11"/>
                <a:gd name="T47"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 h="21">
                  <a:moveTo>
                    <a:pt x="0" y="19"/>
                  </a:moveTo>
                  <a:cubicBezTo>
                    <a:pt x="2" y="19"/>
                    <a:pt x="4" y="20"/>
                    <a:pt x="5" y="21"/>
                  </a:cubicBezTo>
                  <a:cubicBezTo>
                    <a:pt x="6" y="20"/>
                    <a:pt x="7" y="20"/>
                    <a:pt x="7" y="19"/>
                  </a:cubicBezTo>
                  <a:cubicBezTo>
                    <a:pt x="7" y="19"/>
                    <a:pt x="6" y="18"/>
                    <a:pt x="6" y="17"/>
                  </a:cubicBezTo>
                  <a:cubicBezTo>
                    <a:pt x="6" y="17"/>
                    <a:pt x="11" y="17"/>
                    <a:pt x="8" y="16"/>
                  </a:cubicBezTo>
                  <a:cubicBezTo>
                    <a:pt x="8" y="16"/>
                    <a:pt x="9" y="16"/>
                    <a:pt x="9" y="16"/>
                  </a:cubicBezTo>
                  <a:cubicBezTo>
                    <a:pt x="8" y="15"/>
                    <a:pt x="8" y="15"/>
                    <a:pt x="7" y="14"/>
                  </a:cubicBezTo>
                  <a:cubicBezTo>
                    <a:pt x="8" y="14"/>
                    <a:pt x="9" y="15"/>
                    <a:pt x="9" y="14"/>
                  </a:cubicBezTo>
                  <a:cubicBezTo>
                    <a:pt x="9" y="13"/>
                    <a:pt x="8" y="12"/>
                    <a:pt x="7" y="11"/>
                  </a:cubicBezTo>
                  <a:cubicBezTo>
                    <a:pt x="6" y="11"/>
                    <a:pt x="6" y="11"/>
                    <a:pt x="6" y="10"/>
                  </a:cubicBezTo>
                  <a:cubicBezTo>
                    <a:pt x="6" y="8"/>
                    <a:pt x="7" y="10"/>
                    <a:pt x="8" y="10"/>
                  </a:cubicBezTo>
                  <a:cubicBezTo>
                    <a:pt x="7" y="9"/>
                    <a:pt x="7" y="8"/>
                    <a:pt x="8" y="7"/>
                  </a:cubicBezTo>
                  <a:cubicBezTo>
                    <a:pt x="9" y="7"/>
                    <a:pt x="11" y="7"/>
                    <a:pt x="10" y="6"/>
                  </a:cubicBezTo>
                  <a:cubicBezTo>
                    <a:pt x="10" y="5"/>
                    <a:pt x="9" y="5"/>
                    <a:pt x="9" y="5"/>
                  </a:cubicBezTo>
                  <a:cubicBezTo>
                    <a:pt x="9" y="5"/>
                    <a:pt x="10" y="5"/>
                    <a:pt x="10" y="4"/>
                  </a:cubicBezTo>
                  <a:cubicBezTo>
                    <a:pt x="9" y="4"/>
                    <a:pt x="9" y="4"/>
                    <a:pt x="9" y="3"/>
                  </a:cubicBezTo>
                  <a:cubicBezTo>
                    <a:pt x="9" y="3"/>
                    <a:pt x="8" y="2"/>
                    <a:pt x="9" y="1"/>
                  </a:cubicBezTo>
                  <a:cubicBezTo>
                    <a:pt x="8" y="0"/>
                    <a:pt x="7" y="1"/>
                    <a:pt x="6" y="2"/>
                  </a:cubicBezTo>
                  <a:cubicBezTo>
                    <a:pt x="5" y="2"/>
                    <a:pt x="5" y="2"/>
                    <a:pt x="4" y="1"/>
                  </a:cubicBezTo>
                  <a:cubicBezTo>
                    <a:pt x="6" y="2"/>
                    <a:pt x="4" y="0"/>
                    <a:pt x="4" y="2"/>
                  </a:cubicBezTo>
                  <a:cubicBezTo>
                    <a:pt x="3" y="3"/>
                    <a:pt x="3" y="4"/>
                    <a:pt x="3" y="6"/>
                  </a:cubicBezTo>
                  <a:cubicBezTo>
                    <a:pt x="2" y="7"/>
                    <a:pt x="2" y="8"/>
                    <a:pt x="2" y="9"/>
                  </a:cubicBezTo>
                  <a:cubicBezTo>
                    <a:pt x="2" y="12"/>
                    <a:pt x="3" y="14"/>
                    <a:pt x="1" y="16"/>
                  </a:cubicBezTo>
                  <a:cubicBezTo>
                    <a:pt x="1" y="17"/>
                    <a:pt x="0" y="18"/>
                    <a:pt x="0" y="19"/>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96" name="Freeform 1847">
              <a:extLst>
                <a:ext uri="{FF2B5EF4-FFF2-40B4-BE49-F238E27FC236}">
                  <a16:creationId xmlns:a16="http://schemas.microsoft.com/office/drawing/2014/main" id="{705FC273-FBE5-4156-93BD-B1C148EB0834}"/>
                </a:ext>
              </a:extLst>
            </p:cNvPr>
            <p:cNvSpPr>
              <a:spLocks/>
            </p:cNvSpPr>
            <p:nvPr/>
          </p:nvSpPr>
          <p:spPr bwMode="auto">
            <a:xfrm>
              <a:off x="1743" y="3931"/>
              <a:ext cx="2" cy="5"/>
            </a:xfrm>
            <a:custGeom>
              <a:avLst/>
              <a:gdLst>
                <a:gd name="T0" fmla="*/ 0 w 1"/>
                <a:gd name="T1" fmla="*/ 2 h 2"/>
                <a:gd name="T2" fmla="*/ 0 w 1"/>
                <a:gd name="T3" fmla="*/ 0 h 2"/>
                <a:gd name="T4" fmla="*/ 0 w 1"/>
                <a:gd name="T5" fmla="*/ 2 h 2"/>
              </a:gdLst>
              <a:ahLst/>
              <a:cxnLst>
                <a:cxn ang="0">
                  <a:pos x="T0" y="T1"/>
                </a:cxn>
                <a:cxn ang="0">
                  <a:pos x="T2" y="T3"/>
                </a:cxn>
                <a:cxn ang="0">
                  <a:pos x="T4" y="T5"/>
                </a:cxn>
              </a:cxnLst>
              <a:rect l="0" t="0" r="r" b="b"/>
              <a:pathLst>
                <a:path w="1" h="2">
                  <a:moveTo>
                    <a:pt x="0" y="2"/>
                  </a:moveTo>
                  <a:cubicBezTo>
                    <a:pt x="0" y="1"/>
                    <a:pt x="1" y="0"/>
                    <a:pt x="0" y="0"/>
                  </a:cubicBezTo>
                  <a:cubicBezTo>
                    <a:pt x="0" y="1"/>
                    <a:pt x="0"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97" name="Freeform 1848">
              <a:extLst>
                <a:ext uri="{FF2B5EF4-FFF2-40B4-BE49-F238E27FC236}">
                  <a16:creationId xmlns:a16="http://schemas.microsoft.com/office/drawing/2014/main" id="{C7B28D92-0427-4B1D-A33A-160A312D1608}"/>
                </a:ext>
              </a:extLst>
            </p:cNvPr>
            <p:cNvSpPr>
              <a:spLocks/>
            </p:cNvSpPr>
            <p:nvPr/>
          </p:nvSpPr>
          <p:spPr bwMode="auto">
            <a:xfrm>
              <a:off x="1759" y="3905"/>
              <a:ext cx="7" cy="7"/>
            </a:xfrm>
            <a:custGeom>
              <a:avLst/>
              <a:gdLst>
                <a:gd name="T0" fmla="*/ 0 w 3"/>
                <a:gd name="T1" fmla="*/ 2 h 3"/>
                <a:gd name="T2" fmla="*/ 1 w 3"/>
                <a:gd name="T3" fmla="*/ 3 h 3"/>
                <a:gd name="T4" fmla="*/ 3 w 3"/>
                <a:gd name="T5" fmla="*/ 3 h 3"/>
                <a:gd name="T6" fmla="*/ 0 w 3"/>
                <a:gd name="T7" fmla="*/ 2 h 3"/>
              </a:gdLst>
              <a:ahLst/>
              <a:cxnLst>
                <a:cxn ang="0">
                  <a:pos x="T0" y="T1"/>
                </a:cxn>
                <a:cxn ang="0">
                  <a:pos x="T2" y="T3"/>
                </a:cxn>
                <a:cxn ang="0">
                  <a:pos x="T4" y="T5"/>
                </a:cxn>
                <a:cxn ang="0">
                  <a:pos x="T6" y="T7"/>
                </a:cxn>
              </a:cxnLst>
              <a:rect l="0" t="0" r="r" b="b"/>
              <a:pathLst>
                <a:path w="3" h="3">
                  <a:moveTo>
                    <a:pt x="0" y="2"/>
                  </a:moveTo>
                  <a:cubicBezTo>
                    <a:pt x="0" y="2"/>
                    <a:pt x="1" y="3"/>
                    <a:pt x="1" y="3"/>
                  </a:cubicBezTo>
                  <a:cubicBezTo>
                    <a:pt x="2" y="1"/>
                    <a:pt x="2" y="3"/>
                    <a:pt x="3" y="3"/>
                  </a:cubicBezTo>
                  <a:cubicBezTo>
                    <a:pt x="2" y="0"/>
                    <a:pt x="2" y="2"/>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98" name="Freeform 1849">
              <a:extLst>
                <a:ext uri="{FF2B5EF4-FFF2-40B4-BE49-F238E27FC236}">
                  <a16:creationId xmlns:a16="http://schemas.microsoft.com/office/drawing/2014/main" id="{4D63F5A4-27FB-4C0D-AFCD-508FAADFD787}"/>
                </a:ext>
              </a:extLst>
            </p:cNvPr>
            <p:cNvSpPr>
              <a:spLocks/>
            </p:cNvSpPr>
            <p:nvPr/>
          </p:nvSpPr>
          <p:spPr bwMode="auto">
            <a:xfrm>
              <a:off x="1752" y="3931"/>
              <a:ext cx="12" cy="7"/>
            </a:xfrm>
            <a:custGeom>
              <a:avLst/>
              <a:gdLst>
                <a:gd name="T0" fmla="*/ 1 w 5"/>
                <a:gd name="T1" fmla="*/ 3 h 3"/>
                <a:gd name="T2" fmla="*/ 5 w 5"/>
                <a:gd name="T3" fmla="*/ 2 h 3"/>
                <a:gd name="T4" fmla="*/ 0 w 5"/>
                <a:gd name="T5" fmla="*/ 1 h 3"/>
                <a:gd name="T6" fmla="*/ 1 w 5"/>
                <a:gd name="T7" fmla="*/ 3 h 3"/>
              </a:gdLst>
              <a:ahLst/>
              <a:cxnLst>
                <a:cxn ang="0">
                  <a:pos x="T0" y="T1"/>
                </a:cxn>
                <a:cxn ang="0">
                  <a:pos x="T2" y="T3"/>
                </a:cxn>
                <a:cxn ang="0">
                  <a:pos x="T4" y="T5"/>
                </a:cxn>
                <a:cxn ang="0">
                  <a:pos x="T6" y="T7"/>
                </a:cxn>
              </a:cxnLst>
              <a:rect l="0" t="0" r="r" b="b"/>
              <a:pathLst>
                <a:path w="5" h="3">
                  <a:moveTo>
                    <a:pt x="1" y="3"/>
                  </a:moveTo>
                  <a:cubicBezTo>
                    <a:pt x="3" y="3"/>
                    <a:pt x="4" y="2"/>
                    <a:pt x="5" y="2"/>
                  </a:cubicBezTo>
                  <a:cubicBezTo>
                    <a:pt x="4" y="0"/>
                    <a:pt x="2" y="1"/>
                    <a:pt x="0" y="1"/>
                  </a:cubicBezTo>
                  <a:cubicBezTo>
                    <a:pt x="0" y="2"/>
                    <a:pt x="1" y="2"/>
                    <a:pt x="1"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99" name="Freeform 1850">
              <a:extLst>
                <a:ext uri="{FF2B5EF4-FFF2-40B4-BE49-F238E27FC236}">
                  <a16:creationId xmlns:a16="http://schemas.microsoft.com/office/drawing/2014/main" id="{EF53812E-DDC8-4C86-A6B5-E54B0D5D5AB5}"/>
                </a:ext>
              </a:extLst>
            </p:cNvPr>
            <p:cNvSpPr>
              <a:spLocks/>
            </p:cNvSpPr>
            <p:nvPr/>
          </p:nvSpPr>
          <p:spPr bwMode="auto">
            <a:xfrm>
              <a:off x="1736" y="4040"/>
              <a:ext cx="14" cy="16"/>
            </a:xfrm>
            <a:custGeom>
              <a:avLst/>
              <a:gdLst>
                <a:gd name="T0" fmla="*/ 1 w 6"/>
                <a:gd name="T1" fmla="*/ 4 h 7"/>
                <a:gd name="T2" fmla="*/ 1 w 6"/>
                <a:gd name="T3" fmla="*/ 6 h 7"/>
                <a:gd name="T4" fmla="*/ 4 w 6"/>
                <a:gd name="T5" fmla="*/ 7 h 7"/>
                <a:gd name="T6" fmla="*/ 5 w 6"/>
                <a:gd name="T7" fmla="*/ 7 h 7"/>
                <a:gd name="T8" fmla="*/ 4 w 6"/>
                <a:gd name="T9" fmla="*/ 4 h 7"/>
                <a:gd name="T10" fmla="*/ 4 w 6"/>
                <a:gd name="T11" fmla="*/ 1 h 7"/>
                <a:gd name="T12" fmla="*/ 4 w 6"/>
                <a:gd name="T13" fmla="*/ 0 h 7"/>
                <a:gd name="T14" fmla="*/ 3 w 6"/>
                <a:gd name="T15" fmla="*/ 5 h 7"/>
                <a:gd name="T16" fmla="*/ 1 w 6"/>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7">
                  <a:moveTo>
                    <a:pt x="1" y="4"/>
                  </a:moveTo>
                  <a:cubicBezTo>
                    <a:pt x="1" y="4"/>
                    <a:pt x="0" y="5"/>
                    <a:pt x="1" y="6"/>
                  </a:cubicBezTo>
                  <a:cubicBezTo>
                    <a:pt x="2" y="6"/>
                    <a:pt x="3" y="7"/>
                    <a:pt x="4" y="7"/>
                  </a:cubicBezTo>
                  <a:cubicBezTo>
                    <a:pt x="4" y="7"/>
                    <a:pt x="5" y="7"/>
                    <a:pt x="5" y="7"/>
                  </a:cubicBezTo>
                  <a:cubicBezTo>
                    <a:pt x="6" y="7"/>
                    <a:pt x="5" y="4"/>
                    <a:pt x="4" y="4"/>
                  </a:cubicBezTo>
                  <a:cubicBezTo>
                    <a:pt x="5" y="3"/>
                    <a:pt x="4" y="2"/>
                    <a:pt x="4" y="1"/>
                  </a:cubicBezTo>
                  <a:cubicBezTo>
                    <a:pt x="4" y="1"/>
                    <a:pt x="4" y="0"/>
                    <a:pt x="4" y="0"/>
                  </a:cubicBezTo>
                  <a:cubicBezTo>
                    <a:pt x="2" y="2"/>
                    <a:pt x="3" y="3"/>
                    <a:pt x="3" y="5"/>
                  </a:cubicBezTo>
                  <a:cubicBezTo>
                    <a:pt x="2" y="4"/>
                    <a:pt x="2" y="3"/>
                    <a:pt x="1"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00" name="Freeform 1851">
              <a:extLst>
                <a:ext uri="{FF2B5EF4-FFF2-40B4-BE49-F238E27FC236}">
                  <a16:creationId xmlns:a16="http://schemas.microsoft.com/office/drawing/2014/main" id="{41C4F76B-77BC-4B92-AA6F-3AFF37A62322}"/>
                </a:ext>
              </a:extLst>
            </p:cNvPr>
            <p:cNvSpPr>
              <a:spLocks/>
            </p:cNvSpPr>
            <p:nvPr/>
          </p:nvSpPr>
          <p:spPr bwMode="auto">
            <a:xfrm>
              <a:off x="1752" y="4163"/>
              <a:ext cx="12" cy="12"/>
            </a:xfrm>
            <a:custGeom>
              <a:avLst/>
              <a:gdLst>
                <a:gd name="T0" fmla="*/ 3 w 5"/>
                <a:gd name="T1" fmla="*/ 5 h 5"/>
                <a:gd name="T2" fmla="*/ 5 w 5"/>
                <a:gd name="T3" fmla="*/ 4 h 5"/>
                <a:gd name="T4" fmla="*/ 3 w 5"/>
                <a:gd name="T5" fmla="*/ 2 h 5"/>
                <a:gd name="T6" fmla="*/ 0 w 5"/>
                <a:gd name="T7" fmla="*/ 1 h 5"/>
                <a:gd name="T8" fmla="*/ 2 w 5"/>
                <a:gd name="T9" fmla="*/ 2 h 5"/>
                <a:gd name="T10" fmla="*/ 3 w 5"/>
                <a:gd name="T11" fmla="*/ 5 h 5"/>
              </a:gdLst>
              <a:ahLst/>
              <a:cxnLst>
                <a:cxn ang="0">
                  <a:pos x="T0" y="T1"/>
                </a:cxn>
                <a:cxn ang="0">
                  <a:pos x="T2" y="T3"/>
                </a:cxn>
                <a:cxn ang="0">
                  <a:pos x="T4" y="T5"/>
                </a:cxn>
                <a:cxn ang="0">
                  <a:pos x="T6" y="T7"/>
                </a:cxn>
                <a:cxn ang="0">
                  <a:pos x="T8" y="T9"/>
                </a:cxn>
                <a:cxn ang="0">
                  <a:pos x="T10" y="T11"/>
                </a:cxn>
              </a:cxnLst>
              <a:rect l="0" t="0" r="r" b="b"/>
              <a:pathLst>
                <a:path w="5" h="5">
                  <a:moveTo>
                    <a:pt x="3" y="5"/>
                  </a:moveTo>
                  <a:cubicBezTo>
                    <a:pt x="3" y="5"/>
                    <a:pt x="5" y="4"/>
                    <a:pt x="5" y="4"/>
                  </a:cubicBezTo>
                  <a:cubicBezTo>
                    <a:pt x="5" y="4"/>
                    <a:pt x="3" y="3"/>
                    <a:pt x="3" y="2"/>
                  </a:cubicBezTo>
                  <a:cubicBezTo>
                    <a:pt x="2" y="1"/>
                    <a:pt x="1" y="0"/>
                    <a:pt x="0" y="1"/>
                  </a:cubicBezTo>
                  <a:cubicBezTo>
                    <a:pt x="0" y="1"/>
                    <a:pt x="2" y="2"/>
                    <a:pt x="2" y="2"/>
                  </a:cubicBezTo>
                  <a:cubicBezTo>
                    <a:pt x="3" y="3"/>
                    <a:pt x="1" y="3"/>
                    <a:pt x="3"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01" name="Freeform 1852">
              <a:extLst>
                <a:ext uri="{FF2B5EF4-FFF2-40B4-BE49-F238E27FC236}">
                  <a16:creationId xmlns:a16="http://schemas.microsoft.com/office/drawing/2014/main" id="{5723AFDC-570F-4764-BEE3-5A09D2282AD4}"/>
                </a:ext>
              </a:extLst>
            </p:cNvPr>
            <p:cNvSpPr>
              <a:spLocks/>
            </p:cNvSpPr>
            <p:nvPr/>
          </p:nvSpPr>
          <p:spPr bwMode="auto">
            <a:xfrm>
              <a:off x="1731" y="4137"/>
              <a:ext cx="7" cy="12"/>
            </a:xfrm>
            <a:custGeom>
              <a:avLst/>
              <a:gdLst>
                <a:gd name="T0" fmla="*/ 3 w 3"/>
                <a:gd name="T1" fmla="*/ 2 h 5"/>
                <a:gd name="T2" fmla="*/ 1 w 3"/>
                <a:gd name="T3" fmla="*/ 0 h 5"/>
                <a:gd name="T4" fmla="*/ 0 w 3"/>
                <a:gd name="T5" fmla="*/ 5 h 5"/>
                <a:gd name="T6" fmla="*/ 1 w 3"/>
                <a:gd name="T7" fmla="*/ 4 h 5"/>
                <a:gd name="T8" fmla="*/ 1 w 3"/>
                <a:gd name="T9" fmla="*/ 3 h 5"/>
                <a:gd name="T10" fmla="*/ 3 w 3"/>
                <a:gd name="T11" fmla="*/ 2 h 5"/>
              </a:gdLst>
              <a:ahLst/>
              <a:cxnLst>
                <a:cxn ang="0">
                  <a:pos x="T0" y="T1"/>
                </a:cxn>
                <a:cxn ang="0">
                  <a:pos x="T2" y="T3"/>
                </a:cxn>
                <a:cxn ang="0">
                  <a:pos x="T4" y="T5"/>
                </a:cxn>
                <a:cxn ang="0">
                  <a:pos x="T6" y="T7"/>
                </a:cxn>
                <a:cxn ang="0">
                  <a:pos x="T8" y="T9"/>
                </a:cxn>
                <a:cxn ang="0">
                  <a:pos x="T10" y="T11"/>
                </a:cxn>
              </a:cxnLst>
              <a:rect l="0" t="0" r="r" b="b"/>
              <a:pathLst>
                <a:path w="3" h="5">
                  <a:moveTo>
                    <a:pt x="3" y="2"/>
                  </a:moveTo>
                  <a:cubicBezTo>
                    <a:pt x="3" y="2"/>
                    <a:pt x="1" y="1"/>
                    <a:pt x="1" y="0"/>
                  </a:cubicBezTo>
                  <a:cubicBezTo>
                    <a:pt x="0" y="1"/>
                    <a:pt x="0" y="5"/>
                    <a:pt x="0" y="5"/>
                  </a:cubicBezTo>
                  <a:cubicBezTo>
                    <a:pt x="0" y="5"/>
                    <a:pt x="1" y="5"/>
                    <a:pt x="1" y="4"/>
                  </a:cubicBezTo>
                  <a:cubicBezTo>
                    <a:pt x="2" y="5"/>
                    <a:pt x="1" y="3"/>
                    <a:pt x="1" y="3"/>
                  </a:cubicBezTo>
                  <a:cubicBezTo>
                    <a:pt x="2" y="3"/>
                    <a:pt x="3" y="2"/>
                    <a:pt x="3"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02" name="Freeform 1853">
              <a:extLst>
                <a:ext uri="{FF2B5EF4-FFF2-40B4-BE49-F238E27FC236}">
                  <a16:creationId xmlns:a16="http://schemas.microsoft.com/office/drawing/2014/main" id="{06E39312-622C-4B0D-8643-79D2DFC5FA30}"/>
                </a:ext>
              </a:extLst>
            </p:cNvPr>
            <p:cNvSpPr>
              <a:spLocks/>
            </p:cNvSpPr>
            <p:nvPr/>
          </p:nvSpPr>
          <p:spPr bwMode="auto">
            <a:xfrm>
              <a:off x="1748" y="3952"/>
              <a:ext cx="4" cy="5"/>
            </a:xfrm>
            <a:custGeom>
              <a:avLst/>
              <a:gdLst>
                <a:gd name="T0" fmla="*/ 2 w 2"/>
                <a:gd name="T1" fmla="*/ 2 h 2"/>
                <a:gd name="T2" fmla="*/ 1 w 2"/>
                <a:gd name="T3" fmla="*/ 0 h 2"/>
                <a:gd name="T4" fmla="*/ 2 w 2"/>
                <a:gd name="T5" fmla="*/ 2 h 2"/>
              </a:gdLst>
              <a:ahLst/>
              <a:cxnLst>
                <a:cxn ang="0">
                  <a:pos x="T0" y="T1"/>
                </a:cxn>
                <a:cxn ang="0">
                  <a:pos x="T2" y="T3"/>
                </a:cxn>
                <a:cxn ang="0">
                  <a:pos x="T4" y="T5"/>
                </a:cxn>
              </a:cxnLst>
              <a:rect l="0" t="0" r="r" b="b"/>
              <a:pathLst>
                <a:path w="2" h="2">
                  <a:moveTo>
                    <a:pt x="2" y="2"/>
                  </a:moveTo>
                  <a:cubicBezTo>
                    <a:pt x="2" y="1"/>
                    <a:pt x="2" y="0"/>
                    <a:pt x="1" y="0"/>
                  </a:cubicBezTo>
                  <a:cubicBezTo>
                    <a:pt x="0" y="1"/>
                    <a:pt x="2" y="1"/>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03" name="Freeform 1854">
              <a:extLst>
                <a:ext uri="{FF2B5EF4-FFF2-40B4-BE49-F238E27FC236}">
                  <a16:creationId xmlns:a16="http://schemas.microsoft.com/office/drawing/2014/main" id="{7FFFF225-013E-4FA4-B79A-C966926E70FF}"/>
                </a:ext>
              </a:extLst>
            </p:cNvPr>
            <p:cNvSpPr>
              <a:spLocks/>
            </p:cNvSpPr>
            <p:nvPr/>
          </p:nvSpPr>
          <p:spPr bwMode="auto">
            <a:xfrm>
              <a:off x="1759" y="4158"/>
              <a:ext cx="10" cy="9"/>
            </a:xfrm>
            <a:custGeom>
              <a:avLst/>
              <a:gdLst>
                <a:gd name="T0" fmla="*/ 0 w 4"/>
                <a:gd name="T1" fmla="*/ 0 h 4"/>
                <a:gd name="T2" fmla="*/ 4 w 4"/>
                <a:gd name="T3" fmla="*/ 4 h 4"/>
                <a:gd name="T4" fmla="*/ 0 w 4"/>
                <a:gd name="T5" fmla="*/ 0 h 4"/>
              </a:gdLst>
              <a:ahLst/>
              <a:cxnLst>
                <a:cxn ang="0">
                  <a:pos x="T0" y="T1"/>
                </a:cxn>
                <a:cxn ang="0">
                  <a:pos x="T2" y="T3"/>
                </a:cxn>
                <a:cxn ang="0">
                  <a:pos x="T4" y="T5"/>
                </a:cxn>
              </a:cxnLst>
              <a:rect l="0" t="0" r="r" b="b"/>
              <a:pathLst>
                <a:path w="4" h="4">
                  <a:moveTo>
                    <a:pt x="0" y="0"/>
                  </a:moveTo>
                  <a:cubicBezTo>
                    <a:pt x="1" y="2"/>
                    <a:pt x="3" y="3"/>
                    <a:pt x="4" y="4"/>
                  </a:cubicBezTo>
                  <a:cubicBezTo>
                    <a:pt x="4" y="3"/>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04" name="Freeform 1855">
              <a:extLst>
                <a:ext uri="{FF2B5EF4-FFF2-40B4-BE49-F238E27FC236}">
                  <a16:creationId xmlns:a16="http://schemas.microsoft.com/office/drawing/2014/main" id="{21730204-4EA0-4F78-BAD4-BE99311A916D}"/>
                </a:ext>
              </a:extLst>
            </p:cNvPr>
            <p:cNvSpPr>
              <a:spLocks/>
            </p:cNvSpPr>
            <p:nvPr/>
          </p:nvSpPr>
          <p:spPr bwMode="auto">
            <a:xfrm>
              <a:off x="1750" y="4028"/>
              <a:ext cx="16" cy="7"/>
            </a:xfrm>
            <a:custGeom>
              <a:avLst/>
              <a:gdLst>
                <a:gd name="T0" fmla="*/ 5 w 7"/>
                <a:gd name="T1" fmla="*/ 2 h 3"/>
                <a:gd name="T2" fmla="*/ 6 w 7"/>
                <a:gd name="T3" fmla="*/ 2 h 3"/>
                <a:gd name="T4" fmla="*/ 6 w 7"/>
                <a:gd name="T5" fmla="*/ 3 h 3"/>
                <a:gd name="T6" fmla="*/ 7 w 7"/>
                <a:gd name="T7" fmla="*/ 2 h 3"/>
                <a:gd name="T8" fmla="*/ 0 w 7"/>
                <a:gd name="T9" fmla="*/ 2 h 3"/>
                <a:gd name="T10" fmla="*/ 2 w 7"/>
                <a:gd name="T11" fmla="*/ 3 h 3"/>
                <a:gd name="T12" fmla="*/ 5 w 7"/>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7" h="3">
                  <a:moveTo>
                    <a:pt x="5" y="2"/>
                  </a:moveTo>
                  <a:cubicBezTo>
                    <a:pt x="5" y="2"/>
                    <a:pt x="5" y="2"/>
                    <a:pt x="6" y="2"/>
                  </a:cubicBezTo>
                  <a:cubicBezTo>
                    <a:pt x="6" y="2"/>
                    <a:pt x="6" y="3"/>
                    <a:pt x="6" y="3"/>
                  </a:cubicBezTo>
                  <a:cubicBezTo>
                    <a:pt x="7" y="2"/>
                    <a:pt x="7" y="2"/>
                    <a:pt x="7" y="2"/>
                  </a:cubicBezTo>
                  <a:cubicBezTo>
                    <a:pt x="5" y="1"/>
                    <a:pt x="2" y="0"/>
                    <a:pt x="0" y="2"/>
                  </a:cubicBezTo>
                  <a:cubicBezTo>
                    <a:pt x="1" y="2"/>
                    <a:pt x="1" y="3"/>
                    <a:pt x="2" y="3"/>
                  </a:cubicBezTo>
                  <a:cubicBezTo>
                    <a:pt x="3" y="3"/>
                    <a:pt x="4" y="2"/>
                    <a:pt x="5"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05" name="Freeform 1856">
              <a:extLst>
                <a:ext uri="{FF2B5EF4-FFF2-40B4-BE49-F238E27FC236}">
                  <a16:creationId xmlns:a16="http://schemas.microsoft.com/office/drawing/2014/main" id="{6AD6B094-DF08-454E-B568-A09E7066CC3C}"/>
                </a:ext>
              </a:extLst>
            </p:cNvPr>
            <p:cNvSpPr>
              <a:spLocks/>
            </p:cNvSpPr>
            <p:nvPr/>
          </p:nvSpPr>
          <p:spPr bwMode="auto">
            <a:xfrm>
              <a:off x="1800" y="4231"/>
              <a:ext cx="4" cy="5"/>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1" y="0"/>
                    <a:pt x="0" y="1"/>
                  </a:cubicBezTo>
                  <a:cubicBezTo>
                    <a:pt x="1" y="2"/>
                    <a:pt x="2" y="2"/>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06" name="Freeform 1857">
              <a:extLst>
                <a:ext uri="{FF2B5EF4-FFF2-40B4-BE49-F238E27FC236}">
                  <a16:creationId xmlns:a16="http://schemas.microsoft.com/office/drawing/2014/main" id="{3C180250-A93E-4B90-976D-39DFFC26F46B}"/>
                </a:ext>
              </a:extLst>
            </p:cNvPr>
            <p:cNvSpPr>
              <a:spLocks/>
            </p:cNvSpPr>
            <p:nvPr/>
          </p:nvSpPr>
          <p:spPr bwMode="auto">
            <a:xfrm>
              <a:off x="1762" y="3917"/>
              <a:ext cx="2" cy="4"/>
            </a:xfrm>
            <a:custGeom>
              <a:avLst/>
              <a:gdLst>
                <a:gd name="T0" fmla="*/ 0 w 1"/>
                <a:gd name="T1" fmla="*/ 1 h 2"/>
                <a:gd name="T2" fmla="*/ 1 w 1"/>
                <a:gd name="T3" fmla="*/ 2 h 2"/>
                <a:gd name="T4" fmla="*/ 0 w 1"/>
                <a:gd name="T5" fmla="*/ 1 h 2"/>
              </a:gdLst>
              <a:ahLst/>
              <a:cxnLst>
                <a:cxn ang="0">
                  <a:pos x="T0" y="T1"/>
                </a:cxn>
                <a:cxn ang="0">
                  <a:pos x="T2" y="T3"/>
                </a:cxn>
                <a:cxn ang="0">
                  <a:pos x="T4" y="T5"/>
                </a:cxn>
              </a:cxnLst>
              <a:rect l="0" t="0" r="r" b="b"/>
              <a:pathLst>
                <a:path w="1" h="2">
                  <a:moveTo>
                    <a:pt x="0" y="1"/>
                  </a:moveTo>
                  <a:cubicBezTo>
                    <a:pt x="0" y="1"/>
                    <a:pt x="1" y="1"/>
                    <a:pt x="1" y="2"/>
                  </a:cubicBezTo>
                  <a:cubicBezTo>
                    <a:pt x="1" y="1"/>
                    <a:pt x="1"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07" name="Freeform 1858">
              <a:extLst>
                <a:ext uri="{FF2B5EF4-FFF2-40B4-BE49-F238E27FC236}">
                  <a16:creationId xmlns:a16="http://schemas.microsoft.com/office/drawing/2014/main" id="{435DE12E-C43C-4DE1-B850-4122ACDB9DB9}"/>
                </a:ext>
              </a:extLst>
            </p:cNvPr>
            <p:cNvSpPr>
              <a:spLocks/>
            </p:cNvSpPr>
            <p:nvPr/>
          </p:nvSpPr>
          <p:spPr bwMode="auto">
            <a:xfrm>
              <a:off x="1743" y="3900"/>
              <a:ext cx="5" cy="5"/>
            </a:xfrm>
            <a:custGeom>
              <a:avLst/>
              <a:gdLst>
                <a:gd name="T0" fmla="*/ 0 w 2"/>
                <a:gd name="T1" fmla="*/ 2 h 2"/>
                <a:gd name="T2" fmla="*/ 2 w 2"/>
                <a:gd name="T3" fmla="*/ 1 h 2"/>
                <a:gd name="T4" fmla="*/ 0 w 2"/>
                <a:gd name="T5" fmla="*/ 2 h 2"/>
              </a:gdLst>
              <a:ahLst/>
              <a:cxnLst>
                <a:cxn ang="0">
                  <a:pos x="T0" y="T1"/>
                </a:cxn>
                <a:cxn ang="0">
                  <a:pos x="T2" y="T3"/>
                </a:cxn>
                <a:cxn ang="0">
                  <a:pos x="T4" y="T5"/>
                </a:cxn>
              </a:cxnLst>
              <a:rect l="0" t="0" r="r" b="b"/>
              <a:pathLst>
                <a:path w="2" h="2">
                  <a:moveTo>
                    <a:pt x="0" y="2"/>
                  </a:moveTo>
                  <a:cubicBezTo>
                    <a:pt x="1" y="1"/>
                    <a:pt x="1" y="1"/>
                    <a:pt x="2" y="1"/>
                  </a:cubicBezTo>
                  <a:cubicBezTo>
                    <a:pt x="0" y="0"/>
                    <a:pt x="0" y="0"/>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08" name="Freeform 1859">
              <a:extLst>
                <a:ext uri="{FF2B5EF4-FFF2-40B4-BE49-F238E27FC236}">
                  <a16:creationId xmlns:a16="http://schemas.microsoft.com/office/drawing/2014/main" id="{E50360B7-1B8A-433D-A6C3-48F22F798F7A}"/>
                </a:ext>
              </a:extLst>
            </p:cNvPr>
            <p:cNvSpPr>
              <a:spLocks/>
            </p:cNvSpPr>
            <p:nvPr/>
          </p:nvSpPr>
          <p:spPr bwMode="auto">
            <a:xfrm>
              <a:off x="1740" y="4120"/>
              <a:ext cx="12" cy="12"/>
            </a:xfrm>
            <a:custGeom>
              <a:avLst/>
              <a:gdLst>
                <a:gd name="T0" fmla="*/ 0 w 5"/>
                <a:gd name="T1" fmla="*/ 2 h 5"/>
                <a:gd name="T2" fmla="*/ 1 w 5"/>
                <a:gd name="T3" fmla="*/ 4 h 5"/>
                <a:gd name="T4" fmla="*/ 3 w 5"/>
                <a:gd name="T5" fmla="*/ 5 h 5"/>
                <a:gd name="T6" fmla="*/ 3 w 5"/>
                <a:gd name="T7" fmla="*/ 4 h 5"/>
                <a:gd name="T8" fmla="*/ 3 w 5"/>
                <a:gd name="T9" fmla="*/ 4 h 5"/>
                <a:gd name="T10" fmla="*/ 5 w 5"/>
                <a:gd name="T11" fmla="*/ 5 h 5"/>
                <a:gd name="T12" fmla="*/ 5 w 5"/>
                <a:gd name="T13" fmla="*/ 3 h 5"/>
                <a:gd name="T14" fmla="*/ 5 w 5"/>
                <a:gd name="T15" fmla="*/ 2 h 5"/>
                <a:gd name="T16" fmla="*/ 2 w 5"/>
                <a:gd name="T17" fmla="*/ 0 h 5"/>
                <a:gd name="T18" fmla="*/ 3 w 5"/>
                <a:gd name="T19" fmla="*/ 1 h 5"/>
                <a:gd name="T20" fmla="*/ 2 w 5"/>
                <a:gd name="T21" fmla="*/ 2 h 5"/>
                <a:gd name="T22" fmla="*/ 0 w 5"/>
                <a:gd name="T2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5">
                  <a:moveTo>
                    <a:pt x="0" y="2"/>
                  </a:moveTo>
                  <a:cubicBezTo>
                    <a:pt x="0" y="3"/>
                    <a:pt x="1" y="4"/>
                    <a:pt x="1" y="4"/>
                  </a:cubicBezTo>
                  <a:cubicBezTo>
                    <a:pt x="2" y="5"/>
                    <a:pt x="2" y="5"/>
                    <a:pt x="3" y="5"/>
                  </a:cubicBezTo>
                  <a:cubicBezTo>
                    <a:pt x="3" y="5"/>
                    <a:pt x="3" y="5"/>
                    <a:pt x="3" y="4"/>
                  </a:cubicBezTo>
                  <a:cubicBezTo>
                    <a:pt x="3" y="4"/>
                    <a:pt x="3" y="4"/>
                    <a:pt x="3" y="4"/>
                  </a:cubicBezTo>
                  <a:cubicBezTo>
                    <a:pt x="4" y="4"/>
                    <a:pt x="5" y="4"/>
                    <a:pt x="5" y="5"/>
                  </a:cubicBezTo>
                  <a:cubicBezTo>
                    <a:pt x="5" y="4"/>
                    <a:pt x="5" y="4"/>
                    <a:pt x="5" y="3"/>
                  </a:cubicBezTo>
                  <a:cubicBezTo>
                    <a:pt x="5" y="3"/>
                    <a:pt x="5" y="2"/>
                    <a:pt x="5" y="2"/>
                  </a:cubicBezTo>
                  <a:cubicBezTo>
                    <a:pt x="5" y="1"/>
                    <a:pt x="3" y="0"/>
                    <a:pt x="2" y="0"/>
                  </a:cubicBezTo>
                  <a:cubicBezTo>
                    <a:pt x="2" y="1"/>
                    <a:pt x="3" y="1"/>
                    <a:pt x="3" y="1"/>
                  </a:cubicBezTo>
                  <a:cubicBezTo>
                    <a:pt x="3" y="2"/>
                    <a:pt x="2" y="2"/>
                    <a:pt x="2" y="2"/>
                  </a:cubicBezTo>
                  <a:cubicBezTo>
                    <a:pt x="1" y="3"/>
                    <a:pt x="1" y="2"/>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09" name="Freeform 1860">
              <a:extLst>
                <a:ext uri="{FF2B5EF4-FFF2-40B4-BE49-F238E27FC236}">
                  <a16:creationId xmlns:a16="http://schemas.microsoft.com/office/drawing/2014/main" id="{0DB41C32-FD48-4697-A912-28EB7D03ECCE}"/>
                </a:ext>
              </a:extLst>
            </p:cNvPr>
            <p:cNvSpPr>
              <a:spLocks/>
            </p:cNvSpPr>
            <p:nvPr/>
          </p:nvSpPr>
          <p:spPr bwMode="auto">
            <a:xfrm>
              <a:off x="1757" y="4201"/>
              <a:ext cx="2" cy="2"/>
            </a:xfrm>
            <a:custGeom>
              <a:avLst/>
              <a:gdLst>
                <a:gd name="T0" fmla="*/ 0 w 1"/>
                <a:gd name="T1" fmla="*/ 1 h 1"/>
                <a:gd name="T2" fmla="*/ 1 w 1"/>
                <a:gd name="T3" fmla="*/ 1 h 1"/>
                <a:gd name="T4" fmla="*/ 0 w 1"/>
                <a:gd name="T5" fmla="*/ 1 h 1"/>
              </a:gdLst>
              <a:ahLst/>
              <a:cxnLst>
                <a:cxn ang="0">
                  <a:pos x="T0" y="T1"/>
                </a:cxn>
                <a:cxn ang="0">
                  <a:pos x="T2" y="T3"/>
                </a:cxn>
                <a:cxn ang="0">
                  <a:pos x="T4" y="T5"/>
                </a:cxn>
              </a:cxnLst>
              <a:rect l="0" t="0" r="r" b="b"/>
              <a:pathLst>
                <a:path w="1" h="1">
                  <a:moveTo>
                    <a:pt x="0" y="1"/>
                  </a:moveTo>
                  <a:cubicBezTo>
                    <a:pt x="0" y="1"/>
                    <a:pt x="1" y="1"/>
                    <a:pt x="1" y="1"/>
                  </a:cubicBezTo>
                  <a:cubicBezTo>
                    <a:pt x="1" y="0"/>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10" name="Freeform 1861">
              <a:extLst>
                <a:ext uri="{FF2B5EF4-FFF2-40B4-BE49-F238E27FC236}">
                  <a16:creationId xmlns:a16="http://schemas.microsoft.com/office/drawing/2014/main" id="{160F4C1A-6DAE-4207-90E3-47247AC4D7DF}"/>
                </a:ext>
              </a:extLst>
            </p:cNvPr>
            <p:cNvSpPr>
              <a:spLocks/>
            </p:cNvSpPr>
            <p:nvPr/>
          </p:nvSpPr>
          <p:spPr bwMode="auto">
            <a:xfrm>
              <a:off x="1743" y="4184"/>
              <a:ext cx="40" cy="21"/>
            </a:xfrm>
            <a:custGeom>
              <a:avLst/>
              <a:gdLst>
                <a:gd name="T0" fmla="*/ 17 w 17"/>
                <a:gd name="T1" fmla="*/ 9 h 9"/>
                <a:gd name="T2" fmla="*/ 15 w 17"/>
                <a:gd name="T3" fmla="*/ 8 h 9"/>
                <a:gd name="T4" fmla="*/ 15 w 17"/>
                <a:gd name="T5" fmla="*/ 8 h 9"/>
                <a:gd name="T6" fmla="*/ 15 w 17"/>
                <a:gd name="T7" fmla="*/ 7 h 9"/>
                <a:gd name="T8" fmla="*/ 14 w 17"/>
                <a:gd name="T9" fmla="*/ 6 h 9"/>
                <a:gd name="T10" fmla="*/ 13 w 17"/>
                <a:gd name="T11" fmla="*/ 8 h 9"/>
                <a:gd name="T12" fmla="*/ 13 w 17"/>
                <a:gd name="T13" fmla="*/ 6 h 9"/>
                <a:gd name="T14" fmla="*/ 12 w 17"/>
                <a:gd name="T15" fmla="*/ 5 h 9"/>
                <a:gd name="T16" fmla="*/ 11 w 17"/>
                <a:gd name="T17" fmla="*/ 5 h 9"/>
                <a:gd name="T18" fmla="*/ 10 w 17"/>
                <a:gd name="T19" fmla="*/ 5 h 9"/>
                <a:gd name="T20" fmla="*/ 9 w 17"/>
                <a:gd name="T21" fmla="*/ 4 h 9"/>
                <a:gd name="T22" fmla="*/ 9 w 17"/>
                <a:gd name="T23" fmla="*/ 5 h 9"/>
                <a:gd name="T24" fmla="*/ 8 w 17"/>
                <a:gd name="T25" fmla="*/ 4 h 9"/>
                <a:gd name="T26" fmla="*/ 6 w 17"/>
                <a:gd name="T27" fmla="*/ 4 h 9"/>
                <a:gd name="T28" fmla="*/ 4 w 17"/>
                <a:gd name="T29" fmla="*/ 3 h 9"/>
                <a:gd name="T30" fmla="*/ 4 w 17"/>
                <a:gd name="T31" fmla="*/ 2 h 9"/>
                <a:gd name="T32" fmla="*/ 3 w 17"/>
                <a:gd name="T33" fmla="*/ 2 h 9"/>
                <a:gd name="T34" fmla="*/ 2 w 17"/>
                <a:gd name="T35" fmla="*/ 1 h 9"/>
                <a:gd name="T36" fmla="*/ 1 w 17"/>
                <a:gd name="T37" fmla="*/ 1 h 9"/>
                <a:gd name="T38" fmla="*/ 3 w 17"/>
                <a:gd name="T39" fmla="*/ 4 h 9"/>
                <a:gd name="T40" fmla="*/ 5 w 17"/>
                <a:gd name="T41" fmla="*/ 5 h 9"/>
                <a:gd name="T42" fmla="*/ 9 w 17"/>
                <a:gd name="T43" fmla="*/ 5 h 9"/>
                <a:gd name="T44" fmla="*/ 12 w 17"/>
                <a:gd name="T45" fmla="*/ 8 h 9"/>
                <a:gd name="T46" fmla="*/ 17 w 17"/>
                <a:gd name="T4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9">
                  <a:moveTo>
                    <a:pt x="17" y="9"/>
                  </a:moveTo>
                  <a:cubicBezTo>
                    <a:pt x="16" y="9"/>
                    <a:pt x="16" y="8"/>
                    <a:pt x="15" y="8"/>
                  </a:cubicBezTo>
                  <a:cubicBezTo>
                    <a:pt x="15" y="8"/>
                    <a:pt x="15" y="8"/>
                    <a:pt x="15" y="8"/>
                  </a:cubicBezTo>
                  <a:cubicBezTo>
                    <a:pt x="14" y="8"/>
                    <a:pt x="15" y="7"/>
                    <a:pt x="15" y="7"/>
                  </a:cubicBezTo>
                  <a:cubicBezTo>
                    <a:pt x="15" y="7"/>
                    <a:pt x="14" y="6"/>
                    <a:pt x="14" y="6"/>
                  </a:cubicBezTo>
                  <a:cubicBezTo>
                    <a:pt x="13" y="6"/>
                    <a:pt x="13" y="7"/>
                    <a:pt x="13" y="8"/>
                  </a:cubicBezTo>
                  <a:cubicBezTo>
                    <a:pt x="12" y="7"/>
                    <a:pt x="13" y="7"/>
                    <a:pt x="13" y="6"/>
                  </a:cubicBezTo>
                  <a:cubicBezTo>
                    <a:pt x="13" y="6"/>
                    <a:pt x="12" y="5"/>
                    <a:pt x="12" y="5"/>
                  </a:cubicBezTo>
                  <a:cubicBezTo>
                    <a:pt x="12" y="5"/>
                    <a:pt x="11" y="5"/>
                    <a:pt x="11" y="5"/>
                  </a:cubicBezTo>
                  <a:cubicBezTo>
                    <a:pt x="11" y="5"/>
                    <a:pt x="10" y="5"/>
                    <a:pt x="10" y="5"/>
                  </a:cubicBezTo>
                  <a:cubicBezTo>
                    <a:pt x="10" y="5"/>
                    <a:pt x="9" y="4"/>
                    <a:pt x="9" y="4"/>
                  </a:cubicBezTo>
                  <a:cubicBezTo>
                    <a:pt x="9" y="4"/>
                    <a:pt x="9" y="5"/>
                    <a:pt x="9" y="5"/>
                  </a:cubicBezTo>
                  <a:cubicBezTo>
                    <a:pt x="8" y="4"/>
                    <a:pt x="8" y="4"/>
                    <a:pt x="8" y="4"/>
                  </a:cubicBezTo>
                  <a:cubicBezTo>
                    <a:pt x="8" y="4"/>
                    <a:pt x="7" y="3"/>
                    <a:pt x="6" y="4"/>
                  </a:cubicBezTo>
                  <a:cubicBezTo>
                    <a:pt x="6" y="3"/>
                    <a:pt x="5" y="4"/>
                    <a:pt x="4" y="3"/>
                  </a:cubicBezTo>
                  <a:cubicBezTo>
                    <a:pt x="4" y="3"/>
                    <a:pt x="4" y="2"/>
                    <a:pt x="4" y="2"/>
                  </a:cubicBezTo>
                  <a:cubicBezTo>
                    <a:pt x="4" y="2"/>
                    <a:pt x="3" y="2"/>
                    <a:pt x="3" y="2"/>
                  </a:cubicBezTo>
                  <a:cubicBezTo>
                    <a:pt x="3" y="2"/>
                    <a:pt x="3" y="1"/>
                    <a:pt x="2" y="1"/>
                  </a:cubicBezTo>
                  <a:cubicBezTo>
                    <a:pt x="1" y="1"/>
                    <a:pt x="1" y="0"/>
                    <a:pt x="1" y="1"/>
                  </a:cubicBezTo>
                  <a:cubicBezTo>
                    <a:pt x="0" y="1"/>
                    <a:pt x="2" y="3"/>
                    <a:pt x="3" y="4"/>
                  </a:cubicBezTo>
                  <a:cubicBezTo>
                    <a:pt x="3" y="4"/>
                    <a:pt x="4" y="5"/>
                    <a:pt x="5" y="5"/>
                  </a:cubicBezTo>
                  <a:cubicBezTo>
                    <a:pt x="6" y="6"/>
                    <a:pt x="9" y="5"/>
                    <a:pt x="9" y="5"/>
                  </a:cubicBezTo>
                  <a:cubicBezTo>
                    <a:pt x="10" y="6"/>
                    <a:pt x="11" y="8"/>
                    <a:pt x="12" y="8"/>
                  </a:cubicBezTo>
                  <a:cubicBezTo>
                    <a:pt x="13" y="9"/>
                    <a:pt x="16" y="9"/>
                    <a:pt x="17" y="9"/>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11" name="Freeform 1862">
              <a:extLst>
                <a:ext uri="{FF2B5EF4-FFF2-40B4-BE49-F238E27FC236}">
                  <a16:creationId xmlns:a16="http://schemas.microsoft.com/office/drawing/2014/main" id="{2C9497EF-F046-4FEB-8DBB-C18866870CC5}"/>
                </a:ext>
              </a:extLst>
            </p:cNvPr>
            <p:cNvSpPr>
              <a:spLocks/>
            </p:cNvSpPr>
            <p:nvPr/>
          </p:nvSpPr>
          <p:spPr bwMode="auto">
            <a:xfrm>
              <a:off x="1759" y="3929"/>
              <a:ext cx="3" cy="2"/>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1"/>
                    <a:pt x="0" y="0"/>
                    <a:pt x="0" y="0"/>
                  </a:cubicBezTo>
                  <a:cubicBezTo>
                    <a:pt x="0" y="1"/>
                    <a:pt x="0" y="1"/>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12" name="Freeform 1863">
              <a:extLst>
                <a:ext uri="{FF2B5EF4-FFF2-40B4-BE49-F238E27FC236}">
                  <a16:creationId xmlns:a16="http://schemas.microsoft.com/office/drawing/2014/main" id="{693199A2-A9DD-4630-A894-A0A9C73FA094}"/>
                </a:ext>
              </a:extLst>
            </p:cNvPr>
            <p:cNvSpPr>
              <a:spLocks/>
            </p:cNvSpPr>
            <p:nvPr/>
          </p:nvSpPr>
          <p:spPr bwMode="auto">
            <a:xfrm>
              <a:off x="1769" y="4203"/>
              <a:ext cx="38" cy="28"/>
            </a:xfrm>
            <a:custGeom>
              <a:avLst/>
              <a:gdLst>
                <a:gd name="T0" fmla="*/ 13 w 16"/>
                <a:gd name="T1" fmla="*/ 9 h 12"/>
                <a:gd name="T2" fmla="*/ 14 w 16"/>
                <a:gd name="T3" fmla="*/ 8 h 12"/>
                <a:gd name="T4" fmla="*/ 14 w 16"/>
                <a:gd name="T5" fmla="*/ 8 h 12"/>
                <a:gd name="T6" fmla="*/ 14 w 16"/>
                <a:gd name="T7" fmla="*/ 8 h 12"/>
                <a:gd name="T8" fmla="*/ 15 w 16"/>
                <a:gd name="T9" fmla="*/ 8 h 12"/>
                <a:gd name="T10" fmla="*/ 16 w 16"/>
                <a:gd name="T11" fmla="*/ 7 h 12"/>
                <a:gd name="T12" fmla="*/ 13 w 16"/>
                <a:gd name="T13" fmla="*/ 6 h 12"/>
                <a:gd name="T14" fmla="*/ 13 w 16"/>
                <a:gd name="T15" fmla="*/ 4 h 12"/>
                <a:gd name="T16" fmla="*/ 11 w 16"/>
                <a:gd name="T17" fmla="*/ 4 h 12"/>
                <a:gd name="T18" fmla="*/ 10 w 16"/>
                <a:gd name="T19" fmla="*/ 4 h 12"/>
                <a:gd name="T20" fmla="*/ 8 w 16"/>
                <a:gd name="T21" fmla="*/ 3 h 12"/>
                <a:gd name="T22" fmla="*/ 7 w 16"/>
                <a:gd name="T23" fmla="*/ 2 h 12"/>
                <a:gd name="T24" fmla="*/ 5 w 16"/>
                <a:gd name="T25" fmla="*/ 3 h 12"/>
                <a:gd name="T26" fmla="*/ 3 w 16"/>
                <a:gd name="T27" fmla="*/ 3 h 12"/>
                <a:gd name="T28" fmla="*/ 6 w 16"/>
                <a:gd name="T29" fmla="*/ 5 h 12"/>
                <a:gd name="T30" fmla="*/ 7 w 16"/>
                <a:gd name="T31" fmla="*/ 4 h 12"/>
                <a:gd name="T32" fmla="*/ 7 w 16"/>
                <a:gd name="T33" fmla="*/ 5 h 12"/>
                <a:gd name="T34" fmla="*/ 4 w 16"/>
                <a:gd name="T35" fmla="*/ 5 h 12"/>
                <a:gd name="T36" fmla="*/ 3 w 16"/>
                <a:gd name="T37" fmla="*/ 4 h 12"/>
                <a:gd name="T38" fmla="*/ 1 w 16"/>
                <a:gd name="T39" fmla="*/ 4 h 12"/>
                <a:gd name="T40" fmla="*/ 3 w 16"/>
                <a:gd name="T41" fmla="*/ 6 h 12"/>
                <a:gd name="T42" fmla="*/ 5 w 16"/>
                <a:gd name="T43" fmla="*/ 6 h 12"/>
                <a:gd name="T44" fmla="*/ 4 w 16"/>
                <a:gd name="T45" fmla="*/ 8 h 12"/>
                <a:gd name="T46" fmla="*/ 4 w 16"/>
                <a:gd name="T47" fmla="*/ 9 h 12"/>
                <a:gd name="T48" fmla="*/ 6 w 16"/>
                <a:gd name="T49" fmla="*/ 8 h 12"/>
                <a:gd name="T50" fmla="*/ 7 w 16"/>
                <a:gd name="T51" fmla="*/ 8 h 12"/>
                <a:gd name="T52" fmla="*/ 7 w 16"/>
                <a:gd name="T53" fmla="*/ 8 h 12"/>
                <a:gd name="T54" fmla="*/ 8 w 16"/>
                <a:gd name="T55" fmla="*/ 8 h 12"/>
                <a:gd name="T56" fmla="*/ 9 w 16"/>
                <a:gd name="T57" fmla="*/ 8 h 12"/>
                <a:gd name="T58" fmla="*/ 11 w 16"/>
                <a:gd name="T59" fmla="*/ 8 h 12"/>
                <a:gd name="T60" fmla="*/ 9 w 16"/>
                <a:gd name="T61" fmla="*/ 9 h 12"/>
                <a:gd name="T62" fmla="*/ 8 w 16"/>
                <a:gd name="T63" fmla="*/ 11 h 12"/>
                <a:gd name="T64" fmla="*/ 7 w 16"/>
                <a:gd name="T65" fmla="*/ 11 h 12"/>
                <a:gd name="T66" fmla="*/ 9 w 16"/>
                <a:gd name="T67" fmla="*/ 12 h 12"/>
                <a:gd name="T68" fmla="*/ 11 w 16"/>
                <a:gd name="T69" fmla="*/ 10 h 12"/>
                <a:gd name="T70" fmla="*/ 12 w 16"/>
                <a:gd name="T71" fmla="*/ 10 h 12"/>
                <a:gd name="T72" fmla="*/ 14 w 16"/>
                <a:gd name="T73" fmla="*/ 11 h 12"/>
                <a:gd name="T74" fmla="*/ 13 w 16"/>
                <a:gd name="T75"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 h="12">
                  <a:moveTo>
                    <a:pt x="13" y="9"/>
                  </a:moveTo>
                  <a:cubicBezTo>
                    <a:pt x="14" y="9"/>
                    <a:pt x="14" y="8"/>
                    <a:pt x="14" y="8"/>
                  </a:cubicBezTo>
                  <a:cubicBezTo>
                    <a:pt x="14" y="8"/>
                    <a:pt x="14" y="8"/>
                    <a:pt x="14" y="8"/>
                  </a:cubicBezTo>
                  <a:cubicBezTo>
                    <a:pt x="14" y="8"/>
                    <a:pt x="14" y="8"/>
                    <a:pt x="14" y="8"/>
                  </a:cubicBezTo>
                  <a:cubicBezTo>
                    <a:pt x="14" y="8"/>
                    <a:pt x="15" y="8"/>
                    <a:pt x="15" y="8"/>
                  </a:cubicBezTo>
                  <a:cubicBezTo>
                    <a:pt x="15" y="8"/>
                    <a:pt x="15" y="8"/>
                    <a:pt x="16" y="7"/>
                  </a:cubicBezTo>
                  <a:cubicBezTo>
                    <a:pt x="15" y="7"/>
                    <a:pt x="14" y="6"/>
                    <a:pt x="13" y="6"/>
                  </a:cubicBezTo>
                  <a:cubicBezTo>
                    <a:pt x="12" y="6"/>
                    <a:pt x="13" y="5"/>
                    <a:pt x="13" y="4"/>
                  </a:cubicBezTo>
                  <a:cubicBezTo>
                    <a:pt x="13" y="4"/>
                    <a:pt x="12" y="4"/>
                    <a:pt x="11" y="4"/>
                  </a:cubicBezTo>
                  <a:cubicBezTo>
                    <a:pt x="11" y="4"/>
                    <a:pt x="10" y="4"/>
                    <a:pt x="10" y="4"/>
                  </a:cubicBezTo>
                  <a:cubicBezTo>
                    <a:pt x="9" y="4"/>
                    <a:pt x="9" y="2"/>
                    <a:pt x="8" y="3"/>
                  </a:cubicBezTo>
                  <a:cubicBezTo>
                    <a:pt x="8" y="2"/>
                    <a:pt x="8" y="2"/>
                    <a:pt x="7" y="2"/>
                  </a:cubicBezTo>
                  <a:cubicBezTo>
                    <a:pt x="7" y="0"/>
                    <a:pt x="5" y="3"/>
                    <a:pt x="5" y="3"/>
                  </a:cubicBezTo>
                  <a:cubicBezTo>
                    <a:pt x="4" y="3"/>
                    <a:pt x="4" y="3"/>
                    <a:pt x="3" y="3"/>
                  </a:cubicBezTo>
                  <a:cubicBezTo>
                    <a:pt x="4" y="4"/>
                    <a:pt x="5" y="5"/>
                    <a:pt x="6" y="5"/>
                  </a:cubicBezTo>
                  <a:cubicBezTo>
                    <a:pt x="6" y="5"/>
                    <a:pt x="7" y="4"/>
                    <a:pt x="7" y="4"/>
                  </a:cubicBezTo>
                  <a:cubicBezTo>
                    <a:pt x="7" y="5"/>
                    <a:pt x="8" y="5"/>
                    <a:pt x="7" y="5"/>
                  </a:cubicBezTo>
                  <a:cubicBezTo>
                    <a:pt x="6" y="6"/>
                    <a:pt x="5" y="5"/>
                    <a:pt x="4" y="5"/>
                  </a:cubicBezTo>
                  <a:cubicBezTo>
                    <a:pt x="4" y="4"/>
                    <a:pt x="3" y="4"/>
                    <a:pt x="3" y="4"/>
                  </a:cubicBezTo>
                  <a:cubicBezTo>
                    <a:pt x="3" y="4"/>
                    <a:pt x="1" y="4"/>
                    <a:pt x="1" y="4"/>
                  </a:cubicBezTo>
                  <a:cubicBezTo>
                    <a:pt x="0" y="5"/>
                    <a:pt x="1" y="7"/>
                    <a:pt x="3" y="6"/>
                  </a:cubicBezTo>
                  <a:cubicBezTo>
                    <a:pt x="3" y="6"/>
                    <a:pt x="4" y="6"/>
                    <a:pt x="5" y="6"/>
                  </a:cubicBezTo>
                  <a:cubicBezTo>
                    <a:pt x="5" y="7"/>
                    <a:pt x="4" y="8"/>
                    <a:pt x="4" y="8"/>
                  </a:cubicBezTo>
                  <a:cubicBezTo>
                    <a:pt x="4" y="9"/>
                    <a:pt x="5" y="9"/>
                    <a:pt x="4" y="9"/>
                  </a:cubicBezTo>
                  <a:cubicBezTo>
                    <a:pt x="5" y="9"/>
                    <a:pt x="6" y="9"/>
                    <a:pt x="6" y="8"/>
                  </a:cubicBezTo>
                  <a:cubicBezTo>
                    <a:pt x="7" y="8"/>
                    <a:pt x="7" y="8"/>
                    <a:pt x="7" y="8"/>
                  </a:cubicBezTo>
                  <a:cubicBezTo>
                    <a:pt x="7" y="8"/>
                    <a:pt x="7" y="8"/>
                    <a:pt x="7" y="8"/>
                  </a:cubicBezTo>
                  <a:cubicBezTo>
                    <a:pt x="8" y="8"/>
                    <a:pt x="8" y="8"/>
                    <a:pt x="8" y="8"/>
                  </a:cubicBezTo>
                  <a:cubicBezTo>
                    <a:pt x="9" y="8"/>
                    <a:pt x="9" y="8"/>
                    <a:pt x="9" y="8"/>
                  </a:cubicBezTo>
                  <a:cubicBezTo>
                    <a:pt x="10" y="8"/>
                    <a:pt x="10" y="8"/>
                    <a:pt x="11" y="8"/>
                  </a:cubicBezTo>
                  <a:cubicBezTo>
                    <a:pt x="10" y="9"/>
                    <a:pt x="10" y="9"/>
                    <a:pt x="9" y="9"/>
                  </a:cubicBezTo>
                  <a:cubicBezTo>
                    <a:pt x="9" y="10"/>
                    <a:pt x="9" y="10"/>
                    <a:pt x="8" y="11"/>
                  </a:cubicBezTo>
                  <a:cubicBezTo>
                    <a:pt x="8" y="11"/>
                    <a:pt x="8" y="11"/>
                    <a:pt x="7" y="11"/>
                  </a:cubicBezTo>
                  <a:cubicBezTo>
                    <a:pt x="8" y="12"/>
                    <a:pt x="8" y="12"/>
                    <a:pt x="9" y="12"/>
                  </a:cubicBezTo>
                  <a:cubicBezTo>
                    <a:pt x="10" y="12"/>
                    <a:pt x="10" y="11"/>
                    <a:pt x="11" y="10"/>
                  </a:cubicBezTo>
                  <a:cubicBezTo>
                    <a:pt x="12" y="12"/>
                    <a:pt x="12" y="11"/>
                    <a:pt x="12" y="10"/>
                  </a:cubicBezTo>
                  <a:cubicBezTo>
                    <a:pt x="13" y="10"/>
                    <a:pt x="13" y="11"/>
                    <a:pt x="14" y="11"/>
                  </a:cubicBezTo>
                  <a:cubicBezTo>
                    <a:pt x="15" y="11"/>
                    <a:pt x="14" y="9"/>
                    <a:pt x="13" y="9"/>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13" name="Freeform 1864">
              <a:extLst>
                <a:ext uri="{FF2B5EF4-FFF2-40B4-BE49-F238E27FC236}">
                  <a16:creationId xmlns:a16="http://schemas.microsoft.com/office/drawing/2014/main" id="{38F878DE-11D5-4324-97C4-6E94165B1744}"/>
                </a:ext>
              </a:extLst>
            </p:cNvPr>
            <p:cNvSpPr>
              <a:spLocks/>
            </p:cNvSpPr>
            <p:nvPr/>
          </p:nvSpPr>
          <p:spPr bwMode="auto">
            <a:xfrm>
              <a:off x="1757" y="3950"/>
              <a:ext cx="9" cy="5"/>
            </a:xfrm>
            <a:custGeom>
              <a:avLst/>
              <a:gdLst>
                <a:gd name="T0" fmla="*/ 2 w 4"/>
                <a:gd name="T1" fmla="*/ 0 h 2"/>
                <a:gd name="T2" fmla="*/ 1 w 4"/>
                <a:gd name="T3" fmla="*/ 1 h 2"/>
                <a:gd name="T4" fmla="*/ 2 w 4"/>
                <a:gd name="T5" fmla="*/ 2 h 2"/>
                <a:gd name="T6" fmla="*/ 4 w 4"/>
                <a:gd name="T7" fmla="*/ 2 h 2"/>
                <a:gd name="T8" fmla="*/ 2 w 4"/>
                <a:gd name="T9" fmla="*/ 0 h 2"/>
              </a:gdLst>
              <a:ahLst/>
              <a:cxnLst>
                <a:cxn ang="0">
                  <a:pos x="T0" y="T1"/>
                </a:cxn>
                <a:cxn ang="0">
                  <a:pos x="T2" y="T3"/>
                </a:cxn>
                <a:cxn ang="0">
                  <a:pos x="T4" y="T5"/>
                </a:cxn>
                <a:cxn ang="0">
                  <a:pos x="T6" y="T7"/>
                </a:cxn>
                <a:cxn ang="0">
                  <a:pos x="T8" y="T9"/>
                </a:cxn>
              </a:cxnLst>
              <a:rect l="0" t="0" r="r" b="b"/>
              <a:pathLst>
                <a:path w="4" h="2">
                  <a:moveTo>
                    <a:pt x="2" y="0"/>
                  </a:moveTo>
                  <a:cubicBezTo>
                    <a:pt x="1" y="0"/>
                    <a:pt x="1" y="1"/>
                    <a:pt x="1" y="1"/>
                  </a:cubicBezTo>
                  <a:cubicBezTo>
                    <a:pt x="0" y="2"/>
                    <a:pt x="2" y="2"/>
                    <a:pt x="2" y="2"/>
                  </a:cubicBezTo>
                  <a:cubicBezTo>
                    <a:pt x="3" y="2"/>
                    <a:pt x="4" y="2"/>
                    <a:pt x="4" y="2"/>
                  </a:cubicBezTo>
                  <a:cubicBezTo>
                    <a:pt x="4" y="2"/>
                    <a:pt x="2" y="0"/>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14" name="Freeform 1865">
              <a:extLst>
                <a:ext uri="{FF2B5EF4-FFF2-40B4-BE49-F238E27FC236}">
                  <a16:creationId xmlns:a16="http://schemas.microsoft.com/office/drawing/2014/main" id="{D631FE05-E7E3-443D-A297-402C8DB0F355}"/>
                </a:ext>
              </a:extLst>
            </p:cNvPr>
            <p:cNvSpPr>
              <a:spLocks/>
            </p:cNvSpPr>
            <p:nvPr/>
          </p:nvSpPr>
          <p:spPr bwMode="auto">
            <a:xfrm>
              <a:off x="1837" y="4212"/>
              <a:ext cx="12" cy="22"/>
            </a:xfrm>
            <a:custGeom>
              <a:avLst/>
              <a:gdLst>
                <a:gd name="T0" fmla="*/ 5 w 5"/>
                <a:gd name="T1" fmla="*/ 7 h 9"/>
                <a:gd name="T2" fmla="*/ 4 w 5"/>
                <a:gd name="T3" fmla="*/ 4 h 9"/>
                <a:gd name="T4" fmla="*/ 4 w 5"/>
                <a:gd name="T5" fmla="*/ 0 h 9"/>
                <a:gd name="T6" fmla="*/ 2 w 5"/>
                <a:gd name="T7" fmla="*/ 2 h 9"/>
                <a:gd name="T8" fmla="*/ 1 w 5"/>
                <a:gd name="T9" fmla="*/ 4 h 9"/>
                <a:gd name="T10" fmla="*/ 1 w 5"/>
                <a:gd name="T11" fmla="*/ 4 h 9"/>
                <a:gd name="T12" fmla="*/ 0 w 5"/>
                <a:gd name="T13" fmla="*/ 6 h 9"/>
                <a:gd name="T14" fmla="*/ 4 w 5"/>
                <a:gd name="T15" fmla="*/ 9 h 9"/>
                <a:gd name="T16" fmla="*/ 3 w 5"/>
                <a:gd name="T17" fmla="*/ 7 h 9"/>
                <a:gd name="T18" fmla="*/ 2 w 5"/>
                <a:gd name="T19" fmla="*/ 5 h 9"/>
                <a:gd name="T20" fmla="*/ 5 w 5"/>
                <a:gd name="T21"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9">
                  <a:moveTo>
                    <a:pt x="5" y="7"/>
                  </a:moveTo>
                  <a:cubicBezTo>
                    <a:pt x="5" y="6"/>
                    <a:pt x="5" y="5"/>
                    <a:pt x="4" y="4"/>
                  </a:cubicBezTo>
                  <a:cubicBezTo>
                    <a:pt x="4" y="3"/>
                    <a:pt x="4" y="1"/>
                    <a:pt x="4" y="0"/>
                  </a:cubicBezTo>
                  <a:cubicBezTo>
                    <a:pt x="4" y="0"/>
                    <a:pt x="2" y="1"/>
                    <a:pt x="2" y="2"/>
                  </a:cubicBezTo>
                  <a:cubicBezTo>
                    <a:pt x="2" y="2"/>
                    <a:pt x="2" y="3"/>
                    <a:pt x="1" y="4"/>
                  </a:cubicBezTo>
                  <a:cubicBezTo>
                    <a:pt x="1" y="4"/>
                    <a:pt x="1" y="4"/>
                    <a:pt x="1" y="4"/>
                  </a:cubicBezTo>
                  <a:cubicBezTo>
                    <a:pt x="0" y="5"/>
                    <a:pt x="0" y="4"/>
                    <a:pt x="0" y="6"/>
                  </a:cubicBezTo>
                  <a:cubicBezTo>
                    <a:pt x="0" y="8"/>
                    <a:pt x="2" y="9"/>
                    <a:pt x="4" y="9"/>
                  </a:cubicBezTo>
                  <a:cubicBezTo>
                    <a:pt x="3" y="8"/>
                    <a:pt x="3" y="7"/>
                    <a:pt x="3" y="7"/>
                  </a:cubicBezTo>
                  <a:cubicBezTo>
                    <a:pt x="3" y="6"/>
                    <a:pt x="2" y="6"/>
                    <a:pt x="2" y="5"/>
                  </a:cubicBezTo>
                  <a:cubicBezTo>
                    <a:pt x="2" y="5"/>
                    <a:pt x="4" y="8"/>
                    <a:pt x="5" y="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15" name="Freeform 1866">
              <a:extLst>
                <a:ext uri="{FF2B5EF4-FFF2-40B4-BE49-F238E27FC236}">
                  <a16:creationId xmlns:a16="http://schemas.microsoft.com/office/drawing/2014/main" id="{7C9EB66D-626C-4808-964E-ECB0D0B23C48}"/>
                </a:ext>
              </a:extLst>
            </p:cNvPr>
            <p:cNvSpPr>
              <a:spLocks/>
            </p:cNvSpPr>
            <p:nvPr/>
          </p:nvSpPr>
          <p:spPr bwMode="auto">
            <a:xfrm>
              <a:off x="1724" y="4056"/>
              <a:ext cx="31" cy="43"/>
            </a:xfrm>
            <a:custGeom>
              <a:avLst/>
              <a:gdLst>
                <a:gd name="T0" fmla="*/ 11 w 13"/>
                <a:gd name="T1" fmla="*/ 1 h 18"/>
                <a:gd name="T2" fmla="*/ 10 w 13"/>
                <a:gd name="T3" fmla="*/ 1 h 18"/>
                <a:gd name="T4" fmla="*/ 7 w 13"/>
                <a:gd name="T5" fmla="*/ 1 h 18"/>
                <a:gd name="T6" fmla="*/ 7 w 13"/>
                <a:gd name="T7" fmla="*/ 2 h 18"/>
                <a:gd name="T8" fmla="*/ 6 w 13"/>
                <a:gd name="T9" fmla="*/ 3 h 18"/>
                <a:gd name="T10" fmla="*/ 7 w 13"/>
                <a:gd name="T11" fmla="*/ 3 h 18"/>
                <a:gd name="T12" fmla="*/ 6 w 13"/>
                <a:gd name="T13" fmla="*/ 4 h 18"/>
                <a:gd name="T14" fmla="*/ 8 w 13"/>
                <a:gd name="T15" fmla="*/ 6 h 18"/>
                <a:gd name="T16" fmla="*/ 7 w 13"/>
                <a:gd name="T17" fmla="*/ 9 h 18"/>
                <a:gd name="T18" fmla="*/ 5 w 13"/>
                <a:gd name="T19" fmla="*/ 7 h 18"/>
                <a:gd name="T20" fmla="*/ 5 w 13"/>
                <a:gd name="T21" fmla="*/ 8 h 18"/>
                <a:gd name="T22" fmla="*/ 4 w 13"/>
                <a:gd name="T23" fmla="*/ 9 h 18"/>
                <a:gd name="T24" fmla="*/ 2 w 13"/>
                <a:gd name="T25" fmla="*/ 9 h 18"/>
                <a:gd name="T26" fmla="*/ 2 w 13"/>
                <a:gd name="T27" fmla="*/ 8 h 18"/>
                <a:gd name="T28" fmla="*/ 2 w 13"/>
                <a:gd name="T29" fmla="*/ 10 h 18"/>
                <a:gd name="T30" fmla="*/ 4 w 13"/>
                <a:gd name="T31" fmla="*/ 15 h 18"/>
                <a:gd name="T32" fmla="*/ 6 w 13"/>
                <a:gd name="T33" fmla="*/ 15 h 18"/>
                <a:gd name="T34" fmla="*/ 6 w 13"/>
                <a:gd name="T35" fmla="*/ 14 h 18"/>
                <a:gd name="T36" fmla="*/ 6 w 13"/>
                <a:gd name="T37" fmla="*/ 13 h 18"/>
                <a:gd name="T38" fmla="*/ 6 w 13"/>
                <a:gd name="T39" fmla="*/ 11 h 18"/>
                <a:gd name="T40" fmla="*/ 7 w 13"/>
                <a:gd name="T41" fmla="*/ 11 h 18"/>
                <a:gd name="T42" fmla="*/ 8 w 13"/>
                <a:gd name="T43" fmla="*/ 10 h 18"/>
                <a:gd name="T44" fmla="*/ 9 w 13"/>
                <a:gd name="T45" fmla="*/ 9 h 18"/>
                <a:gd name="T46" fmla="*/ 7 w 13"/>
                <a:gd name="T47" fmla="*/ 11 h 18"/>
                <a:gd name="T48" fmla="*/ 9 w 13"/>
                <a:gd name="T49" fmla="*/ 13 h 18"/>
                <a:gd name="T50" fmla="*/ 7 w 13"/>
                <a:gd name="T51" fmla="*/ 13 h 18"/>
                <a:gd name="T52" fmla="*/ 8 w 13"/>
                <a:gd name="T53" fmla="*/ 16 h 18"/>
                <a:gd name="T54" fmla="*/ 7 w 13"/>
                <a:gd name="T55" fmla="*/ 16 h 18"/>
                <a:gd name="T56" fmla="*/ 9 w 13"/>
                <a:gd name="T57" fmla="*/ 17 h 18"/>
                <a:gd name="T58" fmla="*/ 7 w 13"/>
                <a:gd name="T59" fmla="*/ 18 h 18"/>
                <a:gd name="T60" fmla="*/ 10 w 13"/>
                <a:gd name="T61" fmla="*/ 18 h 18"/>
                <a:gd name="T62" fmla="*/ 11 w 13"/>
                <a:gd name="T63" fmla="*/ 15 h 18"/>
                <a:gd name="T64" fmla="*/ 12 w 13"/>
                <a:gd name="T65" fmla="*/ 16 h 18"/>
                <a:gd name="T66" fmla="*/ 11 w 13"/>
                <a:gd name="T67" fmla="*/ 14 h 18"/>
                <a:gd name="T68" fmla="*/ 11 w 13"/>
                <a:gd name="T69" fmla="*/ 11 h 18"/>
                <a:gd name="T70" fmla="*/ 12 w 13"/>
                <a:gd name="T71" fmla="*/ 8 h 18"/>
                <a:gd name="T72" fmla="*/ 11 w 13"/>
                <a:gd name="T73" fmla="*/ 5 h 18"/>
                <a:gd name="T74" fmla="*/ 11 w 13"/>
                <a:gd name="T75" fmla="*/ 4 h 18"/>
                <a:gd name="T76" fmla="*/ 11 w 13"/>
                <a:gd name="T77" fmla="*/ 4 h 18"/>
                <a:gd name="T78" fmla="*/ 11 w 13"/>
                <a:gd name="T79" fmla="*/ 2 h 18"/>
                <a:gd name="T80" fmla="*/ 11 w 13"/>
                <a:gd name="T8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 h="18">
                  <a:moveTo>
                    <a:pt x="11" y="1"/>
                  </a:moveTo>
                  <a:cubicBezTo>
                    <a:pt x="10" y="0"/>
                    <a:pt x="10" y="1"/>
                    <a:pt x="10" y="1"/>
                  </a:cubicBezTo>
                  <a:cubicBezTo>
                    <a:pt x="9" y="0"/>
                    <a:pt x="9" y="0"/>
                    <a:pt x="7" y="1"/>
                  </a:cubicBezTo>
                  <a:cubicBezTo>
                    <a:pt x="6" y="1"/>
                    <a:pt x="4" y="3"/>
                    <a:pt x="7" y="2"/>
                  </a:cubicBezTo>
                  <a:cubicBezTo>
                    <a:pt x="7" y="2"/>
                    <a:pt x="6" y="3"/>
                    <a:pt x="6" y="3"/>
                  </a:cubicBezTo>
                  <a:cubicBezTo>
                    <a:pt x="6" y="3"/>
                    <a:pt x="7" y="4"/>
                    <a:pt x="7" y="3"/>
                  </a:cubicBezTo>
                  <a:cubicBezTo>
                    <a:pt x="7" y="4"/>
                    <a:pt x="7" y="4"/>
                    <a:pt x="6" y="4"/>
                  </a:cubicBezTo>
                  <a:cubicBezTo>
                    <a:pt x="7" y="5"/>
                    <a:pt x="8" y="5"/>
                    <a:pt x="8" y="6"/>
                  </a:cubicBezTo>
                  <a:cubicBezTo>
                    <a:pt x="8" y="7"/>
                    <a:pt x="7" y="8"/>
                    <a:pt x="7" y="9"/>
                  </a:cubicBezTo>
                  <a:cubicBezTo>
                    <a:pt x="7" y="8"/>
                    <a:pt x="6" y="8"/>
                    <a:pt x="5" y="7"/>
                  </a:cubicBezTo>
                  <a:cubicBezTo>
                    <a:pt x="5" y="7"/>
                    <a:pt x="5" y="8"/>
                    <a:pt x="5" y="8"/>
                  </a:cubicBezTo>
                  <a:cubicBezTo>
                    <a:pt x="4" y="8"/>
                    <a:pt x="4" y="8"/>
                    <a:pt x="4" y="9"/>
                  </a:cubicBezTo>
                  <a:cubicBezTo>
                    <a:pt x="3" y="8"/>
                    <a:pt x="2" y="7"/>
                    <a:pt x="2" y="9"/>
                  </a:cubicBezTo>
                  <a:cubicBezTo>
                    <a:pt x="2" y="8"/>
                    <a:pt x="2" y="8"/>
                    <a:pt x="2" y="8"/>
                  </a:cubicBezTo>
                  <a:cubicBezTo>
                    <a:pt x="0" y="8"/>
                    <a:pt x="2" y="10"/>
                    <a:pt x="2" y="10"/>
                  </a:cubicBezTo>
                  <a:cubicBezTo>
                    <a:pt x="2" y="12"/>
                    <a:pt x="3" y="14"/>
                    <a:pt x="4" y="15"/>
                  </a:cubicBezTo>
                  <a:cubicBezTo>
                    <a:pt x="5" y="15"/>
                    <a:pt x="4" y="16"/>
                    <a:pt x="6" y="15"/>
                  </a:cubicBezTo>
                  <a:cubicBezTo>
                    <a:pt x="7" y="15"/>
                    <a:pt x="6" y="15"/>
                    <a:pt x="6" y="14"/>
                  </a:cubicBezTo>
                  <a:cubicBezTo>
                    <a:pt x="6" y="14"/>
                    <a:pt x="6" y="13"/>
                    <a:pt x="6" y="13"/>
                  </a:cubicBezTo>
                  <a:cubicBezTo>
                    <a:pt x="6" y="12"/>
                    <a:pt x="5" y="11"/>
                    <a:pt x="6" y="11"/>
                  </a:cubicBezTo>
                  <a:cubicBezTo>
                    <a:pt x="6" y="11"/>
                    <a:pt x="7" y="11"/>
                    <a:pt x="7" y="11"/>
                  </a:cubicBezTo>
                  <a:cubicBezTo>
                    <a:pt x="7" y="11"/>
                    <a:pt x="9" y="11"/>
                    <a:pt x="8" y="10"/>
                  </a:cubicBezTo>
                  <a:cubicBezTo>
                    <a:pt x="9" y="9"/>
                    <a:pt x="9" y="9"/>
                    <a:pt x="9" y="9"/>
                  </a:cubicBezTo>
                  <a:cubicBezTo>
                    <a:pt x="9" y="10"/>
                    <a:pt x="8" y="11"/>
                    <a:pt x="7" y="11"/>
                  </a:cubicBezTo>
                  <a:cubicBezTo>
                    <a:pt x="8" y="12"/>
                    <a:pt x="8" y="12"/>
                    <a:pt x="9" y="13"/>
                  </a:cubicBezTo>
                  <a:cubicBezTo>
                    <a:pt x="8" y="13"/>
                    <a:pt x="7" y="12"/>
                    <a:pt x="7" y="13"/>
                  </a:cubicBezTo>
                  <a:cubicBezTo>
                    <a:pt x="6" y="14"/>
                    <a:pt x="9" y="14"/>
                    <a:pt x="8" y="16"/>
                  </a:cubicBezTo>
                  <a:cubicBezTo>
                    <a:pt x="8" y="16"/>
                    <a:pt x="6" y="17"/>
                    <a:pt x="7" y="16"/>
                  </a:cubicBezTo>
                  <a:cubicBezTo>
                    <a:pt x="8" y="16"/>
                    <a:pt x="9" y="16"/>
                    <a:pt x="9" y="17"/>
                  </a:cubicBezTo>
                  <a:cubicBezTo>
                    <a:pt x="9" y="17"/>
                    <a:pt x="6" y="17"/>
                    <a:pt x="7" y="18"/>
                  </a:cubicBezTo>
                  <a:cubicBezTo>
                    <a:pt x="8" y="18"/>
                    <a:pt x="9" y="18"/>
                    <a:pt x="10" y="18"/>
                  </a:cubicBezTo>
                  <a:cubicBezTo>
                    <a:pt x="11" y="17"/>
                    <a:pt x="11" y="17"/>
                    <a:pt x="11" y="15"/>
                  </a:cubicBezTo>
                  <a:cubicBezTo>
                    <a:pt x="11" y="16"/>
                    <a:pt x="11" y="16"/>
                    <a:pt x="12" y="16"/>
                  </a:cubicBezTo>
                  <a:cubicBezTo>
                    <a:pt x="12" y="15"/>
                    <a:pt x="12" y="14"/>
                    <a:pt x="11" y="14"/>
                  </a:cubicBezTo>
                  <a:cubicBezTo>
                    <a:pt x="13" y="15"/>
                    <a:pt x="11" y="11"/>
                    <a:pt x="11" y="11"/>
                  </a:cubicBezTo>
                  <a:cubicBezTo>
                    <a:pt x="11" y="11"/>
                    <a:pt x="11" y="9"/>
                    <a:pt x="12" y="8"/>
                  </a:cubicBezTo>
                  <a:cubicBezTo>
                    <a:pt x="12" y="7"/>
                    <a:pt x="11" y="6"/>
                    <a:pt x="11" y="5"/>
                  </a:cubicBezTo>
                  <a:cubicBezTo>
                    <a:pt x="11" y="5"/>
                    <a:pt x="11" y="4"/>
                    <a:pt x="11" y="4"/>
                  </a:cubicBezTo>
                  <a:cubicBezTo>
                    <a:pt x="11" y="4"/>
                    <a:pt x="11" y="4"/>
                    <a:pt x="11" y="4"/>
                  </a:cubicBezTo>
                  <a:cubicBezTo>
                    <a:pt x="11" y="3"/>
                    <a:pt x="11" y="3"/>
                    <a:pt x="11" y="2"/>
                  </a:cubicBezTo>
                  <a:cubicBezTo>
                    <a:pt x="11" y="2"/>
                    <a:pt x="11" y="1"/>
                    <a:pt x="1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16" name="Freeform 1867">
              <a:extLst>
                <a:ext uri="{FF2B5EF4-FFF2-40B4-BE49-F238E27FC236}">
                  <a16:creationId xmlns:a16="http://schemas.microsoft.com/office/drawing/2014/main" id="{B4274A9A-CB2C-46D0-962E-27DE78DF7C0F}"/>
                </a:ext>
              </a:extLst>
            </p:cNvPr>
            <p:cNvSpPr>
              <a:spLocks/>
            </p:cNvSpPr>
            <p:nvPr/>
          </p:nvSpPr>
          <p:spPr bwMode="auto">
            <a:xfrm>
              <a:off x="1757" y="3943"/>
              <a:ext cx="12" cy="9"/>
            </a:xfrm>
            <a:custGeom>
              <a:avLst/>
              <a:gdLst>
                <a:gd name="T0" fmla="*/ 3 w 5"/>
                <a:gd name="T1" fmla="*/ 1 h 4"/>
                <a:gd name="T2" fmla="*/ 0 w 5"/>
                <a:gd name="T3" fmla="*/ 2 h 4"/>
                <a:gd name="T4" fmla="*/ 5 w 5"/>
                <a:gd name="T5" fmla="*/ 4 h 4"/>
                <a:gd name="T6" fmla="*/ 3 w 5"/>
                <a:gd name="T7" fmla="*/ 1 h 4"/>
              </a:gdLst>
              <a:ahLst/>
              <a:cxnLst>
                <a:cxn ang="0">
                  <a:pos x="T0" y="T1"/>
                </a:cxn>
                <a:cxn ang="0">
                  <a:pos x="T2" y="T3"/>
                </a:cxn>
                <a:cxn ang="0">
                  <a:pos x="T4" y="T5"/>
                </a:cxn>
                <a:cxn ang="0">
                  <a:pos x="T6" y="T7"/>
                </a:cxn>
              </a:cxnLst>
              <a:rect l="0" t="0" r="r" b="b"/>
              <a:pathLst>
                <a:path w="5" h="4">
                  <a:moveTo>
                    <a:pt x="3" y="1"/>
                  </a:moveTo>
                  <a:cubicBezTo>
                    <a:pt x="3" y="0"/>
                    <a:pt x="0" y="1"/>
                    <a:pt x="0" y="2"/>
                  </a:cubicBezTo>
                  <a:cubicBezTo>
                    <a:pt x="1" y="3"/>
                    <a:pt x="3" y="3"/>
                    <a:pt x="5" y="4"/>
                  </a:cubicBezTo>
                  <a:cubicBezTo>
                    <a:pt x="5" y="3"/>
                    <a:pt x="5" y="1"/>
                    <a:pt x="3"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17" name="Freeform 1868">
              <a:extLst>
                <a:ext uri="{FF2B5EF4-FFF2-40B4-BE49-F238E27FC236}">
                  <a16:creationId xmlns:a16="http://schemas.microsoft.com/office/drawing/2014/main" id="{12901405-DBB8-4D78-A54B-8B09DF1890B0}"/>
                </a:ext>
              </a:extLst>
            </p:cNvPr>
            <p:cNvSpPr>
              <a:spLocks/>
            </p:cNvSpPr>
            <p:nvPr/>
          </p:nvSpPr>
          <p:spPr bwMode="auto">
            <a:xfrm>
              <a:off x="1752" y="3950"/>
              <a:ext cx="3" cy="2"/>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1"/>
                    <a:pt x="1" y="0"/>
                    <a:pt x="0" y="0"/>
                  </a:cubicBezTo>
                  <a:cubicBezTo>
                    <a:pt x="0" y="0"/>
                    <a:pt x="0" y="1"/>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18" name="Freeform 1869">
              <a:extLst>
                <a:ext uri="{FF2B5EF4-FFF2-40B4-BE49-F238E27FC236}">
                  <a16:creationId xmlns:a16="http://schemas.microsoft.com/office/drawing/2014/main" id="{FCE6AC7A-A09F-4668-9348-727D1997785B}"/>
                </a:ext>
              </a:extLst>
            </p:cNvPr>
            <p:cNvSpPr>
              <a:spLocks/>
            </p:cNvSpPr>
            <p:nvPr/>
          </p:nvSpPr>
          <p:spPr bwMode="auto">
            <a:xfrm>
              <a:off x="1930" y="4267"/>
              <a:ext cx="4" cy="5"/>
            </a:xfrm>
            <a:custGeom>
              <a:avLst/>
              <a:gdLst>
                <a:gd name="T0" fmla="*/ 0 w 2"/>
                <a:gd name="T1" fmla="*/ 1 h 2"/>
                <a:gd name="T2" fmla="*/ 2 w 2"/>
                <a:gd name="T3" fmla="*/ 1 h 2"/>
                <a:gd name="T4" fmla="*/ 0 w 2"/>
                <a:gd name="T5" fmla="*/ 1 h 2"/>
              </a:gdLst>
              <a:ahLst/>
              <a:cxnLst>
                <a:cxn ang="0">
                  <a:pos x="T0" y="T1"/>
                </a:cxn>
                <a:cxn ang="0">
                  <a:pos x="T2" y="T3"/>
                </a:cxn>
                <a:cxn ang="0">
                  <a:pos x="T4" y="T5"/>
                </a:cxn>
              </a:cxnLst>
              <a:rect l="0" t="0" r="r" b="b"/>
              <a:pathLst>
                <a:path w="2" h="2">
                  <a:moveTo>
                    <a:pt x="0" y="1"/>
                  </a:moveTo>
                  <a:cubicBezTo>
                    <a:pt x="0" y="2"/>
                    <a:pt x="1" y="1"/>
                    <a:pt x="2" y="1"/>
                  </a:cubicBezTo>
                  <a:cubicBezTo>
                    <a:pt x="1" y="0"/>
                    <a:pt x="0"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19" name="Freeform 1870">
              <a:extLst>
                <a:ext uri="{FF2B5EF4-FFF2-40B4-BE49-F238E27FC236}">
                  <a16:creationId xmlns:a16="http://schemas.microsoft.com/office/drawing/2014/main" id="{368E1713-8C4B-433B-ACBD-1695800B2674}"/>
                </a:ext>
              </a:extLst>
            </p:cNvPr>
            <p:cNvSpPr>
              <a:spLocks/>
            </p:cNvSpPr>
            <p:nvPr/>
          </p:nvSpPr>
          <p:spPr bwMode="auto">
            <a:xfrm>
              <a:off x="1859" y="4257"/>
              <a:ext cx="49" cy="29"/>
            </a:xfrm>
            <a:custGeom>
              <a:avLst/>
              <a:gdLst>
                <a:gd name="T0" fmla="*/ 20 w 21"/>
                <a:gd name="T1" fmla="*/ 9 h 12"/>
                <a:gd name="T2" fmla="*/ 19 w 21"/>
                <a:gd name="T3" fmla="*/ 8 h 12"/>
                <a:gd name="T4" fmla="*/ 17 w 21"/>
                <a:gd name="T5" fmla="*/ 7 h 12"/>
                <a:gd name="T6" fmla="*/ 16 w 21"/>
                <a:gd name="T7" fmla="*/ 6 h 12"/>
                <a:gd name="T8" fmla="*/ 14 w 21"/>
                <a:gd name="T9" fmla="*/ 6 h 12"/>
                <a:gd name="T10" fmla="*/ 13 w 21"/>
                <a:gd name="T11" fmla="*/ 5 h 12"/>
                <a:gd name="T12" fmla="*/ 18 w 21"/>
                <a:gd name="T13" fmla="*/ 5 h 12"/>
                <a:gd name="T14" fmla="*/ 15 w 21"/>
                <a:gd name="T15" fmla="*/ 4 h 12"/>
                <a:gd name="T16" fmla="*/ 12 w 21"/>
                <a:gd name="T17" fmla="*/ 3 h 12"/>
                <a:gd name="T18" fmla="*/ 9 w 21"/>
                <a:gd name="T19" fmla="*/ 2 h 12"/>
                <a:gd name="T20" fmla="*/ 14 w 21"/>
                <a:gd name="T21" fmla="*/ 2 h 12"/>
                <a:gd name="T22" fmla="*/ 16 w 21"/>
                <a:gd name="T23" fmla="*/ 2 h 12"/>
                <a:gd name="T24" fmla="*/ 17 w 21"/>
                <a:gd name="T25" fmla="*/ 1 h 12"/>
                <a:gd name="T26" fmla="*/ 14 w 21"/>
                <a:gd name="T27" fmla="*/ 0 h 12"/>
                <a:gd name="T28" fmla="*/ 10 w 21"/>
                <a:gd name="T29" fmla="*/ 1 h 12"/>
                <a:gd name="T30" fmla="*/ 7 w 21"/>
                <a:gd name="T31" fmla="*/ 1 h 12"/>
                <a:gd name="T32" fmla="*/ 6 w 21"/>
                <a:gd name="T33" fmla="*/ 2 h 12"/>
                <a:gd name="T34" fmla="*/ 6 w 21"/>
                <a:gd name="T35" fmla="*/ 2 h 12"/>
                <a:gd name="T36" fmla="*/ 5 w 21"/>
                <a:gd name="T37" fmla="*/ 2 h 12"/>
                <a:gd name="T38" fmla="*/ 4 w 21"/>
                <a:gd name="T39" fmla="*/ 3 h 12"/>
                <a:gd name="T40" fmla="*/ 4 w 21"/>
                <a:gd name="T41" fmla="*/ 2 h 12"/>
                <a:gd name="T42" fmla="*/ 2 w 21"/>
                <a:gd name="T43" fmla="*/ 2 h 12"/>
                <a:gd name="T44" fmla="*/ 0 w 21"/>
                <a:gd name="T45" fmla="*/ 3 h 12"/>
                <a:gd name="T46" fmla="*/ 5 w 21"/>
                <a:gd name="T47" fmla="*/ 4 h 12"/>
                <a:gd name="T48" fmla="*/ 3 w 21"/>
                <a:gd name="T49" fmla="*/ 5 h 12"/>
                <a:gd name="T50" fmla="*/ 2 w 21"/>
                <a:gd name="T51" fmla="*/ 5 h 12"/>
                <a:gd name="T52" fmla="*/ 6 w 21"/>
                <a:gd name="T53" fmla="*/ 8 h 12"/>
                <a:gd name="T54" fmla="*/ 6 w 21"/>
                <a:gd name="T55" fmla="*/ 7 h 12"/>
                <a:gd name="T56" fmla="*/ 7 w 21"/>
                <a:gd name="T57" fmla="*/ 7 h 12"/>
                <a:gd name="T58" fmla="*/ 7 w 21"/>
                <a:gd name="T59" fmla="*/ 6 h 12"/>
                <a:gd name="T60" fmla="*/ 5 w 21"/>
                <a:gd name="T61" fmla="*/ 5 h 12"/>
                <a:gd name="T62" fmla="*/ 7 w 21"/>
                <a:gd name="T63" fmla="*/ 4 h 12"/>
                <a:gd name="T64" fmla="*/ 7 w 21"/>
                <a:gd name="T65" fmla="*/ 3 h 12"/>
                <a:gd name="T66" fmla="*/ 12 w 21"/>
                <a:gd name="T67" fmla="*/ 4 h 12"/>
                <a:gd name="T68" fmla="*/ 10 w 21"/>
                <a:gd name="T69" fmla="*/ 7 h 12"/>
                <a:gd name="T70" fmla="*/ 12 w 21"/>
                <a:gd name="T71" fmla="*/ 6 h 12"/>
                <a:gd name="T72" fmla="*/ 11 w 21"/>
                <a:gd name="T73" fmla="*/ 7 h 12"/>
                <a:gd name="T74" fmla="*/ 13 w 21"/>
                <a:gd name="T75" fmla="*/ 8 h 12"/>
                <a:gd name="T76" fmla="*/ 15 w 21"/>
                <a:gd name="T77" fmla="*/ 8 h 12"/>
                <a:gd name="T78" fmla="*/ 19 w 21"/>
                <a:gd name="T79" fmla="*/ 12 h 12"/>
                <a:gd name="T80" fmla="*/ 20 w 21"/>
                <a:gd name="T81" fmla="*/ 10 h 12"/>
                <a:gd name="T82" fmla="*/ 20 w 21"/>
                <a:gd name="T83"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 h="12">
                  <a:moveTo>
                    <a:pt x="20" y="9"/>
                  </a:moveTo>
                  <a:cubicBezTo>
                    <a:pt x="19" y="8"/>
                    <a:pt x="20" y="8"/>
                    <a:pt x="19" y="8"/>
                  </a:cubicBezTo>
                  <a:cubicBezTo>
                    <a:pt x="20" y="7"/>
                    <a:pt x="17" y="7"/>
                    <a:pt x="17" y="7"/>
                  </a:cubicBezTo>
                  <a:cubicBezTo>
                    <a:pt x="17" y="7"/>
                    <a:pt x="16" y="6"/>
                    <a:pt x="16" y="6"/>
                  </a:cubicBezTo>
                  <a:cubicBezTo>
                    <a:pt x="15" y="6"/>
                    <a:pt x="15" y="6"/>
                    <a:pt x="14" y="6"/>
                  </a:cubicBezTo>
                  <a:cubicBezTo>
                    <a:pt x="14" y="6"/>
                    <a:pt x="14" y="6"/>
                    <a:pt x="13" y="5"/>
                  </a:cubicBezTo>
                  <a:cubicBezTo>
                    <a:pt x="14" y="5"/>
                    <a:pt x="17" y="6"/>
                    <a:pt x="18" y="5"/>
                  </a:cubicBezTo>
                  <a:cubicBezTo>
                    <a:pt x="19" y="5"/>
                    <a:pt x="16" y="4"/>
                    <a:pt x="15" y="4"/>
                  </a:cubicBezTo>
                  <a:cubicBezTo>
                    <a:pt x="14" y="4"/>
                    <a:pt x="13" y="4"/>
                    <a:pt x="12" y="3"/>
                  </a:cubicBezTo>
                  <a:cubicBezTo>
                    <a:pt x="11" y="3"/>
                    <a:pt x="10" y="2"/>
                    <a:pt x="9" y="2"/>
                  </a:cubicBezTo>
                  <a:cubicBezTo>
                    <a:pt x="10" y="2"/>
                    <a:pt x="16" y="5"/>
                    <a:pt x="14" y="2"/>
                  </a:cubicBezTo>
                  <a:cubicBezTo>
                    <a:pt x="15" y="3"/>
                    <a:pt x="16" y="3"/>
                    <a:pt x="16" y="2"/>
                  </a:cubicBezTo>
                  <a:cubicBezTo>
                    <a:pt x="16" y="2"/>
                    <a:pt x="17" y="2"/>
                    <a:pt x="17" y="1"/>
                  </a:cubicBezTo>
                  <a:cubicBezTo>
                    <a:pt x="16" y="0"/>
                    <a:pt x="15" y="0"/>
                    <a:pt x="14" y="0"/>
                  </a:cubicBezTo>
                  <a:cubicBezTo>
                    <a:pt x="13" y="0"/>
                    <a:pt x="12" y="1"/>
                    <a:pt x="10" y="1"/>
                  </a:cubicBezTo>
                  <a:cubicBezTo>
                    <a:pt x="9" y="1"/>
                    <a:pt x="8" y="1"/>
                    <a:pt x="7" y="1"/>
                  </a:cubicBezTo>
                  <a:cubicBezTo>
                    <a:pt x="7" y="1"/>
                    <a:pt x="6" y="1"/>
                    <a:pt x="6" y="2"/>
                  </a:cubicBezTo>
                  <a:cubicBezTo>
                    <a:pt x="6" y="2"/>
                    <a:pt x="5" y="2"/>
                    <a:pt x="6" y="2"/>
                  </a:cubicBezTo>
                  <a:cubicBezTo>
                    <a:pt x="5" y="2"/>
                    <a:pt x="5" y="2"/>
                    <a:pt x="5" y="2"/>
                  </a:cubicBezTo>
                  <a:cubicBezTo>
                    <a:pt x="4" y="2"/>
                    <a:pt x="5" y="3"/>
                    <a:pt x="4" y="3"/>
                  </a:cubicBezTo>
                  <a:cubicBezTo>
                    <a:pt x="4" y="3"/>
                    <a:pt x="4" y="2"/>
                    <a:pt x="4" y="2"/>
                  </a:cubicBezTo>
                  <a:cubicBezTo>
                    <a:pt x="4" y="2"/>
                    <a:pt x="2" y="2"/>
                    <a:pt x="2" y="2"/>
                  </a:cubicBezTo>
                  <a:cubicBezTo>
                    <a:pt x="1" y="2"/>
                    <a:pt x="1" y="3"/>
                    <a:pt x="0" y="3"/>
                  </a:cubicBezTo>
                  <a:cubicBezTo>
                    <a:pt x="1" y="4"/>
                    <a:pt x="3" y="4"/>
                    <a:pt x="5" y="4"/>
                  </a:cubicBezTo>
                  <a:cubicBezTo>
                    <a:pt x="4" y="4"/>
                    <a:pt x="3" y="4"/>
                    <a:pt x="3" y="5"/>
                  </a:cubicBezTo>
                  <a:cubicBezTo>
                    <a:pt x="3" y="5"/>
                    <a:pt x="3" y="5"/>
                    <a:pt x="2" y="5"/>
                  </a:cubicBezTo>
                  <a:cubicBezTo>
                    <a:pt x="3" y="6"/>
                    <a:pt x="6" y="7"/>
                    <a:pt x="6" y="8"/>
                  </a:cubicBezTo>
                  <a:cubicBezTo>
                    <a:pt x="6" y="8"/>
                    <a:pt x="6" y="7"/>
                    <a:pt x="6" y="7"/>
                  </a:cubicBezTo>
                  <a:cubicBezTo>
                    <a:pt x="6" y="7"/>
                    <a:pt x="7" y="7"/>
                    <a:pt x="7" y="7"/>
                  </a:cubicBezTo>
                  <a:cubicBezTo>
                    <a:pt x="8" y="6"/>
                    <a:pt x="7" y="6"/>
                    <a:pt x="7" y="6"/>
                  </a:cubicBezTo>
                  <a:cubicBezTo>
                    <a:pt x="7" y="5"/>
                    <a:pt x="5" y="5"/>
                    <a:pt x="5" y="5"/>
                  </a:cubicBezTo>
                  <a:cubicBezTo>
                    <a:pt x="6" y="5"/>
                    <a:pt x="7" y="5"/>
                    <a:pt x="7" y="4"/>
                  </a:cubicBezTo>
                  <a:cubicBezTo>
                    <a:pt x="7" y="4"/>
                    <a:pt x="7" y="4"/>
                    <a:pt x="7" y="3"/>
                  </a:cubicBezTo>
                  <a:cubicBezTo>
                    <a:pt x="8" y="3"/>
                    <a:pt x="11" y="5"/>
                    <a:pt x="12" y="4"/>
                  </a:cubicBezTo>
                  <a:cubicBezTo>
                    <a:pt x="12" y="5"/>
                    <a:pt x="11" y="6"/>
                    <a:pt x="10" y="7"/>
                  </a:cubicBezTo>
                  <a:cubicBezTo>
                    <a:pt x="11" y="7"/>
                    <a:pt x="12" y="6"/>
                    <a:pt x="12" y="6"/>
                  </a:cubicBezTo>
                  <a:cubicBezTo>
                    <a:pt x="12" y="6"/>
                    <a:pt x="11" y="7"/>
                    <a:pt x="11" y="7"/>
                  </a:cubicBezTo>
                  <a:cubicBezTo>
                    <a:pt x="10" y="8"/>
                    <a:pt x="12" y="8"/>
                    <a:pt x="13" y="8"/>
                  </a:cubicBezTo>
                  <a:cubicBezTo>
                    <a:pt x="14" y="8"/>
                    <a:pt x="14" y="7"/>
                    <a:pt x="15" y="8"/>
                  </a:cubicBezTo>
                  <a:cubicBezTo>
                    <a:pt x="17" y="9"/>
                    <a:pt x="18" y="10"/>
                    <a:pt x="19" y="12"/>
                  </a:cubicBezTo>
                  <a:cubicBezTo>
                    <a:pt x="20" y="11"/>
                    <a:pt x="21" y="11"/>
                    <a:pt x="20" y="10"/>
                  </a:cubicBezTo>
                  <a:cubicBezTo>
                    <a:pt x="20" y="9"/>
                    <a:pt x="20" y="9"/>
                    <a:pt x="20" y="9"/>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20" name="Freeform 1871">
              <a:extLst>
                <a:ext uri="{FF2B5EF4-FFF2-40B4-BE49-F238E27FC236}">
                  <a16:creationId xmlns:a16="http://schemas.microsoft.com/office/drawing/2014/main" id="{7BDE0960-5F13-440D-AD91-28C0755E93FE}"/>
                </a:ext>
              </a:extLst>
            </p:cNvPr>
            <p:cNvSpPr>
              <a:spLocks/>
            </p:cNvSpPr>
            <p:nvPr/>
          </p:nvSpPr>
          <p:spPr bwMode="auto">
            <a:xfrm>
              <a:off x="1726" y="4113"/>
              <a:ext cx="10" cy="10"/>
            </a:xfrm>
            <a:custGeom>
              <a:avLst/>
              <a:gdLst>
                <a:gd name="T0" fmla="*/ 2 w 4"/>
                <a:gd name="T1" fmla="*/ 2 h 4"/>
                <a:gd name="T2" fmla="*/ 3 w 4"/>
                <a:gd name="T3" fmla="*/ 1 h 4"/>
                <a:gd name="T4" fmla="*/ 3 w 4"/>
                <a:gd name="T5" fmla="*/ 1 h 4"/>
                <a:gd name="T6" fmla="*/ 4 w 4"/>
                <a:gd name="T7" fmla="*/ 0 h 4"/>
                <a:gd name="T8" fmla="*/ 1 w 4"/>
                <a:gd name="T9" fmla="*/ 0 h 4"/>
                <a:gd name="T10" fmla="*/ 0 w 4"/>
                <a:gd name="T11" fmla="*/ 1 h 4"/>
                <a:gd name="T12" fmla="*/ 2 w 4"/>
                <a:gd name="T13" fmla="*/ 4 h 4"/>
                <a:gd name="T14" fmla="*/ 2 w 4"/>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2" y="2"/>
                  </a:moveTo>
                  <a:cubicBezTo>
                    <a:pt x="3" y="2"/>
                    <a:pt x="0" y="0"/>
                    <a:pt x="3" y="1"/>
                  </a:cubicBezTo>
                  <a:cubicBezTo>
                    <a:pt x="3" y="1"/>
                    <a:pt x="3" y="1"/>
                    <a:pt x="3" y="1"/>
                  </a:cubicBezTo>
                  <a:cubicBezTo>
                    <a:pt x="3" y="1"/>
                    <a:pt x="3" y="1"/>
                    <a:pt x="4" y="0"/>
                  </a:cubicBezTo>
                  <a:cubicBezTo>
                    <a:pt x="3" y="0"/>
                    <a:pt x="2" y="0"/>
                    <a:pt x="1" y="0"/>
                  </a:cubicBezTo>
                  <a:cubicBezTo>
                    <a:pt x="0" y="0"/>
                    <a:pt x="0" y="0"/>
                    <a:pt x="0" y="1"/>
                  </a:cubicBezTo>
                  <a:cubicBezTo>
                    <a:pt x="0" y="3"/>
                    <a:pt x="0" y="3"/>
                    <a:pt x="2" y="4"/>
                  </a:cubicBezTo>
                  <a:cubicBezTo>
                    <a:pt x="2" y="3"/>
                    <a:pt x="2" y="3"/>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21" name="Freeform 1872">
              <a:extLst>
                <a:ext uri="{FF2B5EF4-FFF2-40B4-BE49-F238E27FC236}">
                  <a16:creationId xmlns:a16="http://schemas.microsoft.com/office/drawing/2014/main" id="{EB48B0BA-D116-4F33-856E-403919D99E8E}"/>
                </a:ext>
              </a:extLst>
            </p:cNvPr>
            <p:cNvSpPr>
              <a:spLocks/>
            </p:cNvSpPr>
            <p:nvPr/>
          </p:nvSpPr>
          <p:spPr bwMode="auto">
            <a:xfrm>
              <a:off x="1736" y="3938"/>
              <a:ext cx="2" cy="5"/>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0"/>
                    <a:pt x="0" y="1"/>
                    <a:pt x="0" y="2"/>
                  </a:cubicBezTo>
                  <a:cubicBezTo>
                    <a:pt x="1" y="1"/>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22" name="Freeform 1873">
              <a:extLst>
                <a:ext uri="{FF2B5EF4-FFF2-40B4-BE49-F238E27FC236}">
                  <a16:creationId xmlns:a16="http://schemas.microsoft.com/office/drawing/2014/main" id="{4B0384FB-4A49-4641-952F-0441D85437FD}"/>
                </a:ext>
              </a:extLst>
            </p:cNvPr>
            <p:cNvSpPr>
              <a:spLocks/>
            </p:cNvSpPr>
            <p:nvPr/>
          </p:nvSpPr>
          <p:spPr bwMode="auto">
            <a:xfrm>
              <a:off x="1774" y="3926"/>
              <a:ext cx="18" cy="17"/>
            </a:xfrm>
            <a:custGeom>
              <a:avLst/>
              <a:gdLst>
                <a:gd name="T0" fmla="*/ 2 w 8"/>
                <a:gd name="T1" fmla="*/ 2 h 7"/>
                <a:gd name="T2" fmla="*/ 1 w 8"/>
                <a:gd name="T3" fmla="*/ 2 h 7"/>
                <a:gd name="T4" fmla="*/ 3 w 8"/>
                <a:gd name="T5" fmla="*/ 5 h 7"/>
                <a:gd name="T6" fmla="*/ 1 w 8"/>
                <a:gd name="T7" fmla="*/ 5 h 7"/>
                <a:gd name="T8" fmla="*/ 3 w 8"/>
                <a:gd name="T9" fmla="*/ 7 h 7"/>
                <a:gd name="T10" fmla="*/ 5 w 8"/>
                <a:gd name="T11" fmla="*/ 5 h 7"/>
                <a:gd name="T12" fmla="*/ 7 w 8"/>
                <a:gd name="T13" fmla="*/ 4 h 7"/>
                <a:gd name="T14" fmla="*/ 5 w 8"/>
                <a:gd name="T15" fmla="*/ 3 h 7"/>
                <a:gd name="T16" fmla="*/ 8 w 8"/>
                <a:gd name="T17" fmla="*/ 2 h 7"/>
                <a:gd name="T18" fmla="*/ 6 w 8"/>
                <a:gd name="T19" fmla="*/ 1 h 7"/>
                <a:gd name="T20" fmla="*/ 5 w 8"/>
                <a:gd name="T21" fmla="*/ 0 h 7"/>
                <a:gd name="T22" fmla="*/ 4 w 8"/>
                <a:gd name="T23" fmla="*/ 0 h 7"/>
                <a:gd name="T24" fmla="*/ 3 w 8"/>
                <a:gd name="T25" fmla="*/ 0 h 7"/>
                <a:gd name="T26" fmla="*/ 4 w 8"/>
                <a:gd name="T27" fmla="*/ 2 h 7"/>
                <a:gd name="T28" fmla="*/ 2 w 8"/>
                <a:gd name="T29"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7">
                  <a:moveTo>
                    <a:pt x="2" y="2"/>
                  </a:moveTo>
                  <a:cubicBezTo>
                    <a:pt x="2" y="2"/>
                    <a:pt x="1" y="3"/>
                    <a:pt x="1" y="2"/>
                  </a:cubicBezTo>
                  <a:cubicBezTo>
                    <a:pt x="0" y="4"/>
                    <a:pt x="2" y="4"/>
                    <a:pt x="3" y="5"/>
                  </a:cubicBezTo>
                  <a:cubicBezTo>
                    <a:pt x="2" y="5"/>
                    <a:pt x="2" y="5"/>
                    <a:pt x="1" y="5"/>
                  </a:cubicBezTo>
                  <a:cubicBezTo>
                    <a:pt x="2" y="6"/>
                    <a:pt x="2" y="6"/>
                    <a:pt x="3" y="7"/>
                  </a:cubicBezTo>
                  <a:cubicBezTo>
                    <a:pt x="4" y="7"/>
                    <a:pt x="4" y="6"/>
                    <a:pt x="5" y="5"/>
                  </a:cubicBezTo>
                  <a:cubicBezTo>
                    <a:pt x="6" y="5"/>
                    <a:pt x="6" y="5"/>
                    <a:pt x="7" y="4"/>
                  </a:cubicBezTo>
                  <a:cubicBezTo>
                    <a:pt x="7" y="3"/>
                    <a:pt x="6" y="3"/>
                    <a:pt x="5" y="3"/>
                  </a:cubicBezTo>
                  <a:cubicBezTo>
                    <a:pt x="7" y="3"/>
                    <a:pt x="7" y="3"/>
                    <a:pt x="8" y="2"/>
                  </a:cubicBezTo>
                  <a:cubicBezTo>
                    <a:pt x="8" y="1"/>
                    <a:pt x="6" y="0"/>
                    <a:pt x="6" y="1"/>
                  </a:cubicBezTo>
                  <a:cubicBezTo>
                    <a:pt x="6" y="1"/>
                    <a:pt x="6" y="0"/>
                    <a:pt x="5" y="0"/>
                  </a:cubicBezTo>
                  <a:cubicBezTo>
                    <a:pt x="5" y="0"/>
                    <a:pt x="4" y="0"/>
                    <a:pt x="4" y="0"/>
                  </a:cubicBezTo>
                  <a:cubicBezTo>
                    <a:pt x="4" y="0"/>
                    <a:pt x="3" y="0"/>
                    <a:pt x="3" y="0"/>
                  </a:cubicBezTo>
                  <a:cubicBezTo>
                    <a:pt x="3" y="1"/>
                    <a:pt x="4" y="2"/>
                    <a:pt x="4" y="2"/>
                  </a:cubicBezTo>
                  <a:cubicBezTo>
                    <a:pt x="2" y="2"/>
                    <a:pt x="3" y="2"/>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23" name="Freeform 1874">
              <a:extLst>
                <a:ext uri="{FF2B5EF4-FFF2-40B4-BE49-F238E27FC236}">
                  <a16:creationId xmlns:a16="http://schemas.microsoft.com/office/drawing/2014/main" id="{70251315-8273-4EF3-A5ED-0CEE8BE8ADF6}"/>
                </a:ext>
              </a:extLst>
            </p:cNvPr>
            <p:cNvSpPr>
              <a:spLocks/>
            </p:cNvSpPr>
            <p:nvPr/>
          </p:nvSpPr>
          <p:spPr bwMode="auto">
            <a:xfrm>
              <a:off x="1736" y="4149"/>
              <a:ext cx="7" cy="16"/>
            </a:xfrm>
            <a:custGeom>
              <a:avLst/>
              <a:gdLst>
                <a:gd name="T0" fmla="*/ 3 w 3"/>
                <a:gd name="T1" fmla="*/ 1 h 7"/>
                <a:gd name="T2" fmla="*/ 2 w 3"/>
                <a:gd name="T3" fmla="*/ 0 h 7"/>
                <a:gd name="T4" fmla="*/ 2 w 3"/>
                <a:gd name="T5" fmla="*/ 3 h 7"/>
                <a:gd name="T6" fmla="*/ 1 w 3"/>
                <a:gd name="T7" fmla="*/ 4 h 7"/>
                <a:gd name="T8" fmla="*/ 1 w 3"/>
                <a:gd name="T9" fmla="*/ 7 h 7"/>
                <a:gd name="T10" fmla="*/ 3 w 3"/>
                <a:gd name="T11" fmla="*/ 3 h 7"/>
                <a:gd name="T12" fmla="*/ 3 w 3"/>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3" h="7">
                  <a:moveTo>
                    <a:pt x="3" y="1"/>
                  </a:moveTo>
                  <a:cubicBezTo>
                    <a:pt x="3" y="1"/>
                    <a:pt x="3" y="0"/>
                    <a:pt x="2" y="0"/>
                  </a:cubicBezTo>
                  <a:cubicBezTo>
                    <a:pt x="1" y="1"/>
                    <a:pt x="2" y="3"/>
                    <a:pt x="2" y="3"/>
                  </a:cubicBezTo>
                  <a:cubicBezTo>
                    <a:pt x="1" y="3"/>
                    <a:pt x="1" y="3"/>
                    <a:pt x="1" y="4"/>
                  </a:cubicBezTo>
                  <a:cubicBezTo>
                    <a:pt x="0" y="5"/>
                    <a:pt x="0" y="6"/>
                    <a:pt x="1" y="7"/>
                  </a:cubicBezTo>
                  <a:cubicBezTo>
                    <a:pt x="2" y="6"/>
                    <a:pt x="3" y="4"/>
                    <a:pt x="3" y="3"/>
                  </a:cubicBezTo>
                  <a:cubicBezTo>
                    <a:pt x="3" y="2"/>
                    <a:pt x="3" y="2"/>
                    <a:pt x="3"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24" name="Freeform 1875">
              <a:extLst>
                <a:ext uri="{FF2B5EF4-FFF2-40B4-BE49-F238E27FC236}">
                  <a16:creationId xmlns:a16="http://schemas.microsoft.com/office/drawing/2014/main" id="{8838FFF3-01D2-4F40-9C86-0512A9D605F4}"/>
                </a:ext>
              </a:extLst>
            </p:cNvPr>
            <p:cNvSpPr>
              <a:spLocks/>
            </p:cNvSpPr>
            <p:nvPr/>
          </p:nvSpPr>
          <p:spPr bwMode="auto">
            <a:xfrm>
              <a:off x="1804" y="4222"/>
              <a:ext cx="31" cy="19"/>
            </a:xfrm>
            <a:custGeom>
              <a:avLst/>
              <a:gdLst>
                <a:gd name="T0" fmla="*/ 3 w 13"/>
                <a:gd name="T1" fmla="*/ 0 h 8"/>
                <a:gd name="T2" fmla="*/ 2 w 13"/>
                <a:gd name="T3" fmla="*/ 2 h 8"/>
                <a:gd name="T4" fmla="*/ 0 w 13"/>
                <a:gd name="T5" fmla="*/ 1 h 8"/>
                <a:gd name="T6" fmla="*/ 4 w 13"/>
                <a:gd name="T7" fmla="*/ 7 h 8"/>
                <a:gd name="T8" fmla="*/ 4 w 13"/>
                <a:gd name="T9" fmla="*/ 4 h 8"/>
                <a:gd name="T10" fmla="*/ 3 w 13"/>
                <a:gd name="T11" fmla="*/ 2 h 8"/>
                <a:gd name="T12" fmla="*/ 6 w 13"/>
                <a:gd name="T13" fmla="*/ 4 h 8"/>
                <a:gd name="T14" fmla="*/ 6 w 13"/>
                <a:gd name="T15" fmla="*/ 5 h 8"/>
                <a:gd name="T16" fmla="*/ 8 w 13"/>
                <a:gd name="T17" fmla="*/ 4 h 8"/>
                <a:gd name="T18" fmla="*/ 11 w 13"/>
                <a:gd name="T19" fmla="*/ 8 h 8"/>
                <a:gd name="T20" fmla="*/ 13 w 13"/>
                <a:gd name="T21" fmla="*/ 4 h 8"/>
                <a:gd name="T22" fmla="*/ 10 w 13"/>
                <a:gd name="T23" fmla="*/ 5 h 8"/>
                <a:gd name="T24" fmla="*/ 10 w 13"/>
                <a:gd name="T25" fmla="*/ 4 h 8"/>
                <a:gd name="T26" fmla="*/ 9 w 13"/>
                <a:gd name="T27" fmla="*/ 2 h 8"/>
                <a:gd name="T28" fmla="*/ 8 w 13"/>
                <a:gd name="T29" fmla="*/ 2 h 8"/>
                <a:gd name="T30" fmla="*/ 8 w 13"/>
                <a:gd name="T31" fmla="*/ 2 h 8"/>
                <a:gd name="T32" fmla="*/ 6 w 13"/>
                <a:gd name="T33" fmla="*/ 1 h 8"/>
                <a:gd name="T34" fmla="*/ 6 w 13"/>
                <a:gd name="T35" fmla="*/ 3 h 8"/>
                <a:gd name="T36" fmla="*/ 5 w 13"/>
                <a:gd name="T37" fmla="*/ 3 h 8"/>
                <a:gd name="T38" fmla="*/ 6 w 13"/>
                <a:gd name="T39" fmla="*/ 2 h 8"/>
                <a:gd name="T40" fmla="*/ 6 w 13"/>
                <a:gd name="T41" fmla="*/ 1 h 8"/>
                <a:gd name="T42" fmla="*/ 4 w 13"/>
                <a:gd name="T43" fmla="*/ 2 h 8"/>
                <a:gd name="T44" fmla="*/ 3 w 13"/>
                <a:gd name="T4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 h="8">
                  <a:moveTo>
                    <a:pt x="3" y="0"/>
                  </a:moveTo>
                  <a:cubicBezTo>
                    <a:pt x="3" y="0"/>
                    <a:pt x="2" y="2"/>
                    <a:pt x="2" y="2"/>
                  </a:cubicBezTo>
                  <a:cubicBezTo>
                    <a:pt x="1" y="1"/>
                    <a:pt x="1" y="1"/>
                    <a:pt x="0" y="1"/>
                  </a:cubicBezTo>
                  <a:cubicBezTo>
                    <a:pt x="1" y="3"/>
                    <a:pt x="3" y="5"/>
                    <a:pt x="4" y="7"/>
                  </a:cubicBezTo>
                  <a:cubicBezTo>
                    <a:pt x="5" y="5"/>
                    <a:pt x="5" y="6"/>
                    <a:pt x="4" y="4"/>
                  </a:cubicBezTo>
                  <a:cubicBezTo>
                    <a:pt x="3" y="4"/>
                    <a:pt x="3" y="3"/>
                    <a:pt x="3" y="2"/>
                  </a:cubicBezTo>
                  <a:cubicBezTo>
                    <a:pt x="4" y="3"/>
                    <a:pt x="5" y="5"/>
                    <a:pt x="6" y="4"/>
                  </a:cubicBezTo>
                  <a:cubicBezTo>
                    <a:pt x="6" y="5"/>
                    <a:pt x="6" y="5"/>
                    <a:pt x="6" y="5"/>
                  </a:cubicBezTo>
                  <a:cubicBezTo>
                    <a:pt x="7" y="6"/>
                    <a:pt x="8" y="4"/>
                    <a:pt x="8" y="4"/>
                  </a:cubicBezTo>
                  <a:cubicBezTo>
                    <a:pt x="10" y="5"/>
                    <a:pt x="10" y="6"/>
                    <a:pt x="11" y="8"/>
                  </a:cubicBezTo>
                  <a:cubicBezTo>
                    <a:pt x="12" y="7"/>
                    <a:pt x="13" y="6"/>
                    <a:pt x="13" y="4"/>
                  </a:cubicBezTo>
                  <a:cubicBezTo>
                    <a:pt x="12" y="3"/>
                    <a:pt x="11" y="3"/>
                    <a:pt x="10" y="5"/>
                  </a:cubicBezTo>
                  <a:cubicBezTo>
                    <a:pt x="10" y="4"/>
                    <a:pt x="10" y="4"/>
                    <a:pt x="10" y="4"/>
                  </a:cubicBezTo>
                  <a:cubicBezTo>
                    <a:pt x="11" y="3"/>
                    <a:pt x="9" y="2"/>
                    <a:pt x="9" y="2"/>
                  </a:cubicBezTo>
                  <a:cubicBezTo>
                    <a:pt x="9" y="2"/>
                    <a:pt x="8" y="2"/>
                    <a:pt x="8" y="2"/>
                  </a:cubicBezTo>
                  <a:cubicBezTo>
                    <a:pt x="8" y="2"/>
                    <a:pt x="7" y="1"/>
                    <a:pt x="8" y="2"/>
                  </a:cubicBezTo>
                  <a:cubicBezTo>
                    <a:pt x="8" y="1"/>
                    <a:pt x="7" y="1"/>
                    <a:pt x="6" y="1"/>
                  </a:cubicBezTo>
                  <a:cubicBezTo>
                    <a:pt x="6" y="2"/>
                    <a:pt x="6" y="2"/>
                    <a:pt x="6" y="3"/>
                  </a:cubicBezTo>
                  <a:cubicBezTo>
                    <a:pt x="6" y="3"/>
                    <a:pt x="5" y="3"/>
                    <a:pt x="5" y="3"/>
                  </a:cubicBezTo>
                  <a:cubicBezTo>
                    <a:pt x="5" y="3"/>
                    <a:pt x="6" y="2"/>
                    <a:pt x="6" y="2"/>
                  </a:cubicBezTo>
                  <a:cubicBezTo>
                    <a:pt x="6" y="2"/>
                    <a:pt x="5" y="1"/>
                    <a:pt x="6" y="1"/>
                  </a:cubicBezTo>
                  <a:cubicBezTo>
                    <a:pt x="5" y="1"/>
                    <a:pt x="5" y="1"/>
                    <a:pt x="4" y="2"/>
                  </a:cubicBezTo>
                  <a:cubicBezTo>
                    <a:pt x="4" y="1"/>
                    <a:pt x="4" y="0"/>
                    <a:pt x="3"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25" name="Freeform 1876">
              <a:extLst>
                <a:ext uri="{FF2B5EF4-FFF2-40B4-BE49-F238E27FC236}">
                  <a16:creationId xmlns:a16="http://schemas.microsoft.com/office/drawing/2014/main" id="{3EDD294C-E9AB-4970-968B-9BDA754D173C}"/>
                </a:ext>
              </a:extLst>
            </p:cNvPr>
            <p:cNvSpPr>
              <a:spLocks/>
            </p:cNvSpPr>
            <p:nvPr/>
          </p:nvSpPr>
          <p:spPr bwMode="auto">
            <a:xfrm>
              <a:off x="1722" y="4085"/>
              <a:ext cx="11" cy="9"/>
            </a:xfrm>
            <a:custGeom>
              <a:avLst/>
              <a:gdLst>
                <a:gd name="T0" fmla="*/ 5 w 5"/>
                <a:gd name="T1" fmla="*/ 4 h 4"/>
                <a:gd name="T2" fmla="*/ 3 w 5"/>
                <a:gd name="T3" fmla="*/ 1 h 4"/>
                <a:gd name="T4" fmla="*/ 1 w 5"/>
                <a:gd name="T5" fmla="*/ 1 h 4"/>
                <a:gd name="T6" fmla="*/ 3 w 5"/>
                <a:gd name="T7" fmla="*/ 2 h 4"/>
                <a:gd name="T8" fmla="*/ 5 w 5"/>
                <a:gd name="T9" fmla="*/ 4 h 4"/>
              </a:gdLst>
              <a:ahLst/>
              <a:cxnLst>
                <a:cxn ang="0">
                  <a:pos x="T0" y="T1"/>
                </a:cxn>
                <a:cxn ang="0">
                  <a:pos x="T2" y="T3"/>
                </a:cxn>
                <a:cxn ang="0">
                  <a:pos x="T4" y="T5"/>
                </a:cxn>
                <a:cxn ang="0">
                  <a:pos x="T6" y="T7"/>
                </a:cxn>
                <a:cxn ang="0">
                  <a:pos x="T8" y="T9"/>
                </a:cxn>
              </a:cxnLst>
              <a:rect l="0" t="0" r="r" b="b"/>
              <a:pathLst>
                <a:path w="5" h="4">
                  <a:moveTo>
                    <a:pt x="5" y="4"/>
                  </a:moveTo>
                  <a:cubicBezTo>
                    <a:pt x="4" y="3"/>
                    <a:pt x="4" y="2"/>
                    <a:pt x="3" y="1"/>
                  </a:cubicBezTo>
                  <a:cubicBezTo>
                    <a:pt x="2" y="0"/>
                    <a:pt x="1" y="0"/>
                    <a:pt x="1" y="1"/>
                  </a:cubicBezTo>
                  <a:cubicBezTo>
                    <a:pt x="0" y="4"/>
                    <a:pt x="2" y="3"/>
                    <a:pt x="3" y="2"/>
                  </a:cubicBezTo>
                  <a:cubicBezTo>
                    <a:pt x="2" y="4"/>
                    <a:pt x="4" y="4"/>
                    <a:pt x="5"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26" name="Freeform 1877">
              <a:extLst>
                <a:ext uri="{FF2B5EF4-FFF2-40B4-BE49-F238E27FC236}">
                  <a16:creationId xmlns:a16="http://schemas.microsoft.com/office/drawing/2014/main" id="{9334C354-F6B6-45F2-A192-A3C43D393F29}"/>
                </a:ext>
              </a:extLst>
            </p:cNvPr>
            <p:cNvSpPr>
              <a:spLocks/>
            </p:cNvSpPr>
            <p:nvPr/>
          </p:nvSpPr>
          <p:spPr bwMode="auto">
            <a:xfrm>
              <a:off x="1899" y="4257"/>
              <a:ext cx="33" cy="15"/>
            </a:xfrm>
            <a:custGeom>
              <a:avLst/>
              <a:gdLst>
                <a:gd name="T0" fmla="*/ 7 w 14"/>
                <a:gd name="T1" fmla="*/ 0 h 6"/>
                <a:gd name="T2" fmla="*/ 3 w 14"/>
                <a:gd name="T3" fmla="*/ 0 h 6"/>
                <a:gd name="T4" fmla="*/ 0 w 14"/>
                <a:gd name="T5" fmla="*/ 0 h 6"/>
                <a:gd name="T6" fmla="*/ 1 w 14"/>
                <a:gd name="T7" fmla="*/ 2 h 6"/>
                <a:gd name="T8" fmla="*/ 1 w 14"/>
                <a:gd name="T9" fmla="*/ 3 h 6"/>
                <a:gd name="T10" fmla="*/ 2 w 14"/>
                <a:gd name="T11" fmla="*/ 4 h 6"/>
                <a:gd name="T12" fmla="*/ 6 w 14"/>
                <a:gd name="T13" fmla="*/ 5 h 6"/>
                <a:gd name="T14" fmla="*/ 5 w 14"/>
                <a:gd name="T15" fmla="*/ 5 h 6"/>
                <a:gd name="T16" fmla="*/ 7 w 14"/>
                <a:gd name="T17" fmla="*/ 5 h 6"/>
                <a:gd name="T18" fmla="*/ 9 w 14"/>
                <a:gd name="T19" fmla="*/ 4 h 6"/>
                <a:gd name="T20" fmla="*/ 10 w 14"/>
                <a:gd name="T21" fmla="*/ 6 h 6"/>
                <a:gd name="T22" fmla="*/ 13 w 14"/>
                <a:gd name="T23" fmla="*/ 4 h 6"/>
                <a:gd name="T24" fmla="*/ 7 w 14"/>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6">
                  <a:moveTo>
                    <a:pt x="7" y="0"/>
                  </a:moveTo>
                  <a:cubicBezTo>
                    <a:pt x="6" y="1"/>
                    <a:pt x="4" y="0"/>
                    <a:pt x="3" y="0"/>
                  </a:cubicBezTo>
                  <a:cubicBezTo>
                    <a:pt x="2" y="0"/>
                    <a:pt x="1" y="0"/>
                    <a:pt x="0" y="0"/>
                  </a:cubicBezTo>
                  <a:cubicBezTo>
                    <a:pt x="0" y="1"/>
                    <a:pt x="1" y="1"/>
                    <a:pt x="1" y="2"/>
                  </a:cubicBezTo>
                  <a:cubicBezTo>
                    <a:pt x="2" y="2"/>
                    <a:pt x="1" y="2"/>
                    <a:pt x="1" y="3"/>
                  </a:cubicBezTo>
                  <a:cubicBezTo>
                    <a:pt x="2" y="3"/>
                    <a:pt x="2" y="3"/>
                    <a:pt x="2" y="4"/>
                  </a:cubicBezTo>
                  <a:cubicBezTo>
                    <a:pt x="1" y="5"/>
                    <a:pt x="5" y="4"/>
                    <a:pt x="6" y="5"/>
                  </a:cubicBezTo>
                  <a:cubicBezTo>
                    <a:pt x="6" y="5"/>
                    <a:pt x="5" y="5"/>
                    <a:pt x="5" y="5"/>
                  </a:cubicBezTo>
                  <a:cubicBezTo>
                    <a:pt x="5" y="5"/>
                    <a:pt x="6" y="5"/>
                    <a:pt x="7" y="5"/>
                  </a:cubicBezTo>
                  <a:cubicBezTo>
                    <a:pt x="7" y="4"/>
                    <a:pt x="8" y="3"/>
                    <a:pt x="9" y="4"/>
                  </a:cubicBezTo>
                  <a:cubicBezTo>
                    <a:pt x="9" y="4"/>
                    <a:pt x="9" y="6"/>
                    <a:pt x="10" y="6"/>
                  </a:cubicBezTo>
                  <a:cubicBezTo>
                    <a:pt x="11" y="5"/>
                    <a:pt x="13" y="4"/>
                    <a:pt x="13" y="4"/>
                  </a:cubicBezTo>
                  <a:cubicBezTo>
                    <a:pt x="14" y="1"/>
                    <a:pt x="9" y="1"/>
                    <a:pt x="7"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27" name="Freeform 1878">
              <a:extLst>
                <a:ext uri="{FF2B5EF4-FFF2-40B4-BE49-F238E27FC236}">
                  <a16:creationId xmlns:a16="http://schemas.microsoft.com/office/drawing/2014/main" id="{68716AB3-8025-4EF2-B76D-BA5866BD3646}"/>
                </a:ext>
              </a:extLst>
            </p:cNvPr>
            <p:cNvSpPr>
              <a:spLocks/>
            </p:cNvSpPr>
            <p:nvPr/>
          </p:nvSpPr>
          <p:spPr bwMode="auto">
            <a:xfrm>
              <a:off x="1766" y="3957"/>
              <a:ext cx="5" cy="9"/>
            </a:xfrm>
            <a:custGeom>
              <a:avLst/>
              <a:gdLst>
                <a:gd name="T0" fmla="*/ 1 w 2"/>
                <a:gd name="T1" fmla="*/ 4 h 4"/>
                <a:gd name="T2" fmla="*/ 2 w 2"/>
                <a:gd name="T3" fmla="*/ 0 h 4"/>
                <a:gd name="T4" fmla="*/ 0 w 2"/>
                <a:gd name="T5" fmla="*/ 2 h 4"/>
                <a:gd name="T6" fmla="*/ 1 w 2"/>
                <a:gd name="T7" fmla="*/ 3 h 4"/>
                <a:gd name="T8" fmla="*/ 1 w 2"/>
                <a:gd name="T9" fmla="*/ 4 h 4"/>
              </a:gdLst>
              <a:ahLst/>
              <a:cxnLst>
                <a:cxn ang="0">
                  <a:pos x="T0" y="T1"/>
                </a:cxn>
                <a:cxn ang="0">
                  <a:pos x="T2" y="T3"/>
                </a:cxn>
                <a:cxn ang="0">
                  <a:pos x="T4" y="T5"/>
                </a:cxn>
                <a:cxn ang="0">
                  <a:pos x="T6" y="T7"/>
                </a:cxn>
                <a:cxn ang="0">
                  <a:pos x="T8" y="T9"/>
                </a:cxn>
              </a:cxnLst>
              <a:rect l="0" t="0" r="r" b="b"/>
              <a:pathLst>
                <a:path w="2" h="4">
                  <a:moveTo>
                    <a:pt x="1" y="4"/>
                  </a:moveTo>
                  <a:cubicBezTo>
                    <a:pt x="2" y="3"/>
                    <a:pt x="2" y="2"/>
                    <a:pt x="2" y="0"/>
                  </a:cubicBezTo>
                  <a:cubicBezTo>
                    <a:pt x="0" y="1"/>
                    <a:pt x="0" y="2"/>
                    <a:pt x="0" y="2"/>
                  </a:cubicBezTo>
                  <a:cubicBezTo>
                    <a:pt x="0" y="3"/>
                    <a:pt x="0" y="3"/>
                    <a:pt x="1" y="3"/>
                  </a:cubicBezTo>
                  <a:cubicBezTo>
                    <a:pt x="1" y="4"/>
                    <a:pt x="1" y="4"/>
                    <a:pt x="1"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28" name="Freeform 1879">
              <a:extLst>
                <a:ext uri="{FF2B5EF4-FFF2-40B4-BE49-F238E27FC236}">
                  <a16:creationId xmlns:a16="http://schemas.microsoft.com/office/drawing/2014/main" id="{AF4B9D1A-EB64-4725-B75F-BC14CBFAA63B}"/>
                </a:ext>
              </a:extLst>
            </p:cNvPr>
            <p:cNvSpPr>
              <a:spLocks/>
            </p:cNvSpPr>
            <p:nvPr/>
          </p:nvSpPr>
          <p:spPr bwMode="auto">
            <a:xfrm>
              <a:off x="1759" y="3919"/>
              <a:ext cx="5" cy="5"/>
            </a:xfrm>
            <a:custGeom>
              <a:avLst/>
              <a:gdLst>
                <a:gd name="T0" fmla="*/ 1 w 2"/>
                <a:gd name="T1" fmla="*/ 2 h 2"/>
                <a:gd name="T2" fmla="*/ 2 w 2"/>
                <a:gd name="T3" fmla="*/ 1 h 2"/>
                <a:gd name="T4" fmla="*/ 1 w 2"/>
                <a:gd name="T5" fmla="*/ 0 h 2"/>
                <a:gd name="T6" fmla="*/ 1 w 2"/>
                <a:gd name="T7" fmla="*/ 2 h 2"/>
              </a:gdLst>
              <a:ahLst/>
              <a:cxnLst>
                <a:cxn ang="0">
                  <a:pos x="T0" y="T1"/>
                </a:cxn>
                <a:cxn ang="0">
                  <a:pos x="T2" y="T3"/>
                </a:cxn>
                <a:cxn ang="0">
                  <a:pos x="T4" y="T5"/>
                </a:cxn>
                <a:cxn ang="0">
                  <a:pos x="T6" y="T7"/>
                </a:cxn>
              </a:cxnLst>
              <a:rect l="0" t="0" r="r" b="b"/>
              <a:pathLst>
                <a:path w="2" h="2">
                  <a:moveTo>
                    <a:pt x="1" y="2"/>
                  </a:moveTo>
                  <a:cubicBezTo>
                    <a:pt x="1" y="2"/>
                    <a:pt x="1" y="1"/>
                    <a:pt x="2" y="1"/>
                  </a:cubicBezTo>
                  <a:cubicBezTo>
                    <a:pt x="2" y="1"/>
                    <a:pt x="1" y="1"/>
                    <a:pt x="1" y="0"/>
                  </a:cubicBezTo>
                  <a:cubicBezTo>
                    <a:pt x="0" y="1"/>
                    <a:pt x="1" y="1"/>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29" name="Freeform 1880">
              <a:extLst>
                <a:ext uri="{FF2B5EF4-FFF2-40B4-BE49-F238E27FC236}">
                  <a16:creationId xmlns:a16="http://schemas.microsoft.com/office/drawing/2014/main" id="{5656648B-870E-4DE4-BD89-D2908AF1C042}"/>
                </a:ext>
              </a:extLst>
            </p:cNvPr>
            <p:cNvSpPr>
              <a:spLocks/>
            </p:cNvSpPr>
            <p:nvPr/>
          </p:nvSpPr>
          <p:spPr bwMode="auto">
            <a:xfrm>
              <a:off x="1757" y="3962"/>
              <a:ext cx="7" cy="4"/>
            </a:xfrm>
            <a:custGeom>
              <a:avLst/>
              <a:gdLst>
                <a:gd name="T0" fmla="*/ 3 w 3"/>
                <a:gd name="T1" fmla="*/ 2 h 2"/>
                <a:gd name="T2" fmla="*/ 2 w 3"/>
                <a:gd name="T3" fmla="*/ 0 h 2"/>
                <a:gd name="T4" fmla="*/ 3 w 3"/>
                <a:gd name="T5" fmla="*/ 2 h 2"/>
              </a:gdLst>
              <a:ahLst/>
              <a:cxnLst>
                <a:cxn ang="0">
                  <a:pos x="T0" y="T1"/>
                </a:cxn>
                <a:cxn ang="0">
                  <a:pos x="T2" y="T3"/>
                </a:cxn>
                <a:cxn ang="0">
                  <a:pos x="T4" y="T5"/>
                </a:cxn>
              </a:cxnLst>
              <a:rect l="0" t="0" r="r" b="b"/>
              <a:pathLst>
                <a:path w="3" h="2">
                  <a:moveTo>
                    <a:pt x="3" y="2"/>
                  </a:moveTo>
                  <a:cubicBezTo>
                    <a:pt x="3" y="1"/>
                    <a:pt x="3" y="0"/>
                    <a:pt x="2" y="0"/>
                  </a:cubicBezTo>
                  <a:cubicBezTo>
                    <a:pt x="0" y="0"/>
                    <a:pt x="2" y="1"/>
                    <a:pt x="3"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30" name="Freeform 1881">
              <a:extLst>
                <a:ext uri="{FF2B5EF4-FFF2-40B4-BE49-F238E27FC236}">
                  <a16:creationId xmlns:a16="http://schemas.microsoft.com/office/drawing/2014/main" id="{FD43EFF1-88D5-44A2-BB36-F663BA5EF6F6}"/>
                </a:ext>
              </a:extLst>
            </p:cNvPr>
            <p:cNvSpPr>
              <a:spLocks/>
            </p:cNvSpPr>
            <p:nvPr/>
          </p:nvSpPr>
          <p:spPr bwMode="auto">
            <a:xfrm>
              <a:off x="1918" y="4281"/>
              <a:ext cx="7" cy="7"/>
            </a:xfrm>
            <a:custGeom>
              <a:avLst/>
              <a:gdLst>
                <a:gd name="T0" fmla="*/ 1 w 3"/>
                <a:gd name="T1" fmla="*/ 1 h 3"/>
                <a:gd name="T2" fmla="*/ 0 w 3"/>
                <a:gd name="T3" fmla="*/ 2 h 3"/>
                <a:gd name="T4" fmla="*/ 2 w 3"/>
                <a:gd name="T5" fmla="*/ 2 h 3"/>
                <a:gd name="T6" fmla="*/ 3 w 3"/>
                <a:gd name="T7" fmla="*/ 2 h 3"/>
                <a:gd name="T8" fmla="*/ 1 w 3"/>
                <a:gd name="T9" fmla="*/ 0 h 3"/>
                <a:gd name="T10" fmla="*/ 1 w 3"/>
                <a:gd name="T11" fmla="*/ 1 h 3"/>
              </a:gdLst>
              <a:ahLst/>
              <a:cxnLst>
                <a:cxn ang="0">
                  <a:pos x="T0" y="T1"/>
                </a:cxn>
                <a:cxn ang="0">
                  <a:pos x="T2" y="T3"/>
                </a:cxn>
                <a:cxn ang="0">
                  <a:pos x="T4" y="T5"/>
                </a:cxn>
                <a:cxn ang="0">
                  <a:pos x="T6" y="T7"/>
                </a:cxn>
                <a:cxn ang="0">
                  <a:pos x="T8" y="T9"/>
                </a:cxn>
                <a:cxn ang="0">
                  <a:pos x="T10" y="T11"/>
                </a:cxn>
              </a:cxnLst>
              <a:rect l="0" t="0" r="r" b="b"/>
              <a:pathLst>
                <a:path w="3" h="3">
                  <a:moveTo>
                    <a:pt x="1" y="1"/>
                  </a:moveTo>
                  <a:cubicBezTo>
                    <a:pt x="0" y="1"/>
                    <a:pt x="0" y="0"/>
                    <a:pt x="0" y="2"/>
                  </a:cubicBezTo>
                  <a:cubicBezTo>
                    <a:pt x="0" y="2"/>
                    <a:pt x="2" y="2"/>
                    <a:pt x="2" y="2"/>
                  </a:cubicBezTo>
                  <a:cubicBezTo>
                    <a:pt x="2" y="2"/>
                    <a:pt x="3" y="3"/>
                    <a:pt x="3" y="2"/>
                  </a:cubicBezTo>
                  <a:cubicBezTo>
                    <a:pt x="3" y="2"/>
                    <a:pt x="2" y="0"/>
                    <a:pt x="1" y="0"/>
                  </a:cubicBezTo>
                  <a:cubicBezTo>
                    <a:pt x="1" y="0"/>
                    <a:pt x="1" y="1"/>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31" name="Freeform 1882">
              <a:extLst>
                <a:ext uri="{FF2B5EF4-FFF2-40B4-BE49-F238E27FC236}">
                  <a16:creationId xmlns:a16="http://schemas.microsoft.com/office/drawing/2014/main" id="{A4A8C6B3-A0E2-45D4-A5F3-12D5D6FE7767}"/>
                </a:ext>
              </a:extLst>
            </p:cNvPr>
            <p:cNvSpPr>
              <a:spLocks/>
            </p:cNvSpPr>
            <p:nvPr/>
          </p:nvSpPr>
          <p:spPr bwMode="auto">
            <a:xfrm>
              <a:off x="1755" y="3938"/>
              <a:ext cx="9" cy="7"/>
            </a:xfrm>
            <a:custGeom>
              <a:avLst/>
              <a:gdLst>
                <a:gd name="T0" fmla="*/ 0 w 4"/>
                <a:gd name="T1" fmla="*/ 3 h 3"/>
                <a:gd name="T2" fmla="*/ 4 w 4"/>
                <a:gd name="T3" fmla="*/ 2 h 3"/>
                <a:gd name="T4" fmla="*/ 0 w 4"/>
                <a:gd name="T5" fmla="*/ 3 h 3"/>
              </a:gdLst>
              <a:ahLst/>
              <a:cxnLst>
                <a:cxn ang="0">
                  <a:pos x="T0" y="T1"/>
                </a:cxn>
                <a:cxn ang="0">
                  <a:pos x="T2" y="T3"/>
                </a:cxn>
                <a:cxn ang="0">
                  <a:pos x="T4" y="T5"/>
                </a:cxn>
              </a:cxnLst>
              <a:rect l="0" t="0" r="r" b="b"/>
              <a:pathLst>
                <a:path w="4" h="3">
                  <a:moveTo>
                    <a:pt x="0" y="3"/>
                  </a:moveTo>
                  <a:cubicBezTo>
                    <a:pt x="1" y="2"/>
                    <a:pt x="3" y="3"/>
                    <a:pt x="4" y="2"/>
                  </a:cubicBezTo>
                  <a:cubicBezTo>
                    <a:pt x="2" y="0"/>
                    <a:pt x="1" y="1"/>
                    <a:pt x="0"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32" name="Freeform 1883">
              <a:extLst>
                <a:ext uri="{FF2B5EF4-FFF2-40B4-BE49-F238E27FC236}">
                  <a16:creationId xmlns:a16="http://schemas.microsoft.com/office/drawing/2014/main" id="{6F2B1B5A-1B8A-478C-98D4-95A821486AE7}"/>
                </a:ext>
              </a:extLst>
            </p:cNvPr>
            <p:cNvSpPr>
              <a:spLocks/>
            </p:cNvSpPr>
            <p:nvPr/>
          </p:nvSpPr>
          <p:spPr bwMode="auto">
            <a:xfrm>
              <a:off x="1731" y="4037"/>
              <a:ext cx="12" cy="12"/>
            </a:xfrm>
            <a:custGeom>
              <a:avLst/>
              <a:gdLst>
                <a:gd name="T0" fmla="*/ 2 w 5"/>
                <a:gd name="T1" fmla="*/ 0 h 5"/>
                <a:gd name="T2" fmla="*/ 0 w 5"/>
                <a:gd name="T3" fmla="*/ 0 h 5"/>
                <a:gd name="T4" fmla="*/ 2 w 5"/>
                <a:gd name="T5" fmla="*/ 5 h 5"/>
                <a:gd name="T6" fmla="*/ 5 w 5"/>
                <a:gd name="T7" fmla="*/ 2 h 5"/>
                <a:gd name="T8" fmla="*/ 4 w 5"/>
                <a:gd name="T9" fmla="*/ 2 h 5"/>
                <a:gd name="T10" fmla="*/ 2 w 5"/>
                <a:gd name="T11" fmla="*/ 0 h 5"/>
              </a:gdLst>
              <a:ahLst/>
              <a:cxnLst>
                <a:cxn ang="0">
                  <a:pos x="T0" y="T1"/>
                </a:cxn>
                <a:cxn ang="0">
                  <a:pos x="T2" y="T3"/>
                </a:cxn>
                <a:cxn ang="0">
                  <a:pos x="T4" y="T5"/>
                </a:cxn>
                <a:cxn ang="0">
                  <a:pos x="T6" y="T7"/>
                </a:cxn>
                <a:cxn ang="0">
                  <a:pos x="T8" y="T9"/>
                </a:cxn>
                <a:cxn ang="0">
                  <a:pos x="T10" y="T11"/>
                </a:cxn>
              </a:cxnLst>
              <a:rect l="0" t="0" r="r" b="b"/>
              <a:pathLst>
                <a:path w="5" h="5">
                  <a:moveTo>
                    <a:pt x="2" y="0"/>
                  </a:moveTo>
                  <a:cubicBezTo>
                    <a:pt x="2" y="0"/>
                    <a:pt x="1" y="0"/>
                    <a:pt x="0" y="0"/>
                  </a:cubicBezTo>
                  <a:cubicBezTo>
                    <a:pt x="1" y="2"/>
                    <a:pt x="2" y="3"/>
                    <a:pt x="2" y="5"/>
                  </a:cubicBezTo>
                  <a:cubicBezTo>
                    <a:pt x="3" y="4"/>
                    <a:pt x="4" y="3"/>
                    <a:pt x="5" y="2"/>
                  </a:cubicBezTo>
                  <a:cubicBezTo>
                    <a:pt x="5" y="2"/>
                    <a:pt x="4" y="2"/>
                    <a:pt x="4" y="2"/>
                  </a:cubicBezTo>
                  <a:cubicBezTo>
                    <a:pt x="4" y="1"/>
                    <a:pt x="3" y="1"/>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33" name="Freeform 1884">
              <a:extLst>
                <a:ext uri="{FF2B5EF4-FFF2-40B4-BE49-F238E27FC236}">
                  <a16:creationId xmlns:a16="http://schemas.microsoft.com/office/drawing/2014/main" id="{AC09C9AE-C9F2-4DF5-997F-93ACBDD23963}"/>
                </a:ext>
              </a:extLst>
            </p:cNvPr>
            <p:cNvSpPr>
              <a:spLocks/>
            </p:cNvSpPr>
            <p:nvPr/>
          </p:nvSpPr>
          <p:spPr bwMode="auto">
            <a:xfrm>
              <a:off x="1722" y="4066"/>
              <a:ext cx="9" cy="9"/>
            </a:xfrm>
            <a:custGeom>
              <a:avLst/>
              <a:gdLst>
                <a:gd name="T0" fmla="*/ 2 w 4"/>
                <a:gd name="T1" fmla="*/ 4 h 4"/>
                <a:gd name="T2" fmla="*/ 3 w 4"/>
                <a:gd name="T3" fmla="*/ 2 h 4"/>
                <a:gd name="T4" fmla="*/ 3 w 4"/>
                <a:gd name="T5" fmla="*/ 2 h 4"/>
                <a:gd name="T6" fmla="*/ 3 w 4"/>
                <a:gd name="T7" fmla="*/ 0 h 4"/>
                <a:gd name="T8" fmla="*/ 1 w 4"/>
                <a:gd name="T9" fmla="*/ 2 h 4"/>
                <a:gd name="T10" fmla="*/ 2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2" y="4"/>
                  </a:moveTo>
                  <a:cubicBezTo>
                    <a:pt x="2" y="3"/>
                    <a:pt x="2" y="2"/>
                    <a:pt x="3" y="2"/>
                  </a:cubicBezTo>
                  <a:cubicBezTo>
                    <a:pt x="3" y="2"/>
                    <a:pt x="3" y="2"/>
                    <a:pt x="3" y="2"/>
                  </a:cubicBezTo>
                  <a:cubicBezTo>
                    <a:pt x="4" y="1"/>
                    <a:pt x="3" y="1"/>
                    <a:pt x="3" y="0"/>
                  </a:cubicBezTo>
                  <a:cubicBezTo>
                    <a:pt x="3" y="1"/>
                    <a:pt x="1" y="1"/>
                    <a:pt x="1" y="2"/>
                  </a:cubicBezTo>
                  <a:cubicBezTo>
                    <a:pt x="0" y="3"/>
                    <a:pt x="0" y="3"/>
                    <a:pt x="2"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34" name="Freeform 1885">
              <a:extLst>
                <a:ext uri="{FF2B5EF4-FFF2-40B4-BE49-F238E27FC236}">
                  <a16:creationId xmlns:a16="http://schemas.microsoft.com/office/drawing/2014/main" id="{2EFDF745-5D29-40E5-9D83-E88F74C27FAE}"/>
                </a:ext>
              </a:extLst>
            </p:cNvPr>
            <p:cNvSpPr>
              <a:spLocks/>
            </p:cNvSpPr>
            <p:nvPr/>
          </p:nvSpPr>
          <p:spPr bwMode="auto">
            <a:xfrm>
              <a:off x="1750" y="3933"/>
              <a:ext cx="2" cy="7"/>
            </a:xfrm>
            <a:custGeom>
              <a:avLst/>
              <a:gdLst>
                <a:gd name="T0" fmla="*/ 0 w 1"/>
                <a:gd name="T1" fmla="*/ 1 h 3"/>
                <a:gd name="T2" fmla="*/ 1 w 1"/>
                <a:gd name="T3" fmla="*/ 3 h 3"/>
                <a:gd name="T4" fmla="*/ 0 w 1"/>
                <a:gd name="T5" fmla="*/ 1 h 3"/>
              </a:gdLst>
              <a:ahLst/>
              <a:cxnLst>
                <a:cxn ang="0">
                  <a:pos x="T0" y="T1"/>
                </a:cxn>
                <a:cxn ang="0">
                  <a:pos x="T2" y="T3"/>
                </a:cxn>
                <a:cxn ang="0">
                  <a:pos x="T4" y="T5"/>
                </a:cxn>
              </a:cxnLst>
              <a:rect l="0" t="0" r="r" b="b"/>
              <a:pathLst>
                <a:path w="1" h="3">
                  <a:moveTo>
                    <a:pt x="0" y="1"/>
                  </a:moveTo>
                  <a:cubicBezTo>
                    <a:pt x="0" y="2"/>
                    <a:pt x="1" y="2"/>
                    <a:pt x="1" y="3"/>
                  </a:cubicBezTo>
                  <a:cubicBezTo>
                    <a:pt x="1" y="2"/>
                    <a:pt x="1"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35" name="Freeform 1886">
              <a:extLst>
                <a:ext uri="{FF2B5EF4-FFF2-40B4-BE49-F238E27FC236}">
                  <a16:creationId xmlns:a16="http://schemas.microsoft.com/office/drawing/2014/main" id="{F3A856C7-7FA8-426B-97AF-543733513F20}"/>
                </a:ext>
              </a:extLst>
            </p:cNvPr>
            <p:cNvSpPr>
              <a:spLocks/>
            </p:cNvSpPr>
            <p:nvPr/>
          </p:nvSpPr>
          <p:spPr bwMode="auto">
            <a:xfrm>
              <a:off x="1861" y="4255"/>
              <a:ext cx="17" cy="7"/>
            </a:xfrm>
            <a:custGeom>
              <a:avLst/>
              <a:gdLst>
                <a:gd name="T0" fmla="*/ 7 w 7"/>
                <a:gd name="T1" fmla="*/ 2 h 3"/>
                <a:gd name="T2" fmla="*/ 3 w 7"/>
                <a:gd name="T3" fmla="*/ 0 h 3"/>
                <a:gd name="T4" fmla="*/ 0 w 7"/>
                <a:gd name="T5" fmla="*/ 3 h 3"/>
                <a:gd name="T6" fmla="*/ 4 w 7"/>
                <a:gd name="T7" fmla="*/ 2 h 3"/>
                <a:gd name="T8" fmla="*/ 7 w 7"/>
                <a:gd name="T9" fmla="*/ 2 h 3"/>
              </a:gdLst>
              <a:ahLst/>
              <a:cxnLst>
                <a:cxn ang="0">
                  <a:pos x="T0" y="T1"/>
                </a:cxn>
                <a:cxn ang="0">
                  <a:pos x="T2" y="T3"/>
                </a:cxn>
                <a:cxn ang="0">
                  <a:pos x="T4" y="T5"/>
                </a:cxn>
                <a:cxn ang="0">
                  <a:pos x="T6" y="T7"/>
                </a:cxn>
                <a:cxn ang="0">
                  <a:pos x="T8" y="T9"/>
                </a:cxn>
              </a:cxnLst>
              <a:rect l="0" t="0" r="r" b="b"/>
              <a:pathLst>
                <a:path w="7" h="3">
                  <a:moveTo>
                    <a:pt x="7" y="2"/>
                  </a:moveTo>
                  <a:cubicBezTo>
                    <a:pt x="6" y="1"/>
                    <a:pt x="4" y="1"/>
                    <a:pt x="3" y="0"/>
                  </a:cubicBezTo>
                  <a:cubicBezTo>
                    <a:pt x="1" y="0"/>
                    <a:pt x="0" y="1"/>
                    <a:pt x="0" y="3"/>
                  </a:cubicBezTo>
                  <a:cubicBezTo>
                    <a:pt x="1" y="2"/>
                    <a:pt x="3" y="2"/>
                    <a:pt x="4" y="2"/>
                  </a:cubicBezTo>
                  <a:cubicBezTo>
                    <a:pt x="5" y="2"/>
                    <a:pt x="6" y="2"/>
                    <a:pt x="7"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36" name="Freeform 1887">
              <a:extLst>
                <a:ext uri="{FF2B5EF4-FFF2-40B4-BE49-F238E27FC236}">
                  <a16:creationId xmlns:a16="http://schemas.microsoft.com/office/drawing/2014/main" id="{246D5235-DD0B-4DD2-BADB-C2E3C8828AFC}"/>
                </a:ext>
              </a:extLst>
            </p:cNvPr>
            <p:cNvSpPr>
              <a:spLocks/>
            </p:cNvSpPr>
            <p:nvPr/>
          </p:nvSpPr>
          <p:spPr bwMode="auto">
            <a:xfrm>
              <a:off x="1736" y="4153"/>
              <a:ext cx="2" cy="5"/>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0"/>
                    <a:pt x="0" y="1"/>
                    <a:pt x="0" y="2"/>
                  </a:cubicBezTo>
                  <a:cubicBezTo>
                    <a:pt x="1" y="2"/>
                    <a:pt x="1" y="1"/>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37" name="Freeform 1888">
              <a:extLst>
                <a:ext uri="{FF2B5EF4-FFF2-40B4-BE49-F238E27FC236}">
                  <a16:creationId xmlns:a16="http://schemas.microsoft.com/office/drawing/2014/main" id="{3F63BE9C-95EA-454F-B888-D1E6AFD58A8E}"/>
                </a:ext>
              </a:extLst>
            </p:cNvPr>
            <p:cNvSpPr>
              <a:spLocks/>
            </p:cNvSpPr>
            <p:nvPr/>
          </p:nvSpPr>
          <p:spPr bwMode="auto">
            <a:xfrm>
              <a:off x="1807" y="4248"/>
              <a:ext cx="4" cy="5"/>
            </a:xfrm>
            <a:custGeom>
              <a:avLst/>
              <a:gdLst>
                <a:gd name="T0" fmla="*/ 2 w 2"/>
                <a:gd name="T1" fmla="*/ 2 h 2"/>
                <a:gd name="T2" fmla="*/ 2 w 2"/>
                <a:gd name="T3" fmla="*/ 2 h 2"/>
              </a:gdLst>
              <a:ahLst/>
              <a:cxnLst>
                <a:cxn ang="0">
                  <a:pos x="T0" y="T1"/>
                </a:cxn>
                <a:cxn ang="0">
                  <a:pos x="T2" y="T3"/>
                </a:cxn>
              </a:cxnLst>
              <a:rect l="0" t="0" r="r" b="b"/>
              <a:pathLst>
                <a:path w="2" h="2">
                  <a:moveTo>
                    <a:pt x="2" y="2"/>
                  </a:moveTo>
                  <a:cubicBezTo>
                    <a:pt x="1" y="0"/>
                    <a:pt x="0" y="0"/>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38" name="Freeform 1889">
              <a:extLst>
                <a:ext uri="{FF2B5EF4-FFF2-40B4-BE49-F238E27FC236}">
                  <a16:creationId xmlns:a16="http://schemas.microsoft.com/office/drawing/2014/main" id="{54103456-1761-441F-AF47-C255340FB5D0}"/>
                </a:ext>
              </a:extLst>
            </p:cNvPr>
            <p:cNvSpPr>
              <a:spLocks/>
            </p:cNvSpPr>
            <p:nvPr/>
          </p:nvSpPr>
          <p:spPr bwMode="auto">
            <a:xfrm>
              <a:off x="1776" y="4227"/>
              <a:ext cx="5" cy="4"/>
            </a:xfrm>
            <a:custGeom>
              <a:avLst/>
              <a:gdLst>
                <a:gd name="T0" fmla="*/ 0 w 2"/>
                <a:gd name="T1" fmla="*/ 1 h 2"/>
                <a:gd name="T2" fmla="*/ 2 w 2"/>
                <a:gd name="T3" fmla="*/ 2 h 2"/>
                <a:gd name="T4" fmla="*/ 0 w 2"/>
                <a:gd name="T5" fmla="*/ 1 h 2"/>
              </a:gdLst>
              <a:ahLst/>
              <a:cxnLst>
                <a:cxn ang="0">
                  <a:pos x="T0" y="T1"/>
                </a:cxn>
                <a:cxn ang="0">
                  <a:pos x="T2" y="T3"/>
                </a:cxn>
                <a:cxn ang="0">
                  <a:pos x="T4" y="T5"/>
                </a:cxn>
              </a:cxnLst>
              <a:rect l="0" t="0" r="r" b="b"/>
              <a:pathLst>
                <a:path w="2" h="2">
                  <a:moveTo>
                    <a:pt x="0" y="1"/>
                  </a:moveTo>
                  <a:cubicBezTo>
                    <a:pt x="0" y="1"/>
                    <a:pt x="1" y="2"/>
                    <a:pt x="2" y="2"/>
                  </a:cubicBezTo>
                  <a:cubicBezTo>
                    <a:pt x="1" y="0"/>
                    <a:pt x="1"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39" name="Freeform 1890">
              <a:extLst>
                <a:ext uri="{FF2B5EF4-FFF2-40B4-BE49-F238E27FC236}">
                  <a16:creationId xmlns:a16="http://schemas.microsoft.com/office/drawing/2014/main" id="{469E922A-A96D-412C-88AC-B906E7D282BF}"/>
                </a:ext>
              </a:extLst>
            </p:cNvPr>
            <p:cNvSpPr>
              <a:spLocks/>
            </p:cNvSpPr>
            <p:nvPr/>
          </p:nvSpPr>
          <p:spPr bwMode="auto">
            <a:xfrm>
              <a:off x="1738" y="4118"/>
              <a:ext cx="7" cy="7"/>
            </a:xfrm>
            <a:custGeom>
              <a:avLst/>
              <a:gdLst>
                <a:gd name="T0" fmla="*/ 2 w 3"/>
                <a:gd name="T1" fmla="*/ 1 h 3"/>
                <a:gd name="T2" fmla="*/ 2 w 3"/>
                <a:gd name="T3" fmla="*/ 1 h 3"/>
                <a:gd name="T4" fmla="*/ 1 w 3"/>
                <a:gd name="T5" fmla="*/ 1 h 3"/>
                <a:gd name="T6" fmla="*/ 3 w 3"/>
                <a:gd name="T7" fmla="*/ 3 h 3"/>
                <a:gd name="T8" fmla="*/ 2 w 3"/>
                <a:gd name="T9" fmla="*/ 1 h 3"/>
              </a:gdLst>
              <a:ahLst/>
              <a:cxnLst>
                <a:cxn ang="0">
                  <a:pos x="T0" y="T1"/>
                </a:cxn>
                <a:cxn ang="0">
                  <a:pos x="T2" y="T3"/>
                </a:cxn>
                <a:cxn ang="0">
                  <a:pos x="T4" y="T5"/>
                </a:cxn>
                <a:cxn ang="0">
                  <a:pos x="T6" y="T7"/>
                </a:cxn>
                <a:cxn ang="0">
                  <a:pos x="T8" y="T9"/>
                </a:cxn>
              </a:cxnLst>
              <a:rect l="0" t="0" r="r" b="b"/>
              <a:pathLst>
                <a:path w="3" h="3">
                  <a:moveTo>
                    <a:pt x="2" y="1"/>
                  </a:moveTo>
                  <a:cubicBezTo>
                    <a:pt x="2" y="1"/>
                    <a:pt x="3" y="1"/>
                    <a:pt x="2" y="1"/>
                  </a:cubicBezTo>
                  <a:cubicBezTo>
                    <a:pt x="2" y="0"/>
                    <a:pt x="1" y="0"/>
                    <a:pt x="1" y="1"/>
                  </a:cubicBezTo>
                  <a:cubicBezTo>
                    <a:pt x="0" y="2"/>
                    <a:pt x="2" y="3"/>
                    <a:pt x="3" y="3"/>
                  </a:cubicBezTo>
                  <a:cubicBezTo>
                    <a:pt x="2" y="2"/>
                    <a:pt x="3" y="2"/>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40" name="Freeform 1891">
              <a:extLst>
                <a:ext uri="{FF2B5EF4-FFF2-40B4-BE49-F238E27FC236}">
                  <a16:creationId xmlns:a16="http://schemas.microsoft.com/office/drawing/2014/main" id="{7EBA7DE8-CDFA-40A2-B6F9-19DF7E417CAA}"/>
                </a:ext>
              </a:extLst>
            </p:cNvPr>
            <p:cNvSpPr>
              <a:spLocks/>
            </p:cNvSpPr>
            <p:nvPr/>
          </p:nvSpPr>
          <p:spPr bwMode="auto">
            <a:xfrm>
              <a:off x="1757" y="3957"/>
              <a:ext cx="12" cy="5"/>
            </a:xfrm>
            <a:custGeom>
              <a:avLst/>
              <a:gdLst>
                <a:gd name="T0" fmla="*/ 2 w 5"/>
                <a:gd name="T1" fmla="*/ 0 h 2"/>
                <a:gd name="T2" fmla="*/ 1 w 5"/>
                <a:gd name="T3" fmla="*/ 1 h 2"/>
                <a:gd name="T4" fmla="*/ 1 w 5"/>
                <a:gd name="T5" fmla="*/ 2 h 2"/>
                <a:gd name="T6" fmla="*/ 3 w 5"/>
                <a:gd name="T7" fmla="*/ 2 h 2"/>
                <a:gd name="T8" fmla="*/ 2 w 5"/>
                <a:gd name="T9" fmla="*/ 0 h 2"/>
              </a:gdLst>
              <a:ahLst/>
              <a:cxnLst>
                <a:cxn ang="0">
                  <a:pos x="T0" y="T1"/>
                </a:cxn>
                <a:cxn ang="0">
                  <a:pos x="T2" y="T3"/>
                </a:cxn>
                <a:cxn ang="0">
                  <a:pos x="T4" y="T5"/>
                </a:cxn>
                <a:cxn ang="0">
                  <a:pos x="T6" y="T7"/>
                </a:cxn>
                <a:cxn ang="0">
                  <a:pos x="T8" y="T9"/>
                </a:cxn>
              </a:cxnLst>
              <a:rect l="0" t="0" r="r" b="b"/>
              <a:pathLst>
                <a:path w="5" h="2">
                  <a:moveTo>
                    <a:pt x="2" y="0"/>
                  </a:moveTo>
                  <a:cubicBezTo>
                    <a:pt x="1" y="0"/>
                    <a:pt x="2" y="0"/>
                    <a:pt x="1" y="1"/>
                  </a:cubicBezTo>
                  <a:cubicBezTo>
                    <a:pt x="1" y="1"/>
                    <a:pt x="0" y="2"/>
                    <a:pt x="1" y="2"/>
                  </a:cubicBezTo>
                  <a:cubicBezTo>
                    <a:pt x="2" y="1"/>
                    <a:pt x="2" y="2"/>
                    <a:pt x="3" y="2"/>
                  </a:cubicBezTo>
                  <a:cubicBezTo>
                    <a:pt x="5" y="1"/>
                    <a:pt x="3" y="0"/>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41" name="Freeform 1892">
              <a:extLst>
                <a:ext uri="{FF2B5EF4-FFF2-40B4-BE49-F238E27FC236}">
                  <a16:creationId xmlns:a16="http://schemas.microsoft.com/office/drawing/2014/main" id="{3E78357A-9C6A-4276-971A-83F116F46D7B}"/>
                </a:ext>
              </a:extLst>
            </p:cNvPr>
            <p:cNvSpPr>
              <a:spLocks/>
            </p:cNvSpPr>
            <p:nvPr/>
          </p:nvSpPr>
          <p:spPr bwMode="auto">
            <a:xfrm>
              <a:off x="1927" y="4288"/>
              <a:ext cx="3" cy="3"/>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0" y="1"/>
                  </a:cubicBezTo>
                  <a:cubicBezTo>
                    <a:pt x="1" y="1"/>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42" name="Freeform 1893">
              <a:extLst>
                <a:ext uri="{FF2B5EF4-FFF2-40B4-BE49-F238E27FC236}">
                  <a16:creationId xmlns:a16="http://schemas.microsoft.com/office/drawing/2014/main" id="{E9776B3F-3C08-4E17-8916-4E2166935CC7}"/>
                </a:ext>
              </a:extLst>
            </p:cNvPr>
            <p:cNvSpPr>
              <a:spLocks/>
            </p:cNvSpPr>
            <p:nvPr/>
          </p:nvSpPr>
          <p:spPr bwMode="auto">
            <a:xfrm>
              <a:off x="1745" y="3931"/>
              <a:ext cx="5" cy="5"/>
            </a:xfrm>
            <a:custGeom>
              <a:avLst/>
              <a:gdLst>
                <a:gd name="T0" fmla="*/ 0 w 2"/>
                <a:gd name="T1" fmla="*/ 1 h 2"/>
                <a:gd name="T2" fmla="*/ 2 w 2"/>
                <a:gd name="T3" fmla="*/ 2 h 2"/>
                <a:gd name="T4" fmla="*/ 0 w 2"/>
                <a:gd name="T5" fmla="*/ 1 h 2"/>
              </a:gdLst>
              <a:ahLst/>
              <a:cxnLst>
                <a:cxn ang="0">
                  <a:pos x="T0" y="T1"/>
                </a:cxn>
                <a:cxn ang="0">
                  <a:pos x="T2" y="T3"/>
                </a:cxn>
                <a:cxn ang="0">
                  <a:pos x="T4" y="T5"/>
                </a:cxn>
              </a:cxnLst>
              <a:rect l="0" t="0" r="r" b="b"/>
              <a:pathLst>
                <a:path w="2" h="2">
                  <a:moveTo>
                    <a:pt x="0" y="1"/>
                  </a:moveTo>
                  <a:cubicBezTo>
                    <a:pt x="1" y="2"/>
                    <a:pt x="2" y="2"/>
                    <a:pt x="2" y="2"/>
                  </a:cubicBezTo>
                  <a:cubicBezTo>
                    <a:pt x="2" y="1"/>
                    <a:pt x="1"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43" name="Freeform 1894">
              <a:extLst>
                <a:ext uri="{FF2B5EF4-FFF2-40B4-BE49-F238E27FC236}">
                  <a16:creationId xmlns:a16="http://schemas.microsoft.com/office/drawing/2014/main" id="{D70528CA-4C6E-473E-8E66-19E89F2BFFD0}"/>
                </a:ext>
              </a:extLst>
            </p:cNvPr>
            <p:cNvSpPr>
              <a:spLocks/>
            </p:cNvSpPr>
            <p:nvPr/>
          </p:nvSpPr>
          <p:spPr bwMode="auto">
            <a:xfrm>
              <a:off x="1750" y="4153"/>
              <a:ext cx="12" cy="7"/>
            </a:xfrm>
            <a:custGeom>
              <a:avLst/>
              <a:gdLst>
                <a:gd name="T0" fmla="*/ 2 w 5"/>
                <a:gd name="T1" fmla="*/ 1 h 3"/>
                <a:gd name="T2" fmla="*/ 0 w 5"/>
                <a:gd name="T3" fmla="*/ 0 h 3"/>
                <a:gd name="T4" fmla="*/ 3 w 5"/>
                <a:gd name="T5" fmla="*/ 3 h 3"/>
                <a:gd name="T6" fmla="*/ 2 w 5"/>
                <a:gd name="T7" fmla="*/ 1 h 3"/>
              </a:gdLst>
              <a:ahLst/>
              <a:cxnLst>
                <a:cxn ang="0">
                  <a:pos x="T0" y="T1"/>
                </a:cxn>
                <a:cxn ang="0">
                  <a:pos x="T2" y="T3"/>
                </a:cxn>
                <a:cxn ang="0">
                  <a:pos x="T4" y="T5"/>
                </a:cxn>
                <a:cxn ang="0">
                  <a:pos x="T6" y="T7"/>
                </a:cxn>
              </a:cxnLst>
              <a:rect l="0" t="0" r="r" b="b"/>
              <a:pathLst>
                <a:path w="5" h="3">
                  <a:moveTo>
                    <a:pt x="2" y="1"/>
                  </a:moveTo>
                  <a:cubicBezTo>
                    <a:pt x="1" y="0"/>
                    <a:pt x="1" y="0"/>
                    <a:pt x="0" y="0"/>
                  </a:cubicBezTo>
                  <a:cubicBezTo>
                    <a:pt x="1" y="1"/>
                    <a:pt x="2" y="2"/>
                    <a:pt x="3" y="3"/>
                  </a:cubicBezTo>
                  <a:cubicBezTo>
                    <a:pt x="5" y="2"/>
                    <a:pt x="2"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44" name="Freeform 1895">
              <a:extLst>
                <a:ext uri="{FF2B5EF4-FFF2-40B4-BE49-F238E27FC236}">
                  <a16:creationId xmlns:a16="http://schemas.microsoft.com/office/drawing/2014/main" id="{460F943D-88B0-43EB-8856-CC4190015678}"/>
                </a:ext>
              </a:extLst>
            </p:cNvPr>
            <p:cNvSpPr>
              <a:spLocks/>
            </p:cNvSpPr>
            <p:nvPr/>
          </p:nvSpPr>
          <p:spPr bwMode="auto">
            <a:xfrm>
              <a:off x="1911" y="4288"/>
              <a:ext cx="7" cy="0"/>
            </a:xfrm>
            <a:custGeom>
              <a:avLst/>
              <a:gdLst>
                <a:gd name="T0" fmla="*/ 0 w 3"/>
                <a:gd name="T1" fmla="*/ 3 w 3"/>
                <a:gd name="T2" fmla="*/ 0 w 3"/>
              </a:gdLst>
              <a:ahLst/>
              <a:cxnLst>
                <a:cxn ang="0">
                  <a:pos x="T0" y="0"/>
                </a:cxn>
                <a:cxn ang="0">
                  <a:pos x="T1" y="0"/>
                </a:cxn>
                <a:cxn ang="0">
                  <a:pos x="T2" y="0"/>
                </a:cxn>
              </a:cxnLst>
              <a:rect l="0" t="0" r="r" b="b"/>
              <a:pathLst>
                <a:path w="3">
                  <a:moveTo>
                    <a:pt x="0" y="0"/>
                  </a:moveTo>
                  <a:cubicBezTo>
                    <a:pt x="1" y="0"/>
                    <a:pt x="2" y="0"/>
                    <a:pt x="3" y="0"/>
                  </a:cubicBezTo>
                  <a:cubicBezTo>
                    <a:pt x="2"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45" name="Freeform 1896">
              <a:extLst>
                <a:ext uri="{FF2B5EF4-FFF2-40B4-BE49-F238E27FC236}">
                  <a16:creationId xmlns:a16="http://schemas.microsoft.com/office/drawing/2014/main" id="{22656F1F-9B39-41A2-96B6-FED85AC53D74}"/>
                </a:ext>
              </a:extLst>
            </p:cNvPr>
            <p:cNvSpPr>
              <a:spLocks/>
            </p:cNvSpPr>
            <p:nvPr/>
          </p:nvSpPr>
          <p:spPr bwMode="auto">
            <a:xfrm>
              <a:off x="1797" y="4238"/>
              <a:ext cx="7" cy="3"/>
            </a:xfrm>
            <a:custGeom>
              <a:avLst/>
              <a:gdLst>
                <a:gd name="T0" fmla="*/ 2 w 3"/>
                <a:gd name="T1" fmla="*/ 0 h 1"/>
                <a:gd name="T2" fmla="*/ 1 w 3"/>
                <a:gd name="T3" fmla="*/ 1 h 1"/>
                <a:gd name="T4" fmla="*/ 2 w 3"/>
                <a:gd name="T5" fmla="*/ 0 h 1"/>
                <a:gd name="T6" fmla="*/ 2 w 3"/>
                <a:gd name="T7" fmla="*/ 0 h 1"/>
              </a:gdLst>
              <a:ahLst/>
              <a:cxnLst>
                <a:cxn ang="0">
                  <a:pos x="T0" y="T1"/>
                </a:cxn>
                <a:cxn ang="0">
                  <a:pos x="T2" y="T3"/>
                </a:cxn>
                <a:cxn ang="0">
                  <a:pos x="T4" y="T5"/>
                </a:cxn>
                <a:cxn ang="0">
                  <a:pos x="T6" y="T7"/>
                </a:cxn>
              </a:cxnLst>
              <a:rect l="0" t="0" r="r" b="b"/>
              <a:pathLst>
                <a:path w="3" h="1">
                  <a:moveTo>
                    <a:pt x="2" y="0"/>
                  </a:moveTo>
                  <a:cubicBezTo>
                    <a:pt x="1" y="0"/>
                    <a:pt x="0" y="0"/>
                    <a:pt x="1" y="1"/>
                  </a:cubicBezTo>
                  <a:cubicBezTo>
                    <a:pt x="1" y="1"/>
                    <a:pt x="2" y="1"/>
                    <a:pt x="2" y="0"/>
                  </a:cubicBezTo>
                  <a:cubicBezTo>
                    <a:pt x="2" y="0"/>
                    <a:pt x="3" y="0"/>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46" name="Freeform 1897">
              <a:extLst>
                <a:ext uri="{FF2B5EF4-FFF2-40B4-BE49-F238E27FC236}">
                  <a16:creationId xmlns:a16="http://schemas.microsoft.com/office/drawing/2014/main" id="{2936836B-232F-4489-BECD-081B2A570B44}"/>
                </a:ext>
              </a:extLst>
            </p:cNvPr>
            <p:cNvSpPr>
              <a:spLocks/>
            </p:cNvSpPr>
            <p:nvPr/>
          </p:nvSpPr>
          <p:spPr bwMode="auto">
            <a:xfrm>
              <a:off x="1941" y="4267"/>
              <a:ext cx="3" cy="2"/>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1"/>
                    <a:pt x="0" y="1"/>
                    <a:pt x="0" y="1"/>
                  </a:cubicBezTo>
                  <a:cubicBezTo>
                    <a:pt x="0" y="1"/>
                    <a:pt x="1" y="1"/>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47" name="Freeform 1898">
              <a:extLst>
                <a:ext uri="{FF2B5EF4-FFF2-40B4-BE49-F238E27FC236}">
                  <a16:creationId xmlns:a16="http://schemas.microsoft.com/office/drawing/2014/main" id="{41C1A89C-4AE9-44CD-B33F-C9A4EFF6FD4F}"/>
                </a:ext>
              </a:extLst>
            </p:cNvPr>
            <p:cNvSpPr>
              <a:spLocks/>
            </p:cNvSpPr>
            <p:nvPr/>
          </p:nvSpPr>
          <p:spPr bwMode="auto">
            <a:xfrm>
              <a:off x="1764" y="4208"/>
              <a:ext cx="7" cy="4"/>
            </a:xfrm>
            <a:custGeom>
              <a:avLst/>
              <a:gdLst>
                <a:gd name="T0" fmla="*/ 1 w 3"/>
                <a:gd name="T1" fmla="*/ 0 h 2"/>
                <a:gd name="T2" fmla="*/ 1 w 3"/>
                <a:gd name="T3" fmla="*/ 2 h 2"/>
                <a:gd name="T4" fmla="*/ 1 w 3"/>
                <a:gd name="T5" fmla="*/ 0 h 2"/>
              </a:gdLst>
              <a:ahLst/>
              <a:cxnLst>
                <a:cxn ang="0">
                  <a:pos x="T0" y="T1"/>
                </a:cxn>
                <a:cxn ang="0">
                  <a:pos x="T2" y="T3"/>
                </a:cxn>
                <a:cxn ang="0">
                  <a:pos x="T4" y="T5"/>
                </a:cxn>
              </a:cxnLst>
              <a:rect l="0" t="0" r="r" b="b"/>
              <a:pathLst>
                <a:path w="3" h="2">
                  <a:moveTo>
                    <a:pt x="1" y="0"/>
                  </a:moveTo>
                  <a:cubicBezTo>
                    <a:pt x="0" y="1"/>
                    <a:pt x="1" y="2"/>
                    <a:pt x="1" y="2"/>
                  </a:cubicBezTo>
                  <a:cubicBezTo>
                    <a:pt x="2" y="1"/>
                    <a:pt x="3" y="2"/>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48" name="Freeform 1899">
              <a:extLst>
                <a:ext uri="{FF2B5EF4-FFF2-40B4-BE49-F238E27FC236}">
                  <a16:creationId xmlns:a16="http://schemas.microsoft.com/office/drawing/2014/main" id="{8DB1EEBB-46A0-47C5-B896-8B86E2461F70}"/>
                </a:ext>
              </a:extLst>
            </p:cNvPr>
            <p:cNvSpPr>
              <a:spLocks/>
            </p:cNvSpPr>
            <p:nvPr/>
          </p:nvSpPr>
          <p:spPr bwMode="auto">
            <a:xfrm>
              <a:off x="1750" y="4007"/>
              <a:ext cx="5" cy="2"/>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1" y="0"/>
                    <a:pt x="1" y="1"/>
                    <a:pt x="0" y="1"/>
                  </a:cubicBezTo>
                  <a:cubicBezTo>
                    <a:pt x="1" y="1"/>
                    <a:pt x="2" y="1"/>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49" name="Freeform 1900">
              <a:extLst>
                <a:ext uri="{FF2B5EF4-FFF2-40B4-BE49-F238E27FC236}">
                  <a16:creationId xmlns:a16="http://schemas.microsoft.com/office/drawing/2014/main" id="{0B77596E-0A7A-4838-B386-2E7EC65410BA}"/>
                </a:ext>
              </a:extLst>
            </p:cNvPr>
            <p:cNvSpPr>
              <a:spLocks/>
            </p:cNvSpPr>
            <p:nvPr/>
          </p:nvSpPr>
          <p:spPr bwMode="auto">
            <a:xfrm>
              <a:off x="1750" y="3924"/>
              <a:ext cx="7" cy="5"/>
            </a:xfrm>
            <a:custGeom>
              <a:avLst/>
              <a:gdLst>
                <a:gd name="T0" fmla="*/ 0 w 3"/>
                <a:gd name="T1" fmla="*/ 2 h 2"/>
                <a:gd name="T2" fmla="*/ 3 w 3"/>
                <a:gd name="T3" fmla="*/ 2 h 2"/>
                <a:gd name="T4" fmla="*/ 1 w 3"/>
                <a:gd name="T5" fmla="*/ 2 h 2"/>
                <a:gd name="T6" fmla="*/ 0 w 3"/>
                <a:gd name="T7" fmla="*/ 2 h 2"/>
              </a:gdLst>
              <a:ahLst/>
              <a:cxnLst>
                <a:cxn ang="0">
                  <a:pos x="T0" y="T1"/>
                </a:cxn>
                <a:cxn ang="0">
                  <a:pos x="T2" y="T3"/>
                </a:cxn>
                <a:cxn ang="0">
                  <a:pos x="T4" y="T5"/>
                </a:cxn>
                <a:cxn ang="0">
                  <a:pos x="T6" y="T7"/>
                </a:cxn>
              </a:cxnLst>
              <a:rect l="0" t="0" r="r" b="b"/>
              <a:pathLst>
                <a:path w="3" h="2">
                  <a:moveTo>
                    <a:pt x="0" y="2"/>
                  </a:moveTo>
                  <a:cubicBezTo>
                    <a:pt x="1" y="2"/>
                    <a:pt x="2" y="2"/>
                    <a:pt x="3" y="2"/>
                  </a:cubicBezTo>
                  <a:cubicBezTo>
                    <a:pt x="2" y="0"/>
                    <a:pt x="2" y="2"/>
                    <a:pt x="1" y="2"/>
                  </a:cubicBezTo>
                  <a:cubicBezTo>
                    <a:pt x="1" y="2"/>
                    <a:pt x="0"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50" name="Freeform 1901">
              <a:extLst>
                <a:ext uri="{FF2B5EF4-FFF2-40B4-BE49-F238E27FC236}">
                  <a16:creationId xmlns:a16="http://schemas.microsoft.com/office/drawing/2014/main" id="{B14762F9-C907-4174-9DC3-A3BD7AD69490}"/>
                </a:ext>
              </a:extLst>
            </p:cNvPr>
            <p:cNvSpPr>
              <a:spLocks/>
            </p:cNvSpPr>
            <p:nvPr/>
          </p:nvSpPr>
          <p:spPr bwMode="auto">
            <a:xfrm>
              <a:off x="1766" y="3929"/>
              <a:ext cx="5" cy="9"/>
            </a:xfrm>
            <a:custGeom>
              <a:avLst/>
              <a:gdLst>
                <a:gd name="T0" fmla="*/ 0 w 2"/>
                <a:gd name="T1" fmla="*/ 1 h 4"/>
                <a:gd name="T2" fmla="*/ 2 w 2"/>
                <a:gd name="T3" fmla="*/ 3 h 4"/>
                <a:gd name="T4" fmla="*/ 0 w 2"/>
                <a:gd name="T5" fmla="*/ 1 h 4"/>
              </a:gdLst>
              <a:ahLst/>
              <a:cxnLst>
                <a:cxn ang="0">
                  <a:pos x="T0" y="T1"/>
                </a:cxn>
                <a:cxn ang="0">
                  <a:pos x="T2" y="T3"/>
                </a:cxn>
                <a:cxn ang="0">
                  <a:pos x="T4" y="T5"/>
                </a:cxn>
              </a:cxnLst>
              <a:rect l="0" t="0" r="r" b="b"/>
              <a:pathLst>
                <a:path w="2" h="4">
                  <a:moveTo>
                    <a:pt x="0" y="1"/>
                  </a:moveTo>
                  <a:cubicBezTo>
                    <a:pt x="0" y="1"/>
                    <a:pt x="0" y="4"/>
                    <a:pt x="2" y="3"/>
                  </a:cubicBezTo>
                  <a:cubicBezTo>
                    <a:pt x="1" y="2"/>
                    <a:pt x="2"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51" name="Freeform 1902">
              <a:extLst>
                <a:ext uri="{FF2B5EF4-FFF2-40B4-BE49-F238E27FC236}">
                  <a16:creationId xmlns:a16="http://schemas.microsoft.com/office/drawing/2014/main" id="{F21B8A28-3FF3-4A03-985F-41C23511AE16}"/>
                </a:ext>
              </a:extLst>
            </p:cNvPr>
            <p:cNvSpPr>
              <a:spLocks/>
            </p:cNvSpPr>
            <p:nvPr/>
          </p:nvSpPr>
          <p:spPr bwMode="auto">
            <a:xfrm>
              <a:off x="1738" y="4130"/>
              <a:ext cx="12" cy="14"/>
            </a:xfrm>
            <a:custGeom>
              <a:avLst/>
              <a:gdLst>
                <a:gd name="T0" fmla="*/ 0 w 5"/>
                <a:gd name="T1" fmla="*/ 6 h 6"/>
                <a:gd name="T2" fmla="*/ 3 w 5"/>
                <a:gd name="T3" fmla="*/ 4 h 6"/>
                <a:gd name="T4" fmla="*/ 3 w 5"/>
                <a:gd name="T5" fmla="*/ 4 h 6"/>
                <a:gd name="T6" fmla="*/ 4 w 5"/>
                <a:gd name="T7" fmla="*/ 5 h 6"/>
                <a:gd name="T8" fmla="*/ 4 w 5"/>
                <a:gd name="T9" fmla="*/ 4 h 6"/>
                <a:gd name="T10" fmla="*/ 4 w 5"/>
                <a:gd name="T11" fmla="*/ 4 h 6"/>
                <a:gd name="T12" fmla="*/ 0 w 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0" y="6"/>
                  </a:moveTo>
                  <a:cubicBezTo>
                    <a:pt x="1" y="6"/>
                    <a:pt x="3" y="6"/>
                    <a:pt x="3" y="4"/>
                  </a:cubicBezTo>
                  <a:cubicBezTo>
                    <a:pt x="3" y="4"/>
                    <a:pt x="3" y="4"/>
                    <a:pt x="3" y="4"/>
                  </a:cubicBezTo>
                  <a:cubicBezTo>
                    <a:pt x="3" y="4"/>
                    <a:pt x="4" y="5"/>
                    <a:pt x="4" y="5"/>
                  </a:cubicBezTo>
                  <a:cubicBezTo>
                    <a:pt x="5" y="5"/>
                    <a:pt x="4" y="4"/>
                    <a:pt x="4" y="4"/>
                  </a:cubicBezTo>
                  <a:cubicBezTo>
                    <a:pt x="4" y="4"/>
                    <a:pt x="4" y="4"/>
                    <a:pt x="4" y="4"/>
                  </a:cubicBezTo>
                  <a:cubicBezTo>
                    <a:pt x="3" y="0"/>
                    <a:pt x="1" y="5"/>
                    <a:pt x="0" y="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52" name="Freeform 1903">
              <a:extLst>
                <a:ext uri="{FF2B5EF4-FFF2-40B4-BE49-F238E27FC236}">
                  <a16:creationId xmlns:a16="http://schemas.microsoft.com/office/drawing/2014/main" id="{A0C721F9-36D9-41CF-BE98-B398529D76A1}"/>
                </a:ext>
              </a:extLst>
            </p:cNvPr>
            <p:cNvSpPr>
              <a:spLocks/>
            </p:cNvSpPr>
            <p:nvPr/>
          </p:nvSpPr>
          <p:spPr bwMode="auto">
            <a:xfrm>
              <a:off x="1731" y="4030"/>
              <a:ext cx="12" cy="7"/>
            </a:xfrm>
            <a:custGeom>
              <a:avLst/>
              <a:gdLst>
                <a:gd name="T0" fmla="*/ 0 w 5"/>
                <a:gd name="T1" fmla="*/ 2 h 3"/>
                <a:gd name="T2" fmla="*/ 3 w 5"/>
                <a:gd name="T3" fmla="*/ 3 h 3"/>
                <a:gd name="T4" fmla="*/ 4 w 5"/>
                <a:gd name="T5" fmla="*/ 0 h 3"/>
                <a:gd name="T6" fmla="*/ 4 w 5"/>
                <a:gd name="T7" fmla="*/ 2 h 3"/>
                <a:gd name="T8" fmla="*/ 0 w 5"/>
                <a:gd name="T9" fmla="*/ 2 h 3"/>
              </a:gdLst>
              <a:ahLst/>
              <a:cxnLst>
                <a:cxn ang="0">
                  <a:pos x="T0" y="T1"/>
                </a:cxn>
                <a:cxn ang="0">
                  <a:pos x="T2" y="T3"/>
                </a:cxn>
                <a:cxn ang="0">
                  <a:pos x="T4" y="T5"/>
                </a:cxn>
                <a:cxn ang="0">
                  <a:pos x="T6" y="T7"/>
                </a:cxn>
                <a:cxn ang="0">
                  <a:pos x="T8" y="T9"/>
                </a:cxn>
              </a:cxnLst>
              <a:rect l="0" t="0" r="r" b="b"/>
              <a:pathLst>
                <a:path w="5" h="3">
                  <a:moveTo>
                    <a:pt x="0" y="2"/>
                  </a:moveTo>
                  <a:cubicBezTo>
                    <a:pt x="1" y="3"/>
                    <a:pt x="2" y="3"/>
                    <a:pt x="3" y="3"/>
                  </a:cubicBezTo>
                  <a:cubicBezTo>
                    <a:pt x="5" y="3"/>
                    <a:pt x="4" y="2"/>
                    <a:pt x="4" y="0"/>
                  </a:cubicBezTo>
                  <a:cubicBezTo>
                    <a:pt x="3" y="1"/>
                    <a:pt x="3" y="2"/>
                    <a:pt x="4" y="2"/>
                  </a:cubicBezTo>
                  <a:cubicBezTo>
                    <a:pt x="2" y="2"/>
                    <a:pt x="1"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53" name="Freeform 1904">
              <a:extLst>
                <a:ext uri="{FF2B5EF4-FFF2-40B4-BE49-F238E27FC236}">
                  <a16:creationId xmlns:a16="http://schemas.microsoft.com/office/drawing/2014/main" id="{61D371A5-3A9F-44CE-BC05-ED3F59B16465}"/>
                </a:ext>
              </a:extLst>
            </p:cNvPr>
            <p:cNvSpPr>
              <a:spLocks/>
            </p:cNvSpPr>
            <p:nvPr/>
          </p:nvSpPr>
          <p:spPr bwMode="auto">
            <a:xfrm>
              <a:off x="1755" y="4149"/>
              <a:ext cx="9" cy="7"/>
            </a:xfrm>
            <a:custGeom>
              <a:avLst/>
              <a:gdLst>
                <a:gd name="T0" fmla="*/ 1 w 4"/>
                <a:gd name="T1" fmla="*/ 1 h 3"/>
                <a:gd name="T2" fmla="*/ 1 w 4"/>
                <a:gd name="T3" fmla="*/ 2 h 3"/>
                <a:gd name="T4" fmla="*/ 2 w 4"/>
                <a:gd name="T5" fmla="*/ 2 h 3"/>
                <a:gd name="T6" fmla="*/ 3 w 4"/>
                <a:gd name="T7" fmla="*/ 0 h 3"/>
                <a:gd name="T8" fmla="*/ 2 w 4"/>
                <a:gd name="T9" fmla="*/ 1 h 3"/>
                <a:gd name="T10" fmla="*/ 1 w 4"/>
                <a:gd name="T11" fmla="*/ 1 h 3"/>
              </a:gdLst>
              <a:ahLst/>
              <a:cxnLst>
                <a:cxn ang="0">
                  <a:pos x="T0" y="T1"/>
                </a:cxn>
                <a:cxn ang="0">
                  <a:pos x="T2" y="T3"/>
                </a:cxn>
                <a:cxn ang="0">
                  <a:pos x="T4" y="T5"/>
                </a:cxn>
                <a:cxn ang="0">
                  <a:pos x="T6" y="T7"/>
                </a:cxn>
                <a:cxn ang="0">
                  <a:pos x="T8" y="T9"/>
                </a:cxn>
                <a:cxn ang="0">
                  <a:pos x="T10" y="T11"/>
                </a:cxn>
              </a:cxnLst>
              <a:rect l="0" t="0" r="r" b="b"/>
              <a:pathLst>
                <a:path w="4" h="3">
                  <a:moveTo>
                    <a:pt x="1" y="1"/>
                  </a:moveTo>
                  <a:cubicBezTo>
                    <a:pt x="1" y="1"/>
                    <a:pt x="0" y="1"/>
                    <a:pt x="1" y="2"/>
                  </a:cubicBezTo>
                  <a:cubicBezTo>
                    <a:pt x="1" y="2"/>
                    <a:pt x="2" y="2"/>
                    <a:pt x="2" y="2"/>
                  </a:cubicBezTo>
                  <a:cubicBezTo>
                    <a:pt x="4" y="3"/>
                    <a:pt x="3" y="1"/>
                    <a:pt x="3" y="0"/>
                  </a:cubicBezTo>
                  <a:cubicBezTo>
                    <a:pt x="1" y="0"/>
                    <a:pt x="2" y="0"/>
                    <a:pt x="2" y="1"/>
                  </a:cubicBezTo>
                  <a:cubicBezTo>
                    <a:pt x="2" y="1"/>
                    <a:pt x="1" y="1"/>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54" name="Freeform 1905">
              <a:extLst>
                <a:ext uri="{FF2B5EF4-FFF2-40B4-BE49-F238E27FC236}">
                  <a16:creationId xmlns:a16="http://schemas.microsoft.com/office/drawing/2014/main" id="{A6C97CC3-0EF4-47DF-B9FD-A7BA703CB97C}"/>
                </a:ext>
              </a:extLst>
            </p:cNvPr>
            <p:cNvSpPr>
              <a:spLocks/>
            </p:cNvSpPr>
            <p:nvPr/>
          </p:nvSpPr>
          <p:spPr bwMode="auto">
            <a:xfrm>
              <a:off x="1731" y="4026"/>
              <a:ext cx="7" cy="4"/>
            </a:xfrm>
            <a:custGeom>
              <a:avLst/>
              <a:gdLst>
                <a:gd name="T0" fmla="*/ 0 w 3"/>
                <a:gd name="T1" fmla="*/ 1 h 2"/>
                <a:gd name="T2" fmla="*/ 1 w 3"/>
                <a:gd name="T3" fmla="*/ 2 h 2"/>
                <a:gd name="T4" fmla="*/ 2 w 3"/>
                <a:gd name="T5" fmla="*/ 1 h 2"/>
                <a:gd name="T6" fmla="*/ 0 w 3"/>
                <a:gd name="T7" fmla="*/ 1 h 2"/>
              </a:gdLst>
              <a:ahLst/>
              <a:cxnLst>
                <a:cxn ang="0">
                  <a:pos x="T0" y="T1"/>
                </a:cxn>
                <a:cxn ang="0">
                  <a:pos x="T2" y="T3"/>
                </a:cxn>
                <a:cxn ang="0">
                  <a:pos x="T4" y="T5"/>
                </a:cxn>
                <a:cxn ang="0">
                  <a:pos x="T6" y="T7"/>
                </a:cxn>
              </a:cxnLst>
              <a:rect l="0" t="0" r="r" b="b"/>
              <a:pathLst>
                <a:path w="3" h="2">
                  <a:moveTo>
                    <a:pt x="0" y="1"/>
                  </a:moveTo>
                  <a:cubicBezTo>
                    <a:pt x="0" y="1"/>
                    <a:pt x="0" y="2"/>
                    <a:pt x="1" y="2"/>
                  </a:cubicBezTo>
                  <a:cubicBezTo>
                    <a:pt x="2" y="2"/>
                    <a:pt x="3" y="1"/>
                    <a:pt x="2" y="1"/>
                  </a:cubicBezTo>
                  <a:cubicBezTo>
                    <a:pt x="1" y="0"/>
                    <a:pt x="1"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55" name="Freeform 1906">
              <a:extLst>
                <a:ext uri="{FF2B5EF4-FFF2-40B4-BE49-F238E27FC236}">
                  <a16:creationId xmlns:a16="http://schemas.microsoft.com/office/drawing/2014/main" id="{532E9D93-734B-4737-8B88-A4E25C4DB04C}"/>
                </a:ext>
              </a:extLst>
            </p:cNvPr>
            <p:cNvSpPr>
              <a:spLocks/>
            </p:cNvSpPr>
            <p:nvPr/>
          </p:nvSpPr>
          <p:spPr bwMode="auto">
            <a:xfrm>
              <a:off x="1762" y="4172"/>
              <a:ext cx="7" cy="12"/>
            </a:xfrm>
            <a:custGeom>
              <a:avLst/>
              <a:gdLst>
                <a:gd name="T0" fmla="*/ 3 w 3"/>
                <a:gd name="T1" fmla="*/ 4 h 5"/>
                <a:gd name="T2" fmla="*/ 3 w 3"/>
                <a:gd name="T3" fmla="*/ 3 h 5"/>
                <a:gd name="T4" fmla="*/ 3 w 3"/>
                <a:gd name="T5" fmla="*/ 2 h 5"/>
                <a:gd name="T6" fmla="*/ 0 w 3"/>
                <a:gd name="T7" fmla="*/ 3 h 5"/>
                <a:gd name="T8" fmla="*/ 1 w 3"/>
                <a:gd name="T9" fmla="*/ 3 h 5"/>
                <a:gd name="T10" fmla="*/ 1 w 3"/>
                <a:gd name="T11" fmla="*/ 5 h 5"/>
                <a:gd name="T12" fmla="*/ 3 w 3"/>
                <a:gd name="T13" fmla="*/ 4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3" y="4"/>
                  </a:moveTo>
                  <a:cubicBezTo>
                    <a:pt x="3" y="4"/>
                    <a:pt x="3" y="3"/>
                    <a:pt x="3" y="3"/>
                  </a:cubicBezTo>
                  <a:cubicBezTo>
                    <a:pt x="3" y="2"/>
                    <a:pt x="3" y="2"/>
                    <a:pt x="3" y="2"/>
                  </a:cubicBezTo>
                  <a:cubicBezTo>
                    <a:pt x="3" y="0"/>
                    <a:pt x="0" y="2"/>
                    <a:pt x="0" y="3"/>
                  </a:cubicBezTo>
                  <a:cubicBezTo>
                    <a:pt x="0" y="3"/>
                    <a:pt x="1" y="3"/>
                    <a:pt x="1" y="3"/>
                  </a:cubicBezTo>
                  <a:cubicBezTo>
                    <a:pt x="1" y="4"/>
                    <a:pt x="1" y="5"/>
                    <a:pt x="1" y="5"/>
                  </a:cubicBezTo>
                  <a:cubicBezTo>
                    <a:pt x="2" y="5"/>
                    <a:pt x="2" y="5"/>
                    <a:pt x="3"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56" name="Freeform 1907">
              <a:extLst>
                <a:ext uri="{FF2B5EF4-FFF2-40B4-BE49-F238E27FC236}">
                  <a16:creationId xmlns:a16="http://schemas.microsoft.com/office/drawing/2014/main" id="{C293AAE6-16B0-49B2-89CA-E30EF9F141E3}"/>
                </a:ext>
              </a:extLst>
            </p:cNvPr>
            <p:cNvSpPr>
              <a:spLocks/>
            </p:cNvSpPr>
            <p:nvPr/>
          </p:nvSpPr>
          <p:spPr bwMode="auto">
            <a:xfrm>
              <a:off x="1764" y="3936"/>
              <a:ext cx="2" cy="7"/>
            </a:xfrm>
            <a:custGeom>
              <a:avLst/>
              <a:gdLst>
                <a:gd name="T0" fmla="*/ 1 w 1"/>
                <a:gd name="T1" fmla="*/ 1 h 3"/>
                <a:gd name="T2" fmla="*/ 1 w 1"/>
                <a:gd name="T3" fmla="*/ 3 h 3"/>
                <a:gd name="T4" fmla="*/ 1 w 1"/>
                <a:gd name="T5" fmla="*/ 1 h 3"/>
              </a:gdLst>
              <a:ahLst/>
              <a:cxnLst>
                <a:cxn ang="0">
                  <a:pos x="T0" y="T1"/>
                </a:cxn>
                <a:cxn ang="0">
                  <a:pos x="T2" y="T3"/>
                </a:cxn>
                <a:cxn ang="0">
                  <a:pos x="T4" y="T5"/>
                </a:cxn>
              </a:cxnLst>
              <a:rect l="0" t="0" r="r" b="b"/>
              <a:pathLst>
                <a:path w="1" h="3">
                  <a:moveTo>
                    <a:pt x="1" y="1"/>
                  </a:moveTo>
                  <a:cubicBezTo>
                    <a:pt x="0" y="0"/>
                    <a:pt x="1" y="3"/>
                    <a:pt x="1" y="3"/>
                  </a:cubicBezTo>
                  <a:cubicBezTo>
                    <a:pt x="1" y="3"/>
                    <a:pt x="1" y="1"/>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57" name="Freeform 1908">
              <a:extLst>
                <a:ext uri="{FF2B5EF4-FFF2-40B4-BE49-F238E27FC236}">
                  <a16:creationId xmlns:a16="http://schemas.microsoft.com/office/drawing/2014/main" id="{E3BECDFC-BA8F-483D-8B00-C74FB2EF8A49}"/>
                </a:ext>
              </a:extLst>
            </p:cNvPr>
            <p:cNvSpPr>
              <a:spLocks/>
            </p:cNvSpPr>
            <p:nvPr/>
          </p:nvSpPr>
          <p:spPr bwMode="auto">
            <a:xfrm>
              <a:off x="1835" y="4257"/>
              <a:ext cx="19" cy="10"/>
            </a:xfrm>
            <a:custGeom>
              <a:avLst/>
              <a:gdLst>
                <a:gd name="T0" fmla="*/ 5 w 8"/>
                <a:gd name="T1" fmla="*/ 2 h 4"/>
                <a:gd name="T2" fmla="*/ 2 w 8"/>
                <a:gd name="T3" fmla="*/ 1 h 4"/>
                <a:gd name="T4" fmla="*/ 5 w 8"/>
                <a:gd name="T5" fmla="*/ 1 h 4"/>
                <a:gd name="T6" fmla="*/ 5 w 8"/>
                <a:gd name="T7" fmla="*/ 0 h 4"/>
                <a:gd name="T8" fmla="*/ 7 w 8"/>
                <a:gd name="T9" fmla="*/ 0 h 4"/>
                <a:gd name="T10" fmla="*/ 3 w 8"/>
                <a:gd name="T11" fmla="*/ 1 h 4"/>
                <a:gd name="T12" fmla="*/ 2 w 8"/>
                <a:gd name="T13" fmla="*/ 1 h 4"/>
                <a:gd name="T14" fmla="*/ 1 w 8"/>
                <a:gd name="T15" fmla="*/ 1 h 4"/>
                <a:gd name="T16" fmla="*/ 0 w 8"/>
                <a:gd name="T17" fmla="*/ 1 h 4"/>
                <a:gd name="T18" fmla="*/ 6 w 8"/>
                <a:gd name="T19" fmla="*/ 4 h 4"/>
                <a:gd name="T20" fmla="*/ 7 w 8"/>
                <a:gd name="T21" fmla="*/ 2 h 4"/>
                <a:gd name="T22" fmla="*/ 5 w 8"/>
                <a:gd name="T2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4">
                  <a:moveTo>
                    <a:pt x="5" y="2"/>
                  </a:moveTo>
                  <a:cubicBezTo>
                    <a:pt x="4" y="2"/>
                    <a:pt x="3" y="2"/>
                    <a:pt x="2" y="1"/>
                  </a:cubicBezTo>
                  <a:cubicBezTo>
                    <a:pt x="3" y="1"/>
                    <a:pt x="4" y="1"/>
                    <a:pt x="5" y="1"/>
                  </a:cubicBezTo>
                  <a:cubicBezTo>
                    <a:pt x="5" y="1"/>
                    <a:pt x="5" y="1"/>
                    <a:pt x="5" y="0"/>
                  </a:cubicBezTo>
                  <a:cubicBezTo>
                    <a:pt x="6" y="0"/>
                    <a:pt x="6" y="0"/>
                    <a:pt x="7" y="0"/>
                  </a:cubicBezTo>
                  <a:cubicBezTo>
                    <a:pt x="5" y="0"/>
                    <a:pt x="4" y="0"/>
                    <a:pt x="3" y="1"/>
                  </a:cubicBezTo>
                  <a:cubicBezTo>
                    <a:pt x="2" y="1"/>
                    <a:pt x="2" y="0"/>
                    <a:pt x="2" y="1"/>
                  </a:cubicBezTo>
                  <a:cubicBezTo>
                    <a:pt x="1" y="1"/>
                    <a:pt x="1" y="1"/>
                    <a:pt x="1" y="1"/>
                  </a:cubicBezTo>
                  <a:cubicBezTo>
                    <a:pt x="1" y="0"/>
                    <a:pt x="0" y="1"/>
                    <a:pt x="0" y="1"/>
                  </a:cubicBezTo>
                  <a:cubicBezTo>
                    <a:pt x="2" y="2"/>
                    <a:pt x="4" y="3"/>
                    <a:pt x="6" y="4"/>
                  </a:cubicBezTo>
                  <a:cubicBezTo>
                    <a:pt x="7" y="3"/>
                    <a:pt x="8" y="2"/>
                    <a:pt x="7" y="2"/>
                  </a:cubicBezTo>
                  <a:cubicBezTo>
                    <a:pt x="7" y="2"/>
                    <a:pt x="5" y="2"/>
                    <a:pt x="5"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58" name="Freeform 1909">
              <a:extLst>
                <a:ext uri="{FF2B5EF4-FFF2-40B4-BE49-F238E27FC236}">
                  <a16:creationId xmlns:a16="http://schemas.microsoft.com/office/drawing/2014/main" id="{2A8234CA-B823-43FA-9443-4D314BFB9689}"/>
                </a:ext>
              </a:extLst>
            </p:cNvPr>
            <p:cNvSpPr>
              <a:spLocks/>
            </p:cNvSpPr>
            <p:nvPr/>
          </p:nvSpPr>
          <p:spPr bwMode="auto">
            <a:xfrm>
              <a:off x="1826" y="4255"/>
              <a:ext cx="9" cy="5"/>
            </a:xfrm>
            <a:custGeom>
              <a:avLst/>
              <a:gdLst>
                <a:gd name="T0" fmla="*/ 4 w 4"/>
                <a:gd name="T1" fmla="*/ 1 h 2"/>
                <a:gd name="T2" fmla="*/ 1 w 4"/>
                <a:gd name="T3" fmla="*/ 0 h 2"/>
                <a:gd name="T4" fmla="*/ 0 w 4"/>
                <a:gd name="T5" fmla="*/ 2 h 2"/>
                <a:gd name="T6" fmla="*/ 1 w 4"/>
                <a:gd name="T7" fmla="*/ 0 h 2"/>
                <a:gd name="T8" fmla="*/ 3 w 4"/>
                <a:gd name="T9" fmla="*/ 1 h 2"/>
                <a:gd name="T10" fmla="*/ 3 w 4"/>
                <a:gd name="T11" fmla="*/ 2 h 2"/>
                <a:gd name="T12" fmla="*/ 3 w 4"/>
                <a:gd name="T13" fmla="*/ 1 h 2"/>
                <a:gd name="T14" fmla="*/ 4 w 4"/>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4" y="1"/>
                  </a:moveTo>
                  <a:cubicBezTo>
                    <a:pt x="3" y="0"/>
                    <a:pt x="2" y="0"/>
                    <a:pt x="1" y="0"/>
                  </a:cubicBezTo>
                  <a:cubicBezTo>
                    <a:pt x="0" y="0"/>
                    <a:pt x="0" y="0"/>
                    <a:pt x="0" y="2"/>
                  </a:cubicBezTo>
                  <a:cubicBezTo>
                    <a:pt x="1" y="1"/>
                    <a:pt x="1" y="0"/>
                    <a:pt x="1" y="0"/>
                  </a:cubicBezTo>
                  <a:cubicBezTo>
                    <a:pt x="1" y="0"/>
                    <a:pt x="3" y="1"/>
                    <a:pt x="3" y="1"/>
                  </a:cubicBezTo>
                  <a:cubicBezTo>
                    <a:pt x="3" y="1"/>
                    <a:pt x="3" y="1"/>
                    <a:pt x="3" y="2"/>
                  </a:cubicBezTo>
                  <a:cubicBezTo>
                    <a:pt x="3" y="2"/>
                    <a:pt x="3" y="1"/>
                    <a:pt x="3" y="1"/>
                  </a:cubicBezTo>
                  <a:cubicBezTo>
                    <a:pt x="4" y="1"/>
                    <a:pt x="4" y="1"/>
                    <a:pt x="4"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59" name="Freeform 1910">
              <a:extLst>
                <a:ext uri="{FF2B5EF4-FFF2-40B4-BE49-F238E27FC236}">
                  <a16:creationId xmlns:a16="http://schemas.microsoft.com/office/drawing/2014/main" id="{B5174379-1F39-47BF-88BC-DE8997C3B662}"/>
                </a:ext>
              </a:extLst>
            </p:cNvPr>
            <p:cNvSpPr>
              <a:spLocks/>
            </p:cNvSpPr>
            <p:nvPr/>
          </p:nvSpPr>
          <p:spPr bwMode="auto">
            <a:xfrm>
              <a:off x="1745" y="4108"/>
              <a:ext cx="14" cy="17"/>
            </a:xfrm>
            <a:custGeom>
              <a:avLst/>
              <a:gdLst>
                <a:gd name="T0" fmla="*/ 3 w 6"/>
                <a:gd name="T1" fmla="*/ 2 h 7"/>
                <a:gd name="T2" fmla="*/ 2 w 6"/>
                <a:gd name="T3" fmla="*/ 2 h 7"/>
                <a:gd name="T4" fmla="*/ 0 w 6"/>
                <a:gd name="T5" fmla="*/ 2 h 7"/>
                <a:gd name="T6" fmla="*/ 3 w 6"/>
                <a:gd name="T7" fmla="*/ 7 h 7"/>
                <a:gd name="T8" fmla="*/ 5 w 6"/>
                <a:gd name="T9" fmla="*/ 7 h 7"/>
                <a:gd name="T10" fmla="*/ 4 w 6"/>
                <a:gd name="T11" fmla="*/ 5 h 7"/>
                <a:gd name="T12" fmla="*/ 4 w 6"/>
                <a:gd name="T13" fmla="*/ 5 h 7"/>
                <a:gd name="T14" fmla="*/ 3 w 6"/>
                <a:gd name="T15" fmla="*/ 2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3" y="2"/>
                  </a:moveTo>
                  <a:cubicBezTo>
                    <a:pt x="3" y="2"/>
                    <a:pt x="4" y="2"/>
                    <a:pt x="2" y="2"/>
                  </a:cubicBezTo>
                  <a:cubicBezTo>
                    <a:pt x="2" y="2"/>
                    <a:pt x="0" y="0"/>
                    <a:pt x="0" y="2"/>
                  </a:cubicBezTo>
                  <a:cubicBezTo>
                    <a:pt x="1" y="3"/>
                    <a:pt x="2" y="6"/>
                    <a:pt x="3" y="7"/>
                  </a:cubicBezTo>
                  <a:cubicBezTo>
                    <a:pt x="3" y="7"/>
                    <a:pt x="5" y="6"/>
                    <a:pt x="5" y="7"/>
                  </a:cubicBezTo>
                  <a:cubicBezTo>
                    <a:pt x="6" y="6"/>
                    <a:pt x="4" y="5"/>
                    <a:pt x="4" y="5"/>
                  </a:cubicBezTo>
                  <a:cubicBezTo>
                    <a:pt x="4" y="5"/>
                    <a:pt x="4" y="5"/>
                    <a:pt x="4" y="5"/>
                  </a:cubicBezTo>
                  <a:cubicBezTo>
                    <a:pt x="4" y="4"/>
                    <a:pt x="4" y="3"/>
                    <a:pt x="3"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60" name="Freeform 1911">
              <a:extLst>
                <a:ext uri="{FF2B5EF4-FFF2-40B4-BE49-F238E27FC236}">
                  <a16:creationId xmlns:a16="http://schemas.microsoft.com/office/drawing/2014/main" id="{3989CF1C-C6BB-4E96-80C1-B2E8368DBB6F}"/>
                </a:ext>
              </a:extLst>
            </p:cNvPr>
            <p:cNvSpPr>
              <a:spLocks/>
            </p:cNvSpPr>
            <p:nvPr/>
          </p:nvSpPr>
          <p:spPr bwMode="auto">
            <a:xfrm>
              <a:off x="2329" y="2724"/>
              <a:ext cx="3" cy="3"/>
            </a:xfrm>
            <a:custGeom>
              <a:avLst/>
              <a:gdLst>
                <a:gd name="T0" fmla="*/ 1 w 1"/>
                <a:gd name="T1" fmla="*/ 0 h 1"/>
                <a:gd name="T2" fmla="*/ 0 w 1"/>
                <a:gd name="T3" fmla="*/ 1 h 1"/>
                <a:gd name="T4" fmla="*/ 1 w 1"/>
                <a:gd name="T5" fmla="*/ 0 h 1"/>
                <a:gd name="T6" fmla="*/ 1 w 1"/>
                <a:gd name="T7" fmla="*/ 0 h 1"/>
                <a:gd name="T8" fmla="*/ 1 w 1"/>
                <a:gd name="T9" fmla="*/ 0 h 1"/>
                <a:gd name="T10" fmla="*/ 1 w 1"/>
                <a:gd name="T11" fmla="*/ 0 h 1"/>
                <a:gd name="T12" fmla="*/ 1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cubicBezTo>
                    <a:pt x="0" y="1"/>
                    <a:pt x="0" y="1"/>
                    <a:pt x="0" y="1"/>
                  </a:cubicBezTo>
                  <a:cubicBezTo>
                    <a:pt x="0" y="1"/>
                    <a:pt x="1" y="0"/>
                    <a:pt x="1" y="0"/>
                  </a:cubicBezTo>
                  <a:cubicBezTo>
                    <a:pt x="1" y="0"/>
                    <a:pt x="1" y="0"/>
                    <a:pt x="1" y="0"/>
                  </a:cubicBezTo>
                  <a:cubicBezTo>
                    <a:pt x="1" y="0"/>
                    <a:pt x="1" y="0"/>
                    <a:pt x="1" y="0"/>
                  </a:cubicBezTo>
                  <a:cubicBezTo>
                    <a:pt x="1" y="0"/>
                    <a:pt x="1" y="0"/>
                    <a:pt x="1" y="0"/>
                  </a:cubicBezTo>
                  <a:cubicBezTo>
                    <a:pt x="1" y="0"/>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61" name="Freeform 1912">
              <a:extLst>
                <a:ext uri="{FF2B5EF4-FFF2-40B4-BE49-F238E27FC236}">
                  <a16:creationId xmlns:a16="http://schemas.microsoft.com/office/drawing/2014/main" id="{E9848AF2-113B-4BFA-ACB5-7D223C17C120}"/>
                </a:ext>
              </a:extLst>
            </p:cNvPr>
            <p:cNvSpPr>
              <a:spLocks/>
            </p:cNvSpPr>
            <p:nvPr/>
          </p:nvSpPr>
          <p:spPr bwMode="auto">
            <a:xfrm>
              <a:off x="2317" y="2779"/>
              <a:ext cx="10" cy="4"/>
            </a:xfrm>
            <a:custGeom>
              <a:avLst/>
              <a:gdLst>
                <a:gd name="T0" fmla="*/ 2 w 4"/>
                <a:gd name="T1" fmla="*/ 1 h 2"/>
                <a:gd name="T2" fmla="*/ 4 w 4"/>
                <a:gd name="T3" fmla="*/ 0 h 2"/>
                <a:gd name="T4" fmla="*/ 3 w 4"/>
                <a:gd name="T5" fmla="*/ 0 h 2"/>
                <a:gd name="T6" fmla="*/ 1 w 4"/>
                <a:gd name="T7" fmla="*/ 0 h 2"/>
                <a:gd name="T8" fmla="*/ 0 w 4"/>
                <a:gd name="T9" fmla="*/ 1 h 2"/>
                <a:gd name="T10" fmla="*/ 1 w 4"/>
                <a:gd name="T11" fmla="*/ 2 h 2"/>
                <a:gd name="T12" fmla="*/ 1 w 4"/>
                <a:gd name="T13" fmla="*/ 2 h 2"/>
                <a:gd name="T14" fmla="*/ 2 w 4"/>
                <a:gd name="T15" fmla="*/ 2 h 2"/>
                <a:gd name="T16" fmla="*/ 2 w 4"/>
                <a:gd name="T17" fmla="*/ 2 h 2"/>
                <a:gd name="T18" fmla="*/ 2 w 4"/>
                <a:gd name="T1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2">
                  <a:moveTo>
                    <a:pt x="2" y="1"/>
                  </a:moveTo>
                  <a:cubicBezTo>
                    <a:pt x="3" y="1"/>
                    <a:pt x="4" y="0"/>
                    <a:pt x="4" y="0"/>
                  </a:cubicBezTo>
                  <a:cubicBezTo>
                    <a:pt x="4" y="0"/>
                    <a:pt x="3" y="0"/>
                    <a:pt x="3" y="0"/>
                  </a:cubicBezTo>
                  <a:cubicBezTo>
                    <a:pt x="2" y="0"/>
                    <a:pt x="2" y="0"/>
                    <a:pt x="1" y="0"/>
                  </a:cubicBezTo>
                  <a:cubicBezTo>
                    <a:pt x="1" y="0"/>
                    <a:pt x="0" y="0"/>
                    <a:pt x="0" y="1"/>
                  </a:cubicBezTo>
                  <a:cubicBezTo>
                    <a:pt x="0" y="2"/>
                    <a:pt x="0" y="2"/>
                    <a:pt x="1" y="2"/>
                  </a:cubicBezTo>
                  <a:cubicBezTo>
                    <a:pt x="1" y="2"/>
                    <a:pt x="1" y="2"/>
                    <a:pt x="1" y="2"/>
                  </a:cubicBezTo>
                  <a:cubicBezTo>
                    <a:pt x="2" y="2"/>
                    <a:pt x="2" y="2"/>
                    <a:pt x="2" y="2"/>
                  </a:cubicBezTo>
                  <a:cubicBezTo>
                    <a:pt x="2" y="2"/>
                    <a:pt x="2" y="2"/>
                    <a:pt x="2" y="2"/>
                  </a:cubicBezTo>
                  <a:cubicBezTo>
                    <a:pt x="2" y="2"/>
                    <a:pt x="2" y="2"/>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62" name="Freeform 1913">
              <a:extLst>
                <a:ext uri="{FF2B5EF4-FFF2-40B4-BE49-F238E27FC236}">
                  <a16:creationId xmlns:a16="http://schemas.microsoft.com/office/drawing/2014/main" id="{C2D92756-5126-4A65-89D9-E12EB57334E8}"/>
                </a:ext>
              </a:extLst>
            </p:cNvPr>
            <p:cNvSpPr>
              <a:spLocks/>
            </p:cNvSpPr>
            <p:nvPr/>
          </p:nvSpPr>
          <p:spPr bwMode="auto">
            <a:xfrm>
              <a:off x="2332" y="2767"/>
              <a:ext cx="21" cy="9"/>
            </a:xfrm>
            <a:custGeom>
              <a:avLst/>
              <a:gdLst>
                <a:gd name="T0" fmla="*/ 5 w 9"/>
                <a:gd name="T1" fmla="*/ 1 h 4"/>
                <a:gd name="T2" fmla="*/ 4 w 9"/>
                <a:gd name="T3" fmla="*/ 1 h 4"/>
                <a:gd name="T4" fmla="*/ 3 w 9"/>
                <a:gd name="T5" fmla="*/ 2 h 4"/>
                <a:gd name="T6" fmla="*/ 2 w 9"/>
                <a:gd name="T7" fmla="*/ 2 h 4"/>
                <a:gd name="T8" fmla="*/ 1 w 9"/>
                <a:gd name="T9" fmla="*/ 2 h 4"/>
                <a:gd name="T10" fmla="*/ 1 w 9"/>
                <a:gd name="T11" fmla="*/ 4 h 4"/>
                <a:gd name="T12" fmla="*/ 3 w 9"/>
                <a:gd name="T13" fmla="*/ 4 h 4"/>
                <a:gd name="T14" fmla="*/ 5 w 9"/>
                <a:gd name="T15" fmla="*/ 4 h 4"/>
                <a:gd name="T16" fmla="*/ 5 w 9"/>
                <a:gd name="T17" fmla="*/ 4 h 4"/>
                <a:gd name="T18" fmla="*/ 6 w 9"/>
                <a:gd name="T19" fmla="*/ 4 h 4"/>
                <a:gd name="T20" fmla="*/ 6 w 9"/>
                <a:gd name="T21" fmla="*/ 3 h 4"/>
                <a:gd name="T22" fmla="*/ 7 w 9"/>
                <a:gd name="T23" fmla="*/ 3 h 4"/>
                <a:gd name="T24" fmla="*/ 8 w 9"/>
                <a:gd name="T25" fmla="*/ 2 h 4"/>
                <a:gd name="T26" fmla="*/ 5 w 9"/>
                <a:gd name="T2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4">
                  <a:moveTo>
                    <a:pt x="5" y="1"/>
                  </a:moveTo>
                  <a:cubicBezTo>
                    <a:pt x="4" y="1"/>
                    <a:pt x="4" y="1"/>
                    <a:pt x="4" y="1"/>
                  </a:cubicBezTo>
                  <a:cubicBezTo>
                    <a:pt x="4" y="1"/>
                    <a:pt x="4" y="2"/>
                    <a:pt x="3" y="2"/>
                  </a:cubicBezTo>
                  <a:cubicBezTo>
                    <a:pt x="3" y="2"/>
                    <a:pt x="2" y="2"/>
                    <a:pt x="2" y="2"/>
                  </a:cubicBezTo>
                  <a:cubicBezTo>
                    <a:pt x="1" y="2"/>
                    <a:pt x="1" y="2"/>
                    <a:pt x="1" y="2"/>
                  </a:cubicBezTo>
                  <a:cubicBezTo>
                    <a:pt x="0" y="3"/>
                    <a:pt x="0" y="4"/>
                    <a:pt x="1" y="4"/>
                  </a:cubicBezTo>
                  <a:cubicBezTo>
                    <a:pt x="1" y="4"/>
                    <a:pt x="2" y="4"/>
                    <a:pt x="3" y="4"/>
                  </a:cubicBezTo>
                  <a:cubicBezTo>
                    <a:pt x="4" y="4"/>
                    <a:pt x="5" y="4"/>
                    <a:pt x="5" y="4"/>
                  </a:cubicBezTo>
                  <a:cubicBezTo>
                    <a:pt x="5" y="4"/>
                    <a:pt x="5" y="4"/>
                    <a:pt x="5" y="4"/>
                  </a:cubicBezTo>
                  <a:cubicBezTo>
                    <a:pt x="5" y="4"/>
                    <a:pt x="6" y="4"/>
                    <a:pt x="6" y="4"/>
                  </a:cubicBezTo>
                  <a:cubicBezTo>
                    <a:pt x="6" y="3"/>
                    <a:pt x="6" y="3"/>
                    <a:pt x="6" y="3"/>
                  </a:cubicBezTo>
                  <a:cubicBezTo>
                    <a:pt x="6" y="3"/>
                    <a:pt x="7" y="3"/>
                    <a:pt x="7" y="3"/>
                  </a:cubicBezTo>
                  <a:cubicBezTo>
                    <a:pt x="7" y="2"/>
                    <a:pt x="8" y="2"/>
                    <a:pt x="8" y="2"/>
                  </a:cubicBezTo>
                  <a:cubicBezTo>
                    <a:pt x="9" y="0"/>
                    <a:pt x="5" y="1"/>
                    <a:pt x="5"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63" name="Freeform 1914">
              <a:extLst>
                <a:ext uri="{FF2B5EF4-FFF2-40B4-BE49-F238E27FC236}">
                  <a16:creationId xmlns:a16="http://schemas.microsoft.com/office/drawing/2014/main" id="{13CA814D-7AFA-4FEA-AA3F-1B89FB058ACB}"/>
                </a:ext>
              </a:extLst>
            </p:cNvPr>
            <p:cNvSpPr>
              <a:spLocks/>
            </p:cNvSpPr>
            <p:nvPr/>
          </p:nvSpPr>
          <p:spPr bwMode="auto">
            <a:xfrm>
              <a:off x="1979" y="4248"/>
              <a:ext cx="29" cy="9"/>
            </a:xfrm>
            <a:custGeom>
              <a:avLst/>
              <a:gdLst>
                <a:gd name="T0" fmla="*/ 3 w 12"/>
                <a:gd name="T1" fmla="*/ 4 h 4"/>
                <a:gd name="T2" fmla="*/ 12 w 12"/>
                <a:gd name="T3" fmla="*/ 1 h 4"/>
                <a:gd name="T4" fmla="*/ 3 w 12"/>
                <a:gd name="T5" fmla="*/ 4 h 4"/>
              </a:gdLst>
              <a:ahLst/>
              <a:cxnLst>
                <a:cxn ang="0">
                  <a:pos x="T0" y="T1"/>
                </a:cxn>
                <a:cxn ang="0">
                  <a:pos x="T2" y="T3"/>
                </a:cxn>
                <a:cxn ang="0">
                  <a:pos x="T4" y="T5"/>
                </a:cxn>
              </a:cxnLst>
              <a:rect l="0" t="0" r="r" b="b"/>
              <a:pathLst>
                <a:path w="12" h="4">
                  <a:moveTo>
                    <a:pt x="3" y="4"/>
                  </a:moveTo>
                  <a:cubicBezTo>
                    <a:pt x="6" y="3"/>
                    <a:pt x="9" y="2"/>
                    <a:pt x="12" y="1"/>
                  </a:cubicBezTo>
                  <a:cubicBezTo>
                    <a:pt x="11" y="1"/>
                    <a:pt x="0" y="0"/>
                    <a:pt x="3"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64" name="Freeform 1915">
              <a:extLst>
                <a:ext uri="{FF2B5EF4-FFF2-40B4-BE49-F238E27FC236}">
                  <a16:creationId xmlns:a16="http://schemas.microsoft.com/office/drawing/2014/main" id="{35F17D12-1FE5-4BDB-9062-C0E9DEC24D51}"/>
                </a:ext>
              </a:extLst>
            </p:cNvPr>
            <p:cNvSpPr>
              <a:spLocks/>
            </p:cNvSpPr>
            <p:nvPr/>
          </p:nvSpPr>
          <p:spPr bwMode="auto">
            <a:xfrm>
              <a:off x="2050" y="3772"/>
              <a:ext cx="5" cy="5"/>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cubicBezTo>
                    <a:pt x="0" y="1"/>
                    <a:pt x="1" y="1"/>
                    <a:pt x="2" y="2"/>
                  </a:cubicBezTo>
                  <a:cubicBezTo>
                    <a:pt x="2" y="0"/>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65" name="Freeform 1916">
              <a:extLst>
                <a:ext uri="{FF2B5EF4-FFF2-40B4-BE49-F238E27FC236}">
                  <a16:creationId xmlns:a16="http://schemas.microsoft.com/office/drawing/2014/main" id="{5EE834E9-1F7C-4A05-A893-4F9B16773BBC}"/>
                </a:ext>
              </a:extLst>
            </p:cNvPr>
            <p:cNvSpPr>
              <a:spLocks/>
            </p:cNvSpPr>
            <p:nvPr/>
          </p:nvSpPr>
          <p:spPr bwMode="auto">
            <a:xfrm>
              <a:off x="2107" y="4137"/>
              <a:ext cx="52" cy="35"/>
            </a:xfrm>
            <a:custGeom>
              <a:avLst/>
              <a:gdLst>
                <a:gd name="T0" fmla="*/ 16 w 22"/>
                <a:gd name="T1" fmla="*/ 4 h 15"/>
                <a:gd name="T2" fmla="*/ 19 w 22"/>
                <a:gd name="T3" fmla="*/ 3 h 15"/>
                <a:gd name="T4" fmla="*/ 15 w 22"/>
                <a:gd name="T5" fmla="*/ 2 h 15"/>
                <a:gd name="T6" fmla="*/ 15 w 22"/>
                <a:gd name="T7" fmla="*/ 6 h 15"/>
                <a:gd name="T8" fmla="*/ 14 w 22"/>
                <a:gd name="T9" fmla="*/ 5 h 15"/>
                <a:gd name="T10" fmla="*/ 14 w 22"/>
                <a:gd name="T11" fmla="*/ 5 h 15"/>
                <a:gd name="T12" fmla="*/ 13 w 22"/>
                <a:gd name="T13" fmla="*/ 4 h 15"/>
                <a:gd name="T14" fmla="*/ 13 w 22"/>
                <a:gd name="T15" fmla="*/ 3 h 15"/>
                <a:gd name="T16" fmla="*/ 12 w 22"/>
                <a:gd name="T17" fmla="*/ 3 h 15"/>
                <a:gd name="T18" fmla="*/ 12 w 22"/>
                <a:gd name="T19" fmla="*/ 3 h 15"/>
                <a:gd name="T20" fmla="*/ 14 w 22"/>
                <a:gd name="T21" fmla="*/ 2 h 15"/>
                <a:gd name="T22" fmla="*/ 12 w 22"/>
                <a:gd name="T23" fmla="*/ 1 h 15"/>
                <a:gd name="T24" fmla="*/ 8 w 22"/>
                <a:gd name="T25" fmla="*/ 0 h 15"/>
                <a:gd name="T26" fmla="*/ 6 w 22"/>
                <a:gd name="T27" fmla="*/ 2 h 15"/>
                <a:gd name="T28" fmla="*/ 7 w 22"/>
                <a:gd name="T29" fmla="*/ 5 h 15"/>
                <a:gd name="T30" fmla="*/ 6 w 22"/>
                <a:gd name="T31" fmla="*/ 4 h 15"/>
                <a:gd name="T32" fmla="*/ 7 w 22"/>
                <a:gd name="T33" fmla="*/ 6 h 15"/>
                <a:gd name="T34" fmla="*/ 7 w 22"/>
                <a:gd name="T35" fmla="*/ 8 h 15"/>
                <a:gd name="T36" fmla="*/ 5 w 22"/>
                <a:gd name="T37" fmla="*/ 7 h 15"/>
                <a:gd name="T38" fmla="*/ 0 w 22"/>
                <a:gd name="T39" fmla="*/ 12 h 15"/>
                <a:gd name="T40" fmla="*/ 1 w 22"/>
                <a:gd name="T41" fmla="*/ 13 h 15"/>
                <a:gd name="T42" fmla="*/ 1 w 22"/>
                <a:gd name="T43" fmla="*/ 13 h 15"/>
                <a:gd name="T44" fmla="*/ 2 w 22"/>
                <a:gd name="T45" fmla="*/ 14 h 15"/>
                <a:gd name="T46" fmla="*/ 2 w 22"/>
                <a:gd name="T47" fmla="*/ 14 h 15"/>
                <a:gd name="T48" fmla="*/ 4 w 22"/>
                <a:gd name="T49" fmla="*/ 15 h 15"/>
                <a:gd name="T50" fmla="*/ 3 w 22"/>
                <a:gd name="T51" fmla="*/ 12 h 15"/>
                <a:gd name="T52" fmla="*/ 4 w 22"/>
                <a:gd name="T53" fmla="*/ 13 h 15"/>
                <a:gd name="T54" fmla="*/ 6 w 22"/>
                <a:gd name="T55" fmla="*/ 13 h 15"/>
                <a:gd name="T56" fmla="*/ 4 w 22"/>
                <a:gd name="T57" fmla="*/ 11 h 15"/>
                <a:gd name="T58" fmla="*/ 7 w 22"/>
                <a:gd name="T59" fmla="*/ 11 h 15"/>
                <a:gd name="T60" fmla="*/ 9 w 22"/>
                <a:gd name="T61" fmla="*/ 12 h 15"/>
                <a:gd name="T62" fmla="*/ 10 w 22"/>
                <a:gd name="T63" fmla="*/ 11 h 15"/>
                <a:gd name="T64" fmla="*/ 11 w 22"/>
                <a:gd name="T65" fmla="*/ 12 h 15"/>
                <a:gd name="T66" fmla="*/ 11 w 22"/>
                <a:gd name="T67" fmla="*/ 11 h 15"/>
                <a:gd name="T68" fmla="*/ 8 w 22"/>
                <a:gd name="T69" fmla="*/ 9 h 15"/>
                <a:gd name="T70" fmla="*/ 8 w 22"/>
                <a:gd name="T71" fmla="*/ 8 h 15"/>
                <a:gd name="T72" fmla="*/ 10 w 22"/>
                <a:gd name="T73" fmla="*/ 9 h 15"/>
                <a:gd name="T74" fmla="*/ 11 w 22"/>
                <a:gd name="T75" fmla="*/ 9 h 15"/>
                <a:gd name="T76" fmla="*/ 13 w 22"/>
                <a:gd name="T77" fmla="*/ 9 h 15"/>
                <a:gd name="T78" fmla="*/ 14 w 22"/>
                <a:gd name="T79" fmla="*/ 9 h 15"/>
                <a:gd name="T80" fmla="*/ 16 w 22"/>
                <a:gd name="T81" fmla="*/ 7 h 15"/>
                <a:gd name="T82" fmla="*/ 20 w 22"/>
                <a:gd name="T83" fmla="*/ 6 h 15"/>
                <a:gd name="T84" fmla="*/ 16 w 22"/>
                <a:gd name="T85"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 h="15">
                  <a:moveTo>
                    <a:pt x="16" y="4"/>
                  </a:moveTo>
                  <a:cubicBezTo>
                    <a:pt x="16" y="3"/>
                    <a:pt x="22" y="6"/>
                    <a:pt x="19" y="3"/>
                  </a:cubicBezTo>
                  <a:cubicBezTo>
                    <a:pt x="18" y="2"/>
                    <a:pt x="16" y="2"/>
                    <a:pt x="15" y="2"/>
                  </a:cubicBezTo>
                  <a:cubicBezTo>
                    <a:pt x="13" y="3"/>
                    <a:pt x="16" y="5"/>
                    <a:pt x="15" y="6"/>
                  </a:cubicBezTo>
                  <a:cubicBezTo>
                    <a:pt x="15" y="5"/>
                    <a:pt x="15" y="5"/>
                    <a:pt x="14" y="5"/>
                  </a:cubicBezTo>
                  <a:cubicBezTo>
                    <a:pt x="14" y="4"/>
                    <a:pt x="14" y="5"/>
                    <a:pt x="14" y="5"/>
                  </a:cubicBezTo>
                  <a:cubicBezTo>
                    <a:pt x="14" y="4"/>
                    <a:pt x="13" y="4"/>
                    <a:pt x="13" y="4"/>
                  </a:cubicBezTo>
                  <a:cubicBezTo>
                    <a:pt x="13" y="4"/>
                    <a:pt x="13" y="3"/>
                    <a:pt x="13" y="3"/>
                  </a:cubicBezTo>
                  <a:cubicBezTo>
                    <a:pt x="13" y="3"/>
                    <a:pt x="12" y="4"/>
                    <a:pt x="12" y="3"/>
                  </a:cubicBezTo>
                  <a:cubicBezTo>
                    <a:pt x="12" y="3"/>
                    <a:pt x="12" y="3"/>
                    <a:pt x="12" y="3"/>
                  </a:cubicBezTo>
                  <a:cubicBezTo>
                    <a:pt x="13" y="2"/>
                    <a:pt x="15" y="4"/>
                    <a:pt x="14" y="2"/>
                  </a:cubicBezTo>
                  <a:cubicBezTo>
                    <a:pt x="13" y="1"/>
                    <a:pt x="13" y="1"/>
                    <a:pt x="12" y="1"/>
                  </a:cubicBezTo>
                  <a:cubicBezTo>
                    <a:pt x="11" y="1"/>
                    <a:pt x="9" y="2"/>
                    <a:pt x="8" y="0"/>
                  </a:cubicBezTo>
                  <a:cubicBezTo>
                    <a:pt x="9" y="2"/>
                    <a:pt x="9" y="2"/>
                    <a:pt x="6" y="2"/>
                  </a:cubicBezTo>
                  <a:cubicBezTo>
                    <a:pt x="7" y="3"/>
                    <a:pt x="8" y="4"/>
                    <a:pt x="7" y="5"/>
                  </a:cubicBezTo>
                  <a:cubicBezTo>
                    <a:pt x="7" y="4"/>
                    <a:pt x="6" y="4"/>
                    <a:pt x="6" y="4"/>
                  </a:cubicBezTo>
                  <a:cubicBezTo>
                    <a:pt x="6" y="6"/>
                    <a:pt x="7" y="5"/>
                    <a:pt x="7" y="6"/>
                  </a:cubicBezTo>
                  <a:cubicBezTo>
                    <a:pt x="8" y="6"/>
                    <a:pt x="7" y="7"/>
                    <a:pt x="7" y="8"/>
                  </a:cubicBezTo>
                  <a:cubicBezTo>
                    <a:pt x="7" y="7"/>
                    <a:pt x="7" y="6"/>
                    <a:pt x="5" y="7"/>
                  </a:cubicBezTo>
                  <a:cubicBezTo>
                    <a:pt x="3" y="7"/>
                    <a:pt x="1" y="10"/>
                    <a:pt x="0" y="12"/>
                  </a:cubicBezTo>
                  <a:cubicBezTo>
                    <a:pt x="0" y="12"/>
                    <a:pt x="1" y="13"/>
                    <a:pt x="1" y="13"/>
                  </a:cubicBezTo>
                  <a:cubicBezTo>
                    <a:pt x="1" y="13"/>
                    <a:pt x="1" y="13"/>
                    <a:pt x="1" y="13"/>
                  </a:cubicBezTo>
                  <a:cubicBezTo>
                    <a:pt x="2" y="13"/>
                    <a:pt x="1" y="14"/>
                    <a:pt x="2" y="14"/>
                  </a:cubicBezTo>
                  <a:cubicBezTo>
                    <a:pt x="2" y="14"/>
                    <a:pt x="2" y="14"/>
                    <a:pt x="2" y="14"/>
                  </a:cubicBezTo>
                  <a:cubicBezTo>
                    <a:pt x="3" y="14"/>
                    <a:pt x="3" y="15"/>
                    <a:pt x="4" y="15"/>
                  </a:cubicBezTo>
                  <a:cubicBezTo>
                    <a:pt x="4" y="14"/>
                    <a:pt x="3" y="13"/>
                    <a:pt x="3" y="12"/>
                  </a:cubicBezTo>
                  <a:cubicBezTo>
                    <a:pt x="3" y="12"/>
                    <a:pt x="4" y="12"/>
                    <a:pt x="4" y="13"/>
                  </a:cubicBezTo>
                  <a:cubicBezTo>
                    <a:pt x="5" y="13"/>
                    <a:pt x="5" y="13"/>
                    <a:pt x="6" y="13"/>
                  </a:cubicBezTo>
                  <a:cubicBezTo>
                    <a:pt x="8" y="14"/>
                    <a:pt x="6" y="11"/>
                    <a:pt x="4" y="11"/>
                  </a:cubicBezTo>
                  <a:cubicBezTo>
                    <a:pt x="5" y="10"/>
                    <a:pt x="6" y="10"/>
                    <a:pt x="7" y="11"/>
                  </a:cubicBezTo>
                  <a:cubicBezTo>
                    <a:pt x="8" y="11"/>
                    <a:pt x="8" y="12"/>
                    <a:pt x="9" y="12"/>
                  </a:cubicBezTo>
                  <a:cubicBezTo>
                    <a:pt x="9" y="11"/>
                    <a:pt x="9" y="11"/>
                    <a:pt x="10" y="11"/>
                  </a:cubicBezTo>
                  <a:cubicBezTo>
                    <a:pt x="10" y="11"/>
                    <a:pt x="11" y="12"/>
                    <a:pt x="11" y="12"/>
                  </a:cubicBezTo>
                  <a:cubicBezTo>
                    <a:pt x="11" y="12"/>
                    <a:pt x="11" y="11"/>
                    <a:pt x="11" y="11"/>
                  </a:cubicBezTo>
                  <a:cubicBezTo>
                    <a:pt x="10" y="10"/>
                    <a:pt x="9" y="10"/>
                    <a:pt x="8" y="9"/>
                  </a:cubicBezTo>
                  <a:cubicBezTo>
                    <a:pt x="8" y="8"/>
                    <a:pt x="7" y="8"/>
                    <a:pt x="8" y="8"/>
                  </a:cubicBezTo>
                  <a:cubicBezTo>
                    <a:pt x="9" y="8"/>
                    <a:pt x="9" y="9"/>
                    <a:pt x="10" y="9"/>
                  </a:cubicBezTo>
                  <a:cubicBezTo>
                    <a:pt x="10" y="9"/>
                    <a:pt x="10" y="9"/>
                    <a:pt x="11" y="9"/>
                  </a:cubicBezTo>
                  <a:cubicBezTo>
                    <a:pt x="11" y="9"/>
                    <a:pt x="12" y="9"/>
                    <a:pt x="13" y="9"/>
                  </a:cubicBezTo>
                  <a:cubicBezTo>
                    <a:pt x="13" y="9"/>
                    <a:pt x="14" y="9"/>
                    <a:pt x="14" y="9"/>
                  </a:cubicBezTo>
                  <a:cubicBezTo>
                    <a:pt x="15" y="8"/>
                    <a:pt x="16" y="7"/>
                    <a:pt x="16" y="7"/>
                  </a:cubicBezTo>
                  <a:cubicBezTo>
                    <a:pt x="17" y="7"/>
                    <a:pt x="19" y="7"/>
                    <a:pt x="20" y="6"/>
                  </a:cubicBezTo>
                  <a:cubicBezTo>
                    <a:pt x="19" y="5"/>
                    <a:pt x="16" y="5"/>
                    <a:pt x="16"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66" name="Freeform 1917">
              <a:extLst>
                <a:ext uri="{FF2B5EF4-FFF2-40B4-BE49-F238E27FC236}">
                  <a16:creationId xmlns:a16="http://schemas.microsoft.com/office/drawing/2014/main" id="{84C5CAE7-EDC3-44CA-94E5-B69F0C68ED02}"/>
                </a:ext>
              </a:extLst>
            </p:cNvPr>
            <p:cNvSpPr>
              <a:spLocks/>
            </p:cNvSpPr>
            <p:nvPr/>
          </p:nvSpPr>
          <p:spPr bwMode="auto">
            <a:xfrm>
              <a:off x="2071" y="4153"/>
              <a:ext cx="10" cy="7"/>
            </a:xfrm>
            <a:custGeom>
              <a:avLst/>
              <a:gdLst>
                <a:gd name="T0" fmla="*/ 3 w 4"/>
                <a:gd name="T1" fmla="*/ 1 h 3"/>
                <a:gd name="T2" fmla="*/ 2 w 4"/>
                <a:gd name="T3" fmla="*/ 0 h 3"/>
                <a:gd name="T4" fmla="*/ 1 w 4"/>
                <a:gd name="T5" fmla="*/ 1 h 3"/>
                <a:gd name="T6" fmla="*/ 0 w 4"/>
                <a:gd name="T7" fmla="*/ 1 h 3"/>
                <a:gd name="T8" fmla="*/ 2 w 4"/>
                <a:gd name="T9" fmla="*/ 3 h 3"/>
                <a:gd name="T10" fmla="*/ 3 w 4"/>
                <a:gd name="T11" fmla="*/ 1 h 3"/>
              </a:gdLst>
              <a:ahLst/>
              <a:cxnLst>
                <a:cxn ang="0">
                  <a:pos x="T0" y="T1"/>
                </a:cxn>
                <a:cxn ang="0">
                  <a:pos x="T2" y="T3"/>
                </a:cxn>
                <a:cxn ang="0">
                  <a:pos x="T4" y="T5"/>
                </a:cxn>
                <a:cxn ang="0">
                  <a:pos x="T6" y="T7"/>
                </a:cxn>
                <a:cxn ang="0">
                  <a:pos x="T8" y="T9"/>
                </a:cxn>
                <a:cxn ang="0">
                  <a:pos x="T10" y="T11"/>
                </a:cxn>
              </a:cxnLst>
              <a:rect l="0" t="0" r="r" b="b"/>
              <a:pathLst>
                <a:path w="4" h="3">
                  <a:moveTo>
                    <a:pt x="3" y="1"/>
                  </a:moveTo>
                  <a:cubicBezTo>
                    <a:pt x="3" y="1"/>
                    <a:pt x="4" y="0"/>
                    <a:pt x="2" y="0"/>
                  </a:cubicBezTo>
                  <a:cubicBezTo>
                    <a:pt x="2" y="0"/>
                    <a:pt x="1" y="1"/>
                    <a:pt x="1" y="1"/>
                  </a:cubicBezTo>
                  <a:cubicBezTo>
                    <a:pt x="1" y="1"/>
                    <a:pt x="0" y="1"/>
                    <a:pt x="0" y="1"/>
                  </a:cubicBezTo>
                  <a:cubicBezTo>
                    <a:pt x="1" y="2"/>
                    <a:pt x="1" y="2"/>
                    <a:pt x="2" y="3"/>
                  </a:cubicBezTo>
                  <a:cubicBezTo>
                    <a:pt x="3" y="3"/>
                    <a:pt x="3" y="2"/>
                    <a:pt x="3"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67" name="Freeform 1918">
              <a:extLst>
                <a:ext uri="{FF2B5EF4-FFF2-40B4-BE49-F238E27FC236}">
                  <a16:creationId xmlns:a16="http://schemas.microsoft.com/office/drawing/2014/main" id="{7E2171EA-4467-40CF-B04A-3AC7F0C320E5}"/>
                </a:ext>
              </a:extLst>
            </p:cNvPr>
            <p:cNvSpPr>
              <a:spLocks/>
            </p:cNvSpPr>
            <p:nvPr/>
          </p:nvSpPr>
          <p:spPr bwMode="auto">
            <a:xfrm>
              <a:off x="2076" y="4139"/>
              <a:ext cx="43" cy="31"/>
            </a:xfrm>
            <a:custGeom>
              <a:avLst/>
              <a:gdLst>
                <a:gd name="T0" fmla="*/ 15 w 18"/>
                <a:gd name="T1" fmla="*/ 5 h 13"/>
                <a:gd name="T2" fmla="*/ 15 w 18"/>
                <a:gd name="T3" fmla="*/ 4 h 13"/>
                <a:gd name="T4" fmla="*/ 16 w 18"/>
                <a:gd name="T5" fmla="*/ 4 h 13"/>
                <a:gd name="T6" fmla="*/ 17 w 18"/>
                <a:gd name="T7" fmla="*/ 3 h 13"/>
                <a:gd name="T8" fmla="*/ 18 w 18"/>
                <a:gd name="T9" fmla="*/ 1 h 13"/>
                <a:gd name="T10" fmla="*/ 16 w 18"/>
                <a:gd name="T11" fmla="*/ 1 h 13"/>
                <a:gd name="T12" fmla="*/ 13 w 18"/>
                <a:gd name="T13" fmla="*/ 2 h 13"/>
                <a:gd name="T14" fmla="*/ 12 w 18"/>
                <a:gd name="T15" fmla="*/ 1 h 13"/>
                <a:gd name="T16" fmla="*/ 10 w 18"/>
                <a:gd name="T17" fmla="*/ 1 h 13"/>
                <a:gd name="T18" fmla="*/ 7 w 18"/>
                <a:gd name="T19" fmla="*/ 2 h 13"/>
                <a:gd name="T20" fmla="*/ 4 w 18"/>
                <a:gd name="T21" fmla="*/ 1 h 13"/>
                <a:gd name="T22" fmla="*/ 6 w 18"/>
                <a:gd name="T23" fmla="*/ 2 h 13"/>
                <a:gd name="T24" fmla="*/ 5 w 18"/>
                <a:gd name="T25" fmla="*/ 3 h 13"/>
                <a:gd name="T26" fmla="*/ 9 w 18"/>
                <a:gd name="T27" fmla="*/ 5 h 13"/>
                <a:gd name="T28" fmla="*/ 6 w 18"/>
                <a:gd name="T29" fmla="*/ 5 h 13"/>
                <a:gd name="T30" fmla="*/ 4 w 18"/>
                <a:gd name="T31" fmla="*/ 5 h 13"/>
                <a:gd name="T32" fmla="*/ 5 w 18"/>
                <a:gd name="T33" fmla="*/ 7 h 13"/>
                <a:gd name="T34" fmla="*/ 8 w 18"/>
                <a:gd name="T35" fmla="*/ 5 h 13"/>
                <a:gd name="T36" fmla="*/ 6 w 18"/>
                <a:gd name="T37" fmla="*/ 7 h 13"/>
                <a:gd name="T38" fmla="*/ 6 w 18"/>
                <a:gd name="T39" fmla="*/ 6 h 13"/>
                <a:gd name="T40" fmla="*/ 4 w 18"/>
                <a:gd name="T41" fmla="*/ 8 h 13"/>
                <a:gd name="T42" fmla="*/ 6 w 18"/>
                <a:gd name="T43" fmla="*/ 8 h 13"/>
                <a:gd name="T44" fmla="*/ 3 w 18"/>
                <a:gd name="T45" fmla="*/ 9 h 13"/>
                <a:gd name="T46" fmla="*/ 1 w 18"/>
                <a:gd name="T47" fmla="*/ 10 h 13"/>
                <a:gd name="T48" fmla="*/ 0 w 18"/>
                <a:gd name="T49" fmla="*/ 10 h 13"/>
                <a:gd name="T50" fmla="*/ 4 w 18"/>
                <a:gd name="T51" fmla="*/ 13 h 13"/>
                <a:gd name="T52" fmla="*/ 5 w 18"/>
                <a:gd name="T53" fmla="*/ 11 h 13"/>
                <a:gd name="T54" fmla="*/ 7 w 18"/>
                <a:gd name="T55" fmla="*/ 11 h 13"/>
                <a:gd name="T56" fmla="*/ 8 w 18"/>
                <a:gd name="T57" fmla="*/ 9 h 13"/>
                <a:gd name="T58" fmla="*/ 9 w 18"/>
                <a:gd name="T59" fmla="*/ 9 h 13"/>
                <a:gd name="T60" fmla="*/ 9 w 18"/>
                <a:gd name="T61" fmla="*/ 9 h 13"/>
                <a:gd name="T62" fmla="*/ 11 w 18"/>
                <a:gd name="T63" fmla="*/ 9 h 13"/>
                <a:gd name="T64" fmla="*/ 13 w 18"/>
                <a:gd name="T65" fmla="*/ 6 h 13"/>
                <a:gd name="T66" fmla="*/ 15 w 18"/>
                <a:gd name="T67"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13">
                  <a:moveTo>
                    <a:pt x="15" y="5"/>
                  </a:moveTo>
                  <a:cubicBezTo>
                    <a:pt x="15" y="5"/>
                    <a:pt x="15" y="5"/>
                    <a:pt x="15" y="4"/>
                  </a:cubicBezTo>
                  <a:cubicBezTo>
                    <a:pt x="16" y="4"/>
                    <a:pt x="16" y="4"/>
                    <a:pt x="16" y="4"/>
                  </a:cubicBezTo>
                  <a:cubicBezTo>
                    <a:pt x="17" y="4"/>
                    <a:pt x="16" y="3"/>
                    <a:pt x="17" y="3"/>
                  </a:cubicBezTo>
                  <a:cubicBezTo>
                    <a:pt x="17" y="2"/>
                    <a:pt x="18" y="2"/>
                    <a:pt x="18" y="1"/>
                  </a:cubicBezTo>
                  <a:cubicBezTo>
                    <a:pt x="17" y="1"/>
                    <a:pt x="16" y="0"/>
                    <a:pt x="16" y="1"/>
                  </a:cubicBezTo>
                  <a:cubicBezTo>
                    <a:pt x="15" y="1"/>
                    <a:pt x="14" y="2"/>
                    <a:pt x="13" y="2"/>
                  </a:cubicBezTo>
                  <a:cubicBezTo>
                    <a:pt x="12" y="2"/>
                    <a:pt x="12" y="2"/>
                    <a:pt x="12" y="1"/>
                  </a:cubicBezTo>
                  <a:cubicBezTo>
                    <a:pt x="11" y="1"/>
                    <a:pt x="11" y="1"/>
                    <a:pt x="10" y="1"/>
                  </a:cubicBezTo>
                  <a:cubicBezTo>
                    <a:pt x="9" y="1"/>
                    <a:pt x="8" y="3"/>
                    <a:pt x="7" y="2"/>
                  </a:cubicBezTo>
                  <a:cubicBezTo>
                    <a:pt x="6" y="1"/>
                    <a:pt x="5" y="1"/>
                    <a:pt x="4" y="1"/>
                  </a:cubicBezTo>
                  <a:cubicBezTo>
                    <a:pt x="4" y="2"/>
                    <a:pt x="5" y="2"/>
                    <a:pt x="6" y="2"/>
                  </a:cubicBezTo>
                  <a:cubicBezTo>
                    <a:pt x="6" y="2"/>
                    <a:pt x="5" y="3"/>
                    <a:pt x="5" y="3"/>
                  </a:cubicBezTo>
                  <a:cubicBezTo>
                    <a:pt x="6" y="4"/>
                    <a:pt x="8" y="4"/>
                    <a:pt x="9" y="5"/>
                  </a:cubicBezTo>
                  <a:cubicBezTo>
                    <a:pt x="8" y="5"/>
                    <a:pt x="7" y="5"/>
                    <a:pt x="6" y="5"/>
                  </a:cubicBezTo>
                  <a:cubicBezTo>
                    <a:pt x="5" y="5"/>
                    <a:pt x="5" y="6"/>
                    <a:pt x="4" y="5"/>
                  </a:cubicBezTo>
                  <a:cubicBezTo>
                    <a:pt x="4" y="6"/>
                    <a:pt x="4" y="6"/>
                    <a:pt x="5" y="7"/>
                  </a:cubicBezTo>
                  <a:cubicBezTo>
                    <a:pt x="5" y="6"/>
                    <a:pt x="7" y="5"/>
                    <a:pt x="8" y="5"/>
                  </a:cubicBezTo>
                  <a:cubicBezTo>
                    <a:pt x="8" y="6"/>
                    <a:pt x="7" y="6"/>
                    <a:pt x="6" y="7"/>
                  </a:cubicBezTo>
                  <a:cubicBezTo>
                    <a:pt x="6" y="7"/>
                    <a:pt x="6" y="6"/>
                    <a:pt x="6" y="6"/>
                  </a:cubicBezTo>
                  <a:cubicBezTo>
                    <a:pt x="5" y="6"/>
                    <a:pt x="5" y="8"/>
                    <a:pt x="4" y="8"/>
                  </a:cubicBezTo>
                  <a:cubicBezTo>
                    <a:pt x="5" y="9"/>
                    <a:pt x="5" y="9"/>
                    <a:pt x="6" y="8"/>
                  </a:cubicBezTo>
                  <a:cubicBezTo>
                    <a:pt x="4" y="9"/>
                    <a:pt x="4" y="9"/>
                    <a:pt x="3" y="9"/>
                  </a:cubicBezTo>
                  <a:cubicBezTo>
                    <a:pt x="2" y="9"/>
                    <a:pt x="2" y="9"/>
                    <a:pt x="1" y="10"/>
                  </a:cubicBezTo>
                  <a:cubicBezTo>
                    <a:pt x="0" y="10"/>
                    <a:pt x="0" y="10"/>
                    <a:pt x="0" y="10"/>
                  </a:cubicBezTo>
                  <a:cubicBezTo>
                    <a:pt x="1" y="11"/>
                    <a:pt x="2" y="12"/>
                    <a:pt x="4" y="13"/>
                  </a:cubicBezTo>
                  <a:cubicBezTo>
                    <a:pt x="5" y="12"/>
                    <a:pt x="5" y="12"/>
                    <a:pt x="5" y="11"/>
                  </a:cubicBezTo>
                  <a:cubicBezTo>
                    <a:pt x="5" y="12"/>
                    <a:pt x="6" y="12"/>
                    <a:pt x="7" y="11"/>
                  </a:cubicBezTo>
                  <a:cubicBezTo>
                    <a:pt x="8" y="10"/>
                    <a:pt x="7" y="9"/>
                    <a:pt x="8" y="9"/>
                  </a:cubicBezTo>
                  <a:cubicBezTo>
                    <a:pt x="8" y="9"/>
                    <a:pt x="9" y="10"/>
                    <a:pt x="9" y="9"/>
                  </a:cubicBezTo>
                  <a:cubicBezTo>
                    <a:pt x="9" y="9"/>
                    <a:pt x="9" y="9"/>
                    <a:pt x="9" y="9"/>
                  </a:cubicBezTo>
                  <a:cubicBezTo>
                    <a:pt x="10" y="9"/>
                    <a:pt x="10" y="9"/>
                    <a:pt x="11" y="9"/>
                  </a:cubicBezTo>
                  <a:cubicBezTo>
                    <a:pt x="12" y="9"/>
                    <a:pt x="13" y="7"/>
                    <a:pt x="13" y="6"/>
                  </a:cubicBezTo>
                  <a:cubicBezTo>
                    <a:pt x="14" y="6"/>
                    <a:pt x="14" y="5"/>
                    <a:pt x="15"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68" name="Freeform 1919">
              <a:extLst>
                <a:ext uri="{FF2B5EF4-FFF2-40B4-BE49-F238E27FC236}">
                  <a16:creationId xmlns:a16="http://schemas.microsoft.com/office/drawing/2014/main" id="{23D66517-26AC-4727-8003-80435495BEE5}"/>
                </a:ext>
              </a:extLst>
            </p:cNvPr>
            <p:cNvSpPr>
              <a:spLocks/>
            </p:cNvSpPr>
            <p:nvPr/>
          </p:nvSpPr>
          <p:spPr bwMode="auto">
            <a:xfrm>
              <a:off x="1424" y="2334"/>
              <a:ext cx="4" cy="7"/>
            </a:xfrm>
            <a:custGeom>
              <a:avLst/>
              <a:gdLst>
                <a:gd name="T0" fmla="*/ 2 w 2"/>
                <a:gd name="T1" fmla="*/ 0 h 3"/>
                <a:gd name="T2" fmla="*/ 2 w 2"/>
                <a:gd name="T3" fmla="*/ 0 h 3"/>
                <a:gd name="T4" fmla="*/ 2 w 2"/>
                <a:gd name="T5" fmla="*/ 0 h 3"/>
                <a:gd name="T6" fmla="*/ 0 w 2"/>
                <a:gd name="T7" fmla="*/ 3 h 3"/>
                <a:gd name="T8" fmla="*/ 0 w 2"/>
                <a:gd name="T9" fmla="*/ 2 h 3"/>
                <a:gd name="T10" fmla="*/ 1 w 2"/>
                <a:gd name="T11" fmla="*/ 2 h 3"/>
                <a:gd name="T12" fmla="*/ 1 w 2"/>
                <a:gd name="T13" fmla="*/ 2 h 3"/>
                <a:gd name="T14" fmla="*/ 2 w 2"/>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2" y="0"/>
                  </a:moveTo>
                  <a:cubicBezTo>
                    <a:pt x="2" y="0"/>
                    <a:pt x="2" y="0"/>
                    <a:pt x="2" y="0"/>
                  </a:cubicBezTo>
                  <a:cubicBezTo>
                    <a:pt x="2" y="0"/>
                    <a:pt x="2" y="0"/>
                    <a:pt x="2" y="0"/>
                  </a:cubicBezTo>
                  <a:cubicBezTo>
                    <a:pt x="1" y="1"/>
                    <a:pt x="0" y="2"/>
                    <a:pt x="0" y="3"/>
                  </a:cubicBezTo>
                  <a:cubicBezTo>
                    <a:pt x="0" y="3"/>
                    <a:pt x="0" y="3"/>
                    <a:pt x="0" y="2"/>
                  </a:cubicBezTo>
                  <a:cubicBezTo>
                    <a:pt x="0" y="2"/>
                    <a:pt x="1" y="2"/>
                    <a:pt x="1" y="2"/>
                  </a:cubicBezTo>
                  <a:cubicBezTo>
                    <a:pt x="1" y="2"/>
                    <a:pt x="1" y="2"/>
                    <a:pt x="1" y="2"/>
                  </a:cubicBezTo>
                  <a:cubicBezTo>
                    <a:pt x="1" y="1"/>
                    <a:pt x="2" y="1"/>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69" name="Freeform 1920">
              <a:extLst>
                <a:ext uri="{FF2B5EF4-FFF2-40B4-BE49-F238E27FC236}">
                  <a16:creationId xmlns:a16="http://schemas.microsoft.com/office/drawing/2014/main" id="{5C785CE3-6CBD-479F-B5C4-ECE0109A71C6}"/>
                </a:ext>
              </a:extLst>
            </p:cNvPr>
            <p:cNvSpPr>
              <a:spLocks/>
            </p:cNvSpPr>
            <p:nvPr/>
          </p:nvSpPr>
          <p:spPr bwMode="auto">
            <a:xfrm>
              <a:off x="2452" y="3361"/>
              <a:ext cx="5" cy="7"/>
            </a:xfrm>
            <a:custGeom>
              <a:avLst/>
              <a:gdLst>
                <a:gd name="T0" fmla="*/ 2 w 2"/>
                <a:gd name="T1" fmla="*/ 0 h 3"/>
                <a:gd name="T2" fmla="*/ 1 w 2"/>
                <a:gd name="T3" fmla="*/ 0 h 3"/>
                <a:gd name="T4" fmla="*/ 1 w 2"/>
                <a:gd name="T5" fmla="*/ 0 h 3"/>
                <a:gd name="T6" fmla="*/ 1 w 2"/>
                <a:gd name="T7" fmla="*/ 0 h 3"/>
                <a:gd name="T8" fmla="*/ 1 w 2"/>
                <a:gd name="T9" fmla="*/ 0 h 3"/>
                <a:gd name="T10" fmla="*/ 0 w 2"/>
                <a:gd name="T11" fmla="*/ 2 h 3"/>
                <a:gd name="T12" fmla="*/ 0 w 2"/>
                <a:gd name="T13" fmla="*/ 2 h 3"/>
                <a:gd name="T14" fmla="*/ 1 w 2"/>
                <a:gd name="T15" fmla="*/ 3 h 3"/>
                <a:gd name="T16" fmla="*/ 2 w 2"/>
                <a:gd name="T17" fmla="*/ 3 h 3"/>
                <a:gd name="T18" fmla="*/ 2 w 2"/>
                <a:gd name="T19" fmla="*/ 3 h 3"/>
                <a:gd name="T20" fmla="*/ 2 w 2"/>
                <a:gd name="T21" fmla="*/ 3 h 3"/>
                <a:gd name="T22" fmla="*/ 2 w 2"/>
                <a:gd name="T23" fmla="*/ 3 h 3"/>
                <a:gd name="T24" fmla="*/ 2 w 2"/>
                <a:gd name="T25" fmla="*/ 1 h 3"/>
                <a:gd name="T26" fmla="*/ 2 w 2"/>
                <a:gd name="T27" fmla="*/ 1 h 3"/>
                <a:gd name="T28" fmla="*/ 2 w 2"/>
                <a:gd name="T29" fmla="*/ 1 h 3"/>
                <a:gd name="T30" fmla="*/ 2 w 2"/>
                <a:gd name="T3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 h="3">
                  <a:moveTo>
                    <a:pt x="2" y="0"/>
                  </a:moveTo>
                  <a:cubicBezTo>
                    <a:pt x="2" y="0"/>
                    <a:pt x="2" y="0"/>
                    <a:pt x="1" y="0"/>
                  </a:cubicBezTo>
                  <a:cubicBezTo>
                    <a:pt x="1" y="0"/>
                    <a:pt x="1" y="0"/>
                    <a:pt x="1" y="0"/>
                  </a:cubicBezTo>
                  <a:cubicBezTo>
                    <a:pt x="1" y="0"/>
                    <a:pt x="1" y="0"/>
                    <a:pt x="1" y="0"/>
                  </a:cubicBezTo>
                  <a:cubicBezTo>
                    <a:pt x="1" y="0"/>
                    <a:pt x="1" y="0"/>
                    <a:pt x="1" y="0"/>
                  </a:cubicBezTo>
                  <a:cubicBezTo>
                    <a:pt x="1" y="1"/>
                    <a:pt x="0" y="1"/>
                    <a:pt x="0" y="2"/>
                  </a:cubicBezTo>
                  <a:cubicBezTo>
                    <a:pt x="0" y="2"/>
                    <a:pt x="0" y="2"/>
                    <a:pt x="0" y="2"/>
                  </a:cubicBezTo>
                  <a:cubicBezTo>
                    <a:pt x="0" y="2"/>
                    <a:pt x="0" y="2"/>
                    <a:pt x="1" y="3"/>
                  </a:cubicBezTo>
                  <a:cubicBezTo>
                    <a:pt x="1" y="3"/>
                    <a:pt x="1" y="3"/>
                    <a:pt x="2" y="3"/>
                  </a:cubicBezTo>
                  <a:cubicBezTo>
                    <a:pt x="2" y="3"/>
                    <a:pt x="2" y="3"/>
                    <a:pt x="2" y="3"/>
                  </a:cubicBezTo>
                  <a:cubicBezTo>
                    <a:pt x="2" y="3"/>
                    <a:pt x="2" y="3"/>
                    <a:pt x="2" y="3"/>
                  </a:cubicBezTo>
                  <a:cubicBezTo>
                    <a:pt x="2" y="3"/>
                    <a:pt x="2" y="3"/>
                    <a:pt x="2" y="3"/>
                  </a:cubicBezTo>
                  <a:cubicBezTo>
                    <a:pt x="1" y="2"/>
                    <a:pt x="2" y="2"/>
                    <a:pt x="2" y="1"/>
                  </a:cubicBezTo>
                  <a:cubicBezTo>
                    <a:pt x="2" y="1"/>
                    <a:pt x="2" y="1"/>
                    <a:pt x="2" y="1"/>
                  </a:cubicBezTo>
                  <a:cubicBezTo>
                    <a:pt x="2" y="1"/>
                    <a:pt x="2" y="1"/>
                    <a:pt x="2" y="1"/>
                  </a:cubicBezTo>
                  <a:cubicBezTo>
                    <a:pt x="2" y="1"/>
                    <a:pt x="2" y="0"/>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70" name="Freeform 1921">
              <a:extLst>
                <a:ext uri="{FF2B5EF4-FFF2-40B4-BE49-F238E27FC236}">
                  <a16:creationId xmlns:a16="http://schemas.microsoft.com/office/drawing/2014/main" id="{5DD2A869-0D73-427C-A28B-CA82E642334F}"/>
                </a:ext>
              </a:extLst>
            </p:cNvPr>
            <p:cNvSpPr>
              <a:spLocks/>
            </p:cNvSpPr>
            <p:nvPr/>
          </p:nvSpPr>
          <p:spPr bwMode="auto">
            <a:xfrm>
              <a:off x="2336" y="2755"/>
              <a:ext cx="5" cy="5"/>
            </a:xfrm>
            <a:custGeom>
              <a:avLst/>
              <a:gdLst>
                <a:gd name="T0" fmla="*/ 2 w 2"/>
                <a:gd name="T1" fmla="*/ 1 h 2"/>
                <a:gd name="T2" fmla="*/ 2 w 2"/>
                <a:gd name="T3" fmla="*/ 1 h 2"/>
                <a:gd name="T4" fmla="*/ 2 w 2"/>
                <a:gd name="T5" fmla="*/ 0 h 2"/>
                <a:gd name="T6" fmla="*/ 0 w 2"/>
                <a:gd name="T7" fmla="*/ 2 h 2"/>
                <a:gd name="T8" fmla="*/ 1 w 2"/>
                <a:gd name="T9" fmla="*/ 2 h 2"/>
                <a:gd name="T10" fmla="*/ 2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2" y="1"/>
                  </a:moveTo>
                  <a:cubicBezTo>
                    <a:pt x="2" y="1"/>
                    <a:pt x="2" y="1"/>
                    <a:pt x="2" y="1"/>
                  </a:cubicBezTo>
                  <a:cubicBezTo>
                    <a:pt x="2" y="1"/>
                    <a:pt x="2" y="0"/>
                    <a:pt x="2" y="0"/>
                  </a:cubicBezTo>
                  <a:cubicBezTo>
                    <a:pt x="1" y="1"/>
                    <a:pt x="0" y="1"/>
                    <a:pt x="0" y="2"/>
                  </a:cubicBezTo>
                  <a:cubicBezTo>
                    <a:pt x="0" y="2"/>
                    <a:pt x="0" y="2"/>
                    <a:pt x="1" y="2"/>
                  </a:cubicBezTo>
                  <a:cubicBezTo>
                    <a:pt x="1" y="2"/>
                    <a:pt x="2"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71" name="Freeform 1922">
              <a:extLst>
                <a:ext uri="{FF2B5EF4-FFF2-40B4-BE49-F238E27FC236}">
                  <a16:creationId xmlns:a16="http://schemas.microsoft.com/office/drawing/2014/main" id="{39D9EA59-03DC-468E-93AE-22F2A7DB9270}"/>
                </a:ext>
              </a:extLst>
            </p:cNvPr>
            <p:cNvSpPr>
              <a:spLocks/>
            </p:cNvSpPr>
            <p:nvPr/>
          </p:nvSpPr>
          <p:spPr bwMode="auto">
            <a:xfrm>
              <a:off x="2334" y="2762"/>
              <a:ext cx="7" cy="7"/>
            </a:xfrm>
            <a:custGeom>
              <a:avLst/>
              <a:gdLst>
                <a:gd name="T0" fmla="*/ 1 w 3"/>
                <a:gd name="T1" fmla="*/ 1 h 3"/>
                <a:gd name="T2" fmla="*/ 0 w 3"/>
                <a:gd name="T3" fmla="*/ 1 h 3"/>
                <a:gd name="T4" fmla="*/ 1 w 3"/>
                <a:gd name="T5" fmla="*/ 3 h 3"/>
                <a:gd name="T6" fmla="*/ 3 w 3"/>
                <a:gd name="T7" fmla="*/ 1 h 3"/>
                <a:gd name="T8" fmla="*/ 3 w 3"/>
                <a:gd name="T9" fmla="*/ 1 h 3"/>
                <a:gd name="T10" fmla="*/ 3 w 3"/>
                <a:gd name="T11" fmla="*/ 0 h 3"/>
                <a:gd name="T12" fmla="*/ 3 w 3"/>
                <a:gd name="T13" fmla="*/ 0 h 3"/>
                <a:gd name="T14" fmla="*/ 3 w 3"/>
                <a:gd name="T15" fmla="*/ 0 h 3"/>
                <a:gd name="T16" fmla="*/ 2 w 3"/>
                <a:gd name="T17" fmla="*/ 0 h 3"/>
                <a:gd name="T18" fmla="*/ 2 w 3"/>
                <a:gd name="T19" fmla="*/ 0 h 3"/>
                <a:gd name="T20" fmla="*/ 2 w 3"/>
                <a:gd name="T21" fmla="*/ 0 h 3"/>
                <a:gd name="T22" fmla="*/ 1 w 3"/>
                <a:gd name="T23" fmla="*/ 1 h 3"/>
                <a:gd name="T24" fmla="*/ 1 w 3"/>
                <a:gd name="T25"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3">
                  <a:moveTo>
                    <a:pt x="1" y="1"/>
                  </a:moveTo>
                  <a:cubicBezTo>
                    <a:pt x="0" y="1"/>
                    <a:pt x="0" y="1"/>
                    <a:pt x="0" y="1"/>
                  </a:cubicBezTo>
                  <a:cubicBezTo>
                    <a:pt x="0" y="2"/>
                    <a:pt x="0" y="2"/>
                    <a:pt x="1" y="3"/>
                  </a:cubicBezTo>
                  <a:cubicBezTo>
                    <a:pt x="1" y="3"/>
                    <a:pt x="3" y="1"/>
                    <a:pt x="3" y="1"/>
                  </a:cubicBezTo>
                  <a:cubicBezTo>
                    <a:pt x="3" y="1"/>
                    <a:pt x="3" y="1"/>
                    <a:pt x="3" y="1"/>
                  </a:cubicBezTo>
                  <a:cubicBezTo>
                    <a:pt x="3" y="1"/>
                    <a:pt x="3" y="1"/>
                    <a:pt x="3" y="0"/>
                  </a:cubicBezTo>
                  <a:cubicBezTo>
                    <a:pt x="3" y="0"/>
                    <a:pt x="3" y="0"/>
                    <a:pt x="3" y="0"/>
                  </a:cubicBezTo>
                  <a:cubicBezTo>
                    <a:pt x="3" y="0"/>
                    <a:pt x="3" y="0"/>
                    <a:pt x="3" y="0"/>
                  </a:cubicBezTo>
                  <a:cubicBezTo>
                    <a:pt x="3" y="0"/>
                    <a:pt x="3" y="0"/>
                    <a:pt x="2" y="0"/>
                  </a:cubicBezTo>
                  <a:cubicBezTo>
                    <a:pt x="2" y="0"/>
                    <a:pt x="2" y="0"/>
                    <a:pt x="2" y="0"/>
                  </a:cubicBezTo>
                  <a:cubicBezTo>
                    <a:pt x="2" y="0"/>
                    <a:pt x="2" y="0"/>
                    <a:pt x="2" y="0"/>
                  </a:cubicBezTo>
                  <a:cubicBezTo>
                    <a:pt x="2" y="0"/>
                    <a:pt x="1" y="0"/>
                    <a:pt x="1" y="1"/>
                  </a:cubicBezTo>
                  <a:cubicBezTo>
                    <a:pt x="1" y="1"/>
                    <a:pt x="1" y="1"/>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72" name="Freeform 1923">
              <a:extLst>
                <a:ext uri="{FF2B5EF4-FFF2-40B4-BE49-F238E27FC236}">
                  <a16:creationId xmlns:a16="http://schemas.microsoft.com/office/drawing/2014/main" id="{AF497447-6894-4E3C-91FA-8E4E020A5626}"/>
                </a:ext>
              </a:extLst>
            </p:cNvPr>
            <p:cNvSpPr>
              <a:spLocks/>
            </p:cNvSpPr>
            <p:nvPr/>
          </p:nvSpPr>
          <p:spPr bwMode="auto">
            <a:xfrm>
              <a:off x="2327" y="2772"/>
              <a:ext cx="5" cy="4"/>
            </a:xfrm>
            <a:custGeom>
              <a:avLst/>
              <a:gdLst>
                <a:gd name="T0" fmla="*/ 1 w 2"/>
                <a:gd name="T1" fmla="*/ 1 h 2"/>
                <a:gd name="T2" fmla="*/ 0 w 2"/>
                <a:gd name="T3" fmla="*/ 0 h 2"/>
                <a:gd name="T4" fmla="*/ 0 w 2"/>
                <a:gd name="T5" fmla="*/ 2 h 2"/>
                <a:gd name="T6" fmla="*/ 0 w 2"/>
                <a:gd name="T7" fmla="*/ 2 h 2"/>
                <a:gd name="T8" fmla="*/ 2 w 2"/>
                <a:gd name="T9" fmla="*/ 2 h 2"/>
                <a:gd name="T10" fmla="*/ 1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1" y="1"/>
                  </a:moveTo>
                  <a:cubicBezTo>
                    <a:pt x="1" y="1"/>
                    <a:pt x="1" y="1"/>
                    <a:pt x="0" y="0"/>
                  </a:cubicBezTo>
                  <a:cubicBezTo>
                    <a:pt x="0" y="1"/>
                    <a:pt x="0" y="2"/>
                    <a:pt x="0" y="2"/>
                  </a:cubicBezTo>
                  <a:cubicBezTo>
                    <a:pt x="0" y="2"/>
                    <a:pt x="0" y="2"/>
                    <a:pt x="0" y="2"/>
                  </a:cubicBezTo>
                  <a:cubicBezTo>
                    <a:pt x="1" y="2"/>
                    <a:pt x="1" y="2"/>
                    <a:pt x="2" y="2"/>
                  </a:cubicBezTo>
                  <a:cubicBezTo>
                    <a:pt x="2" y="2"/>
                    <a:pt x="2" y="1"/>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73" name="Freeform 1924">
              <a:extLst>
                <a:ext uri="{FF2B5EF4-FFF2-40B4-BE49-F238E27FC236}">
                  <a16:creationId xmlns:a16="http://schemas.microsoft.com/office/drawing/2014/main" id="{22D8B53B-AB63-4D56-939C-19FC2BEFE8F7}"/>
                </a:ext>
              </a:extLst>
            </p:cNvPr>
            <p:cNvSpPr>
              <a:spLocks/>
            </p:cNvSpPr>
            <p:nvPr/>
          </p:nvSpPr>
          <p:spPr bwMode="auto">
            <a:xfrm>
              <a:off x="2329" y="2762"/>
              <a:ext cx="5" cy="12"/>
            </a:xfrm>
            <a:custGeom>
              <a:avLst/>
              <a:gdLst>
                <a:gd name="T0" fmla="*/ 2 w 2"/>
                <a:gd name="T1" fmla="*/ 3 h 5"/>
                <a:gd name="T2" fmla="*/ 2 w 2"/>
                <a:gd name="T3" fmla="*/ 3 h 5"/>
                <a:gd name="T4" fmla="*/ 2 w 2"/>
                <a:gd name="T5" fmla="*/ 3 h 5"/>
                <a:gd name="T6" fmla="*/ 2 w 2"/>
                <a:gd name="T7" fmla="*/ 2 h 5"/>
                <a:gd name="T8" fmla="*/ 2 w 2"/>
                <a:gd name="T9" fmla="*/ 0 h 5"/>
                <a:gd name="T10" fmla="*/ 2 w 2"/>
                <a:gd name="T11" fmla="*/ 0 h 5"/>
                <a:gd name="T12" fmla="*/ 1 w 2"/>
                <a:gd name="T13" fmla="*/ 0 h 5"/>
                <a:gd name="T14" fmla="*/ 1 w 2"/>
                <a:gd name="T15" fmla="*/ 0 h 5"/>
                <a:gd name="T16" fmla="*/ 1 w 2"/>
                <a:gd name="T17" fmla="*/ 1 h 5"/>
                <a:gd name="T18" fmla="*/ 1 w 2"/>
                <a:gd name="T19" fmla="*/ 1 h 5"/>
                <a:gd name="T20" fmla="*/ 1 w 2"/>
                <a:gd name="T21" fmla="*/ 2 h 5"/>
                <a:gd name="T22" fmla="*/ 1 w 2"/>
                <a:gd name="T23" fmla="*/ 5 h 5"/>
                <a:gd name="T24" fmla="*/ 2 w 2"/>
                <a:gd name="T25" fmla="*/ 4 h 5"/>
                <a:gd name="T26" fmla="*/ 2 w 2"/>
                <a:gd name="T2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5">
                  <a:moveTo>
                    <a:pt x="2" y="3"/>
                  </a:moveTo>
                  <a:cubicBezTo>
                    <a:pt x="2" y="3"/>
                    <a:pt x="2" y="3"/>
                    <a:pt x="2" y="3"/>
                  </a:cubicBezTo>
                  <a:cubicBezTo>
                    <a:pt x="2" y="3"/>
                    <a:pt x="2" y="3"/>
                    <a:pt x="2" y="3"/>
                  </a:cubicBezTo>
                  <a:cubicBezTo>
                    <a:pt x="2" y="3"/>
                    <a:pt x="2" y="2"/>
                    <a:pt x="2" y="2"/>
                  </a:cubicBezTo>
                  <a:cubicBezTo>
                    <a:pt x="2" y="2"/>
                    <a:pt x="2" y="1"/>
                    <a:pt x="2" y="0"/>
                  </a:cubicBezTo>
                  <a:cubicBezTo>
                    <a:pt x="2" y="0"/>
                    <a:pt x="2" y="0"/>
                    <a:pt x="2" y="0"/>
                  </a:cubicBezTo>
                  <a:cubicBezTo>
                    <a:pt x="1" y="0"/>
                    <a:pt x="2" y="0"/>
                    <a:pt x="1" y="0"/>
                  </a:cubicBezTo>
                  <a:cubicBezTo>
                    <a:pt x="1" y="0"/>
                    <a:pt x="1" y="0"/>
                    <a:pt x="1" y="0"/>
                  </a:cubicBezTo>
                  <a:cubicBezTo>
                    <a:pt x="1" y="0"/>
                    <a:pt x="1" y="1"/>
                    <a:pt x="1" y="1"/>
                  </a:cubicBezTo>
                  <a:cubicBezTo>
                    <a:pt x="1" y="1"/>
                    <a:pt x="1" y="1"/>
                    <a:pt x="1" y="1"/>
                  </a:cubicBezTo>
                  <a:cubicBezTo>
                    <a:pt x="1" y="2"/>
                    <a:pt x="1" y="2"/>
                    <a:pt x="1" y="2"/>
                  </a:cubicBezTo>
                  <a:cubicBezTo>
                    <a:pt x="0" y="3"/>
                    <a:pt x="0" y="4"/>
                    <a:pt x="1" y="5"/>
                  </a:cubicBezTo>
                  <a:cubicBezTo>
                    <a:pt x="1" y="4"/>
                    <a:pt x="2" y="4"/>
                    <a:pt x="2" y="4"/>
                  </a:cubicBezTo>
                  <a:cubicBezTo>
                    <a:pt x="2" y="3"/>
                    <a:pt x="2" y="3"/>
                    <a:pt x="2"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74" name="Freeform 1925">
              <a:extLst>
                <a:ext uri="{FF2B5EF4-FFF2-40B4-BE49-F238E27FC236}">
                  <a16:creationId xmlns:a16="http://schemas.microsoft.com/office/drawing/2014/main" id="{F55D6151-7454-4079-8A11-164C2394A5F9}"/>
                </a:ext>
              </a:extLst>
            </p:cNvPr>
            <p:cNvSpPr>
              <a:spLocks/>
            </p:cNvSpPr>
            <p:nvPr/>
          </p:nvSpPr>
          <p:spPr bwMode="auto">
            <a:xfrm>
              <a:off x="2296" y="2790"/>
              <a:ext cx="19" cy="22"/>
            </a:xfrm>
            <a:custGeom>
              <a:avLst/>
              <a:gdLst>
                <a:gd name="T0" fmla="*/ 7 w 8"/>
                <a:gd name="T1" fmla="*/ 0 h 9"/>
                <a:gd name="T2" fmla="*/ 5 w 8"/>
                <a:gd name="T3" fmla="*/ 0 h 9"/>
                <a:gd name="T4" fmla="*/ 0 w 8"/>
                <a:gd name="T5" fmla="*/ 9 h 9"/>
                <a:gd name="T6" fmla="*/ 2 w 8"/>
                <a:gd name="T7" fmla="*/ 8 h 9"/>
                <a:gd name="T8" fmla="*/ 4 w 8"/>
                <a:gd name="T9" fmla="*/ 7 h 9"/>
                <a:gd name="T10" fmla="*/ 6 w 8"/>
                <a:gd name="T11" fmla="*/ 4 h 9"/>
                <a:gd name="T12" fmla="*/ 7 w 8"/>
                <a:gd name="T13" fmla="*/ 0 h 9"/>
                <a:gd name="T14" fmla="*/ 7 w 8"/>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9">
                  <a:moveTo>
                    <a:pt x="7" y="0"/>
                  </a:moveTo>
                  <a:cubicBezTo>
                    <a:pt x="6" y="0"/>
                    <a:pt x="6" y="0"/>
                    <a:pt x="5" y="0"/>
                  </a:cubicBezTo>
                  <a:cubicBezTo>
                    <a:pt x="2" y="1"/>
                    <a:pt x="1" y="7"/>
                    <a:pt x="0" y="9"/>
                  </a:cubicBezTo>
                  <a:cubicBezTo>
                    <a:pt x="1" y="9"/>
                    <a:pt x="1" y="9"/>
                    <a:pt x="2" y="8"/>
                  </a:cubicBezTo>
                  <a:cubicBezTo>
                    <a:pt x="3" y="8"/>
                    <a:pt x="4" y="7"/>
                    <a:pt x="4" y="7"/>
                  </a:cubicBezTo>
                  <a:cubicBezTo>
                    <a:pt x="5" y="6"/>
                    <a:pt x="6" y="5"/>
                    <a:pt x="6" y="4"/>
                  </a:cubicBezTo>
                  <a:cubicBezTo>
                    <a:pt x="7" y="3"/>
                    <a:pt x="8" y="1"/>
                    <a:pt x="7" y="0"/>
                  </a:cubicBezTo>
                  <a:cubicBezTo>
                    <a:pt x="7" y="0"/>
                    <a:pt x="7" y="0"/>
                    <a:pt x="7"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75" name="Freeform 1926">
              <a:extLst>
                <a:ext uri="{FF2B5EF4-FFF2-40B4-BE49-F238E27FC236}">
                  <a16:creationId xmlns:a16="http://schemas.microsoft.com/office/drawing/2014/main" id="{F262BB3C-D3EE-4DED-A4A5-EF3365666938}"/>
                </a:ext>
              </a:extLst>
            </p:cNvPr>
            <p:cNvSpPr>
              <a:spLocks/>
            </p:cNvSpPr>
            <p:nvPr/>
          </p:nvSpPr>
          <p:spPr bwMode="auto">
            <a:xfrm>
              <a:off x="2376" y="3455"/>
              <a:ext cx="5" cy="12"/>
            </a:xfrm>
            <a:custGeom>
              <a:avLst/>
              <a:gdLst>
                <a:gd name="T0" fmla="*/ 0 w 2"/>
                <a:gd name="T1" fmla="*/ 5 h 5"/>
                <a:gd name="T2" fmla="*/ 1 w 2"/>
                <a:gd name="T3" fmla="*/ 4 h 5"/>
                <a:gd name="T4" fmla="*/ 1 w 2"/>
                <a:gd name="T5" fmla="*/ 4 h 5"/>
                <a:gd name="T6" fmla="*/ 2 w 2"/>
                <a:gd name="T7" fmla="*/ 2 h 5"/>
                <a:gd name="T8" fmla="*/ 2 w 2"/>
                <a:gd name="T9" fmla="*/ 2 h 5"/>
                <a:gd name="T10" fmla="*/ 2 w 2"/>
                <a:gd name="T11" fmla="*/ 1 h 5"/>
                <a:gd name="T12" fmla="*/ 2 w 2"/>
                <a:gd name="T13" fmla="*/ 1 h 5"/>
                <a:gd name="T14" fmla="*/ 1 w 2"/>
                <a:gd name="T15" fmla="*/ 0 h 5"/>
                <a:gd name="T16" fmla="*/ 0 w 2"/>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5">
                  <a:moveTo>
                    <a:pt x="0" y="5"/>
                  </a:moveTo>
                  <a:cubicBezTo>
                    <a:pt x="0" y="5"/>
                    <a:pt x="0" y="4"/>
                    <a:pt x="1" y="4"/>
                  </a:cubicBezTo>
                  <a:cubicBezTo>
                    <a:pt x="1" y="4"/>
                    <a:pt x="1" y="4"/>
                    <a:pt x="1" y="4"/>
                  </a:cubicBezTo>
                  <a:cubicBezTo>
                    <a:pt x="1" y="3"/>
                    <a:pt x="1" y="3"/>
                    <a:pt x="2" y="2"/>
                  </a:cubicBezTo>
                  <a:cubicBezTo>
                    <a:pt x="2" y="2"/>
                    <a:pt x="2" y="2"/>
                    <a:pt x="2" y="2"/>
                  </a:cubicBezTo>
                  <a:cubicBezTo>
                    <a:pt x="2" y="1"/>
                    <a:pt x="2" y="1"/>
                    <a:pt x="2" y="1"/>
                  </a:cubicBezTo>
                  <a:cubicBezTo>
                    <a:pt x="2" y="1"/>
                    <a:pt x="2" y="1"/>
                    <a:pt x="2" y="1"/>
                  </a:cubicBezTo>
                  <a:cubicBezTo>
                    <a:pt x="2" y="1"/>
                    <a:pt x="1" y="1"/>
                    <a:pt x="1" y="0"/>
                  </a:cubicBezTo>
                  <a:cubicBezTo>
                    <a:pt x="1" y="2"/>
                    <a:pt x="0" y="3"/>
                    <a:pt x="0"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76" name="Freeform 1927">
              <a:extLst>
                <a:ext uri="{FF2B5EF4-FFF2-40B4-BE49-F238E27FC236}">
                  <a16:creationId xmlns:a16="http://schemas.microsoft.com/office/drawing/2014/main" id="{F92CD407-7190-4299-8CFD-1FF8EFDC97C7}"/>
                </a:ext>
              </a:extLst>
            </p:cNvPr>
            <p:cNvSpPr>
              <a:spLocks/>
            </p:cNvSpPr>
            <p:nvPr/>
          </p:nvSpPr>
          <p:spPr bwMode="auto">
            <a:xfrm>
              <a:off x="2315" y="2790"/>
              <a:ext cx="7" cy="10"/>
            </a:xfrm>
            <a:custGeom>
              <a:avLst/>
              <a:gdLst>
                <a:gd name="T0" fmla="*/ 0 w 3"/>
                <a:gd name="T1" fmla="*/ 3 h 4"/>
                <a:gd name="T2" fmla="*/ 0 w 3"/>
                <a:gd name="T3" fmla="*/ 4 h 4"/>
                <a:gd name="T4" fmla="*/ 1 w 3"/>
                <a:gd name="T5" fmla="*/ 3 h 4"/>
                <a:gd name="T6" fmla="*/ 2 w 3"/>
                <a:gd name="T7" fmla="*/ 2 h 4"/>
                <a:gd name="T8" fmla="*/ 2 w 3"/>
                <a:gd name="T9" fmla="*/ 2 h 4"/>
                <a:gd name="T10" fmla="*/ 3 w 3"/>
                <a:gd name="T11" fmla="*/ 1 h 4"/>
                <a:gd name="T12" fmla="*/ 3 w 3"/>
                <a:gd name="T13" fmla="*/ 0 h 4"/>
                <a:gd name="T14" fmla="*/ 3 w 3"/>
                <a:gd name="T15" fmla="*/ 0 h 4"/>
                <a:gd name="T16" fmla="*/ 3 w 3"/>
                <a:gd name="T17" fmla="*/ 0 h 4"/>
                <a:gd name="T18" fmla="*/ 3 w 3"/>
                <a:gd name="T19" fmla="*/ 0 h 4"/>
                <a:gd name="T20" fmla="*/ 0 w 3"/>
                <a:gd name="T21"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4">
                  <a:moveTo>
                    <a:pt x="0" y="3"/>
                  </a:moveTo>
                  <a:cubicBezTo>
                    <a:pt x="0" y="3"/>
                    <a:pt x="0" y="4"/>
                    <a:pt x="0" y="4"/>
                  </a:cubicBezTo>
                  <a:cubicBezTo>
                    <a:pt x="0" y="4"/>
                    <a:pt x="1" y="3"/>
                    <a:pt x="1" y="3"/>
                  </a:cubicBezTo>
                  <a:cubicBezTo>
                    <a:pt x="1" y="3"/>
                    <a:pt x="1" y="2"/>
                    <a:pt x="2" y="2"/>
                  </a:cubicBezTo>
                  <a:cubicBezTo>
                    <a:pt x="2" y="2"/>
                    <a:pt x="2" y="2"/>
                    <a:pt x="2" y="2"/>
                  </a:cubicBezTo>
                  <a:cubicBezTo>
                    <a:pt x="2" y="2"/>
                    <a:pt x="2" y="2"/>
                    <a:pt x="3" y="1"/>
                  </a:cubicBezTo>
                  <a:cubicBezTo>
                    <a:pt x="3" y="1"/>
                    <a:pt x="3" y="1"/>
                    <a:pt x="3" y="0"/>
                  </a:cubicBezTo>
                  <a:cubicBezTo>
                    <a:pt x="3" y="0"/>
                    <a:pt x="3" y="0"/>
                    <a:pt x="3" y="0"/>
                  </a:cubicBezTo>
                  <a:cubicBezTo>
                    <a:pt x="3" y="0"/>
                    <a:pt x="3" y="0"/>
                    <a:pt x="3" y="0"/>
                  </a:cubicBezTo>
                  <a:cubicBezTo>
                    <a:pt x="3" y="0"/>
                    <a:pt x="3" y="0"/>
                    <a:pt x="3" y="0"/>
                  </a:cubicBezTo>
                  <a:cubicBezTo>
                    <a:pt x="1" y="1"/>
                    <a:pt x="0" y="1"/>
                    <a:pt x="0"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77" name="Freeform 1928">
              <a:extLst>
                <a:ext uri="{FF2B5EF4-FFF2-40B4-BE49-F238E27FC236}">
                  <a16:creationId xmlns:a16="http://schemas.microsoft.com/office/drawing/2014/main" id="{87385C52-51C8-4D9A-85B3-16E84040CB6D}"/>
                </a:ext>
              </a:extLst>
            </p:cNvPr>
            <p:cNvSpPr>
              <a:spLocks/>
            </p:cNvSpPr>
            <p:nvPr/>
          </p:nvSpPr>
          <p:spPr bwMode="auto">
            <a:xfrm>
              <a:off x="2308" y="2781"/>
              <a:ext cx="7" cy="7"/>
            </a:xfrm>
            <a:custGeom>
              <a:avLst/>
              <a:gdLst>
                <a:gd name="T0" fmla="*/ 3 w 3"/>
                <a:gd name="T1" fmla="*/ 1 h 3"/>
                <a:gd name="T2" fmla="*/ 3 w 3"/>
                <a:gd name="T3" fmla="*/ 1 h 3"/>
                <a:gd name="T4" fmla="*/ 3 w 3"/>
                <a:gd name="T5" fmla="*/ 0 h 3"/>
                <a:gd name="T6" fmla="*/ 0 w 3"/>
                <a:gd name="T7" fmla="*/ 3 h 3"/>
                <a:gd name="T8" fmla="*/ 2 w 3"/>
                <a:gd name="T9" fmla="*/ 1 h 3"/>
                <a:gd name="T10" fmla="*/ 3 w 3"/>
                <a:gd name="T11" fmla="*/ 1 h 3"/>
              </a:gdLst>
              <a:ahLst/>
              <a:cxnLst>
                <a:cxn ang="0">
                  <a:pos x="T0" y="T1"/>
                </a:cxn>
                <a:cxn ang="0">
                  <a:pos x="T2" y="T3"/>
                </a:cxn>
                <a:cxn ang="0">
                  <a:pos x="T4" y="T5"/>
                </a:cxn>
                <a:cxn ang="0">
                  <a:pos x="T6" y="T7"/>
                </a:cxn>
                <a:cxn ang="0">
                  <a:pos x="T8" y="T9"/>
                </a:cxn>
                <a:cxn ang="0">
                  <a:pos x="T10" y="T11"/>
                </a:cxn>
              </a:cxnLst>
              <a:rect l="0" t="0" r="r" b="b"/>
              <a:pathLst>
                <a:path w="3" h="3">
                  <a:moveTo>
                    <a:pt x="3" y="1"/>
                  </a:moveTo>
                  <a:cubicBezTo>
                    <a:pt x="3" y="1"/>
                    <a:pt x="3" y="1"/>
                    <a:pt x="3" y="1"/>
                  </a:cubicBezTo>
                  <a:cubicBezTo>
                    <a:pt x="3" y="0"/>
                    <a:pt x="3" y="0"/>
                    <a:pt x="3" y="0"/>
                  </a:cubicBezTo>
                  <a:cubicBezTo>
                    <a:pt x="2" y="1"/>
                    <a:pt x="1" y="2"/>
                    <a:pt x="0" y="3"/>
                  </a:cubicBezTo>
                  <a:cubicBezTo>
                    <a:pt x="1" y="3"/>
                    <a:pt x="2" y="2"/>
                    <a:pt x="2" y="1"/>
                  </a:cubicBezTo>
                  <a:cubicBezTo>
                    <a:pt x="3" y="1"/>
                    <a:pt x="3" y="1"/>
                    <a:pt x="3"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78" name="Freeform 1929">
              <a:extLst>
                <a:ext uri="{FF2B5EF4-FFF2-40B4-BE49-F238E27FC236}">
                  <a16:creationId xmlns:a16="http://schemas.microsoft.com/office/drawing/2014/main" id="{DBB8EB6D-43CE-41E0-9CA7-3140CC1582EA}"/>
                </a:ext>
              </a:extLst>
            </p:cNvPr>
            <p:cNvSpPr>
              <a:spLocks/>
            </p:cNvSpPr>
            <p:nvPr/>
          </p:nvSpPr>
          <p:spPr bwMode="auto">
            <a:xfrm>
              <a:off x="2346" y="2776"/>
              <a:ext cx="9" cy="5"/>
            </a:xfrm>
            <a:custGeom>
              <a:avLst/>
              <a:gdLst>
                <a:gd name="T0" fmla="*/ 1 w 4"/>
                <a:gd name="T1" fmla="*/ 0 h 2"/>
                <a:gd name="T2" fmla="*/ 1 w 4"/>
                <a:gd name="T3" fmla="*/ 0 h 2"/>
                <a:gd name="T4" fmla="*/ 0 w 4"/>
                <a:gd name="T5" fmla="*/ 1 h 2"/>
                <a:gd name="T6" fmla="*/ 0 w 4"/>
                <a:gd name="T7" fmla="*/ 1 h 2"/>
                <a:gd name="T8" fmla="*/ 0 w 4"/>
                <a:gd name="T9" fmla="*/ 1 h 2"/>
                <a:gd name="T10" fmla="*/ 1 w 4"/>
                <a:gd name="T11" fmla="*/ 2 h 2"/>
                <a:gd name="T12" fmla="*/ 4 w 4"/>
                <a:gd name="T13" fmla="*/ 0 h 2"/>
                <a:gd name="T14" fmla="*/ 1 w 4"/>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1" y="0"/>
                  </a:moveTo>
                  <a:cubicBezTo>
                    <a:pt x="1" y="0"/>
                    <a:pt x="1" y="0"/>
                    <a:pt x="1" y="0"/>
                  </a:cubicBezTo>
                  <a:cubicBezTo>
                    <a:pt x="0" y="1"/>
                    <a:pt x="0" y="1"/>
                    <a:pt x="0" y="1"/>
                  </a:cubicBezTo>
                  <a:cubicBezTo>
                    <a:pt x="0" y="1"/>
                    <a:pt x="0" y="1"/>
                    <a:pt x="0" y="1"/>
                  </a:cubicBezTo>
                  <a:cubicBezTo>
                    <a:pt x="0" y="1"/>
                    <a:pt x="0" y="1"/>
                    <a:pt x="0" y="1"/>
                  </a:cubicBezTo>
                  <a:cubicBezTo>
                    <a:pt x="0" y="2"/>
                    <a:pt x="1" y="2"/>
                    <a:pt x="1" y="2"/>
                  </a:cubicBezTo>
                  <a:cubicBezTo>
                    <a:pt x="2" y="2"/>
                    <a:pt x="3" y="1"/>
                    <a:pt x="4" y="0"/>
                  </a:cubicBezTo>
                  <a:cubicBezTo>
                    <a:pt x="4" y="0"/>
                    <a:pt x="2"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79" name="Freeform 1930">
              <a:extLst>
                <a:ext uri="{FF2B5EF4-FFF2-40B4-BE49-F238E27FC236}">
                  <a16:creationId xmlns:a16="http://schemas.microsoft.com/office/drawing/2014/main" id="{0375ACA5-279C-4BE4-A091-F9DC62BAE3EA}"/>
                </a:ext>
              </a:extLst>
            </p:cNvPr>
            <p:cNvSpPr>
              <a:spLocks/>
            </p:cNvSpPr>
            <p:nvPr/>
          </p:nvSpPr>
          <p:spPr bwMode="auto">
            <a:xfrm>
              <a:off x="2478" y="3344"/>
              <a:ext cx="7" cy="5"/>
            </a:xfrm>
            <a:custGeom>
              <a:avLst/>
              <a:gdLst>
                <a:gd name="T0" fmla="*/ 2 w 3"/>
                <a:gd name="T1" fmla="*/ 1 h 2"/>
                <a:gd name="T2" fmla="*/ 1 w 3"/>
                <a:gd name="T3" fmla="*/ 0 h 2"/>
                <a:gd name="T4" fmla="*/ 0 w 3"/>
                <a:gd name="T5" fmla="*/ 2 h 2"/>
                <a:gd name="T6" fmla="*/ 0 w 3"/>
                <a:gd name="T7" fmla="*/ 2 h 2"/>
                <a:gd name="T8" fmla="*/ 3 w 3"/>
                <a:gd name="T9" fmla="*/ 1 h 2"/>
                <a:gd name="T10" fmla="*/ 2 w 3"/>
                <a:gd name="T11" fmla="*/ 1 h 2"/>
                <a:gd name="T12" fmla="*/ 2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1"/>
                  </a:moveTo>
                  <a:cubicBezTo>
                    <a:pt x="2" y="0"/>
                    <a:pt x="1" y="0"/>
                    <a:pt x="1" y="0"/>
                  </a:cubicBezTo>
                  <a:cubicBezTo>
                    <a:pt x="1" y="1"/>
                    <a:pt x="1" y="1"/>
                    <a:pt x="0" y="2"/>
                  </a:cubicBezTo>
                  <a:cubicBezTo>
                    <a:pt x="0" y="2"/>
                    <a:pt x="0" y="2"/>
                    <a:pt x="0" y="2"/>
                  </a:cubicBezTo>
                  <a:cubicBezTo>
                    <a:pt x="1" y="2"/>
                    <a:pt x="2" y="1"/>
                    <a:pt x="3" y="1"/>
                  </a:cubicBezTo>
                  <a:cubicBezTo>
                    <a:pt x="2" y="1"/>
                    <a:pt x="2" y="1"/>
                    <a:pt x="2" y="1"/>
                  </a:cubicBezTo>
                  <a:cubicBezTo>
                    <a:pt x="2" y="1"/>
                    <a:pt x="2"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80" name="Freeform 1931">
              <a:extLst>
                <a:ext uri="{FF2B5EF4-FFF2-40B4-BE49-F238E27FC236}">
                  <a16:creationId xmlns:a16="http://schemas.microsoft.com/office/drawing/2014/main" id="{30E3FBFB-2429-497D-A4CF-49D43BE29F83}"/>
                </a:ext>
              </a:extLst>
            </p:cNvPr>
            <p:cNvSpPr>
              <a:spLocks/>
            </p:cNvSpPr>
            <p:nvPr/>
          </p:nvSpPr>
          <p:spPr bwMode="auto">
            <a:xfrm>
              <a:off x="1327" y="2038"/>
              <a:ext cx="7" cy="5"/>
            </a:xfrm>
            <a:custGeom>
              <a:avLst/>
              <a:gdLst>
                <a:gd name="T0" fmla="*/ 0 w 3"/>
                <a:gd name="T1" fmla="*/ 1 h 2"/>
                <a:gd name="T2" fmla="*/ 3 w 3"/>
                <a:gd name="T3" fmla="*/ 2 h 2"/>
                <a:gd name="T4" fmla="*/ 2 w 3"/>
                <a:gd name="T5" fmla="*/ 1 h 2"/>
                <a:gd name="T6" fmla="*/ 0 w 3"/>
                <a:gd name="T7" fmla="*/ 1 h 2"/>
              </a:gdLst>
              <a:ahLst/>
              <a:cxnLst>
                <a:cxn ang="0">
                  <a:pos x="T0" y="T1"/>
                </a:cxn>
                <a:cxn ang="0">
                  <a:pos x="T2" y="T3"/>
                </a:cxn>
                <a:cxn ang="0">
                  <a:pos x="T4" y="T5"/>
                </a:cxn>
                <a:cxn ang="0">
                  <a:pos x="T6" y="T7"/>
                </a:cxn>
              </a:cxnLst>
              <a:rect l="0" t="0" r="r" b="b"/>
              <a:pathLst>
                <a:path w="3" h="2">
                  <a:moveTo>
                    <a:pt x="0" y="1"/>
                  </a:moveTo>
                  <a:cubicBezTo>
                    <a:pt x="1" y="1"/>
                    <a:pt x="2" y="1"/>
                    <a:pt x="3" y="2"/>
                  </a:cubicBezTo>
                  <a:cubicBezTo>
                    <a:pt x="3" y="1"/>
                    <a:pt x="2" y="1"/>
                    <a:pt x="2" y="1"/>
                  </a:cubicBezTo>
                  <a:cubicBezTo>
                    <a:pt x="1" y="0"/>
                    <a:pt x="1"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81" name="Freeform 1932">
              <a:extLst>
                <a:ext uri="{FF2B5EF4-FFF2-40B4-BE49-F238E27FC236}">
                  <a16:creationId xmlns:a16="http://schemas.microsoft.com/office/drawing/2014/main" id="{1A64D361-D89A-400C-862D-B022667F9F08}"/>
                </a:ext>
              </a:extLst>
            </p:cNvPr>
            <p:cNvSpPr>
              <a:spLocks/>
            </p:cNvSpPr>
            <p:nvPr/>
          </p:nvSpPr>
          <p:spPr bwMode="auto">
            <a:xfrm>
              <a:off x="1201" y="2121"/>
              <a:ext cx="0" cy="12"/>
            </a:xfrm>
            <a:custGeom>
              <a:avLst/>
              <a:gdLst>
                <a:gd name="T0" fmla="*/ 5 h 5"/>
                <a:gd name="T1" fmla="*/ 3 h 5"/>
                <a:gd name="T2" fmla="*/ 3 h 5"/>
                <a:gd name="T3" fmla="*/ 2 h 5"/>
                <a:gd name="T4" fmla="*/ 0 h 5"/>
                <a:gd name="T5" fmla="*/ 0 h 5"/>
                <a:gd name="T6" fmla="*/ 0 h 5"/>
                <a:gd name="T7" fmla="*/ 5 h 5"/>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5">
                  <a:moveTo>
                    <a:pt x="0" y="5"/>
                  </a:moveTo>
                  <a:cubicBezTo>
                    <a:pt x="0" y="4"/>
                    <a:pt x="0" y="4"/>
                    <a:pt x="0" y="3"/>
                  </a:cubicBezTo>
                  <a:cubicBezTo>
                    <a:pt x="0" y="3"/>
                    <a:pt x="0" y="3"/>
                    <a:pt x="0" y="3"/>
                  </a:cubicBezTo>
                  <a:cubicBezTo>
                    <a:pt x="0" y="2"/>
                    <a:pt x="0" y="2"/>
                    <a:pt x="0" y="2"/>
                  </a:cubicBezTo>
                  <a:cubicBezTo>
                    <a:pt x="0" y="1"/>
                    <a:pt x="0" y="1"/>
                    <a:pt x="0" y="0"/>
                  </a:cubicBezTo>
                  <a:cubicBezTo>
                    <a:pt x="0" y="0"/>
                    <a:pt x="0" y="0"/>
                    <a:pt x="0" y="0"/>
                  </a:cubicBezTo>
                  <a:cubicBezTo>
                    <a:pt x="0" y="0"/>
                    <a:pt x="0" y="0"/>
                    <a:pt x="0" y="0"/>
                  </a:cubicBezTo>
                  <a:cubicBezTo>
                    <a:pt x="0" y="2"/>
                    <a:pt x="0" y="3"/>
                    <a:pt x="0"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82" name="Freeform 1933">
              <a:extLst>
                <a:ext uri="{FF2B5EF4-FFF2-40B4-BE49-F238E27FC236}">
                  <a16:creationId xmlns:a16="http://schemas.microsoft.com/office/drawing/2014/main" id="{FF9CAA0E-2082-4A85-8984-00D68E18222C}"/>
                </a:ext>
              </a:extLst>
            </p:cNvPr>
            <p:cNvSpPr>
              <a:spLocks/>
            </p:cNvSpPr>
            <p:nvPr/>
          </p:nvSpPr>
          <p:spPr bwMode="auto">
            <a:xfrm>
              <a:off x="1407" y="2024"/>
              <a:ext cx="5"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0" y="0"/>
                    <a:pt x="0" y="0"/>
                  </a:cubicBezTo>
                  <a:cubicBezTo>
                    <a:pt x="0" y="0"/>
                    <a:pt x="1" y="0"/>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83" name="Freeform 1934">
              <a:extLst>
                <a:ext uri="{FF2B5EF4-FFF2-40B4-BE49-F238E27FC236}">
                  <a16:creationId xmlns:a16="http://schemas.microsoft.com/office/drawing/2014/main" id="{71CD23AA-0332-4F4E-83B2-80935F321719}"/>
                </a:ext>
              </a:extLst>
            </p:cNvPr>
            <p:cNvSpPr>
              <a:spLocks/>
            </p:cNvSpPr>
            <p:nvPr/>
          </p:nvSpPr>
          <p:spPr bwMode="auto">
            <a:xfrm>
              <a:off x="575" y="1501"/>
              <a:ext cx="5" cy="5"/>
            </a:xfrm>
            <a:custGeom>
              <a:avLst/>
              <a:gdLst>
                <a:gd name="T0" fmla="*/ 0 w 2"/>
                <a:gd name="T1" fmla="*/ 1 h 2"/>
                <a:gd name="T2" fmla="*/ 2 w 2"/>
                <a:gd name="T3" fmla="*/ 2 h 2"/>
                <a:gd name="T4" fmla="*/ 1 w 2"/>
                <a:gd name="T5" fmla="*/ 0 h 2"/>
                <a:gd name="T6" fmla="*/ 0 w 2"/>
                <a:gd name="T7" fmla="*/ 1 h 2"/>
              </a:gdLst>
              <a:ahLst/>
              <a:cxnLst>
                <a:cxn ang="0">
                  <a:pos x="T0" y="T1"/>
                </a:cxn>
                <a:cxn ang="0">
                  <a:pos x="T2" y="T3"/>
                </a:cxn>
                <a:cxn ang="0">
                  <a:pos x="T4" y="T5"/>
                </a:cxn>
                <a:cxn ang="0">
                  <a:pos x="T6" y="T7"/>
                </a:cxn>
              </a:cxnLst>
              <a:rect l="0" t="0" r="r" b="b"/>
              <a:pathLst>
                <a:path w="2" h="2">
                  <a:moveTo>
                    <a:pt x="0" y="1"/>
                  </a:moveTo>
                  <a:cubicBezTo>
                    <a:pt x="1" y="2"/>
                    <a:pt x="1" y="2"/>
                    <a:pt x="2" y="2"/>
                  </a:cubicBezTo>
                  <a:cubicBezTo>
                    <a:pt x="2" y="1"/>
                    <a:pt x="1" y="0"/>
                    <a:pt x="1" y="0"/>
                  </a:cubicBezTo>
                  <a:cubicBezTo>
                    <a:pt x="0" y="0"/>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84" name="Freeform 1935">
              <a:extLst>
                <a:ext uri="{FF2B5EF4-FFF2-40B4-BE49-F238E27FC236}">
                  <a16:creationId xmlns:a16="http://schemas.microsoft.com/office/drawing/2014/main" id="{6FF6BAC1-6BF0-46D6-9D67-3BC9277218E9}"/>
                </a:ext>
              </a:extLst>
            </p:cNvPr>
            <p:cNvSpPr>
              <a:spLocks/>
            </p:cNvSpPr>
            <p:nvPr/>
          </p:nvSpPr>
          <p:spPr bwMode="auto">
            <a:xfrm>
              <a:off x="584" y="1508"/>
              <a:ext cx="7" cy="12"/>
            </a:xfrm>
            <a:custGeom>
              <a:avLst/>
              <a:gdLst>
                <a:gd name="T0" fmla="*/ 1 w 3"/>
                <a:gd name="T1" fmla="*/ 1 h 5"/>
                <a:gd name="T2" fmla="*/ 2 w 3"/>
                <a:gd name="T3" fmla="*/ 0 h 5"/>
                <a:gd name="T4" fmla="*/ 1 w 3"/>
                <a:gd name="T5" fmla="*/ 0 h 5"/>
                <a:gd name="T6" fmla="*/ 0 w 3"/>
                <a:gd name="T7" fmla="*/ 1 h 5"/>
                <a:gd name="T8" fmla="*/ 0 w 3"/>
                <a:gd name="T9" fmla="*/ 1 h 5"/>
                <a:gd name="T10" fmla="*/ 0 w 3"/>
                <a:gd name="T11" fmla="*/ 1 h 5"/>
                <a:gd name="T12" fmla="*/ 0 w 3"/>
                <a:gd name="T13" fmla="*/ 2 h 5"/>
                <a:gd name="T14" fmla="*/ 0 w 3"/>
                <a:gd name="T15" fmla="*/ 2 h 5"/>
                <a:gd name="T16" fmla="*/ 2 w 3"/>
                <a:gd name="T17" fmla="*/ 3 h 5"/>
                <a:gd name="T18" fmla="*/ 2 w 3"/>
                <a:gd name="T19" fmla="*/ 4 h 5"/>
                <a:gd name="T20" fmla="*/ 3 w 3"/>
                <a:gd name="T21" fmla="*/ 5 h 5"/>
                <a:gd name="T22" fmla="*/ 1 w 3"/>
                <a:gd name="T23" fmla="*/ 2 h 5"/>
                <a:gd name="T24" fmla="*/ 1 w 3"/>
                <a:gd name="T25" fmla="*/ 1 h 5"/>
                <a:gd name="T26" fmla="*/ 1 w 3"/>
                <a:gd name="T2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1" y="1"/>
                  </a:moveTo>
                  <a:cubicBezTo>
                    <a:pt x="2" y="1"/>
                    <a:pt x="3" y="1"/>
                    <a:pt x="2" y="0"/>
                  </a:cubicBezTo>
                  <a:cubicBezTo>
                    <a:pt x="1" y="0"/>
                    <a:pt x="1" y="0"/>
                    <a:pt x="1" y="0"/>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1" y="2"/>
                    <a:pt x="1" y="2"/>
                    <a:pt x="2" y="3"/>
                  </a:cubicBezTo>
                  <a:cubicBezTo>
                    <a:pt x="2" y="3"/>
                    <a:pt x="2" y="4"/>
                    <a:pt x="2" y="4"/>
                  </a:cubicBezTo>
                  <a:cubicBezTo>
                    <a:pt x="2" y="5"/>
                    <a:pt x="3" y="5"/>
                    <a:pt x="3" y="5"/>
                  </a:cubicBezTo>
                  <a:cubicBezTo>
                    <a:pt x="2" y="4"/>
                    <a:pt x="2" y="1"/>
                    <a:pt x="1" y="2"/>
                  </a:cubicBezTo>
                  <a:cubicBezTo>
                    <a:pt x="1" y="2"/>
                    <a:pt x="1" y="2"/>
                    <a:pt x="1" y="1"/>
                  </a:cubicBezTo>
                  <a:cubicBezTo>
                    <a:pt x="1" y="1"/>
                    <a:pt x="1" y="1"/>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85" name="Freeform 1936">
              <a:extLst>
                <a:ext uri="{FF2B5EF4-FFF2-40B4-BE49-F238E27FC236}">
                  <a16:creationId xmlns:a16="http://schemas.microsoft.com/office/drawing/2014/main" id="{BBA19E58-B6A8-42D0-B161-0CFFAC8D272E}"/>
                </a:ext>
              </a:extLst>
            </p:cNvPr>
            <p:cNvSpPr>
              <a:spLocks/>
            </p:cNvSpPr>
            <p:nvPr/>
          </p:nvSpPr>
          <p:spPr bwMode="auto">
            <a:xfrm>
              <a:off x="1251" y="2048"/>
              <a:ext cx="9" cy="7"/>
            </a:xfrm>
            <a:custGeom>
              <a:avLst/>
              <a:gdLst>
                <a:gd name="T0" fmla="*/ 4 w 4"/>
                <a:gd name="T1" fmla="*/ 0 h 3"/>
                <a:gd name="T2" fmla="*/ 3 w 4"/>
                <a:gd name="T3" fmla="*/ 0 h 3"/>
                <a:gd name="T4" fmla="*/ 1 w 4"/>
                <a:gd name="T5" fmla="*/ 2 h 3"/>
                <a:gd name="T6" fmla="*/ 0 w 4"/>
                <a:gd name="T7" fmla="*/ 3 h 3"/>
                <a:gd name="T8" fmla="*/ 3 w 4"/>
                <a:gd name="T9" fmla="*/ 1 h 3"/>
                <a:gd name="T10" fmla="*/ 4 w 4"/>
                <a:gd name="T11" fmla="*/ 0 h 3"/>
                <a:gd name="T12" fmla="*/ 4 w 4"/>
                <a:gd name="T13" fmla="*/ 0 h 3"/>
                <a:gd name="T14" fmla="*/ 4 w 4"/>
                <a:gd name="T15" fmla="*/ 0 h 3"/>
                <a:gd name="T16" fmla="*/ 4 w 4"/>
                <a:gd name="T17" fmla="*/ 0 h 3"/>
                <a:gd name="T18" fmla="*/ 4 w 4"/>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3">
                  <a:moveTo>
                    <a:pt x="4" y="0"/>
                  </a:moveTo>
                  <a:cubicBezTo>
                    <a:pt x="3" y="0"/>
                    <a:pt x="3" y="0"/>
                    <a:pt x="3" y="0"/>
                  </a:cubicBezTo>
                  <a:cubicBezTo>
                    <a:pt x="3" y="1"/>
                    <a:pt x="2" y="1"/>
                    <a:pt x="1" y="2"/>
                  </a:cubicBezTo>
                  <a:cubicBezTo>
                    <a:pt x="1" y="2"/>
                    <a:pt x="1" y="2"/>
                    <a:pt x="0" y="3"/>
                  </a:cubicBezTo>
                  <a:cubicBezTo>
                    <a:pt x="1" y="2"/>
                    <a:pt x="2" y="1"/>
                    <a:pt x="3" y="1"/>
                  </a:cubicBezTo>
                  <a:cubicBezTo>
                    <a:pt x="3" y="1"/>
                    <a:pt x="4" y="0"/>
                    <a:pt x="4" y="0"/>
                  </a:cubicBezTo>
                  <a:cubicBezTo>
                    <a:pt x="4" y="0"/>
                    <a:pt x="4" y="0"/>
                    <a:pt x="4" y="0"/>
                  </a:cubicBezTo>
                  <a:cubicBezTo>
                    <a:pt x="4" y="0"/>
                    <a:pt x="4" y="0"/>
                    <a:pt x="4" y="0"/>
                  </a:cubicBezTo>
                  <a:cubicBezTo>
                    <a:pt x="4" y="0"/>
                    <a:pt x="4" y="0"/>
                    <a:pt x="4" y="0"/>
                  </a:cubicBezTo>
                  <a:cubicBezTo>
                    <a:pt x="4" y="0"/>
                    <a:pt x="4" y="0"/>
                    <a:pt x="4"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86" name="Freeform 1937">
              <a:extLst>
                <a:ext uri="{FF2B5EF4-FFF2-40B4-BE49-F238E27FC236}">
                  <a16:creationId xmlns:a16="http://schemas.microsoft.com/office/drawing/2014/main" id="{BB0945E8-BA97-4BA8-9C9A-F1DD6A6DEAEA}"/>
                </a:ext>
              </a:extLst>
            </p:cNvPr>
            <p:cNvSpPr>
              <a:spLocks/>
            </p:cNvSpPr>
            <p:nvPr/>
          </p:nvSpPr>
          <p:spPr bwMode="auto">
            <a:xfrm>
              <a:off x="1563" y="2121"/>
              <a:ext cx="5" cy="2"/>
            </a:xfrm>
            <a:custGeom>
              <a:avLst/>
              <a:gdLst>
                <a:gd name="T0" fmla="*/ 0 w 2"/>
                <a:gd name="T1" fmla="*/ 0 h 1"/>
                <a:gd name="T2" fmla="*/ 2 w 2"/>
                <a:gd name="T3" fmla="*/ 1 h 1"/>
                <a:gd name="T4" fmla="*/ 2 w 2"/>
                <a:gd name="T5" fmla="*/ 1 h 1"/>
                <a:gd name="T6" fmla="*/ 2 w 2"/>
                <a:gd name="T7" fmla="*/ 1 h 1"/>
                <a:gd name="T8" fmla="*/ 2 w 2"/>
                <a:gd name="T9" fmla="*/ 1 h 1"/>
                <a:gd name="T10" fmla="*/ 2 w 2"/>
                <a:gd name="T11" fmla="*/ 1 h 1"/>
                <a:gd name="T12" fmla="*/ 0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0"/>
                  </a:moveTo>
                  <a:cubicBezTo>
                    <a:pt x="1" y="1"/>
                    <a:pt x="1" y="1"/>
                    <a:pt x="2" y="1"/>
                  </a:cubicBezTo>
                  <a:cubicBezTo>
                    <a:pt x="2" y="1"/>
                    <a:pt x="2" y="1"/>
                    <a:pt x="2" y="1"/>
                  </a:cubicBezTo>
                  <a:cubicBezTo>
                    <a:pt x="2" y="1"/>
                    <a:pt x="2" y="1"/>
                    <a:pt x="2" y="1"/>
                  </a:cubicBezTo>
                  <a:cubicBezTo>
                    <a:pt x="2" y="1"/>
                    <a:pt x="2" y="1"/>
                    <a:pt x="2" y="1"/>
                  </a:cubicBezTo>
                  <a:cubicBezTo>
                    <a:pt x="2" y="1"/>
                    <a:pt x="2" y="1"/>
                    <a:pt x="2" y="1"/>
                  </a:cubicBezTo>
                  <a:cubicBezTo>
                    <a:pt x="1" y="1"/>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87" name="Freeform 1938">
              <a:extLst>
                <a:ext uri="{FF2B5EF4-FFF2-40B4-BE49-F238E27FC236}">
                  <a16:creationId xmlns:a16="http://schemas.microsoft.com/office/drawing/2014/main" id="{4F2B732A-465B-4158-B4CC-40109A45AB2A}"/>
                </a:ext>
              </a:extLst>
            </p:cNvPr>
            <p:cNvSpPr>
              <a:spLocks/>
            </p:cNvSpPr>
            <p:nvPr/>
          </p:nvSpPr>
          <p:spPr bwMode="auto">
            <a:xfrm>
              <a:off x="1417" y="2024"/>
              <a:ext cx="2"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1" y="0"/>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88" name="Freeform 1939">
              <a:extLst>
                <a:ext uri="{FF2B5EF4-FFF2-40B4-BE49-F238E27FC236}">
                  <a16:creationId xmlns:a16="http://schemas.microsoft.com/office/drawing/2014/main" id="{482AA1DC-D3F5-4007-BC01-AB2C753C076D}"/>
                </a:ext>
              </a:extLst>
            </p:cNvPr>
            <p:cNvSpPr>
              <a:spLocks/>
            </p:cNvSpPr>
            <p:nvPr/>
          </p:nvSpPr>
          <p:spPr bwMode="auto">
            <a:xfrm>
              <a:off x="1211" y="2071"/>
              <a:ext cx="9" cy="10"/>
            </a:xfrm>
            <a:custGeom>
              <a:avLst/>
              <a:gdLst>
                <a:gd name="T0" fmla="*/ 3 w 4"/>
                <a:gd name="T1" fmla="*/ 1 h 4"/>
                <a:gd name="T2" fmla="*/ 1 w 4"/>
                <a:gd name="T3" fmla="*/ 2 h 4"/>
                <a:gd name="T4" fmla="*/ 0 w 4"/>
                <a:gd name="T5" fmla="*/ 3 h 4"/>
                <a:gd name="T6" fmla="*/ 0 w 4"/>
                <a:gd name="T7" fmla="*/ 4 h 4"/>
                <a:gd name="T8" fmla="*/ 4 w 4"/>
                <a:gd name="T9" fmla="*/ 0 h 4"/>
                <a:gd name="T10" fmla="*/ 4 w 4"/>
                <a:gd name="T11" fmla="*/ 1 h 4"/>
                <a:gd name="T12" fmla="*/ 3 w 4"/>
                <a:gd name="T13" fmla="*/ 1 h 4"/>
                <a:gd name="T14" fmla="*/ 3 w 4"/>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3" y="1"/>
                  </a:moveTo>
                  <a:cubicBezTo>
                    <a:pt x="2" y="1"/>
                    <a:pt x="2" y="2"/>
                    <a:pt x="1" y="2"/>
                  </a:cubicBezTo>
                  <a:cubicBezTo>
                    <a:pt x="1" y="2"/>
                    <a:pt x="1" y="3"/>
                    <a:pt x="0" y="3"/>
                  </a:cubicBezTo>
                  <a:cubicBezTo>
                    <a:pt x="0" y="3"/>
                    <a:pt x="0" y="4"/>
                    <a:pt x="0" y="4"/>
                  </a:cubicBezTo>
                  <a:cubicBezTo>
                    <a:pt x="0" y="4"/>
                    <a:pt x="4" y="1"/>
                    <a:pt x="4" y="0"/>
                  </a:cubicBezTo>
                  <a:cubicBezTo>
                    <a:pt x="4" y="0"/>
                    <a:pt x="4" y="0"/>
                    <a:pt x="4" y="1"/>
                  </a:cubicBezTo>
                  <a:cubicBezTo>
                    <a:pt x="4" y="1"/>
                    <a:pt x="4" y="1"/>
                    <a:pt x="3" y="1"/>
                  </a:cubicBezTo>
                  <a:cubicBezTo>
                    <a:pt x="3" y="1"/>
                    <a:pt x="3" y="1"/>
                    <a:pt x="3"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89" name="Freeform 1940">
              <a:extLst>
                <a:ext uri="{FF2B5EF4-FFF2-40B4-BE49-F238E27FC236}">
                  <a16:creationId xmlns:a16="http://schemas.microsoft.com/office/drawing/2014/main" id="{020847BE-21BF-4AC4-AEAD-4441C11271EE}"/>
                </a:ext>
              </a:extLst>
            </p:cNvPr>
            <p:cNvSpPr>
              <a:spLocks/>
            </p:cNvSpPr>
            <p:nvPr/>
          </p:nvSpPr>
          <p:spPr bwMode="auto">
            <a:xfrm>
              <a:off x="577" y="1499"/>
              <a:ext cx="7" cy="2"/>
            </a:xfrm>
            <a:custGeom>
              <a:avLst/>
              <a:gdLst>
                <a:gd name="T0" fmla="*/ 2 w 3"/>
                <a:gd name="T1" fmla="*/ 1 h 1"/>
                <a:gd name="T2" fmla="*/ 2 w 3"/>
                <a:gd name="T3" fmla="*/ 0 h 1"/>
                <a:gd name="T4" fmla="*/ 1 w 3"/>
                <a:gd name="T5" fmla="*/ 0 h 1"/>
                <a:gd name="T6" fmla="*/ 0 w 3"/>
                <a:gd name="T7" fmla="*/ 0 h 1"/>
                <a:gd name="T8" fmla="*/ 1 w 3"/>
                <a:gd name="T9" fmla="*/ 1 h 1"/>
                <a:gd name="T10" fmla="*/ 2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2" y="1"/>
                  </a:moveTo>
                  <a:cubicBezTo>
                    <a:pt x="3" y="1"/>
                    <a:pt x="3" y="0"/>
                    <a:pt x="2" y="0"/>
                  </a:cubicBezTo>
                  <a:cubicBezTo>
                    <a:pt x="2" y="0"/>
                    <a:pt x="1" y="0"/>
                    <a:pt x="1" y="0"/>
                  </a:cubicBezTo>
                  <a:cubicBezTo>
                    <a:pt x="1" y="0"/>
                    <a:pt x="1" y="0"/>
                    <a:pt x="0" y="0"/>
                  </a:cubicBezTo>
                  <a:cubicBezTo>
                    <a:pt x="1" y="1"/>
                    <a:pt x="0" y="1"/>
                    <a:pt x="1" y="1"/>
                  </a:cubicBezTo>
                  <a:cubicBezTo>
                    <a:pt x="1" y="1"/>
                    <a:pt x="2"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90" name="Oval 1941">
              <a:extLst>
                <a:ext uri="{FF2B5EF4-FFF2-40B4-BE49-F238E27FC236}">
                  <a16:creationId xmlns:a16="http://schemas.microsoft.com/office/drawing/2014/main" id="{B1A9BF31-0C8C-4E15-B16B-DDEDDEBB7AD4}"/>
                </a:ext>
              </a:extLst>
            </p:cNvPr>
            <p:cNvSpPr>
              <a:spLocks noChangeArrowheads="1"/>
            </p:cNvSpPr>
            <p:nvPr/>
          </p:nvSpPr>
          <p:spPr bwMode="auto">
            <a:xfrm>
              <a:off x="1395" y="2026"/>
              <a:ext cx="1" cy="1"/>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91" name="Freeform 1942">
              <a:extLst>
                <a:ext uri="{FF2B5EF4-FFF2-40B4-BE49-F238E27FC236}">
                  <a16:creationId xmlns:a16="http://schemas.microsoft.com/office/drawing/2014/main" id="{008E0D70-7AF5-4853-A55D-8AF664A8584C}"/>
                </a:ext>
              </a:extLst>
            </p:cNvPr>
            <p:cNvSpPr>
              <a:spLocks/>
            </p:cNvSpPr>
            <p:nvPr/>
          </p:nvSpPr>
          <p:spPr bwMode="auto">
            <a:xfrm>
              <a:off x="1447" y="2019"/>
              <a:ext cx="12" cy="3"/>
            </a:xfrm>
            <a:custGeom>
              <a:avLst/>
              <a:gdLst>
                <a:gd name="T0" fmla="*/ 0 w 5"/>
                <a:gd name="T1" fmla="*/ 1 h 1"/>
                <a:gd name="T2" fmla="*/ 5 w 5"/>
                <a:gd name="T3" fmla="*/ 0 h 1"/>
                <a:gd name="T4" fmla="*/ 4 w 5"/>
                <a:gd name="T5" fmla="*/ 0 h 1"/>
                <a:gd name="T6" fmla="*/ 0 w 5"/>
                <a:gd name="T7" fmla="*/ 1 h 1"/>
              </a:gdLst>
              <a:ahLst/>
              <a:cxnLst>
                <a:cxn ang="0">
                  <a:pos x="T0" y="T1"/>
                </a:cxn>
                <a:cxn ang="0">
                  <a:pos x="T2" y="T3"/>
                </a:cxn>
                <a:cxn ang="0">
                  <a:pos x="T4" y="T5"/>
                </a:cxn>
                <a:cxn ang="0">
                  <a:pos x="T6" y="T7"/>
                </a:cxn>
              </a:cxnLst>
              <a:rect l="0" t="0" r="r" b="b"/>
              <a:pathLst>
                <a:path w="5" h="1">
                  <a:moveTo>
                    <a:pt x="0" y="1"/>
                  </a:moveTo>
                  <a:cubicBezTo>
                    <a:pt x="2" y="0"/>
                    <a:pt x="3" y="0"/>
                    <a:pt x="5" y="0"/>
                  </a:cubicBezTo>
                  <a:cubicBezTo>
                    <a:pt x="4" y="0"/>
                    <a:pt x="4" y="0"/>
                    <a:pt x="4" y="0"/>
                  </a:cubicBezTo>
                  <a:cubicBezTo>
                    <a:pt x="3" y="0"/>
                    <a:pt x="1"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92" name="Freeform 1943">
              <a:extLst>
                <a:ext uri="{FF2B5EF4-FFF2-40B4-BE49-F238E27FC236}">
                  <a16:creationId xmlns:a16="http://schemas.microsoft.com/office/drawing/2014/main" id="{81F63D49-DD90-43A5-964B-73FE19A9A00B}"/>
                </a:ext>
              </a:extLst>
            </p:cNvPr>
            <p:cNvSpPr>
              <a:spLocks/>
            </p:cNvSpPr>
            <p:nvPr/>
          </p:nvSpPr>
          <p:spPr bwMode="auto">
            <a:xfrm>
              <a:off x="1440" y="2022"/>
              <a:ext cx="7" cy="0"/>
            </a:xfrm>
            <a:custGeom>
              <a:avLst/>
              <a:gdLst>
                <a:gd name="T0" fmla="*/ 0 w 3"/>
                <a:gd name="T1" fmla="*/ 3 w 3"/>
                <a:gd name="T2" fmla="*/ 1 w 3"/>
                <a:gd name="T3" fmla="*/ 0 w 3"/>
              </a:gdLst>
              <a:ahLst/>
              <a:cxnLst>
                <a:cxn ang="0">
                  <a:pos x="T0" y="0"/>
                </a:cxn>
                <a:cxn ang="0">
                  <a:pos x="T1" y="0"/>
                </a:cxn>
                <a:cxn ang="0">
                  <a:pos x="T2" y="0"/>
                </a:cxn>
                <a:cxn ang="0">
                  <a:pos x="T3" y="0"/>
                </a:cxn>
              </a:cxnLst>
              <a:rect l="0" t="0" r="r" b="b"/>
              <a:pathLst>
                <a:path w="3">
                  <a:moveTo>
                    <a:pt x="0" y="0"/>
                  </a:moveTo>
                  <a:cubicBezTo>
                    <a:pt x="1" y="0"/>
                    <a:pt x="2" y="0"/>
                    <a:pt x="3" y="0"/>
                  </a:cubicBezTo>
                  <a:cubicBezTo>
                    <a:pt x="2" y="0"/>
                    <a:pt x="2" y="0"/>
                    <a:pt x="1" y="0"/>
                  </a:cubicBezTo>
                  <a:cubicBezTo>
                    <a:pt x="1" y="0"/>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93" name="Freeform 1944">
              <a:extLst>
                <a:ext uri="{FF2B5EF4-FFF2-40B4-BE49-F238E27FC236}">
                  <a16:creationId xmlns:a16="http://schemas.microsoft.com/office/drawing/2014/main" id="{9329AD48-CEB9-4CB1-A6CA-95F141354FD8}"/>
                </a:ext>
              </a:extLst>
            </p:cNvPr>
            <p:cNvSpPr>
              <a:spLocks/>
            </p:cNvSpPr>
            <p:nvPr/>
          </p:nvSpPr>
          <p:spPr bwMode="auto">
            <a:xfrm>
              <a:off x="1523" y="1577"/>
              <a:ext cx="9" cy="4"/>
            </a:xfrm>
            <a:custGeom>
              <a:avLst/>
              <a:gdLst>
                <a:gd name="T0" fmla="*/ 0 w 4"/>
                <a:gd name="T1" fmla="*/ 1 h 2"/>
                <a:gd name="T2" fmla="*/ 0 w 4"/>
                <a:gd name="T3" fmla="*/ 1 h 2"/>
                <a:gd name="T4" fmla="*/ 2 w 4"/>
                <a:gd name="T5" fmla="*/ 2 h 2"/>
                <a:gd name="T6" fmla="*/ 2 w 4"/>
                <a:gd name="T7" fmla="*/ 2 h 2"/>
                <a:gd name="T8" fmla="*/ 3 w 4"/>
                <a:gd name="T9" fmla="*/ 2 h 2"/>
                <a:gd name="T10" fmla="*/ 3 w 4"/>
                <a:gd name="T11" fmla="*/ 2 h 2"/>
                <a:gd name="T12" fmla="*/ 4 w 4"/>
                <a:gd name="T13" fmla="*/ 2 h 2"/>
                <a:gd name="T14" fmla="*/ 3 w 4"/>
                <a:gd name="T15" fmla="*/ 0 h 2"/>
                <a:gd name="T16" fmla="*/ 1 w 4"/>
                <a:gd name="T17" fmla="*/ 1 h 2"/>
                <a:gd name="T18" fmla="*/ 1 w 4"/>
                <a:gd name="T19" fmla="*/ 1 h 2"/>
                <a:gd name="T20" fmla="*/ 0 w 4"/>
                <a:gd name="T2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2">
                  <a:moveTo>
                    <a:pt x="0" y="1"/>
                  </a:moveTo>
                  <a:cubicBezTo>
                    <a:pt x="0" y="1"/>
                    <a:pt x="0" y="1"/>
                    <a:pt x="0" y="1"/>
                  </a:cubicBezTo>
                  <a:cubicBezTo>
                    <a:pt x="0" y="1"/>
                    <a:pt x="1" y="2"/>
                    <a:pt x="2" y="2"/>
                  </a:cubicBezTo>
                  <a:cubicBezTo>
                    <a:pt x="2" y="2"/>
                    <a:pt x="2" y="2"/>
                    <a:pt x="2" y="2"/>
                  </a:cubicBezTo>
                  <a:cubicBezTo>
                    <a:pt x="2" y="2"/>
                    <a:pt x="3" y="2"/>
                    <a:pt x="3" y="2"/>
                  </a:cubicBezTo>
                  <a:cubicBezTo>
                    <a:pt x="3" y="2"/>
                    <a:pt x="3" y="2"/>
                    <a:pt x="3" y="2"/>
                  </a:cubicBezTo>
                  <a:cubicBezTo>
                    <a:pt x="3" y="2"/>
                    <a:pt x="4" y="2"/>
                    <a:pt x="4" y="2"/>
                  </a:cubicBezTo>
                  <a:cubicBezTo>
                    <a:pt x="4" y="2"/>
                    <a:pt x="3" y="0"/>
                    <a:pt x="3" y="0"/>
                  </a:cubicBezTo>
                  <a:cubicBezTo>
                    <a:pt x="2" y="1"/>
                    <a:pt x="2" y="1"/>
                    <a:pt x="1" y="1"/>
                  </a:cubicBezTo>
                  <a:cubicBezTo>
                    <a:pt x="1" y="1"/>
                    <a:pt x="1" y="1"/>
                    <a:pt x="1" y="1"/>
                  </a:cubicBezTo>
                  <a:cubicBezTo>
                    <a:pt x="1" y="1"/>
                    <a:pt x="1"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94" name="Freeform 1945">
              <a:extLst>
                <a:ext uri="{FF2B5EF4-FFF2-40B4-BE49-F238E27FC236}">
                  <a16:creationId xmlns:a16="http://schemas.microsoft.com/office/drawing/2014/main" id="{4494ACFA-2D3B-4028-9B09-6ABD3844EF18}"/>
                </a:ext>
              </a:extLst>
            </p:cNvPr>
            <p:cNvSpPr>
              <a:spLocks/>
            </p:cNvSpPr>
            <p:nvPr/>
          </p:nvSpPr>
          <p:spPr bwMode="auto">
            <a:xfrm>
              <a:off x="1223" y="2071"/>
              <a:ext cx="2" cy="0"/>
            </a:xfrm>
            <a:custGeom>
              <a:avLst/>
              <a:gdLst>
                <a:gd name="T0" fmla="*/ 0 w 1"/>
                <a:gd name="T1" fmla="*/ 1 w 1"/>
                <a:gd name="T2" fmla="*/ 0 w 1"/>
                <a:gd name="T3" fmla="*/ 0 w 1"/>
              </a:gdLst>
              <a:ahLst/>
              <a:cxnLst>
                <a:cxn ang="0">
                  <a:pos x="T0" y="0"/>
                </a:cxn>
                <a:cxn ang="0">
                  <a:pos x="T1" y="0"/>
                </a:cxn>
                <a:cxn ang="0">
                  <a:pos x="T2" y="0"/>
                </a:cxn>
                <a:cxn ang="0">
                  <a:pos x="T3" y="0"/>
                </a:cxn>
              </a:cxnLst>
              <a:rect l="0" t="0" r="r" b="b"/>
              <a:pathLst>
                <a:path w="1">
                  <a:moveTo>
                    <a:pt x="0" y="0"/>
                  </a:moveTo>
                  <a:cubicBezTo>
                    <a:pt x="0" y="0"/>
                    <a:pt x="1" y="0"/>
                    <a:pt x="1" y="0"/>
                  </a:cubicBez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95" name="Freeform 1946">
              <a:extLst>
                <a:ext uri="{FF2B5EF4-FFF2-40B4-BE49-F238E27FC236}">
                  <a16:creationId xmlns:a16="http://schemas.microsoft.com/office/drawing/2014/main" id="{252BF869-9864-4D55-8644-2624A7E6DD2D}"/>
                </a:ext>
              </a:extLst>
            </p:cNvPr>
            <p:cNvSpPr>
              <a:spLocks/>
            </p:cNvSpPr>
            <p:nvPr/>
          </p:nvSpPr>
          <p:spPr bwMode="auto">
            <a:xfrm>
              <a:off x="1197" y="2100"/>
              <a:ext cx="2" cy="2"/>
            </a:xfrm>
            <a:custGeom>
              <a:avLst/>
              <a:gdLst>
                <a:gd name="T0" fmla="*/ 0 w 1"/>
                <a:gd name="T1" fmla="*/ 1 h 1"/>
                <a:gd name="T2" fmla="*/ 0 w 1"/>
                <a:gd name="T3" fmla="*/ 1 h 1"/>
                <a:gd name="T4" fmla="*/ 0 w 1"/>
                <a:gd name="T5" fmla="*/ 1 h 1"/>
                <a:gd name="T6" fmla="*/ 1 w 1"/>
                <a:gd name="T7" fmla="*/ 0 h 1"/>
                <a:gd name="T8" fmla="*/ 0 w 1"/>
                <a:gd name="T9" fmla="*/ 1 h 1"/>
                <a:gd name="T10" fmla="*/ 0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0" y="1"/>
                  </a:moveTo>
                  <a:cubicBezTo>
                    <a:pt x="0" y="1"/>
                    <a:pt x="0" y="1"/>
                    <a:pt x="0" y="1"/>
                  </a:cubicBezTo>
                  <a:cubicBezTo>
                    <a:pt x="0" y="1"/>
                    <a:pt x="0" y="1"/>
                    <a:pt x="0" y="1"/>
                  </a:cubicBezTo>
                  <a:cubicBezTo>
                    <a:pt x="0" y="1"/>
                    <a:pt x="0" y="1"/>
                    <a:pt x="1" y="0"/>
                  </a:cubicBezTo>
                  <a:cubicBezTo>
                    <a:pt x="1" y="1"/>
                    <a:pt x="0" y="1"/>
                    <a:pt x="0" y="1"/>
                  </a:cubicBezTo>
                  <a:cubicBezTo>
                    <a:pt x="0" y="1"/>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96" name="Freeform 1947">
              <a:extLst>
                <a:ext uri="{FF2B5EF4-FFF2-40B4-BE49-F238E27FC236}">
                  <a16:creationId xmlns:a16="http://schemas.microsoft.com/office/drawing/2014/main" id="{235A3A6E-0D07-4675-95CC-9C7923641CC4}"/>
                </a:ext>
              </a:extLst>
            </p:cNvPr>
            <p:cNvSpPr>
              <a:spLocks/>
            </p:cNvSpPr>
            <p:nvPr/>
          </p:nvSpPr>
          <p:spPr bwMode="auto">
            <a:xfrm>
              <a:off x="1197" y="210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97" name="Freeform 1948">
              <a:extLst>
                <a:ext uri="{FF2B5EF4-FFF2-40B4-BE49-F238E27FC236}">
                  <a16:creationId xmlns:a16="http://schemas.microsoft.com/office/drawing/2014/main" id="{CEE47098-30F2-4C38-BDBA-ADC7AE565CD8}"/>
                </a:ext>
              </a:extLst>
            </p:cNvPr>
            <p:cNvSpPr>
              <a:spLocks/>
            </p:cNvSpPr>
            <p:nvPr/>
          </p:nvSpPr>
          <p:spPr bwMode="auto">
            <a:xfrm>
              <a:off x="1199" y="2088"/>
              <a:ext cx="5" cy="12"/>
            </a:xfrm>
            <a:custGeom>
              <a:avLst/>
              <a:gdLst>
                <a:gd name="T0" fmla="*/ 0 w 2"/>
                <a:gd name="T1" fmla="*/ 5 h 5"/>
                <a:gd name="T2" fmla="*/ 2 w 2"/>
                <a:gd name="T3" fmla="*/ 0 h 5"/>
                <a:gd name="T4" fmla="*/ 0 w 2"/>
                <a:gd name="T5" fmla="*/ 5 h 5"/>
              </a:gdLst>
              <a:ahLst/>
              <a:cxnLst>
                <a:cxn ang="0">
                  <a:pos x="T0" y="T1"/>
                </a:cxn>
                <a:cxn ang="0">
                  <a:pos x="T2" y="T3"/>
                </a:cxn>
                <a:cxn ang="0">
                  <a:pos x="T4" y="T5"/>
                </a:cxn>
              </a:cxnLst>
              <a:rect l="0" t="0" r="r" b="b"/>
              <a:pathLst>
                <a:path w="2" h="5">
                  <a:moveTo>
                    <a:pt x="0" y="5"/>
                  </a:moveTo>
                  <a:cubicBezTo>
                    <a:pt x="1" y="4"/>
                    <a:pt x="1" y="2"/>
                    <a:pt x="2" y="0"/>
                  </a:cubicBezTo>
                  <a:cubicBezTo>
                    <a:pt x="1" y="1"/>
                    <a:pt x="0" y="3"/>
                    <a:pt x="0"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98" name="Freeform 1949">
              <a:extLst>
                <a:ext uri="{FF2B5EF4-FFF2-40B4-BE49-F238E27FC236}">
                  <a16:creationId xmlns:a16="http://schemas.microsoft.com/office/drawing/2014/main" id="{2A162CA0-6897-4C67-A4C0-9340BA9BA4AE}"/>
                </a:ext>
              </a:extLst>
            </p:cNvPr>
            <p:cNvSpPr>
              <a:spLocks/>
            </p:cNvSpPr>
            <p:nvPr/>
          </p:nvSpPr>
          <p:spPr bwMode="auto">
            <a:xfrm>
              <a:off x="1603" y="2152"/>
              <a:ext cx="7" cy="9"/>
            </a:xfrm>
            <a:custGeom>
              <a:avLst/>
              <a:gdLst>
                <a:gd name="T0" fmla="*/ 3 w 3"/>
                <a:gd name="T1" fmla="*/ 0 h 4"/>
                <a:gd name="T2" fmla="*/ 1 w 3"/>
                <a:gd name="T3" fmla="*/ 3 h 4"/>
                <a:gd name="T4" fmla="*/ 0 w 3"/>
                <a:gd name="T5" fmla="*/ 4 h 4"/>
                <a:gd name="T6" fmla="*/ 0 w 3"/>
                <a:gd name="T7" fmla="*/ 4 h 4"/>
                <a:gd name="T8" fmla="*/ 3 w 3"/>
                <a:gd name="T9" fmla="*/ 0 h 4"/>
              </a:gdLst>
              <a:ahLst/>
              <a:cxnLst>
                <a:cxn ang="0">
                  <a:pos x="T0" y="T1"/>
                </a:cxn>
                <a:cxn ang="0">
                  <a:pos x="T2" y="T3"/>
                </a:cxn>
                <a:cxn ang="0">
                  <a:pos x="T4" y="T5"/>
                </a:cxn>
                <a:cxn ang="0">
                  <a:pos x="T6" y="T7"/>
                </a:cxn>
                <a:cxn ang="0">
                  <a:pos x="T8" y="T9"/>
                </a:cxn>
              </a:cxnLst>
              <a:rect l="0" t="0" r="r" b="b"/>
              <a:pathLst>
                <a:path w="3" h="4">
                  <a:moveTo>
                    <a:pt x="3" y="0"/>
                  </a:moveTo>
                  <a:cubicBezTo>
                    <a:pt x="2" y="1"/>
                    <a:pt x="1" y="2"/>
                    <a:pt x="1" y="3"/>
                  </a:cubicBezTo>
                  <a:cubicBezTo>
                    <a:pt x="0" y="3"/>
                    <a:pt x="0" y="4"/>
                    <a:pt x="0" y="4"/>
                  </a:cubicBezTo>
                  <a:cubicBezTo>
                    <a:pt x="0" y="4"/>
                    <a:pt x="0" y="4"/>
                    <a:pt x="0" y="4"/>
                  </a:cubicBezTo>
                  <a:cubicBezTo>
                    <a:pt x="1" y="3"/>
                    <a:pt x="2" y="2"/>
                    <a:pt x="3"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99" name="Freeform 1950">
              <a:extLst>
                <a:ext uri="{FF2B5EF4-FFF2-40B4-BE49-F238E27FC236}">
                  <a16:creationId xmlns:a16="http://schemas.microsoft.com/office/drawing/2014/main" id="{B101B184-74E3-4246-A529-E0B0A70EED73}"/>
                </a:ext>
              </a:extLst>
            </p:cNvPr>
            <p:cNvSpPr>
              <a:spLocks/>
            </p:cNvSpPr>
            <p:nvPr/>
          </p:nvSpPr>
          <p:spPr bwMode="auto">
            <a:xfrm>
              <a:off x="875" y="2156"/>
              <a:ext cx="5" cy="8"/>
            </a:xfrm>
            <a:custGeom>
              <a:avLst/>
              <a:gdLst>
                <a:gd name="T0" fmla="*/ 1 w 2"/>
                <a:gd name="T1" fmla="*/ 3 h 3"/>
                <a:gd name="T2" fmla="*/ 1 w 2"/>
                <a:gd name="T3" fmla="*/ 3 h 3"/>
                <a:gd name="T4" fmla="*/ 1 w 2"/>
                <a:gd name="T5" fmla="*/ 3 h 3"/>
                <a:gd name="T6" fmla="*/ 2 w 2"/>
                <a:gd name="T7" fmla="*/ 3 h 3"/>
                <a:gd name="T8" fmla="*/ 0 w 2"/>
                <a:gd name="T9" fmla="*/ 0 h 3"/>
                <a:gd name="T10" fmla="*/ 1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1" y="3"/>
                  </a:moveTo>
                  <a:cubicBezTo>
                    <a:pt x="1" y="3"/>
                    <a:pt x="1" y="3"/>
                    <a:pt x="1" y="3"/>
                  </a:cubicBezTo>
                  <a:cubicBezTo>
                    <a:pt x="1" y="3"/>
                    <a:pt x="1" y="3"/>
                    <a:pt x="1" y="3"/>
                  </a:cubicBezTo>
                  <a:cubicBezTo>
                    <a:pt x="1" y="3"/>
                    <a:pt x="1" y="3"/>
                    <a:pt x="2" y="3"/>
                  </a:cubicBezTo>
                  <a:cubicBezTo>
                    <a:pt x="1" y="2"/>
                    <a:pt x="1" y="1"/>
                    <a:pt x="0" y="0"/>
                  </a:cubicBezTo>
                  <a:cubicBezTo>
                    <a:pt x="0" y="2"/>
                    <a:pt x="1" y="2"/>
                    <a:pt x="1"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00" name="Freeform 1951">
              <a:extLst>
                <a:ext uri="{FF2B5EF4-FFF2-40B4-BE49-F238E27FC236}">
                  <a16:creationId xmlns:a16="http://schemas.microsoft.com/office/drawing/2014/main" id="{44460A82-3A4E-46EA-9AEC-7A706A800037}"/>
                </a:ext>
              </a:extLst>
            </p:cNvPr>
            <p:cNvSpPr>
              <a:spLocks/>
            </p:cNvSpPr>
            <p:nvPr/>
          </p:nvSpPr>
          <p:spPr bwMode="auto">
            <a:xfrm>
              <a:off x="894" y="2178"/>
              <a:ext cx="5" cy="4"/>
            </a:xfrm>
            <a:custGeom>
              <a:avLst/>
              <a:gdLst>
                <a:gd name="T0" fmla="*/ 2 w 2"/>
                <a:gd name="T1" fmla="*/ 2 h 2"/>
                <a:gd name="T2" fmla="*/ 0 w 2"/>
                <a:gd name="T3" fmla="*/ 0 h 2"/>
                <a:gd name="T4" fmla="*/ 2 w 2"/>
                <a:gd name="T5" fmla="*/ 2 h 2"/>
              </a:gdLst>
              <a:ahLst/>
              <a:cxnLst>
                <a:cxn ang="0">
                  <a:pos x="T0" y="T1"/>
                </a:cxn>
                <a:cxn ang="0">
                  <a:pos x="T2" y="T3"/>
                </a:cxn>
                <a:cxn ang="0">
                  <a:pos x="T4" y="T5"/>
                </a:cxn>
              </a:cxnLst>
              <a:rect l="0" t="0" r="r" b="b"/>
              <a:pathLst>
                <a:path w="2" h="2">
                  <a:moveTo>
                    <a:pt x="2" y="2"/>
                  </a:moveTo>
                  <a:cubicBezTo>
                    <a:pt x="1" y="1"/>
                    <a:pt x="1" y="0"/>
                    <a:pt x="0" y="0"/>
                  </a:cubicBezTo>
                  <a:cubicBezTo>
                    <a:pt x="1" y="0"/>
                    <a:pt x="1" y="1"/>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01" name="Freeform 1952">
              <a:extLst>
                <a:ext uri="{FF2B5EF4-FFF2-40B4-BE49-F238E27FC236}">
                  <a16:creationId xmlns:a16="http://schemas.microsoft.com/office/drawing/2014/main" id="{94A0D711-2C35-47FC-9499-95A5CA0358BC}"/>
                </a:ext>
              </a:extLst>
            </p:cNvPr>
            <p:cNvSpPr>
              <a:spLocks/>
            </p:cNvSpPr>
            <p:nvPr/>
          </p:nvSpPr>
          <p:spPr bwMode="auto">
            <a:xfrm>
              <a:off x="1447" y="2272"/>
              <a:ext cx="7" cy="10"/>
            </a:xfrm>
            <a:custGeom>
              <a:avLst/>
              <a:gdLst>
                <a:gd name="T0" fmla="*/ 2 w 3"/>
                <a:gd name="T1" fmla="*/ 0 h 4"/>
                <a:gd name="T2" fmla="*/ 1 w 3"/>
                <a:gd name="T3" fmla="*/ 1 h 4"/>
                <a:gd name="T4" fmla="*/ 1 w 3"/>
                <a:gd name="T5" fmla="*/ 1 h 4"/>
                <a:gd name="T6" fmla="*/ 0 w 3"/>
                <a:gd name="T7" fmla="*/ 4 h 4"/>
                <a:gd name="T8" fmla="*/ 3 w 3"/>
                <a:gd name="T9" fmla="*/ 0 h 4"/>
                <a:gd name="T10" fmla="*/ 3 w 3"/>
                <a:gd name="T11" fmla="*/ 0 h 4"/>
                <a:gd name="T12" fmla="*/ 2 w 3"/>
                <a:gd name="T13" fmla="*/ 0 h 4"/>
                <a:gd name="T14" fmla="*/ 2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2" y="0"/>
                  </a:moveTo>
                  <a:cubicBezTo>
                    <a:pt x="2" y="1"/>
                    <a:pt x="2" y="1"/>
                    <a:pt x="1" y="1"/>
                  </a:cubicBezTo>
                  <a:cubicBezTo>
                    <a:pt x="1" y="1"/>
                    <a:pt x="1" y="1"/>
                    <a:pt x="1" y="1"/>
                  </a:cubicBezTo>
                  <a:cubicBezTo>
                    <a:pt x="0" y="2"/>
                    <a:pt x="0" y="3"/>
                    <a:pt x="0" y="4"/>
                  </a:cubicBezTo>
                  <a:cubicBezTo>
                    <a:pt x="1" y="3"/>
                    <a:pt x="2" y="1"/>
                    <a:pt x="3" y="0"/>
                  </a:cubicBezTo>
                  <a:cubicBezTo>
                    <a:pt x="3" y="0"/>
                    <a:pt x="3" y="0"/>
                    <a:pt x="3" y="0"/>
                  </a:cubicBezTo>
                  <a:cubicBezTo>
                    <a:pt x="3" y="0"/>
                    <a:pt x="3" y="0"/>
                    <a:pt x="2" y="0"/>
                  </a:cubicBezTo>
                  <a:cubicBezTo>
                    <a:pt x="2" y="0"/>
                    <a:pt x="2" y="0"/>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02" name="Freeform 1953">
              <a:extLst>
                <a:ext uri="{FF2B5EF4-FFF2-40B4-BE49-F238E27FC236}">
                  <a16:creationId xmlns:a16="http://schemas.microsoft.com/office/drawing/2014/main" id="{0EBD849F-A579-4556-9DEC-DC9B8DDDEACC}"/>
                </a:ext>
              </a:extLst>
            </p:cNvPr>
            <p:cNvSpPr>
              <a:spLocks/>
            </p:cNvSpPr>
            <p:nvPr/>
          </p:nvSpPr>
          <p:spPr bwMode="auto">
            <a:xfrm>
              <a:off x="885" y="2173"/>
              <a:ext cx="0" cy="2"/>
            </a:xfrm>
            <a:custGeom>
              <a:avLst/>
              <a:gdLst>
                <a:gd name="T0" fmla="*/ 0 h 1"/>
                <a:gd name="T1" fmla="*/ 0 h 1"/>
                <a:gd name="T2" fmla="*/ 0 h 1"/>
                <a:gd name="T3" fmla="*/ 1 h 1"/>
                <a:gd name="T4" fmla="*/ 0 h 1"/>
                <a:gd name="T5" fmla="*/ 0 h 1"/>
                <a:gd name="T6" fmla="*/ 0 h 1"/>
              </a:gdLst>
              <a:ahLst/>
              <a:cxnLst>
                <a:cxn ang="0">
                  <a:pos x="0" y="T0"/>
                </a:cxn>
                <a:cxn ang="0">
                  <a:pos x="0" y="T1"/>
                </a:cxn>
                <a:cxn ang="0">
                  <a:pos x="0" y="T2"/>
                </a:cxn>
                <a:cxn ang="0">
                  <a:pos x="0" y="T3"/>
                </a:cxn>
                <a:cxn ang="0">
                  <a:pos x="0" y="T4"/>
                </a:cxn>
                <a:cxn ang="0">
                  <a:pos x="0" y="T5"/>
                </a:cxn>
                <a:cxn ang="0">
                  <a:pos x="0" y="T6"/>
                </a:cxn>
              </a:cxnLst>
              <a:rect l="0" t="0" r="r" b="b"/>
              <a:pathLst>
                <a:path h="1">
                  <a:moveTo>
                    <a:pt x="0" y="0"/>
                  </a:moveTo>
                  <a:cubicBezTo>
                    <a:pt x="0" y="0"/>
                    <a:pt x="0" y="0"/>
                    <a:pt x="0" y="0"/>
                  </a:cubicBezTo>
                  <a:cubicBezTo>
                    <a:pt x="0" y="0"/>
                    <a:pt x="0" y="0"/>
                    <a:pt x="0" y="0"/>
                  </a:cubicBezTo>
                  <a:cubicBezTo>
                    <a:pt x="0" y="0"/>
                    <a:pt x="0" y="1"/>
                    <a:pt x="0" y="1"/>
                  </a:cubicBezTo>
                  <a:cubicBezTo>
                    <a:pt x="0" y="1"/>
                    <a:pt x="0" y="0"/>
                    <a:pt x="0" y="0"/>
                  </a:cubicBez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03" name="Freeform 1954">
              <a:extLst>
                <a:ext uri="{FF2B5EF4-FFF2-40B4-BE49-F238E27FC236}">
                  <a16:creationId xmlns:a16="http://schemas.microsoft.com/office/drawing/2014/main" id="{F3B7BF63-087B-4AC1-B67C-2A8269016948}"/>
                </a:ext>
              </a:extLst>
            </p:cNvPr>
            <p:cNvSpPr>
              <a:spLocks/>
            </p:cNvSpPr>
            <p:nvPr/>
          </p:nvSpPr>
          <p:spPr bwMode="auto">
            <a:xfrm>
              <a:off x="823" y="2064"/>
              <a:ext cx="2" cy="3"/>
            </a:xfrm>
            <a:custGeom>
              <a:avLst/>
              <a:gdLst>
                <a:gd name="T0" fmla="*/ 0 w 1"/>
                <a:gd name="T1" fmla="*/ 0 h 1"/>
                <a:gd name="T2" fmla="*/ 1 w 1"/>
                <a:gd name="T3" fmla="*/ 1 h 1"/>
                <a:gd name="T4" fmla="*/ 1 w 1"/>
                <a:gd name="T5" fmla="*/ 1 h 1"/>
                <a:gd name="T6" fmla="*/ 0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1"/>
                    <a:pt x="1" y="1"/>
                    <a:pt x="1" y="1"/>
                  </a:cubicBezTo>
                  <a:cubicBezTo>
                    <a:pt x="1" y="1"/>
                    <a:pt x="1" y="1"/>
                    <a:pt x="1" y="1"/>
                  </a:cubicBezTo>
                  <a:cubicBezTo>
                    <a:pt x="0" y="1"/>
                    <a:pt x="0" y="1"/>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04" name="Freeform 1955">
              <a:extLst>
                <a:ext uri="{FF2B5EF4-FFF2-40B4-BE49-F238E27FC236}">
                  <a16:creationId xmlns:a16="http://schemas.microsoft.com/office/drawing/2014/main" id="{BD2FCB2F-826F-4A40-BE36-C70F1E696C54}"/>
                </a:ext>
              </a:extLst>
            </p:cNvPr>
            <p:cNvSpPr>
              <a:spLocks/>
            </p:cNvSpPr>
            <p:nvPr/>
          </p:nvSpPr>
          <p:spPr bwMode="auto">
            <a:xfrm>
              <a:off x="863" y="2133"/>
              <a:ext cx="3" cy="4"/>
            </a:xfrm>
            <a:custGeom>
              <a:avLst/>
              <a:gdLst>
                <a:gd name="T0" fmla="*/ 0 w 1"/>
                <a:gd name="T1" fmla="*/ 2 h 2"/>
                <a:gd name="T2" fmla="*/ 1 w 1"/>
                <a:gd name="T3" fmla="*/ 0 h 2"/>
                <a:gd name="T4" fmla="*/ 0 w 1"/>
                <a:gd name="T5" fmla="*/ 1 h 2"/>
                <a:gd name="T6" fmla="*/ 0 w 1"/>
                <a:gd name="T7" fmla="*/ 2 h 2"/>
                <a:gd name="T8" fmla="*/ 0 w 1"/>
                <a:gd name="T9" fmla="*/ 2 h 2"/>
                <a:gd name="T10" fmla="*/ 0 w 1"/>
                <a:gd name="T11" fmla="*/ 2 h 2"/>
                <a:gd name="T12" fmla="*/ 0 w 1"/>
                <a:gd name="T13" fmla="*/ 2 h 2"/>
                <a:gd name="T14" fmla="*/ 0 w 1"/>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2">
                  <a:moveTo>
                    <a:pt x="0" y="2"/>
                  </a:moveTo>
                  <a:cubicBezTo>
                    <a:pt x="1" y="2"/>
                    <a:pt x="1" y="1"/>
                    <a:pt x="1" y="0"/>
                  </a:cubicBezTo>
                  <a:cubicBezTo>
                    <a:pt x="1" y="0"/>
                    <a:pt x="0" y="0"/>
                    <a:pt x="0" y="1"/>
                  </a:cubicBezTo>
                  <a:cubicBezTo>
                    <a:pt x="0" y="1"/>
                    <a:pt x="0" y="1"/>
                    <a:pt x="0" y="2"/>
                  </a:cubicBezTo>
                  <a:cubicBezTo>
                    <a:pt x="0" y="2"/>
                    <a:pt x="0" y="2"/>
                    <a:pt x="0" y="2"/>
                  </a:cubicBezTo>
                  <a:cubicBezTo>
                    <a:pt x="0" y="2"/>
                    <a:pt x="0" y="2"/>
                    <a:pt x="0" y="2"/>
                  </a:cubicBezTo>
                  <a:cubicBezTo>
                    <a:pt x="0" y="2"/>
                    <a:pt x="0" y="2"/>
                    <a:pt x="0" y="2"/>
                  </a:cubicBezTo>
                  <a:cubicBezTo>
                    <a:pt x="0" y="2"/>
                    <a:pt x="0" y="2"/>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05" name="Freeform 1956">
              <a:extLst>
                <a:ext uri="{FF2B5EF4-FFF2-40B4-BE49-F238E27FC236}">
                  <a16:creationId xmlns:a16="http://schemas.microsoft.com/office/drawing/2014/main" id="{1AAF0E83-B524-4F75-9645-DFBE77DCF9E4}"/>
                </a:ext>
              </a:extLst>
            </p:cNvPr>
            <p:cNvSpPr>
              <a:spLocks/>
            </p:cNvSpPr>
            <p:nvPr/>
          </p:nvSpPr>
          <p:spPr bwMode="auto">
            <a:xfrm>
              <a:off x="837" y="2154"/>
              <a:ext cx="5" cy="19"/>
            </a:xfrm>
            <a:custGeom>
              <a:avLst/>
              <a:gdLst>
                <a:gd name="T0" fmla="*/ 1 w 2"/>
                <a:gd name="T1" fmla="*/ 2 h 8"/>
                <a:gd name="T2" fmla="*/ 1 w 2"/>
                <a:gd name="T3" fmla="*/ 2 h 8"/>
                <a:gd name="T4" fmla="*/ 2 w 2"/>
                <a:gd name="T5" fmla="*/ 0 h 8"/>
                <a:gd name="T6" fmla="*/ 2 w 2"/>
                <a:gd name="T7" fmla="*/ 0 h 8"/>
                <a:gd name="T8" fmla="*/ 1 w 2"/>
                <a:gd name="T9" fmla="*/ 2 h 8"/>
                <a:gd name="T10" fmla="*/ 0 w 2"/>
                <a:gd name="T11" fmla="*/ 4 h 8"/>
                <a:gd name="T12" fmla="*/ 1 w 2"/>
                <a:gd name="T13" fmla="*/ 6 h 8"/>
                <a:gd name="T14" fmla="*/ 1 w 2"/>
                <a:gd name="T15" fmla="*/ 7 h 8"/>
                <a:gd name="T16" fmla="*/ 2 w 2"/>
                <a:gd name="T17" fmla="*/ 8 h 8"/>
                <a:gd name="T18" fmla="*/ 1 w 2"/>
                <a:gd name="T19" fmla="*/ 4 h 8"/>
                <a:gd name="T20" fmla="*/ 1 w 2"/>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8">
                  <a:moveTo>
                    <a:pt x="1" y="2"/>
                  </a:moveTo>
                  <a:cubicBezTo>
                    <a:pt x="1" y="2"/>
                    <a:pt x="1" y="2"/>
                    <a:pt x="1" y="2"/>
                  </a:cubicBezTo>
                  <a:cubicBezTo>
                    <a:pt x="1" y="1"/>
                    <a:pt x="2" y="1"/>
                    <a:pt x="2" y="0"/>
                  </a:cubicBezTo>
                  <a:cubicBezTo>
                    <a:pt x="2" y="0"/>
                    <a:pt x="2" y="0"/>
                    <a:pt x="2" y="0"/>
                  </a:cubicBezTo>
                  <a:cubicBezTo>
                    <a:pt x="1" y="0"/>
                    <a:pt x="1" y="1"/>
                    <a:pt x="1" y="2"/>
                  </a:cubicBezTo>
                  <a:cubicBezTo>
                    <a:pt x="1" y="3"/>
                    <a:pt x="0" y="4"/>
                    <a:pt x="0" y="4"/>
                  </a:cubicBezTo>
                  <a:cubicBezTo>
                    <a:pt x="1" y="5"/>
                    <a:pt x="1" y="5"/>
                    <a:pt x="1" y="6"/>
                  </a:cubicBezTo>
                  <a:cubicBezTo>
                    <a:pt x="1" y="6"/>
                    <a:pt x="1" y="6"/>
                    <a:pt x="1" y="7"/>
                  </a:cubicBezTo>
                  <a:cubicBezTo>
                    <a:pt x="1" y="7"/>
                    <a:pt x="2" y="7"/>
                    <a:pt x="2" y="8"/>
                  </a:cubicBezTo>
                  <a:cubicBezTo>
                    <a:pt x="2" y="7"/>
                    <a:pt x="1" y="5"/>
                    <a:pt x="1" y="4"/>
                  </a:cubicBezTo>
                  <a:cubicBezTo>
                    <a:pt x="1" y="4"/>
                    <a:pt x="1" y="3"/>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06" name="Freeform 1957">
              <a:extLst>
                <a:ext uri="{FF2B5EF4-FFF2-40B4-BE49-F238E27FC236}">
                  <a16:creationId xmlns:a16="http://schemas.microsoft.com/office/drawing/2014/main" id="{937B1F2A-028C-43E8-BBC2-062CBA1DBC68}"/>
                </a:ext>
              </a:extLst>
            </p:cNvPr>
            <p:cNvSpPr>
              <a:spLocks/>
            </p:cNvSpPr>
            <p:nvPr/>
          </p:nvSpPr>
          <p:spPr bwMode="auto">
            <a:xfrm>
              <a:off x="868" y="2315"/>
              <a:ext cx="2" cy="5"/>
            </a:xfrm>
            <a:custGeom>
              <a:avLst/>
              <a:gdLst>
                <a:gd name="T0" fmla="*/ 1 w 1"/>
                <a:gd name="T1" fmla="*/ 2 h 2"/>
                <a:gd name="T2" fmla="*/ 0 w 1"/>
                <a:gd name="T3" fmla="*/ 0 h 2"/>
                <a:gd name="T4" fmla="*/ 0 w 1"/>
                <a:gd name="T5" fmla="*/ 1 h 2"/>
                <a:gd name="T6" fmla="*/ 0 w 1"/>
                <a:gd name="T7" fmla="*/ 1 h 2"/>
                <a:gd name="T8" fmla="*/ 0 w 1"/>
                <a:gd name="T9" fmla="*/ 1 h 2"/>
                <a:gd name="T10" fmla="*/ 0 w 1"/>
                <a:gd name="T11" fmla="*/ 1 h 2"/>
                <a:gd name="T12" fmla="*/ 0 w 1"/>
                <a:gd name="T13" fmla="*/ 2 h 2"/>
                <a:gd name="T14" fmla="*/ 1 w 1"/>
                <a:gd name="T15" fmla="*/ 2 h 2"/>
                <a:gd name="T16" fmla="*/ 1 w 1"/>
                <a:gd name="T17" fmla="*/ 2 h 2"/>
                <a:gd name="T18" fmla="*/ 1 w 1"/>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2">
                  <a:moveTo>
                    <a:pt x="1" y="2"/>
                  </a:moveTo>
                  <a:cubicBezTo>
                    <a:pt x="0" y="1"/>
                    <a:pt x="0" y="1"/>
                    <a:pt x="0" y="0"/>
                  </a:cubicBezTo>
                  <a:cubicBezTo>
                    <a:pt x="0" y="0"/>
                    <a:pt x="0" y="1"/>
                    <a:pt x="0" y="1"/>
                  </a:cubicBezTo>
                  <a:cubicBezTo>
                    <a:pt x="0" y="1"/>
                    <a:pt x="0" y="1"/>
                    <a:pt x="0" y="1"/>
                  </a:cubicBezTo>
                  <a:cubicBezTo>
                    <a:pt x="0" y="1"/>
                    <a:pt x="0" y="1"/>
                    <a:pt x="0" y="1"/>
                  </a:cubicBezTo>
                  <a:cubicBezTo>
                    <a:pt x="0" y="1"/>
                    <a:pt x="0" y="1"/>
                    <a:pt x="0" y="1"/>
                  </a:cubicBezTo>
                  <a:cubicBezTo>
                    <a:pt x="0" y="1"/>
                    <a:pt x="0" y="1"/>
                    <a:pt x="0" y="2"/>
                  </a:cubicBezTo>
                  <a:cubicBezTo>
                    <a:pt x="0" y="2"/>
                    <a:pt x="0" y="2"/>
                    <a:pt x="1" y="2"/>
                  </a:cubicBezTo>
                  <a:cubicBezTo>
                    <a:pt x="1" y="2"/>
                    <a:pt x="1" y="2"/>
                    <a:pt x="1" y="2"/>
                  </a:cubicBezTo>
                  <a:cubicBezTo>
                    <a:pt x="1" y="2"/>
                    <a:pt x="1" y="2"/>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07" name="Freeform 1958">
              <a:extLst>
                <a:ext uri="{FF2B5EF4-FFF2-40B4-BE49-F238E27FC236}">
                  <a16:creationId xmlns:a16="http://schemas.microsoft.com/office/drawing/2014/main" id="{4B55B5DD-539D-4454-B51F-3B8B2DF9B450}"/>
                </a:ext>
              </a:extLst>
            </p:cNvPr>
            <p:cNvSpPr>
              <a:spLocks/>
            </p:cNvSpPr>
            <p:nvPr/>
          </p:nvSpPr>
          <p:spPr bwMode="auto">
            <a:xfrm>
              <a:off x="2258" y="652"/>
              <a:ext cx="17" cy="7"/>
            </a:xfrm>
            <a:custGeom>
              <a:avLst/>
              <a:gdLst>
                <a:gd name="T0" fmla="*/ 0 w 7"/>
                <a:gd name="T1" fmla="*/ 1 h 3"/>
                <a:gd name="T2" fmla="*/ 2 w 7"/>
                <a:gd name="T3" fmla="*/ 3 h 3"/>
                <a:gd name="T4" fmla="*/ 2 w 7"/>
                <a:gd name="T5" fmla="*/ 3 h 3"/>
                <a:gd name="T6" fmla="*/ 5 w 7"/>
                <a:gd name="T7" fmla="*/ 2 h 3"/>
                <a:gd name="T8" fmla="*/ 6 w 7"/>
                <a:gd name="T9" fmla="*/ 1 h 3"/>
                <a:gd name="T10" fmla="*/ 6 w 7"/>
                <a:gd name="T11" fmla="*/ 1 h 3"/>
                <a:gd name="T12" fmla="*/ 7 w 7"/>
                <a:gd name="T13" fmla="*/ 1 h 3"/>
                <a:gd name="T14" fmla="*/ 4 w 7"/>
                <a:gd name="T15" fmla="*/ 0 h 3"/>
                <a:gd name="T16" fmla="*/ 3 w 7"/>
                <a:gd name="T17" fmla="*/ 0 h 3"/>
                <a:gd name="T18" fmla="*/ 0 w 7"/>
                <a:gd name="T19" fmla="*/ 1 h 3"/>
                <a:gd name="T20" fmla="*/ 0 w 7"/>
                <a:gd name="T21" fmla="*/ 1 h 3"/>
                <a:gd name="T22" fmla="*/ 0 w 7"/>
                <a:gd name="T23" fmla="*/ 1 h 3"/>
                <a:gd name="T24" fmla="*/ 0 w 7"/>
                <a:gd name="T25"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3">
                  <a:moveTo>
                    <a:pt x="0" y="1"/>
                  </a:moveTo>
                  <a:cubicBezTo>
                    <a:pt x="1" y="1"/>
                    <a:pt x="1" y="3"/>
                    <a:pt x="2" y="3"/>
                  </a:cubicBezTo>
                  <a:cubicBezTo>
                    <a:pt x="2" y="3"/>
                    <a:pt x="2" y="3"/>
                    <a:pt x="2" y="3"/>
                  </a:cubicBezTo>
                  <a:cubicBezTo>
                    <a:pt x="3" y="3"/>
                    <a:pt x="4" y="2"/>
                    <a:pt x="5" y="2"/>
                  </a:cubicBezTo>
                  <a:cubicBezTo>
                    <a:pt x="5" y="2"/>
                    <a:pt x="6" y="2"/>
                    <a:pt x="6" y="1"/>
                  </a:cubicBezTo>
                  <a:cubicBezTo>
                    <a:pt x="6" y="1"/>
                    <a:pt x="6" y="1"/>
                    <a:pt x="6" y="1"/>
                  </a:cubicBezTo>
                  <a:cubicBezTo>
                    <a:pt x="6" y="1"/>
                    <a:pt x="7" y="1"/>
                    <a:pt x="7" y="1"/>
                  </a:cubicBezTo>
                  <a:cubicBezTo>
                    <a:pt x="6" y="1"/>
                    <a:pt x="5" y="0"/>
                    <a:pt x="4" y="0"/>
                  </a:cubicBezTo>
                  <a:cubicBezTo>
                    <a:pt x="4" y="0"/>
                    <a:pt x="4" y="0"/>
                    <a:pt x="3" y="0"/>
                  </a:cubicBezTo>
                  <a:cubicBezTo>
                    <a:pt x="2" y="0"/>
                    <a:pt x="1" y="0"/>
                    <a:pt x="0" y="1"/>
                  </a:cubicBezTo>
                  <a:cubicBezTo>
                    <a:pt x="0" y="1"/>
                    <a:pt x="0" y="1"/>
                    <a:pt x="0" y="1"/>
                  </a:cubicBezTo>
                  <a:cubicBezTo>
                    <a:pt x="0" y="1"/>
                    <a:pt x="0" y="1"/>
                    <a:pt x="0" y="1"/>
                  </a:cubicBezTo>
                  <a:cubicBezTo>
                    <a:pt x="0" y="1"/>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08" name="Freeform 1959">
              <a:extLst>
                <a:ext uri="{FF2B5EF4-FFF2-40B4-BE49-F238E27FC236}">
                  <a16:creationId xmlns:a16="http://schemas.microsoft.com/office/drawing/2014/main" id="{7C220EE9-D8CA-44EA-9E79-B03F527901EE}"/>
                </a:ext>
              </a:extLst>
            </p:cNvPr>
            <p:cNvSpPr>
              <a:spLocks/>
            </p:cNvSpPr>
            <p:nvPr/>
          </p:nvSpPr>
          <p:spPr bwMode="auto">
            <a:xfrm>
              <a:off x="2452" y="1106"/>
              <a:ext cx="7" cy="7"/>
            </a:xfrm>
            <a:custGeom>
              <a:avLst/>
              <a:gdLst>
                <a:gd name="T0" fmla="*/ 3 w 3"/>
                <a:gd name="T1" fmla="*/ 0 h 3"/>
                <a:gd name="T2" fmla="*/ 1 w 3"/>
                <a:gd name="T3" fmla="*/ 0 h 3"/>
                <a:gd name="T4" fmla="*/ 1 w 3"/>
                <a:gd name="T5" fmla="*/ 1 h 3"/>
                <a:gd name="T6" fmla="*/ 0 w 3"/>
                <a:gd name="T7" fmla="*/ 3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cubicBezTo>
                    <a:pt x="2" y="0"/>
                    <a:pt x="1" y="0"/>
                    <a:pt x="1" y="0"/>
                  </a:cubicBezTo>
                  <a:cubicBezTo>
                    <a:pt x="1" y="0"/>
                    <a:pt x="1" y="0"/>
                    <a:pt x="1" y="1"/>
                  </a:cubicBezTo>
                  <a:cubicBezTo>
                    <a:pt x="0" y="1"/>
                    <a:pt x="0" y="2"/>
                    <a:pt x="0" y="3"/>
                  </a:cubicBezTo>
                  <a:cubicBezTo>
                    <a:pt x="1" y="2"/>
                    <a:pt x="2" y="1"/>
                    <a:pt x="3"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09" name="Freeform 1960">
              <a:extLst>
                <a:ext uri="{FF2B5EF4-FFF2-40B4-BE49-F238E27FC236}">
                  <a16:creationId xmlns:a16="http://schemas.microsoft.com/office/drawing/2014/main" id="{C75DF28E-CBB1-467A-AB3D-1DF44CC8A6F9}"/>
                </a:ext>
              </a:extLst>
            </p:cNvPr>
            <p:cNvSpPr>
              <a:spLocks/>
            </p:cNvSpPr>
            <p:nvPr/>
          </p:nvSpPr>
          <p:spPr bwMode="auto">
            <a:xfrm>
              <a:off x="2540" y="990"/>
              <a:ext cx="16" cy="12"/>
            </a:xfrm>
            <a:custGeom>
              <a:avLst/>
              <a:gdLst>
                <a:gd name="T0" fmla="*/ 7 w 7"/>
                <a:gd name="T1" fmla="*/ 4 h 5"/>
                <a:gd name="T2" fmla="*/ 7 w 7"/>
                <a:gd name="T3" fmla="*/ 4 h 5"/>
                <a:gd name="T4" fmla="*/ 6 w 7"/>
                <a:gd name="T5" fmla="*/ 3 h 5"/>
                <a:gd name="T6" fmla="*/ 6 w 7"/>
                <a:gd name="T7" fmla="*/ 3 h 5"/>
                <a:gd name="T8" fmla="*/ 6 w 7"/>
                <a:gd name="T9" fmla="*/ 3 h 5"/>
                <a:gd name="T10" fmla="*/ 6 w 7"/>
                <a:gd name="T11" fmla="*/ 3 h 5"/>
                <a:gd name="T12" fmla="*/ 5 w 7"/>
                <a:gd name="T13" fmla="*/ 2 h 5"/>
                <a:gd name="T14" fmla="*/ 5 w 7"/>
                <a:gd name="T15" fmla="*/ 2 h 5"/>
                <a:gd name="T16" fmla="*/ 5 w 7"/>
                <a:gd name="T17" fmla="*/ 2 h 5"/>
                <a:gd name="T18" fmla="*/ 4 w 7"/>
                <a:gd name="T19" fmla="*/ 2 h 5"/>
                <a:gd name="T20" fmla="*/ 4 w 7"/>
                <a:gd name="T21" fmla="*/ 2 h 5"/>
                <a:gd name="T22" fmla="*/ 4 w 7"/>
                <a:gd name="T23" fmla="*/ 2 h 5"/>
                <a:gd name="T24" fmla="*/ 3 w 7"/>
                <a:gd name="T25" fmla="*/ 1 h 5"/>
                <a:gd name="T26" fmla="*/ 1 w 7"/>
                <a:gd name="T27" fmla="*/ 0 h 5"/>
                <a:gd name="T28" fmla="*/ 0 w 7"/>
                <a:gd name="T29" fmla="*/ 1 h 5"/>
                <a:gd name="T30" fmla="*/ 7 w 7"/>
                <a:gd name="T31" fmla="*/ 5 h 5"/>
                <a:gd name="T32" fmla="*/ 7 w 7"/>
                <a:gd name="T3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5">
                  <a:moveTo>
                    <a:pt x="7" y="4"/>
                  </a:moveTo>
                  <a:cubicBezTo>
                    <a:pt x="7" y="4"/>
                    <a:pt x="7" y="4"/>
                    <a:pt x="7" y="4"/>
                  </a:cubicBezTo>
                  <a:cubicBezTo>
                    <a:pt x="7" y="4"/>
                    <a:pt x="6" y="4"/>
                    <a:pt x="6" y="3"/>
                  </a:cubicBezTo>
                  <a:cubicBezTo>
                    <a:pt x="6" y="3"/>
                    <a:pt x="6" y="3"/>
                    <a:pt x="6" y="3"/>
                  </a:cubicBezTo>
                  <a:cubicBezTo>
                    <a:pt x="6" y="3"/>
                    <a:pt x="6" y="3"/>
                    <a:pt x="6" y="3"/>
                  </a:cubicBezTo>
                  <a:cubicBezTo>
                    <a:pt x="6" y="3"/>
                    <a:pt x="6" y="3"/>
                    <a:pt x="6" y="3"/>
                  </a:cubicBezTo>
                  <a:cubicBezTo>
                    <a:pt x="6" y="3"/>
                    <a:pt x="5" y="3"/>
                    <a:pt x="5" y="2"/>
                  </a:cubicBezTo>
                  <a:cubicBezTo>
                    <a:pt x="5" y="2"/>
                    <a:pt x="5" y="2"/>
                    <a:pt x="5" y="2"/>
                  </a:cubicBezTo>
                  <a:cubicBezTo>
                    <a:pt x="5" y="2"/>
                    <a:pt x="5" y="2"/>
                    <a:pt x="5" y="2"/>
                  </a:cubicBezTo>
                  <a:cubicBezTo>
                    <a:pt x="5" y="2"/>
                    <a:pt x="5" y="2"/>
                    <a:pt x="4" y="2"/>
                  </a:cubicBezTo>
                  <a:cubicBezTo>
                    <a:pt x="4" y="2"/>
                    <a:pt x="4" y="2"/>
                    <a:pt x="4" y="2"/>
                  </a:cubicBezTo>
                  <a:cubicBezTo>
                    <a:pt x="4" y="2"/>
                    <a:pt x="4" y="2"/>
                    <a:pt x="4" y="2"/>
                  </a:cubicBezTo>
                  <a:cubicBezTo>
                    <a:pt x="3" y="2"/>
                    <a:pt x="3" y="1"/>
                    <a:pt x="3" y="1"/>
                  </a:cubicBezTo>
                  <a:cubicBezTo>
                    <a:pt x="2" y="1"/>
                    <a:pt x="1" y="0"/>
                    <a:pt x="1" y="0"/>
                  </a:cubicBezTo>
                  <a:cubicBezTo>
                    <a:pt x="0" y="0"/>
                    <a:pt x="0" y="0"/>
                    <a:pt x="0" y="1"/>
                  </a:cubicBezTo>
                  <a:cubicBezTo>
                    <a:pt x="2" y="2"/>
                    <a:pt x="4" y="3"/>
                    <a:pt x="7" y="5"/>
                  </a:cubicBezTo>
                  <a:cubicBezTo>
                    <a:pt x="7" y="4"/>
                    <a:pt x="7" y="4"/>
                    <a:pt x="7"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10" name="Freeform 1961">
              <a:extLst>
                <a:ext uri="{FF2B5EF4-FFF2-40B4-BE49-F238E27FC236}">
                  <a16:creationId xmlns:a16="http://schemas.microsoft.com/office/drawing/2014/main" id="{16639F62-2D39-4E41-A1E3-2A0EC29ADC1B}"/>
                </a:ext>
              </a:extLst>
            </p:cNvPr>
            <p:cNvSpPr>
              <a:spLocks/>
            </p:cNvSpPr>
            <p:nvPr/>
          </p:nvSpPr>
          <p:spPr bwMode="auto">
            <a:xfrm>
              <a:off x="2426" y="1092"/>
              <a:ext cx="5" cy="2"/>
            </a:xfrm>
            <a:custGeom>
              <a:avLst/>
              <a:gdLst>
                <a:gd name="T0" fmla="*/ 1 w 2"/>
                <a:gd name="T1" fmla="*/ 0 h 1"/>
                <a:gd name="T2" fmla="*/ 1 w 2"/>
                <a:gd name="T3" fmla="*/ 0 h 1"/>
                <a:gd name="T4" fmla="*/ 0 w 2"/>
                <a:gd name="T5" fmla="*/ 1 h 1"/>
                <a:gd name="T6" fmla="*/ 0 w 2"/>
                <a:gd name="T7" fmla="*/ 1 h 1"/>
                <a:gd name="T8" fmla="*/ 2 w 2"/>
                <a:gd name="T9" fmla="*/ 0 h 1"/>
                <a:gd name="T10" fmla="*/ 1 w 2"/>
                <a:gd name="T11" fmla="*/ 0 h 1"/>
                <a:gd name="T12" fmla="*/ 1 w 2"/>
                <a:gd name="T13" fmla="*/ 0 h 1"/>
                <a:gd name="T14" fmla="*/ 1 w 2"/>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
                  <a:moveTo>
                    <a:pt x="1" y="0"/>
                  </a:moveTo>
                  <a:cubicBezTo>
                    <a:pt x="1" y="0"/>
                    <a:pt x="1" y="0"/>
                    <a:pt x="1" y="0"/>
                  </a:cubicBezTo>
                  <a:cubicBezTo>
                    <a:pt x="1" y="1"/>
                    <a:pt x="1" y="1"/>
                    <a:pt x="0" y="1"/>
                  </a:cubicBezTo>
                  <a:cubicBezTo>
                    <a:pt x="0" y="1"/>
                    <a:pt x="0" y="1"/>
                    <a:pt x="0" y="1"/>
                  </a:cubicBezTo>
                  <a:cubicBezTo>
                    <a:pt x="1" y="1"/>
                    <a:pt x="2" y="0"/>
                    <a:pt x="2" y="0"/>
                  </a:cubicBezTo>
                  <a:cubicBezTo>
                    <a:pt x="2" y="0"/>
                    <a:pt x="2" y="0"/>
                    <a:pt x="1" y="0"/>
                  </a:cubicBezTo>
                  <a:cubicBezTo>
                    <a:pt x="1" y="0"/>
                    <a:pt x="1" y="0"/>
                    <a:pt x="1" y="0"/>
                  </a:cubicBezTo>
                  <a:cubicBezTo>
                    <a:pt x="1" y="0"/>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11" name="Freeform 1962">
              <a:extLst>
                <a:ext uri="{FF2B5EF4-FFF2-40B4-BE49-F238E27FC236}">
                  <a16:creationId xmlns:a16="http://schemas.microsoft.com/office/drawing/2014/main" id="{1702DB12-B11D-46B2-9ADF-486A56784EC0}"/>
                </a:ext>
              </a:extLst>
            </p:cNvPr>
            <p:cNvSpPr>
              <a:spLocks/>
            </p:cNvSpPr>
            <p:nvPr/>
          </p:nvSpPr>
          <p:spPr bwMode="auto">
            <a:xfrm>
              <a:off x="2459" y="1104"/>
              <a:ext cx="3" cy="0"/>
            </a:xfrm>
            <a:custGeom>
              <a:avLst/>
              <a:gdLst>
                <a:gd name="T0" fmla="*/ 0 w 1"/>
                <a:gd name="T1" fmla="*/ 1 w 1"/>
                <a:gd name="T2" fmla="*/ 1 w 1"/>
                <a:gd name="T3" fmla="*/ 1 w 1"/>
                <a:gd name="T4" fmla="*/ 1 w 1"/>
                <a:gd name="T5" fmla="*/ 0 w 1"/>
                <a:gd name="T6" fmla="*/ 1 w 1"/>
                <a:gd name="T7" fmla="*/ 0 w 1"/>
                <a:gd name="T8" fmla="*/ 0 w 1"/>
                <a:gd name="T9" fmla="*/ 0 w 1"/>
                <a:gd name="T10" fmla="*/ 0 w 1"/>
                <a:gd name="T11" fmla="*/ 0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1">
                  <a:moveTo>
                    <a:pt x="0" y="0"/>
                  </a:moveTo>
                  <a:cubicBezTo>
                    <a:pt x="1" y="0"/>
                    <a:pt x="1" y="0"/>
                    <a:pt x="1" y="0"/>
                  </a:cubicBezTo>
                  <a:cubicBezTo>
                    <a:pt x="1" y="0"/>
                    <a:pt x="1" y="0"/>
                    <a:pt x="1" y="0"/>
                  </a:cubicBezTo>
                  <a:cubicBezTo>
                    <a:pt x="1" y="0"/>
                    <a:pt x="1" y="0"/>
                    <a:pt x="1" y="0"/>
                  </a:cubicBezTo>
                  <a:cubicBezTo>
                    <a:pt x="1" y="0"/>
                    <a:pt x="1" y="0"/>
                    <a:pt x="1" y="0"/>
                  </a:cubicBezTo>
                  <a:cubicBezTo>
                    <a:pt x="1" y="0"/>
                    <a:pt x="0" y="0"/>
                    <a:pt x="0" y="0"/>
                  </a:cubicBezTo>
                  <a:cubicBezTo>
                    <a:pt x="0" y="0"/>
                    <a:pt x="0" y="0"/>
                    <a:pt x="1"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12" name="Freeform 1963">
              <a:extLst>
                <a:ext uri="{FF2B5EF4-FFF2-40B4-BE49-F238E27FC236}">
                  <a16:creationId xmlns:a16="http://schemas.microsoft.com/office/drawing/2014/main" id="{B70B58AA-4936-4EBC-ABF6-A63FBD4D64A1}"/>
                </a:ext>
              </a:extLst>
            </p:cNvPr>
            <p:cNvSpPr>
              <a:spLocks/>
            </p:cNvSpPr>
            <p:nvPr/>
          </p:nvSpPr>
          <p:spPr bwMode="auto">
            <a:xfrm>
              <a:off x="2632" y="898"/>
              <a:ext cx="16" cy="12"/>
            </a:xfrm>
            <a:custGeom>
              <a:avLst/>
              <a:gdLst>
                <a:gd name="T0" fmla="*/ 7 w 7"/>
                <a:gd name="T1" fmla="*/ 2 h 5"/>
                <a:gd name="T2" fmla="*/ 5 w 7"/>
                <a:gd name="T3" fmla="*/ 0 h 5"/>
                <a:gd name="T4" fmla="*/ 2 w 7"/>
                <a:gd name="T5" fmla="*/ 0 h 5"/>
                <a:gd name="T6" fmla="*/ 2 w 7"/>
                <a:gd name="T7" fmla="*/ 0 h 5"/>
                <a:gd name="T8" fmla="*/ 1 w 7"/>
                <a:gd name="T9" fmla="*/ 1 h 5"/>
                <a:gd name="T10" fmla="*/ 0 w 7"/>
                <a:gd name="T11" fmla="*/ 1 h 5"/>
                <a:gd name="T12" fmla="*/ 0 w 7"/>
                <a:gd name="T13" fmla="*/ 2 h 5"/>
                <a:gd name="T14" fmla="*/ 0 w 7"/>
                <a:gd name="T15" fmla="*/ 3 h 5"/>
                <a:gd name="T16" fmla="*/ 0 w 7"/>
                <a:gd name="T17" fmla="*/ 3 h 5"/>
                <a:gd name="T18" fmla="*/ 0 w 7"/>
                <a:gd name="T19" fmla="*/ 3 h 5"/>
                <a:gd name="T20" fmla="*/ 0 w 7"/>
                <a:gd name="T21" fmla="*/ 3 h 5"/>
                <a:gd name="T22" fmla="*/ 5 w 7"/>
                <a:gd name="T23" fmla="*/ 4 h 5"/>
                <a:gd name="T24" fmla="*/ 5 w 7"/>
                <a:gd name="T25" fmla="*/ 4 h 5"/>
                <a:gd name="T26" fmla="*/ 5 w 7"/>
                <a:gd name="T27" fmla="*/ 4 h 5"/>
                <a:gd name="T28" fmla="*/ 5 w 7"/>
                <a:gd name="T29" fmla="*/ 4 h 5"/>
                <a:gd name="T30" fmla="*/ 6 w 7"/>
                <a:gd name="T31" fmla="*/ 4 h 5"/>
                <a:gd name="T32" fmla="*/ 7 w 7"/>
                <a:gd name="T33" fmla="*/ 3 h 5"/>
                <a:gd name="T34" fmla="*/ 7 w 7"/>
                <a:gd name="T35" fmla="*/ 3 h 5"/>
                <a:gd name="T36" fmla="*/ 7 w 7"/>
                <a:gd name="T37" fmla="*/ 3 h 5"/>
                <a:gd name="T38" fmla="*/ 6 w 7"/>
                <a:gd name="T39" fmla="*/ 3 h 5"/>
                <a:gd name="T40" fmla="*/ 7 w 7"/>
                <a:gd name="T4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5">
                  <a:moveTo>
                    <a:pt x="7" y="2"/>
                  </a:moveTo>
                  <a:cubicBezTo>
                    <a:pt x="6" y="1"/>
                    <a:pt x="6" y="1"/>
                    <a:pt x="5" y="0"/>
                  </a:cubicBezTo>
                  <a:cubicBezTo>
                    <a:pt x="5" y="0"/>
                    <a:pt x="2" y="0"/>
                    <a:pt x="2" y="0"/>
                  </a:cubicBezTo>
                  <a:cubicBezTo>
                    <a:pt x="2" y="0"/>
                    <a:pt x="2" y="0"/>
                    <a:pt x="2" y="0"/>
                  </a:cubicBezTo>
                  <a:cubicBezTo>
                    <a:pt x="1" y="0"/>
                    <a:pt x="1" y="0"/>
                    <a:pt x="1" y="1"/>
                  </a:cubicBezTo>
                  <a:cubicBezTo>
                    <a:pt x="1" y="1"/>
                    <a:pt x="0" y="1"/>
                    <a:pt x="0" y="1"/>
                  </a:cubicBezTo>
                  <a:cubicBezTo>
                    <a:pt x="0" y="1"/>
                    <a:pt x="0" y="2"/>
                    <a:pt x="0" y="2"/>
                  </a:cubicBezTo>
                  <a:cubicBezTo>
                    <a:pt x="0" y="2"/>
                    <a:pt x="0" y="3"/>
                    <a:pt x="0" y="3"/>
                  </a:cubicBezTo>
                  <a:cubicBezTo>
                    <a:pt x="0" y="3"/>
                    <a:pt x="0" y="3"/>
                    <a:pt x="0" y="3"/>
                  </a:cubicBezTo>
                  <a:cubicBezTo>
                    <a:pt x="0" y="3"/>
                    <a:pt x="0" y="3"/>
                    <a:pt x="0" y="3"/>
                  </a:cubicBezTo>
                  <a:cubicBezTo>
                    <a:pt x="0" y="3"/>
                    <a:pt x="0" y="3"/>
                    <a:pt x="0" y="3"/>
                  </a:cubicBezTo>
                  <a:cubicBezTo>
                    <a:pt x="1" y="4"/>
                    <a:pt x="3" y="5"/>
                    <a:pt x="5" y="4"/>
                  </a:cubicBezTo>
                  <a:cubicBezTo>
                    <a:pt x="5" y="4"/>
                    <a:pt x="5" y="4"/>
                    <a:pt x="5" y="4"/>
                  </a:cubicBezTo>
                  <a:cubicBezTo>
                    <a:pt x="5" y="4"/>
                    <a:pt x="5" y="4"/>
                    <a:pt x="5" y="4"/>
                  </a:cubicBezTo>
                  <a:cubicBezTo>
                    <a:pt x="5" y="4"/>
                    <a:pt x="5" y="4"/>
                    <a:pt x="5" y="4"/>
                  </a:cubicBezTo>
                  <a:cubicBezTo>
                    <a:pt x="5" y="4"/>
                    <a:pt x="6" y="4"/>
                    <a:pt x="6" y="4"/>
                  </a:cubicBezTo>
                  <a:cubicBezTo>
                    <a:pt x="6" y="4"/>
                    <a:pt x="6" y="4"/>
                    <a:pt x="7" y="3"/>
                  </a:cubicBezTo>
                  <a:cubicBezTo>
                    <a:pt x="7" y="3"/>
                    <a:pt x="7" y="3"/>
                    <a:pt x="7" y="3"/>
                  </a:cubicBezTo>
                  <a:cubicBezTo>
                    <a:pt x="7" y="3"/>
                    <a:pt x="7" y="3"/>
                    <a:pt x="7" y="3"/>
                  </a:cubicBezTo>
                  <a:cubicBezTo>
                    <a:pt x="7" y="3"/>
                    <a:pt x="6" y="3"/>
                    <a:pt x="6" y="3"/>
                  </a:cubicBezTo>
                  <a:cubicBezTo>
                    <a:pt x="6" y="2"/>
                    <a:pt x="6" y="2"/>
                    <a:pt x="7"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13" name="Freeform 1964">
              <a:extLst>
                <a:ext uri="{FF2B5EF4-FFF2-40B4-BE49-F238E27FC236}">
                  <a16:creationId xmlns:a16="http://schemas.microsoft.com/office/drawing/2014/main" id="{F0AFAE99-CE7F-4833-8B97-D994565BDCF8}"/>
                </a:ext>
              </a:extLst>
            </p:cNvPr>
            <p:cNvSpPr>
              <a:spLocks/>
            </p:cNvSpPr>
            <p:nvPr/>
          </p:nvSpPr>
          <p:spPr bwMode="auto">
            <a:xfrm>
              <a:off x="2525" y="1018"/>
              <a:ext cx="12" cy="3"/>
            </a:xfrm>
            <a:custGeom>
              <a:avLst/>
              <a:gdLst>
                <a:gd name="T0" fmla="*/ 3 w 5"/>
                <a:gd name="T1" fmla="*/ 1 h 1"/>
                <a:gd name="T2" fmla="*/ 3 w 5"/>
                <a:gd name="T3" fmla="*/ 1 h 1"/>
                <a:gd name="T4" fmla="*/ 4 w 5"/>
                <a:gd name="T5" fmla="*/ 0 h 1"/>
                <a:gd name="T6" fmla="*/ 5 w 5"/>
                <a:gd name="T7" fmla="*/ 0 h 1"/>
                <a:gd name="T8" fmla="*/ 4 w 5"/>
                <a:gd name="T9" fmla="*/ 0 h 1"/>
                <a:gd name="T10" fmla="*/ 2 w 5"/>
                <a:gd name="T11" fmla="*/ 0 h 1"/>
                <a:gd name="T12" fmla="*/ 2 w 5"/>
                <a:gd name="T13" fmla="*/ 0 h 1"/>
                <a:gd name="T14" fmla="*/ 2 w 5"/>
                <a:gd name="T15" fmla="*/ 0 h 1"/>
                <a:gd name="T16" fmla="*/ 0 w 5"/>
                <a:gd name="T17" fmla="*/ 1 h 1"/>
                <a:gd name="T18" fmla="*/ 0 w 5"/>
                <a:gd name="T19" fmla="*/ 1 h 1"/>
                <a:gd name="T20" fmla="*/ 0 w 5"/>
                <a:gd name="T21" fmla="*/ 1 h 1"/>
                <a:gd name="T22" fmla="*/ 0 w 5"/>
                <a:gd name="T23" fmla="*/ 1 h 1"/>
                <a:gd name="T24" fmla="*/ 2 w 5"/>
                <a:gd name="T25" fmla="*/ 1 h 1"/>
                <a:gd name="T26" fmla="*/ 3 w 5"/>
                <a:gd name="T27" fmla="*/ 1 h 1"/>
                <a:gd name="T28" fmla="*/ 3 w 5"/>
                <a:gd name="T2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1">
                  <a:moveTo>
                    <a:pt x="3" y="1"/>
                  </a:moveTo>
                  <a:cubicBezTo>
                    <a:pt x="3" y="1"/>
                    <a:pt x="3" y="1"/>
                    <a:pt x="3" y="1"/>
                  </a:cubicBezTo>
                  <a:cubicBezTo>
                    <a:pt x="4" y="1"/>
                    <a:pt x="3" y="0"/>
                    <a:pt x="4" y="0"/>
                  </a:cubicBezTo>
                  <a:cubicBezTo>
                    <a:pt x="4" y="0"/>
                    <a:pt x="5" y="1"/>
                    <a:pt x="5" y="0"/>
                  </a:cubicBezTo>
                  <a:cubicBezTo>
                    <a:pt x="5" y="0"/>
                    <a:pt x="4" y="0"/>
                    <a:pt x="4" y="0"/>
                  </a:cubicBezTo>
                  <a:cubicBezTo>
                    <a:pt x="3" y="0"/>
                    <a:pt x="3" y="0"/>
                    <a:pt x="2" y="0"/>
                  </a:cubicBezTo>
                  <a:cubicBezTo>
                    <a:pt x="2" y="0"/>
                    <a:pt x="2" y="0"/>
                    <a:pt x="2" y="0"/>
                  </a:cubicBezTo>
                  <a:cubicBezTo>
                    <a:pt x="2" y="0"/>
                    <a:pt x="2" y="0"/>
                    <a:pt x="2" y="0"/>
                  </a:cubicBezTo>
                  <a:cubicBezTo>
                    <a:pt x="1" y="0"/>
                    <a:pt x="1" y="0"/>
                    <a:pt x="0" y="1"/>
                  </a:cubicBezTo>
                  <a:cubicBezTo>
                    <a:pt x="0" y="1"/>
                    <a:pt x="0" y="1"/>
                    <a:pt x="0" y="1"/>
                  </a:cubicBezTo>
                  <a:cubicBezTo>
                    <a:pt x="0" y="1"/>
                    <a:pt x="0" y="1"/>
                    <a:pt x="0" y="1"/>
                  </a:cubicBezTo>
                  <a:cubicBezTo>
                    <a:pt x="0" y="1"/>
                    <a:pt x="0" y="1"/>
                    <a:pt x="0" y="1"/>
                  </a:cubicBezTo>
                  <a:cubicBezTo>
                    <a:pt x="1" y="1"/>
                    <a:pt x="1" y="1"/>
                    <a:pt x="2" y="1"/>
                  </a:cubicBezTo>
                  <a:cubicBezTo>
                    <a:pt x="2" y="1"/>
                    <a:pt x="3" y="1"/>
                    <a:pt x="3" y="1"/>
                  </a:cubicBezTo>
                  <a:cubicBezTo>
                    <a:pt x="3" y="1"/>
                    <a:pt x="3" y="1"/>
                    <a:pt x="3"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14" name="Freeform 1965">
              <a:extLst>
                <a:ext uri="{FF2B5EF4-FFF2-40B4-BE49-F238E27FC236}">
                  <a16:creationId xmlns:a16="http://schemas.microsoft.com/office/drawing/2014/main" id="{2DAF7DB3-81C1-4978-AAB3-8CC0EDE8F0E5}"/>
                </a:ext>
              </a:extLst>
            </p:cNvPr>
            <p:cNvSpPr>
              <a:spLocks/>
            </p:cNvSpPr>
            <p:nvPr/>
          </p:nvSpPr>
          <p:spPr bwMode="auto">
            <a:xfrm>
              <a:off x="2499" y="111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15" name="Freeform 1966">
              <a:extLst>
                <a:ext uri="{FF2B5EF4-FFF2-40B4-BE49-F238E27FC236}">
                  <a16:creationId xmlns:a16="http://schemas.microsoft.com/office/drawing/2014/main" id="{D25D411F-DCF2-4D6D-90C0-2807B2E1EF76}"/>
                </a:ext>
              </a:extLst>
            </p:cNvPr>
            <p:cNvSpPr>
              <a:spLocks/>
            </p:cNvSpPr>
            <p:nvPr/>
          </p:nvSpPr>
          <p:spPr bwMode="auto">
            <a:xfrm>
              <a:off x="2483" y="1115"/>
              <a:ext cx="23" cy="7"/>
            </a:xfrm>
            <a:custGeom>
              <a:avLst/>
              <a:gdLst>
                <a:gd name="T0" fmla="*/ 1 w 10"/>
                <a:gd name="T1" fmla="*/ 0 h 3"/>
                <a:gd name="T2" fmla="*/ 6 w 10"/>
                <a:gd name="T3" fmla="*/ 3 h 3"/>
                <a:gd name="T4" fmla="*/ 6 w 10"/>
                <a:gd name="T5" fmla="*/ 2 h 3"/>
                <a:gd name="T6" fmla="*/ 7 w 10"/>
                <a:gd name="T7" fmla="*/ 1 h 3"/>
                <a:gd name="T8" fmla="*/ 6 w 10"/>
                <a:gd name="T9" fmla="*/ 1 h 3"/>
                <a:gd name="T10" fmla="*/ 6 w 10"/>
                <a:gd name="T11" fmla="*/ 1 h 3"/>
                <a:gd name="T12" fmla="*/ 7 w 10"/>
                <a:gd name="T13" fmla="*/ 1 h 3"/>
                <a:gd name="T14" fmla="*/ 6 w 10"/>
                <a:gd name="T15" fmla="*/ 1 h 3"/>
                <a:gd name="T16" fmla="*/ 7 w 10"/>
                <a:gd name="T17" fmla="*/ 1 h 3"/>
                <a:gd name="T18" fmla="*/ 6 w 10"/>
                <a:gd name="T19" fmla="*/ 1 h 3"/>
                <a:gd name="T20" fmla="*/ 6 w 10"/>
                <a:gd name="T21" fmla="*/ 1 h 3"/>
                <a:gd name="T22" fmla="*/ 8 w 10"/>
                <a:gd name="T23" fmla="*/ 1 h 3"/>
                <a:gd name="T24" fmla="*/ 7 w 10"/>
                <a:gd name="T25" fmla="*/ 1 h 3"/>
                <a:gd name="T26" fmla="*/ 9 w 10"/>
                <a:gd name="T27" fmla="*/ 2 h 3"/>
                <a:gd name="T28" fmla="*/ 9 w 10"/>
                <a:gd name="T29" fmla="*/ 2 h 3"/>
                <a:gd name="T30" fmla="*/ 9 w 10"/>
                <a:gd name="T31" fmla="*/ 2 h 3"/>
                <a:gd name="T32" fmla="*/ 9 w 10"/>
                <a:gd name="T33" fmla="*/ 2 h 3"/>
                <a:gd name="T34" fmla="*/ 10 w 10"/>
                <a:gd name="T35" fmla="*/ 2 h 3"/>
                <a:gd name="T36" fmla="*/ 10 w 10"/>
                <a:gd name="T37" fmla="*/ 2 h 3"/>
                <a:gd name="T38" fmla="*/ 10 w 10"/>
                <a:gd name="T39" fmla="*/ 2 h 3"/>
                <a:gd name="T40" fmla="*/ 10 w 10"/>
                <a:gd name="T41" fmla="*/ 2 h 3"/>
                <a:gd name="T42" fmla="*/ 10 w 10"/>
                <a:gd name="T43" fmla="*/ 2 h 3"/>
                <a:gd name="T44" fmla="*/ 10 w 10"/>
                <a:gd name="T45" fmla="*/ 2 h 3"/>
                <a:gd name="T46" fmla="*/ 10 w 10"/>
                <a:gd name="T47" fmla="*/ 2 h 3"/>
                <a:gd name="T48" fmla="*/ 10 w 10"/>
                <a:gd name="T49" fmla="*/ 1 h 3"/>
                <a:gd name="T50" fmla="*/ 10 w 10"/>
                <a:gd name="T51" fmla="*/ 1 h 3"/>
                <a:gd name="T52" fmla="*/ 9 w 10"/>
                <a:gd name="T53" fmla="*/ 1 h 3"/>
                <a:gd name="T54" fmla="*/ 9 w 10"/>
                <a:gd name="T55" fmla="*/ 1 h 3"/>
                <a:gd name="T56" fmla="*/ 1 w 10"/>
                <a:gd name="T57" fmla="*/ 0 h 3"/>
                <a:gd name="T58" fmla="*/ 0 w 10"/>
                <a:gd name="T59" fmla="*/ 0 h 3"/>
                <a:gd name="T60" fmla="*/ 0 w 10"/>
                <a:gd name="T61" fmla="*/ 0 h 3"/>
                <a:gd name="T62" fmla="*/ 0 w 10"/>
                <a:gd name="T63" fmla="*/ 0 h 3"/>
                <a:gd name="T64" fmla="*/ 1 w 10"/>
                <a:gd name="T6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3">
                  <a:moveTo>
                    <a:pt x="1" y="0"/>
                  </a:moveTo>
                  <a:cubicBezTo>
                    <a:pt x="2" y="1"/>
                    <a:pt x="4" y="2"/>
                    <a:pt x="6" y="3"/>
                  </a:cubicBezTo>
                  <a:cubicBezTo>
                    <a:pt x="6" y="3"/>
                    <a:pt x="6" y="3"/>
                    <a:pt x="6" y="2"/>
                  </a:cubicBezTo>
                  <a:cubicBezTo>
                    <a:pt x="7" y="2"/>
                    <a:pt x="7" y="2"/>
                    <a:pt x="7" y="1"/>
                  </a:cubicBezTo>
                  <a:cubicBezTo>
                    <a:pt x="7" y="1"/>
                    <a:pt x="7" y="1"/>
                    <a:pt x="6" y="1"/>
                  </a:cubicBezTo>
                  <a:cubicBezTo>
                    <a:pt x="6" y="1"/>
                    <a:pt x="6" y="1"/>
                    <a:pt x="6" y="1"/>
                  </a:cubicBezTo>
                  <a:cubicBezTo>
                    <a:pt x="6" y="1"/>
                    <a:pt x="7" y="1"/>
                    <a:pt x="7" y="1"/>
                  </a:cubicBezTo>
                  <a:cubicBezTo>
                    <a:pt x="7" y="1"/>
                    <a:pt x="6" y="1"/>
                    <a:pt x="6" y="1"/>
                  </a:cubicBezTo>
                  <a:cubicBezTo>
                    <a:pt x="7" y="1"/>
                    <a:pt x="7" y="1"/>
                    <a:pt x="7" y="1"/>
                  </a:cubicBezTo>
                  <a:cubicBezTo>
                    <a:pt x="7" y="1"/>
                    <a:pt x="7" y="1"/>
                    <a:pt x="6" y="1"/>
                  </a:cubicBezTo>
                  <a:cubicBezTo>
                    <a:pt x="6" y="1"/>
                    <a:pt x="6" y="1"/>
                    <a:pt x="6" y="1"/>
                  </a:cubicBezTo>
                  <a:cubicBezTo>
                    <a:pt x="7" y="1"/>
                    <a:pt x="7" y="1"/>
                    <a:pt x="8" y="1"/>
                  </a:cubicBezTo>
                  <a:cubicBezTo>
                    <a:pt x="8" y="1"/>
                    <a:pt x="8" y="1"/>
                    <a:pt x="7" y="1"/>
                  </a:cubicBezTo>
                  <a:cubicBezTo>
                    <a:pt x="8" y="1"/>
                    <a:pt x="8" y="2"/>
                    <a:pt x="9" y="2"/>
                  </a:cubicBezTo>
                  <a:cubicBezTo>
                    <a:pt x="9" y="2"/>
                    <a:pt x="9" y="2"/>
                    <a:pt x="9" y="2"/>
                  </a:cubicBezTo>
                  <a:cubicBezTo>
                    <a:pt x="9" y="2"/>
                    <a:pt x="9" y="2"/>
                    <a:pt x="9" y="2"/>
                  </a:cubicBezTo>
                  <a:cubicBezTo>
                    <a:pt x="9" y="2"/>
                    <a:pt x="9" y="2"/>
                    <a:pt x="9" y="2"/>
                  </a:cubicBezTo>
                  <a:cubicBezTo>
                    <a:pt x="9" y="2"/>
                    <a:pt x="10" y="2"/>
                    <a:pt x="10" y="2"/>
                  </a:cubicBezTo>
                  <a:cubicBezTo>
                    <a:pt x="10" y="2"/>
                    <a:pt x="10" y="2"/>
                    <a:pt x="10" y="2"/>
                  </a:cubicBezTo>
                  <a:cubicBezTo>
                    <a:pt x="10" y="2"/>
                    <a:pt x="10" y="2"/>
                    <a:pt x="10" y="2"/>
                  </a:cubicBezTo>
                  <a:cubicBezTo>
                    <a:pt x="10" y="2"/>
                    <a:pt x="10" y="2"/>
                    <a:pt x="10" y="2"/>
                  </a:cubicBezTo>
                  <a:cubicBezTo>
                    <a:pt x="10" y="2"/>
                    <a:pt x="10" y="2"/>
                    <a:pt x="10" y="2"/>
                  </a:cubicBezTo>
                  <a:cubicBezTo>
                    <a:pt x="10" y="2"/>
                    <a:pt x="10" y="2"/>
                    <a:pt x="10" y="2"/>
                  </a:cubicBezTo>
                  <a:cubicBezTo>
                    <a:pt x="10" y="2"/>
                    <a:pt x="10" y="2"/>
                    <a:pt x="10" y="2"/>
                  </a:cubicBezTo>
                  <a:cubicBezTo>
                    <a:pt x="10" y="2"/>
                    <a:pt x="10" y="1"/>
                    <a:pt x="10" y="1"/>
                  </a:cubicBezTo>
                  <a:cubicBezTo>
                    <a:pt x="10" y="1"/>
                    <a:pt x="10" y="1"/>
                    <a:pt x="10" y="1"/>
                  </a:cubicBezTo>
                  <a:cubicBezTo>
                    <a:pt x="10" y="1"/>
                    <a:pt x="10" y="1"/>
                    <a:pt x="9" y="1"/>
                  </a:cubicBezTo>
                  <a:cubicBezTo>
                    <a:pt x="9" y="1"/>
                    <a:pt x="9" y="1"/>
                    <a:pt x="9" y="1"/>
                  </a:cubicBezTo>
                  <a:cubicBezTo>
                    <a:pt x="7" y="0"/>
                    <a:pt x="4" y="0"/>
                    <a:pt x="1" y="0"/>
                  </a:cubicBezTo>
                  <a:cubicBezTo>
                    <a:pt x="1" y="0"/>
                    <a:pt x="0" y="0"/>
                    <a:pt x="0" y="0"/>
                  </a:cubicBezTo>
                  <a:cubicBezTo>
                    <a:pt x="0" y="0"/>
                    <a:pt x="0" y="0"/>
                    <a:pt x="0" y="0"/>
                  </a:cubicBezTo>
                  <a:cubicBezTo>
                    <a:pt x="0" y="0"/>
                    <a:pt x="0" y="0"/>
                    <a:pt x="0" y="0"/>
                  </a:cubicBezTo>
                  <a:cubicBezTo>
                    <a:pt x="0" y="0"/>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16" name="Freeform 1967">
              <a:extLst>
                <a:ext uri="{FF2B5EF4-FFF2-40B4-BE49-F238E27FC236}">
                  <a16:creationId xmlns:a16="http://schemas.microsoft.com/office/drawing/2014/main" id="{1A416FF0-04D2-407F-9572-CCD332D95274}"/>
                </a:ext>
              </a:extLst>
            </p:cNvPr>
            <p:cNvSpPr>
              <a:spLocks/>
            </p:cNvSpPr>
            <p:nvPr/>
          </p:nvSpPr>
          <p:spPr bwMode="auto">
            <a:xfrm>
              <a:off x="2476" y="1120"/>
              <a:ext cx="9" cy="2"/>
            </a:xfrm>
            <a:custGeom>
              <a:avLst/>
              <a:gdLst>
                <a:gd name="T0" fmla="*/ 0 w 4"/>
                <a:gd name="T1" fmla="*/ 1 h 1"/>
                <a:gd name="T2" fmla="*/ 3 w 4"/>
                <a:gd name="T3" fmla="*/ 1 h 1"/>
                <a:gd name="T4" fmla="*/ 4 w 4"/>
                <a:gd name="T5" fmla="*/ 0 h 1"/>
                <a:gd name="T6" fmla="*/ 4 w 4"/>
                <a:gd name="T7" fmla="*/ 0 h 1"/>
                <a:gd name="T8" fmla="*/ 4 w 4"/>
                <a:gd name="T9" fmla="*/ 0 h 1"/>
                <a:gd name="T10" fmla="*/ 4 w 4"/>
                <a:gd name="T11" fmla="*/ 0 h 1"/>
                <a:gd name="T12" fmla="*/ 4 w 4"/>
                <a:gd name="T13" fmla="*/ 0 h 1"/>
                <a:gd name="T14" fmla="*/ 3 w 4"/>
                <a:gd name="T15" fmla="*/ 0 h 1"/>
                <a:gd name="T16" fmla="*/ 0 w 4"/>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
                  <a:moveTo>
                    <a:pt x="0" y="1"/>
                  </a:moveTo>
                  <a:cubicBezTo>
                    <a:pt x="1" y="1"/>
                    <a:pt x="2" y="1"/>
                    <a:pt x="3" y="1"/>
                  </a:cubicBezTo>
                  <a:cubicBezTo>
                    <a:pt x="3" y="1"/>
                    <a:pt x="4" y="1"/>
                    <a:pt x="4" y="0"/>
                  </a:cubicBezTo>
                  <a:cubicBezTo>
                    <a:pt x="4" y="0"/>
                    <a:pt x="4" y="0"/>
                    <a:pt x="4" y="0"/>
                  </a:cubicBezTo>
                  <a:cubicBezTo>
                    <a:pt x="4" y="0"/>
                    <a:pt x="4" y="0"/>
                    <a:pt x="4" y="0"/>
                  </a:cubicBezTo>
                  <a:cubicBezTo>
                    <a:pt x="4" y="0"/>
                    <a:pt x="4" y="0"/>
                    <a:pt x="4" y="0"/>
                  </a:cubicBezTo>
                  <a:cubicBezTo>
                    <a:pt x="4" y="0"/>
                    <a:pt x="4" y="0"/>
                    <a:pt x="4" y="0"/>
                  </a:cubicBezTo>
                  <a:cubicBezTo>
                    <a:pt x="4" y="0"/>
                    <a:pt x="3" y="0"/>
                    <a:pt x="3" y="0"/>
                  </a:cubicBezTo>
                  <a:cubicBezTo>
                    <a:pt x="2" y="0"/>
                    <a:pt x="1"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17" name="Freeform 1968">
              <a:extLst>
                <a:ext uri="{FF2B5EF4-FFF2-40B4-BE49-F238E27FC236}">
                  <a16:creationId xmlns:a16="http://schemas.microsoft.com/office/drawing/2014/main" id="{AD3C8A04-262A-492B-AE73-EC3940D55821}"/>
                </a:ext>
              </a:extLst>
            </p:cNvPr>
            <p:cNvSpPr>
              <a:spLocks/>
            </p:cNvSpPr>
            <p:nvPr/>
          </p:nvSpPr>
          <p:spPr bwMode="auto">
            <a:xfrm>
              <a:off x="2483" y="1122"/>
              <a:ext cx="12" cy="5"/>
            </a:xfrm>
            <a:custGeom>
              <a:avLst/>
              <a:gdLst>
                <a:gd name="T0" fmla="*/ 5 w 5"/>
                <a:gd name="T1" fmla="*/ 1 h 2"/>
                <a:gd name="T2" fmla="*/ 5 w 5"/>
                <a:gd name="T3" fmla="*/ 1 h 2"/>
                <a:gd name="T4" fmla="*/ 4 w 5"/>
                <a:gd name="T5" fmla="*/ 0 h 2"/>
                <a:gd name="T6" fmla="*/ 4 w 5"/>
                <a:gd name="T7" fmla="*/ 0 h 2"/>
                <a:gd name="T8" fmla="*/ 4 w 5"/>
                <a:gd name="T9" fmla="*/ 0 h 2"/>
                <a:gd name="T10" fmla="*/ 4 w 5"/>
                <a:gd name="T11" fmla="*/ 0 h 2"/>
                <a:gd name="T12" fmla="*/ 3 w 5"/>
                <a:gd name="T13" fmla="*/ 0 h 2"/>
                <a:gd name="T14" fmla="*/ 3 w 5"/>
                <a:gd name="T15" fmla="*/ 0 h 2"/>
                <a:gd name="T16" fmla="*/ 0 w 5"/>
                <a:gd name="T17" fmla="*/ 1 h 2"/>
                <a:gd name="T18" fmla="*/ 3 w 5"/>
                <a:gd name="T19" fmla="*/ 1 h 2"/>
                <a:gd name="T20" fmla="*/ 4 w 5"/>
                <a:gd name="T21" fmla="*/ 1 h 2"/>
                <a:gd name="T22" fmla="*/ 5 w 5"/>
                <a:gd name="T23" fmla="*/ 1 h 2"/>
                <a:gd name="T24" fmla="*/ 5 w 5"/>
                <a:gd name="T25" fmla="*/ 1 h 2"/>
                <a:gd name="T26" fmla="*/ 5 w 5"/>
                <a:gd name="T27" fmla="*/ 1 h 2"/>
                <a:gd name="T28" fmla="*/ 5 w 5"/>
                <a:gd name="T29" fmla="*/ 1 h 2"/>
                <a:gd name="T30" fmla="*/ 5 w 5"/>
                <a:gd name="T3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2">
                  <a:moveTo>
                    <a:pt x="5" y="1"/>
                  </a:moveTo>
                  <a:cubicBezTo>
                    <a:pt x="5" y="1"/>
                    <a:pt x="5" y="1"/>
                    <a:pt x="5" y="1"/>
                  </a:cubicBezTo>
                  <a:cubicBezTo>
                    <a:pt x="5" y="1"/>
                    <a:pt x="4"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2" y="1"/>
                    <a:pt x="1" y="1"/>
                    <a:pt x="0" y="1"/>
                  </a:cubicBezTo>
                  <a:cubicBezTo>
                    <a:pt x="2" y="2"/>
                    <a:pt x="2" y="2"/>
                    <a:pt x="3" y="1"/>
                  </a:cubicBezTo>
                  <a:cubicBezTo>
                    <a:pt x="4" y="1"/>
                    <a:pt x="4" y="1"/>
                    <a:pt x="4" y="1"/>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18" name="Freeform 1969">
              <a:extLst>
                <a:ext uri="{FF2B5EF4-FFF2-40B4-BE49-F238E27FC236}">
                  <a16:creationId xmlns:a16="http://schemas.microsoft.com/office/drawing/2014/main" id="{FDAC50BF-6131-48F4-BB25-C32F3D4440B5}"/>
                </a:ext>
              </a:extLst>
            </p:cNvPr>
            <p:cNvSpPr>
              <a:spLocks/>
            </p:cNvSpPr>
            <p:nvPr/>
          </p:nvSpPr>
          <p:spPr bwMode="auto">
            <a:xfrm>
              <a:off x="2384" y="1089"/>
              <a:ext cx="14" cy="7"/>
            </a:xfrm>
            <a:custGeom>
              <a:avLst/>
              <a:gdLst>
                <a:gd name="T0" fmla="*/ 6 w 6"/>
                <a:gd name="T1" fmla="*/ 1 h 3"/>
                <a:gd name="T2" fmla="*/ 5 w 6"/>
                <a:gd name="T3" fmla="*/ 1 h 3"/>
                <a:gd name="T4" fmla="*/ 4 w 6"/>
                <a:gd name="T5" fmla="*/ 0 h 3"/>
                <a:gd name="T6" fmla="*/ 3 w 6"/>
                <a:gd name="T7" fmla="*/ 0 h 3"/>
                <a:gd name="T8" fmla="*/ 3 w 6"/>
                <a:gd name="T9" fmla="*/ 0 h 3"/>
                <a:gd name="T10" fmla="*/ 3 w 6"/>
                <a:gd name="T11" fmla="*/ 0 h 3"/>
                <a:gd name="T12" fmla="*/ 0 w 6"/>
                <a:gd name="T13" fmla="*/ 1 h 3"/>
                <a:gd name="T14" fmla="*/ 6 w 6"/>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6" y="1"/>
                  </a:moveTo>
                  <a:cubicBezTo>
                    <a:pt x="6" y="1"/>
                    <a:pt x="5" y="1"/>
                    <a:pt x="5" y="1"/>
                  </a:cubicBezTo>
                  <a:cubicBezTo>
                    <a:pt x="5" y="1"/>
                    <a:pt x="4" y="0"/>
                    <a:pt x="4" y="0"/>
                  </a:cubicBezTo>
                  <a:cubicBezTo>
                    <a:pt x="4" y="0"/>
                    <a:pt x="4" y="0"/>
                    <a:pt x="3" y="0"/>
                  </a:cubicBezTo>
                  <a:cubicBezTo>
                    <a:pt x="3" y="0"/>
                    <a:pt x="3" y="0"/>
                    <a:pt x="3" y="0"/>
                  </a:cubicBezTo>
                  <a:cubicBezTo>
                    <a:pt x="3" y="0"/>
                    <a:pt x="3" y="0"/>
                    <a:pt x="3" y="0"/>
                  </a:cubicBezTo>
                  <a:cubicBezTo>
                    <a:pt x="2" y="0"/>
                    <a:pt x="1" y="1"/>
                    <a:pt x="0" y="1"/>
                  </a:cubicBezTo>
                  <a:cubicBezTo>
                    <a:pt x="2" y="3"/>
                    <a:pt x="4" y="3"/>
                    <a:pt x="6"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19" name="Freeform 1970">
              <a:extLst>
                <a:ext uri="{FF2B5EF4-FFF2-40B4-BE49-F238E27FC236}">
                  <a16:creationId xmlns:a16="http://schemas.microsoft.com/office/drawing/2014/main" id="{588C4D9E-588E-4761-A396-FDCE1AF58C25}"/>
                </a:ext>
              </a:extLst>
            </p:cNvPr>
            <p:cNvSpPr>
              <a:spLocks/>
            </p:cNvSpPr>
            <p:nvPr/>
          </p:nvSpPr>
          <p:spPr bwMode="auto">
            <a:xfrm>
              <a:off x="2868" y="680"/>
              <a:ext cx="71" cy="28"/>
            </a:xfrm>
            <a:custGeom>
              <a:avLst/>
              <a:gdLst>
                <a:gd name="T0" fmla="*/ 29 w 30"/>
                <a:gd name="T1" fmla="*/ 4 h 12"/>
                <a:gd name="T2" fmla="*/ 28 w 30"/>
                <a:gd name="T3" fmla="*/ 3 h 12"/>
                <a:gd name="T4" fmla="*/ 27 w 30"/>
                <a:gd name="T5" fmla="*/ 2 h 12"/>
                <a:gd name="T6" fmla="*/ 26 w 30"/>
                <a:gd name="T7" fmla="*/ 0 h 12"/>
                <a:gd name="T8" fmla="*/ 18 w 30"/>
                <a:gd name="T9" fmla="*/ 2 h 12"/>
                <a:gd name="T10" fmla="*/ 11 w 30"/>
                <a:gd name="T11" fmla="*/ 4 h 12"/>
                <a:gd name="T12" fmla="*/ 7 w 30"/>
                <a:gd name="T13" fmla="*/ 6 h 12"/>
                <a:gd name="T14" fmla="*/ 2 w 30"/>
                <a:gd name="T15" fmla="*/ 8 h 12"/>
                <a:gd name="T16" fmla="*/ 1 w 30"/>
                <a:gd name="T17" fmla="*/ 12 h 12"/>
                <a:gd name="T18" fmla="*/ 4 w 30"/>
                <a:gd name="T19" fmla="*/ 12 h 12"/>
                <a:gd name="T20" fmla="*/ 10 w 30"/>
                <a:gd name="T21" fmla="*/ 11 h 12"/>
                <a:gd name="T22" fmla="*/ 15 w 30"/>
                <a:gd name="T23" fmla="*/ 10 h 12"/>
                <a:gd name="T24" fmla="*/ 17 w 30"/>
                <a:gd name="T25" fmla="*/ 10 h 12"/>
                <a:gd name="T26" fmla="*/ 20 w 30"/>
                <a:gd name="T27" fmla="*/ 9 h 12"/>
                <a:gd name="T28" fmla="*/ 23 w 30"/>
                <a:gd name="T29" fmla="*/ 9 h 12"/>
                <a:gd name="T30" fmla="*/ 26 w 30"/>
                <a:gd name="T31" fmla="*/ 8 h 12"/>
                <a:gd name="T32" fmla="*/ 30 w 30"/>
                <a:gd name="T33" fmla="*/ 7 h 12"/>
                <a:gd name="T34" fmla="*/ 28 w 30"/>
                <a:gd name="T35" fmla="*/ 5 h 12"/>
                <a:gd name="T36" fmla="*/ 29 w 30"/>
                <a:gd name="T37" fmla="*/ 5 h 12"/>
                <a:gd name="T38" fmla="*/ 29 w 30"/>
                <a:gd name="T3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 h="12">
                  <a:moveTo>
                    <a:pt x="29" y="4"/>
                  </a:moveTo>
                  <a:cubicBezTo>
                    <a:pt x="29" y="4"/>
                    <a:pt x="29" y="3"/>
                    <a:pt x="28" y="3"/>
                  </a:cubicBezTo>
                  <a:cubicBezTo>
                    <a:pt x="28" y="2"/>
                    <a:pt x="27" y="2"/>
                    <a:pt x="27" y="2"/>
                  </a:cubicBezTo>
                  <a:cubicBezTo>
                    <a:pt x="26" y="1"/>
                    <a:pt x="26" y="1"/>
                    <a:pt x="26" y="0"/>
                  </a:cubicBezTo>
                  <a:cubicBezTo>
                    <a:pt x="23" y="0"/>
                    <a:pt x="20" y="1"/>
                    <a:pt x="18" y="2"/>
                  </a:cubicBezTo>
                  <a:cubicBezTo>
                    <a:pt x="15" y="2"/>
                    <a:pt x="12" y="2"/>
                    <a:pt x="11" y="4"/>
                  </a:cubicBezTo>
                  <a:cubicBezTo>
                    <a:pt x="9" y="4"/>
                    <a:pt x="8" y="5"/>
                    <a:pt x="7" y="6"/>
                  </a:cubicBezTo>
                  <a:cubicBezTo>
                    <a:pt x="5" y="7"/>
                    <a:pt x="3" y="7"/>
                    <a:pt x="2" y="8"/>
                  </a:cubicBezTo>
                  <a:cubicBezTo>
                    <a:pt x="1" y="9"/>
                    <a:pt x="0" y="11"/>
                    <a:pt x="1" y="12"/>
                  </a:cubicBezTo>
                  <a:cubicBezTo>
                    <a:pt x="2" y="12"/>
                    <a:pt x="3" y="12"/>
                    <a:pt x="4" y="12"/>
                  </a:cubicBezTo>
                  <a:cubicBezTo>
                    <a:pt x="6" y="11"/>
                    <a:pt x="8" y="11"/>
                    <a:pt x="10" y="11"/>
                  </a:cubicBezTo>
                  <a:cubicBezTo>
                    <a:pt x="12" y="10"/>
                    <a:pt x="13" y="10"/>
                    <a:pt x="15" y="10"/>
                  </a:cubicBezTo>
                  <a:cubicBezTo>
                    <a:pt x="16" y="10"/>
                    <a:pt x="16" y="10"/>
                    <a:pt x="17" y="10"/>
                  </a:cubicBezTo>
                  <a:cubicBezTo>
                    <a:pt x="18" y="9"/>
                    <a:pt x="19" y="9"/>
                    <a:pt x="20" y="9"/>
                  </a:cubicBezTo>
                  <a:cubicBezTo>
                    <a:pt x="22" y="9"/>
                    <a:pt x="21" y="10"/>
                    <a:pt x="23" y="9"/>
                  </a:cubicBezTo>
                  <a:cubicBezTo>
                    <a:pt x="24" y="9"/>
                    <a:pt x="25" y="8"/>
                    <a:pt x="26" y="8"/>
                  </a:cubicBezTo>
                  <a:cubicBezTo>
                    <a:pt x="27" y="8"/>
                    <a:pt x="29" y="8"/>
                    <a:pt x="30" y="7"/>
                  </a:cubicBezTo>
                  <a:cubicBezTo>
                    <a:pt x="30" y="6"/>
                    <a:pt x="28" y="5"/>
                    <a:pt x="28" y="5"/>
                  </a:cubicBezTo>
                  <a:cubicBezTo>
                    <a:pt x="28" y="5"/>
                    <a:pt x="29" y="5"/>
                    <a:pt x="29" y="5"/>
                  </a:cubicBezTo>
                  <a:cubicBezTo>
                    <a:pt x="29" y="4"/>
                    <a:pt x="29" y="4"/>
                    <a:pt x="29"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20" name="Freeform 1971">
              <a:extLst>
                <a:ext uri="{FF2B5EF4-FFF2-40B4-BE49-F238E27FC236}">
                  <a16:creationId xmlns:a16="http://schemas.microsoft.com/office/drawing/2014/main" id="{3EC96A67-EEE0-40D4-B4D3-50C8B49D1173}"/>
                </a:ext>
              </a:extLst>
            </p:cNvPr>
            <p:cNvSpPr>
              <a:spLocks/>
            </p:cNvSpPr>
            <p:nvPr/>
          </p:nvSpPr>
          <p:spPr bwMode="auto">
            <a:xfrm>
              <a:off x="3031" y="585"/>
              <a:ext cx="5" cy="3"/>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2" y="0"/>
                    <a:pt x="1" y="0"/>
                    <a:pt x="0" y="0"/>
                  </a:cubicBezTo>
                  <a:cubicBezTo>
                    <a:pt x="1" y="1"/>
                    <a:pt x="2"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21" name="Freeform 1972">
              <a:extLst>
                <a:ext uri="{FF2B5EF4-FFF2-40B4-BE49-F238E27FC236}">
                  <a16:creationId xmlns:a16="http://schemas.microsoft.com/office/drawing/2014/main" id="{31BB0927-CAEC-4A93-AAFD-7B092622AA0E}"/>
                </a:ext>
              </a:extLst>
            </p:cNvPr>
            <p:cNvSpPr>
              <a:spLocks/>
            </p:cNvSpPr>
            <p:nvPr/>
          </p:nvSpPr>
          <p:spPr bwMode="auto">
            <a:xfrm>
              <a:off x="3017" y="524"/>
              <a:ext cx="45" cy="19"/>
            </a:xfrm>
            <a:custGeom>
              <a:avLst/>
              <a:gdLst>
                <a:gd name="T0" fmla="*/ 16 w 19"/>
                <a:gd name="T1" fmla="*/ 2 h 8"/>
                <a:gd name="T2" fmla="*/ 11 w 19"/>
                <a:gd name="T3" fmla="*/ 0 h 8"/>
                <a:gd name="T4" fmla="*/ 0 w 19"/>
                <a:gd name="T5" fmla="*/ 5 h 8"/>
                <a:gd name="T6" fmla="*/ 5 w 19"/>
                <a:gd name="T7" fmla="*/ 6 h 8"/>
                <a:gd name="T8" fmla="*/ 7 w 19"/>
                <a:gd name="T9" fmla="*/ 7 h 8"/>
                <a:gd name="T10" fmla="*/ 9 w 19"/>
                <a:gd name="T11" fmla="*/ 7 h 8"/>
                <a:gd name="T12" fmla="*/ 14 w 19"/>
                <a:gd name="T13" fmla="*/ 7 h 8"/>
                <a:gd name="T14" fmla="*/ 19 w 19"/>
                <a:gd name="T15" fmla="*/ 5 h 8"/>
                <a:gd name="T16" fmla="*/ 17 w 19"/>
                <a:gd name="T17" fmla="*/ 4 h 8"/>
                <a:gd name="T18" fmla="*/ 16 w 19"/>
                <a:gd name="T19"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8">
                  <a:moveTo>
                    <a:pt x="16" y="2"/>
                  </a:moveTo>
                  <a:cubicBezTo>
                    <a:pt x="15" y="1"/>
                    <a:pt x="12" y="1"/>
                    <a:pt x="11" y="0"/>
                  </a:cubicBezTo>
                  <a:cubicBezTo>
                    <a:pt x="7" y="2"/>
                    <a:pt x="4" y="3"/>
                    <a:pt x="0" y="5"/>
                  </a:cubicBezTo>
                  <a:cubicBezTo>
                    <a:pt x="1" y="6"/>
                    <a:pt x="3" y="6"/>
                    <a:pt x="5" y="6"/>
                  </a:cubicBezTo>
                  <a:cubicBezTo>
                    <a:pt x="6" y="6"/>
                    <a:pt x="6" y="7"/>
                    <a:pt x="7" y="7"/>
                  </a:cubicBezTo>
                  <a:cubicBezTo>
                    <a:pt x="8" y="8"/>
                    <a:pt x="9" y="7"/>
                    <a:pt x="9" y="7"/>
                  </a:cubicBezTo>
                  <a:cubicBezTo>
                    <a:pt x="11" y="7"/>
                    <a:pt x="13" y="7"/>
                    <a:pt x="14" y="7"/>
                  </a:cubicBezTo>
                  <a:cubicBezTo>
                    <a:pt x="16" y="6"/>
                    <a:pt x="18" y="6"/>
                    <a:pt x="19" y="5"/>
                  </a:cubicBezTo>
                  <a:cubicBezTo>
                    <a:pt x="18" y="5"/>
                    <a:pt x="18" y="5"/>
                    <a:pt x="17" y="4"/>
                  </a:cubicBezTo>
                  <a:cubicBezTo>
                    <a:pt x="16" y="3"/>
                    <a:pt x="17" y="3"/>
                    <a:pt x="16"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22" name="Freeform 1973">
              <a:extLst>
                <a:ext uri="{FF2B5EF4-FFF2-40B4-BE49-F238E27FC236}">
                  <a16:creationId xmlns:a16="http://schemas.microsoft.com/office/drawing/2014/main" id="{60391D50-EDB2-4FA6-B4C5-1BB05EEECF4A}"/>
                </a:ext>
              </a:extLst>
            </p:cNvPr>
            <p:cNvSpPr>
              <a:spLocks/>
            </p:cNvSpPr>
            <p:nvPr/>
          </p:nvSpPr>
          <p:spPr bwMode="auto">
            <a:xfrm>
              <a:off x="2956" y="588"/>
              <a:ext cx="64" cy="21"/>
            </a:xfrm>
            <a:custGeom>
              <a:avLst/>
              <a:gdLst>
                <a:gd name="T0" fmla="*/ 27 w 27"/>
                <a:gd name="T1" fmla="*/ 4 h 9"/>
                <a:gd name="T2" fmla="*/ 22 w 27"/>
                <a:gd name="T3" fmla="*/ 2 h 9"/>
                <a:gd name="T4" fmla="*/ 17 w 27"/>
                <a:gd name="T5" fmla="*/ 1 h 9"/>
                <a:gd name="T6" fmla="*/ 11 w 27"/>
                <a:gd name="T7" fmla="*/ 1 h 9"/>
                <a:gd name="T8" fmla="*/ 5 w 27"/>
                <a:gd name="T9" fmla="*/ 2 h 9"/>
                <a:gd name="T10" fmla="*/ 0 w 27"/>
                <a:gd name="T11" fmla="*/ 3 h 9"/>
                <a:gd name="T12" fmla="*/ 16 w 27"/>
                <a:gd name="T13" fmla="*/ 5 h 9"/>
                <a:gd name="T14" fmla="*/ 18 w 27"/>
                <a:gd name="T15" fmla="*/ 6 h 9"/>
                <a:gd name="T16" fmla="*/ 19 w 27"/>
                <a:gd name="T17" fmla="*/ 7 h 9"/>
                <a:gd name="T18" fmla="*/ 20 w 27"/>
                <a:gd name="T19" fmla="*/ 7 h 9"/>
                <a:gd name="T20" fmla="*/ 19 w 27"/>
                <a:gd name="T21" fmla="*/ 8 h 9"/>
                <a:gd name="T22" fmla="*/ 26 w 27"/>
                <a:gd name="T23" fmla="*/ 8 h 9"/>
                <a:gd name="T24" fmla="*/ 25 w 27"/>
                <a:gd name="T25" fmla="*/ 8 h 9"/>
                <a:gd name="T26" fmla="*/ 27 w 27"/>
                <a:gd name="T27" fmla="*/ 8 h 9"/>
                <a:gd name="T28" fmla="*/ 25 w 27"/>
                <a:gd name="T29" fmla="*/ 6 h 9"/>
                <a:gd name="T30" fmla="*/ 27 w 27"/>
                <a:gd name="T31"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9">
                  <a:moveTo>
                    <a:pt x="27" y="4"/>
                  </a:moveTo>
                  <a:cubicBezTo>
                    <a:pt x="25" y="3"/>
                    <a:pt x="24" y="2"/>
                    <a:pt x="22" y="2"/>
                  </a:cubicBezTo>
                  <a:cubicBezTo>
                    <a:pt x="20" y="2"/>
                    <a:pt x="18" y="1"/>
                    <a:pt x="17" y="1"/>
                  </a:cubicBezTo>
                  <a:cubicBezTo>
                    <a:pt x="14" y="1"/>
                    <a:pt x="13" y="0"/>
                    <a:pt x="11" y="1"/>
                  </a:cubicBezTo>
                  <a:cubicBezTo>
                    <a:pt x="9" y="2"/>
                    <a:pt x="7" y="2"/>
                    <a:pt x="5" y="2"/>
                  </a:cubicBezTo>
                  <a:cubicBezTo>
                    <a:pt x="4" y="2"/>
                    <a:pt x="0" y="2"/>
                    <a:pt x="0" y="3"/>
                  </a:cubicBezTo>
                  <a:cubicBezTo>
                    <a:pt x="5" y="4"/>
                    <a:pt x="11" y="4"/>
                    <a:pt x="16" y="5"/>
                  </a:cubicBezTo>
                  <a:cubicBezTo>
                    <a:pt x="17" y="5"/>
                    <a:pt x="18" y="5"/>
                    <a:pt x="18" y="6"/>
                  </a:cubicBezTo>
                  <a:cubicBezTo>
                    <a:pt x="19" y="6"/>
                    <a:pt x="19" y="7"/>
                    <a:pt x="19" y="7"/>
                  </a:cubicBezTo>
                  <a:cubicBezTo>
                    <a:pt x="19" y="7"/>
                    <a:pt x="20" y="7"/>
                    <a:pt x="20" y="7"/>
                  </a:cubicBezTo>
                  <a:cubicBezTo>
                    <a:pt x="20" y="7"/>
                    <a:pt x="19" y="8"/>
                    <a:pt x="19" y="8"/>
                  </a:cubicBezTo>
                  <a:cubicBezTo>
                    <a:pt x="20" y="9"/>
                    <a:pt x="24" y="8"/>
                    <a:pt x="26" y="8"/>
                  </a:cubicBezTo>
                  <a:cubicBezTo>
                    <a:pt x="26" y="8"/>
                    <a:pt x="25" y="8"/>
                    <a:pt x="25" y="8"/>
                  </a:cubicBezTo>
                  <a:cubicBezTo>
                    <a:pt x="26" y="8"/>
                    <a:pt x="26" y="8"/>
                    <a:pt x="27" y="8"/>
                  </a:cubicBezTo>
                  <a:cubicBezTo>
                    <a:pt x="27" y="7"/>
                    <a:pt x="26" y="5"/>
                    <a:pt x="25" y="6"/>
                  </a:cubicBezTo>
                  <a:cubicBezTo>
                    <a:pt x="25" y="5"/>
                    <a:pt x="26" y="4"/>
                    <a:pt x="27"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23" name="Freeform 1974">
              <a:extLst>
                <a:ext uri="{FF2B5EF4-FFF2-40B4-BE49-F238E27FC236}">
                  <a16:creationId xmlns:a16="http://schemas.microsoft.com/office/drawing/2014/main" id="{41516C94-C2C0-4BE3-A56B-C885C3EA91A6}"/>
                </a:ext>
              </a:extLst>
            </p:cNvPr>
            <p:cNvSpPr>
              <a:spLocks/>
            </p:cNvSpPr>
            <p:nvPr/>
          </p:nvSpPr>
          <p:spPr bwMode="auto">
            <a:xfrm>
              <a:off x="2958" y="597"/>
              <a:ext cx="62" cy="36"/>
            </a:xfrm>
            <a:custGeom>
              <a:avLst/>
              <a:gdLst>
                <a:gd name="T0" fmla="*/ 19 w 26"/>
                <a:gd name="T1" fmla="*/ 8 h 15"/>
                <a:gd name="T2" fmla="*/ 26 w 26"/>
                <a:gd name="T3" fmla="*/ 8 h 15"/>
                <a:gd name="T4" fmla="*/ 24 w 26"/>
                <a:gd name="T5" fmla="*/ 7 h 15"/>
                <a:gd name="T6" fmla="*/ 22 w 26"/>
                <a:gd name="T7" fmla="*/ 7 h 15"/>
                <a:gd name="T8" fmla="*/ 20 w 26"/>
                <a:gd name="T9" fmla="*/ 5 h 15"/>
                <a:gd name="T10" fmla="*/ 19 w 26"/>
                <a:gd name="T11" fmla="*/ 5 h 15"/>
                <a:gd name="T12" fmla="*/ 13 w 26"/>
                <a:gd name="T13" fmla="*/ 1 h 15"/>
                <a:gd name="T14" fmla="*/ 10 w 26"/>
                <a:gd name="T15" fmla="*/ 1 h 15"/>
                <a:gd name="T16" fmla="*/ 4 w 26"/>
                <a:gd name="T17" fmla="*/ 0 h 15"/>
                <a:gd name="T18" fmla="*/ 2 w 26"/>
                <a:gd name="T19" fmla="*/ 1 h 15"/>
                <a:gd name="T20" fmla="*/ 0 w 26"/>
                <a:gd name="T21" fmla="*/ 2 h 15"/>
                <a:gd name="T22" fmla="*/ 1 w 26"/>
                <a:gd name="T23" fmla="*/ 5 h 15"/>
                <a:gd name="T24" fmla="*/ 3 w 26"/>
                <a:gd name="T25" fmla="*/ 7 h 15"/>
                <a:gd name="T26" fmla="*/ 4 w 26"/>
                <a:gd name="T27" fmla="*/ 7 h 15"/>
                <a:gd name="T28" fmla="*/ 4 w 26"/>
                <a:gd name="T29" fmla="*/ 8 h 15"/>
                <a:gd name="T30" fmla="*/ 5 w 26"/>
                <a:gd name="T31" fmla="*/ 8 h 15"/>
                <a:gd name="T32" fmla="*/ 15 w 26"/>
                <a:gd name="T33" fmla="*/ 12 h 15"/>
                <a:gd name="T34" fmla="*/ 20 w 26"/>
                <a:gd name="T35" fmla="*/ 15 h 15"/>
                <a:gd name="T36" fmla="*/ 25 w 26"/>
                <a:gd name="T37" fmla="*/ 12 h 15"/>
                <a:gd name="T38" fmla="*/ 24 w 26"/>
                <a:gd name="T39" fmla="*/ 12 h 15"/>
                <a:gd name="T40" fmla="*/ 23 w 26"/>
                <a:gd name="T41" fmla="*/ 12 h 15"/>
                <a:gd name="T42" fmla="*/ 22 w 26"/>
                <a:gd name="T43" fmla="*/ 11 h 15"/>
                <a:gd name="T44" fmla="*/ 20 w 26"/>
                <a:gd name="T45" fmla="*/ 11 h 15"/>
                <a:gd name="T46" fmla="*/ 18 w 26"/>
                <a:gd name="T47" fmla="*/ 10 h 15"/>
                <a:gd name="T48" fmla="*/ 19 w 26"/>
                <a:gd name="T49"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 h="15">
                  <a:moveTo>
                    <a:pt x="19" y="8"/>
                  </a:moveTo>
                  <a:cubicBezTo>
                    <a:pt x="21" y="8"/>
                    <a:pt x="24" y="9"/>
                    <a:pt x="26" y="8"/>
                  </a:cubicBezTo>
                  <a:cubicBezTo>
                    <a:pt x="25" y="8"/>
                    <a:pt x="25" y="8"/>
                    <a:pt x="24" y="7"/>
                  </a:cubicBezTo>
                  <a:cubicBezTo>
                    <a:pt x="24" y="7"/>
                    <a:pt x="23" y="7"/>
                    <a:pt x="22" y="7"/>
                  </a:cubicBezTo>
                  <a:cubicBezTo>
                    <a:pt x="22" y="6"/>
                    <a:pt x="21" y="5"/>
                    <a:pt x="20" y="5"/>
                  </a:cubicBezTo>
                  <a:cubicBezTo>
                    <a:pt x="20" y="5"/>
                    <a:pt x="19" y="6"/>
                    <a:pt x="19" y="5"/>
                  </a:cubicBezTo>
                  <a:cubicBezTo>
                    <a:pt x="17" y="4"/>
                    <a:pt x="15" y="2"/>
                    <a:pt x="13" y="1"/>
                  </a:cubicBezTo>
                  <a:cubicBezTo>
                    <a:pt x="12" y="1"/>
                    <a:pt x="11" y="1"/>
                    <a:pt x="10" y="1"/>
                  </a:cubicBezTo>
                  <a:cubicBezTo>
                    <a:pt x="8" y="1"/>
                    <a:pt x="6" y="0"/>
                    <a:pt x="4" y="0"/>
                  </a:cubicBezTo>
                  <a:cubicBezTo>
                    <a:pt x="3" y="0"/>
                    <a:pt x="3" y="0"/>
                    <a:pt x="2" y="1"/>
                  </a:cubicBezTo>
                  <a:cubicBezTo>
                    <a:pt x="1" y="1"/>
                    <a:pt x="0" y="1"/>
                    <a:pt x="0" y="2"/>
                  </a:cubicBezTo>
                  <a:cubicBezTo>
                    <a:pt x="0" y="3"/>
                    <a:pt x="1" y="4"/>
                    <a:pt x="1" y="5"/>
                  </a:cubicBezTo>
                  <a:cubicBezTo>
                    <a:pt x="1" y="6"/>
                    <a:pt x="2" y="6"/>
                    <a:pt x="3" y="7"/>
                  </a:cubicBezTo>
                  <a:cubicBezTo>
                    <a:pt x="3" y="7"/>
                    <a:pt x="3" y="6"/>
                    <a:pt x="4" y="7"/>
                  </a:cubicBezTo>
                  <a:cubicBezTo>
                    <a:pt x="4" y="7"/>
                    <a:pt x="4" y="8"/>
                    <a:pt x="4" y="8"/>
                  </a:cubicBezTo>
                  <a:cubicBezTo>
                    <a:pt x="5" y="9"/>
                    <a:pt x="4" y="8"/>
                    <a:pt x="5" y="8"/>
                  </a:cubicBezTo>
                  <a:cubicBezTo>
                    <a:pt x="8" y="9"/>
                    <a:pt x="12" y="10"/>
                    <a:pt x="15" y="12"/>
                  </a:cubicBezTo>
                  <a:cubicBezTo>
                    <a:pt x="16" y="13"/>
                    <a:pt x="18" y="14"/>
                    <a:pt x="20" y="15"/>
                  </a:cubicBezTo>
                  <a:cubicBezTo>
                    <a:pt x="23" y="15"/>
                    <a:pt x="24" y="15"/>
                    <a:pt x="25" y="12"/>
                  </a:cubicBezTo>
                  <a:cubicBezTo>
                    <a:pt x="24" y="12"/>
                    <a:pt x="24" y="12"/>
                    <a:pt x="24" y="12"/>
                  </a:cubicBezTo>
                  <a:cubicBezTo>
                    <a:pt x="23" y="12"/>
                    <a:pt x="22" y="12"/>
                    <a:pt x="23" y="12"/>
                  </a:cubicBezTo>
                  <a:cubicBezTo>
                    <a:pt x="22" y="12"/>
                    <a:pt x="23" y="12"/>
                    <a:pt x="22" y="11"/>
                  </a:cubicBezTo>
                  <a:cubicBezTo>
                    <a:pt x="22" y="11"/>
                    <a:pt x="21" y="11"/>
                    <a:pt x="20" y="11"/>
                  </a:cubicBezTo>
                  <a:cubicBezTo>
                    <a:pt x="20" y="11"/>
                    <a:pt x="18" y="10"/>
                    <a:pt x="18" y="10"/>
                  </a:cubicBezTo>
                  <a:cubicBezTo>
                    <a:pt x="18" y="8"/>
                    <a:pt x="19" y="9"/>
                    <a:pt x="19" y="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24" name="Freeform 1975">
              <a:extLst>
                <a:ext uri="{FF2B5EF4-FFF2-40B4-BE49-F238E27FC236}">
                  <a16:creationId xmlns:a16="http://schemas.microsoft.com/office/drawing/2014/main" id="{5FC89428-F2E9-4F6C-B527-ABBB755CD4A0}"/>
                </a:ext>
              </a:extLst>
            </p:cNvPr>
            <p:cNvSpPr>
              <a:spLocks/>
            </p:cNvSpPr>
            <p:nvPr/>
          </p:nvSpPr>
          <p:spPr bwMode="auto">
            <a:xfrm>
              <a:off x="3048" y="496"/>
              <a:ext cx="26" cy="16"/>
            </a:xfrm>
            <a:custGeom>
              <a:avLst/>
              <a:gdLst>
                <a:gd name="T0" fmla="*/ 2 w 11"/>
                <a:gd name="T1" fmla="*/ 5 h 7"/>
                <a:gd name="T2" fmla="*/ 6 w 11"/>
                <a:gd name="T3" fmla="*/ 7 h 7"/>
                <a:gd name="T4" fmla="*/ 11 w 11"/>
                <a:gd name="T5" fmla="*/ 4 h 7"/>
                <a:gd name="T6" fmla="*/ 6 w 11"/>
                <a:gd name="T7" fmla="*/ 3 h 7"/>
                <a:gd name="T8" fmla="*/ 8 w 11"/>
                <a:gd name="T9" fmla="*/ 1 h 7"/>
                <a:gd name="T10" fmla="*/ 4 w 11"/>
                <a:gd name="T11" fmla="*/ 0 h 7"/>
                <a:gd name="T12" fmla="*/ 2 w 11"/>
                <a:gd name="T13" fmla="*/ 1 h 7"/>
                <a:gd name="T14" fmla="*/ 2 w 11"/>
                <a:gd name="T15" fmla="*/ 2 h 7"/>
                <a:gd name="T16" fmla="*/ 1 w 11"/>
                <a:gd name="T17" fmla="*/ 4 h 7"/>
                <a:gd name="T18" fmla="*/ 2 w 11"/>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7">
                  <a:moveTo>
                    <a:pt x="2" y="5"/>
                  </a:moveTo>
                  <a:cubicBezTo>
                    <a:pt x="3" y="7"/>
                    <a:pt x="4" y="7"/>
                    <a:pt x="6" y="7"/>
                  </a:cubicBezTo>
                  <a:cubicBezTo>
                    <a:pt x="7" y="6"/>
                    <a:pt x="9" y="5"/>
                    <a:pt x="11" y="4"/>
                  </a:cubicBezTo>
                  <a:cubicBezTo>
                    <a:pt x="9" y="3"/>
                    <a:pt x="7" y="3"/>
                    <a:pt x="6" y="3"/>
                  </a:cubicBezTo>
                  <a:cubicBezTo>
                    <a:pt x="6" y="2"/>
                    <a:pt x="7" y="1"/>
                    <a:pt x="8" y="1"/>
                  </a:cubicBezTo>
                  <a:cubicBezTo>
                    <a:pt x="6" y="0"/>
                    <a:pt x="5" y="0"/>
                    <a:pt x="4" y="0"/>
                  </a:cubicBezTo>
                  <a:cubicBezTo>
                    <a:pt x="3" y="0"/>
                    <a:pt x="3" y="0"/>
                    <a:pt x="2" y="1"/>
                  </a:cubicBezTo>
                  <a:cubicBezTo>
                    <a:pt x="1" y="1"/>
                    <a:pt x="2" y="1"/>
                    <a:pt x="2" y="2"/>
                  </a:cubicBezTo>
                  <a:cubicBezTo>
                    <a:pt x="2" y="3"/>
                    <a:pt x="2" y="3"/>
                    <a:pt x="1" y="4"/>
                  </a:cubicBezTo>
                  <a:cubicBezTo>
                    <a:pt x="0" y="5"/>
                    <a:pt x="1" y="5"/>
                    <a:pt x="2"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25" name="Freeform 1976">
              <a:extLst>
                <a:ext uri="{FF2B5EF4-FFF2-40B4-BE49-F238E27FC236}">
                  <a16:creationId xmlns:a16="http://schemas.microsoft.com/office/drawing/2014/main" id="{7FDF4C1B-F936-4E12-9797-F09988EF0DCC}"/>
                </a:ext>
              </a:extLst>
            </p:cNvPr>
            <p:cNvSpPr>
              <a:spLocks/>
            </p:cNvSpPr>
            <p:nvPr/>
          </p:nvSpPr>
          <p:spPr bwMode="auto">
            <a:xfrm>
              <a:off x="2939" y="571"/>
              <a:ext cx="50" cy="12"/>
            </a:xfrm>
            <a:custGeom>
              <a:avLst/>
              <a:gdLst>
                <a:gd name="T0" fmla="*/ 16 w 21"/>
                <a:gd name="T1" fmla="*/ 5 h 5"/>
                <a:gd name="T2" fmla="*/ 21 w 21"/>
                <a:gd name="T3" fmla="*/ 5 h 5"/>
                <a:gd name="T4" fmla="*/ 0 w 21"/>
                <a:gd name="T5" fmla="*/ 1 h 5"/>
                <a:gd name="T6" fmla="*/ 3 w 21"/>
                <a:gd name="T7" fmla="*/ 3 h 5"/>
                <a:gd name="T8" fmla="*/ 8 w 21"/>
                <a:gd name="T9" fmla="*/ 3 h 5"/>
                <a:gd name="T10" fmla="*/ 12 w 21"/>
                <a:gd name="T11" fmla="*/ 4 h 5"/>
                <a:gd name="T12" fmla="*/ 16 w 21"/>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21" h="5">
                  <a:moveTo>
                    <a:pt x="16" y="5"/>
                  </a:moveTo>
                  <a:cubicBezTo>
                    <a:pt x="17" y="5"/>
                    <a:pt x="20" y="5"/>
                    <a:pt x="21" y="5"/>
                  </a:cubicBezTo>
                  <a:cubicBezTo>
                    <a:pt x="15" y="1"/>
                    <a:pt x="7" y="0"/>
                    <a:pt x="0" y="1"/>
                  </a:cubicBezTo>
                  <a:cubicBezTo>
                    <a:pt x="1" y="2"/>
                    <a:pt x="2" y="2"/>
                    <a:pt x="3" y="3"/>
                  </a:cubicBezTo>
                  <a:cubicBezTo>
                    <a:pt x="4" y="2"/>
                    <a:pt x="6" y="3"/>
                    <a:pt x="8" y="3"/>
                  </a:cubicBezTo>
                  <a:cubicBezTo>
                    <a:pt x="9" y="3"/>
                    <a:pt x="10" y="3"/>
                    <a:pt x="12" y="4"/>
                  </a:cubicBezTo>
                  <a:cubicBezTo>
                    <a:pt x="13" y="4"/>
                    <a:pt x="15" y="5"/>
                    <a:pt x="16"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26" name="Freeform 1977">
              <a:extLst>
                <a:ext uri="{FF2B5EF4-FFF2-40B4-BE49-F238E27FC236}">
                  <a16:creationId xmlns:a16="http://schemas.microsoft.com/office/drawing/2014/main" id="{874A8993-4D3C-4A83-A941-D777895D7D1E}"/>
                </a:ext>
              </a:extLst>
            </p:cNvPr>
            <p:cNvSpPr>
              <a:spLocks/>
            </p:cNvSpPr>
            <p:nvPr/>
          </p:nvSpPr>
          <p:spPr bwMode="auto">
            <a:xfrm>
              <a:off x="3024" y="699"/>
              <a:ext cx="5" cy="9"/>
            </a:xfrm>
            <a:custGeom>
              <a:avLst/>
              <a:gdLst>
                <a:gd name="T0" fmla="*/ 1 w 2"/>
                <a:gd name="T1" fmla="*/ 3 h 4"/>
                <a:gd name="T2" fmla="*/ 0 w 2"/>
                <a:gd name="T3" fmla="*/ 1 h 4"/>
                <a:gd name="T4" fmla="*/ 0 w 2"/>
                <a:gd name="T5" fmla="*/ 3 h 4"/>
                <a:gd name="T6" fmla="*/ 0 w 2"/>
                <a:gd name="T7" fmla="*/ 4 h 4"/>
                <a:gd name="T8" fmla="*/ 1 w 2"/>
                <a:gd name="T9" fmla="*/ 3 h 4"/>
              </a:gdLst>
              <a:ahLst/>
              <a:cxnLst>
                <a:cxn ang="0">
                  <a:pos x="T0" y="T1"/>
                </a:cxn>
                <a:cxn ang="0">
                  <a:pos x="T2" y="T3"/>
                </a:cxn>
                <a:cxn ang="0">
                  <a:pos x="T4" y="T5"/>
                </a:cxn>
                <a:cxn ang="0">
                  <a:pos x="T6" y="T7"/>
                </a:cxn>
                <a:cxn ang="0">
                  <a:pos x="T8" y="T9"/>
                </a:cxn>
              </a:cxnLst>
              <a:rect l="0" t="0" r="r" b="b"/>
              <a:pathLst>
                <a:path w="2" h="4">
                  <a:moveTo>
                    <a:pt x="1" y="3"/>
                  </a:moveTo>
                  <a:cubicBezTo>
                    <a:pt x="2" y="2"/>
                    <a:pt x="0" y="0"/>
                    <a:pt x="0" y="1"/>
                  </a:cubicBezTo>
                  <a:cubicBezTo>
                    <a:pt x="0" y="1"/>
                    <a:pt x="0" y="2"/>
                    <a:pt x="0" y="3"/>
                  </a:cubicBezTo>
                  <a:cubicBezTo>
                    <a:pt x="0" y="3"/>
                    <a:pt x="0" y="3"/>
                    <a:pt x="0" y="4"/>
                  </a:cubicBezTo>
                  <a:cubicBezTo>
                    <a:pt x="1" y="4"/>
                    <a:pt x="1" y="4"/>
                    <a:pt x="1"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27" name="Freeform 1978">
              <a:extLst>
                <a:ext uri="{FF2B5EF4-FFF2-40B4-BE49-F238E27FC236}">
                  <a16:creationId xmlns:a16="http://schemas.microsoft.com/office/drawing/2014/main" id="{729676B1-533A-4EE0-B759-D60C427EF6A1}"/>
                </a:ext>
              </a:extLst>
            </p:cNvPr>
            <p:cNvSpPr>
              <a:spLocks noEditPoints="1"/>
            </p:cNvSpPr>
            <p:nvPr/>
          </p:nvSpPr>
          <p:spPr bwMode="auto">
            <a:xfrm>
              <a:off x="1785" y="29"/>
              <a:ext cx="1478" cy="1091"/>
            </a:xfrm>
            <a:custGeom>
              <a:avLst/>
              <a:gdLst>
                <a:gd name="T0" fmla="*/ 457 w 625"/>
                <a:gd name="T1" fmla="*/ 292 h 461"/>
                <a:gd name="T2" fmla="*/ 484 w 625"/>
                <a:gd name="T3" fmla="*/ 272 h 461"/>
                <a:gd name="T4" fmla="*/ 486 w 625"/>
                <a:gd name="T5" fmla="*/ 268 h 461"/>
                <a:gd name="T6" fmla="*/ 524 w 625"/>
                <a:gd name="T7" fmla="*/ 276 h 461"/>
                <a:gd name="T8" fmla="*/ 515 w 625"/>
                <a:gd name="T9" fmla="*/ 262 h 461"/>
                <a:gd name="T10" fmla="*/ 487 w 625"/>
                <a:gd name="T11" fmla="*/ 242 h 461"/>
                <a:gd name="T12" fmla="*/ 470 w 625"/>
                <a:gd name="T13" fmla="*/ 231 h 461"/>
                <a:gd name="T14" fmla="*/ 511 w 625"/>
                <a:gd name="T15" fmla="*/ 232 h 461"/>
                <a:gd name="T16" fmla="*/ 531 w 625"/>
                <a:gd name="T17" fmla="*/ 209 h 461"/>
                <a:gd name="T18" fmla="*/ 533 w 625"/>
                <a:gd name="T19" fmla="*/ 191 h 461"/>
                <a:gd name="T20" fmla="*/ 526 w 625"/>
                <a:gd name="T21" fmla="*/ 173 h 461"/>
                <a:gd name="T22" fmla="*/ 535 w 625"/>
                <a:gd name="T23" fmla="*/ 158 h 461"/>
                <a:gd name="T24" fmla="*/ 542 w 625"/>
                <a:gd name="T25" fmla="*/ 138 h 461"/>
                <a:gd name="T26" fmla="*/ 550 w 625"/>
                <a:gd name="T27" fmla="*/ 106 h 461"/>
                <a:gd name="T28" fmla="*/ 558 w 625"/>
                <a:gd name="T29" fmla="*/ 76 h 461"/>
                <a:gd name="T30" fmla="*/ 564 w 625"/>
                <a:gd name="T31" fmla="*/ 50 h 461"/>
                <a:gd name="T32" fmla="*/ 501 w 625"/>
                <a:gd name="T33" fmla="*/ 41 h 461"/>
                <a:gd name="T34" fmla="*/ 433 w 625"/>
                <a:gd name="T35" fmla="*/ 36 h 461"/>
                <a:gd name="T36" fmla="*/ 393 w 625"/>
                <a:gd name="T37" fmla="*/ 19 h 461"/>
                <a:gd name="T38" fmla="*/ 375 w 625"/>
                <a:gd name="T39" fmla="*/ 2 h 461"/>
                <a:gd name="T40" fmla="*/ 315 w 625"/>
                <a:gd name="T41" fmla="*/ 10 h 461"/>
                <a:gd name="T42" fmla="*/ 319 w 625"/>
                <a:gd name="T43" fmla="*/ 23 h 461"/>
                <a:gd name="T44" fmla="*/ 260 w 625"/>
                <a:gd name="T45" fmla="*/ 37 h 461"/>
                <a:gd name="T46" fmla="*/ 204 w 625"/>
                <a:gd name="T47" fmla="*/ 41 h 461"/>
                <a:gd name="T48" fmla="*/ 139 w 625"/>
                <a:gd name="T49" fmla="*/ 44 h 461"/>
                <a:gd name="T50" fmla="*/ 71 w 625"/>
                <a:gd name="T51" fmla="*/ 89 h 461"/>
                <a:gd name="T52" fmla="*/ 42 w 625"/>
                <a:gd name="T53" fmla="*/ 114 h 461"/>
                <a:gd name="T54" fmla="*/ 49 w 625"/>
                <a:gd name="T55" fmla="*/ 145 h 461"/>
                <a:gd name="T56" fmla="*/ 23 w 625"/>
                <a:gd name="T57" fmla="*/ 160 h 461"/>
                <a:gd name="T58" fmla="*/ 74 w 625"/>
                <a:gd name="T59" fmla="*/ 173 h 461"/>
                <a:gd name="T60" fmla="*/ 159 w 625"/>
                <a:gd name="T61" fmla="*/ 199 h 461"/>
                <a:gd name="T62" fmla="*/ 176 w 625"/>
                <a:gd name="T63" fmla="*/ 220 h 461"/>
                <a:gd name="T64" fmla="*/ 186 w 625"/>
                <a:gd name="T65" fmla="*/ 247 h 461"/>
                <a:gd name="T66" fmla="*/ 193 w 625"/>
                <a:gd name="T67" fmla="*/ 268 h 461"/>
                <a:gd name="T68" fmla="*/ 218 w 625"/>
                <a:gd name="T69" fmla="*/ 262 h 461"/>
                <a:gd name="T70" fmla="*/ 224 w 625"/>
                <a:gd name="T71" fmla="*/ 280 h 461"/>
                <a:gd name="T72" fmla="*/ 218 w 625"/>
                <a:gd name="T73" fmla="*/ 294 h 461"/>
                <a:gd name="T74" fmla="*/ 231 w 625"/>
                <a:gd name="T75" fmla="*/ 312 h 461"/>
                <a:gd name="T76" fmla="*/ 209 w 625"/>
                <a:gd name="T77" fmla="*/ 324 h 461"/>
                <a:gd name="T78" fmla="*/ 203 w 625"/>
                <a:gd name="T79" fmla="*/ 328 h 461"/>
                <a:gd name="T80" fmla="*/ 231 w 625"/>
                <a:gd name="T81" fmla="*/ 332 h 461"/>
                <a:gd name="T82" fmla="*/ 225 w 625"/>
                <a:gd name="T83" fmla="*/ 345 h 461"/>
                <a:gd name="T84" fmla="*/ 209 w 625"/>
                <a:gd name="T85" fmla="*/ 352 h 461"/>
                <a:gd name="T86" fmla="*/ 232 w 625"/>
                <a:gd name="T87" fmla="*/ 350 h 461"/>
                <a:gd name="T88" fmla="*/ 204 w 625"/>
                <a:gd name="T89" fmla="*/ 367 h 461"/>
                <a:gd name="T90" fmla="*/ 211 w 625"/>
                <a:gd name="T91" fmla="*/ 375 h 461"/>
                <a:gd name="T92" fmla="*/ 218 w 625"/>
                <a:gd name="T93" fmla="*/ 392 h 461"/>
                <a:gd name="T94" fmla="*/ 223 w 625"/>
                <a:gd name="T95" fmla="*/ 407 h 461"/>
                <a:gd name="T96" fmla="*/ 235 w 625"/>
                <a:gd name="T97" fmla="*/ 418 h 461"/>
                <a:gd name="T98" fmla="*/ 249 w 625"/>
                <a:gd name="T99" fmla="*/ 436 h 461"/>
                <a:gd name="T100" fmla="*/ 262 w 625"/>
                <a:gd name="T101" fmla="*/ 446 h 461"/>
                <a:gd name="T102" fmla="*/ 279 w 625"/>
                <a:gd name="T103" fmla="*/ 446 h 461"/>
                <a:gd name="T104" fmla="*/ 287 w 625"/>
                <a:gd name="T105" fmla="*/ 454 h 461"/>
                <a:gd name="T106" fmla="*/ 303 w 625"/>
                <a:gd name="T107" fmla="*/ 453 h 461"/>
                <a:gd name="T108" fmla="*/ 313 w 625"/>
                <a:gd name="T109" fmla="*/ 439 h 461"/>
                <a:gd name="T110" fmla="*/ 310 w 625"/>
                <a:gd name="T111" fmla="*/ 419 h 461"/>
                <a:gd name="T112" fmla="*/ 323 w 625"/>
                <a:gd name="T113" fmla="*/ 407 h 461"/>
                <a:gd name="T114" fmla="*/ 330 w 625"/>
                <a:gd name="T115" fmla="*/ 392 h 461"/>
                <a:gd name="T116" fmla="*/ 339 w 625"/>
                <a:gd name="T117" fmla="*/ 372 h 461"/>
                <a:gd name="T118" fmla="*/ 366 w 625"/>
                <a:gd name="T119" fmla="*/ 367 h 461"/>
                <a:gd name="T120" fmla="*/ 396 w 625"/>
                <a:gd name="T121" fmla="*/ 355 h 461"/>
                <a:gd name="T122" fmla="*/ 419 w 625"/>
                <a:gd name="T123" fmla="*/ 326 h 461"/>
                <a:gd name="T124" fmla="*/ 493 w 625"/>
                <a:gd name="T125" fmla="*/ 308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5" h="461">
                  <a:moveTo>
                    <a:pt x="493" y="305"/>
                  </a:moveTo>
                  <a:cubicBezTo>
                    <a:pt x="494" y="305"/>
                    <a:pt x="495" y="305"/>
                    <a:pt x="496" y="306"/>
                  </a:cubicBezTo>
                  <a:cubicBezTo>
                    <a:pt x="495" y="306"/>
                    <a:pt x="497" y="306"/>
                    <a:pt x="497" y="306"/>
                  </a:cubicBezTo>
                  <a:cubicBezTo>
                    <a:pt x="498" y="306"/>
                    <a:pt x="500" y="305"/>
                    <a:pt x="500" y="304"/>
                  </a:cubicBezTo>
                  <a:cubicBezTo>
                    <a:pt x="500" y="302"/>
                    <a:pt x="499" y="303"/>
                    <a:pt x="497" y="302"/>
                  </a:cubicBezTo>
                  <a:cubicBezTo>
                    <a:pt x="498" y="302"/>
                    <a:pt x="499" y="302"/>
                    <a:pt x="500" y="302"/>
                  </a:cubicBezTo>
                  <a:cubicBezTo>
                    <a:pt x="500" y="303"/>
                    <a:pt x="501" y="302"/>
                    <a:pt x="501" y="302"/>
                  </a:cubicBezTo>
                  <a:cubicBezTo>
                    <a:pt x="502" y="303"/>
                    <a:pt x="502" y="304"/>
                    <a:pt x="503" y="303"/>
                  </a:cubicBezTo>
                  <a:cubicBezTo>
                    <a:pt x="504" y="302"/>
                    <a:pt x="505" y="300"/>
                    <a:pt x="504" y="300"/>
                  </a:cubicBezTo>
                  <a:cubicBezTo>
                    <a:pt x="503" y="299"/>
                    <a:pt x="502" y="299"/>
                    <a:pt x="501" y="299"/>
                  </a:cubicBezTo>
                  <a:cubicBezTo>
                    <a:pt x="504" y="299"/>
                    <a:pt x="506" y="299"/>
                    <a:pt x="508" y="299"/>
                  </a:cubicBezTo>
                  <a:cubicBezTo>
                    <a:pt x="508" y="299"/>
                    <a:pt x="508" y="298"/>
                    <a:pt x="508" y="298"/>
                  </a:cubicBezTo>
                  <a:cubicBezTo>
                    <a:pt x="509" y="298"/>
                    <a:pt x="510" y="299"/>
                    <a:pt x="511" y="299"/>
                  </a:cubicBezTo>
                  <a:cubicBezTo>
                    <a:pt x="511" y="297"/>
                    <a:pt x="509" y="298"/>
                    <a:pt x="508" y="297"/>
                  </a:cubicBezTo>
                  <a:cubicBezTo>
                    <a:pt x="511" y="296"/>
                    <a:pt x="513" y="296"/>
                    <a:pt x="516" y="295"/>
                  </a:cubicBezTo>
                  <a:cubicBezTo>
                    <a:pt x="517" y="295"/>
                    <a:pt x="520" y="293"/>
                    <a:pt x="520" y="292"/>
                  </a:cubicBezTo>
                  <a:cubicBezTo>
                    <a:pt x="520" y="291"/>
                    <a:pt x="517" y="292"/>
                    <a:pt x="516" y="292"/>
                  </a:cubicBezTo>
                  <a:cubicBezTo>
                    <a:pt x="512" y="291"/>
                    <a:pt x="508" y="291"/>
                    <a:pt x="504" y="291"/>
                  </a:cubicBezTo>
                  <a:cubicBezTo>
                    <a:pt x="501" y="291"/>
                    <a:pt x="498" y="291"/>
                    <a:pt x="495" y="290"/>
                  </a:cubicBezTo>
                  <a:cubicBezTo>
                    <a:pt x="494" y="289"/>
                    <a:pt x="493" y="289"/>
                    <a:pt x="492" y="289"/>
                  </a:cubicBezTo>
                  <a:cubicBezTo>
                    <a:pt x="492" y="288"/>
                    <a:pt x="491" y="288"/>
                    <a:pt x="491" y="288"/>
                  </a:cubicBezTo>
                  <a:cubicBezTo>
                    <a:pt x="490" y="288"/>
                    <a:pt x="489" y="288"/>
                    <a:pt x="488" y="288"/>
                  </a:cubicBezTo>
                  <a:cubicBezTo>
                    <a:pt x="488" y="288"/>
                    <a:pt x="489" y="287"/>
                    <a:pt x="488" y="287"/>
                  </a:cubicBezTo>
                  <a:cubicBezTo>
                    <a:pt x="487" y="287"/>
                    <a:pt x="485" y="288"/>
                    <a:pt x="485" y="288"/>
                  </a:cubicBezTo>
                  <a:cubicBezTo>
                    <a:pt x="482" y="289"/>
                    <a:pt x="479" y="290"/>
                    <a:pt x="477" y="291"/>
                  </a:cubicBezTo>
                  <a:cubicBezTo>
                    <a:pt x="474" y="291"/>
                    <a:pt x="471" y="292"/>
                    <a:pt x="468" y="293"/>
                  </a:cubicBezTo>
                  <a:cubicBezTo>
                    <a:pt x="468" y="293"/>
                    <a:pt x="468" y="294"/>
                    <a:pt x="467" y="295"/>
                  </a:cubicBezTo>
                  <a:cubicBezTo>
                    <a:pt x="466" y="296"/>
                    <a:pt x="461" y="294"/>
                    <a:pt x="459" y="294"/>
                  </a:cubicBezTo>
                  <a:cubicBezTo>
                    <a:pt x="455" y="293"/>
                    <a:pt x="455" y="293"/>
                    <a:pt x="455" y="293"/>
                  </a:cubicBezTo>
                  <a:cubicBezTo>
                    <a:pt x="455" y="293"/>
                    <a:pt x="455" y="293"/>
                    <a:pt x="455" y="293"/>
                  </a:cubicBezTo>
                  <a:cubicBezTo>
                    <a:pt x="456" y="293"/>
                    <a:pt x="456" y="292"/>
                    <a:pt x="457" y="292"/>
                  </a:cubicBezTo>
                  <a:cubicBezTo>
                    <a:pt x="459" y="292"/>
                    <a:pt x="459" y="293"/>
                    <a:pt x="461" y="293"/>
                  </a:cubicBezTo>
                  <a:cubicBezTo>
                    <a:pt x="462" y="293"/>
                    <a:pt x="463" y="292"/>
                    <a:pt x="464" y="292"/>
                  </a:cubicBezTo>
                  <a:cubicBezTo>
                    <a:pt x="466" y="291"/>
                    <a:pt x="468" y="290"/>
                    <a:pt x="470" y="289"/>
                  </a:cubicBezTo>
                  <a:cubicBezTo>
                    <a:pt x="472" y="288"/>
                    <a:pt x="474" y="290"/>
                    <a:pt x="476" y="288"/>
                  </a:cubicBezTo>
                  <a:cubicBezTo>
                    <a:pt x="476" y="288"/>
                    <a:pt x="477" y="288"/>
                    <a:pt x="476" y="287"/>
                  </a:cubicBezTo>
                  <a:cubicBezTo>
                    <a:pt x="476" y="287"/>
                    <a:pt x="476" y="286"/>
                    <a:pt x="475" y="286"/>
                  </a:cubicBezTo>
                  <a:cubicBezTo>
                    <a:pt x="474" y="285"/>
                    <a:pt x="472" y="286"/>
                    <a:pt x="471" y="286"/>
                  </a:cubicBezTo>
                  <a:cubicBezTo>
                    <a:pt x="470" y="286"/>
                    <a:pt x="469" y="286"/>
                    <a:pt x="468" y="286"/>
                  </a:cubicBezTo>
                  <a:cubicBezTo>
                    <a:pt x="466" y="286"/>
                    <a:pt x="465" y="287"/>
                    <a:pt x="464" y="287"/>
                  </a:cubicBezTo>
                  <a:cubicBezTo>
                    <a:pt x="462" y="287"/>
                    <a:pt x="458" y="288"/>
                    <a:pt x="457" y="287"/>
                  </a:cubicBezTo>
                  <a:cubicBezTo>
                    <a:pt x="456" y="287"/>
                    <a:pt x="457" y="286"/>
                    <a:pt x="457" y="285"/>
                  </a:cubicBezTo>
                  <a:cubicBezTo>
                    <a:pt x="455" y="286"/>
                    <a:pt x="453" y="285"/>
                    <a:pt x="451" y="286"/>
                  </a:cubicBezTo>
                  <a:cubicBezTo>
                    <a:pt x="449" y="287"/>
                    <a:pt x="448" y="288"/>
                    <a:pt x="447" y="286"/>
                  </a:cubicBezTo>
                  <a:cubicBezTo>
                    <a:pt x="449" y="286"/>
                    <a:pt x="451" y="285"/>
                    <a:pt x="453" y="285"/>
                  </a:cubicBezTo>
                  <a:cubicBezTo>
                    <a:pt x="454" y="285"/>
                    <a:pt x="456" y="285"/>
                    <a:pt x="457" y="284"/>
                  </a:cubicBezTo>
                  <a:cubicBezTo>
                    <a:pt x="458" y="283"/>
                    <a:pt x="459" y="281"/>
                    <a:pt x="460" y="280"/>
                  </a:cubicBezTo>
                  <a:cubicBezTo>
                    <a:pt x="460" y="279"/>
                    <a:pt x="460" y="278"/>
                    <a:pt x="460" y="278"/>
                  </a:cubicBezTo>
                  <a:cubicBezTo>
                    <a:pt x="460" y="278"/>
                    <a:pt x="459" y="278"/>
                    <a:pt x="459" y="278"/>
                  </a:cubicBezTo>
                  <a:cubicBezTo>
                    <a:pt x="458" y="277"/>
                    <a:pt x="457" y="277"/>
                    <a:pt x="456" y="277"/>
                  </a:cubicBezTo>
                  <a:cubicBezTo>
                    <a:pt x="457" y="276"/>
                    <a:pt x="459" y="276"/>
                    <a:pt x="460" y="276"/>
                  </a:cubicBezTo>
                  <a:cubicBezTo>
                    <a:pt x="461" y="276"/>
                    <a:pt x="462" y="277"/>
                    <a:pt x="464" y="277"/>
                  </a:cubicBezTo>
                  <a:cubicBezTo>
                    <a:pt x="463" y="276"/>
                    <a:pt x="462" y="276"/>
                    <a:pt x="462" y="275"/>
                  </a:cubicBezTo>
                  <a:cubicBezTo>
                    <a:pt x="461" y="275"/>
                    <a:pt x="461" y="274"/>
                    <a:pt x="461" y="274"/>
                  </a:cubicBezTo>
                  <a:cubicBezTo>
                    <a:pt x="462" y="274"/>
                    <a:pt x="463" y="275"/>
                    <a:pt x="464" y="276"/>
                  </a:cubicBezTo>
                  <a:cubicBezTo>
                    <a:pt x="465" y="276"/>
                    <a:pt x="465" y="277"/>
                    <a:pt x="466" y="277"/>
                  </a:cubicBezTo>
                  <a:cubicBezTo>
                    <a:pt x="467" y="277"/>
                    <a:pt x="468" y="277"/>
                    <a:pt x="469" y="277"/>
                  </a:cubicBezTo>
                  <a:cubicBezTo>
                    <a:pt x="471" y="277"/>
                    <a:pt x="472" y="277"/>
                    <a:pt x="473" y="277"/>
                  </a:cubicBezTo>
                  <a:cubicBezTo>
                    <a:pt x="475" y="277"/>
                    <a:pt x="477" y="276"/>
                    <a:pt x="479" y="275"/>
                  </a:cubicBezTo>
                  <a:cubicBezTo>
                    <a:pt x="480" y="275"/>
                    <a:pt x="481" y="274"/>
                    <a:pt x="482" y="274"/>
                  </a:cubicBezTo>
                  <a:cubicBezTo>
                    <a:pt x="482" y="274"/>
                    <a:pt x="483" y="274"/>
                    <a:pt x="483" y="273"/>
                  </a:cubicBezTo>
                  <a:cubicBezTo>
                    <a:pt x="484" y="273"/>
                    <a:pt x="484" y="273"/>
                    <a:pt x="484" y="272"/>
                  </a:cubicBezTo>
                  <a:cubicBezTo>
                    <a:pt x="484" y="272"/>
                    <a:pt x="483" y="272"/>
                    <a:pt x="483" y="271"/>
                  </a:cubicBezTo>
                  <a:cubicBezTo>
                    <a:pt x="483" y="271"/>
                    <a:pt x="485" y="272"/>
                    <a:pt x="485" y="272"/>
                  </a:cubicBezTo>
                  <a:cubicBezTo>
                    <a:pt x="486" y="272"/>
                    <a:pt x="485" y="269"/>
                    <a:pt x="485" y="269"/>
                  </a:cubicBezTo>
                  <a:cubicBezTo>
                    <a:pt x="485" y="268"/>
                    <a:pt x="483" y="267"/>
                    <a:pt x="482" y="267"/>
                  </a:cubicBezTo>
                  <a:cubicBezTo>
                    <a:pt x="481" y="267"/>
                    <a:pt x="480" y="267"/>
                    <a:pt x="479" y="267"/>
                  </a:cubicBezTo>
                  <a:cubicBezTo>
                    <a:pt x="478" y="267"/>
                    <a:pt x="477" y="266"/>
                    <a:pt x="476" y="267"/>
                  </a:cubicBezTo>
                  <a:cubicBezTo>
                    <a:pt x="475" y="267"/>
                    <a:pt x="474" y="267"/>
                    <a:pt x="473" y="267"/>
                  </a:cubicBezTo>
                  <a:cubicBezTo>
                    <a:pt x="472" y="267"/>
                    <a:pt x="471" y="266"/>
                    <a:pt x="470" y="266"/>
                  </a:cubicBezTo>
                  <a:cubicBezTo>
                    <a:pt x="469" y="266"/>
                    <a:pt x="467" y="268"/>
                    <a:pt x="467" y="266"/>
                  </a:cubicBezTo>
                  <a:cubicBezTo>
                    <a:pt x="467" y="265"/>
                    <a:pt x="466" y="265"/>
                    <a:pt x="465" y="265"/>
                  </a:cubicBezTo>
                  <a:cubicBezTo>
                    <a:pt x="463" y="264"/>
                    <a:pt x="461" y="265"/>
                    <a:pt x="459" y="266"/>
                  </a:cubicBezTo>
                  <a:cubicBezTo>
                    <a:pt x="458" y="266"/>
                    <a:pt x="455" y="266"/>
                    <a:pt x="455" y="265"/>
                  </a:cubicBezTo>
                  <a:cubicBezTo>
                    <a:pt x="457" y="265"/>
                    <a:pt x="459" y="265"/>
                    <a:pt x="461" y="265"/>
                  </a:cubicBezTo>
                  <a:cubicBezTo>
                    <a:pt x="462" y="264"/>
                    <a:pt x="463" y="264"/>
                    <a:pt x="464" y="264"/>
                  </a:cubicBezTo>
                  <a:cubicBezTo>
                    <a:pt x="464" y="264"/>
                    <a:pt x="466" y="264"/>
                    <a:pt x="466" y="264"/>
                  </a:cubicBezTo>
                  <a:cubicBezTo>
                    <a:pt x="467" y="263"/>
                    <a:pt x="463" y="261"/>
                    <a:pt x="462" y="261"/>
                  </a:cubicBezTo>
                  <a:cubicBezTo>
                    <a:pt x="462" y="260"/>
                    <a:pt x="461" y="260"/>
                    <a:pt x="460" y="260"/>
                  </a:cubicBezTo>
                  <a:cubicBezTo>
                    <a:pt x="459" y="259"/>
                    <a:pt x="460" y="259"/>
                    <a:pt x="461" y="260"/>
                  </a:cubicBezTo>
                  <a:cubicBezTo>
                    <a:pt x="460" y="258"/>
                    <a:pt x="457" y="258"/>
                    <a:pt x="456" y="258"/>
                  </a:cubicBezTo>
                  <a:cubicBezTo>
                    <a:pt x="454" y="258"/>
                    <a:pt x="456" y="257"/>
                    <a:pt x="455" y="256"/>
                  </a:cubicBezTo>
                  <a:cubicBezTo>
                    <a:pt x="455" y="255"/>
                    <a:pt x="453" y="256"/>
                    <a:pt x="453" y="256"/>
                  </a:cubicBezTo>
                  <a:cubicBezTo>
                    <a:pt x="456" y="255"/>
                    <a:pt x="457" y="257"/>
                    <a:pt x="460" y="258"/>
                  </a:cubicBezTo>
                  <a:cubicBezTo>
                    <a:pt x="461" y="258"/>
                    <a:pt x="462" y="258"/>
                    <a:pt x="463" y="258"/>
                  </a:cubicBezTo>
                  <a:cubicBezTo>
                    <a:pt x="464" y="259"/>
                    <a:pt x="464" y="260"/>
                    <a:pt x="465" y="260"/>
                  </a:cubicBezTo>
                  <a:cubicBezTo>
                    <a:pt x="466" y="261"/>
                    <a:pt x="467" y="261"/>
                    <a:pt x="468" y="262"/>
                  </a:cubicBezTo>
                  <a:cubicBezTo>
                    <a:pt x="468" y="263"/>
                    <a:pt x="469" y="263"/>
                    <a:pt x="469" y="264"/>
                  </a:cubicBezTo>
                  <a:cubicBezTo>
                    <a:pt x="471" y="265"/>
                    <a:pt x="473" y="266"/>
                    <a:pt x="475" y="266"/>
                  </a:cubicBezTo>
                  <a:cubicBezTo>
                    <a:pt x="475" y="265"/>
                    <a:pt x="476" y="265"/>
                    <a:pt x="477" y="265"/>
                  </a:cubicBezTo>
                  <a:cubicBezTo>
                    <a:pt x="477" y="265"/>
                    <a:pt x="478" y="265"/>
                    <a:pt x="478" y="265"/>
                  </a:cubicBezTo>
                  <a:cubicBezTo>
                    <a:pt x="479" y="265"/>
                    <a:pt x="481" y="265"/>
                    <a:pt x="482" y="265"/>
                  </a:cubicBezTo>
                  <a:cubicBezTo>
                    <a:pt x="483" y="266"/>
                    <a:pt x="485" y="267"/>
                    <a:pt x="486" y="268"/>
                  </a:cubicBezTo>
                  <a:cubicBezTo>
                    <a:pt x="487" y="268"/>
                    <a:pt x="488" y="269"/>
                    <a:pt x="489" y="270"/>
                  </a:cubicBezTo>
                  <a:cubicBezTo>
                    <a:pt x="490" y="270"/>
                    <a:pt x="490" y="270"/>
                    <a:pt x="491" y="270"/>
                  </a:cubicBezTo>
                  <a:cubicBezTo>
                    <a:pt x="492" y="270"/>
                    <a:pt x="494" y="269"/>
                    <a:pt x="494" y="269"/>
                  </a:cubicBezTo>
                  <a:cubicBezTo>
                    <a:pt x="495" y="270"/>
                    <a:pt x="494" y="270"/>
                    <a:pt x="494" y="271"/>
                  </a:cubicBezTo>
                  <a:cubicBezTo>
                    <a:pt x="494" y="271"/>
                    <a:pt x="495" y="271"/>
                    <a:pt x="495" y="271"/>
                  </a:cubicBezTo>
                  <a:cubicBezTo>
                    <a:pt x="495" y="271"/>
                    <a:pt x="495" y="272"/>
                    <a:pt x="495" y="272"/>
                  </a:cubicBezTo>
                  <a:cubicBezTo>
                    <a:pt x="495" y="273"/>
                    <a:pt x="496" y="273"/>
                    <a:pt x="497" y="273"/>
                  </a:cubicBezTo>
                  <a:cubicBezTo>
                    <a:pt x="497" y="274"/>
                    <a:pt x="498" y="275"/>
                    <a:pt x="499" y="276"/>
                  </a:cubicBezTo>
                  <a:cubicBezTo>
                    <a:pt x="499" y="276"/>
                    <a:pt x="498" y="277"/>
                    <a:pt x="499" y="278"/>
                  </a:cubicBezTo>
                  <a:cubicBezTo>
                    <a:pt x="499" y="279"/>
                    <a:pt x="499" y="280"/>
                    <a:pt x="499" y="281"/>
                  </a:cubicBezTo>
                  <a:cubicBezTo>
                    <a:pt x="501" y="284"/>
                    <a:pt x="506" y="287"/>
                    <a:pt x="510" y="287"/>
                  </a:cubicBezTo>
                  <a:cubicBezTo>
                    <a:pt x="511" y="287"/>
                    <a:pt x="512" y="287"/>
                    <a:pt x="513" y="287"/>
                  </a:cubicBezTo>
                  <a:cubicBezTo>
                    <a:pt x="516" y="286"/>
                    <a:pt x="515" y="284"/>
                    <a:pt x="516" y="282"/>
                  </a:cubicBezTo>
                  <a:cubicBezTo>
                    <a:pt x="516" y="282"/>
                    <a:pt x="516" y="279"/>
                    <a:pt x="516" y="279"/>
                  </a:cubicBezTo>
                  <a:cubicBezTo>
                    <a:pt x="517" y="279"/>
                    <a:pt x="517" y="281"/>
                    <a:pt x="517" y="281"/>
                  </a:cubicBezTo>
                  <a:cubicBezTo>
                    <a:pt x="517" y="282"/>
                    <a:pt x="517" y="284"/>
                    <a:pt x="517" y="285"/>
                  </a:cubicBezTo>
                  <a:cubicBezTo>
                    <a:pt x="517" y="287"/>
                    <a:pt x="518" y="286"/>
                    <a:pt x="519" y="286"/>
                  </a:cubicBezTo>
                  <a:cubicBezTo>
                    <a:pt x="519" y="286"/>
                    <a:pt x="519" y="286"/>
                    <a:pt x="519" y="286"/>
                  </a:cubicBezTo>
                  <a:cubicBezTo>
                    <a:pt x="519" y="284"/>
                    <a:pt x="520" y="283"/>
                    <a:pt x="522" y="283"/>
                  </a:cubicBezTo>
                  <a:cubicBezTo>
                    <a:pt x="522" y="283"/>
                    <a:pt x="523" y="283"/>
                    <a:pt x="524" y="284"/>
                  </a:cubicBezTo>
                  <a:cubicBezTo>
                    <a:pt x="524" y="283"/>
                    <a:pt x="525" y="283"/>
                    <a:pt x="525" y="282"/>
                  </a:cubicBezTo>
                  <a:cubicBezTo>
                    <a:pt x="525" y="282"/>
                    <a:pt x="524" y="282"/>
                    <a:pt x="524" y="282"/>
                  </a:cubicBezTo>
                  <a:cubicBezTo>
                    <a:pt x="524" y="281"/>
                    <a:pt x="525" y="281"/>
                    <a:pt x="526" y="281"/>
                  </a:cubicBezTo>
                  <a:cubicBezTo>
                    <a:pt x="525" y="281"/>
                    <a:pt x="524" y="281"/>
                    <a:pt x="523" y="281"/>
                  </a:cubicBezTo>
                  <a:cubicBezTo>
                    <a:pt x="524" y="281"/>
                    <a:pt x="524" y="280"/>
                    <a:pt x="525" y="280"/>
                  </a:cubicBezTo>
                  <a:cubicBezTo>
                    <a:pt x="524" y="280"/>
                    <a:pt x="523" y="281"/>
                    <a:pt x="522" y="280"/>
                  </a:cubicBezTo>
                  <a:cubicBezTo>
                    <a:pt x="523" y="280"/>
                    <a:pt x="524" y="280"/>
                    <a:pt x="524" y="279"/>
                  </a:cubicBezTo>
                  <a:cubicBezTo>
                    <a:pt x="524" y="279"/>
                    <a:pt x="524" y="278"/>
                    <a:pt x="524" y="278"/>
                  </a:cubicBezTo>
                  <a:cubicBezTo>
                    <a:pt x="525" y="278"/>
                    <a:pt x="525" y="277"/>
                    <a:pt x="525" y="277"/>
                  </a:cubicBezTo>
                  <a:cubicBezTo>
                    <a:pt x="525" y="277"/>
                    <a:pt x="524" y="277"/>
                    <a:pt x="523" y="277"/>
                  </a:cubicBezTo>
                  <a:cubicBezTo>
                    <a:pt x="524" y="277"/>
                    <a:pt x="524" y="277"/>
                    <a:pt x="524" y="276"/>
                  </a:cubicBezTo>
                  <a:cubicBezTo>
                    <a:pt x="523" y="276"/>
                    <a:pt x="522" y="277"/>
                    <a:pt x="521" y="277"/>
                  </a:cubicBezTo>
                  <a:cubicBezTo>
                    <a:pt x="522" y="276"/>
                    <a:pt x="524" y="276"/>
                    <a:pt x="525" y="276"/>
                  </a:cubicBezTo>
                  <a:cubicBezTo>
                    <a:pt x="523" y="274"/>
                    <a:pt x="520" y="275"/>
                    <a:pt x="518" y="275"/>
                  </a:cubicBezTo>
                  <a:cubicBezTo>
                    <a:pt x="520" y="275"/>
                    <a:pt x="522" y="274"/>
                    <a:pt x="524" y="274"/>
                  </a:cubicBezTo>
                  <a:cubicBezTo>
                    <a:pt x="524" y="274"/>
                    <a:pt x="523" y="273"/>
                    <a:pt x="523" y="273"/>
                  </a:cubicBezTo>
                  <a:cubicBezTo>
                    <a:pt x="524" y="274"/>
                    <a:pt x="525" y="273"/>
                    <a:pt x="524" y="272"/>
                  </a:cubicBezTo>
                  <a:cubicBezTo>
                    <a:pt x="523" y="271"/>
                    <a:pt x="522" y="272"/>
                    <a:pt x="522" y="271"/>
                  </a:cubicBezTo>
                  <a:cubicBezTo>
                    <a:pt x="523" y="271"/>
                    <a:pt x="524" y="270"/>
                    <a:pt x="525" y="270"/>
                  </a:cubicBezTo>
                  <a:cubicBezTo>
                    <a:pt x="524" y="270"/>
                    <a:pt x="524" y="270"/>
                    <a:pt x="523" y="270"/>
                  </a:cubicBezTo>
                  <a:cubicBezTo>
                    <a:pt x="523" y="270"/>
                    <a:pt x="523" y="270"/>
                    <a:pt x="524" y="270"/>
                  </a:cubicBezTo>
                  <a:cubicBezTo>
                    <a:pt x="523" y="270"/>
                    <a:pt x="523" y="269"/>
                    <a:pt x="523" y="270"/>
                  </a:cubicBezTo>
                  <a:cubicBezTo>
                    <a:pt x="523" y="269"/>
                    <a:pt x="524" y="269"/>
                    <a:pt x="524" y="269"/>
                  </a:cubicBezTo>
                  <a:cubicBezTo>
                    <a:pt x="524" y="268"/>
                    <a:pt x="524" y="268"/>
                    <a:pt x="523" y="268"/>
                  </a:cubicBezTo>
                  <a:cubicBezTo>
                    <a:pt x="523" y="268"/>
                    <a:pt x="523" y="268"/>
                    <a:pt x="524" y="268"/>
                  </a:cubicBezTo>
                  <a:cubicBezTo>
                    <a:pt x="523" y="268"/>
                    <a:pt x="523" y="268"/>
                    <a:pt x="523" y="268"/>
                  </a:cubicBezTo>
                  <a:cubicBezTo>
                    <a:pt x="523" y="267"/>
                    <a:pt x="524" y="267"/>
                    <a:pt x="522" y="266"/>
                  </a:cubicBezTo>
                  <a:cubicBezTo>
                    <a:pt x="522" y="266"/>
                    <a:pt x="522" y="267"/>
                    <a:pt x="522" y="267"/>
                  </a:cubicBezTo>
                  <a:cubicBezTo>
                    <a:pt x="521" y="267"/>
                    <a:pt x="519" y="267"/>
                    <a:pt x="518" y="268"/>
                  </a:cubicBezTo>
                  <a:cubicBezTo>
                    <a:pt x="518" y="268"/>
                    <a:pt x="518" y="269"/>
                    <a:pt x="518" y="269"/>
                  </a:cubicBezTo>
                  <a:cubicBezTo>
                    <a:pt x="517" y="270"/>
                    <a:pt x="518" y="271"/>
                    <a:pt x="517" y="271"/>
                  </a:cubicBezTo>
                  <a:cubicBezTo>
                    <a:pt x="516" y="272"/>
                    <a:pt x="516" y="267"/>
                    <a:pt x="516" y="266"/>
                  </a:cubicBezTo>
                  <a:cubicBezTo>
                    <a:pt x="517" y="264"/>
                    <a:pt x="518" y="266"/>
                    <a:pt x="520" y="265"/>
                  </a:cubicBezTo>
                  <a:cubicBezTo>
                    <a:pt x="520" y="265"/>
                    <a:pt x="519" y="264"/>
                    <a:pt x="519" y="264"/>
                  </a:cubicBezTo>
                  <a:cubicBezTo>
                    <a:pt x="520" y="264"/>
                    <a:pt x="521" y="264"/>
                    <a:pt x="521" y="263"/>
                  </a:cubicBezTo>
                  <a:cubicBezTo>
                    <a:pt x="522" y="263"/>
                    <a:pt x="522" y="263"/>
                    <a:pt x="522" y="262"/>
                  </a:cubicBezTo>
                  <a:cubicBezTo>
                    <a:pt x="521" y="262"/>
                    <a:pt x="521" y="263"/>
                    <a:pt x="520" y="263"/>
                  </a:cubicBezTo>
                  <a:cubicBezTo>
                    <a:pt x="519" y="263"/>
                    <a:pt x="518" y="261"/>
                    <a:pt x="518" y="263"/>
                  </a:cubicBezTo>
                  <a:cubicBezTo>
                    <a:pt x="518" y="263"/>
                    <a:pt x="517" y="264"/>
                    <a:pt x="517" y="264"/>
                  </a:cubicBezTo>
                  <a:cubicBezTo>
                    <a:pt x="516" y="265"/>
                    <a:pt x="515" y="264"/>
                    <a:pt x="515" y="265"/>
                  </a:cubicBezTo>
                  <a:cubicBezTo>
                    <a:pt x="514" y="264"/>
                    <a:pt x="516" y="263"/>
                    <a:pt x="516" y="262"/>
                  </a:cubicBezTo>
                  <a:cubicBezTo>
                    <a:pt x="517" y="261"/>
                    <a:pt x="517" y="261"/>
                    <a:pt x="515" y="262"/>
                  </a:cubicBezTo>
                  <a:cubicBezTo>
                    <a:pt x="514" y="262"/>
                    <a:pt x="513" y="262"/>
                    <a:pt x="512" y="263"/>
                  </a:cubicBezTo>
                  <a:cubicBezTo>
                    <a:pt x="511" y="264"/>
                    <a:pt x="511" y="264"/>
                    <a:pt x="510" y="264"/>
                  </a:cubicBezTo>
                  <a:cubicBezTo>
                    <a:pt x="510" y="262"/>
                    <a:pt x="512" y="262"/>
                    <a:pt x="513" y="261"/>
                  </a:cubicBezTo>
                  <a:cubicBezTo>
                    <a:pt x="513" y="261"/>
                    <a:pt x="514" y="260"/>
                    <a:pt x="514" y="260"/>
                  </a:cubicBezTo>
                  <a:cubicBezTo>
                    <a:pt x="514" y="260"/>
                    <a:pt x="515" y="260"/>
                    <a:pt x="515" y="260"/>
                  </a:cubicBezTo>
                  <a:cubicBezTo>
                    <a:pt x="517" y="259"/>
                    <a:pt x="515" y="258"/>
                    <a:pt x="514" y="258"/>
                  </a:cubicBezTo>
                  <a:cubicBezTo>
                    <a:pt x="513" y="258"/>
                    <a:pt x="512" y="257"/>
                    <a:pt x="511" y="257"/>
                  </a:cubicBezTo>
                  <a:cubicBezTo>
                    <a:pt x="510" y="257"/>
                    <a:pt x="509" y="258"/>
                    <a:pt x="509" y="256"/>
                  </a:cubicBezTo>
                  <a:cubicBezTo>
                    <a:pt x="509" y="255"/>
                    <a:pt x="507" y="255"/>
                    <a:pt x="506" y="255"/>
                  </a:cubicBezTo>
                  <a:cubicBezTo>
                    <a:pt x="506" y="255"/>
                    <a:pt x="505" y="254"/>
                    <a:pt x="505" y="254"/>
                  </a:cubicBezTo>
                  <a:cubicBezTo>
                    <a:pt x="504" y="254"/>
                    <a:pt x="503" y="255"/>
                    <a:pt x="503" y="255"/>
                  </a:cubicBezTo>
                  <a:cubicBezTo>
                    <a:pt x="502" y="255"/>
                    <a:pt x="502" y="253"/>
                    <a:pt x="501" y="252"/>
                  </a:cubicBezTo>
                  <a:cubicBezTo>
                    <a:pt x="501" y="252"/>
                    <a:pt x="500" y="252"/>
                    <a:pt x="499" y="251"/>
                  </a:cubicBezTo>
                  <a:cubicBezTo>
                    <a:pt x="498" y="251"/>
                    <a:pt x="498" y="251"/>
                    <a:pt x="497" y="251"/>
                  </a:cubicBezTo>
                  <a:cubicBezTo>
                    <a:pt x="496" y="250"/>
                    <a:pt x="496" y="250"/>
                    <a:pt x="495" y="249"/>
                  </a:cubicBezTo>
                  <a:cubicBezTo>
                    <a:pt x="495" y="249"/>
                    <a:pt x="493" y="249"/>
                    <a:pt x="493" y="249"/>
                  </a:cubicBezTo>
                  <a:cubicBezTo>
                    <a:pt x="492" y="249"/>
                    <a:pt x="492" y="249"/>
                    <a:pt x="492" y="249"/>
                  </a:cubicBezTo>
                  <a:cubicBezTo>
                    <a:pt x="491" y="249"/>
                    <a:pt x="491" y="250"/>
                    <a:pt x="490" y="250"/>
                  </a:cubicBezTo>
                  <a:cubicBezTo>
                    <a:pt x="490" y="250"/>
                    <a:pt x="489" y="250"/>
                    <a:pt x="488" y="251"/>
                  </a:cubicBezTo>
                  <a:cubicBezTo>
                    <a:pt x="487" y="251"/>
                    <a:pt x="487" y="252"/>
                    <a:pt x="487" y="253"/>
                  </a:cubicBezTo>
                  <a:cubicBezTo>
                    <a:pt x="486" y="254"/>
                    <a:pt x="487" y="255"/>
                    <a:pt x="485" y="255"/>
                  </a:cubicBezTo>
                  <a:cubicBezTo>
                    <a:pt x="486" y="253"/>
                    <a:pt x="486" y="252"/>
                    <a:pt x="487" y="250"/>
                  </a:cubicBezTo>
                  <a:cubicBezTo>
                    <a:pt x="487" y="249"/>
                    <a:pt x="486" y="249"/>
                    <a:pt x="485" y="249"/>
                  </a:cubicBezTo>
                  <a:cubicBezTo>
                    <a:pt x="484" y="249"/>
                    <a:pt x="483" y="250"/>
                    <a:pt x="481" y="249"/>
                  </a:cubicBezTo>
                  <a:cubicBezTo>
                    <a:pt x="484" y="249"/>
                    <a:pt x="486" y="249"/>
                    <a:pt x="488" y="249"/>
                  </a:cubicBezTo>
                  <a:cubicBezTo>
                    <a:pt x="490" y="249"/>
                    <a:pt x="491" y="249"/>
                    <a:pt x="492" y="248"/>
                  </a:cubicBezTo>
                  <a:cubicBezTo>
                    <a:pt x="492" y="248"/>
                    <a:pt x="493" y="248"/>
                    <a:pt x="493" y="248"/>
                  </a:cubicBezTo>
                  <a:cubicBezTo>
                    <a:pt x="495" y="247"/>
                    <a:pt x="494" y="247"/>
                    <a:pt x="494" y="246"/>
                  </a:cubicBezTo>
                  <a:cubicBezTo>
                    <a:pt x="493" y="245"/>
                    <a:pt x="494" y="244"/>
                    <a:pt x="492" y="244"/>
                  </a:cubicBezTo>
                  <a:cubicBezTo>
                    <a:pt x="492" y="243"/>
                    <a:pt x="490" y="243"/>
                    <a:pt x="489" y="243"/>
                  </a:cubicBezTo>
                  <a:cubicBezTo>
                    <a:pt x="489" y="242"/>
                    <a:pt x="488" y="242"/>
                    <a:pt x="487" y="242"/>
                  </a:cubicBezTo>
                  <a:cubicBezTo>
                    <a:pt x="486" y="242"/>
                    <a:pt x="486" y="241"/>
                    <a:pt x="484" y="241"/>
                  </a:cubicBezTo>
                  <a:cubicBezTo>
                    <a:pt x="483" y="242"/>
                    <a:pt x="481" y="243"/>
                    <a:pt x="479" y="243"/>
                  </a:cubicBezTo>
                  <a:cubicBezTo>
                    <a:pt x="478" y="244"/>
                    <a:pt x="479" y="243"/>
                    <a:pt x="478" y="244"/>
                  </a:cubicBezTo>
                  <a:cubicBezTo>
                    <a:pt x="477" y="245"/>
                    <a:pt x="477" y="246"/>
                    <a:pt x="476" y="246"/>
                  </a:cubicBezTo>
                  <a:cubicBezTo>
                    <a:pt x="476" y="245"/>
                    <a:pt x="476" y="244"/>
                    <a:pt x="476" y="243"/>
                  </a:cubicBezTo>
                  <a:cubicBezTo>
                    <a:pt x="476" y="243"/>
                    <a:pt x="474" y="243"/>
                    <a:pt x="474" y="244"/>
                  </a:cubicBezTo>
                  <a:cubicBezTo>
                    <a:pt x="473" y="244"/>
                    <a:pt x="472" y="244"/>
                    <a:pt x="473" y="243"/>
                  </a:cubicBezTo>
                  <a:cubicBezTo>
                    <a:pt x="473" y="242"/>
                    <a:pt x="473" y="242"/>
                    <a:pt x="472" y="241"/>
                  </a:cubicBezTo>
                  <a:cubicBezTo>
                    <a:pt x="471" y="241"/>
                    <a:pt x="470" y="242"/>
                    <a:pt x="469" y="242"/>
                  </a:cubicBezTo>
                  <a:cubicBezTo>
                    <a:pt x="468" y="242"/>
                    <a:pt x="467" y="242"/>
                    <a:pt x="466" y="241"/>
                  </a:cubicBezTo>
                  <a:cubicBezTo>
                    <a:pt x="468" y="241"/>
                    <a:pt x="470" y="241"/>
                    <a:pt x="472" y="241"/>
                  </a:cubicBezTo>
                  <a:cubicBezTo>
                    <a:pt x="473" y="240"/>
                    <a:pt x="473" y="240"/>
                    <a:pt x="475" y="241"/>
                  </a:cubicBezTo>
                  <a:cubicBezTo>
                    <a:pt x="477" y="242"/>
                    <a:pt x="478" y="243"/>
                    <a:pt x="480" y="242"/>
                  </a:cubicBezTo>
                  <a:cubicBezTo>
                    <a:pt x="482" y="241"/>
                    <a:pt x="483" y="240"/>
                    <a:pt x="485" y="240"/>
                  </a:cubicBezTo>
                  <a:cubicBezTo>
                    <a:pt x="486" y="240"/>
                    <a:pt x="488" y="240"/>
                    <a:pt x="489" y="239"/>
                  </a:cubicBezTo>
                  <a:cubicBezTo>
                    <a:pt x="489" y="239"/>
                    <a:pt x="490" y="237"/>
                    <a:pt x="489" y="236"/>
                  </a:cubicBezTo>
                  <a:cubicBezTo>
                    <a:pt x="489" y="236"/>
                    <a:pt x="488" y="236"/>
                    <a:pt x="488" y="236"/>
                  </a:cubicBezTo>
                  <a:cubicBezTo>
                    <a:pt x="487" y="236"/>
                    <a:pt x="486" y="236"/>
                    <a:pt x="485" y="236"/>
                  </a:cubicBezTo>
                  <a:cubicBezTo>
                    <a:pt x="484" y="235"/>
                    <a:pt x="483" y="235"/>
                    <a:pt x="482" y="235"/>
                  </a:cubicBezTo>
                  <a:cubicBezTo>
                    <a:pt x="481" y="234"/>
                    <a:pt x="480" y="234"/>
                    <a:pt x="479" y="234"/>
                  </a:cubicBezTo>
                  <a:cubicBezTo>
                    <a:pt x="479" y="234"/>
                    <a:pt x="478" y="234"/>
                    <a:pt x="477" y="234"/>
                  </a:cubicBezTo>
                  <a:cubicBezTo>
                    <a:pt x="475" y="234"/>
                    <a:pt x="475" y="236"/>
                    <a:pt x="473" y="236"/>
                  </a:cubicBezTo>
                  <a:cubicBezTo>
                    <a:pt x="472" y="236"/>
                    <a:pt x="468" y="234"/>
                    <a:pt x="467" y="236"/>
                  </a:cubicBezTo>
                  <a:cubicBezTo>
                    <a:pt x="467" y="237"/>
                    <a:pt x="467" y="239"/>
                    <a:pt x="466" y="239"/>
                  </a:cubicBezTo>
                  <a:cubicBezTo>
                    <a:pt x="464" y="239"/>
                    <a:pt x="467" y="237"/>
                    <a:pt x="466" y="236"/>
                  </a:cubicBezTo>
                  <a:cubicBezTo>
                    <a:pt x="465" y="235"/>
                    <a:pt x="464" y="235"/>
                    <a:pt x="463" y="235"/>
                  </a:cubicBezTo>
                  <a:cubicBezTo>
                    <a:pt x="465" y="235"/>
                    <a:pt x="468" y="234"/>
                    <a:pt x="470" y="235"/>
                  </a:cubicBezTo>
                  <a:cubicBezTo>
                    <a:pt x="471" y="235"/>
                    <a:pt x="473" y="236"/>
                    <a:pt x="473" y="235"/>
                  </a:cubicBezTo>
                  <a:cubicBezTo>
                    <a:pt x="473" y="235"/>
                    <a:pt x="475" y="233"/>
                    <a:pt x="475" y="232"/>
                  </a:cubicBezTo>
                  <a:cubicBezTo>
                    <a:pt x="475" y="232"/>
                    <a:pt x="473" y="232"/>
                    <a:pt x="473" y="232"/>
                  </a:cubicBezTo>
                  <a:cubicBezTo>
                    <a:pt x="472" y="232"/>
                    <a:pt x="471" y="232"/>
                    <a:pt x="470" y="231"/>
                  </a:cubicBezTo>
                  <a:cubicBezTo>
                    <a:pt x="469" y="231"/>
                    <a:pt x="468" y="230"/>
                    <a:pt x="467" y="230"/>
                  </a:cubicBezTo>
                  <a:cubicBezTo>
                    <a:pt x="467" y="229"/>
                    <a:pt x="465" y="229"/>
                    <a:pt x="465" y="229"/>
                  </a:cubicBezTo>
                  <a:cubicBezTo>
                    <a:pt x="465" y="229"/>
                    <a:pt x="466" y="228"/>
                    <a:pt x="467" y="228"/>
                  </a:cubicBezTo>
                  <a:cubicBezTo>
                    <a:pt x="468" y="228"/>
                    <a:pt x="470" y="230"/>
                    <a:pt x="471" y="231"/>
                  </a:cubicBezTo>
                  <a:cubicBezTo>
                    <a:pt x="472" y="231"/>
                    <a:pt x="473" y="232"/>
                    <a:pt x="474" y="232"/>
                  </a:cubicBezTo>
                  <a:cubicBezTo>
                    <a:pt x="475" y="232"/>
                    <a:pt x="476" y="231"/>
                    <a:pt x="478" y="232"/>
                  </a:cubicBezTo>
                  <a:cubicBezTo>
                    <a:pt x="479" y="233"/>
                    <a:pt x="479" y="233"/>
                    <a:pt x="480" y="233"/>
                  </a:cubicBezTo>
                  <a:cubicBezTo>
                    <a:pt x="482" y="233"/>
                    <a:pt x="483" y="233"/>
                    <a:pt x="484" y="232"/>
                  </a:cubicBezTo>
                  <a:cubicBezTo>
                    <a:pt x="486" y="230"/>
                    <a:pt x="489" y="228"/>
                    <a:pt x="490" y="226"/>
                  </a:cubicBezTo>
                  <a:cubicBezTo>
                    <a:pt x="490" y="224"/>
                    <a:pt x="487" y="223"/>
                    <a:pt x="486" y="222"/>
                  </a:cubicBezTo>
                  <a:cubicBezTo>
                    <a:pt x="485" y="222"/>
                    <a:pt x="485" y="221"/>
                    <a:pt x="484" y="220"/>
                  </a:cubicBezTo>
                  <a:cubicBezTo>
                    <a:pt x="482" y="218"/>
                    <a:pt x="485" y="220"/>
                    <a:pt x="486" y="221"/>
                  </a:cubicBezTo>
                  <a:cubicBezTo>
                    <a:pt x="487" y="222"/>
                    <a:pt x="488" y="223"/>
                    <a:pt x="489" y="223"/>
                  </a:cubicBezTo>
                  <a:cubicBezTo>
                    <a:pt x="490" y="224"/>
                    <a:pt x="490" y="223"/>
                    <a:pt x="491" y="225"/>
                  </a:cubicBezTo>
                  <a:cubicBezTo>
                    <a:pt x="491" y="225"/>
                    <a:pt x="490" y="225"/>
                    <a:pt x="491" y="226"/>
                  </a:cubicBezTo>
                  <a:cubicBezTo>
                    <a:pt x="492" y="226"/>
                    <a:pt x="492" y="226"/>
                    <a:pt x="493" y="227"/>
                  </a:cubicBezTo>
                  <a:cubicBezTo>
                    <a:pt x="494" y="227"/>
                    <a:pt x="495" y="227"/>
                    <a:pt x="496" y="227"/>
                  </a:cubicBezTo>
                  <a:cubicBezTo>
                    <a:pt x="497" y="226"/>
                    <a:pt x="495" y="225"/>
                    <a:pt x="497" y="224"/>
                  </a:cubicBezTo>
                  <a:cubicBezTo>
                    <a:pt x="498" y="222"/>
                    <a:pt x="500" y="223"/>
                    <a:pt x="502" y="223"/>
                  </a:cubicBezTo>
                  <a:cubicBezTo>
                    <a:pt x="504" y="224"/>
                    <a:pt x="505" y="223"/>
                    <a:pt x="507" y="224"/>
                  </a:cubicBezTo>
                  <a:cubicBezTo>
                    <a:pt x="509" y="225"/>
                    <a:pt x="511" y="226"/>
                    <a:pt x="513" y="227"/>
                  </a:cubicBezTo>
                  <a:cubicBezTo>
                    <a:pt x="515" y="227"/>
                    <a:pt x="517" y="225"/>
                    <a:pt x="519" y="226"/>
                  </a:cubicBezTo>
                  <a:cubicBezTo>
                    <a:pt x="517" y="226"/>
                    <a:pt x="515" y="227"/>
                    <a:pt x="513" y="227"/>
                  </a:cubicBezTo>
                  <a:cubicBezTo>
                    <a:pt x="511" y="227"/>
                    <a:pt x="509" y="226"/>
                    <a:pt x="508" y="225"/>
                  </a:cubicBezTo>
                  <a:cubicBezTo>
                    <a:pt x="507" y="225"/>
                    <a:pt x="506" y="224"/>
                    <a:pt x="505" y="224"/>
                  </a:cubicBezTo>
                  <a:cubicBezTo>
                    <a:pt x="504" y="224"/>
                    <a:pt x="503" y="224"/>
                    <a:pt x="503" y="224"/>
                  </a:cubicBezTo>
                  <a:cubicBezTo>
                    <a:pt x="502" y="224"/>
                    <a:pt x="500" y="223"/>
                    <a:pt x="500" y="224"/>
                  </a:cubicBezTo>
                  <a:cubicBezTo>
                    <a:pt x="501" y="226"/>
                    <a:pt x="502" y="227"/>
                    <a:pt x="503" y="228"/>
                  </a:cubicBezTo>
                  <a:cubicBezTo>
                    <a:pt x="505" y="229"/>
                    <a:pt x="507" y="230"/>
                    <a:pt x="509" y="230"/>
                  </a:cubicBezTo>
                  <a:cubicBezTo>
                    <a:pt x="509" y="230"/>
                    <a:pt x="509" y="231"/>
                    <a:pt x="510" y="231"/>
                  </a:cubicBezTo>
                  <a:cubicBezTo>
                    <a:pt x="510" y="231"/>
                    <a:pt x="511" y="231"/>
                    <a:pt x="511" y="232"/>
                  </a:cubicBezTo>
                  <a:cubicBezTo>
                    <a:pt x="512" y="232"/>
                    <a:pt x="513" y="232"/>
                    <a:pt x="514" y="232"/>
                  </a:cubicBezTo>
                  <a:cubicBezTo>
                    <a:pt x="516" y="232"/>
                    <a:pt x="518" y="234"/>
                    <a:pt x="520" y="233"/>
                  </a:cubicBezTo>
                  <a:cubicBezTo>
                    <a:pt x="521" y="232"/>
                    <a:pt x="522" y="231"/>
                    <a:pt x="523" y="231"/>
                  </a:cubicBezTo>
                  <a:cubicBezTo>
                    <a:pt x="524" y="231"/>
                    <a:pt x="525" y="230"/>
                    <a:pt x="526" y="230"/>
                  </a:cubicBezTo>
                  <a:cubicBezTo>
                    <a:pt x="526" y="230"/>
                    <a:pt x="525" y="229"/>
                    <a:pt x="526" y="228"/>
                  </a:cubicBezTo>
                  <a:cubicBezTo>
                    <a:pt x="527" y="228"/>
                    <a:pt x="527" y="229"/>
                    <a:pt x="527" y="229"/>
                  </a:cubicBezTo>
                  <a:cubicBezTo>
                    <a:pt x="528" y="229"/>
                    <a:pt x="529" y="229"/>
                    <a:pt x="530" y="229"/>
                  </a:cubicBezTo>
                  <a:cubicBezTo>
                    <a:pt x="531" y="229"/>
                    <a:pt x="532" y="229"/>
                    <a:pt x="534" y="229"/>
                  </a:cubicBezTo>
                  <a:cubicBezTo>
                    <a:pt x="534" y="229"/>
                    <a:pt x="535" y="229"/>
                    <a:pt x="536" y="229"/>
                  </a:cubicBezTo>
                  <a:cubicBezTo>
                    <a:pt x="538" y="229"/>
                    <a:pt x="538" y="228"/>
                    <a:pt x="537" y="226"/>
                  </a:cubicBezTo>
                  <a:cubicBezTo>
                    <a:pt x="537" y="226"/>
                    <a:pt x="537" y="225"/>
                    <a:pt x="537" y="225"/>
                  </a:cubicBezTo>
                  <a:cubicBezTo>
                    <a:pt x="537" y="224"/>
                    <a:pt x="536" y="223"/>
                    <a:pt x="537" y="224"/>
                  </a:cubicBezTo>
                  <a:cubicBezTo>
                    <a:pt x="536" y="223"/>
                    <a:pt x="539" y="223"/>
                    <a:pt x="539" y="222"/>
                  </a:cubicBezTo>
                  <a:cubicBezTo>
                    <a:pt x="539" y="220"/>
                    <a:pt x="536" y="220"/>
                    <a:pt x="535" y="220"/>
                  </a:cubicBezTo>
                  <a:cubicBezTo>
                    <a:pt x="531" y="219"/>
                    <a:pt x="528" y="218"/>
                    <a:pt x="524" y="217"/>
                  </a:cubicBezTo>
                  <a:cubicBezTo>
                    <a:pt x="523" y="217"/>
                    <a:pt x="522" y="218"/>
                    <a:pt x="522" y="218"/>
                  </a:cubicBezTo>
                  <a:cubicBezTo>
                    <a:pt x="522" y="219"/>
                    <a:pt x="523" y="220"/>
                    <a:pt x="523" y="221"/>
                  </a:cubicBezTo>
                  <a:cubicBezTo>
                    <a:pt x="524" y="221"/>
                    <a:pt x="524" y="222"/>
                    <a:pt x="524" y="223"/>
                  </a:cubicBezTo>
                  <a:cubicBezTo>
                    <a:pt x="524" y="224"/>
                    <a:pt x="525" y="225"/>
                    <a:pt x="523" y="225"/>
                  </a:cubicBezTo>
                  <a:cubicBezTo>
                    <a:pt x="523" y="225"/>
                    <a:pt x="523" y="223"/>
                    <a:pt x="523" y="222"/>
                  </a:cubicBezTo>
                  <a:cubicBezTo>
                    <a:pt x="523" y="221"/>
                    <a:pt x="523" y="221"/>
                    <a:pt x="522" y="220"/>
                  </a:cubicBezTo>
                  <a:cubicBezTo>
                    <a:pt x="520" y="219"/>
                    <a:pt x="518" y="218"/>
                    <a:pt x="516" y="217"/>
                  </a:cubicBezTo>
                  <a:cubicBezTo>
                    <a:pt x="517" y="216"/>
                    <a:pt x="518" y="217"/>
                    <a:pt x="519" y="216"/>
                  </a:cubicBezTo>
                  <a:cubicBezTo>
                    <a:pt x="520" y="216"/>
                    <a:pt x="520" y="215"/>
                    <a:pt x="520" y="215"/>
                  </a:cubicBezTo>
                  <a:cubicBezTo>
                    <a:pt x="520" y="214"/>
                    <a:pt x="521" y="214"/>
                    <a:pt x="521" y="213"/>
                  </a:cubicBezTo>
                  <a:cubicBezTo>
                    <a:pt x="521" y="213"/>
                    <a:pt x="519" y="212"/>
                    <a:pt x="517" y="212"/>
                  </a:cubicBezTo>
                  <a:cubicBezTo>
                    <a:pt x="518" y="212"/>
                    <a:pt x="520" y="212"/>
                    <a:pt x="521" y="212"/>
                  </a:cubicBezTo>
                  <a:cubicBezTo>
                    <a:pt x="522" y="212"/>
                    <a:pt x="523" y="211"/>
                    <a:pt x="523" y="209"/>
                  </a:cubicBezTo>
                  <a:cubicBezTo>
                    <a:pt x="522" y="208"/>
                    <a:pt x="521" y="207"/>
                    <a:pt x="520" y="206"/>
                  </a:cubicBezTo>
                  <a:cubicBezTo>
                    <a:pt x="523" y="207"/>
                    <a:pt x="523" y="209"/>
                    <a:pt x="526" y="209"/>
                  </a:cubicBezTo>
                  <a:cubicBezTo>
                    <a:pt x="528" y="209"/>
                    <a:pt x="529" y="209"/>
                    <a:pt x="531" y="209"/>
                  </a:cubicBezTo>
                  <a:cubicBezTo>
                    <a:pt x="533" y="209"/>
                    <a:pt x="535" y="209"/>
                    <a:pt x="537" y="209"/>
                  </a:cubicBezTo>
                  <a:cubicBezTo>
                    <a:pt x="539" y="210"/>
                    <a:pt x="539" y="212"/>
                    <a:pt x="540" y="213"/>
                  </a:cubicBezTo>
                  <a:cubicBezTo>
                    <a:pt x="542" y="213"/>
                    <a:pt x="545" y="214"/>
                    <a:pt x="546" y="213"/>
                  </a:cubicBezTo>
                  <a:cubicBezTo>
                    <a:pt x="549" y="213"/>
                    <a:pt x="550" y="210"/>
                    <a:pt x="552" y="209"/>
                  </a:cubicBezTo>
                  <a:cubicBezTo>
                    <a:pt x="552" y="208"/>
                    <a:pt x="551" y="208"/>
                    <a:pt x="550" y="208"/>
                  </a:cubicBezTo>
                  <a:cubicBezTo>
                    <a:pt x="549" y="208"/>
                    <a:pt x="549" y="207"/>
                    <a:pt x="548" y="207"/>
                  </a:cubicBezTo>
                  <a:cubicBezTo>
                    <a:pt x="549" y="206"/>
                    <a:pt x="550" y="205"/>
                    <a:pt x="548" y="204"/>
                  </a:cubicBezTo>
                  <a:cubicBezTo>
                    <a:pt x="547" y="204"/>
                    <a:pt x="546" y="206"/>
                    <a:pt x="545" y="206"/>
                  </a:cubicBezTo>
                  <a:cubicBezTo>
                    <a:pt x="544" y="207"/>
                    <a:pt x="543" y="206"/>
                    <a:pt x="541" y="205"/>
                  </a:cubicBezTo>
                  <a:cubicBezTo>
                    <a:pt x="537" y="204"/>
                    <a:pt x="534" y="206"/>
                    <a:pt x="530" y="205"/>
                  </a:cubicBezTo>
                  <a:cubicBezTo>
                    <a:pt x="531" y="205"/>
                    <a:pt x="533" y="205"/>
                    <a:pt x="534" y="205"/>
                  </a:cubicBezTo>
                  <a:cubicBezTo>
                    <a:pt x="536" y="203"/>
                    <a:pt x="534" y="203"/>
                    <a:pt x="534" y="202"/>
                  </a:cubicBezTo>
                  <a:cubicBezTo>
                    <a:pt x="534" y="201"/>
                    <a:pt x="534" y="200"/>
                    <a:pt x="534" y="200"/>
                  </a:cubicBezTo>
                  <a:cubicBezTo>
                    <a:pt x="535" y="199"/>
                    <a:pt x="534" y="199"/>
                    <a:pt x="535" y="198"/>
                  </a:cubicBezTo>
                  <a:cubicBezTo>
                    <a:pt x="535" y="196"/>
                    <a:pt x="534" y="197"/>
                    <a:pt x="533" y="197"/>
                  </a:cubicBezTo>
                  <a:cubicBezTo>
                    <a:pt x="532" y="197"/>
                    <a:pt x="531" y="196"/>
                    <a:pt x="530" y="196"/>
                  </a:cubicBezTo>
                  <a:cubicBezTo>
                    <a:pt x="530" y="196"/>
                    <a:pt x="530" y="196"/>
                    <a:pt x="531" y="196"/>
                  </a:cubicBezTo>
                  <a:cubicBezTo>
                    <a:pt x="532" y="196"/>
                    <a:pt x="533" y="195"/>
                    <a:pt x="534" y="195"/>
                  </a:cubicBezTo>
                  <a:cubicBezTo>
                    <a:pt x="534" y="196"/>
                    <a:pt x="535" y="196"/>
                    <a:pt x="535" y="196"/>
                  </a:cubicBezTo>
                  <a:cubicBezTo>
                    <a:pt x="537" y="195"/>
                    <a:pt x="532" y="192"/>
                    <a:pt x="531" y="192"/>
                  </a:cubicBezTo>
                  <a:cubicBezTo>
                    <a:pt x="530" y="191"/>
                    <a:pt x="529" y="191"/>
                    <a:pt x="529" y="191"/>
                  </a:cubicBezTo>
                  <a:cubicBezTo>
                    <a:pt x="528" y="191"/>
                    <a:pt x="527" y="189"/>
                    <a:pt x="526" y="189"/>
                  </a:cubicBezTo>
                  <a:cubicBezTo>
                    <a:pt x="523" y="188"/>
                    <a:pt x="520" y="189"/>
                    <a:pt x="517" y="188"/>
                  </a:cubicBezTo>
                  <a:cubicBezTo>
                    <a:pt x="516" y="188"/>
                    <a:pt x="515" y="187"/>
                    <a:pt x="517" y="187"/>
                  </a:cubicBezTo>
                  <a:cubicBezTo>
                    <a:pt x="518" y="187"/>
                    <a:pt x="520" y="188"/>
                    <a:pt x="522" y="188"/>
                  </a:cubicBezTo>
                  <a:cubicBezTo>
                    <a:pt x="524" y="188"/>
                    <a:pt x="525" y="189"/>
                    <a:pt x="527" y="189"/>
                  </a:cubicBezTo>
                  <a:cubicBezTo>
                    <a:pt x="526" y="187"/>
                    <a:pt x="523" y="186"/>
                    <a:pt x="522" y="186"/>
                  </a:cubicBezTo>
                  <a:cubicBezTo>
                    <a:pt x="521" y="186"/>
                    <a:pt x="519" y="185"/>
                    <a:pt x="518" y="184"/>
                  </a:cubicBezTo>
                  <a:cubicBezTo>
                    <a:pt x="522" y="185"/>
                    <a:pt x="526" y="186"/>
                    <a:pt x="529" y="188"/>
                  </a:cubicBezTo>
                  <a:cubicBezTo>
                    <a:pt x="530" y="189"/>
                    <a:pt x="529" y="190"/>
                    <a:pt x="531" y="190"/>
                  </a:cubicBezTo>
                  <a:cubicBezTo>
                    <a:pt x="531" y="191"/>
                    <a:pt x="532" y="191"/>
                    <a:pt x="533" y="191"/>
                  </a:cubicBezTo>
                  <a:cubicBezTo>
                    <a:pt x="534" y="191"/>
                    <a:pt x="534" y="192"/>
                    <a:pt x="535" y="192"/>
                  </a:cubicBezTo>
                  <a:cubicBezTo>
                    <a:pt x="536" y="192"/>
                    <a:pt x="537" y="191"/>
                    <a:pt x="539" y="191"/>
                  </a:cubicBezTo>
                  <a:cubicBezTo>
                    <a:pt x="539" y="191"/>
                    <a:pt x="541" y="191"/>
                    <a:pt x="542" y="192"/>
                  </a:cubicBezTo>
                  <a:cubicBezTo>
                    <a:pt x="542" y="193"/>
                    <a:pt x="541" y="193"/>
                    <a:pt x="542" y="194"/>
                  </a:cubicBezTo>
                  <a:cubicBezTo>
                    <a:pt x="542" y="195"/>
                    <a:pt x="543" y="195"/>
                    <a:pt x="544" y="195"/>
                  </a:cubicBezTo>
                  <a:cubicBezTo>
                    <a:pt x="547" y="195"/>
                    <a:pt x="548" y="193"/>
                    <a:pt x="548" y="191"/>
                  </a:cubicBezTo>
                  <a:cubicBezTo>
                    <a:pt x="548" y="190"/>
                    <a:pt x="548" y="190"/>
                    <a:pt x="548" y="189"/>
                  </a:cubicBezTo>
                  <a:cubicBezTo>
                    <a:pt x="547" y="187"/>
                    <a:pt x="547" y="186"/>
                    <a:pt x="546" y="185"/>
                  </a:cubicBezTo>
                  <a:cubicBezTo>
                    <a:pt x="546" y="184"/>
                    <a:pt x="546" y="184"/>
                    <a:pt x="545" y="184"/>
                  </a:cubicBezTo>
                  <a:cubicBezTo>
                    <a:pt x="546" y="184"/>
                    <a:pt x="547" y="183"/>
                    <a:pt x="548" y="183"/>
                  </a:cubicBezTo>
                  <a:cubicBezTo>
                    <a:pt x="547" y="182"/>
                    <a:pt x="546" y="182"/>
                    <a:pt x="545" y="181"/>
                  </a:cubicBezTo>
                  <a:cubicBezTo>
                    <a:pt x="545" y="180"/>
                    <a:pt x="544" y="180"/>
                    <a:pt x="544" y="179"/>
                  </a:cubicBezTo>
                  <a:cubicBezTo>
                    <a:pt x="543" y="179"/>
                    <a:pt x="542" y="179"/>
                    <a:pt x="541" y="179"/>
                  </a:cubicBezTo>
                  <a:cubicBezTo>
                    <a:pt x="538" y="179"/>
                    <a:pt x="537" y="178"/>
                    <a:pt x="535" y="178"/>
                  </a:cubicBezTo>
                  <a:cubicBezTo>
                    <a:pt x="531" y="178"/>
                    <a:pt x="527" y="179"/>
                    <a:pt x="523" y="178"/>
                  </a:cubicBezTo>
                  <a:cubicBezTo>
                    <a:pt x="522" y="178"/>
                    <a:pt x="521" y="177"/>
                    <a:pt x="523" y="177"/>
                  </a:cubicBezTo>
                  <a:cubicBezTo>
                    <a:pt x="524" y="177"/>
                    <a:pt x="524" y="178"/>
                    <a:pt x="525" y="178"/>
                  </a:cubicBezTo>
                  <a:cubicBezTo>
                    <a:pt x="526" y="178"/>
                    <a:pt x="527" y="178"/>
                    <a:pt x="528" y="178"/>
                  </a:cubicBezTo>
                  <a:cubicBezTo>
                    <a:pt x="529" y="177"/>
                    <a:pt x="530" y="177"/>
                    <a:pt x="531" y="177"/>
                  </a:cubicBezTo>
                  <a:cubicBezTo>
                    <a:pt x="533" y="177"/>
                    <a:pt x="535" y="177"/>
                    <a:pt x="537" y="178"/>
                  </a:cubicBezTo>
                  <a:cubicBezTo>
                    <a:pt x="539" y="178"/>
                    <a:pt x="540" y="176"/>
                    <a:pt x="542" y="176"/>
                  </a:cubicBezTo>
                  <a:cubicBezTo>
                    <a:pt x="543" y="176"/>
                    <a:pt x="543" y="176"/>
                    <a:pt x="544" y="176"/>
                  </a:cubicBezTo>
                  <a:cubicBezTo>
                    <a:pt x="545" y="176"/>
                    <a:pt x="545" y="175"/>
                    <a:pt x="545" y="174"/>
                  </a:cubicBezTo>
                  <a:cubicBezTo>
                    <a:pt x="542" y="173"/>
                    <a:pt x="541" y="172"/>
                    <a:pt x="538" y="173"/>
                  </a:cubicBezTo>
                  <a:cubicBezTo>
                    <a:pt x="536" y="173"/>
                    <a:pt x="532" y="170"/>
                    <a:pt x="531" y="171"/>
                  </a:cubicBezTo>
                  <a:cubicBezTo>
                    <a:pt x="532" y="173"/>
                    <a:pt x="535" y="173"/>
                    <a:pt x="537" y="174"/>
                  </a:cubicBezTo>
                  <a:cubicBezTo>
                    <a:pt x="536" y="174"/>
                    <a:pt x="535" y="175"/>
                    <a:pt x="535" y="174"/>
                  </a:cubicBezTo>
                  <a:cubicBezTo>
                    <a:pt x="534" y="173"/>
                    <a:pt x="531" y="171"/>
                    <a:pt x="530" y="171"/>
                  </a:cubicBezTo>
                  <a:cubicBezTo>
                    <a:pt x="529" y="171"/>
                    <a:pt x="529" y="172"/>
                    <a:pt x="528" y="172"/>
                  </a:cubicBezTo>
                  <a:cubicBezTo>
                    <a:pt x="528" y="172"/>
                    <a:pt x="527" y="172"/>
                    <a:pt x="527" y="172"/>
                  </a:cubicBezTo>
                  <a:cubicBezTo>
                    <a:pt x="527" y="172"/>
                    <a:pt x="527" y="173"/>
                    <a:pt x="526" y="173"/>
                  </a:cubicBezTo>
                  <a:cubicBezTo>
                    <a:pt x="526" y="173"/>
                    <a:pt x="525" y="172"/>
                    <a:pt x="525" y="172"/>
                  </a:cubicBezTo>
                  <a:cubicBezTo>
                    <a:pt x="524" y="172"/>
                    <a:pt x="527" y="169"/>
                    <a:pt x="524" y="168"/>
                  </a:cubicBezTo>
                  <a:cubicBezTo>
                    <a:pt x="524" y="168"/>
                    <a:pt x="522" y="168"/>
                    <a:pt x="522" y="168"/>
                  </a:cubicBezTo>
                  <a:cubicBezTo>
                    <a:pt x="520" y="169"/>
                    <a:pt x="517" y="169"/>
                    <a:pt x="516" y="168"/>
                  </a:cubicBezTo>
                  <a:cubicBezTo>
                    <a:pt x="517" y="168"/>
                    <a:pt x="518" y="167"/>
                    <a:pt x="518" y="167"/>
                  </a:cubicBezTo>
                  <a:cubicBezTo>
                    <a:pt x="518" y="167"/>
                    <a:pt x="519" y="168"/>
                    <a:pt x="519" y="168"/>
                  </a:cubicBezTo>
                  <a:cubicBezTo>
                    <a:pt x="520" y="168"/>
                    <a:pt x="521" y="168"/>
                    <a:pt x="522" y="168"/>
                  </a:cubicBezTo>
                  <a:cubicBezTo>
                    <a:pt x="522" y="168"/>
                    <a:pt x="525" y="167"/>
                    <a:pt x="524" y="167"/>
                  </a:cubicBezTo>
                  <a:cubicBezTo>
                    <a:pt x="523" y="167"/>
                    <a:pt x="522" y="168"/>
                    <a:pt x="521" y="168"/>
                  </a:cubicBezTo>
                  <a:cubicBezTo>
                    <a:pt x="521" y="167"/>
                    <a:pt x="524" y="166"/>
                    <a:pt x="524" y="166"/>
                  </a:cubicBezTo>
                  <a:cubicBezTo>
                    <a:pt x="523" y="165"/>
                    <a:pt x="522" y="167"/>
                    <a:pt x="521" y="166"/>
                  </a:cubicBezTo>
                  <a:cubicBezTo>
                    <a:pt x="521" y="166"/>
                    <a:pt x="522" y="165"/>
                    <a:pt x="523" y="165"/>
                  </a:cubicBezTo>
                  <a:cubicBezTo>
                    <a:pt x="523" y="164"/>
                    <a:pt x="522" y="164"/>
                    <a:pt x="521" y="164"/>
                  </a:cubicBezTo>
                  <a:cubicBezTo>
                    <a:pt x="521" y="164"/>
                    <a:pt x="520" y="164"/>
                    <a:pt x="520" y="164"/>
                  </a:cubicBezTo>
                  <a:cubicBezTo>
                    <a:pt x="518" y="164"/>
                    <a:pt x="518" y="165"/>
                    <a:pt x="518" y="166"/>
                  </a:cubicBezTo>
                  <a:cubicBezTo>
                    <a:pt x="517" y="166"/>
                    <a:pt x="516" y="164"/>
                    <a:pt x="516" y="164"/>
                  </a:cubicBezTo>
                  <a:cubicBezTo>
                    <a:pt x="515" y="163"/>
                    <a:pt x="512" y="163"/>
                    <a:pt x="515" y="162"/>
                  </a:cubicBezTo>
                  <a:cubicBezTo>
                    <a:pt x="516" y="161"/>
                    <a:pt x="518" y="162"/>
                    <a:pt x="517" y="161"/>
                  </a:cubicBezTo>
                  <a:cubicBezTo>
                    <a:pt x="517" y="160"/>
                    <a:pt x="517" y="160"/>
                    <a:pt x="518" y="159"/>
                  </a:cubicBezTo>
                  <a:cubicBezTo>
                    <a:pt x="518" y="159"/>
                    <a:pt x="519" y="159"/>
                    <a:pt x="519" y="159"/>
                  </a:cubicBezTo>
                  <a:cubicBezTo>
                    <a:pt x="520" y="160"/>
                    <a:pt x="520" y="160"/>
                    <a:pt x="520" y="160"/>
                  </a:cubicBezTo>
                  <a:cubicBezTo>
                    <a:pt x="521" y="161"/>
                    <a:pt x="521" y="161"/>
                    <a:pt x="522" y="161"/>
                  </a:cubicBezTo>
                  <a:cubicBezTo>
                    <a:pt x="523" y="162"/>
                    <a:pt x="523" y="163"/>
                    <a:pt x="524" y="164"/>
                  </a:cubicBezTo>
                  <a:cubicBezTo>
                    <a:pt x="525" y="164"/>
                    <a:pt x="528" y="162"/>
                    <a:pt x="529" y="161"/>
                  </a:cubicBezTo>
                  <a:cubicBezTo>
                    <a:pt x="530" y="160"/>
                    <a:pt x="530" y="161"/>
                    <a:pt x="531" y="160"/>
                  </a:cubicBezTo>
                  <a:cubicBezTo>
                    <a:pt x="532" y="160"/>
                    <a:pt x="533" y="160"/>
                    <a:pt x="533" y="160"/>
                  </a:cubicBezTo>
                  <a:cubicBezTo>
                    <a:pt x="532" y="159"/>
                    <a:pt x="530" y="159"/>
                    <a:pt x="528" y="159"/>
                  </a:cubicBezTo>
                  <a:cubicBezTo>
                    <a:pt x="527" y="159"/>
                    <a:pt x="526" y="159"/>
                    <a:pt x="524" y="159"/>
                  </a:cubicBezTo>
                  <a:cubicBezTo>
                    <a:pt x="526" y="158"/>
                    <a:pt x="528" y="158"/>
                    <a:pt x="530" y="158"/>
                  </a:cubicBezTo>
                  <a:cubicBezTo>
                    <a:pt x="531" y="158"/>
                    <a:pt x="532" y="158"/>
                    <a:pt x="533" y="159"/>
                  </a:cubicBezTo>
                  <a:cubicBezTo>
                    <a:pt x="534" y="159"/>
                    <a:pt x="534" y="158"/>
                    <a:pt x="535" y="158"/>
                  </a:cubicBezTo>
                  <a:cubicBezTo>
                    <a:pt x="534" y="157"/>
                    <a:pt x="533" y="157"/>
                    <a:pt x="531" y="157"/>
                  </a:cubicBezTo>
                  <a:cubicBezTo>
                    <a:pt x="533" y="156"/>
                    <a:pt x="536" y="156"/>
                    <a:pt x="538" y="157"/>
                  </a:cubicBezTo>
                  <a:cubicBezTo>
                    <a:pt x="540" y="157"/>
                    <a:pt x="542" y="157"/>
                    <a:pt x="544" y="157"/>
                  </a:cubicBezTo>
                  <a:cubicBezTo>
                    <a:pt x="546" y="158"/>
                    <a:pt x="548" y="159"/>
                    <a:pt x="550" y="159"/>
                  </a:cubicBezTo>
                  <a:cubicBezTo>
                    <a:pt x="551" y="159"/>
                    <a:pt x="551" y="159"/>
                    <a:pt x="552" y="159"/>
                  </a:cubicBezTo>
                  <a:cubicBezTo>
                    <a:pt x="554" y="159"/>
                    <a:pt x="554" y="160"/>
                    <a:pt x="555" y="160"/>
                  </a:cubicBezTo>
                  <a:cubicBezTo>
                    <a:pt x="556" y="161"/>
                    <a:pt x="556" y="160"/>
                    <a:pt x="556" y="160"/>
                  </a:cubicBezTo>
                  <a:cubicBezTo>
                    <a:pt x="557" y="160"/>
                    <a:pt x="558" y="162"/>
                    <a:pt x="558" y="161"/>
                  </a:cubicBezTo>
                  <a:cubicBezTo>
                    <a:pt x="558" y="161"/>
                    <a:pt x="557" y="161"/>
                    <a:pt x="557" y="160"/>
                  </a:cubicBezTo>
                  <a:cubicBezTo>
                    <a:pt x="557" y="160"/>
                    <a:pt x="558" y="160"/>
                    <a:pt x="558" y="160"/>
                  </a:cubicBezTo>
                  <a:cubicBezTo>
                    <a:pt x="558" y="160"/>
                    <a:pt x="559" y="161"/>
                    <a:pt x="559" y="160"/>
                  </a:cubicBezTo>
                  <a:cubicBezTo>
                    <a:pt x="559" y="159"/>
                    <a:pt x="561" y="158"/>
                    <a:pt x="561" y="158"/>
                  </a:cubicBezTo>
                  <a:cubicBezTo>
                    <a:pt x="561" y="157"/>
                    <a:pt x="561" y="156"/>
                    <a:pt x="561" y="155"/>
                  </a:cubicBezTo>
                  <a:cubicBezTo>
                    <a:pt x="561" y="154"/>
                    <a:pt x="560" y="153"/>
                    <a:pt x="560" y="152"/>
                  </a:cubicBezTo>
                  <a:cubicBezTo>
                    <a:pt x="560" y="152"/>
                    <a:pt x="560" y="150"/>
                    <a:pt x="560" y="150"/>
                  </a:cubicBezTo>
                  <a:cubicBezTo>
                    <a:pt x="559" y="150"/>
                    <a:pt x="556" y="150"/>
                    <a:pt x="555" y="150"/>
                  </a:cubicBezTo>
                  <a:cubicBezTo>
                    <a:pt x="554" y="150"/>
                    <a:pt x="553" y="150"/>
                    <a:pt x="552" y="151"/>
                  </a:cubicBezTo>
                  <a:cubicBezTo>
                    <a:pt x="551" y="151"/>
                    <a:pt x="552" y="151"/>
                    <a:pt x="552" y="151"/>
                  </a:cubicBezTo>
                  <a:cubicBezTo>
                    <a:pt x="551" y="151"/>
                    <a:pt x="551" y="151"/>
                    <a:pt x="550" y="151"/>
                  </a:cubicBezTo>
                  <a:cubicBezTo>
                    <a:pt x="549" y="151"/>
                    <a:pt x="548" y="151"/>
                    <a:pt x="547" y="150"/>
                  </a:cubicBezTo>
                  <a:cubicBezTo>
                    <a:pt x="545" y="149"/>
                    <a:pt x="544" y="148"/>
                    <a:pt x="543" y="148"/>
                  </a:cubicBezTo>
                  <a:cubicBezTo>
                    <a:pt x="541" y="146"/>
                    <a:pt x="539" y="145"/>
                    <a:pt x="537" y="144"/>
                  </a:cubicBezTo>
                  <a:cubicBezTo>
                    <a:pt x="537" y="144"/>
                    <a:pt x="538" y="144"/>
                    <a:pt x="539" y="144"/>
                  </a:cubicBezTo>
                  <a:cubicBezTo>
                    <a:pt x="538" y="142"/>
                    <a:pt x="535" y="143"/>
                    <a:pt x="534" y="141"/>
                  </a:cubicBezTo>
                  <a:cubicBezTo>
                    <a:pt x="534" y="141"/>
                    <a:pt x="535" y="141"/>
                    <a:pt x="535" y="141"/>
                  </a:cubicBezTo>
                  <a:cubicBezTo>
                    <a:pt x="536" y="140"/>
                    <a:pt x="537" y="141"/>
                    <a:pt x="538" y="141"/>
                  </a:cubicBezTo>
                  <a:cubicBezTo>
                    <a:pt x="540" y="140"/>
                    <a:pt x="541" y="140"/>
                    <a:pt x="542" y="141"/>
                  </a:cubicBezTo>
                  <a:cubicBezTo>
                    <a:pt x="544" y="142"/>
                    <a:pt x="546" y="143"/>
                    <a:pt x="548" y="143"/>
                  </a:cubicBezTo>
                  <a:cubicBezTo>
                    <a:pt x="549" y="144"/>
                    <a:pt x="550" y="143"/>
                    <a:pt x="551" y="143"/>
                  </a:cubicBezTo>
                  <a:cubicBezTo>
                    <a:pt x="552" y="143"/>
                    <a:pt x="552" y="143"/>
                    <a:pt x="552" y="142"/>
                  </a:cubicBezTo>
                  <a:cubicBezTo>
                    <a:pt x="551" y="139"/>
                    <a:pt x="545" y="138"/>
                    <a:pt x="542" y="138"/>
                  </a:cubicBezTo>
                  <a:cubicBezTo>
                    <a:pt x="541" y="138"/>
                    <a:pt x="539" y="137"/>
                    <a:pt x="537" y="137"/>
                  </a:cubicBezTo>
                  <a:cubicBezTo>
                    <a:pt x="537" y="136"/>
                    <a:pt x="536" y="136"/>
                    <a:pt x="536" y="136"/>
                  </a:cubicBezTo>
                  <a:cubicBezTo>
                    <a:pt x="535" y="136"/>
                    <a:pt x="536" y="135"/>
                    <a:pt x="535" y="135"/>
                  </a:cubicBezTo>
                  <a:cubicBezTo>
                    <a:pt x="533" y="133"/>
                    <a:pt x="530" y="137"/>
                    <a:pt x="529" y="138"/>
                  </a:cubicBezTo>
                  <a:cubicBezTo>
                    <a:pt x="528" y="139"/>
                    <a:pt x="526" y="142"/>
                    <a:pt x="529" y="142"/>
                  </a:cubicBezTo>
                  <a:cubicBezTo>
                    <a:pt x="527" y="143"/>
                    <a:pt x="525" y="143"/>
                    <a:pt x="524" y="145"/>
                  </a:cubicBezTo>
                  <a:cubicBezTo>
                    <a:pt x="525" y="144"/>
                    <a:pt x="525" y="143"/>
                    <a:pt x="526" y="143"/>
                  </a:cubicBezTo>
                  <a:cubicBezTo>
                    <a:pt x="527" y="142"/>
                    <a:pt x="527" y="141"/>
                    <a:pt x="525" y="141"/>
                  </a:cubicBezTo>
                  <a:cubicBezTo>
                    <a:pt x="524" y="141"/>
                    <a:pt x="522" y="141"/>
                    <a:pt x="521" y="141"/>
                  </a:cubicBezTo>
                  <a:cubicBezTo>
                    <a:pt x="521" y="141"/>
                    <a:pt x="522" y="140"/>
                    <a:pt x="522" y="140"/>
                  </a:cubicBezTo>
                  <a:cubicBezTo>
                    <a:pt x="523" y="138"/>
                    <a:pt x="524" y="137"/>
                    <a:pt x="525" y="135"/>
                  </a:cubicBezTo>
                  <a:cubicBezTo>
                    <a:pt x="524" y="135"/>
                    <a:pt x="524" y="136"/>
                    <a:pt x="523" y="136"/>
                  </a:cubicBezTo>
                  <a:cubicBezTo>
                    <a:pt x="524" y="134"/>
                    <a:pt x="526" y="134"/>
                    <a:pt x="527" y="132"/>
                  </a:cubicBezTo>
                  <a:cubicBezTo>
                    <a:pt x="527" y="132"/>
                    <a:pt x="525" y="131"/>
                    <a:pt x="524" y="131"/>
                  </a:cubicBezTo>
                  <a:cubicBezTo>
                    <a:pt x="525" y="131"/>
                    <a:pt x="528" y="132"/>
                    <a:pt x="528" y="130"/>
                  </a:cubicBezTo>
                  <a:cubicBezTo>
                    <a:pt x="528" y="129"/>
                    <a:pt x="527" y="129"/>
                    <a:pt x="528" y="128"/>
                  </a:cubicBezTo>
                  <a:cubicBezTo>
                    <a:pt x="528" y="126"/>
                    <a:pt x="529" y="125"/>
                    <a:pt x="530" y="123"/>
                  </a:cubicBezTo>
                  <a:cubicBezTo>
                    <a:pt x="531" y="122"/>
                    <a:pt x="533" y="121"/>
                    <a:pt x="531" y="120"/>
                  </a:cubicBezTo>
                  <a:cubicBezTo>
                    <a:pt x="530" y="119"/>
                    <a:pt x="528" y="121"/>
                    <a:pt x="527" y="120"/>
                  </a:cubicBezTo>
                  <a:cubicBezTo>
                    <a:pt x="528" y="119"/>
                    <a:pt x="531" y="120"/>
                    <a:pt x="532" y="119"/>
                  </a:cubicBezTo>
                  <a:cubicBezTo>
                    <a:pt x="531" y="118"/>
                    <a:pt x="530" y="118"/>
                    <a:pt x="530" y="119"/>
                  </a:cubicBezTo>
                  <a:cubicBezTo>
                    <a:pt x="530" y="118"/>
                    <a:pt x="532" y="117"/>
                    <a:pt x="530" y="116"/>
                  </a:cubicBezTo>
                  <a:cubicBezTo>
                    <a:pt x="531" y="115"/>
                    <a:pt x="532" y="116"/>
                    <a:pt x="533" y="116"/>
                  </a:cubicBezTo>
                  <a:cubicBezTo>
                    <a:pt x="535" y="115"/>
                    <a:pt x="534" y="114"/>
                    <a:pt x="536" y="115"/>
                  </a:cubicBezTo>
                  <a:cubicBezTo>
                    <a:pt x="537" y="115"/>
                    <a:pt x="543" y="116"/>
                    <a:pt x="542" y="114"/>
                  </a:cubicBezTo>
                  <a:cubicBezTo>
                    <a:pt x="542" y="113"/>
                    <a:pt x="541" y="111"/>
                    <a:pt x="542" y="110"/>
                  </a:cubicBezTo>
                  <a:cubicBezTo>
                    <a:pt x="542" y="109"/>
                    <a:pt x="543" y="109"/>
                    <a:pt x="543" y="109"/>
                  </a:cubicBezTo>
                  <a:cubicBezTo>
                    <a:pt x="544" y="109"/>
                    <a:pt x="544" y="110"/>
                    <a:pt x="545" y="109"/>
                  </a:cubicBezTo>
                  <a:cubicBezTo>
                    <a:pt x="545" y="109"/>
                    <a:pt x="545" y="109"/>
                    <a:pt x="546" y="109"/>
                  </a:cubicBezTo>
                  <a:cubicBezTo>
                    <a:pt x="547" y="109"/>
                    <a:pt x="547" y="107"/>
                    <a:pt x="548" y="106"/>
                  </a:cubicBezTo>
                  <a:cubicBezTo>
                    <a:pt x="549" y="106"/>
                    <a:pt x="549" y="105"/>
                    <a:pt x="550" y="106"/>
                  </a:cubicBezTo>
                  <a:cubicBezTo>
                    <a:pt x="551" y="106"/>
                    <a:pt x="550" y="106"/>
                    <a:pt x="550" y="107"/>
                  </a:cubicBezTo>
                  <a:cubicBezTo>
                    <a:pt x="549" y="108"/>
                    <a:pt x="549" y="108"/>
                    <a:pt x="550" y="108"/>
                  </a:cubicBezTo>
                  <a:cubicBezTo>
                    <a:pt x="550" y="108"/>
                    <a:pt x="551" y="108"/>
                    <a:pt x="551" y="107"/>
                  </a:cubicBezTo>
                  <a:cubicBezTo>
                    <a:pt x="553" y="105"/>
                    <a:pt x="548" y="105"/>
                    <a:pt x="547" y="105"/>
                  </a:cubicBezTo>
                  <a:cubicBezTo>
                    <a:pt x="546" y="104"/>
                    <a:pt x="546" y="106"/>
                    <a:pt x="545" y="106"/>
                  </a:cubicBezTo>
                  <a:cubicBezTo>
                    <a:pt x="545" y="107"/>
                    <a:pt x="544" y="107"/>
                    <a:pt x="544" y="108"/>
                  </a:cubicBezTo>
                  <a:cubicBezTo>
                    <a:pt x="544" y="108"/>
                    <a:pt x="544" y="109"/>
                    <a:pt x="543" y="109"/>
                  </a:cubicBezTo>
                  <a:cubicBezTo>
                    <a:pt x="544" y="107"/>
                    <a:pt x="545" y="106"/>
                    <a:pt x="545" y="105"/>
                  </a:cubicBezTo>
                  <a:cubicBezTo>
                    <a:pt x="546" y="104"/>
                    <a:pt x="546" y="102"/>
                    <a:pt x="545" y="101"/>
                  </a:cubicBezTo>
                  <a:cubicBezTo>
                    <a:pt x="545" y="100"/>
                    <a:pt x="546" y="99"/>
                    <a:pt x="546" y="98"/>
                  </a:cubicBezTo>
                  <a:cubicBezTo>
                    <a:pt x="546" y="96"/>
                    <a:pt x="547" y="96"/>
                    <a:pt x="548" y="95"/>
                  </a:cubicBezTo>
                  <a:cubicBezTo>
                    <a:pt x="550" y="94"/>
                    <a:pt x="553" y="94"/>
                    <a:pt x="555" y="94"/>
                  </a:cubicBezTo>
                  <a:cubicBezTo>
                    <a:pt x="558" y="95"/>
                    <a:pt x="560" y="95"/>
                    <a:pt x="562" y="94"/>
                  </a:cubicBezTo>
                  <a:cubicBezTo>
                    <a:pt x="564" y="92"/>
                    <a:pt x="566" y="89"/>
                    <a:pt x="568" y="88"/>
                  </a:cubicBezTo>
                  <a:cubicBezTo>
                    <a:pt x="563" y="88"/>
                    <a:pt x="557" y="89"/>
                    <a:pt x="552" y="90"/>
                  </a:cubicBezTo>
                  <a:cubicBezTo>
                    <a:pt x="548" y="90"/>
                    <a:pt x="543" y="90"/>
                    <a:pt x="539" y="92"/>
                  </a:cubicBezTo>
                  <a:cubicBezTo>
                    <a:pt x="540" y="92"/>
                    <a:pt x="539" y="93"/>
                    <a:pt x="540" y="93"/>
                  </a:cubicBezTo>
                  <a:cubicBezTo>
                    <a:pt x="540" y="93"/>
                    <a:pt x="541" y="93"/>
                    <a:pt x="542" y="93"/>
                  </a:cubicBezTo>
                  <a:cubicBezTo>
                    <a:pt x="541" y="93"/>
                    <a:pt x="539" y="94"/>
                    <a:pt x="538" y="94"/>
                  </a:cubicBezTo>
                  <a:cubicBezTo>
                    <a:pt x="537" y="94"/>
                    <a:pt x="536" y="92"/>
                    <a:pt x="534" y="92"/>
                  </a:cubicBezTo>
                  <a:cubicBezTo>
                    <a:pt x="535" y="91"/>
                    <a:pt x="540" y="87"/>
                    <a:pt x="537" y="87"/>
                  </a:cubicBezTo>
                  <a:cubicBezTo>
                    <a:pt x="540" y="84"/>
                    <a:pt x="544" y="82"/>
                    <a:pt x="548" y="83"/>
                  </a:cubicBezTo>
                  <a:cubicBezTo>
                    <a:pt x="550" y="83"/>
                    <a:pt x="553" y="84"/>
                    <a:pt x="556" y="84"/>
                  </a:cubicBezTo>
                  <a:cubicBezTo>
                    <a:pt x="559" y="84"/>
                    <a:pt x="563" y="83"/>
                    <a:pt x="566" y="83"/>
                  </a:cubicBezTo>
                  <a:cubicBezTo>
                    <a:pt x="568" y="83"/>
                    <a:pt x="571" y="84"/>
                    <a:pt x="574" y="83"/>
                  </a:cubicBezTo>
                  <a:cubicBezTo>
                    <a:pt x="575" y="83"/>
                    <a:pt x="576" y="82"/>
                    <a:pt x="577" y="82"/>
                  </a:cubicBezTo>
                  <a:cubicBezTo>
                    <a:pt x="578" y="80"/>
                    <a:pt x="581" y="79"/>
                    <a:pt x="582" y="77"/>
                  </a:cubicBezTo>
                  <a:cubicBezTo>
                    <a:pt x="580" y="76"/>
                    <a:pt x="576" y="76"/>
                    <a:pt x="574" y="76"/>
                  </a:cubicBezTo>
                  <a:cubicBezTo>
                    <a:pt x="573" y="76"/>
                    <a:pt x="571" y="75"/>
                    <a:pt x="570" y="75"/>
                  </a:cubicBezTo>
                  <a:cubicBezTo>
                    <a:pt x="568" y="74"/>
                    <a:pt x="567" y="75"/>
                    <a:pt x="566" y="75"/>
                  </a:cubicBezTo>
                  <a:cubicBezTo>
                    <a:pt x="563" y="76"/>
                    <a:pt x="561" y="76"/>
                    <a:pt x="558" y="76"/>
                  </a:cubicBezTo>
                  <a:cubicBezTo>
                    <a:pt x="556" y="76"/>
                    <a:pt x="554" y="75"/>
                    <a:pt x="552" y="75"/>
                  </a:cubicBezTo>
                  <a:cubicBezTo>
                    <a:pt x="551" y="75"/>
                    <a:pt x="550" y="75"/>
                    <a:pt x="549" y="75"/>
                  </a:cubicBezTo>
                  <a:cubicBezTo>
                    <a:pt x="548" y="75"/>
                    <a:pt x="547" y="75"/>
                    <a:pt x="546" y="74"/>
                  </a:cubicBezTo>
                  <a:cubicBezTo>
                    <a:pt x="545" y="74"/>
                    <a:pt x="542" y="73"/>
                    <a:pt x="541" y="74"/>
                  </a:cubicBezTo>
                  <a:cubicBezTo>
                    <a:pt x="540" y="74"/>
                    <a:pt x="540" y="75"/>
                    <a:pt x="539" y="75"/>
                  </a:cubicBezTo>
                  <a:cubicBezTo>
                    <a:pt x="538" y="76"/>
                    <a:pt x="537" y="76"/>
                    <a:pt x="536" y="76"/>
                  </a:cubicBezTo>
                  <a:cubicBezTo>
                    <a:pt x="536" y="76"/>
                    <a:pt x="535" y="77"/>
                    <a:pt x="535" y="77"/>
                  </a:cubicBezTo>
                  <a:cubicBezTo>
                    <a:pt x="534" y="77"/>
                    <a:pt x="534" y="77"/>
                    <a:pt x="533" y="76"/>
                  </a:cubicBezTo>
                  <a:cubicBezTo>
                    <a:pt x="532" y="76"/>
                    <a:pt x="531" y="76"/>
                    <a:pt x="530" y="75"/>
                  </a:cubicBezTo>
                  <a:cubicBezTo>
                    <a:pt x="533" y="75"/>
                    <a:pt x="535" y="76"/>
                    <a:pt x="538" y="74"/>
                  </a:cubicBezTo>
                  <a:cubicBezTo>
                    <a:pt x="540" y="73"/>
                    <a:pt x="543" y="73"/>
                    <a:pt x="546" y="73"/>
                  </a:cubicBezTo>
                  <a:cubicBezTo>
                    <a:pt x="549" y="74"/>
                    <a:pt x="554" y="75"/>
                    <a:pt x="557" y="74"/>
                  </a:cubicBezTo>
                  <a:cubicBezTo>
                    <a:pt x="558" y="73"/>
                    <a:pt x="560" y="73"/>
                    <a:pt x="560" y="72"/>
                  </a:cubicBezTo>
                  <a:cubicBezTo>
                    <a:pt x="561" y="72"/>
                    <a:pt x="562" y="70"/>
                    <a:pt x="563" y="70"/>
                  </a:cubicBezTo>
                  <a:cubicBezTo>
                    <a:pt x="564" y="70"/>
                    <a:pt x="565" y="71"/>
                    <a:pt x="566" y="71"/>
                  </a:cubicBezTo>
                  <a:cubicBezTo>
                    <a:pt x="567" y="72"/>
                    <a:pt x="569" y="71"/>
                    <a:pt x="571" y="72"/>
                  </a:cubicBezTo>
                  <a:cubicBezTo>
                    <a:pt x="573" y="72"/>
                    <a:pt x="575" y="73"/>
                    <a:pt x="577" y="72"/>
                  </a:cubicBezTo>
                  <a:cubicBezTo>
                    <a:pt x="581" y="71"/>
                    <a:pt x="584" y="70"/>
                    <a:pt x="588" y="69"/>
                  </a:cubicBezTo>
                  <a:cubicBezTo>
                    <a:pt x="589" y="69"/>
                    <a:pt x="598" y="68"/>
                    <a:pt x="598" y="67"/>
                  </a:cubicBezTo>
                  <a:cubicBezTo>
                    <a:pt x="597" y="66"/>
                    <a:pt x="597" y="66"/>
                    <a:pt x="596" y="66"/>
                  </a:cubicBezTo>
                  <a:cubicBezTo>
                    <a:pt x="606" y="61"/>
                    <a:pt x="615" y="56"/>
                    <a:pt x="625" y="51"/>
                  </a:cubicBezTo>
                  <a:cubicBezTo>
                    <a:pt x="620" y="50"/>
                    <a:pt x="615" y="48"/>
                    <a:pt x="610" y="47"/>
                  </a:cubicBezTo>
                  <a:cubicBezTo>
                    <a:pt x="605" y="46"/>
                    <a:pt x="600" y="44"/>
                    <a:pt x="596" y="43"/>
                  </a:cubicBezTo>
                  <a:cubicBezTo>
                    <a:pt x="592" y="43"/>
                    <a:pt x="588" y="43"/>
                    <a:pt x="585" y="43"/>
                  </a:cubicBezTo>
                  <a:cubicBezTo>
                    <a:pt x="582" y="43"/>
                    <a:pt x="579" y="43"/>
                    <a:pt x="576" y="43"/>
                  </a:cubicBezTo>
                  <a:cubicBezTo>
                    <a:pt x="576" y="43"/>
                    <a:pt x="573" y="43"/>
                    <a:pt x="574" y="44"/>
                  </a:cubicBezTo>
                  <a:cubicBezTo>
                    <a:pt x="573" y="44"/>
                    <a:pt x="568" y="44"/>
                    <a:pt x="568" y="45"/>
                  </a:cubicBezTo>
                  <a:cubicBezTo>
                    <a:pt x="567" y="46"/>
                    <a:pt x="569" y="46"/>
                    <a:pt x="567" y="47"/>
                  </a:cubicBezTo>
                  <a:cubicBezTo>
                    <a:pt x="566" y="48"/>
                    <a:pt x="565" y="47"/>
                    <a:pt x="564" y="48"/>
                  </a:cubicBezTo>
                  <a:cubicBezTo>
                    <a:pt x="565" y="47"/>
                    <a:pt x="564" y="49"/>
                    <a:pt x="564" y="49"/>
                  </a:cubicBezTo>
                  <a:cubicBezTo>
                    <a:pt x="564" y="49"/>
                    <a:pt x="563" y="50"/>
                    <a:pt x="564" y="50"/>
                  </a:cubicBezTo>
                  <a:cubicBezTo>
                    <a:pt x="565" y="50"/>
                    <a:pt x="565" y="50"/>
                    <a:pt x="566" y="51"/>
                  </a:cubicBezTo>
                  <a:cubicBezTo>
                    <a:pt x="564" y="51"/>
                    <a:pt x="562" y="51"/>
                    <a:pt x="561" y="51"/>
                  </a:cubicBezTo>
                  <a:cubicBezTo>
                    <a:pt x="563" y="52"/>
                    <a:pt x="561" y="55"/>
                    <a:pt x="559" y="55"/>
                  </a:cubicBezTo>
                  <a:cubicBezTo>
                    <a:pt x="557" y="55"/>
                    <a:pt x="555" y="54"/>
                    <a:pt x="553" y="53"/>
                  </a:cubicBezTo>
                  <a:cubicBezTo>
                    <a:pt x="552" y="53"/>
                    <a:pt x="548" y="51"/>
                    <a:pt x="546" y="52"/>
                  </a:cubicBezTo>
                  <a:cubicBezTo>
                    <a:pt x="544" y="53"/>
                    <a:pt x="542" y="54"/>
                    <a:pt x="539" y="55"/>
                  </a:cubicBezTo>
                  <a:cubicBezTo>
                    <a:pt x="539" y="54"/>
                    <a:pt x="539" y="52"/>
                    <a:pt x="540" y="51"/>
                  </a:cubicBezTo>
                  <a:cubicBezTo>
                    <a:pt x="540" y="50"/>
                    <a:pt x="541" y="50"/>
                    <a:pt x="542" y="49"/>
                  </a:cubicBezTo>
                  <a:cubicBezTo>
                    <a:pt x="540" y="51"/>
                    <a:pt x="536" y="50"/>
                    <a:pt x="533" y="52"/>
                  </a:cubicBezTo>
                  <a:cubicBezTo>
                    <a:pt x="532" y="53"/>
                    <a:pt x="531" y="53"/>
                    <a:pt x="531" y="54"/>
                  </a:cubicBezTo>
                  <a:cubicBezTo>
                    <a:pt x="530" y="54"/>
                    <a:pt x="529" y="55"/>
                    <a:pt x="528" y="55"/>
                  </a:cubicBezTo>
                  <a:cubicBezTo>
                    <a:pt x="527" y="55"/>
                    <a:pt x="528" y="56"/>
                    <a:pt x="527" y="56"/>
                  </a:cubicBezTo>
                  <a:cubicBezTo>
                    <a:pt x="526" y="58"/>
                    <a:pt x="522" y="60"/>
                    <a:pt x="520" y="61"/>
                  </a:cubicBezTo>
                  <a:cubicBezTo>
                    <a:pt x="518" y="62"/>
                    <a:pt x="516" y="63"/>
                    <a:pt x="515" y="64"/>
                  </a:cubicBezTo>
                  <a:cubicBezTo>
                    <a:pt x="508" y="68"/>
                    <a:pt x="502" y="72"/>
                    <a:pt x="496" y="76"/>
                  </a:cubicBezTo>
                  <a:cubicBezTo>
                    <a:pt x="496" y="76"/>
                    <a:pt x="495" y="76"/>
                    <a:pt x="495" y="76"/>
                  </a:cubicBezTo>
                  <a:cubicBezTo>
                    <a:pt x="497" y="75"/>
                    <a:pt x="496" y="73"/>
                    <a:pt x="498" y="73"/>
                  </a:cubicBezTo>
                  <a:cubicBezTo>
                    <a:pt x="499" y="72"/>
                    <a:pt x="501" y="73"/>
                    <a:pt x="501" y="71"/>
                  </a:cubicBezTo>
                  <a:cubicBezTo>
                    <a:pt x="502" y="71"/>
                    <a:pt x="501" y="70"/>
                    <a:pt x="502" y="69"/>
                  </a:cubicBezTo>
                  <a:cubicBezTo>
                    <a:pt x="502" y="68"/>
                    <a:pt x="502" y="68"/>
                    <a:pt x="503" y="67"/>
                  </a:cubicBezTo>
                  <a:cubicBezTo>
                    <a:pt x="504" y="67"/>
                    <a:pt x="504" y="66"/>
                    <a:pt x="505" y="66"/>
                  </a:cubicBezTo>
                  <a:cubicBezTo>
                    <a:pt x="507" y="65"/>
                    <a:pt x="507" y="65"/>
                    <a:pt x="508" y="64"/>
                  </a:cubicBezTo>
                  <a:cubicBezTo>
                    <a:pt x="508" y="63"/>
                    <a:pt x="510" y="63"/>
                    <a:pt x="510" y="62"/>
                  </a:cubicBezTo>
                  <a:cubicBezTo>
                    <a:pt x="512" y="60"/>
                    <a:pt x="510" y="58"/>
                    <a:pt x="513" y="58"/>
                  </a:cubicBezTo>
                  <a:cubicBezTo>
                    <a:pt x="516" y="58"/>
                    <a:pt x="517" y="56"/>
                    <a:pt x="518" y="54"/>
                  </a:cubicBezTo>
                  <a:cubicBezTo>
                    <a:pt x="520" y="50"/>
                    <a:pt x="523" y="46"/>
                    <a:pt x="520" y="41"/>
                  </a:cubicBezTo>
                  <a:cubicBezTo>
                    <a:pt x="520" y="41"/>
                    <a:pt x="519" y="39"/>
                    <a:pt x="518" y="39"/>
                  </a:cubicBezTo>
                  <a:cubicBezTo>
                    <a:pt x="517" y="39"/>
                    <a:pt x="516" y="39"/>
                    <a:pt x="516" y="39"/>
                  </a:cubicBezTo>
                  <a:cubicBezTo>
                    <a:pt x="514" y="39"/>
                    <a:pt x="512" y="40"/>
                    <a:pt x="511" y="40"/>
                  </a:cubicBezTo>
                  <a:cubicBezTo>
                    <a:pt x="509" y="40"/>
                    <a:pt x="506" y="40"/>
                    <a:pt x="504" y="40"/>
                  </a:cubicBezTo>
                  <a:cubicBezTo>
                    <a:pt x="503" y="41"/>
                    <a:pt x="502" y="40"/>
                    <a:pt x="501" y="41"/>
                  </a:cubicBezTo>
                  <a:cubicBezTo>
                    <a:pt x="501" y="41"/>
                    <a:pt x="500" y="42"/>
                    <a:pt x="500" y="42"/>
                  </a:cubicBezTo>
                  <a:cubicBezTo>
                    <a:pt x="500" y="43"/>
                    <a:pt x="500" y="43"/>
                    <a:pt x="500" y="43"/>
                  </a:cubicBezTo>
                  <a:cubicBezTo>
                    <a:pt x="500" y="44"/>
                    <a:pt x="499" y="44"/>
                    <a:pt x="499" y="45"/>
                  </a:cubicBezTo>
                  <a:cubicBezTo>
                    <a:pt x="499" y="46"/>
                    <a:pt x="499" y="47"/>
                    <a:pt x="498" y="48"/>
                  </a:cubicBezTo>
                  <a:cubicBezTo>
                    <a:pt x="497" y="49"/>
                    <a:pt x="495" y="49"/>
                    <a:pt x="494" y="49"/>
                  </a:cubicBezTo>
                  <a:cubicBezTo>
                    <a:pt x="488" y="51"/>
                    <a:pt x="482" y="52"/>
                    <a:pt x="476" y="54"/>
                  </a:cubicBezTo>
                  <a:cubicBezTo>
                    <a:pt x="473" y="54"/>
                    <a:pt x="471" y="55"/>
                    <a:pt x="469" y="56"/>
                  </a:cubicBezTo>
                  <a:cubicBezTo>
                    <a:pt x="468" y="56"/>
                    <a:pt x="467" y="56"/>
                    <a:pt x="466" y="56"/>
                  </a:cubicBezTo>
                  <a:cubicBezTo>
                    <a:pt x="466" y="56"/>
                    <a:pt x="468" y="56"/>
                    <a:pt x="468" y="56"/>
                  </a:cubicBezTo>
                  <a:cubicBezTo>
                    <a:pt x="468" y="55"/>
                    <a:pt x="468" y="55"/>
                    <a:pt x="468" y="55"/>
                  </a:cubicBezTo>
                  <a:cubicBezTo>
                    <a:pt x="467" y="54"/>
                    <a:pt x="464" y="55"/>
                    <a:pt x="464" y="54"/>
                  </a:cubicBezTo>
                  <a:cubicBezTo>
                    <a:pt x="464" y="52"/>
                    <a:pt x="470" y="52"/>
                    <a:pt x="471" y="52"/>
                  </a:cubicBezTo>
                  <a:cubicBezTo>
                    <a:pt x="474" y="51"/>
                    <a:pt x="477" y="50"/>
                    <a:pt x="480" y="49"/>
                  </a:cubicBezTo>
                  <a:cubicBezTo>
                    <a:pt x="482" y="49"/>
                    <a:pt x="485" y="48"/>
                    <a:pt x="487" y="47"/>
                  </a:cubicBezTo>
                  <a:cubicBezTo>
                    <a:pt x="488" y="46"/>
                    <a:pt x="488" y="45"/>
                    <a:pt x="488" y="44"/>
                  </a:cubicBezTo>
                  <a:cubicBezTo>
                    <a:pt x="488" y="43"/>
                    <a:pt x="488" y="43"/>
                    <a:pt x="486" y="42"/>
                  </a:cubicBezTo>
                  <a:cubicBezTo>
                    <a:pt x="478" y="42"/>
                    <a:pt x="471" y="42"/>
                    <a:pt x="463" y="42"/>
                  </a:cubicBezTo>
                  <a:cubicBezTo>
                    <a:pt x="458" y="41"/>
                    <a:pt x="453" y="41"/>
                    <a:pt x="448" y="42"/>
                  </a:cubicBezTo>
                  <a:cubicBezTo>
                    <a:pt x="444" y="42"/>
                    <a:pt x="441" y="43"/>
                    <a:pt x="437" y="43"/>
                  </a:cubicBezTo>
                  <a:cubicBezTo>
                    <a:pt x="432" y="44"/>
                    <a:pt x="428" y="45"/>
                    <a:pt x="424" y="45"/>
                  </a:cubicBezTo>
                  <a:cubicBezTo>
                    <a:pt x="419" y="46"/>
                    <a:pt x="415" y="48"/>
                    <a:pt x="410" y="49"/>
                  </a:cubicBezTo>
                  <a:cubicBezTo>
                    <a:pt x="410" y="49"/>
                    <a:pt x="409" y="50"/>
                    <a:pt x="408" y="49"/>
                  </a:cubicBezTo>
                  <a:cubicBezTo>
                    <a:pt x="408" y="48"/>
                    <a:pt x="408" y="46"/>
                    <a:pt x="408" y="46"/>
                  </a:cubicBezTo>
                  <a:cubicBezTo>
                    <a:pt x="409" y="45"/>
                    <a:pt x="411" y="44"/>
                    <a:pt x="412" y="44"/>
                  </a:cubicBezTo>
                  <a:cubicBezTo>
                    <a:pt x="415" y="44"/>
                    <a:pt x="418" y="43"/>
                    <a:pt x="420" y="43"/>
                  </a:cubicBezTo>
                  <a:cubicBezTo>
                    <a:pt x="422" y="42"/>
                    <a:pt x="424" y="42"/>
                    <a:pt x="426" y="42"/>
                  </a:cubicBezTo>
                  <a:cubicBezTo>
                    <a:pt x="427" y="42"/>
                    <a:pt x="429" y="41"/>
                    <a:pt x="430" y="41"/>
                  </a:cubicBezTo>
                  <a:cubicBezTo>
                    <a:pt x="433" y="40"/>
                    <a:pt x="436" y="40"/>
                    <a:pt x="439" y="39"/>
                  </a:cubicBezTo>
                  <a:cubicBezTo>
                    <a:pt x="434" y="38"/>
                    <a:pt x="428" y="37"/>
                    <a:pt x="423" y="36"/>
                  </a:cubicBezTo>
                  <a:cubicBezTo>
                    <a:pt x="424" y="36"/>
                    <a:pt x="426" y="36"/>
                    <a:pt x="428" y="36"/>
                  </a:cubicBezTo>
                  <a:cubicBezTo>
                    <a:pt x="430" y="36"/>
                    <a:pt x="431" y="36"/>
                    <a:pt x="433" y="36"/>
                  </a:cubicBezTo>
                  <a:cubicBezTo>
                    <a:pt x="435" y="36"/>
                    <a:pt x="436" y="37"/>
                    <a:pt x="438" y="37"/>
                  </a:cubicBezTo>
                  <a:cubicBezTo>
                    <a:pt x="439" y="37"/>
                    <a:pt x="440" y="37"/>
                    <a:pt x="440" y="37"/>
                  </a:cubicBezTo>
                  <a:cubicBezTo>
                    <a:pt x="441" y="37"/>
                    <a:pt x="441" y="38"/>
                    <a:pt x="442" y="38"/>
                  </a:cubicBezTo>
                  <a:cubicBezTo>
                    <a:pt x="449" y="38"/>
                    <a:pt x="455" y="36"/>
                    <a:pt x="462" y="36"/>
                  </a:cubicBezTo>
                  <a:cubicBezTo>
                    <a:pt x="469" y="37"/>
                    <a:pt x="476" y="38"/>
                    <a:pt x="483" y="37"/>
                  </a:cubicBezTo>
                  <a:cubicBezTo>
                    <a:pt x="486" y="37"/>
                    <a:pt x="490" y="37"/>
                    <a:pt x="493" y="37"/>
                  </a:cubicBezTo>
                  <a:cubicBezTo>
                    <a:pt x="496" y="36"/>
                    <a:pt x="499" y="35"/>
                    <a:pt x="502" y="34"/>
                  </a:cubicBezTo>
                  <a:cubicBezTo>
                    <a:pt x="506" y="33"/>
                    <a:pt x="509" y="34"/>
                    <a:pt x="513" y="33"/>
                  </a:cubicBezTo>
                  <a:cubicBezTo>
                    <a:pt x="519" y="33"/>
                    <a:pt x="523" y="29"/>
                    <a:pt x="528" y="26"/>
                  </a:cubicBezTo>
                  <a:cubicBezTo>
                    <a:pt x="527" y="25"/>
                    <a:pt x="525" y="25"/>
                    <a:pt x="524" y="24"/>
                  </a:cubicBezTo>
                  <a:cubicBezTo>
                    <a:pt x="523" y="23"/>
                    <a:pt x="521" y="24"/>
                    <a:pt x="520" y="23"/>
                  </a:cubicBezTo>
                  <a:cubicBezTo>
                    <a:pt x="518" y="22"/>
                    <a:pt x="516" y="21"/>
                    <a:pt x="514" y="22"/>
                  </a:cubicBezTo>
                  <a:cubicBezTo>
                    <a:pt x="509" y="22"/>
                    <a:pt x="505" y="22"/>
                    <a:pt x="501" y="22"/>
                  </a:cubicBezTo>
                  <a:cubicBezTo>
                    <a:pt x="502" y="21"/>
                    <a:pt x="502" y="21"/>
                    <a:pt x="501" y="20"/>
                  </a:cubicBezTo>
                  <a:cubicBezTo>
                    <a:pt x="501" y="18"/>
                    <a:pt x="498" y="18"/>
                    <a:pt x="497" y="18"/>
                  </a:cubicBezTo>
                  <a:cubicBezTo>
                    <a:pt x="493" y="19"/>
                    <a:pt x="490" y="20"/>
                    <a:pt x="486" y="21"/>
                  </a:cubicBezTo>
                  <a:cubicBezTo>
                    <a:pt x="487" y="20"/>
                    <a:pt x="487" y="20"/>
                    <a:pt x="488" y="20"/>
                  </a:cubicBezTo>
                  <a:cubicBezTo>
                    <a:pt x="489" y="20"/>
                    <a:pt x="489" y="20"/>
                    <a:pt x="489" y="19"/>
                  </a:cubicBezTo>
                  <a:cubicBezTo>
                    <a:pt x="490" y="18"/>
                    <a:pt x="491" y="18"/>
                    <a:pt x="492" y="17"/>
                  </a:cubicBezTo>
                  <a:cubicBezTo>
                    <a:pt x="492" y="17"/>
                    <a:pt x="493" y="17"/>
                    <a:pt x="493" y="16"/>
                  </a:cubicBezTo>
                  <a:cubicBezTo>
                    <a:pt x="492" y="15"/>
                    <a:pt x="491" y="14"/>
                    <a:pt x="490" y="13"/>
                  </a:cubicBezTo>
                  <a:cubicBezTo>
                    <a:pt x="488" y="12"/>
                    <a:pt x="486" y="12"/>
                    <a:pt x="484" y="12"/>
                  </a:cubicBezTo>
                  <a:cubicBezTo>
                    <a:pt x="481" y="13"/>
                    <a:pt x="478" y="14"/>
                    <a:pt x="475" y="14"/>
                  </a:cubicBezTo>
                  <a:cubicBezTo>
                    <a:pt x="468" y="13"/>
                    <a:pt x="460" y="13"/>
                    <a:pt x="453" y="13"/>
                  </a:cubicBezTo>
                  <a:cubicBezTo>
                    <a:pt x="448" y="13"/>
                    <a:pt x="444" y="12"/>
                    <a:pt x="439" y="13"/>
                  </a:cubicBezTo>
                  <a:cubicBezTo>
                    <a:pt x="437" y="13"/>
                    <a:pt x="436" y="14"/>
                    <a:pt x="433" y="14"/>
                  </a:cubicBezTo>
                  <a:cubicBezTo>
                    <a:pt x="431" y="14"/>
                    <a:pt x="430" y="14"/>
                    <a:pt x="428" y="15"/>
                  </a:cubicBezTo>
                  <a:cubicBezTo>
                    <a:pt x="420" y="18"/>
                    <a:pt x="411" y="15"/>
                    <a:pt x="403" y="17"/>
                  </a:cubicBezTo>
                  <a:cubicBezTo>
                    <a:pt x="401" y="18"/>
                    <a:pt x="402" y="19"/>
                    <a:pt x="400" y="21"/>
                  </a:cubicBezTo>
                  <a:cubicBezTo>
                    <a:pt x="399" y="21"/>
                    <a:pt x="398" y="21"/>
                    <a:pt x="397" y="20"/>
                  </a:cubicBezTo>
                  <a:cubicBezTo>
                    <a:pt x="396" y="20"/>
                    <a:pt x="394" y="19"/>
                    <a:pt x="393" y="19"/>
                  </a:cubicBezTo>
                  <a:cubicBezTo>
                    <a:pt x="391" y="18"/>
                    <a:pt x="389" y="18"/>
                    <a:pt x="387" y="19"/>
                  </a:cubicBezTo>
                  <a:cubicBezTo>
                    <a:pt x="386" y="20"/>
                    <a:pt x="385" y="21"/>
                    <a:pt x="383" y="22"/>
                  </a:cubicBezTo>
                  <a:cubicBezTo>
                    <a:pt x="383" y="21"/>
                    <a:pt x="384" y="21"/>
                    <a:pt x="384" y="21"/>
                  </a:cubicBezTo>
                  <a:cubicBezTo>
                    <a:pt x="384" y="21"/>
                    <a:pt x="384" y="19"/>
                    <a:pt x="384" y="20"/>
                  </a:cubicBezTo>
                  <a:cubicBezTo>
                    <a:pt x="384" y="19"/>
                    <a:pt x="383" y="19"/>
                    <a:pt x="382" y="18"/>
                  </a:cubicBezTo>
                  <a:cubicBezTo>
                    <a:pt x="385" y="18"/>
                    <a:pt x="387" y="18"/>
                    <a:pt x="390" y="18"/>
                  </a:cubicBezTo>
                  <a:cubicBezTo>
                    <a:pt x="392" y="17"/>
                    <a:pt x="395" y="18"/>
                    <a:pt x="398" y="17"/>
                  </a:cubicBezTo>
                  <a:cubicBezTo>
                    <a:pt x="400" y="17"/>
                    <a:pt x="402" y="16"/>
                    <a:pt x="404" y="16"/>
                  </a:cubicBezTo>
                  <a:cubicBezTo>
                    <a:pt x="405" y="16"/>
                    <a:pt x="407" y="16"/>
                    <a:pt x="408" y="16"/>
                  </a:cubicBezTo>
                  <a:cubicBezTo>
                    <a:pt x="409" y="16"/>
                    <a:pt x="410" y="15"/>
                    <a:pt x="410" y="15"/>
                  </a:cubicBezTo>
                  <a:cubicBezTo>
                    <a:pt x="409" y="14"/>
                    <a:pt x="406" y="14"/>
                    <a:pt x="404" y="12"/>
                  </a:cubicBezTo>
                  <a:cubicBezTo>
                    <a:pt x="409" y="12"/>
                    <a:pt x="413" y="14"/>
                    <a:pt x="418" y="14"/>
                  </a:cubicBezTo>
                  <a:cubicBezTo>
                    <a:pt x="421" y="15"/>
                    <a:pt x="425" y="14"/>
                    <a:pt x="428" y="13"/>
                  </a:cubicBezTo>
                  <a:cubicBezTo>
                    <a:pt x="432" y="13"/>
                    <a:pt x="435" y="12"/>
                    <a:pt x="439" y="12"/>
                  </a:cubicBezTo>
                  <a:cubicBezTo>
                    <a:pt x="443" y="11"/>
                    <a:pt x="447" y="11"/>
                    <a:pt x="451" y="12"/>
                  </a:cubicBezTo>
                  <a:cubicBezTo>
                    <a:pt x="454" y="12"/>
                    <a:pt x="457" y="12"/>
                    <a:pt x="460" y="12"/>
                  </a:cubicBezTo>
                  <a:cubicBezTo>
                    <a:pt x="463" y="12"/>
                    <a:pt x="466" y="12"/>
                    <a:pt x="469" y="12"/>
                  </a:cubicBezTo>
                  <a:cubicBezTo>
                    <a:pt x="472" y="12"/>
                    <a:pt x="474" y="12"/>
                    <a:pt x="476" y="11"/>
                  </a:cubicBezTo>
                  <a:cubicBezTo>
                    <a:pt x="477" y="11"/>
                    <a:pt x="479" y="11"/>
                    <a:pt x="480" y="11"/>
                  </a:cubicBezTo>
                  <a:cubicBezTo>
                    <a:pt x="481" y="10"/>
                    <a:pt x="483" y="9"/>
                    <a:pt x="484" y="8"/>
                  </a:cubicBezTo>
                  <a:cubicBezTo>
                    <a:pt x="470" y="6"/>
                    <a:pt x="457" y="4"/>
                    <a:pt x="443" y="2"/>
                  </a:cubicBezTo>
                  <a:cubicBezTo>
                    <a:pt x="441" y="1"/>
                    <a:pt x="439" y="1"/>
                    <a:pt x="436" y="0"/>
                  </a:cubicBezTo>
                  <a:cubicBezTo>
                    <a:pt x="435" y="0"/>
                    <a:pt x="434" y="1"/>
                    <a:pt x="432" y="1"/>
                  </a:cubicBezTo>
                  <a:cubicBezTo>
                    <a:pt x="426" y="0"/>
                    <a:pt x="420" y="0"/>
                    <a:pt x="413" y="0"/>
                  </a:cubicBezTo>
                  <a:cubicBezTo>
                    <a:pt x="410" y="0"/>
                    <a:pt x="406" y="0"/>
                    <a:pt x="403" y="0"/>
                  </a:cubicBezTo>
                  <a:cubicBezTo>
                    <a:pt x="402" y="0"/>
                    <a:pt x="400" y="0"/>
                    <a:pt x="399" y="1"/>
                  </a:cubicBezTo>
                  <a:cubicBezTo>
                    <a:pt x="397" y="1"/>
                    <a:pt x="399" y="3"/>
                    <a:pt x="399" y="4"/>
                  </a:cubicBezTo>
                  <a:cubicBezTo>
                    <a:pt x="398" y="2"/>
                    <a:pt x="394" y="1"/>
                    <a:pt x="391" y="0"/>
                  </a:cubicBezTo>
                  <a:cubicBezTo>
                    <a:pt x="390" y="0"/>
                    <a:pt x="390" y="1"/>
                    <a:pt x="389" y="1"/>
                  </a:cubicBezTo>
                  <a:cubicBezTo>
                    <a:pt x="388" y="2"/>
                    <a:pt x="386" y="2"/>
                    <a:pt x="385" y="2"/>
                  </a:cubicBezTo>
                  <a:cubicBezTo>
                    <a:pt x="382" y="2"/>
                    <a:pt x="378" y="2"/>
                    <a:pt x="375" y="2"/>
                  </a:cubicBezTo>
                  <a:cubicBezTo>
                    <a:pt x="375" y="2"/>
                    <a:pt x="369" y="2"/>
                    <a:pt x="370" y="3"/>
                  </a:cubicBezTo>
                  <a:cubicBezTo>
                    <a:pt x="370" y="3"/>
                    <a:pt x="369" y="3"/>
                    <a:pt x="369" y="3"/>
                  </a:cubicBezTo>
                  <a:cubicBezTo>
                    <a:pt x="370" y="4"/>
                    <a:pt x="373" y="5"/>
                    <a:pt x="373" y="7"/>
                  </a:cubicBezTo>
                  <a:cubicBezTo>
                    <a:pt x="369" y="6"/>
                    <a:pt x="362" y="1"/>
                    <a:pt x="358" y="4"/>
                  </a:cubicBezTo>
                  <a:cubicBezTo>
                    <a:pt x="356" y="5"/>
                    <a:pt x="362" y="7"/>
                    <a:pt x="357" y="6"/>
                  </a:cubicBezTo>
                  <a:cubicBezTo>
                    <a:pt x="355" y="6"/>
                    <a:pt x="352" y="5"/>
                    <a:pt x="349" y="5"/>
                  </a:cubicBezTo>
                  <a:cubicBezTo>
                    <a:pt x="351" y="7"/>
                    <a:pt x="348" y="10"/>
                    <a:pt x="351" y="11"/>
                  </a:cubicBezTo>
                  <a:cubicBezTo>
                    <a:pt x="353" y="11"/>
                    <a:pt x="355" y="11"/>
                    <a:pt x="357" y="11"/>
                  </a:cubicBezTo>
                  <a:cubicBezTo>
                    <a:pt x="358" y="11"/>
                    <a:pt x="360" y="12"/>
                    <a:pt x="362" y="12"/>
                  </a:cubicBezTo>
                  <a:cubicBezTo>
                    <a:pt x="364" y="13"/>
                    <a:pt x="366" y="12"/>
                    <a:pt x="369" y="12"/>
                  </a:cubicBezTo>
                  <a:cubicBezTo>
                    <a:pt x="366" y="13"/>
                    <a:pt x="363" y="13"/>
                    <a:pt x="360" y="13"/>
                  </a:cubicBezTo>
                  <a:cubicBezTo>
                    <a:pt x="357" y="13"/>
                    <a:pt x="352" y="13"/>
                    <a:pt x="350" y="15"/>
                  </a:cubicBezTo>
                  <a:cubicBezTo>
                    <a:pt x="355" y="16"/>
                    <a:pt x="360" y="13"/>
                    <a:pt x="365" y="16"/>
                  </a:cubicBezTo>
                  <a:cubicBezTo>
                    <a:pt x="363" y="16"/>
                    <a:pt x="362" y="15"/>
                    <a:pt x="360" y="15"/>
                  </a:cubicBezTo>
                  <a:cubicBezTo>
                    <a:pt x="359" y="15"/>
                    <a:pt x="358" y="16"/>
                    <a:pt x="356" y="16"/>
                  </a:cubicBezTo>
                  <a:cubicBezTo>
                    <a:pt x="353" y="16"/>
                    <a:pt x="349" y="15"/>
                    <a:pt x="346" y="17"/>
                  </a:cubicBezTo>
                  <a:cubicBezTo>
                    <a:pt x="347" y="17"/>
                    <a:pt x="349" y="17"/>
                    <a:pt x="349" y="18"/>
                  </a:cubicBezTo>
                  <a:cubicBezTo>
                    <a:pt x="350" y="19"/>
                    <a:pt x="349" y="19"/>
                    <a:pt x="350" y="19"/>
                  </a:cubicBezTo>
                  <a:cubicBezTo>
                    <a:pt x="350" y="20"/>
                    <a:pt x="350" y="20"/>
                    <a:pt x="351" y="21"/>
                  </a:cubicBezTo>
                  <a:cubicBezTo>
                    <a:pt x="352" y="22"/>
                    <a:pt x="352" y="22"/>
                    <a:pt x="351" y="22"/>
                  </a:cubicBezTo>
                  <a:cubicBezTo>
                    <a:pt x="351" y="22"/>
                    <a:pt x="350" y="21"/>
                    <a:pt x="350" y="21"/>
                  </a:cubicBezTo>
                  <a:cubicBezTo>
                    <a:pt x="349" y="21"/>
                    <a:pt x="348" y="20"/>
                    <a:pt x="347" y="19"/>
                  </a:cubicBezTo>
                  <a:cubicBezTo>
                    <a:pt x="347" y="19"/>
                    <a:pt x="348" y="19"/>
                    <a:pt x="347" y="18"/>
                  </a:cubicBezTo>
                  <a:cubicBezTo>
                    <a:pt x="346" y="18"/>
                    <a:pt x="345" y="18"/>
                    <a:pt x="345" y="18"/>
                  </a:cubicBezTo>
                  <a:cubicBezTo>
                    <a:pt x="343" y="17"/>
                    <a:pt x="342" y="17"/>
                    <a:pt x="340" y="17"/>
                  </a:cubicBezTo>
                  <a:cubicBezTo>
                    <a:pt x="337" y="17"/>
                    <a:pt x="333" y="18"/>
                    <a:pt x="330" y="16"/>
                  </a:cubicBezTo>
                  <a:cubicBezTo>
                    <a:pt x="329" y="15"/>
                    <a:pt x="327" y="15"/>
                    <a:pt x="326" y="14"/>
                  </a:cubicBezTo>
                  <a:cubicBezTo>
                    <a:pt x="325" y="14"/>
                    <a:pt x="324" y="13"/>
                    <a:pt x="323" y="13"/>
                  </a:cubicBezTo>
                  <a:cubicBezTo>
                    <a:pt x="322" y="13"/>
                    <a:pt x="320" y="14"/>
                    <a:pt x="318" y="13"/>
                  </a:cubicBezTo>
                  <a:cubicBezTo>
                    <a:pt x="318" y="13"/>
                    <a:pt x="320" y="12"/>
                    <a:pt x="320" y="11"/>
                  </a:cubicBezTo>
                  <a:cubicBezTo>
                    <a:pt x="318" y="10"/>
                    <a:pt x="316" y="10"/>
                    <a:pt x="315" y="10"/>
                  </a:cubicBezTo>
                  <a:cubicBezTo>
                    <a:pt x="312" y="10"/>
                    <a:pt x="308" y="9"/>
                    <a:pt x="305" y="9"/>
                  </a:cubicBezTo>
                  <a:cubicBezTo>
                    <a:pt x="304" y="9"/>
                    <a:pt x="302" y="10"/>
                    <a:pt x="301" y="10"/>
                  </a:cubicBezTo>
                  <a:cubicBezTo>
                    <a:pt x="300" y="10"/>
                    <a:pt x="298" y="10"/>
                    <a:pt x="297" y="11"/>
                  </a:cubicBezTo>
                  <a:cubicBezTo>
                    <a:pt x="300" y="12"/>
                    <a:pt x="304" y="12"/>
                    <a:pt x="308" y="14"/>
                  </a:cubicBezTo>
                  <a:cubicBezTo>
                    <a:pt x="306" y="13"/>
                    <a:pt x="305" y="13"/>
                    <a:pt x="303" y="13"/>
                  </a:cubicBezTo>
                  <a:cubicBezTo>
                    <a:pt x="301" y="13"/>
                    <a:pt x="299" y="13"/>
                    <a:pt x="296" y="13"/>
                  </a:cubicBezTo>
                  <a:cubicBezTo>
                    <a:pt x="292" y="13"/>
                    <a:pt x="288" y="12"/>
                    <a:pt x="284" y="12"/>
                  </a:cubicBezTo>
                  <a:cubicBezTo>
                    <a:pt x="283" y="12"/>
                    <a:pt x="280" y="12"/>
                    <a:pt x="281" y="13"/>
                  </a:cubicBezTo>
                  <a:cubicBezTo>
                    <a:pt x="282" y="14"/>
                    <a:pt x="284" y="14"/>
                    <a:pt x="285" y="15"/>
                  </a:cubicBezTo>
                  <a:cubicBezTo>
                    <a:pt x="286" y="15"/>
                    <a:pt x="287" y="16"/>
                    <a:pt x="288" y="16"/>
                  </a:cubicBezTo>
                  <a:cubicBezTo>
                    <a:pt x="292" y="17"/>
                    <a:pt x="296" y="17"/>
                    <a:pt x="300" y="18"/>
                  </a:cubicBezTo>
                  <a:cubicBezTo>
                    <a:pt x="301" y="18"/>
                    <a:pt x="301" y="18"/>
                    <a:pt x="302" y="18"/>
                  </a:cubicBezTo>
                  <a:cubicBezTo>
                    <a:pt x="299" y="18"/>
                    <a:pt x="297" y="18"/>
                    <a:pt x="294" y="18"/>
                  </a:cubicBezTo>
                  <a:cubicBezTo>
                    <a:pt x="293" y="18"/>
                    <a:pt x="291" y="17"/>
                    <a:pt x="289" y="17"/>
                  </a:cubicBezTo>
                  <a:cubicBezTo>
                    <a:pt x="288" y="17"/>
                    <a:pt x="284" y="18"/>
                    <a:pt x="285" y="17"/>
                  </a:cubicBezTo>
                  <a:cubicBezTo>
                    <a:pt x="279" y="17"/>
                    <a:pt x="273" y="17"/>
                    <a:pt x="267" y="17"/>
                  </a:cubicBezTo>
                  <a:cubicBezTo>
                    <a:pt x="279" y="18"/>
                    <a:pt x="292" y="19"/>
                    <a:pt x="304" y="20"/>
                  </a:cubicBezTo>
                  <a:cubicBezTo>
                    <a:pt x="312" y="21"/>
                    <a:pt x="320" y="22"/>
                    <a:pt x="328" y="22"/>
                  </a:cubicBezTo>
                  <a:cubicBezTo>
                    <a:pt x="331" y="23"/>
                    <a:pt x="335" y="23"/>
                    <a:pt x="337" y="24"/>
                  </a:cubicBezTo>
                  <a:cubicBezTo>
                    <a:pt x="338" y="24"/>
                    <a:pt x="338" y="24"/>
                    <a:pt x="338" y="25"/>
                  </a:cubicBezTo>
                  <a:cubicBezTo>
                    <a:pt x="339" y="26"/>
                    <a:pt x="338" y="26"/>
                    <a:pt x="338" y="26"/>
                  </a:cubicBezTo>
                  <a:cubicBezTo>
                    <a:pt x="337" y="28"/>
                    <a:pt x="339" y="28"/>
                    <a:pt x="340" y="29"/>
                  </a:cubicBezTo>
                  <a:cubicBezTo>
                    <a:pt x="338" y="29"/>
                    <a:pt x="340" y="33"/>
                    <a:pt x="338" y="32"/>
                  </a:cubicBezTo>
                  <a:cubicBezTo>
                    <a:pt x="338" y="31"/>
                    <a:pt x="337" y="31"/>
                    <a:pt x="337" y="31"/>
                  </a:cubicBezTo>
                  <a:cubicBezTo>
                    <a:pt x="336" y="30"/>
                    <a:pt x="337" y="30"/>
                    <a:pt x="337" y="29"/>
                  </a:cubicBezTo>
                  <a:cubicBezTo>
                    <a:pt x="337" y="29"/>
                    <a:pt x="337" y="29"/>
                    <a:pt x="336" y="28"/>
                  </a:cubicBezTo>
                  <a:cubicBezTo>
                    <a:pt x="336" y="28"/>
                    <a:pt x="335" y="27"/>
                    <a:pt x="334" y="27"/>
                  </a:cubicBezTo>
                  <a:cubicBezTo>
                    <a:pt x="333" y="27"/>
                    <a:pt x="332" y="27"/>
                    <a:pt x="332" y="27"/>
                  </a:cubicBezTo>
                  <a:cubicBezTo>
                    <a:pt x="331" y="27"/>
                    <a:pt x="330" y="26"/>
                    <a:pt x="329" y="26"/>
                  </a:cubicBezTo>
                  <a:cubicBezTo>
                    <a:pt x="327" y="24"/>
                    <a:pt x="324" y="23"/>
                    <a:pt x="322" y="23"/>
                  </a:cubicBezTo>
                  <a:cubicBezTo>
                    <a:pt x="321" y="23"/>
                    <a:pt x="319" y="22"/>
                    <a:pt x="319" y="23"/>
                  </a:cubicBezTo>
                  <a:cubicBezTo>
                    <a:pt x="320" y="24"/>
                    <a:pt x="321" y="25"/>
                    <a:pt x="321" y="26"/>
                  </a:cubicBezTo>
                  <a:cubicBezTo>
                    <a:pt x="321" y="26"/>
                    <a:pt x="322" y="30"/>
                    <a:pt x="320" y="29"/>
                  </a:cubicBezTo>
                  <a:cubicBezTo>
                    <a:pt x="320" y="29"/>
                    <a:pt x="319" y="28"/>
                    <a:pt x="319" y="28"/>
                  </a:cubicBezTo>
                  <a:cubicBezTo>
                    <a:pt x="318" y="27"/>
                    <a:pt x="318" y="27"/>
                    <a:pt x="319" y="26"/>
                  </a:cubicBezTo>
                  <a:cubicBezTo>
                    <a:pt x="319" y="25"/>
                    <a:pt x="317" y="22"/>
                    <a:pt x="316" y="22"/>
                  </a:cubicBezTo>
                  <a:cubicBezTo>
                    <a:pt x="312" y="21"/>
                    <a:pt x="309" y="22"/>
                    <a:pt x="305" y="21"/>
                  </a:cubicBezTo>
                  <a:cubicBezTo>
                    <a:pt x="301" y="21"/>
                    <a:pt x="297" y="22"/>
                    <a:pt x="293" y="22"/>
                  </a:cubicBezTo>
                  <a:cubicBezTo>
                    <a:pt x="289" y="22"/>
                    <a:pt x="286" y="22"/>
                    <a:pt x="282" y="21"/>
                  </a:cubicBezTo>
                  <a:cubicBezTo>
                    <a:pt x="282" y="21"/>
                    <a:pt x="282" y="21"/>
                    <a:pt x="282" y="21"/>
                  </a:cubicBezTo>
                  <a:cubicBezTo>
                    <a:pt x="284" y="23"/>
                    <a:pt x="287" y="25"/>
                    <a:pt x="290" y="27"/>
                  </a:cubicBezTo>
                  <a:cubicBezTo>
                    <a:pt x="292" y="29"/>
                    <a:pt x="294" y="30"/>
                    <a:pt x="296" y="31"/>
                  </a:cubicBezTo>
                  <a:cubicBezTo>
                    <a:pt x="297" y="32"/>
                    <a:pt x="298" y="33"/>
                    <a:pt x="298" y="33"/>
                  </a:cubicBezTo>
                  <a:cubicBezTo>
                    <a:pt x="304" y="34"/>
                    <a:pt x="309" y="35"/>
                    <a:pt x="314" y="36"/>
                  </a:cubicBezTo>
                  <a:cubicBezTo>
                    <a:pt x="312" y="36"/>
                    <a:pt x="311" y="35"/>
                    <a:pt x="310" y="35"/>
                  </a:cubicBezTo>
                  <a:cubicBezTo>
                    <a:pt x="308" y="35"/>
                    <a:pt x="307" y="35"/>
                    <a:pt x="305" y="35"/>
                  </a:cubicBezTo>
                  <a:cubicBezTo>
                    <a:pt x="302" y="35"/>
                    <a:pt x="299" y="34"/>
                    <a:pt x="296" y="33"/>
                  </a:cubicBezTo>
                  <a:cubicBezTo>
                    <a:pt x="295" y="33"/>
                    <a:pt x="288" y="33"/>
                    <a:pt x="290" y="35"/>
                  </a:cubicBezTo>
                  <a:cubicBezTo>
                    <a:pt x="290" y="36"/>
                    <a:pt x="291" y="37"/>
                    <a:pt x="292" y="38"/>
                  </a:cubicBezTo>
                  <a:cubicBezTo>
                    <a:pt x="293" y="39"/>
                    <a:pt x="291" y="39"/>
                    <a:pt x="291" y="39"/>
                  </a:cubicBezTo>
                  <a:cubicBezTo>
                    <a:pt x="290" y="41"/>
                    <a:pt x="293" y="44"/>
                    <a:pt x="293" y="46"/>
                  </a:cubicBezTo>
                  <a:cubicBezTo>
                    <a:pt x="292" y="46"/>
                    <a:pt x="291" y="47"/>
                    <a:pt x="290" y="47"/>
                  </a:cubicBezTo>
                  <a:cubicBezTo>
                    <a:pt x="289" y="47"/>
                    <a:pt x="289" y="47"/>
                    <a:pt x="288" y="47"/>
                  </a:cubicBezTo>
                  <a:cubicBezTo>
                    <a:pt x="287" y="46"/>
                    <a:pt x="286" y="47"/>
                    <a:pt x="284" y="46"/>
                  </a:cubicBezTo>
                  <a:cubicBezTo>
                    <a:pt x="283" y="45"/>
                    <a:pt x="282" y="44"/>
                    <a:pt x="281" y="44"/>
                  </a:cubicBezTo>
                  <a:cubicBezTo>
                    <a:pt x="279" y="43"/>
                    <a:pt x="277" y="43"/>
                    <a:pt x="276" y="42"/>
                  </a:cubicBezTo>
                  <a:cubicBezTo>
                    <a:pt x="276" y="42"/>
                    <a:pt x="276" y="41"/>
                    <a:pt x="276" y="41"/>
                  </a:cubicBezTo>
                  <a:cubicBezTo>
                    <a:pt x="276" y="40"/>
                    <a:pt x="276" y="40"/>
                    <a:pt x="275" y="40"/>
                  </a:cubicBezTo>
                  <a:cubicBezTo>
                    <a:pt x="274" y="39"/>
                    <a:pt x="273" y="39"/>
                    <a:pt x="272" y="39"/>
                  </a:cubicBezTo>
                  <a:cubicBezTo>
                    <a:pt x="270" y="38"/>
                    <a:pt x="268" y="38"/>
                    <a:pt x="267" y="38"/>
                  </a:cubicBezTo>
                  <a:cubicBezTo>
                    <a:pt x="265" y="37"/>
                    <a:pt x="264" y="37"/>
                    <a:pt x="262" y="37"/>
                  </a:cubicBezTo>
                  <a:cubicBezTo>
                    <a:pt x="262" y="37"/>
                    <a:pt x="260" y="37"/>
                    <a:pt x="260" y="37"/>
                  </a:cubicBezTo>
                  <a:cubicBezTo>
                    <a:pt x="259" y="37"/>
                    <a:pt x="261" y="36"/>
                    <a:pt x="260" y="36"/>
                  </a:cubicBezTo>
                  <a:cubicBezTo>
                    <a:pt x="259" y="35"/>
                    <a:pt x="258" y="34"/>
                    <a:pt x="256" y="34"/>
                  </a:cubicBezTo>
                  <a:cubicBezTo>
                    <a:pt x="254" y="33"/>
                    <a:pt x="251" y="33"/>
                    <a:pt x="248" y="32"/>
                  </a:cubicBezTo>
                  <a:cubicBezTo>
                    <a:pt x="247" y="32"/>
                    <a:pt x="247" y="31"/>
                    <a:pt x="246" y="30"/>
                  </a:cubicBezTo>
                  <a:cubicBezTo>
                    <a:pt x="245" y="29"/>
                    <a:pt x="243" y="29"/>
                    <a:pt x="242" y="29"/>
                  </a:cubicBezTo>
                  <a:cubicBezTo>
                    <a:pt x="237" y="28"/>
                    <a:pt x="232" y="28"/>
                    <a:pt x="228" y="28"/>
                  </a:cubicBezTo>
                  <a:cubicBezTo>
                    <a:pt x="227" y="28"/>
                    <a:pt x="224" y="28"/>
                    <a:pt x="224" y="29"/>
                  </a:cubicBezTo>
                  <a:cubicBezTo>
                    <a:pt x="224" y="29"/>
                    <a:pt x="224" y="30"/>
                    <a:pt x="224" y="30"/>
                  </a:cubicBezTo>
                  <a:cubicBezTo>
                    <a:pt x="225" y="31"/>
                    <a:pt x="226" y="31"/>
                    <a:pt x="226" y="32"/>
                  </a:cubicBezTo>
                  <a:cubicBezTo>
                    <a:pt x="227" y="33"/>
                    <a:pt x="227" y="34"/>
                    <a:pt x="228" y="36"/>
                  </a:cubicBezTo>
                  <a:cubicBezTo>
                    <a:pt x="228" y="37"/>
                    <a:pt x="229" y="37"/>
                    <a:pt x="230" y="37"/>
                  </a:cubicBezTo>
                  <a:cubicBezTo>
                    <a:pt x="231" y="38"/>
                    <a:pt x="233" y="39"/>
                    <a:pt x="234" y="40"/>
                  </a:cubicBezTo>
                  <a:cubicBezTo>
                    <a:pt x="236" y="41"/>
                    <a:pt x="238" y="41"/>
                    <a:pt x="240" y="43"/>
                  </a:cubicBezTo>
                  <a:cubicBezTo>
                    <a:pt x="241" y="43"/>
                    <a:pt x="239" y="44"/>
                    <a:pt x="238" y="44"/>
                  </a:cubicBezTo>
                  <a:cubicBezTo>
                    <a:pt x="237" y="44"/>
                    <a:pt x="236" y="44"/>
                    <a:pt x="235" y="44"/>
                  </a:cubicBezTo>
                  <a:cubicBezTo>
                    <a:pt x="233" y="43"/>
                    <a:pt x="232" y="43"/>
                    <a:pt x="230" y="43"/>
                  </a:cubicBezTo>
                  <a:cubicBezTo>
                    <a:pt x="229" y="43"/>
                    <a:pt x="226" y="42"/>
                    <a:pt x="224" y="43"/>
                  </a:cubicBezTo>
                  <a:cubicBezTo>
                    <a:pt x="225" y="44"/>
                    <a:pt x="227" y="44"/>
                    <a:pt x="228" y="45"/>
                  </a:cubicBezTo>
                  <a:cubicBezTo>
                    <a:pt x="229" y="45"/>
                    <a:pt x="229" y="46"/>
                    <a:pt x="230" y="47"/>
                  </a:cubicBezTo>
                  <a:cubicBezTo>
                    <a:pt x="232" y="47"/>
                    <a:pt x="234" y="47"/>
                    <a:pt x="235" y="48"/>
                  </a:cubicBezTo>
                  <a:cubicBezTo>
                    <a:pt x="236" y="48"/>
                    <a:pt x="236" y="48"/>
                    <a:pt x="236" y="49"/>
                  </a:cubicBezTo>
                  <a:cubicBezTo>
                    <a:pt x="237" y="49"/>
                    <a:pt x="236" y="49"/>
                    <a:pt x="237" y="49"/>
                  </a:cubicBezTo>
                  <a:cubicBezTo>
                    <a:pt x="237" y="50"/>
                    <a:pt x="238" y="50"/>
                    <a:pt x="238" y="50"/>
                  </a:cubicBezTo>
                  <a:cubicBezTo>
                    <a:pt x="237" y="51"/>
                    <a:pt x="236" y="51"/>
                    <a:pt x="234" y="50"/>
                  </a:cubicBezTo>
                  <a:cubicBezTo>
                    <a:pt x="233" y="50"/>
                    <a:pt x="233" y="48"/>
                    <a:pt x="232" y="48"/>
                  </a:cubicBezTo>
                  <a:cubicBezTo>
                    <a:pt x="231" y="47"/>
                    <a:pt x="229" y="47"/>
                    <a:pt x="228" y="47"/>
                  </a:cubicBezTo>
                  <a:cubicBezTo>
                    <a:pt x="227" y="46"/>
                    <a:pt x="226" y="46"/>
                    <a:pt x="225" y="45"/>
                  </a:cubicBezTo>
                  <a:cubicBezTo>
                    <a:pt x="224" y="45"/>
                    <a:pt x="223" y="45"/>
                    <a:pt x="222" y="44"/>
                  </a:cubicBezTo>
                  <a:cubicBezTo>
                    <a:pt x="221" y="43"/>
                    <a:pt x="219" y="43"/>
                    <a:pt x="218" y="43"/>
                  </a:cubicBezTo>
                  <a:cubicBezTo>
                    <a:pt x="213" y="43"/>
                    <a:pt x="209" y="40"/>
                    <a:pt x="205" y="41"/>
                  </a:cubicBezTo>
                  <a:cubicBezTo>
                    <a:pt x="205" y="41"/>
                    <a:pt x="205" y="41"/>
                    <a:pt x="204" y="41"/>
                  </a:cubicBezTo>
                  <a:cubicBezTo>
                    <a:pt x="205" y="42"/>
                    <a:pt x="201" y="46"/>
                    <a:pt x="200" y="47"/>
                  </a:cubicBezTo>
                  <a:cubicBezTo>
                    <a:pt x="200" y="48"/>
                    <a:pt x="199" y="49"/>
                    <a:pt x="199" y="49"/>
                  </a:cubicBezTo>
                  <a:cubicBezTo>
                    <a:pt x="199" y="50"/>
                    <a:pt x="199" y="50"/>
                    <a:pt x="199" y="50"/>
                  </a:cubicBezTo>
                  <a:cubicBezTo>
                    <a:pt x="199" y="52"/>
                    <a:pt x="198" y="52"/>
                    <a:pt x="199" y="53"/>
                  </a:cubicBezTo>
                  <a:cubicBezTo>
                    <a:pt x="198" y="53"/>
                    <a:pt x="197" y="53"/>
                    <a:pt x="197" y="52"/>
                  </a:cubicBezTo>
                  <a:cubicBezTo>
                    <a:pt x="196" y="52"/>
                    <a:pt x="196" y="49"/>
                    <a:pt x="196" y="49"/>
                  </a:cubicBezTo>
                  <a:cubicBezTo>
                    <a:pt x="197" y="47"/>
                    <a:pt x="198" y="46"/>
                    <a:pt x="199" y="44"/>
                  </a:cubicBezTo>
                  <a:cubicBezTo>
                    <a:pt x="199" y="44"/>
                    <a:pt x="200" y="43"/>
                    <a:pt x="199" y="43"/>
                  </a:cubicBezTo>
                  <a:cubicBezTo>
                    <a:pt x="199" y="42"/>
                    <a:pt x="199" y="42"/>
                    <a:pt x="198" y="41"/>
                  </a:cubicBezTo>
                  <a:cubicBezTo>
                    <a:pt x="198" y="39"/>
                    <a:pt x="199" y="40"/>
                    <a:pt x="197" y="38"/>
                  </a:cubicBezTo>
                  <a:cubicBezTo>
                    <a:pt x="195" y="36"/>
                    <a:pt x="193" y="34"/>
                    <a:pt x="190" y="33"/>
                  </a:cubicBezTo>
                  <a:cubicBezTo>
                    <a:pt x="189" y="32"/>
                    <a:pt x="187" y="32"/>
                    <a:pt x="185" y="33"/>
                  </a:cubicBezTo>
                  <a:cubicBezTo>
                    <a:pt x="183" y="33"/>
                    <a:pt x="181" y="33"/>
                    <a:pt x="179" y="34"/>
                  </a:cubicBezTo>
                  <a:cubicBezTo>
                    <a:pt x="180" y="34"/>
                    <a:pt x="180" y="34"/>
                    <a:pt x="181" y="34"/>
                  </a:cubicBezTo>
                  <a:cubicBezTo>
                    <a:pt x="179" y="35"/>
                    <a:pt x="176" y="34"/>
                    <a:pt x="174" y="34"/>
                  </a:cubicBezTo>
                  <a:cubicBezTo>
                    <a:pt x="173" y="35"/>
                    <a:pt x="171" y="35"/>
                    <a:pt x="170" y="35"/>
                  </a:cubicBezTo>
                  <a:cubicBezTo>
                    <a:pt x="166" y="35"/>
                    <a:pt x="163" y="36"/>
                    <a:pt x="160" y="37"/>
                  </a:cubicBezTo>
                  <a:cubicBezTo>
                    <a:pt x="153" y="38"/>
                    <a:pt x="146" y="39"/>
                    <a:pt x="138" y="41"/>
                  </a:cubicBezTo>
                  <a:cubicBezTo>
                    <a:pt x="149" y="46"/>
                    <a:pt x="159" y="52"/>
                    <a:pt x="169" y="57"/>
                  </a:cubicBezTo>
                  <a:cubicBezTo>
                    <a:pt x="168" y="58"/>
                    <a:pt x="168" y="57"/>
                    <a:pt x="166" y="56"/>
                  </a:cubicBezTo>
                  <a:cubicBezTo>
                    <a:pt x="165" y="56"/>
                    <a:pt x="163" y="56"/>
                    <a:pt x="162" y="55"/>
                  </a:cubicBezTo>
                  <a:cubicBezTo>
                    <a:pt x="161" y="55"/>
                    <a:pt x="162" y="54"/>
                    <a:pt x="162" y="54"/>
                  </a:cubicBezTo>
                  <a:cubicBezTo>
                    <a:pt x="161" y="54"/>
                    <a:pt x="161" y="53"/>
                    <a:pt x="160" y="53"/>
                  </a:cubicBezTo>
                  <a:cubicBezTo>
                    <a:pt x="160" y="53"/>
                    <a:pt x="159" y="53"/>
                    <a:pt x="159" y="53"/>
                  </a:cubicBezTo>
                  <a:cubicBezTo>
                    <a:pt x="158" y="52"/>
                    <a:pt x="158" y="52"/>
                    <a:pt x="158" y="52"/>
                  </a:cubicBezTo>
                  <a:cubicBezTo>
                    <a:pt x="157" y="51"/>
                    <a:pt x="155" y="51"/>
                    <a:pt x="154" y="51"/>
                  </a:cubicBezTo>
                  <a:cubicBezTo>
                    <a:pt x="153" y="51"/>
                    <a:pt x="151" y="50"/>
                    <a:pt x="150" y="50"/>
                  </a:cubicBezTo>
                  <a:cubicBezTo>
                    <a:pt x="149" y="50"/>
                    <a:pt x="147" y="49"/>
                    <a:pt x="146" y="49"/>
                  </a:cubicBezTo>
                  <a:cubicBezTo>
                    <a:pt x="145" y="48"/>
                    <a:pt x="147" y="47"/>
                    <a:pt x="146" y="47"/>
                  </a:cubicBezTo>
                  <a:cubicBezTo>
                    <a:pt x="145" y="46"/>
                    <a:pt x="146" y="45"/>
                    <a:pt x="144" y="44"/>
                  </a:cubicBezTo>
                  <a:cubicBezTo>
                    <a:pt x="143" y="44"/>
                    <a:pt x="141" y="44"/>
                    <a:pt x="139" y="44"/>
                  </a:cubicBezTo>
                  <a:cubicBezTo>
                    <a:pt x="136" y="44"/>
                    <a:pt x="133" y="45"/>
                    <a:pt x="131" y="45"/>
                  </a:cubicBezTo>
                  <a:cubicBezTo>
                    <a:pt x="127" y="46"/>
                    <a:pt x="123" y="46"/>
                    <a:pt x="119" y="47"/>
                  </a:cubicBezTo>
                  <a:cubicBezTo>
                    <a:pt x="117" y="47"/>
                    <a:pt x="120" y="50"/>
                    <a:pt x="121" y="51"/>
                  </a:cubicBezTo>
                  <a:cubicBezTo>
                    <a:pt x="123" y="52"/>
                    <a:pt x="123" y="52"/>
                    <a:pt x="122" y="54"/>
                  </a:cubicBezTo>
                  <a:cubicBezTo>
                    <a:pt x="121" y="55"/>
                    <a:pt x="120" y="56"/>
                    <a:pt x="120" y="57"/>
                  </a:cubicBezTo>
                  <a:cubicBezTo>
                    <a:pt x="120" y="57"/>
                    <a:pt x="121" y="58"/>
                    <a:pt x="121" y="58"/>
                  </a:cubicBezTo>
                  <a:cubicBezTo>
                    <a:pt x="122" y="59"/>
                    <a:pt x="123" y="62"/>
                    <a:pt x="121" y="63"/>
                  </a:cubicBezTo>
                  <a:cubicBezTo>
                    <a:pt x="121" y="63"/>
                    <a:pt x="120" y="63"/>
                    <a:pt x="120" y="63"/>
                  </a:cubicBezTo>
                  <a:cubicBezTo>
                    <a:pt x="119" y="63"/>
                    <a:pt x="119" y="63"/>
                    <a:pt x="118" y="63"/>
                  </a:cubicBezTo>
                  <a:cubicBezTo>
                    <a:pt x="117" y="64"/>
                    <a:pt x="117" y="64"/>
                    <a:pt x="116" y="63"/>
                  </a:cubicBezTo>
                  <a:cubicBezTo>
                    <a:pt x="114" y="62"/>
                    <a:pt x="112" y="61"/>
                    <a:pt x="111" y="61"/>
                  </a:cubicBezTo>
                  <a:cubicBezTo>
                    <a:pt x="109" y="60"/>
                    <a:pt x="107" y="60"/>
                    <a:pt x="106" y="61"/>
                  </a:cubicBezTo>
                  <a:cubicBezTo>
                    <a:pt x="105" y="61"/>
                    <a:pt x="99" y="61"/>
                    <a:pt x="99" y="62"/>
                  </a:cubicBezTo>
                  <a:cubicBezTo>
                    <a:pt x="98" y="63"/>
                    <a:pt x="99" y="64"/>
                    <a:pt x="100" y="65"/>
                  </a:cubicBezTo>
                  <a:cubicBezTo>
                    <a:pt x="100" y="66"/>
                    <a:pt x="101" y="67"/>
                    <a:pt x="102" y="67"/>
                  </a:cubicBezTo>
                  <a:cubicBezTo>
                    <a:pt x="103" y="68"/>
                    <a:pt x="104" y="70"/>
                    <a:pt x="104" y="71"/>
                  </a:cubicBezTo>
                  <a:cubicBezTo>
                    <a:pt x="103" y="70"/>
                    <a:pt x="102" y="69"/>
                    <a:pt x="101" y="68"/>
                  </a:cubicBezTo>
                  <a:cubicBezTo>
                    <a:pt x="100" y="67"/>
                    <a:pt x="98" y="65"/>
                    <a:pt x="98" y="64"/>
                  </a:cubicBezTo>
                  <a:cubicBezTo>
                    <a:pt x="86" y="69"/>
                    <a:pt x="73" y="74"/>
                    <a:pt x="60" y="79"/>
                  </a:cubicBezTo>
                  <a:cubicBezTo>
                    <a:pt x="59" y="80"/>
                    <a:pt x="57" y="80"/>
                    <a:pt x="57" y="81"/>
                  </a:cubicBezTo>
                  <a:cubicBezTo>
                    <a:pt x="57" y="81"/>
                    <a:pt x="56" y="83"/>
                    <a:pt x="56" y="83"/>
                  </a:cubicBezTo>
                  <a:cubicBezTo>
                    <a:pt x="56" y="83"/>
                    <a:pt x="56" y="84"/>
                    <a:pt x="57" y="84"/>
                  </a:cubicBezTo>
                  <a:cubicBezTo>
                    <a:pt x="57" y="84"/>
                    <a:pt x="56" y="84"/>
                    <a:pt x="57" y="85"/>
                  </a:cubicBezTo>
                  <a:cubicBezTo>
                    <a:pt x="57" y="85"/>
                    <a:pt x="58" y="85"/>
                    <a:pt x="59" y="85"/>
                  </a:cubicBezTo>
                  <a:cubicBezTo>
                    <a:pt x="60" y="86"/>
                    <a:pt x="60" y="86"/>
                    <a:pt x="61" y="87"/>
                  </a:cubicBezTo>
                  <a:cubicBezTo>
                    <a:pt x="61" y="87"/>
                    <a:pt x="60" y="87"/>
                    <a:pt x="61" y="88"/>
                  </a:cubicBezTo>
                  <a:cubicBezTo>
                    <a:pt x="61" y="88"/>
                    <a:pt x="61" y="88"/>
                    <a:pt x="62" y="88"/>
                  </a:cubicBezTo>
                  <a:cubicBezTo>
                    <a:pt x="62" y="88"/>
                    <a:pt x="64" y="88"/>
                    <a:pt x="64" y="88"/>
                  </a:cubicBezTo>
                  <a:cubicBezTo>
                    <a:pt x="66" y="87"/>
                    <a:pt x="67" y="86"/>
                    <a:pt x="68" y="87"/>
                  </a:cubicBezTo>
                  <a:cubicBezTo>
                    <a:pt x="69" y="87"/>
                    <a:pt x="70" y="87"/>
                    <a:pt x="70" y="87"/>
                  </a:cubicBezTo>
                  <a:cubicBezTo>
                    <a:pt x="70" y="88"/>
                    <a:pt x="70" y="88"/>
                    <a:pt x="71" y="89"/>
                  </a:cubicBezTo>
                  <a:cubicBezTo>
                    <a:pt x="72" y="89"/>
                    <a:pt x="74" y="89"/>
                    <a:pt x="75" y="88"/>
                  </a:cubicBezTo>
                  <a:cubicBezTo>
                    <a:pt x="76" y="88"/>
                    <a:pt x="77" y="88"/>
                    <a:pt x="78" y="87"/>
                  </a:cubicBezTo>
                  <a:cubicBezTo>
                    <a:pt x="79" y="87"/>
                    <a:pt x="79" y="87"/>
                    <a:pt x="80" y="87"/>
                  </a:cubicBezTo>
                  <a:cubicBezTo>
                    <a:pt x="84" y="88"/>
                    <a:pt x="86" y="87"/>
                    <a:pt x="89" y="84"/>
                  </a:cubicBezTo>
                  <a:cubicBezTo>
                    <a:pt x="89" y="84"/>
                    <a:pt x="90" y="83"/>
                    <a:pt x="90" y="83"/>
                  </a:cubicBezTo>
                  <a:cubicBezTo>
                    <a:pt x="91" y="84"/>
                    <a:pt x="90" y="84"/>
                    <a:pt x="90" y="85"/>
                  </a:cubicBezTo>
                  <a:cubicBezTo>
                    <a:pt x="91" y="86"/>
                    <a:pt x="93" y="85"/>
                    <a:pt x="94" y="86"/>
                  </a:cubicBezTo>
                  <a:cubicBezTo>
                    <a:pt x="93" y="86"/>
                    <a:pt x="92" y="86"/>
                    <a:pt x="91" y="86"/>
                  </a:cubicBezTo>
                  <a:cubicBezTo>
                    <a:pt x="90" y="86"/>
                    <a:pt x="89" y="87"/>
                    <a:pt x="88" y="87"/>
                  </a:cubicBezTo>
                  <a:cubicBezTo>
                    <a:pt x="86" y="88"/>
                    <a:pt x="83" y="88"/>
                    <a:pt x="81" y="89"/>
                  </a:cubicBezTo>
                  <a:cubicBezTo>
                    <a:pt x="83" y="89"/>
                    <a:pt x="82" y="90"/>
                    <a:pt x="82" y="91"/>
                  </a:cubicBezTo>
                  <a:cubicBezTo>
                    <a:pt x="80" y="93"/>
                    <a:pt x="82" y="93"/>
                    <a:pt x="82" y="95"/>
                  </a:cubicBezTo>
                  <a:cubicBezTo>
                    <a:pt x="82" y="95"/>
                    <a:pt x="83" y="95"/>
                    <a:pt x="83" y="96"/>
                  </a:cubicBezTo>
                  <a:cubicBezTo>
                    <a:pt x="83" y="96"/>
                    <a:pt x="82" y="97"/>
                    <a:pt x="82" y="97"/>
                  </a:cubicBezTo>
                  <a:cubicBezTo>
                    <a:pt x="81" y="100"/>
                    <a:pt x="79" y="102"/>
                    <a:pt x="77" y="105"/>
                  </a:cubicBezTo>
                  <a:cubicBezTo>
                    <a:pt x="76" y="106"/>
                    <a:pt x="75" y="108"/>
                    <a:pt x="72" y="109"/>
                  </a:cubicBezTo>
                  <a:cubicBezTo>
                    <a:pt x="71" y="110"/>
                    <a:pt x="70" y="109"/>
                    <a:pt x="69" y="110"/>
                  </a:cubicBezTo>
                  <a:cubicBezTo>
                    <a:pt x="68" y="110"/>
                    <a:pt x="69" y="109"/>
                    <a:pt x="68" y="109"/>
                  </a:cubicBezTo>
                  <a:cubicBezTo>
                    <a:pt x="68" y="109"/>
                    <a:pt x="67" y="109"/>
                    <a:pt x="67" y="109"/>
                  </a:cubicBezTo>
                  <a:cubicBezTo>
                    <a:pt x="66" y="109"/>
                    <a:pt x="66" y="109"/>
                    <a:pt x="65" y="109"/>
                  </a:cubicBezTo>
                  <a:cubicBezTo>
                    <a:pt x="65" y="109"/>
                    <a:pt x="64" y="109"/>
                    <a:pt x="64" y="109"/>
                  </a:cubicBezTo>
                  <a:cubicBezTo>
                    <a:pt x="64" y="109"/>
                    <a:pt x="64" y="109"/>
                    <a:pt x="64" y="109"/>
                  </a:cubicBezTo>
                  <a:cubicBezTo>
                    <a:pt x="64" y="109"/>
                    <a:pt x="63" y="110"/>
                    <a:pt x="63" y="110"/>
                  </a:cubicBezTo>
                  <a:cubicBezTo>
                    <a:pt x="62" y="110"/>
                    <a:pt x="63" y="109"/>
                    <a:pt x="62" y="109"/>
                  </a:cubicBezTo>
                  <a:cubicBezTo>
                    <a:pt x="62" y="109"/>
                    <a:pt x="61" y="110"/>
                    <a:pt x="60" y="109"/>
                  </a:cubicBezTo>
                  <a:cubicBezTo>
                    <a:pt x="59" y="110"/>
                    <a:pt x="58" y="109"/>
                    <a:pt x="56" y="109"/>
                  </a:cubicBezTo>
                  <a:cubicBezTo>
                    <a:pt x="54" y="109"/>
                    <a:pt x="52" y="110"/>
                    <a:pt x="50" y="110"/>
                  </a:cubicBezTo>
                  <a:cubicBezTo>
                    <a:pt x="50" y="110"/>
                    <a:pt x="50" y="110"/>
                    <a:pt x="50" y="110"/>
                  </a:cubicBezTo>
                  <a:cubicBezTo>
                    <a:pt x="50" y="110"/>
                    <a:pt x="50" y="110"/>
                    <a:pt x="50" y="110"/>
                  </a:cubicBezTo>
                  <a:cubicBezTo>
                    <a:pt x="47" y="111"/>
                    <a:pt x="43" y="112"/>
                    <a:pt x="40" y="113"/>
                  </a:cubicBezTo>
                  <a:cubicBezTo>
                    <a:pt x="38" y="114"/>
                    <a:pt x="41" y="114"/>
                    <a:pt x="42" y="114"/>
                  </a:cubicBezTo>
                  <a:cubicBezTo>
                    <a:pt x="42" y="115"/>
                    <a:pt x="43" y="115"/>
                    <a:pt x="43" y="116"/>
                  </a:cubicBezTo>
                  <a:cubicBezTo>
                    <a:pt x="43" y="116"/>
                    <a:pt x="41" y="116"/>
                    <a:pt x="40" y="116"/>
                  </a:cubicBezTo>
                  <a:cubicBezTo>
                    <a:pt x="36" y="117"/>
                    <a:pt x="32" y="119"/>
                    <a:pt x="28" y="120"/>
                  </a:cubicBezTo>
                  <a:cubicBezTo>
                    <a:pt x="27" y="120"/>
                    <a:pt x="25" y="120"/>
                    <a:pt x="24" y="121"/>
                  </a:cubicBezTo>
                  <a:cubicBezTo>
                    <a:pt x="23" y="121"/>
                    <a:pt x="23" y="121"/>
                    <a:pt x="22" y="121"/>
                  </a:cubicBezTo>
                  <a:cubicBezTo>
                    <a:pt x="20" y="121"/>
                    <a:pt x="18" y="121"/>
                    <a:pt x="16" y="121"/>
                  </a:cubicBezTo>
                  <a:cubicBezTo>
                    <a:pt x="13" y="122"/>
                    <a:pt x="9" y="122"/>
                    <a:pt x="5" y="123"/>
                  </a:cubicBezTo>
                  <a:cubicBezTo>
                    <a:pt x="3" y="123"/>
                    <a:pt x="5" y="124"/>
                    <a:pt x="4" y="124"/>
                  </a:cubicBezTo>
                  <a:cubicBezTo>
                    <a:pt x="4" y="124"/>
                    <a:pt x="4" y="125"/>
                    <a:pt x="4" y="125"/>
                  </a:cubicBezTo>
                  <a:cubicBezTo>
                    <a:pt x="5" y="125"/>
                    <a:pt x="3" y="126"/>
                    <a:pt x="3" y="126"/>
                  </a:cubicBezTo>
                  <a:cubicBezTo>
                    <a:pt x="2" y="127"/>
                    <a:pt x="2" y="127"/>
                    <a:pt x="2" y="127"/>
                  </a:cubicBezTo>
                  <a:cubicBezTo>
                    <a:pt x="1" y="129"/>
                    <a:pt x="1" y="130"/>
                    <a:pt x="0" y="131"/>
                  </a:cubicBezTo>
                  <a:cubicBezTo>
                    <a:pt x="4" y="132"/>
                    <a:pt x="8" y="134"/>
                    <a:pt x="13" y="135"/>
                  </a:cubicBezTo>
                  <a:cubicBezTo>
                    <a:pt x="14" y="136"/>
                    <a:pt x="16" y="136"/>
                    <a:pt x="18" y="137"/>
                  </a:cubicBezTo>
                  <a:cubicBezTo>
                    <a:pt x="19" y="137"/>
                    <a:pt x="17" y="139"/>
                    <a:pt x="18" y="139"/>
                  </a:cubicBezTo>
                  <a:cubicBezTo>
                    <a:pt x="18" y="140"/>
                    <a:pt x="22" y="139"/>
                    <a:pt x="23" y="139"/>
                  </a:cubicBezTo>
                  <a:cubicBezTo>
                    <a:pt x="26" y="139"/>
                    <a:pt x="28" y="138"/>
                    <a:pt x="31" y="138"/>
                  </a:cubicBezTo>
                  <a:cubicBezTo>
                    <a:pt x="30" y="139"/>
                    <a:pt x="29" y="138"/>
                    <a:pt x="28" y="139"/>
                  </a:cubicBezTo>
                  <a:cubicBezTo>
                    <a:pt x="27" y="139"/>
                    <a:pt x="25" y="140"/>
                    <a:pt x="24" y="141"/>
                  </a:cubicBezTo>
                  <a:cubicBezTo>
                    <a:pt x="26" y="141"/>
                    <a:pt x="28" y="142"/>
                    <a:pt x="30" y="142"/>
                  </a:cubicBezTo>
                  <a:cubicBezTo>
                    <a:pt x="32" y="141"/>
                    <a:pt x="34" y="140"/>
                    <a:pt x="36" y="140"/>
                  </a:cubicBezTo>
                  <a:cubicBezTo>
                    <a:pt x="36" y="140"/>
                    <a:pt x="36" y="141"/>
                    <a:pt x="36" y="141"/>
                  </a:cubicBezTo>
                  <a:cubicBezTo>
                    <a:pt x="35" y="141"/>
                    <a:pt x="35" y="142"/>
                    <a:pt x="34" y="142"/>
                  </a:cubicBezTo>
                  <a:cubicBezTo>
                    <a:pt x="34" y="142"/>
                    <a:pt x="35" y="143"/>
                    <a:pt x="36" y="144"/>
                  </a:cubicBezTo>
                  <a:cubicBezTo>
                    <a:pt x="36" y="143"/>
                    <a:pt x="37" y="143"/>
                    <a:pt x="38" y="143"/>
                  </a:cubicBezTo>
                  <a:cubicBezTo>
                    <a:pt x="39" y="143"/>
                    <a:pt x="41" y="144"/>
                    <a:pt x="41" y="146"/>
                  </a:cubicBezTo>
                  <a:cubicBezTo>
                    <a:pt x="41" y="146"/>
                    <a:pt x="40" y="146"/>
                    <a:pt x="40" y="146"/>
                  </a:cubicBezTo>
                  <a:cubicBezTo>
                    <a:pt x="41" y="146"/>
                    <a:pt x="41" y="146"/>
                    <a:pt x="42" y="146"/>
                  </a:cubicBezTo>
                  <a:cubicBezTo>
                    <a:pt x="42" y="146"/>
                    <a:pt x="44" y="146"/>
                    <a:pt x="44" y="145"/>
                  </a:cubicBezTo>
                  <a:cubicBezTo>
                    <a:pt x="46" y="144"/>
                    <a:pt x="45" y="144"/>
                    <a:pt x="45" y="142"/>
                  </a:cubicBezTo>
                  <a:cubicBezTo>
                    <a:pt x="46" y="144"/>
                    <a:pt x="47" y="145"/>
                    <a:pt x="49" y="145"/>
                  </a:cubicBezTo>
                  <a:cubicBezTo>
                    <a:pt x="50" y="145"/>
                    <a:pt x="52" y="145"/>
                    <a:pt x="53" y="145"/>
                  </a:cubicBezTo>
                  <a:cubicBezTo>
                    <a:pt x="55" y="145"/>
                    <a:pt x="57" y="145"/>
                    <a:pt x="59" y="144"/>
                  </a:cubicBezTo>
                  <a:cubicBezTo>
                    <a:pt x="61" y="143"/>
                    <a:pt x="64" y="143"/>
                    <a:pt x="67" y="143"/>
                  </a:cubicBezTo>
                  <a:cubicBezTo>
                    <a:pt x="68" y="143"/>
                    <a:pt x="70" y="143"/>
                    <a:pt x="71" y="145"/>
                  </a:cubicBezTo>
                  <a:cubicBezTo>
                    <a:pt x="72" y="148"/>
                    <a:pt x="67" y="147"/>
                    <a:pt x="66" y="147"/>
                  </a:cubicBezTo>
                  <a:cubicBezTo>
                    <a:pt x="67" y="148"/>
                    <a:pt x="68" y="149"/>
                    <a:pt x="69" y="149"/>
                  </a:cubicBezTo>
                  <a:cubicBezTo>
                    <a:pt x="69" y="150"/>
                    <a:pt x="70" y="151"/>
                    <a:pt x="69" y="151"/>
                  </a:cubicBezTo>
                  <a:cubicBezTo>
                    <a:pt x="67" y="151"/>
                    <a:pt x="65" y="148"/>
                    <a:pt x="63" y="148"/>
                  </a:cubicBezTo>
                  <a:cubicBezTo>
                    <a:pt x="61" y="148"/>
                    <a:pt x="58" y="148"/>
                    <a:pt x="56" y="148"/>
                  </a:cubicBezTo>
                  <a:cubicBezTo>
                    <a:pt x="53" y="148"/>
                    <a:pt x="51" y="148"/>
                    <a:pt x="48" y="148"/>
                  </a:cubicBezTo>
                  <a:cubicBezTo>
                    <a:pt x="46" y="148"/>
                    <a:pt x="42" y="149"/>
                    <a:pt x="41" y="151"/>
                  </a:cubicBezTo>
                  <a:cubicBezTo>
                    <a:pt x="43" y="151"/>
                    <a:pt x="45" y="151"/>
                    <a:pt x="47" y="152"/>
                  </a:cubicBezTo>
                  <a:cubicBezTo>
                    <a:pt x="49" y="152"/>
                    <a:pt x="51" y="151"/>
                    <a:pt x="53" y="151"/>
                  </a:cubicBezTo>
                  <a:cubicBezTo>
                    <a:pt x="55" y="152"/>
                    <a:pt x="57" y="152"/>
                    <a:pt x="60" y="152"/>
                  </a:cubicBezTo>
                  <a:cubicBezTo>
                    <a:pt x="61" y="153"/>
                    <a:pt x="62" y="153"/>
                    <a:pt x="64" y="153"/>
                  </a:cubicBezTo>
                  <a:cubicBezTo>
                    <a:pt x="66" y="153"/>
                    <a:pt x="68" y="152"/>
                    <a:pt x="70" y="152"/>
                  </a:cubicBezTo>
                  <a:cubicBezTo>
                    <a:pt x="70" y="153"/>
                    <a:pt x="69" y="153"/>
                    <a:pt x="68" y="153"/>
                  </a:cubicBezTo>
                  <a:cubicBezTo>
                    <a:pt x="67" y="153"/>
                    <a:pt x="68" y="154"/>
                    <a:pt x="68" y="154"/>
                  </a:cubicBezTo>
                  <a:cubicBezTo>
                    <a:pt x="67" y="154"/>
                    <a:pt x="67" y="153"/>
                    <a:pt x="67" y="153"/>
                  </a:cubicBezTo>
                  <a:cubicBezTo>
                    <a:pt x="66" y="153"/>
                    <a:pt x="65" y="153"/>
                    <a:pt x="65" y="153"/>
                  </a:cubicBezTo>
                  <a:cubicBezTo>
                    <a:pt x="63" y="154"/>
                    <a:pt x="60" y="153"/>
                    <a:pt x="58" y="153"/>
                  </a:cubicBezTo>
                  <a:cubicBezTo>
                    <a:pt x="56" y="153"/>
                    <a:pt x="54" y="152"/>
                    <a:pt x="52" y="152"/>
                  </a:cubicBezTo>
                  <a:cubicBezTo>
                    <a:pt x="49" y="152"/>
                    <a:pt x="47" y="153"/>
                    <a:pt x="44" y="152"/>
                  </a:cubicBezTo>
                  <a:cubicBezTo>
                    <a:pt x="40" y="152"/>
                    <a:pt x="36" y="151"/>
                    <a:pt x="32" y="151"/>
                  </a:cubicBezTo>
                  <a:cubicBezTo>
                    <a:pt x="29" y="151"/>
                    <a:pt x="27" y="151"/>
                    <a:pt x="25" y="152"/>
                  </a:cubicBezTo>
                  <a:cubicBezTo>
                    <a:pt x="23" y="152"/>
                    <a:pt x="24" y="153"/>
                    <a:pt x="22" y="153"/>
                  </a:cubicBezTo>
                  <a:cubicBezTo>
                    <a:pt x="21" y="153"/>
                    <a:pt x="20" y="153"/>
                    <a:pt x="19" y="153"/>
                  </a:cubicBezTo>
                  <a:cubicBezTo>
                    <a:pt x="19" y="153"/>
                    <a:pt x="17" y="155"/>
                    <a:pt x="17" y="156"/>
                  </a:cubicBezTo>
                  <a:cubicBezTo>
                    <a:pt x="17" y="157"/>
                    <a:pt x="19" y="157"/>
                    <a:pt x="20" y="158"/>
                  </a:cubicBezTo>
                  <a:cubicBezTo>
                    <a:pt x="19" y="156"/>
                    <a:pt x="23" y="157"/>
                    <a:pt x="24" y="158"/>
                  </a:cubicBezTo>
                  <a:cubicBezTo>
                    <a:pt x="23" y="158"/>
                    <a:pt x="22" y="159"/>
                    <a:pt x="23" y="160"/>
                  </a:cubicBezTo>
                  <a:cubicBezTo>
                    <a:pt x="23" y="161"/>
                    <a:pt x="24" y="160"/>
                    <a:pt x="25" y="160"/>
                  </a:cubicBezTo>
                  <a:cubicBezTo>
                    <a:pt x="26" y="161"/>
                    <a:pt x="27" y="160"/>
                    <a:pt x="28" y="160"/>
                  </a:cubicBezTo>
                  <a:cubicBezTo>
                    <a:pt x="31" y="158"/>
                    <a:pt x="33" y="156"/>
                    <a:pt x="36" y="156"/>
                  </a:cubicBezTo>
                  <a:cubicBezTo>
                    <a:pt x="35" y="157"/>
                    <a:pt x="34" y="157"/>
                    <a:pt x="33" y="157"/>
                  </a:cubicBezTo>
                  <a:cubicBezTo>
                    <a:pt x="32" y="158"/>
                    <a:pt x="31" y="160"/>
                    <a:pt x="31" y="161"/>
                  </a:cubicBezTo>
                  <a:cubicBezTo>
                    <a:pt x="31" y="162"/>
                    <a:pt x="35" y="162"/>
                    <a:pt x="36" y="162"/>
                  </a:cubicBezTo>
                  <a:cubicBezTo>
                    <a:pt x="38" y="163"/>
                    <a:pt x="40" y="163"/>
                    <a:pt x="42" y="163"/>
                  </a:cubicBezTo>
                  <a:cubicBezTo>
                    <a:pt x="45" y="164"/>
                    <a:pt x="48" y="163"/>
                    <a:pt x="51" y="163"/>
                  </a:cubicBezTo>
                  <a:cubicBezTo>
                    <a:pt x="51" y="163"/>
                    <a:pt x="51" y="163"/>
                    <a:pt x="51" y="163"/>
                  </a:cubicBezTo>
                  <a:cubicBezTo>
                    <a:pt x="51" y="164"/>
                    <a:pt x="52" y="165"/>
                    <a:pt x="50" y="165"/>
                  </a:cubicBezTo>
                  <a:cubicBezTo>
                    <a:pt x="49" y="165"/>
                    <a:pt x="47" y="165"/>
                    <a:pt x="46" y="165"/>
                  </a:cubicBezTo>
                  <a:cubicBezTo>
                    <a:pt x="43" y="164"/>
                    <a:pt x="43" y="166"/>
                    <a:pt x="40" y="167"/>
                  </a:cubicBezTo>
                  <a:cubicBezTo>
                    <a:pt x="39" y="168"/>
                    <a:pt x="38" y="168"/>
                    <a:pt x="37" y="168"/>
                  </a:cubicBezTo>
                  <a:cubicBezTo>
                    <a:pt x="37" y="168"/>
                    <a:pt x="36" y="168"/>
                    <a:pt x="36" y="168"/>
                  </a:cubicBezTo>
                  <a:cubicBezTo>
                    <a:pt x="35" y="169"/>
                    <a:pt x="35" y="169"/>
                    <a:pt x="36" y="170"/>
                  </a:cubicBezTo>
                  <a:cubicBezTo>
                    <a:pt x="37" y="171"/>
                    <a:pt x="38" y="171"/>
                    <a:pt x="39" y="171"/>
                  </a:cubicBezTo>
                  <a:cubicBezTo>
                    <a:pt x="40" y="172"/>
                    <a:pt x="42" y="173"/>
                    <a:pt x="44" y="174"/>
                  </a:cubicBezTo>
                  <a:cubicBezTo>
                    <a:pt x="45" y="175"/>
                    <a:pt x="46" y="176"/>
                    <a:pt x="48" y="176"/>
                  </a:cubicBezTo>
                  <a:cubicBezTo>
                    <a:pt x="49" y="176"/>
                    <a:pt x="50" y="176"/>
                    <a:pt x="51" y="176"/>
                  </a:cubicBezTo>
                  <a:cubicBezTo>
                    <a:pt x="57" y="177"/>
                    <a:pt x="62" y="178"/>
                    <a:pt x="67" y="179"/>
                  </a:cubicBezTo>
                  <a:cubicBezTo>
                    <a:pt x="67" y="177"/>
                    <a:pt x="62" y="177"/>
                    <a:pt x="61" y="176"/>
                  </a:cubicBezTo>
                  <a:cubicBezTo>
                    <a:pt x="61" y="176"/>
                    <a:pt x="61" y="175"/>
                    <a:pt x="61" y="175"/>
                  </a:cubicBezTo>
                  <a:cubicBezTo>
                    <a:pt x="61" y="175"/>
                    <a:pt x="61" y="174"/>
                    <a:pt x="61" y="174"/>
                  </a:cubicBezTo>
                  <a:cubicBezTo>
                    <a:pt x="60" y="173"/>
                    <a:pt x="60" y="172"/>
                    <a:pt x="62" y="172"/>
                  </a:cubicBezTo>
                  <a:cubicBezTo>
                    <a:pt x="63" y="172"/>
                    <a:pt x="64" y="173"/>
                    <a:pt x="65" y="173"/>
                  </a:cubicBezTo>
                  <a:cubicBezTo>
                    <a:pt x="65" y="173"/>
                    <a:pt x="64" y="173"/>
                    <a:pt x="64" y="173"/>
                  </a:cubicBezTo>
                  <a:cubicBezTo>
                    <a:pt x="65" y="174"/>
                    <a:pt x="67" y="176"/>
                    <a:pt x="68" y="175"/>
                  </a:cubicBezTo>
                  <a:cubicBezTo>
                    <a:pt x="68" y="175"/>
                    <a:pt x="68" y="174"/>
                    <a:pt x="68" y="174"/>
                  </a:cubicBezTo>
                  <a:cubicBezTo>
                    <a:pt x="69" y="173"/>
                    <a:pt x="69" y="172"/>
                    <a:pt x="70" y="172"/>
                  </a:cubicBezTo>
                  <a:cubicBezTo>
                    <a:pt x="71" y="171"/>
                    <a:pt x="75" y="171"/>
                    <a:pt x="76" y="172"/>
                  </a:cubicBezTo>
                  <a:cubicBezTo>
                    <a:pt x="76" y="173"/>
                    <a:pt x="75" y="173"/>
                    <a:pt x="74" y="173"/>
                  </a:cubicBezTo>
                  <a:cubicBezTo>
                    <a:pt x="74" y="173"/>
                    <a:pt x="75" y="173"/>
                    <a:pt x="75" y="173"/>
                  </a:cubicBezTo>
                  <a:cubicBezTo>
                    <a:pt x="72" y="174"/>
                    <a:pt x="76" y="176"/>
                    <a:pt x="77" y="176"/>
                  </a:cubicBezTo>
                  <a:cubicBezTo>
                    <a:pt x="79" y="177"/>
                    <a:pt x="79" y="176"/>
                    <a:pt x="80" y="176"/>
                  </a:cubicBezTo>
                  <a:cubicBezTo>
                    <a:pt x="82" y="176"/>
                    <a:pt x="84" y="176"/>
                    <a:pt x="85" y="175"/>
                  </a:cubicBezTo>
                  <a:cubicBezTo>
                    <a:pt x="86" y="175"/>
                    <a:pt x="86" y="174"/>
                    <a:pt x="86" y="174"/>
                  </a:cubicBezTo>
                  <a:cubicBezTo>
                    <a:pt x="85" y="175"/>
                    <a:pt x="86" y="174"/>
                    <a:pt x="86" y="174"/>
                  </a:cubicBezTo>
                  <a:cubicBezTo>
                    <a:pt x="86" y="174"/>
                    <a:pt x="86" y="173"/>
                    <a:pt x="86" y="173"/>
                  </a:cubicBezTo>
                  <a:cubicBezTo>
                    <a:pt x="86" y="173"/>
                    <a:pt x="87" y="173"/>
                    <a:pt x="87" y="173"/>
                  </a:cubicBezTo>
                  <a:cubicBezTo>
                    <a:pt x="88" y="172"/>
                    <a:pt x="89" y="172"/>
                    <a:pt x="89" y="171"/>
                  </a:cubicBezTo>
                  <a:cubicBezTo>
                    <a:pt x="89" y="171"/>
                    <a:pt x="90" y="171"/>
                    <a:pt x="90" y="172"/>
                  </a:cubicBezTo>
                  <a:cubicBezTo>
                    <a:pt x="90" y="172"/>
                    <a:pt x="91" y="174"/>
                    <a:pt x="92" y="174"/>
                  </a:cubicBezTo>
                  <a:cubicBezTo>
                    <a:pt x="93" y="175"/>
                    <a:pt x="93" y="174"/>
                    <a:pt x="94" y="174"/>
                  </a:cubicBezTo>
                  <a:cubicBezTo>
                    <a:pt x="95" y="174"/>
                    <a:pt x="95" y="173"/>
                    <a:pt x="96" y="173"/>
                  </a:cubicBezTo>
                  <a:cubicBezTo>
                    <a:pt x="103" y="173"/>
                    <a:pt x="110" y="174"/>
                    <a:pt x="118" y="174"/>
                  </a:cubicBezTo>
                  <a:cubicBezTo>
                    <a:pt x="120" y="174"/>
                    <a:pt x="122" y="174"/>
                    <a:pt x="124" y="174"/>
                  </a:cubicBezTo>
                  <a:cubicBezTo>
                    <a:pt x="124" y="174"/>
                    <a:pt x="124" y="175"/>
                    <a:pt x="125" y="175"/>
                  </a:cubicBezTo>
                  <a:cubicBezTo>
                    <a:pt x="126" y="176"/>
                    <a:pt x="128" y="176"/>
                    <a:pt x="129" y="176"/>
                  </a:cubicBezTo>
                  <a:cubicBezTo>
                    <a:pt x="135" y="177"/>
                    <a:pt x="140" y="180"/>
                    <a:pt x="146" y="182"/>
                  </a:cubicBezTo>
                  <a:cubicBezTo>
                    <a:pt x="146" y="182"/>
                    <a:pt x="151" y="184"/>
                    <a:pt x="148" y="184"/>
                  </a:cubicBezTo>
                  <a:cubicBezTo>
                    <a:pt x="149" y="184"/>
                    <a:pt x="150" y="184"/>
                    <a:pt x="150" y="185"/>
                  </a:cubicBezTo>
                  <a:cubicBezTo>
                    <a:pt x="150" y="185"/>
                    <a:pt x="149" y="185"/>
                    <a:pt x="149" y="186"/>
                  </a:cubicBezTo>
                  <a:cubicBezTo>
                    <a:pt x="150" y="187"/>
                    <a:pt x="152" y="186"/>
                    <a:pt x="152" y="188"/>
                  </a:cubicBezTo>
                  <a:cubicBezTo>
                    <a:pt x="152" y="189"/>
                    <a:pt x="151" y="189"/>
                    <a:pt x="150" y="189"/>
                  </a:cubicBezTo>
                  <a:cubicBezTo>
                    <a:pt x="149" y="189"/>
                    <a:pt x="147" y="190"/>
                    <a:pt x="147" y="191"/>
                  </a:cubicBezTo>
                  <a:cubicBezTo>
                    <a:pt x="148" y="191"/>
                    <a:pt x="150" y="190"/>
                    <a:pt x="151" y="190"/>
                  </a:cubicBezTo>
                  <a:cubicBezTo>
                    <a:pt x="151" y="190"/>
                    <a:pt x="150" y="190"/>
                    <a:pt x="150" y="191"/>
                  </a:cubicBezTo>
                  <a:cubicBezTo>
                    <a:pt x="150" y="191"/>
                    <a:pt x="150" y="191"/>
                    <a:pt x="150" y="191"/>
                  </a:cubicBezTo>
                  <a:cubicBezTo>
                    <a:pt x="150" y="191"/>
                    <a:pt x="150" y="192"/>
                    <a:pt x="150" y="191"/>
                  </a:cubicBezTo>
                  <a:cubicBezTo>
                    <a:pt x="150" y="192"/>
                    <a:pt x="149" y="191"/>
                    <a:pt x="150" y="192"/>
                  </a:cubicBezTo>
                  <a:cubicBezTo>
                    <a:pt x="150" y="193"/>
                    <a:pt x="152" y="193"/>
                    <a:pt x="153" y="194"/>
                  </a:cubicBezTo>
                  <a:cubicBezTo>
                    <a:pt x="156" y="195"/>
                    <a:pt x="157" y="198"/>
                    <a:pt x="159" y="199"/>
                  </a:cubicBezTo>
                  <a:cubicBezTo>
                    <a:pt x="160" y="199"/>
                    <a:pt x="160" y="200"/>
                    <a:pt x="161" y="200"/>
                  </a:cubicBezTo>
                  <a:cubicBezTo>
                    <a:pt x="161" y="200"/>
                    <a:pt x="162" y="200"/>
                    <a:pt x="162" y="200"/>
                  </a:cubicBezTo>
                  <a:cubicBezTo>
                    <a:pt x="164" y="200"/>
                    <a:pt x="164" y="201"/>
                    <a:pt x="165" y="201"/>
                  </a:cubicBezTo>
                  <a:cubicBezTo>
                    <a:pt x="166" y="201"/>
                    <a:pt x="165" y="202"/>
                    <a:pt x="164" y="202"/>
                  </a:cubicBezTo>
                  <a:cubicBezTo>
                    <a:pt x="163" y="203"/>
                    <a:pt x="164" y="202"/>
                    <a:pt x="163" y="202"/>
                  </a:cubicBezTo>
                  <a:cubicBezTo>
                    <a:pt x="162" y="202"/>
                    <a:pt x="161" y="202"/>
                    <a:pt x="162" y="203"/>
                  </a:cubicBezTo>
                  <a:cubicBezTo>
                    <a:pt x="163" y="204"/>
                    <a:pt x="164" y="204"/>
                    <a:pt x="165" y="204"/>
                  </a:cubicBezTo>
                  <a:cubicBezTo>
                    <a:pt x="165" y="204"/>
                    <a:pt x="166" y="205"/>
                    <a:pt x="166" y="205"/>
                  </a:cubicBezTo>
                  <a:cubicBezTo>
                    <a:pt x="167" y="205"/>
                    <a:pt x="168" y="205"/>
                    <a:pt x="168" y="205"/>
                  </a:cubicBezTo>
                  <a:cubicBezTo>
                    <a:pt x="168" y="205"/>
                    <a:pt x="169" y="205"/>
                    <a:pt x="169" y="205"/>
                  </a:cubicBezTo>
                  <a:cubicBezTo>
                    <a:pt x="167" y="206"/>
                    <a:pt x="169" y="207"/>
                    <a:pt x="170" y="207"/>
                  </a:cubicBezTo>
                  <a:cubicBezTo>
                    <a:pt x="171" y="207"/>
                    <a:pt x="171" y="207"/>
                    <a:pt x="172" y="207"/>
                  </a:cubicBezTo>
                  <a:cubicBezTo>
                    <a:pt x="172" y="208"/>
                    <a:pt x="171" y="209"/>
                    <a:pt x="171" y="209"/>
                  </a:cubicBezTo>
                  <a:cubicBezTo>
                    <a:pt x="169" y="209"/>
                    <a:pt x="167" y="209"/>
                    <a:pt x="166" y="209"/>
                  </a:cubicBezTo>
                  <a:cubicBezTo>
                    <a:pt x="167" y="210"/>
                    <a:pt x="168" y="210"/>
                    <a:pt x="170" y="210"/>
                  </a:cubicBezTo>
                  <a:cubicBezTo>
                    <a:pt x="170" y="210"/>
                    <a:pt x="172" y="209"/>
                    <a:pt x="172" y="210"/>
                  </a:cubicBezTo>
                  <a:cubicBezTo>
                    <a:pt x="172" y="211"/>
                    <a:pt x="167" y="211"/>
                    <a:pt x="167" y="211"/>
                  </a:cubicBezTo>
                  <a:cubicBezTo>
                    <a:pt x="168" y="212"/>
                    <a:pt x="169" y="212"/>
                    <a:pt x="171" y="212"/>
                  </a:cubicBezTo>
                  <a:cubicBezTo>
                    <a:pt x="170" y="213"/>
                    <a:pt x="168" y="213"/>
                    <a:pt x="168" y="214"/>
                  </a:cubicBezTo>
                  <a:cubicBezTo>
                    <a:pt x="167" y="214"/>
                    <a:pt x="166" y="214"/>
                    <a:pt x="165" y="214"/>
                  </a:cubicBezTo>
                  <a:cubicBezTo>
                    <a:pt x="164" y="214"/>
                    <a:pt x="164" y="215"/>
                    <a:pt x="163" y="215"/>
                  </a:cubicBezTo>
                  <a:cubicBezTo>
                    <a:pt x="163" y="215"/>
                    <a:pt x="162" y="214"/>
                    <a:pt x="162" y="215"/>
                  </a:cubicBezTo>
                  <a:cubicBezTo>
                    <a:pt x="162" y="215"/>
                    <a:pt x="159" y="216"/>
                    <a:pt x="162" y="216"/>
                  </a:cubicBezTo>
                  <a:cubicBezTo>
                    <a:pt x="164" y="216"/>
                    <a:pt x="167" y="216"/>
                    <a:pt x="168" y="215"/>
                  </a:cubicBezTo>
                  <a:cubicBezTo>
                    <a:pt x="169" y="214"/>
                    <a:pt x="170" y="214"/>
                    <a:pt x="171" y="214"/>
                  </a:cubicBezTo>
                  <a:cubicBezTo>
                    <a:pt x="172" y="213"/>
                    <a:pt x="172" y="212"/>
                    <a:pt x="172" y="213"/>
                  </a:cubicBezTo>
                  <a:cubicBezTo>
                    <a:pt x="173" y="213"/>
                    <a:pt x="171" y="214"/>
                    <a:pt x="171" y="215"/>
                  </a:cubicBezTo>
                  <a:cubicBezTo>
                    <a:pt x="171" y="216"/>
                    <a:pt x="171" y="217"/>
                    <a:pt x="170" y="217"/>
                  </a:cubicBezTo>
                  <a:cubicBezTo>
                    <a:pt x="171" y="217"/>
                    <a:pt x="173" y="217"/>
                    <a:pt x="174" y="218"/>
                  </a:cubicBezTo>
                  <a:cubicBezTo>
                    <a:pt x="174" y="218"/>
                    <a:pt x="172" y="218"/>
                    <a:pt x="173" y="219"/>
                  </a:cubicBezTo>
                  <a:cubicBezTo>
                    <a:pt x="173" y="219"/>
                    <a:pt x="175" y="220"/>
                    <a:pt x="176" y="220"/>
                  </a:cubicBezTo>
                  <a:cubicBezTo>
                    <a:pt x="179" y="221"/>
                    <a:pt x="176" y="221"/>
                    <a:pt x="175" y="221"/>
                  </a:cubicBezTo>
                  <a:cubicBezTo>
                    <a:pt x="175" y="223"/>
                    <a:pt x="177" y="223"/>
                    <a:pt x="177" y="224"/>
                  </a:cubicBezTo>
                  <a:cubicBezTo>
                    <a:pt x="176" y="224"/>
                    <a:pt x="176" y="223"/>
                    <a:pt x="175" y="223"/>
                  </a:cubicBezTo>
                  <a:cubicBezTo>
                    <a:pt x="174" y="223"/>
                    <a:pt x="175" y="224"/>
                    <a:pt x="174" y="224"/>
                  </a:cubicBezTo>
                  <a:cubicBezTo>
                    <a:pt x="174" y="224"/>
                    <a:pt x="175" y="224"/>
                    <a:pt x="175" y="224"/>
                  </a:cubicBezTo>
                  <a:cubicBezTo>
                    <a:pt x="175" y="225"/>
                    <a:pt x="174" y="225"/>
                    <a:pt x="173" y="225"/>
                  </a:cubicBezTo>
                  <a:cubicBezTo>
                    <a:pt x="175" y="226"/>
                    <a:pt x="176" y="226"/>
                    <a:pt x="178" y="227"/>
                  </a:cubicBezTo>
                  <a:cubicBezTo>
                    <a:pt x="179" y="228"/>
                    <a:pt x="179" y="229"/>
                    <a:pt x="180" y="229"/>
                  </a:cubicBezTo>
                  <a:cubicBezTo>
                    <a:pt x="181" y="229"/>
                    <a:pt x="181" y="230"/>
                    <a:pt x="182" y="230"/>
                  </a:cubicBezTo>
                  <a:cubicBezTo>
                    <a:pt x="184" y="230"/>
                    <a:pt x="182" y="230"/>
                    <a:pt x="181" y="230"/>
                  </a:cubicBezTo>
                  <a:cubicBezTo>
                    <a:pt x="181" y="231"/>
                    <a:pt x="181" y="231"/>
                    <a:pt x="180" y="231"/>
                  </a:cubicBezTo>
                  <a:cubicBezTo>
                    <a:pt x="180" y="231"/>
                    <a:pt x="180" y="232"/>
                    <a:pt x="180" y="232"/>
                  </a:cubicBezTo>
                  <a:cubicBezTo>
                    <a:pt x="180" y="232"/>
                    <a:pt x="180" y="233"/>
                    <a:pt x="180" y="233"/>
                  </a:cubicBezTo>
                  <a:cubicBezTo>
                    <a:pt x="180" y="233"/>
                    <a:pt x="184" y="234"/>
                    <a:pt x="181" y="234"/>
                  </a:cubicBezTo>
                  <a:cubicBezTo>
                    <a:pt x="181" y="234"/>
                    <a:pt x="180" y="234"/>
                    <a:pt x="180" y="234"/>
                  </a:cubicBezTo>
                  <a:cubicBezTo>
                    <a:pt x="179" y="235"/>
                    <a:pt x="180" y="235"/>
                    <a:pt x="180" y="235"/>
                  </a:cubicBezTo>
                  <a:cubicBezTo>
                    <a:pt x="179" y="236"/>
                    <a:pt x="178" y="235"/>
                    <a:pt x="177" y="236"/>
                  </a:cubicBezTo>
                  <a:cubicBezTo>
                    <a:pt x="176" y="237"/>
                    <a:pt x="179" y="237"/>
                    <a:pt x="180" y="237"/>
                  </a:cubicBezTo>
                  <a:cubicBezTo>
                    <a:pt x="180" y="237"/>
                    <a:pt x="181" y="237"/>
                    <a:pt x="182" y="237"/>
                  </a:cubicBezTo>
                  <a:cubicBezTo>
                    <a:pt x="183" y="237"/>
                    <a:pt x="184" y="236"/>
                    <a:pt x="184" y="237"/>
                  </a:cubicBezTo>
                  <a:cubicBezTo>
                    <a:pt x="186" y="238"/>
                    <a:pt x="186" y="237"/>
                    <a:pt x="187" y="240"/>
                  </a:cubicBezTo>
                  <a:cubicBezTo>
                    <a:pt x="187" y="242"/>
                    <a:pt x="186" y="242"/>
                    <a:pt x="185" y="242"/>
                  </a:cubicBezTo>
                  <a:cubicBezTo>
                    <a:pt x="186" y="242"/>
                    <a:pt x="186" y="243"/>
                    <a:pt x="187" y="243"/>
                  </a:cubicBezTo>
                  <a:cubicBezTo>
                    <a:pt x="188" y="243"/>
                    <a:pt x="188" y="242"/>
                    <a:pt x="188" y="242"/>
                  </a:cubicBezTo>
                  <a:cubicBezTo>
                    <a:pt x="190" y="242"/>
                    <a:pt x="188" y="243"/>
                    <a:pt x="187" y="243"/>
                  </a:cubicBezTo>
                  <a:cubicBezTo>
                    <a:pt x="186" y="243"/>
                    <a:pt x="187" y="243"/>
                    <a:pt x="187" y="244"/>
                  </a:cubicBezTo>
                  <a:cubicBezTo>
                    <a:pt x="187" y="244"/>
                    <a:pt x="186" y="244"/>
                    <a:pt x="186" y="244"/>
                  </a:cubicBezTo>
                  <a:cubicBezTo>
                    <a:pt x="186" y="244"/>
                    <a:pt x="185" y="244"/>
                    <a:pt x="186" y="245"/>
                  </a:cubicBezTo>
                  <a:cubicBezTo>
                    <a:pt x="186" y="245"/>
                    <a:pt x="187" y="245"/>
                    <a:pt x="188" y="245"/>
                  </a:cubicBezTo>
                  <a:cubicBezTo>
                    <a:pt x="187" y="246"/>
                    <a:pt x="185" y="245"/>
                    <a:pt x="185" y="246"/>
                  </a:cubicBezTo>
                  <a:cubicBezTo>
                    <a:pt x="184" y="247"/>
                    <a:pt x="184" y="248"/>
                    <a:pt x="186" y="247"/>
                  </a:cubicBezTo>
                  <a:cubicBezTo>
                    <a:pt x="187" y="247"/>
                    <a:pt x="187" y="248"/>
                    <a:pt x="189" y="248"/>
                  </a:cubicBezTo>
                  <a:cubicBezTo>
                    <a:pt x="190" y="248"/>
                    <a:pt x="190" y="247"/>
                    <a:pt x="191" y="248"/>
                  </a:cubicBezTo>
                  <a:cubicBezTo>
                    <a:pt x="190" y="248"/>
                    <a:pt x="188" y="248"/>
                    <a:pt x="187" y="248"/>
                  </a:cubicBezTo>
                  <a:cubicBezTo>
                    <a:pt x="186" y="248"/>
                    <a:pt x="185" y="248"/>
                    <a:pt x="185" y="248"/>
                  </a:cubicBezTo>
                  <a:cubicBezTo>
                    <a:pt x="184" y="248"/>
                    <a:pt x="184" y="248"/>
                    <a:pt x="183" y="248"/>
                  </a:cubicBezTo>
                  <a:cubicBezTo>
                    <a:pt x="182" y="248"/>
                    <a:pt x="180" y="247"/>
                    <a:pt x="179" y="247"/>
                  </a:cubicBezTo>
                  <a:cubicBezTo>
                    <a:pt x="179" y="248"/>
                    <a:pt x="177" y="249"/>
                    <a:pt x="178" y="249"/>
                  </a:cubicBezTo>
                  <a:cubicBezTo>
                    <a:pt x="179" y="249"/>
                    <a:pt x="180" y="249"/>
                    <a:pt x="181" y="249"/>
                  </a:cubicBezTo>
                  <a:cubicBezTo>
                    <a:pt x="180" y="249"/>
                    <a:pt x="181" y="248"/>
                    <a:pt x="181" y="248"/>
                  </a:cubicBezTo>
                  <a:cubicBezTo>
                    <a:pt x="182" y="248"/>
                    <a:pt x="182" y="250"/>
                    <a:pt x="183" y="250"/>
                  </a:cubicBezTo>
                  <a:cubicBezTo>
                    <a:pt x="183" y="250"/>
                    <a:pt x="183" y="250"/>
                    <a:pt x="183" y="250"/>
                  </a:cubicBezTo>
                  <a:cubicBezTo>
                    <a:pt x="184" y="250"/>
                    <a:pt x="184" y="249"/>
                    <a:pt x="185" y="249"/>
                  </a:cubicBezTo>
                  <a:cubicBezTo>
                    <a:pt x="186" y="249"/>
                    <a:pt x="186" y="250"/>
                    <a:pt x="187" y="250"/>
                  </a:cubicBezTo>
                  <a:cubicBezTo>
                    <a:pt x="185" y="250"/>
                    <a:pt x="185" y="250"/>
                    <a:pt x="185" y="251"/>
                  </a:cubicBezTo>
                  <a:cubicBezTo>
                    <a:pt x="185" y="253"/>
                    <a:pt x="184" y="253"/>
                    <a:pt x="183" y="253"/>
                  </a:cubicBezTo>
                  <a:cubicBezTo>
                    <a:pt x="182" y="254"/>
                    <a:pt x="181" y="255"/>
                    <a:pt x="180" y="255"/>
                  </a:cubicBezTo>
                  <a:cubicBezTo>
                    <a:pt x="180" y="256"/>
                    <a:pt x="178" y="257"/>
                    <a:pt x="178" y="257"/>
                  </a:cubicBezTo>
                  <a:cubicBezTo>
                    <a:pt x="181" y="259"/>
                    <a:pt x="184" y="259"/>
                    <a:pt x="187" y="257"/>
                  </a:cubicBezTo>
                  <a:cubicBezTo>
                    <a:pt x="187" y="257"/>
                    <a:pt x="188" y="257"/>
                    <a:pt x="188" y="256"/>
                  </a:cubicBezTo>
                  <a:cubicBezTo>
                    <a:pt x="188" y="256"/>
                    <a:pt x="188" y="255"/>
                    <a:pt x="188" y="255"/>
                  </a:cubicBezTo>
                  <a:cubicBezTo>
                    <a:pt x="189" y="254"/>
                    <a:pt x="189" y="254"/>
                    <a:pt x="190" y="253"/>
                  </a:cubicBezTo>
                  <a:cubicBezTo>
                    <a:pt x="190" y="255"/>
                    <a:pt x="188" y="258"/>
                    <a:pt x="186" y="259"/>
                  </a:cubicBezTo>
                  <a:cubicBezTo>
                    <a:pt x="185" y="259"/>
                    <a:pt x="183" y="259"/>
                    <a:pt x="182" y="259"/>
                  </a:cubicBezTo>
                  <a:cubicBezTo>
                    <a:pt x="180" y="259"/>
                    <a:pt x="180" y="260"/>
                    <a:pt x="181" y="261"/>
                  </a:cubicBezTo>
                  <a:cubicBezTo>
                    <a:pt x="180" y="261"/>
                    <a:pt x="180" y="261"/>
                    <a:pt x="179" y="261"/>
                  </a:cubicBezTo>
                  <a:cubicBezTo>
                    <a:pt x="179" y="261"/>
                    <a:pt x="178" y="262"/>
                    <a:pt x="178" y="262"/>
                  </a:cubicBezTo>
                  <a:cubicBezTo>
                    <a:pt x="178" y="262"/>
                    <a:pt x="177" y="262"/>
                    <a:pt x="176" y="262"/>
                  </a:cubicBezTo>
                  <a:cubicBezTo>
                    <a:pt x="176" y="262"/>
                    <a:pt x="175" y="263"/>
                    <a:pt x="175" y="263"/>
                  </a:cubicBezTo>
                  <a:cubicBezTo>
                    <a:pt x="177" y="265"/>
                    <a:pt x="180" y="266"/>
                    <a:pt x="182" y="267"/>
                  </a:cubicBezTo>
                  <a:cubicBezTo>
                    <a:pt x="183" y="268"/>
                    <a:pt x="185" y="269"/>
                    <a:pt x="187" y="269"/>
                  </a:cubicBezTo>
                  <a:cubicBezTo>
                    <a:pt x="189" y="270"/>
                    <a:pt x="191" y="269"/>
                    <a:pt x="193" y="268"/>
                  </a:cubicBezTo>
                  <a:cubicBezTo>
                    <a:pt x="194" y="268"/>
                    <a:pt x="195" y="268"/>
                    <a:pt x="196" y="267"/>
                  </a:cubicBezTo>
                  <a:cubicBezTo>
                    <a:pt x="196" y="265"/>
                    <a:pt x="195" y="265"/>
                    <a:pt x="194" y="264"/>
                  </a:cubicBezTo>
                  <a:cubicBezTo>
                    <a:pt x="193" y="262"/>
                    <a:pt x="195" y="264"/>
                    <a:pt x="196" y="264"/>
                  </a:cubicBezTo>
                  <a:cubicBezTo>
                    <a:pt x="198" y="264"/>
                    <a:pt x="197" y="263"/>
                    <a:pt x="196" y="262"/>
                  </a:cubicBezTo>
                  <a:cubicBezTo>
                    <a:pt x="197" y="262"/>
                    <a:pt x="200" y="262"/>
                    <a:pt x="200" y="260"/>
                  </a:cubicBezTo>
                  <a:cubicBezTo>
                    <a:pt x="200" y="260"/>
                    <a:pt x="199" y="257"/>
                    <a:pt x="199" y="256"/>
                  </a:cubicBezTo>
                  <a:cubicBezTo>
                    <a:pt x="198" y="255"/>
                    <a:pt x="196" y="255"/>
                    <a:pt x="196" y="254"/>
                  </a:cubicBezTo>
                  <a:cubicBezTo>
                    <a:pt x="196" y="253"/>
                    <a:pt x="196" y="253"/>
                    <a:pt x="196" y="253"/>
                  </a:cubicBezTo>
                  <a:cubicBezTo>
                    <a:pt x="196" y="252"/>
                    <a:pt x="195" y="252"/>
                    <a:pt x="195" y="252"/>
                  </a:cubicBezTo>
                  <a:cubicBezTo>
                    <a:pt x="195" y="251"/>
                    <a:pt x="195" y="251"/>
                    <a:pt x="196" y="250"/>
                  </a:cubicBezTo>
                  <a:cubicBezTo>
                    <a:pt x="197" y="250"/>
                    <a:pt x="198" y="250"/>
                    <a:pt x="199" y="250"/>
                  </a:cubicBezTo>
                  <a:cubicBezTo>
                    <a:pt x="198" y="251"/>
                    <a:pt x="196" y="250"/>
                    <a:pt x="196" y="251"/>
                  </a:cubicBezTo>
                  <a:cubicBezTo>
                    <a:pt x="196" y="251"/>
                    <a:pt x="197" y="254"/>
                    <a:pt x="197" y="254"/>
                  </a:cubicBezTo>
                  <a:cubicBezTo>
                    <a:pt x="198" y="256"/>
                    <a:pt x="200" y="255"/>
                    <a:pt x="201" y="257"/>
                  </a:cubicBezTo>
                  <a:cubicBezTo>
                    <a:pt x="201" y="258"/>
                    <a:pt x="202" y="260"/>
                    <a:pt x="201" y="261"/>
                  </a:cubicBezTo>
                  <a:cubicBezTo>
                    <a:pt x="202" y="261"/>
                    <a:pt x="202" y="261"/>
                    <a:pt x="203" y="261"/>
                  </a:cubicBezTo>
                  <a:cubicBezTo>
                    <a:pt x="203" y="260"/>
                    <a:pt x="204" y="260"/>
                    <a:pt x="204" y="260"/>
                  </a:cubicBezTo>
                  <a:cubicBezTo>
                    <a:pt x="205" y="260"/>
                    <a:pt x="204" y="260"/>
                    <a:pt x="204" y="260"/>
                  </a:cubicBezTo>
                  <a:cubicBezTo>
                    <a:pt x="205" y="259"/>
                    <a:pt x="204" y="259"/>
                    <a:pt x="204" y="259"/>
                  </a:cubicBezTo>
                  <a:cubicBezTo>
                    <a:pt x="204" y="258"/>
                    <a:pt x="205" y="258"/>
                    <a:pt x="205" y="258"/>
                  </a:cubicBezTo>
                  <a:cubicBezTo>
                    <a:pt x="206" y="258"/>
                    <a:pt x="206" y="257"/>
                    <a:pt x="207" y="257"/>
                  </a:cubicBezTo>
                  <a:cubicBezTo>
                    <a:pt x="208" y="257"/>
                    <a:pt x="207" y="258"/>
                    <a:pt x="206" y="258"/>
                  </a:cubicBezTo>
                  <a:cubicBezTo>
                    <a:pt x="206" y="259"/>
                    <a:pt x="206" y="259"/>
                    <a:pt x="205" y="259"/>
                  </a:cubicBezTo>
                  <a:cubicBezTo>
                    <a:pt x="205" y="259"/>
                    <a:pt x="206" y="260"/>
                    <a:pt x="206" y="260"/>
                  </a:cubicBezTo>
                  <a:cubicBezTo>
                    <a:pt x="205" y="261"/>
                    <a:pt x="203" y="261"/>
                    <a:pt x="202" y="263"/>
                  </a:cubicBezTo>
                  <a:cubicBezTo>
                    <a:pt x="203" y="263"/>
                    <a:pt x="205" y="263"/>
                    <a:pt x="207" y="263"/>
                  </a:cubicBezTo>
                  <a:cubicBezTo>
                    <a:pt x="207" y="263"/>
                    <a:pt x="208" y="263"/>
                    <a:pt x="208" y="263"/>
                  </a:cubicBezTo>
                  <a:cubicBezTo>
                    <a:pt x="209" y="263"/>
                    <a:pt x="210" y="264"/>
                    <a:pt x="210" y="264"/>
                  </a:cubicBezTo>
                  <a:cubicBezTo>
                    <a:pt x="212" y="265"/>
                    <a:pt x="213" y="264"/>
                    <a:pt x="214" y="264"/>
                  </a:cubicBezTo>
                  <a:cubicBezTo>
                    <a:pt x="215" y="264"/>
                    <a:pt x="216" y="264"/>
                    <a:pt x="216" y="263"/>
                  </a:cubicBezTo>
                  <a:cubicBezTo>
                    <a:pt x="217" y="263"/>
                    <a:pt x="217" y="262"/>
                    <a:pt x="218" y="262"/>
                  </a:cubicBezTo>
                  <a:cubicBezTo>
                    <a:pt x="218" y="266"/>
                    <a:pt x="214" y="265"/>
                    <a:pt x="212" y="265"/>
                  </a:cubicBezTo>
                  <a:cubicBezTo>
                    <a:pt x="211" y="265"/>
                    <a:pt x="210" y="266"/>
                    <a:pt x="208" y="266"/>
                  </a:cubicBezTo>
                  <a:cubicBezTo>
                    <a:pt x="207" y="266"/>
                    <a:pt x="206" y="267"/>
                    <a:pt x="205" y="268"/>
                  </a:cubicBezTo>
                  <a:cubicBezTo>
                    <a:pt x="210" y="271"/>
                    <a:pt x="214" y="267"/>
                    <a:pt x="219" y="266"/>
                  </a:cubicBezTo>
                  <a:cubicBezTo>
                    <a:pt x="220" y="266"/>
                    <a:pt x="222" y="267"/>
                    <a:pt x="220" y="268"/>
                  </a:cubicBezTo>
                  <a:cubicBezTo>
                    <a:pt x="220" y="268"/>
                    <a:pt x="218" y="268"/>
                    <a:pt x="218" y="268"/>
                  </a:cubicBezTo>
                  <a:cubicBezTo>
                    <a:pt x="216" y="268"/>
                    <a:pt x="213" y="268"/>
                    <a:pt x="212" y="270"/>
                  </a:cubicBezTo>
                  <a:cubicBezTo>
                    <a:pt x="212" y="270"/>
                    <a:pt x="212" y="271"/>
                    <a:pt x="212" y="271"/>
                  </a:cubicBezTo>
                  <a:cubicBezTo>
                    <a:pt x="211" y="272"/>
                    <a:pt x="211" y="272"/>
                    <a:pt x="210" y="272"/>
                  </a:cubicBezTo>
                  <a:cubicBezTo>
                    <a:pt x="209" y="272"/>
                    <a:pt x="209" y="273"/>
                    <a:pt x="211" y="273"/>
                  </a:cubicBezTo>
                  <a:cubicBezTo>
                    <a:pt x="213" y="273"/>
                    <a:pt x="215" y="271"/>
                    <a:pt x="216" y="270"/>
                  </a:cubicBezTo>
                  <a:cubicBezTo>
                    <a:pt x="217" y="269"/>
                    <a:pt x="218" y="269"/>
                    <a:pt x="219" y="270"/>
                  </a:cubicBezTo>
                  <a:cubicBezTo>
                    <a:pt x="220" y="271"/>
                    <a:pt x="219" y="271"/>
                    <a:pt x="218" y="271"/>
                  </a:cubicBezTo>
                  <a:cubicBezTo>
                    <a:pt x="215" y="271"/>
                    <a:pt x="214" y="273"/>
                    <a:pt x="212" y="274"/>
                  </a:cubicBezTo>
                  <a:cubicBezTo>
                    <a:pt x="214" y="275"/>
                    <a:pt x="216" y="273"/>
                    <a:pt x="218" y="274"/>
                  </a:cubicBezTo>
                  <a:cubicBezTo>
                    <a:pt x="219" y="275"/>
                    <a:pt x="221" y="273"/>
                    <a:pt x="223" y="273"/>
                  </a:cubicBezTo>
                  <a:cubicBezTo>
                    <a:pt x="222" y="274"/>
                    <a:pt x="221" y="274"/>
                    <a:pt x="220" y="275"/>
                  </a:cubicBezTo>
                  <a:cubicBezTo>
                    <a:pt x="221" y="276"/>
                    <a:pt x="224" y="276"/>
                    <a:pt x="225" y="276"/>
                  </a:cubicBezTo>
                  <a:cubicBezTo>
                    <a:pt x="225" y="278"/>
                    <a:pt x="221" y="276"/>
                    <a:pt x="220" y="276"/>
                  </a:cubicBezTo>
                  <a:cubicBezTo>
                    <a:pt x="219" y="276"/>
                    <a:pt x="216" y="274"/>
                    <a:pt x="215" y="276"/>
                  </a:cubicBezTo>
                  <a:cubicBezTo>
                    <a:pt x="217" y="277"/>
                    <a:pt x="220" y="277"/>
                    <a:pt x="222" y="278"/>
                  </a:cubicBezTo>
                  <a:cubicBezTo>
                    <a:pt x="223" y="278"/>
                    <a:pt x="223" y="279"/>
                    <a:pt x="224" y="279"/>
                  </a:cubicBezTo>
                  <a:cubicBezTo>
                    <a:pt x="224" y="279"/>
                    <a:pt x="225" y="279"/>
                    <a:pt x="225" y="279"/>
                  </a:cubicBezTo>
                  <a:cubicBezTo>
                    <a:pt x="226" y="279"/>
                    <a:pt x="226" y="278"/>
                    <a:pt x="227" y="279"/>
                  </a:cubicBezTo>
                  <a:cubicBezTo>
                    <a:pt x="227" y="280"/>
                    <a:pt x="228" y="280"/>
                    <a:pt x="228" y="281"/>
                  </a:cubicBezTo>
                  <a:cubicBezTo>
                    <a:pt x="227" y="282"/>
                    <a:pt x="225" y="280"/>
                    <a:pt x="224" y="280"/>
                  </a:cubicBezTo>
                  <a:cubicBezTo>
                    <a:pt x="223" y="280"/>
                    <a:pt x="223" y="280"/>
                    <a:pt x="222" y="280"/>
                  </a:cubicBezTo>
                  <a:cubicBezTo>
                    <a:pt x="222" y="280"/>
                    <a:pt x="222" y="281"/>
                    <a:pt x="222" y="281"/>
                  </a:cubicBezTo>
                  <a:cubicBezTo>
                    <a:pt x="221" y="281"/>
                    <a:pt x="221" y="281"/>
                    <a:pt x="221" y="281"/>
                  </a:cubicBezTo>
                  <a:cubicBezTo>
                    <a:pt x="221" y="281"/>
                    <a:pt x="222" y="282"/>
                    <a:pt x="223" y="282"/>
                  </a:cubicBezTo>
                  <a:cubicBezTo>
                    <a:pt x="223" y="282"/>
                    <a:pt x="224" y="281"/>
                    <a:pt x="224" y="280"/>
                  </a:cubicBezTo>
                  <a:cubicBezTo>
                    <a:pt x="225" y="281"/>
                    <a:pt x="225" y="282"/>
                    <a:pt x="225" y="282"/>
                  </a:cubicBezTo>
                  <a:cubicBezTo>
                    <a:pt x="225" y="282"/>
                    <a:pt x="226" y="282"/>
                    <a:pt x="226" y="282"/>
                  </a:cubicBezTo>
                  <a:cubicBezTo>
                    <a:pt x="227" y="282"/>
                    <a:pt x="228" y="282"/>
                    <a:pt x="229" y="283"/>
                  </a:cubicBezTo>
                  <a:cubicBezTo>
                    <a:pt x="228" y="283"/>
                    <a:pt x="226" y="282"/>
                    <a:pt x="225" y="283"/>
                  </a:cubicBezTo>
                  <a:cubicBezTo>
                    <a:pt x="226" y="283"/>
                    <a:pt x="226" y="283"/>
                    <a:pt x="227" y="283"/>
                  </a:cubicBezTo>
                  <a:cubicBezTo>
                    <a:pt x="227" y="284"/>
                    <a:pt x="227" y="284"/>
                    <a:pt x="228" y="284"/>
                  </a:cubicBezTo>
                  <a:cubicBezTo>
                    <a:pt x="227" y="284"/>
                    <a:pt x="226" y="284"/>
                    <a:pt x="226" y="284"/>
                  </a:cubicBezTo>
                  <a:cubicBezTo>
                    <a:pt x="226" y="284"/>
                    <a:pt x="226" y="285"/>
                    <a:pt x="225" y="285"/>
                  </a:cubicBezTo>
                  <a:cubicBezTo>
                    <a:pt x="225" y="285"/>
                    <a:pt x="224" y="284"/>
                    <a:pt x="224" y="284"/>
                  </a:cubicBezTo>
                  <a:cubicBezTo>
                    <a:pt x="224" y="284"/>
                    <a:pt x="223" y="283"/>
                    <a:pt x="223" y="283"/>
                  </a:cubicBezTo>
                  <a:cubicBezTo>
                    <a:pt x="223" y="283"/>
                    <a:pt x="222" y="284"/>
                    <a:pt x="222" y="284"/>
                  </a:cubicBezTo>
                  <a:cubicBezTo>
                    <a:pt x="222" y="284"/>
                    <a:pt x="222" y="285"/>
                    <a:pt x="223" y="285"/>
                  </a:cubicBezTo>
                  <a:cubicBezTo>
                    <a:pt x="224" y="285"/>
                    <a:pt x="224" y="285"/>
                    <a:pt x="225" y="286"/>
                  </a:cubicBezTo>
                  <a:cubicBezTo>
                    <a:pt x="225" y="286"/>
                    <a:pt x="225" y="286"/>
                    <a:pt x="224" y="286"/>
                  </a:cubicBezTo>
                  <a:cubicBezTo>
                    <a:pt x="225" y="287"/>
                    <a:pt x="227" y="287"/>
                    <a:pt x="228" y="286"/>
                  </a:cubicBezTo>
                  <a:cubicBezTo>
                    <a:pt x="229" y="286"/>
                    <a:pt x="229" y="285"/>
                    <a:pt x="230" y="285"/>
                  </a:cubicBezTo>
                  <a:cubicBezTo>
                    <a:pt x="231" y="285"/>
                    <a:pt x="229" y="287"/>
                    <a:pt x="228" y="287"/>
                  </a:cubicBezTo>
                  <a:cubicBezTo>
                    <a:pt x="229" y="287"/>
                    <a:pt x="230" y="287"/>
                    <a:pt x="230" y="288"/>
                  </a:cubicBezTo>
                  <a:cubicBezTo>
                    <a:pt x="230" y="289"/>
                    <a:pt x="228" y="288"/>
                    <a:pt x="228" y="288"/>
                  </a:cubicBezTo>
                  <a:cubicBezTo>
                    <a:pt x="227" y="288"/>
                    <a:pt x="225" y="288"/>
                    <a:pt x="224" y="288"/>
                  </a:cubicBezTo>
                  <a:cubicBezTo>
                    <a:pt x="222" y="287"/>
                    <a:pt x="220" y="286"/>
                    <a:pt x="218" y="286"/>
                  </a:cubicBezTo>
                  <a:cubicBezTo>
                    <a:pt x="216" y="285"/>
                    <a:pt x="214" y="284"/>
                    <a:pt x="212" y="283"/>
                  </a:cubicBezTo>
                  <a:cubicBezTo>
                    <a:pt x="210" y="282"/>
                    <a:pt x="208" y="281"/>
                    <a:pt x="206" y="281"/>
                  </a:cubicBezTo>
                  <a:cubicBezTo>
                    <a:pt x="204" y="280"/>
                    <a:pt x="203" y="280"/>
                    <a:pt x="201" y="281"/>
                  </a:cubicBezTo>
                  <a:cubicBezTo>
                    <a:pt x="200" y="281"/>
                    <a:pt x="198" y="280"/>
                    <a:pt x="197" y="280"/>
                  </a:cubicBezTo>
                  <a:cubicBezTo>
                    <a:pt x="195" y="280"/>
                    <a:pt x="194" y="279"/>
                    <a:pt x="192" y="280"/>
                  </a:cubicBezTo>
                  <a:cubicBezTo>
                    <a:pt x="191" y="280"/>
                    <a:pt x="190" y="280"/>
                    <a:pt x="189" y="281"/>
                  </a:cubicBezTo>
                  <a:cubicBezTo>
                    <a:pt x="189" y="281"/>
                    <a:pt x="189" y="282"/>
                    <a:pt x="188" y="282"/>
                  </a:cubicBezTo>
                  <a:cubicBezTo>
                    <a:pt x="193" y="285"/>
                    <a:pt x="199" y="287"/>
                    <a:pt x="204" y="289"/>
                  </a:cubicBezTo>
                  <a:cubicBezTo>
                    <a:pt x="207" y="290"/>
                    <a:pt x="211" y="291"/>
                    <a:pt x="214" y="293"/>
                  </a:cubicBezTo>
                  <a:cubicBezTo>
                    <a:pt x="216" y="293"/>
                    <a:pt x="217" y="294"/>
                    <a:pt x="218" y="294"/>
                  </a:cubicBezTo>
                  <a:cubicBezTo>
                    <a:pt x="219" y="294"/>
                    <a:pt x="219" y="294"/>
                    <a:pt x="220" y="294"/>
                  </a:cubicBezTo>
                  <a:cubicBezTo>
                    <a:pt x="221" y="294"/>
                    <a:pt x="221" y="295"/>
                    <a:pt x="222" y="294"/>
                  </a:cubicBezTo>
                  <a:cubicBezTo>
                    <a:pt x="223" y="294"/>
                    <a:pt x="222" y="293"/>
                    <a:pt x="224" y="293"/>
                  </a:cubicBezTo>
                  <a:cubicBezTo>
                    <a:pt x="224" y="293"/>
                    <a:pt x="226" y="293"/>
                    <a:pt x="226" y="294"/>
                  </a:cubicBezTo>
                  <a:cubicBezTo>
                    <a:pt x="226" y="295"/>
                    <a:pt x="224" y="294"/>
                    <a:pt x="225" y="294"/>
                  </a:cubicBezTo>
                  <a:cubicBezTo>
                    <a:pt x="224" y="294"/>
                    <a:pt x="223" y="295"/>
                    <a:pt x="222" y="295"/>
                  </a:cubicBezTo>
                  <a:cubicBezTo>
                    <a:pt x="224" y="295"/>
                    <a:pt x="226" y="295"/>
                    <a:pt x="228" y="295"/>
                  </a:cubicBezTo>
                  <a:cubicBezTo>
                    <a:pt x="229" y="294"/>
                    <a:pt x="230" y="294"/>
                    <a:pt x="230" y="294"/>
                  </a:cubicBezTo>
                  <a:cubicBezTo>
                    <a:pt x="231" y="294"/>
                    <a:pt x="232" y="294"/>
                    <a:pt x="232" y="294"/>
                  </a:cubicBezTo>
                  <a:cubicBezTo>
                    <a:pt x="232" y="294"/>
                    <a:pt x="230" y="295"/>
                    <a:pt x="230" y="295"/>
                  </a:cubicBezTo>
                  <a:cubicBezTo>
                    <a:pt x="229" y="296"/>
                    <a:pt x="231" y="296"/>
                    <a:pt x="231" y="296"/>
                  </a:cubicBezTo>
                  <a:cubicBezTo>
                    <a:pt x="232" y="297"/>
                    <a:pt x="232" y="298"/>
                    <a:pt x="233" y="299"/>
                  </a:cubicBezTo>
                  <a:cubicBezTo>
                    <a:pt x="231" y="300"/>
                    <a:pt x="229" y="300"/>
                    <a:pt x="227" y="300"/>
                  </a:cubicBezTo>
                  <a:cubicBezTo>
                    <a:pt x="229" y="300"/>
                    <a:pt x="231" y="300"/>
                    <a:pt x="231" y="302"/>
                  </a:cubicBezTo>
                  <a:cubicBezTo>
                    <a:pt x="229" y="302"/>
                    <a:pt x="226" y="299"/>
                    <a:pt x="226" y="304"/>
                  </a:cubicBezTo>
                  <a:cubicBezTo>
                    <a:pt x="228" y="303"/>
                    <a:pt x="228" y="304"/>
                    <a:pt x="230" y="304"/>
                  </a:cubicBezTo>
                  <a:cubicBezTo>
                    <a:pt x="230" y="303"/>
                    <a:pt x="230" y="303"/>
                    <a:pt x="231" y="303"/>
                  </a:cubicBezTo>
                  <a:cubicBezTo>
                    <a:pt x="232" y="303"/>
                    <a:pt x="232" y="303"/>
                    <a:pt x="233" y="303"/>
                  </a:cubicBezTo>
                  <a:cubicBezTo>
                    <a:pt x="232" y="303"/>
                    <a:pt x="231" y="303"/>
                    <a:pt x="230" y="304"/>
                  </a:cubicBezTo>
                  <a:cubicBezTo>
                    <a:pt x="229" y="304"/>
                    <a:pt x="229" y="304"/>
                    <a:pt x="228" y="304"/>
                  </a:cubicBezTo>
                  <a:cubicBezTo>
                    <a:pt x="226" y="304"/>
                    <a:pt x="227" y="305"/>
                    <a:pt x="227" y="306"/>
                  </a:cubicBezTo>
                  <a:cubicBezTo>
                    <a:pt x="227" y="307"/>
                    <a:pt x="226" y="308"/>
                    <a:pt x="225" y="309"/>
                  </a:cubicBezTo>
                  <a:cubicBezTo>
                    <a:pt x="226" y="310"/>
                    <a:pt x="227" y="309"/>
                    <a:pt x="228" y="309"/>
                  </a:cubicBezTo>
                  <a:cubicBezTo>
                    <a:pt x="229" y="308"/>
                    <a:pt x="229" y="309"/>
                    <a:pt x="229" y="309"/>
                  </a:cubicBezTo>
                  <a:cubicBezTo>
                    <a:pt x="230" y="308"/>
                    <a:pt x="230" y="307"/>
                    <a:pt x="231" y="307"/>
                  </a:cubicBezTo>
                  <a:cubicBezTo>
                    <a:pt x="231" y="307"/>
                    <a:pt x="230" y="309"/>
                    <a:pt x="231" y="309"/>
                  </a:cubicBezTo>
                  <a:cubicBezTo>
                    <a:pt x="231" y="310"/>
                    <a:pt x="233" y="309"/>
                    <a:pt x="233" y="309"/>
                  </a:cubicBezTo>
                  <a:cubicBezTo>
                    <a:pt x="235" y="309"/>
                    <a:pt x="233" y="310"/>
                    <a:pt x="232" y="310"/>
                  </a:cubicBezTo>
                  <a:cubicBezTo>
                    <a:pt x="231" y="310"/>
                    <a:pt x="230" y="310"/>
                    <a:pt x="228" y="310"/>
                  </a:cubicBezTo>
                  <a:cubicBezTo>
                    <a:pt x="230" y="312"/>
                    <a:pt x="234" y="310"/>
                    <a:pt x="233" y="313"/>
                  </a:cubicBezTo>
                  <a:cubicBezTo>
                    <a:pt x="232" y="311"/>
                    <a:pt x="233" y="312"/>
                    <a:pt x="231" y="312"/>
                  </a:cubicBezTo>
                  <a:cubicBezTo>
                    <a:pt x="230" y="312"/>
                    <a:pt x="232" y="314"/>
                    <a:pt x="232" y="314"/>
                  </a:cubicBezTo>
                  <a:cubicBezTo>
                    <a:pt x="229" y="314"/>
                    <a:pt x="230" y="313"/>
                    <a:pt x="229" y="312"/>
                  </a:cubicBezTo>
                  <a:cubicBezTo>
                    <a:pt x="228" y="311"/>
                    <a:pt x="227" y="312"/>
                    <a:pt x="225" y="312"/>
                  </a:cubicBezTo>
                  <a:cubicBezTo>
                    <a:pt x="226" y="311"/>
                    <a:pt x="226" y="311"/>
                    <a:pt x="227" y="310"/>
                  </a:cubicBezTo>
                  <a:cubicBezTo>
                    <a:pt x="225" y="311"/>
                    <a:pt x="224" y="310"/>
                    <a:pt x="224" y="312"/>
                  </a:cubicBezTo>
                  <a:cubicBezTo>
                    <a:pt x="224" y="313"/>
                    <a:pt x="224" y="313"/>
                    <a:pt x="223" y="315"/>
                  </a:cubicBezTo>
                  <a:cubicBezTo>
                    <a:pt x="224" y="315"/>
                    <a:pt x="225" y="314"/>
                    <a:pt x="225" y="314"/>
                  </a:cubicBezTo>
                  <a:cubicBezTo>
                    <a:pt x="224" y="315"/>
                    <a:pt x="223" y="316"/>
                    <a:pt x="223" y="317"/>
                  </a:cubicBezTo>
                  <a:cubicBezTo>
                    <a:pt x="225" y="318"/>
                    <a:pt x="226" y="315"/>
                    <a:pt x="228" y="316"/>
                  </a:cubicBezTo>
                  <a:cubicBezTo>
                    <a:pt x="228" y="317"/>
                    <a:pt x="227" y="317"/>
                    <a:pt x="226" y="318"/>
                  </a:cubicBezTo>
                  <a:cubicBezTo>
                    <a:pt x="227" y="318"/>
                    <a:pt x="227" y="318"/>
                    <a:pt x="227" y="318"/>
                  </a:cubicBezTo>
                  <a:cubicBezTo>
                    <a:pt x="227" y="320"/>
                    <a:pt x="225" y="318"/>
                    <a:pt x="225" y="318"/>
                  </a:cubicBezTo>
                  <a:cubicBezTo>
                    <a:pt x="224" y="319"/>
                    <a:pt x="225" y="319"/>
                    <a:pt x="225" y="320"/>
                  </a:cubicBezTo>
                  <a:cubicBezTo>
                    <a:pt x="225" y="320"/>
                    <a:pt x="223" y="320"/>
                    <a:pt x="223" y="320"/>
                  </a:cubicBezTo>
                  <a:cubicBezTo>
                    <a:pt x="222" y="320"/>
                    <a:pt x="221" y="320"/>
                    <a:pt x="220" y="321"/>
                  </a:cubicBezTo>
                  <a:cubicBezTo>
                    <a:pt x="220" y="321"/>
                    <a:pt x="220" y="321"/>
                    <a:pt x="220" y="320"/>
                  </a:cubicBezTo>
                  <a:cubicBezTo>
                    <a:pt x="220" y="320"/>
                    <a:pt x="219" y="321"/>
                    <a:pt x="218" y="321"/>
                  </a:cubicBezTo>
                  <a:cubicBezTo>
                    <a:pt x="218" y="321"/>
                    <a:pt x="217" y="321"/>
                    <a:pt x="217" y="321"/>
                  </a:cubicBezTo>
                  <a:cubicBezTo>
                    <a:pt x="216" y="321"/>
                    <a:pt x="216" y="321"/>
                    <a:pt x="215" y="321"/>
                  </a:cubicBezTo>
                  <a:cubicBezTo>
                    <a:pt x="215" y="321"/>
                    <a:pt x="216" y="320"/>
                    <a:pt x="215" y="320"/>
                  </a:cubicBezTo>
                  <a:cubicBezTo>
                    <a:pt x="215" y="320"/>
                    <a:pt x="214" y="320"/>
                    <a:pt x="214" y="320"/>
                  </a:cubicBezTo>
                  <a:cubicBezTo>
                    <a:pt x="213" y="321"/>
                    <a:pt x="213" y="320"/>
                    <a:pt x="212" y="320"/>
                  </a:cubicBezTo>
                  <a:cubicBezTo>
                    <a:pt x="211" y="320"/>
                    <a:pt x="210" y="321"/>
                    <a:pt x="208" y="321"/>
                  </a:cubicBezTo>
                  <a:cubicBezTo>
                    <a:pt x="209" y="321"/>
                    <a:pt x="211" y="321"/>
                    <a:pt x="210" y="322"/>
                  </a:cubicBezTo>
                  <a:cubicBezTo>
                    <a:pt x="210" y="323"/>
                    <a:pt x="208" y="322"/>
                    <a:pt x="207" y="323"/>
                  </a:cubicBezTo>
                  <a:cubicBezTo>
                    <a:pt x="206" y="323"/>
                    <a:pt x="206" y="324"/>
                    <a:pt x="205" y="324"/>
                  </a:cubicBezTo>
                  <a:cubicBezTo>
                    <a:pt x="204" y="325"/>
                    <a:pt x="204" y="325"/>
                    <a:pt x="203" y="324"/>
                  </a:cubicBezTo>
                  <a:cubicBezTo>
                    <a:pt x="202" y="324"/>
                    <a:pt x="200" y="324"/>
                    <a:pt x="201" y="325"/>
                  </a:cubicBezTo>
                  <a:cubicBezTo>
                    <a:pt x="202" y="325"/>
                    <a:pt x="202" y="325"/>
                    <a:pt x="202" y="325"/>
                  </a:cubicBezTo>
                  <a:cubicBezTo>
                    <a:pt x="203" y="325"/>
                    <a:pt x="203" y="325"/>
                    <a:pt x="203" y="325"/>
                  </a:cubicBezTo>
                  <a:cubicBezTo>
                    <a:pt x="205" y="325"/>
                    <a:pt x="207" y="324"/>
                    <a:pt x="209" y="324"/>
                  </a:cubicBezTo>
                  <a:cubicBezTo>
                    <a:pt x="208" y="324"/>
                    <a:pt x="205" y="325"/>
                    <a:pt x="206" y="326"/>
                  </a:cubicBezTo>
                  <a:cubicBezTo>
                    <a:pt x="206" y="327"/>
                    <a:pt x="207" y="327"/>
                    <a:pt x="208" y="326"/>
                  </a:cubicBezTo>
                  <a:cubicBezTo>
                    <a:pt x="208" y="326"/>
                    <a:pt x="207" y="326"/>
                    <a:pt x="207" y="326"/>
                  </a:cubicBezTo>
                  <a:cubicBezTo>
                    <a:pt x="207" y="326"/>
                    <a:pt x="209" y="325"/>
                    <a:pt x="209" y="325"/>
                  </a:cubicBezTo>
                  <a:cubicBezTo>
                    <a:pt x="210" y="325"/>
                    <a:pt x="210" y="327"/>
                    <a:pt x="210" y="327"/>
                  </a:cubicBezTo>
                  <a:cubicBezTo>
                    <a:pt x="211" y="327"/>
                    <a:pt x="213" y="326"/>
                    <a:pt x="214" y="326"/>
                  </a:cubicBezTo>
                  <a:cubicBezTo>
                    <a:pt x="217" y="326"/>
                    <a:pt x="220" y="326"/>
                    <a:pt x="223" y="325"/>
                  </a:cubicBezTo>
                  <a:cubicBezTo>
                    <a:pt x="222" y="324"/>
                    <a:pt x="221" y="324"/>
                    <a:pt x="220" y="324"/>
                  </a:cubicBezTo>
                  <a:cubicBezTo>
                    <a:pt x="220" y="324"/>
                    <a:pt x="219" y="323"/>
                    <a:pt x="218" y="323"/>
                  </a:cubicBezTo>
                  <a:cubicBezTo>
                    <a:pt x="220" y="323"/>
                    <a:pt x="222" y="323"/>
                    <a:pt x="224" y="323"/>
                  </a:cubicBezTo>
                  <a:cubicBezTo>
                    <a:pt x="225" y="322"/>
                    <a:pt x="226" y="321"/>
                    <a:pt x="227" y="322"/>
                  </a:cubicBezTo>
                  <a:cubicBezTo>
                    <a:pt x="226" y="323"/>
                    <a:pt x="224" y="325"/>
                    <a:pt x="223" y="326"/>
                  </a:cubicBezTo>
                  <a:cubicBezTo>
                    <a:pt x="224" y="327"/>
                    <a:pt x="225" y="326"/>
                    <a:pt x="225" y="327"/>
                  </a:cubicBezTo>
                  <a:cubicBezTo>
                    <a:pt x="224" y="327"/>
                    <a:pt x="222" y="326"/>
                    <a:pt x="221" y="327"/>
                  </a:cubicBezTo>
                  <a:cubicBezTo>
                    <a:pt x="222" y="328"/>
                    <a:pt x="224" y="329"/>
                    <a:pt x="225" y="328"/>
                  </a:cubicBezTo>
                  <a:cubicBezTo>
                    <a:pt x="225" y="329"/>
                    <a:pt x="226" y="329"/>
                    <a:pt x="227" y="330"/>
                  </a:cubicBezTo>
                  <a:cubicBezTo>
                    <a:pt x="227" y="330"/>
                    <a:pt x="228" y="330"/>
                    <a:pt x="228" y="330"/>
                  </a:cubicBezTo>
                  <a:cubicBezTo>
                    <a:pt x="228" y="330"/>
                    <a:pt x="228" y="330"/>
                    <a:pt x="229" y="330"/>
                  </a:cubicBezTo>
                  <a:cubicBezTo>
                    <a:pt x="229" y="330"/>
                    <a:pt x="229" y="330"/>
                    <a:pt x="229" y="330"/>
                  </a:cubicBezTo>
                  <a:cubicBezTo>
                    <a:pt x="230" y="330"/>
                    <a:pt x="229" y="331"/>
                    <a:pt x="230" y="331"/>
                  </a:cubicBezTo>
                  <a:cubicBezTo>
                    <a:pt x="231" y="331"/>
                    <a:pt x="232" y="331"/>
                    <a:pt x="234" y="331"/>
                  </a:cubicBezTo>
                  <a:cubicBezTo>
                    <a:pt x="231" y="331"/>
                    <a:pt x="228" y="331"/>
                    <a:pt x="226" y="330"/>
                  </a:cubicBezTo>
                  <a:cubicBezTo>
                    <a:pt x="225" y="330"/>
                    <a:pt x="224" y="329"/>
                    <a:pt x="223" y="329"/>
                  </a:cubicBezTo>
                  <a:cubicBezTo>
                    <a:pt x="222" y="329"/>
                    <a:pt x="221" y="329"/>
                    <a:pt x="220" y="329"/>
                  </a:cubicBezTo>
                  <a:cubicBezTo>
                    <a:pt x="218" y="329"/>
                    <a:pt x="216" y="330"/>
                    <a:pt x="213" y="329"/>
                  </a:cubicBezTo>
                  <a:cubicBezTo>
                    <a:pt x="212" y="328"/>
                    <a:pt x="211" y="328"/>
                    <a:pt x="210" y="328"/>
                  </a:cubicBezTo>
                  <a:cubicBezTo>
                    <a:pt x="209" y="327"/>
                    <a:pt x="208" y="327"/>
                    <a:pt x="207" y="327"/>
                  </a:cubicBezTo>
                  <a:cubicBezTo>
                    <a:pt x="208" y="328"/>
                    <a:pt x="208" y="328"/>
                    <a:pt x="209" y="328"/>
                  </a:cubicBezTo>
                  <a:cubicBezTo>
                    <a:pt x="209" y="328"/>
                    <a:pt x="210" y="329"/>
                    <a:pt x="211" y="329"/>
                  </a:cubicBezTo>
                  <a:cubicBezTo>
                    <a:pt x="207" y="328"/>
                    <a:pt x="205" y="327"/>
                    <a:pt x="202" y="327"/>
                  </a:cubicBezTo>
                  <a:cubicBezTo>
                    <a:pt x="202" y="328"/>
                    <a:pt x="202" y="327"/>
                    <a:pt x="203" y="328"/>
                  </a:cubicBezTo>
                  <a:cubicBezTo>
                    <a:pt x="203" y="328"/>
                    <a:pt x="203" y="327"/>
                    <a:pt x="204" y="327"/>
                  </a:cubicBezTo>
                  <a:cubicBezTo>
                    <a:pt x="204" y="327"/>
                    <a:pt x="204" y="328"/>
                    <a:pt x="204" y="328"/>
                  </a:cubicBezTo>
                  <a:cubicBezTo>
                    <a:pt x="204" y="329"/>
                    <a:pt x="206" y="330"/>
                    <a:pt x="206" y="330"/>
                  </a:cubicBezTo>
                  <a:cubicBezTo>
                    <a:pt x="208" y="331"/>
                    <a:pt x="212" y="331"/>
                    <a:pt x="214" y="331"/>
                  </a:cubicBezTo>
                  <a:cubicBezTo>
                    <a:pt x="212" y="332"/>
                    <a:pt x="209" y="331"/>
                    <a:pt x="207" y="331"/>
                  </a:cubicBezTo>
                  <a:cubicBezTo>
                    <a:pt x="206" y="330"/>
                    <a:pt x="204" y="329"/>
                    <a:pt x="203" y="329"/>
                  </a:cubicBezTo>
                  <a:cubicBezTo>
                    <a:pt x="202" y="330"/>
                    <a:pt x="205" y="331"/>
                    <a:pt x="206" y="331"/>
                  </a:cubicBezTo>
                  <a:cubicBezTo>
                    <a:pt x="205" y="331"/>
                    <a:pt x="203" y="331"/>
                    <a:pt x="202" y="331"/>
                  </a:cubicBezTo>
                  <a:cubicBezTo>
                    <a:pt x="202" y="332"/>
                    <a:pt x="203" y="332"/>
                    <a:pt x="204" y="332"/>
                  </a:cubicBezTo>
                  <a:cubicBezTo>
                    <a:pt x="203" y="333"/>
                    <a:pt x="202" y="333"/>
                    <a:pt x="201" y="333"/>
                  </a:cubicBezTo>
                  <a:cubicBezTo>
                    <a:pt x="201" y="333"/>
                    <a:pt x="201" y="332"/>
                    <a:pt x="201" y="332"/>
                  </a:cubicBezTo>
                  <a:cubicBezTo>
                    <a:pt x="199" y="332"/>
                    <a:pt x="201" y="334"/>
                    <a:pt x="202" y="333"/>
                  </a:cubicBezTo>
                  <a:cubicBezTo>
                    <a:pt x="201" y="334"/>
                    <a:pt x="199" y="334"/>
                    <a:pt x="200" y="333"/>
                  </a:cubicBezTo>
                  <a:cubicBezTo>
                    <a:pt x="199" y="333"/>
                    <a:pt x="198" y="334"/>
                    <a:pt x="198" y="334"/>
                  </a:cubicBezTo>
                  <a:cubicBezTo>
                    <a:pt x="198" y="334"/>
                    <a:pt x="199" y="334"/>
                    <a:pt x="199" y="335"/>
                  </a:cubicBezTo>
                  <a:cubicBezTo>
                    <a:pt x="199" y="336"/>
                    <a:pt x="199" y="338"/>
                    <a:pt x="199" y="339"/>
                  </a:cubicBezTo>
                  <a:cubicBezTo>
                    <a:pt x="200" y="338"/>
                    <a:pt x="202" y="337"/>
                    <a:pt x="203" y="336"/>
                  </a:cubicBezTo>
                  <a:cubicBezTo>
                    <a:pt x="205" y="334"/>
                    <a:pt x="206" y="334"/>
                    <a:pt x="208" y="334"/>
                  </a:cubicBezTo>
                  <a:cubicBezTo>
                    <a:pt x="210" y="334"/>
                    <a:pt x="212" y="332"/>
                    <a:pt x="214" y="332"/>
                  </a:cubicBezTo>
                  <a:cubicBezTo>
                    <a:pt x="215" y="332"/>
                    <a:pt x="215" y="332"/>
                    <a:pt x="216" y="332"/>
                  </a:cubicBezTo>
                  <a:cubicBezTo>
                    <a:pt x="217" y="331"/>
                    <a:pt x="218" y="331"/>
                    <a:pt x="219" y="331"/>
                  </a:cubicBezTo>
                  <a:cubicBezTo>
                    <a:pt x="218" y="332"/>
                    <a:pt x="216" y="333"/>
                    <a:pt x="215" y="335"/>
                  </a:cubicBezTo>
                  <a:cubicBezTo>
                    <a:pt x="216" y="335"/>
                    <a:pt x="219" y="333"/>
                    <a:pt x="218" y="335"/>
                  </a:cubicBezTo>
                  <a:cubicBezTo>
                    <a:pt x="219" y="334"/>
                    <a:pt x="220" y="335"/>
                    <a:pt x="221" y="335"/>
                  </a:cubicBezTo>
                  <a:cubicBezTo>
                    <a:pt x="223" y="334"/>
                    <a:pt x="220" y="332"/>
                    <a:pt x="219" y="332"/>
                  </a:cubicBezTo>
                  <a:cubicBezTo>
                    <a:pt x="220" y="331"/>
                    <a:pt x="223" y="330"/>
                    <a:pt x="225" y="331"/>
                  </a:cubicBezTo>
                  <a:cubicBezTo>
                    <a:pt x="224" y="331"/>
                    <a:pt x="225" y="332"/>
                    <a:pt x="225" y="332"/>
                  </a:cubicBezTo>
                  <a:cubicBezTo>
                    <a:pt x="225" y="333"/>
                    <a:pt x="225" y="334"/>
                    <a:pt x="225" y="334"/>
                  </a:cubicBezTo>
                  <a:cubicBezTo>
                    <a:pt x="225" y="334"/>
                    <a:pt x="226" y="334"/>
                    <a:pt x="227" y="334"/>
                  </a:cubicBezTo>
                  <a:cubicBezTo>
                    <a:pt x="227" y="334"/>
                    <a:pt x="228" y="333"/>
                    <a:pt x="229" y="333"/>
                  </a:cubicBezTo>
                  <a:cubicBezTo>
                    <a:pt x="229" y="333"/>
                    <a:pt x="230" y="332"/>
                    <a:pt x="231" y="332"/>
                  </a:cubicBezTo>
                  <a:cubicBezTo>
                    <a:pt x="231" y="332"/>
                    <a:pt x="231" y="333"/>
                    <a:pt x="231" y="333"/>
                  </a:cubicBezTo>
                  <a:cubicBezTo>
                    <a:pt x="232" y="333"/>
                    <a:pt x="232" y="333"/>
                    <a:pt x="232" y="333"/>
                  </a:cubicBezTo>
                  <a:cubicBezTo>
                    <a:pt x="231" y="335"/>
                    <a:pt x="227" y="336"/>
                    <a:pt x="225" y="337"/>
                  </a:cubicBezTo>
                  <a:cubicBezTo>
                    <a:pt x="228" y="337"/>
                    <a:pt x="229" y="335"/>
                    <a:pt x="232" y="335"/>
                  </a:cubicBezTo>
                  <a:cubicBezTo>
                    <a:pt x="233" y="335"/>
                    <a:pt x="234" y="335"/>
                    <a:pt x="236" y="336"/>
                  </a:cubicBezTo>
                  <a:cubicBezTo>
                    <a:pt x="234" y="337"/>
                    <a:pt x="232" y="337"/>
                    <a:pt x="230" y="338"/>
                  </a:cubicBezTo>
                  <a:cubicBezTo>
                    <a:pt x="228" y="338"/>
                    <a:pt x="226" y="338"/>
                    <a:pt x="224" y="337"/>
                  </a:cubicBezTo>
                  <a:cubicBezTo>
                    <a:pt x="223" y="337"/>
                    <a:pt x="222" y="336"/>
                    <a:pt x="221" y="336"/>
                  </a:cubicBezTo>
                  <a:cubicBezTo>
                    <a:pt x="218" y="336"/>
                    <a:pt x="214" y="336"/>
                    <a:pt x="211" y="335"/>
                  </a:cubicBezTo>
                  <a:cubicBezTo>
                    <a:pt x="209" y="334"/>
                    <a:pt x="209" y="335"/>
                    <a:pt x="207" y="335"/>
                  </a:cubicBezTo>
                  <a:cubicBezTo>
                    <a:pt x="204" y="337"/>
                    <a:pt x="200" y="339"/>
                    <a:pt x="197" y="341"/>
                  </a:cubicBezTo>
                  <a:cubicBezTo>
                    <a:pt x="195" y="342"/>
                    <a:pt x="195" y="344"/>
                    <a:pt x="197" y="344"/>
                  </a:cubicBezTo>
                  <a:cubicBezTo>
                    <a:pt x="198" y="344"/>
                    <a:pt x="199" y="343"/>
                    <a:pt x="200" y="343"/>
                  </a:cubicBezTo>
                  <a:cubicBezTo>
                    <a:pt x="201" y="343"/>
                    <a:pt x="201" y="343"/>
                    <a:pt x="201" y="343"/>
                  </a:cubicBezTo>
                  <a:cubicBezTo>
                    <a:pt x="202" y="343"/>
                    <a:pt x="202" y="342"/>
                    <a:pt x="202" y="342"/>
                  </a:cubicBezTo>
                  <a:cubicBezTo>
                    <a:pt x="203" y="342"/>
                    <a:pt x="203" y="343"/>
                    <a:pt x="204" y="343"/>
                  </a:cubicBezTo>
                  <a:cubicBezTo>
                    <a:pt x="204" y="343"/>
                    <a:pt x="205" y="342"/>
                    <a:pt x="205" y="342"/>
                  </a:cubicBezTo>
                  <a:cubicBezTo>
                    <a:pt x="207" y="342"/>
                    <a:pt x="209" y="341"/>
                    <a:pt x="211" y="341"/>
                  </a:cubicBezTo>
                  <a:cubicBezTo>
                    <a:pt x="212" y="341"/>
                    <a:pt x="213" y="341"/>
                    <a:pt x="214" y="341"/>
                  </a:cubicBezTo>
                  <a:cubicBezTo>
                    <a:pt x="215" y="341"/>
                    <a:pt x="215" y="341"/>
                    <a:pt x="216" y="341"/>
                  </a:cubicBezTo>
                  <a:cubicBezTo>
                    <a:pt x="217" y="341"/>
                    <a:pt x="218" y="341"/>
                    <a:pt x="220" y="341"/>
                  </a:cubicBezTo>
                  <a:cubicBezTo>
                    <a:pt x="221" y="341"/>
                    <a:pt x="221" y="341"/>
                    <a:pt x="222" y="341"/>
                  </a:cubicBezTo>
                  <a:cubicBezTo>
                    <a:pt x="223" y="341"/>
                    <a:pt x="223" y="340"/>
                    <a:pt x="224" y="340"/>
                  </a:cubicBezTo>
                  <a:cubicBezTo>
                    <a:pt x="223" y="341"/>
                    <a:pt x="222" y="341"/>
                    <a:pt x="221" y="341"/>
                  </a:cubicBezTo>
                  <a:cubicBezTo>
                    <a:pt x="220" y="342"/>
                    <a:pt x="220" y="341"/>
                    <a:pt x="221" y="342"/>
                  </a:cubicBezTo>
                  <a:cubicBezTo>
                    <a:pt x="221" y="343"/>
                    <a:pt x="222" y="345"/>
                    <a:pt x="223" y="345"/>
                  </a:cubicBezTo>
                  <a:cubicBezTo>
                    <a:pt x="224" y="346"/>
                    <a:pt x="226" y="344"/>
                    <a:pt x="227" y="344"/>
                  </a:cubicBezTo>
                  <a:cubicBezTo>
                    <a:pt x="228" y="344"/>
                    <a:pt x="229" y="344"/>
                    <a:pt x="229" y="344"/>
                  </a:cubicBezTo>
                  <a:cubicBezTo>
                    <a:pt x="230" y="344"/>
                    <a:pt x="231" y="344"/>
                    <a:pt x="232" y="344"/>
                  </a:cubicBezTo>
                  <a:cubicBezTo>
                    <a:pt x="230" y="345"/>
                    <a:pt x="229" y="344"/>
                    <a:pt x="228" y="344"/>
                  </a:cubicBezTo>
                  <a:cubicBezTo>
                    <a:pt x="227" y="345"/>
                    <a:pt x="226" y="345"/>
                    <a:pt x="225" y="345"/>
                  </a:cubicBezTo>
                  <a:cubicBezTo>
                    <a:pt x="223" y="346"/>
                    <a:pt x="222" y="345"/>
                    <a:pt x="221" y="343"/>
                  </a:cubicBezTo>
                  <a:cubicBezTo>
                    <a:pt x="219" y="341"/>
                    <a:pt x="217" y="342"/>
                    <a:pt x="215" y="342"/>
                  </a:cubicBezTo>
                  <a:cubicBezTo>
                    <a:pt x="214" y="342"/>
                    <a:pt x="213" y="341"/>
                    <a:pt x="212" y="341"/>
                  </a:cubicBezTo>
                  <a:cubicBezTo>
                    <a:pt x="211" y="341"/>
                    <a:pt x="210" y="342"/>
                    <a:pt x="210" y="342"/>
                  </a:cubicBezTo>
                  <a:cubicBezTo>
                    <a:pt x="209" y="342"/>
                    <a:pt x="208" y="342"/>
                    <a:pt x="207" y="343"/>
                  </a:cubicBezTo>
                  <a:cubicBezTo>
                    <a:pt x="206" y="343"/>
                    <a:pt x="205" y="343"/>
                    <a:pt x="204" y="343"/>
                  </a:cubicBezTo>
                  <a:cubicBezTo>
                    <a:pt x="203" y="343"/>
                    <a:pt x="202" y="343"/>
                    <a:pt x="201" y="343"/>
                  </a:cubicBezTo>
                  <a:cubicBezTo>
                    <a:pt x="201" y="344"/>
                    <a:pt x="199" y="343"/>
                    <a:pt x="199" y="344"/>
                  </a:cubicBezTo>
                  <a:cubicBezTo>
                    <a:pt x="199" y="344"/>
                    <a:pt x="200" y="344"/>
                    <a:pt x="200" y="344"/>
                  </a:cubicBezTo>
                  <a:cubicBezTo>
                    <a:pt x="200" y="344"/>
                    <a:pt x="195" y="344"/>
                    <a:pt x="195" y="345"/>
                  </a:cubicBezTo>
                  <a:cubicBezTo>
                    <a:pt x="195" y="347"/>
                    <a:pt x="199" y="346"/>
                    <a:pt x="200" y="346"/>
                  </a:cubicBezTo>
                  <a:cubicBezTo>
                    <a:pt x="199" y="347"/>
                    <a:pt x="198" y="346"/>
                    <a:pt x="196" y="347"/>
                  </a:cubicBezTo>
                  <a:cubicBezTo>
                    <a:pt x="198" y="348"/>
                    <a:pt x="200" y="348"/>
                    <a:pt x="202" y="348"/>
                  </a:cubicBezTo>
                  <a:cubicBezTo>
                    <a:pt x="201" y="348"/>
                    <a:pt x="200" y="348"/>
                    <a:pt x="199" y="348"/>
                  </a:cubicBezTo>
                  <a:cubicBezTo>
                    <a:pt x="198" y="348"/>
                    <a:pt x="197" y="348"/>
                    <a:pt x="196" y="348"/>
                  </a:cubicBezTo>
                  <a:cubicBezTo>
                    <a:pt x="199" y="350"/>
                    <a:pt x="202" y="349"/>
                    <a:pt x="205" y="349"/>
                  </a:cubicBezTo>
                  <a:cubicBezTo>
                    <a:pt x="206" y="349"/>
                    <a:pt x="207" y="350"/>
                    <a:pt x="208" y="349"/>
                  </a:cubicBezTo>
                  <a:cubicBezTo>
                    <a:pt x="209" y="349"/>
                    <a:pt x="209" y="348"/>
                    <a:pt x="210" y="348"/>
                  </a:cubicBezTo>
                  <a:cubicBezTo>
                    <a:pt x="211" y="348"/>
                    <a:pt x="211" y="350"/>
                    <a:pt x="212" y="349"/>
                  </a:cubicBezTo>
                  <a:cubicBezTo>
                    <a:pt x="211" y="349"/>
                    <a:pt x="211" y="350"/>
                    <a:pt x="210" y="350"/>
                  </a:cubicBezTo>
                  <a:cubicBezTo>
                    <a:pt x="211" y="350"/>
                    <a:pt x="211" y="351"/>
                    <a:pt x="212" y="350"/>
                  </a:cubicBezTo>
                  <a:cubicBezTo>
                    <a:pt x="211" y="351"/>
                    <a:pt x="209" y="350"/>
                    <a:pt x="207" y="350"/>
                  </a:cubicBezTo>
                  <a:cubicBezTo>
                    <a:pt x="207" y="350"/>
                    <a:pt x="206" y="350"/>
                    <a:pt x="206" y="350"/>
                  </a:cubicBezTo>
                  <a:cubicBezTo>
                    <a:pt x="206" y="350"/>
                    <a:pt x="206" y="350"/>
                    <a:pt x="205" y="351"/>
                  </a:cubicBezTo>
                  <a:cubicBezTo>
                    <a:pt x="205" y="351"/>
                    <a:pt x="205" y="350"/>
                    <a:pt x="205" y="350"/>
                  </a:cubicBezTo>
                  <a:cubicBezTo>
                    <a:pt x="204" y="350"/>
                    <a:pt x="203" y="352"/>
                    <a:pt x="204" y="351"/>
                  </a:cubicBezTo>
                  <a:cubicBezTo>
                    <a:pt x="205" y="351"/>
                    <a:pt x="206" y="351"/>
                    <a:pt x="207" y="351"/>
                  </a:cubicBezTo>
                  <a:cubicBezTo>
                    <a:pt x="207" y="351"/>
                    <a:pt x="209" y="351"/>
                    <a:pt x="207" y="351"/>
                  </a:cubicBezTo>
                  <a:cubicBezTo>
                    <a:pt x="206" y="352"/>
                    <a:pt x="204" y="352"/>
                    <a:pt x="203" y="352"/>
                  </a:cubicBezTo>
                  <a:cubicBezTo>
                    <a:pt x="204" y="353"/>
                    <a:pt x="205" y="353"/>
                    <a:pt x="206" y="352"/>
                  </a:cubicBezTo>
                  <a:cubicBezTo>
                    <a:pt x="207" y="352"/>
                    <a:pt x="208" y="352"/>
                    <a:pt x="209" y="352"/>
                  </a:cubicBezTo>
                  <a:cubicBezTo>
                    <a:pt x="208" y="353"/>
                    <a:pt x="205" y="353"/>
                    <a:pt x="203" y="353"/>
                  </a:cubicBezTo>
                  <a:cubicBezTo>
                    <a:pt x="202" y="353"/>
                    <a:pt x="202" y="353"/>
                    <a:pt x="201" y="353"/>
                  </a:cubicBezTo>
                  <a:cubicBezTo>
                    <a:pt x="200" y="354"/>
                    <a:pt x="199" y="355"/>
                    <a:pt x="201" y="354"/>
                  </a:cubicBezTo>
                  <a:cubicBezTo>
                    <a:pt x="200" y="355"/>
                    <a:pt x="202" y="355"/>
                    <a:pt x="203" y="355"/>
                  </a:cubicBezTo>
                  <a:cubicBezTo>
                    <a:pt x="204" y="355"/>
                    <a:pt x="204" y="355"/>
                    <a:pt x="205" y="355"/>
                  </a:cubicBezTo>
                  <a:cubicBezTo>
                    <a:pt x="207" y="355"/>
                    <a:pt x="209" y="356"/>
                    <a:pt x="210" y="355"/>
                  </a:cubicBezTo>
                  <a:cubicBezTo>
                    <a:pt x="209" y="357"/>
                    <a:pt x="207" y="355"/>
                    <a:pt x="205" y="355"/>
                  </a:cubicBezTo>
                  <a:cubicBezTo>
                    <a:pt x="204" y="356"/>
                    <a:pt x="203" y="357"/>
                    <a:pt x="201" y="356"/>
                  </a:cubicBezTo>
                  <a:cubicBezTo>
                    <a:pt x="201" y="356"/>
                    <a:pt x="202" y="356"/>
                    <a:pt x="202" y="356"/>
                  </a:cubicBezTo>
                  <a:cubicBezTo>
                    <a:pt x="201" y="356"/>
                    <a:pt x="198" y="355"/>
                    <a:pt x="198" y="357"/>
                  </a:cubicBezTo>
                  <a:cubicBezTo>
                    <a:pt x="198" y="357"/>
                    <a:pt x="199" y="357"/>
                    <a:pt x="199" y="357"/>
                  </a:cubicBezTo>
                  <a:cubicBezTo>
                    <a:pt x="198" y="358"/>
                    <a:pt x="196" y="358"/>
                    <a:pt x="199" y="360"/>
                  </a:cubicBezTo>
                  <a:cubicBezTo>
                    <a:pt x="200" y="360"/>
                    <a:pt x="202" y="360"/>
                    <a:pt x="203" y="360"/>
                  </a:cubicBezTo>
                  <a:cubicBezTo>
                    <a:pt x="202" y="360"/>
                    <a:pt x="201" y="360"/>
                    <a:pt x="200" y="361"/>
                  </a:cubicBezTo>
                  <a:cubicBezTo>
                    <a:pt x="199" y="361"/>
                    <a:pt x="199" y="362"/>
                    <a:pt x="198" y="362"/>
                  </a:cubicBezTo>
                  <a:cubicBezTo>
                    <a:pt x="198" y="362"/>
                    <a:pt x="199" y="362"/>
                    <a:pt x="199" y="362"/>
                  </a:cubicBezTo>
                  <a:cubicBezTo>
                    <a:pt x="199" y="362"/>
                    <a:pt x="199" y="363"/>
                    <a:pt x="198" y="363"/>
                  </a:cubicBezTo>
                  <a:cubicBezTo>
                    <a:pt x="203" y="364"/>
                    <a:pt x="205" y="360"/>
                    <a:pt x="209" y="358"/>
                  </a:cubicBezTo>
                  <a:cubicBezTo>
                    <a:pt x="210" y="357"/>
                    <a:pt x="213" y="357"/>
                    <a:pt x="214" y="356"/>
                  </a:cubicBezTo>
                  <a:cubicBezTo>
                    <a:pt x="214" y="355"/>
                    <a:pt x="214" y="354"/>
                    <a:pt x="215" y="354"/>
                  </a:cubicBezTo>
                  <a:cubicBezTo>
                    <a:pt x="216" y="353"/>
                    <a:pt x="217" y="353"/>
                    <a:pt x="218" y="352"/>
                  </a:cubicBezTo>
                  <a:cubicBezTo>
                    <a:pt x="219" y="352"/>
                    <a:pt x="220" y="351"/>
                    <a:pt x="221" y="350"/>
                  </a:cubicBezTo>
                  <a:cubicBezTo>
                    <a:pt x="222" y="350"/>
                    <a:pt x="223" y="349"/>
                    <a:pt x="225" y="349"/>
                  </a:cubicBezTo>
                  <a:cubicBezTo>
                    <a:pt x="227" y="348"/>
                    <a:pt x="230" y="346"/>
                    <a:pt x="232" y="346"/>
                  </a:cubicBezTo>
                  <a:cubicBezTo>
                    <a:pt x="231" y="347"/>
                    <a:pt x="230" y="347"/>
                    <a:pt x="229" y="347"/>
                  </a:cubicBezTo>
                  <a:cubicBezTo>
                    <a:pt x="231" y="348"/>
                    <a:pt x="233" y="347"/>
                    <a:pt x="235" y="348"/>
                  </a:cubicBezTo>
                  <a:cubicBezTo>
                    <a:pt x="233" y="348"/>
                    <a:pt x="231" y="348"/>
                    <a:pt x="230" y="348"/>
                  </a:cubicBezTo>
                  <a:cubicBezTo>
                    <a:pt x="228" y="348"/>
                    <a:pt x="228" y="348"/>
                    <a:pt x="226" y="349"/>
                  </a:cubicBezTo>
                  <a:cubicBezTo>
                    <a:pt x="225" y="349"/>
                    <a:pt x="224" y="349"/>
                    <a:pt x="226" y="350"/>
                  </a:cubicBezTo>
                  <a:cubicBezTo>
                    <a:pt x="227" y="350"/>
                    <a:pt x="227" y="350"/>
                    <a:pt x="228" y="350"/>
                  </a:cubicBezTo>
                  <a:cubicBezTo>
                    <a:pt x="229" y="350"/>
                    <a:pt x="231" y="350"/>
                    <a:pt x="232" y="350"/>
                  </a:cubicBezTo>
                  <a:cubicBezTo>
                    <a:pt x="230" y="351"/>
                    <a:pt x="229" y="350"/>
                    <a:pt x="228" y="350"/>
                  </a:cubicBezTo>
                  <a:cubicBezTo>
                    <a:pt x="227" y="350"/>
                    <a:pt x="226" y="351"/>
                    <a:pt x="225" y="350"/>
                  </a:cubicBezTo>
                  <a:cubicBezTo>
                    <a:pt x="224" y="350"/>
                    <a:pt x="223" y="350"/>
                    <a:pt x="222" y="350"/>
                  </a:cubicBezTo>
                  <a:cubicBezTo>
                    <a:pt x="221" y="351"/>
                    <a:pt x="220" y="352"/>
                    <a:pt x="219" y="352"/>
                  </a:cubicBezTo>
                  <a:cubicBezTo>
                    <a:pt x="219" y="353"/>
                    <a:pt x="218" y="353"/>
                    <a:pt x="217" y="354"/>
                  </a:cubicBezTo>
                  <a:cubicBezTo>
                    <a:pt x="215" y="354"/>
                    <a:pt x="215" y="356"/>
                    <a:pt x="213" y="357"/>
                  </a:cubicBezTo>
                  <a:cubicBezTo>
                    <a:pt x="212" y="357"/>
                    <a:pt x="211" y="357"/>
                    <a:pt x="211" y="358"/>
                  </a:cubicBezTo>
                  <a:cubicBezTo>
                    <a:pt x="210" y="358"/>
                    <a:pt x="209" y="359"/>
                    <a:pt x="208" y="359"/>
                  </a:cubicBezTo>
                  <a:cubicBezTo>
                    <a:pt x="207" y="360"/>
                    <a:pt x="207" y="360"/>
                    <a:pt x="206" y="361"/>
                  </a:cubicBezTo>
                  <a:cubicBezTo>
                    <a:pt x="205" y="361"/>
                    <a:pt x="205" y="362"/>
                    <a:pt x="204" y="362"/>
                  </a:cubicBezTo>
                  <a:cubicBezTo>
                    <a:pt x="203" y="363"/>
                    <a:pt x="201" y="363"/>
                    <a:pt x="200" y="364"/>
                  </a:cubicBezTo>
                  <a:cubicBezTo>
                    <a:pt x="201" y="364"/>
                    <a:pt x="202" y="364"/>
                    <a:pt x="203" y="364"/>
                  </a:cubicBezTo>
                  <a:cubicBezTo>
                    <a:pt x="203" y="365"/>
                    <a:pt x="197" y="365"/>
                    <a:pt x="201" y="365"/>
                  </a:cubicBezTo>
                  <a:cubicBezTo>
                    <a:pt x="203" y="366"/>
                    <a:pt x="204" y="364"/>
                    <a:pt x="206" y="364"/>
                  </a:cubicBezTo>
                  <a:cubicBezTo>
                    <a:pt x="205" y="365"/>
                    <a:pt x="203" y="366"/>
                    <a:pt x="202" y="366"/>
                  </a:cubicBezTo>
                  <a:cubicBezTo>
                    <a:pt x="203" y="367"/>
                    <a:pt x="204" y="367"/>
                    <a:pt x="205" y="366"/>
                  </a:cubicBezTo>
                  <a:cubicBezTo>
                    <a:pt x="206" y="366"/>
                    <a:pt x="206" y="366"/>
                    <a:pt x="207" y="366"/>
                  </a:cubicBezTo>
                  <a:cubicBezTo>
                    <a:pt x="207" y="365"/>
                    <a:pt x="206" y="365"/>
                    <a:pt x="207" y="365"/>
                  </a:cubicBezTo>
                  <a:cubicBezTo>
                    <a:pt x="207" y="365"/>
                    <a:pt x="208" y="365"/>
                    <a:pt x="208" y="365"/>
                  </a:cubicBezTo>
                  <a:cubicBezTo>
                    <a:pt x="208" y="365"/>
                    <a:pt x="209" y="365"/>
                    <a:pt x="209" y="365"/>
                  </a:cubicBezTo>
                  <a:cubicBezTo>
                    <a:pt x="210" y="365"/>
                    <a:pt x="210" y="367"/>
                    <a:pt x="212" y="366"/>
                  </a:cubicBezTo>
                  <a:cubicBezTo>
                    <a:pt x="212" y="366"/>
                    <a:pt x="213" y="365"/>
                    <a:pt x="213" y="365"/>
                  </a:cubicBezTo>
                  <a:cubicBezTo>
                    <a:pt x="214" y="364"/>
                    <a:pt x="215" y="364"/>
                    <a:pt x="216" y="364"/>
                  </a:cubicBezTo>
                  <a:cubicBezTo>
                    <a:pt x="216" y="364"/>
                    <a:pt x="217" y="364"/>
                    <a:pt x="217" y="364"/>
                  </a:cubicBezTo>
                  <a:cubicBezTo>
                    <a:pt x="218" y="364"/>
                    <a:pt x="218" y="365"/>
                    <a:pt x="217" y="365"/>
                  </a:cubicBezTo>
                  <a:cubicBezTo>
                    <a:pt x="216" y="365"/>
                    <a:pt x="216" y="365"/>
                    <a:pt x="215" y="365"/>
                  </a:cubicBezTo>
                  <a:cubicBezTo>
                    <a:pt x="215" y="365"/>
                    <a:pt x="215" y="365"/>
                    <a:pt x="214" y="365"/>
                  </a:cubicBezTo>
                  <a:cubicBezTo>
                    <a:pt x="213" y="365"/>
                    <a:pt x="212" y="366"/>
                    <a:pt x="212" y="367"/>
                  </a:cubicBezTo>
                  <a:cubicBezTo>
                    <a:pt x="211" y="367"/>
                    <a:pt x="210" y="367"/>
                    <a:pt x="209" y="366"/>
                  </a:cubicBezTo>
                  <a:cubicBezTo>
                    <a:pt x="208" y="366"/>
                    <a:pt x="208" y="366"/>
                    <a:pt x="206" y="366"/>
                  </a:cubicBezTo>
                  <a:cubicBezTo>
                    <a:pt x="206" y="366"/>
                    <a:pt x="205" y="367"/>
                    <a:pt x="204" y="367"/>
                  </a:cubicBezTo>
                  <a:cubicBezTo>
                    <a:pt x="203" y="368"/>
                    <a:pt x="203" y="369"/>
                    <a:pt x="202" y="369"/>
                  </a:cubicBezTo>
                  <a:cubicBezTo>
                    <a:pt x="203" y="369"/>
                    <a:pt x="205" y="368"/>
                    <a:pt x="206" y="368"/>
                  </a:cubicBezTo>
                  <a:cubicBezTo>
                    <a:pt x="205" y="369"/>
                    <a:pt x="203" y="369"/>
                    <a:pt x="202" y="370"/>
                  </a:cubicBezTo>
                  <a:cubicBezTo>
                    <a:pt x="203" y="370"/>
                    <a:pt x="204" y="370"/>
                    <a:pt x="205" y="370"/>
                  </a:cubicBezTo>
                  <a:cubicBezTo>
                    <a:pt x="205" y="370"/>
                    <a:pt x="206" y="370"/>
                    <a:pt x="206" y="370"/>
                  </a:cubicBezTo>
                  <a:cubicBezTo>
                    <a:pt x="207" y="370"/>
                    <a:pt x="207" y="369"/>
                    <a:pt x="208" y="368"/>
                  </a:cubicBezTo>
                  <a:cubicBezTo>
                    <a:pt x="208" y="369"/>
                    <a:pt x="207" y="370"/>
                    <a:pt x="207" y="371"/>
                  </a:cubicBezTo>
                  <a:cubicBezTo>
                    <a:pt x="208" y="371"/>
                    <a:pt x="208" y="370"/>
                    <a:pt x="209" y="370"/>
                  </a:cubicBezTo>
                  <a:cubicBezTo>
                    <a:pt x="208" y="371"/>
                    <a:pt x="207" y="371"/>
                    <a:pt x="207" y="371"/>
                  </a:cubicBezTo>
                  <a:cubicBezTo>
                    <a:pt x="207" y="371"/>
                    <a:pt x="207" y="371"/>
                    <a:pt x="208" y="371"/>
                  </a:cubicBezTo>
                  <a:cubicBezTo>
                    <a:pt x="207" y="372"/>
                    <a:pt x="207" y="372"/>
                    <a:pt x="207" y="372"/>
                  </a:cubicBezTo>
                  <a:cubicBezTo>
                    <a:pt x="208" y="373"/>
                    <a:pt x="209" y="371"/>
                    <a:pt x="210" y="370"/>
                  </a:cubicBezTo>
                  <a:cubicBezTo>
                    <a:pt x="210" y="371"/>
                    <a:pt x="209" y="372"/>
                    <a:pt x="209" y="373"/>
                  </a:cubicBezTo>
                  <a:cubicBezTo>
                    <a:pt x="209" y="374"/>
                    <a:pt x="209" y="373"/>
                    <a:pt x="210" y="373"/>
                  </a:cubicBezTo>
                  <a:cubicBezTo>
                    <a:pt x="210" y="373"/>
                    <a:pt x="210" y="372"/>
                    <a:pt x="210" y="373"/>
                  </a:cubicBezTo>
                  <a:cubicBezTo>
                    <a:pt x="210" y="373"/>
                    <a:pt x="210" y="374"/>
                    <a:pt x="211" y="374"/>
                  </a:cubicBezTo>
                  <a:cubicBezTo>
                    <a:pt x="211" y="374"/>
                    <a:pt x="212" y="374"/>
                    <a:pt x="212" y="374"/>
                  </a:cubicBezTo>
                  <a:cubicBezTo>
                    <a:pt x="213" y="373"/>
                    <a:pt x="215" y="372"/>
                    <a:pt x="215" y="371"/>
                  </a:cubicBezTo>
                  <a:cubicBezTo>
                    <a:pt x="215" y="371"/>
                    <a:pt x="215" y="371"/>
                    <a:pt x="215" y="370"/>
                  </a:cubicBezTo>
                  <a:cubicBezTo>
                    <a:pt x="215" y="370"/>
                    <a:pt x="216" y="370"/>
                    <a:pt x="216" y="370"/>
                  </a:cubicBezTo>
                  <a:cubicBezTo>
                    <a:pt x="218" y="370"/>
                    <a:pt x="219" y="369"/>
                    <a:pt x="221" y="368"/>
                  </a:cubicBezTo>
                  <a:cubicBezTo>
                    <a:pt x="223" y="368"/>
                    <a:pt x="224" y="368"/>
                    <a:pt x="226" y="369"/>
                  </a:cubicBezTo>
                  <a:cubicBezTo>
                    <a:pt x="227" y="369"/>
                    <a:pt x="227" y="369"/>
                    <a:pt x="227" y="369"/>
                  </a:cubicBezTo>
                  <a:cubicBezTo>
                    <a:pt x="228" y="369"/>
                    <a:pt x="229" y="370"/>
                    <a:pt x="230" y="370"/>
                  </a:cubicBezTo>
                  <a:cubicBezTo>
                    <a:pt x="228" y="370"/>
                    <a:pt x="226" y="369"/>
                    <a:pt x="224" y="369"/>
                  </a:cubicBezTo>
                  <a:cubicBezTo>
                    <a:pt x="222" y="369"/>
                    <a:pt x="220" y="369"/>
                    <a:pt x="218" y="370"/>
                  </a:cubicBezTo>
                  <a:cubicBezTo>
                    <a:pt x="218" y="370"/>
                    <a:pt x="217" y="371"/>
                    <a:pt x="216" y="371"/>
                  </a:cubicBezTo>
                  <a:cubicBezTo>
                    <a:pt x="216" y="371"/>
                    <a:pt x="216" y="372"/>
                    <a:pt x="215" y="372"/>
                  </a:cubicBezTo>
                  <a:cubicBezTo>
                    <a:pt x="215" y="372"/>
                    <a:pt x="216" y="372"/>
                    <a:pt x="216" y="372"/>
                  </a:cubicBezTo>
                  <a:cubicBezTo>
                    <a:pt x="215" y="373"/>
                    <a:pt x="214" y="373"/>
                    <a:pt x="213" y="373"/>
                  </a:cubicBezTo>
                  <a:cubicBezTo>
                    <a:pt x="212" y="374"/>
                    <a:pt x="212" y="374"/>
                    <a:pt x="211" y="375"/>
                  </a:cubicBezTo>
                  <a:cubicBezTo>
                    <a:pt x="209" y="376"/>
                    <a:pt x="209" y="376"/>
                    <a:pt x="210" y="378"/>
                  </a:cubicBezTo>
                  <a:cubicBezTo>
                    <a:pt x="210" y="378"/>
                    <a:pt x="211" y="377"/>
                    <a:pt x="211" y="377"/>
                  </a:cubicBezTo>
                  <a:cubicBezTo>
                    <a:pt x="211" y="377"/>
                    <a:pt x="211" y="376"/>
                    <a:pt x="211" y="376"/>
                  </a:cubicBezTo>
                  <a:cubicBezTo>
                    <a:pt x="212" y="376"/>
                    <a:pt x="212" y="377"/>
                    <a:pt x="213" y="376"/>
                  </a:cubicBezTo>
                  <a:cubicBezTo>
                    <a:pt x="213" y="377"/>
                    <a:pt x="212" y="378"/>
                    <a:pt x="212" y="378"/>
                  </a:cubicBezTo>
                  <a:cubicBezTo>
                    <a:pt x="213" y="378"/>
                    <a:pt x="214" y="377"/>
                    <a:pt x="215" y="376"/>
                  </a:cubicBezTo>
                  <a:cubicBezTo>
                    <a:pt x="214" y="377"/>
                    <a:pt x="213" y="378"/>
                    <a:pt x="213" y="378"/>
                  </a:cubicBezTo>
                  <a:cubicBezTo>
                    <a:pt x="213" y="379"/>
                    <a:pt x="213" y="380"/>
                    <a:pt x="212" y="380"/>
                  </a:cubicBezTo>
                  <a:cubicBezTo>
                    <a:pt x="212" y="381"/>
                    <a:pt x="213" y="381"/>
                    <a:pt x="214" y="381"/>
                  </a:cubicBezTo>
                  <a:cubicBezTo>
                    <a:pt x="215" y="382"/>
                    <a:pt x="214" y="382"/>
                    <a:pt x="214" y="382"/>
                  </a:cubicBezTo>
                  <a:cubicBezTo>
                    <a:pt x="213" y="383"/>
                    <a:pt x="213" y="383"/>
                    <a:pt x="212" y="384"/>
                  </a:cubicBezTo>
                  <a:cubicBezTo>
                    <a:pt x="214" y="385"/>
                    <a:pt x="215" y="384"/>
                    <a:pt x="214" y="383"/>
                  </a:cubicBezTo>
                  <a:cubicBezTo>
                    <a:pt x="215" y="383"/>
                    <a:pt x="215" y="383"/>
                    <a:pt x="215" y="383"/>
                  </a:cubicBezTo>
                  <a:cubicBezTo>
                    <a:pt x="215" y="384"/>
                    <a:pt x="214" y="384"/>
                    <a:pt x="214" y="385"/>
                  </a:cubicBezTo>
                  <a:cubicBezTo>
                    <a:pt x="216" y="385"/>
                    <a:pt x="216" y="383"/>
                    <a:pt x="217" y="384"/>
                  </a:cubicBezTo>
                  <a:cubicBezTo>
                    <a:pt x="217" y="382"/>
                    <a:pt x="218" y="381"/>
                    <a:pt x="219" y="382"/>
                  </a:cubicBezTo>
                  <a:cubicBezTo>
                    <a:pt x="219" y="382"/>
                    <a:pt x="218" y="383"/>
                    <a:pt x="218" y="383"/>
                  </a:cubicBezTo>
                  <a:cubicBezTo>
                    <a:pt x="218" y="384"/>
                    <a:pt x="220" y="383"/>
                    <a:pt x="220" y="382"/>
                  </a:cubicBezTo>
                  <a:cubicBezTo>
                    <a:pt x="221" y="382"/>
                    <a:pt x="221" y="381"/>
                    <a:pt x="222" y="381"/>
                  </a:cubicBezTo>
                  <a:cubicBezTo>
                    <a:pt x="222" y="382"/>
                    <a:pt x="221" y="383"/>
                    <a:pt x="220" y="383"/>
                  </a:cubicBezTo>
                  <a:cubicBezTo>
                    <a:pt x="219" y="384"/>
                    <a:pt x="219" y="384"/>
                    <a:pt x="219" y="384"/>
                  </a:cubicBezTo>
                  <a:cubicBezTo>
                    <a:pt x="219" y="384"/>
                    <a:pt x="219" y="383"/>
                    <a:pt x="219" y="383"/>
                  </a:cubicBezTo>
                  <a:cubicBezTo>
                    <a:pt x="219" y="383"/>
                    <a:pt x="218" y="384"/>
                    <a:pt x="218" y="384"/>
                  </a:cubicBezTo>
                  <a:cubicBezTo>
                    <a:pt x="218" y="384"/>
                    <a:pt x="217" y="384"/>
                    <a:pt x="216" y="385"/>
                  </a:cubicBezTo>
                  <a:cubicBezTo>
                    <a:pt x="216" y="385"/>
                    <a:pt x="216" y="385"/>
                    <a:pt x="215" y="385"/>
                  </a:cubicBezTo>
                  <a:cubicBezTo>
                    <a:pt x="215" y="386"/>
                    <a:pt x="214" y="386"/>
                    <a:pt x="214" y="386"/>
                  </a:cubicBezTo>
                  <a:cubicBezTo>
                    <a:pt x="213" y="387"/>
                    <a:pt x="213" y="389"/>
                    <a:pt x="214" y="391"/>
                  </a:cubicBezTo>
                  <a:cubicBezTo>
                    <a:pt x="214" y="391"/>
                    <a:pt x="214" y="394"/>
                    <a:pt x="214" y="394"/>
                  </a:cubicBezTo>
                  <a:cubicBezTo>
                    <a:pt x="215" y="394"/>
                    <a:pt x="215" y="394"/>
                    <a:pt x="215" y="394"/>
                  </a:cubicBezTo>
                  <a:cubicBezTo>
                    <a:pt x="215" y="393"/>
                    <a:pt x="216" y="392"/>
                    <a:pt x="217" y="392"/>
                  </a:cubicBezTo>
                  <a:cubicBezTo>
                    <a:pt x="218" y="392"/>
                    <a:pt x="218" y="392"/>
                    <a:pt x="218" y="392"/>
                  </a:cubicBezTo>
                  <a:cubicBezTo>
                    <a:pt x="219" y="393"/>
                    <a:pt x="220" y="393"/>
                    <a:pt x="220" y="394"/>
                  </a:cubicBezTo>
                  <a:cubicBezTo>
                    <a:pt x="220" y="394"/>
                    <a:pt x="220" y="395"/>
                    <a:pt x="220" y="395"/>
                  </a:cubicBezTo>
                  <a:cubicBezTo>
                    <a:pt x="220" y="395"/>
                    <a:pt x="220" y="395"/>
                    <a:pt x="220" y="395"/>
                  </a:cubicBezTo>
                  <a:cubicBezTo>
                    <a:pt x="220" y="395"/>
                    <a:pt x="220" y="395"/>
                    <a:pt x="220" y="395"/>
                  </a:cubicBezTo>
                  <a:cubicBezTo>
                    <a:pt x="220" y="396"/>
                    <a:pt x="220" y="396"/>
                    <a:pt x="220" y="396"/>
                  </a:cubicBezTo>
                  <a:cubicBezTo>
                    <a:pt x="222" y="397"/>
                    <a:pt x="225" y="396"/>
                    <a:pt x="227" y="395"/>
                  </a:cubicBezTo>
                  <a:cubicBezTo>
                    <a:pt x="228" y="395"/>
                    <a:pt x="229" y="394"/>
                    <a:pt x="230" y="393"/>
                  </a:cubicBezTo>
                  <a:cubicBezTo>
                    <a:pt x="230" y="393"/>
                    <a:pt x="231" y="392"/>
                    <a:pt x="231" y="392"/>
                  </a:cubicBezTo>
                  <a:cubicBezTo>
                    <a:pt x="232" y="392"/>
                    <a:pt x="231" y="394"/>
                    <a:pt x="231" y="395"/>
                  </a:cubicBezTo>
                  <a:cubicBezTo>
                    <a:pt x="233" y="394"/>
                    <a:pt x="235" y="394"/>
                    <a:pt x="234" y="396"/>
                  </a:cubicBezTo>
                  <a:cubicBezTo>
                    <a:pt x="234" y="394"/>
                    <a:pt x="232" y="395"/>
                    <a:pt x="231" y="395"/>
                  </a:cubicBezTo>
                  <a:cubicBezTo>
                    <a:pt x="230" y="396"/>
                    <a:pt x="229" y="395"/>
                    <a:pt x="227" y="396"/>
                  </a:cubicBezTo>
                  <a:cubicBezTo>
                    <a:pt x="226" y="396"/>
                    <a:pt x="224" y="396"/>
                    <a:pt x="223" y="397"/>
                  </a:cubicBezTo>
                  <a:cubicBezTo>
                    <a:pt x="221" y="397"/>
                    <a:pt x="220" y="397"/>
                    <a:pt x="219" y="397"/>
                  </a:cubicBezTo>
                  <a:cubicBezTo>
                    <a:pt x="220" y="398"/>
                    <a:pt x="221" y="398"/>
                    <a:pt x="221" y="398"/>
                  </a:cubicBezTo>
                  <a:cubicBezTo>
                    <a:pt x="221" y="399"/>
                    <a:pt x="221" y="400"/>
                    <a:pt x="220" y="400"/>
                  </a:cubicBezTo>
                  <a:cubicBezTo>
                    <a:pt x="222" y="401"/>
                    <a:pt x="224" y="399"/>
                    <a:pt x="226" y="399"/>
                  </a:cubicBezTo>
                  <a:cubicBezTo>
                    <a:pt x="224" y="400"/>
                    <a:pt x="222" y="401"/>
                    <a:pt x="220" y="402"/>
                  </a:cubicBezTo>
                  <a:cubicBezTo>
                    <a:pt x="220" y="402"/>
                    <a:pt x="221" y="402"/>
                    <a:pt x="221" y="402"/>
                  </a:cubicBezTo>
                  <a:cubicBezTo>
                    <a:pt x="221" y="403"/>
                    <a:pt x="220" y="403"/>
                    <a:pt x="220" y="403"/>
                  </a:cubicBezTo>
                  <a:cubicBezTo>
                    <a:pt x="220" y="404"/>
                    <a:pt x="221" y="404"/>
                    <a:pt x="221" y="405"/>
                  </a:cubicBezTo>
                  <a:cubicBezTo>
                    <a:pt x="221" y="405"/>
                    <a:pt x="223" y="406"/>
                    <a:pt x="224" y="406"/>
                  </a:cubicBezTo>
                  <a:cubicBezTo>
                    <a:pt x="224" y="406"/>
                    <a:pt x="223" y="405"/>
                    <a:pt x="223" y="405"/>
                  </a:cubicBezTo>
                  <a:cubicBezTo>
                    <a:pt x="223" y="404"/>
                    <a:pt x="223" y="403"/>
                    <a:pt x="224" y="403"/>
                  </a:cubicBezTo>
                  <a:cubicBezTo>
                    <a:pt x="225" y="403"/>
                    <a:pt x="226" y="404"/>
                    <a:pt x="227" y="404"/>
                  </a:cubicBezTo>
                  <a:cubicBezTo>
                    <a:pt x="228" y="404"/>
                    <a:pt x="229" y="403"/>
                    <a:pt x="230" y="403"/>
                  </a:cubicBezTo>
                  <a:cubicBezTo>
                    <a:pt x="229" y="404"/>
                    <a:pt x="228" y="404"/>
                    <a:pt x="227" y="404"/>
                  </a:cubicBezTo>
                  <a:cubicBezTo>
                    <a:pt x="226" y="404"/>
                    <a:pt x="225" y="404"/>
                    <a:pt x="224" y="404"/>
                  </a:cubicBezTo>
                  <a:cubicBezTo>
                    <a:pt x="224" y="404"/>
                    <a:pt x="223" y="405"/>
                    <a:pt x="224" y="405"/>
                  </a:cubicBezTo>
                  <a:cubicBezTo>
                    <a:pt x="224" y="406"/>
                    <a:pt x="226" y="405"/>
                    <a:pt x="227" y="405"/>
                  </a:cubicBezTo>
                  <a:cubicBezTo>
                    <a:pt x="226" y="406"/>
                    <a:pt x="224" y="406"/>
                    <a:pt x="223" y="407"/>
                  </a:cubicBezTo>
                  <a:cubicBezTo>
                    <a:pt x="222" y="408"/>
                    <a:pt x="223" y="408"/>
                    <a:pt x="224" y="407"/>
                  </a:cubicBezTo>
                  <a:cubicBezTo>
                    <a:pt x="224" y="407"/>
                    <a:pt x="225" y="406"/>
                    <a:pt x="225" y="406"/>
                  </a:cubicBezTo>
                  <a:cubicBezTo>
                    <a:pt x="225" y="407"/>
                    <a:pt x="224" y="408"/>
                    <a:pt x="224" y="408"/>
                  </a:cubicBezTo>
                  <a:cubicBezTo>
                    <a:pt x="226" y="408"/>
                    <a:pt x="227" y="408"/>
                    <a:pt x="229" y="408"/>
                  </a:cubicBezTo>
                  <a:cubicBezTo>
                    <a:pt x="230" y="408"/>
                    <a:pt x="231" y="407"/>
                    <a:pt x="232" y="408"/>
                  </a:cubicBezTo>
                  <a:cubicBezTo>
                    <a:pt x="230" y="408"/>
                    <a:pt x="228" y="408"/>
                    <a:pt x="226" y="408"/>
                  </a:cubicBezTo>
                  <a:cubicBezTo>
                    <a:pt x="226" y="408"/>
                    <a:pt x="224" y="408"/>
                    <a:pt x="224" y="409"/>
                  </a:cubicBezTo>
                  <a:cubicBezTo>
                    <a:pt x="224" y="409"/>
                    <a:pt x="224" y="410"/>
                    <a:pt x="224" y="411"/>
                  </a:cubicBezTo>
                  <a:cubicBezTo>
                    <a:pt x="225" y="411"/>
                    <a:pt x="226" y="410"/>
                    <a:pt x="227" y="410"/>
                  </a:cubicBezTo>
                  <a:cubicBezTo>
                    <a:pt x="227" y="411"/>
                    <a:pt x="226" y="411"/>
                    <a:pt x="226" y="412"/>
                  </a:cubicBezTo>
                  <a:cubicBezTo>
                    <a:pt x="227" y="411"/>
                    <a:pt x="229" y="410"/>
                    <a:pt x="230" y="411"/>
                  </a:cubicBezTo>
                  <a:cubicBezTo>
                    <a:pt x="231" y="411"/>
                    <a:pt x="232" y="410"/>
                    <a:pt x="232" y="410"/>
                  </a:cubicBezTo>
                  <a:cubicBezTo>
                    <a:pt x="233" y="410"/>
                    <a:pt x="234" y="410"/>
                    <a:pt x="234" y="410"/>
                  </a:cubicBezTo>
                  <a:cubicBezTo>
                    <a:pt x="234" y="411"/>
                    <a:pt x="233" y="411"/>
                    <a:pt x="232" y="411"/>
                  </a:cubicBezTo>
                  <a:cubicBezTo>
                    <a:pt x="231" y="411"/>
                    <a:pt x="231" y="412"/>
                    <a:pt x="230" y="412"/>
                  </a:cubicBezTo>
                  <a:cubicBezTo>
                    <a:pt x="230" y="412"/>
                    <a:pt x="229" y="412"/>
                    <a:pt x="229" y="413"/>
                  </a:cubicBezTo>
                  <a:cubicBezTo>
                    <a:pt x="229" y="413"/>
                    <a:pt x="230" y="414"/>
                    <a:pt x="229" y="414"/>
                  </a:cubicBezTo>
                  <a:cubicBezTo>
                    <a:pt x="230" y="415"/>
                    <a:pt x="231" y="415"/>
                    <a:pt x="232" y="414"/>
                  </a:cubicBezTo>
                  <a:cubicBezTo>
                    <a:pt x="232" y="414"/>
                    <a:pt x="234" y="412"/>
                    <a:pt x="233" y="414"/>
                  </a:cubicBezTo>
                  <a:cubicBezTo>
                    <a:pt x="233" y="415"/>
                    <a:pt x="232" y="415"/>
                    <a:pt x="232" y="416"/>
                  </a:cubicBezTo>
                  <a:cubicBezTo>
                    <a:pt x="231" y="416"/>
                    <a:pt x="232" y="417"/>
                    <a:pt x="231" y="417"/>
                  </a:cubicBezTo>
                  <a:cubicBezTo>
                    <a:pt x="232" y="417"/>
                    <a:pt x="232" y="416"/>
                    <a:pt x="233" y="416"/>
                  </a:cubicBezTo>
                  <a:cubicBezTo>
                    <a:pt x="234" y="415"/>
                    <a:pt x="233" y="415"/>
                    <a:pt x="234" y="415"/>
                  </a:cubicBezTo>
                  <a:cubicBezTo>
                    <a:pt x="235" y="414"/>
                    <a:pt x="237" y="413"/>
                    <a:pt x="238" y="413"/>
                  </a:cubicBezTo>
                  <a:cubicBezTo>
                    <a:pt x="237" y="414"/>
                    <a:pt x="236" y="414"/>
                    <a:pt x="235" y="415"/>
                  </a:cubicBezTo>
                  <a:cubicBezTo>
                    <a:pt x="234" y="415"/>
                    <a:pt x="233" y="416"/>
                    <a:pt x="233" y="417"/>
                  </a:cubicBezTo>
                  <a:cubicBezTo>
                    <a:pt x="232" y="417"/>
                    <a:pt x="232" y="418"/>
                    <a:pt x="232" y="418"/>
                  </a:cubicBezTo>
                  <a:cubicBezTo>
                    <a:pt x="233" y="419"/>
                    <a:pt x="233" y="417"/>
                    <a:pt x="233" y="417"/>
                  </a:cubicBezTo>
                  <a:cubicBezTo>
                    <a:pt x="234" y="417"/>
                    <a:pt x="234" y="417"/>
                    <a:pt x="235" y="417"/>
                  </a:cubicBezTo>
                  <a:cubicBezTo>
                    <a:pt x="235" y="417"/>
                    <a:pt x="236" y="416"/>
                    <a:pt x="236" y="416"/>
                  </a:cubicBezTo>
                  <a:cubicBezTo>
                    <a:pt x="236" y="417"/>
                    <a:pt x="235" y="417"/>
                    <a:pt x="235" y="418"/>
                  </a:cubicBezTo>
                  <a:cubicBezTo>
                    <a:pt x="234" y="418"/>
                    <a:pt x="234" y="418"/>
                    <a:pt x="234" y="419"/>
                  </a:cubicBezTo>
                  <a:cubicBezTo>
                    <a:pt x="234" y="419"/>
                    <a:pt x="233" y="419"/>
                    <a:pt x="233" y="420"/>
                  </a:cubicBezTo>
                  <a:cubicBezTo>
                    <a:pt x="233" y="420"/>
                    <a:pt x="232" y="421"/>
                    <a:pt x="232" y="421"/>
                  </a:cubicBezTo>
                  <a:cubicBezTo>
                    <a:pt x="232" y="423"/>
                    <a:pt x="235" y="424"/>
                    <a:pt x="237" y="425"/>
                  </a:cubicBezTo>
                  <a:cubicBezTo>
                    <a:pt x="237" y="425"/>
                    <a:pt x="238" y="426"/>
                    <a:pt x="239" y="426"/>
                  </a:cubicBezTo>
                  <a:cubicBezTo>
                    <a:pt x="239" y="426"/>
                    <a:pt x="239" y="425"/>
                    <a:pt x="240" y="425"/>
                  </a:cubicBezTo>
                  <a:cubicBezTo>
                    <a:pt x="241" y="425"/>
                    <a:pt x="241" y="426"/>
                    <a:pt x="242" y="426"/>
                  </a:cubicBezTo>
                  <a:cubicBezTo>
                    <a:pt x="242" y="426"/>
                    <a:pt x="240" y="426"/>
                    <a:pt x="240" y="426"/>
                  </a:cubicBezTo>
                  <a:cubicBezTo>
                    <a:pt x="239" y="427"/>
                    <a:pt x="239" y="427"/>
                    <a:pt x="239" y="428"/>
                  </a:cubicBezTo>
                  <a:cubicBezTo>
                    <a:pt x="240" y="428"/>
                    <a:pt x="241" y="427"/>
                    <a:pt x="242" y="427"/>
                  </a:cubicBezTo>
                  <a:cubicBezTo>
                    <a:pt x="242" y="428"/>
                    <a:pt x="241" y="428"/>
                    <a:pt x="241" y="429"/>
                  </a:cubicBezTo>
                  <a:cubicBezTo>
                    <a:pt x="241" y="428"/>
                    <a:pt x="240" y="428"/>
                    <a:pt x="239" y="428"/>
                  </a:cubicBezTo>
                  <a:cubicBezTo>
                    <a:pt x="238" y="428"/>
                    <a:pt x="239" y="429"/>
                    <a:pt x="239" y="430"/>
                  </a:cubicBezTo>
                  <a:cubicBezTo>
                    <a:pt x="239" y="429"/>
                    <a:pt x="239" y="430"/>
                    <a:pt x="238" y="430"/>
                  </a:cubicBezTo>
                  <a:cubicBezTo>
                    <a:pt x="239" y="430"/>
                    <a:pt x="240" y="430"/>
                    <a:pt x="240" y="430"/>
                  </a:cubicBezTo>
                  <a:cubicBezTo>
                    <a:pt x="241" y="429"/>
                    <a:pt x="241" y="429"/>
                    <a:pt x="241" y="429"/>
                  </a:cubicBezTo>
                  <a:cubicBezTo>
                    <a:pt x="242" y="429"/>
                    <a:pt x="243" y="430"/>
                    <a:pt x="244" y="430"/>
                  </a:cubicBezTo>
                  <a:cubicBezTo>
                    <a:pt x="244" y="429"/>
                    <a:pt x="244" y="427"/>
                    <a:pt x="245" y="427"/>
                  </a:cubicBezTo>
                  <a:cubicBezTo>
                    <a:pt x="245" y="427"/>
                    <a:pt x="245" y="428"/>
                    <a:pt x="244" y="429"/>
                  </a:cubicBezTo>
                  <a:cubicBezTo>
                    <a:pt x="245" y="428"/>
                    <a:pt x="246" y="428"/>
                    <a:pt x="247" y="429"/>
                  </a:cubicBezTo>
                  <a:cubicBezTo>
                    <a:pt x="246" y="429"/>
                    <a:pt x="245" y="430"/>
                    <a:pt x="245" y="430"/>
                  </a:cubicBezTo>
                  <a:cubicBezTo>
                    <a:pt x="244" y="430"/>
                    <a:pt x="244" y="430"/>
                    <a:pt x="243" y="430"/>
                  </a:cubicBezTo>
                  <a:cubicBezTo>
                    <a:pt x="241" y="431"/>
                    <a:pt x="241" y="432"/>
                    <a:pt x="241" y="433"/>
                  </a:cubicBezTo>
                  <a:cubicBezTo>
                    <a:pt x="242" y="432"/>
                    <a:pt x="243" y="432"/>
                    <a:pt x="243" y="431"/>
                  </a:cubicBezTo>
                  <a:cubicBezTo>
                    <a:pt x="243" y="432"/>
                    <a:pt x="242" y="433"/>
                    <a:pt x="242" y="434"/>
                  </a:cubicBezTo>
                  <a:cubicBezTo>
                    <a:pt x="244" y="433"/>
                    <a:pt x="245" y="430"/>
                    <a:pt x="248" y="430"/>
                  </a:cubicBezTo>
                  <a:cubicBezTo>
                    <a:pt x="247" y="431"/>
                    <a:pt x="245" y="432"/>
                    <a:pt x="245" y="432"/>
                  </a:cubicBezTo>
                  <a:cubicBezTo>
                    <a:pt x="244" y="432"/>
                    <a:pt x="245" y="434"/>
                    <a:pt x="244" y="434"/>
                  </a:cubicBezTo>
                  <a:cubicBezTo>
                    <a:pt x="245" y="434"/>
                    <a:pt x="246" y="434"/>
                    <a:pt x="247" y="433"/>
                  </a:cubicBezTo>
                  <a:cubicBezTo>
                    <a:pt x="246" y="434"/>
                    <a:pt x="244" y="435"/>
                    <a:pt x="245" y="436"/>
                  </a:cubicBezTo>
                  <a:cubicBezTo>
                    <a:pt x="245" y="437"/>
                    <a:pt x="248" y="435"/>
                    <a:pt x="249" y="436"/>
                  </a:cubicBezTo>
                  <a:cubicBezTo>
                    <a:pt x="248" y="436"/>
                    <a:pt x="247" y="437"/>
                    <a:pt x="245" y="436"/>
                  </a:cubicBezTo>
                  <a:cubicBezTo>
                    <a:pt x="244" y="436"/>
                    <a:pt x="243" y="436"/>
                    <a:pt x="242" y="437"/>
                  </a:cubicBezTo>
                  <a:cubicBezTo>
                    <a:pt x="246" y="438"/>
                    <a:pt x="249" y="438"/>
                    <a:pt x="252" y="436"/>
                  </a:cubicBezTo>
                  <a:cubicBezTo>
                    <a:pt x="252" y="437"/>
                    <a:pt x="251" y="437"/>
                    <a:pt x="251" y="437"/>
                  </a:cubicBezTo>
                  <a:cubicBezTo>
                    <a:pt x="251" y="437"/>
                    <a:pt x="252" y="437"/>
                    <a:pt x="253" y="437"/>
                  </a:cubicBezTo>
                  <a:cubicBezTo>
                    <a:pt x="251" y="438"/>
                    <a:pt x="250" y="438"/>
                    <a:pt x="248" y="438"/>
                  </a:cubicBezTo>
                  <a:cubicBezTo>
                    <a:pt x="247" y="439"/>
                    <a:pt x="246" y="439"/>
                    <a:pt x="245" y="439"/>
                  </a:cubicBezTo>
                  <a:cubicBezTo>
                    <a:pt x="246" y="439"/>
                    <a:pt x="248" y="439"/>
                    <a:pt x="249" y="439"/>
                  </a:cubicBezTo>
                  <a:cubicBezTo>
                    <a:pt x="250" y="439"/>
                    <a:pt x="251" y="440"/>
                    <a:pt x="252" y="440"/>
                  </a:cubicBezTo>
                  <a:cubicBezTo>
                    <a:pt x="252" y="440"/>
                    <a:pt x="250" y="440"/>
                    <a:pt x="251" y="441"/>
                  </a:cubicBezTo>
                  <a:cubicBezTo>
                    <a:pt x="250" y="441"/>
                    <a:pt x="249" y="441"/>
                    <a:pt x="249" y="442"/>
                  </a:cubicBezTo>
                  <a:cubicBezTo>
                    <a:pt x="249" y="443"/>
                    <a:pt x="252" y="442"/>
                    <a:pt x="252" y="442"/>
                  </a:cubicBezTo>
                  <a:cubicBezTo>
                    <a:pt x="252" y="443"/>
                    <a:pt x="251" y="443"/>
                    <a:pt x="251" y="443"/>
                  </a:cubicBezTo>
                  <a:cubicBezTo>
                    <a:pt x="253" y="442"/>
                    <a:pt x="254" y="440"/>
                    <a:pt x="256" y="440"/>
                  </a:cubicBezTo>
                  <a:cubicBezTo>
                    <a:pt x="256" y="441"/>
                    <a:pt x="255" y="441"/>
                    <a:pt x="255" y="441"/>
                  </a:cubicBezTo>
                  <a:cubicBezTo>
                    <a:pt x="254" y="441"/>
                    <a:pt x="255" y="442"/>
                    <a:pt x="255" y="442"/>
                  </a:cubicBezTo>
                  <a:cubicBezTo>
                    <a:pt x="254" y="443"/>
                    <a:pt x="253" y="442"/>
                    <a:pt x="254" y="443"/>
                  </a:cubicBezTo>
                  <a:cubicBezTo>
                    <a:pt x="254" y="445"/>
                    <a:pt x="257" y="443"/>
                    <a:pt x="258" y="443"/>
                  </a:cubicBezTo>
                  <a:cubicBezTo>
                    <a:pt x="257" y="444"/>
                    <a:pt x="256" y="444"/>
                    <a:pt x="257" y="445"/>
                  </a:cubicBezTo>
                  <a:cubicBezTo>
                    <a:pt x="256" y="445"/>
                    <a:pt x="255" y="445"/>
                    <a:pt x="254" y="445"/>
                  </a:cubicBezTo>
                  <a:cubicBezTo>
                    <a:pt x="253" y="446"/>
                    <a:pt x="252" y="445"/>
                    <a:pt x="251" y="446"/>
                  </a:cubicBezTo>
                  <a:cubicBezTo>
                    <a:pt x="253" y="446"/>
                    <a:pt x="255" y="446"/>
                    <a:pt x="256" y="446"/>
                  </a:cubicBezTo>
                  <a:cubicBezTo>
                    <a:pt x="257" y="446"/>
                    <a:pt x="258" y="446"/>
                    <a:pt x="258" y="445"/>
                  </a:cubicBezTo>
                  <a:cubicBezTo>
                    <a:pt x="258" y="446"/>
                    <a:pt x="257" y="447"/>
                    <a:pt x="256" y="447"/>
                  </a:cubicBezTo>
                  <a:cubicBezTo>
                    <a:pt x="255" y="448"/>
                    <a:pt x="254" y="447"/>
                    <a:pt x="253" y="448"/>
                  </a:cubicBezTo>
                  <a:cubicBezTo>
                    <a:pt x="254" y="448"/>
                    <a:pt x="255" y="448"/>
                    <a:pt x="256" y="448"/>
                  </a:cubicBezTo>
                  <a:cubicBezTo>
                    <a:pt x="257" y="448"/>
                    <a:pt x="258" y="448"/>
                    <a:pt x="260" y="448"/>
                  </a:cubicBezTo>
                  <a:cubicBezTo>
                    <a:pt x="260" y="449"/>
                    <a:pt x="262" y="448"/>
                    <a:pt x="263" y="448"/>
                  </a:cubicBezTo>
                  <a:cubicBezTo>
                    <a:pt x="261" y="447"/>
                    <a:pt x="259" y="448"/>
                    <a:pt x="257" y="448"/>
                  </a:cubicBezTo>
                  <a:cubicBezTo>
                    <a:pt x="258" y="447"/>
                    <a:pt x="260" y="448"/>
                    <a:pt x="261" y="447"/>
                  </a:cubicBezTo>
                  <a:cubicBezTo>
                    <a:pt x="260" y="447"/>
                    <a:pt x="262" y="446"/>
                    <a:pt x="262" y="446"/>
                  </a:cubicBezTo>
                  <a:cubicBezTo>
                    <a:pt x="264" y="446"/>
                    <a:pt x="264" y="447"/>
                    <a:pt x="265" y="446"/>
                  </a:cubicBezTo>
                  <a:cubicBezTo>
                    <a:pt x="266" y="448"/>
                    <a:pt x="264" y="448"/>
                    <a:pt x="267" y="448"/>
                  </a:cubicBezTo>
                  <a:cubicBezTo>
                    <a:pt x="267" y="448"/>
                    <a:pt x="266" y="448"/>
                    <a:pt x="266" y="448"/>
                  </a:cubicBezTo>
                  <a:cubicBezTo>
                    <a:pt x="268" y="448"/>
                    <a:pt x="270" y="448"/>
                    <a:pt x="268" y="447"/>
                  </a:cubicBezTo>
                  <a:cubicBezTo>
                    <a:pt x="268" y="447"/>
                    <a:pt x="268" y="447"/>
                    <a:pt x="269" y="447"/>
                  </a:cubicBezTo>
                  <a:cubicBezTo>
                    <a:pt x="269" y="447"/>
                    <a:pt x="268" y="447"/>
                    <a:pt x="268" y="446"/>
                  </a:cubicBezTo>
                  <a:cubicBezTo>
                    <a:pt x="269" y="447"/>
                    <a:pt x="270" y="447"/>
                    <a:pt x="270" y="446"/>
                  </a:cubicBezTo>
                  <a:cubicBezTo>
                    <a:pt x="269" y="446"/>
                    <a:pt x="270" y="446"/>
                    <a:pt x="270" y="446"/>
                  </a:cubicBezTo>
                  <a:cubicBezTo>
                    <a:pt x="270" y="445"/>
                    <a:pt x="271" y="445"/>
                    <a:pt x="272" y="445"/>
                  </a:cubicBezTo>
                  <a:cubicBezTo>
                    <a:pt x="272" y="445"/>
                    <a:pt x="272" y="445"/>
                    <a:pt x="271" y="445"/>
                  </a:cubicBezTo>
                  <a:cubicBezTo>
                    <a:pt x="272" y="445"/>
                    <a:pt x="272" y="445"/>
                    <a:pt x="272" y="445"/>
                  </a:cubicBezTo>
                  <a:cubicBezTo>
                    <a:pt x="272" y="445"/>
                    <a:pt x="272" y="444"/>
                    <a:pt x="272" y="444"/>
                  </a:cubicBezTo>
                  <a:cubicBezTo>
                    <a:pt x="273" y="444"/>
                    <a:pt x="274" y="445"/>
                    <a:pt x="275" y="445"/>
                  </a:cubicBezTo>
                  <a:cubicBezTo>
                    <a:pt x="274" y="445"/>
                    <a:pt x="274" y="445"/>
                    <a:pt x="273" y="444"/>
                  </a:cubicBezTo>
                  <a:cubicBezTo>
                    <a:pt x="274" y="444"/>
                    <a:pt x="278" y="445"/>
                    <a:pt x="277" y="444"/>
                  </a:cubicBezTo>
                  <a:cubicBezTo>
                    <a:pt x="277" y="444"/>
                    <a:pt x="278" y="444"/>
                    <a:pt x="277" y="443"/>
                  </a:cubicBezTo>
                  <a:cubicBezTo>
                    <a:pt x="277" y="442"/>
                    <a:pt x="276" y="442"/>
                    <a:pt x="275" y="442"/>
                  </a:cubicBezTo>
                  <a:cubicBezTo>
                    <a:pt x="276" y="441"/>
                    <a:pt x="276" y="442"/>
                    <a:pt x="277" y="442"/>
                  </a:cubicBezTo>
                  <a:cubicBezTo>
                    <a:pt x="277" y="442"/>
                    <a:pt x="277" y="441"/>
                    <a:pt x="277" y="441"/>
                  </a:cubicBezTo>
                  <a:cubicBezTo>
                    <a:pt x="278" y="441"/>
                    <a:pt x="278" y="440"/>
                    <a:pt x="279" y="440"/>
                  </a:cubicBezTo>
                  <a:cubicBezTo>
                    <a:pt x="279" y="441"/>
                    <a:pt x="277" y="442"/>
                    <a:pt x="277" y="442"/>
                  </a:cubicBezTo>
                  <a:cubicBezTo>
                    <a:pt x="278" y="443"/>
                    <a:pt x="279" y="443"/>
                    <a:pt x="280" y="443"/>
                  </a:cubicBezTo>
                  <a:cubicBezTo>
                    <a:pt x="279" y="443"/>
                    <a:pt x="279" y="444"/>
                    <a:pt x="278" y="444"/>
                  </a:cubicBezTo>
                  <a:cubicBezTo>
                    <a:pt x="278" y="444"/>
                    <a:pt x="278" y="445"/>
                    <a:pt x="278" y="445"/>
                  </a:cubicBezTo>
                  <a:cubicBezTo>
                    <a:pt x="278" y="445"/>
                    <a:pt x="278" y="445"/>
                    <a:pt x="277" y="445"/>
                  </a:cubicBezTo>
                  <a:cubicBezTo>
                    <a:pt x="277" y="445"/>
                    <a:pt x="276" y="446"/>
                    <a:pt x="275" y="446"/>
                  </a:cubicBezTo>
                  <a:cubicBezTo>
                    <a:pt x="277" y="447"/>
                    <a:pt x="279" y="446"/>
                    <a:pt x="280" y="445"/>
                  </a:cubicBezTo>
                  <a:cubicBezTo>
                    <a:pt x="281" y="444"/>
                    <a:pt x="281" y="443"/>
                    <a:pt x="281" y="442"/>
                  </a:cubicBezTo>
                  <a:cubicBezTo>
                    <a:pt x="282" y="442"/>
                    <a:pt x="282" y="444"/>
                    <a:pt x="283" y="444"/>
                  </a:cubicBezTo>
                  <a:cubicBezTo>
                    <a:pt x="283" y="444"/>
                    <a:pt x="284" y="443"/>
                    <a:pt x="284" y="442"/>
                  </a:cubicBezTo>
                  <a:cubicBezTo>
                    <a:pt x="283" y="444"/>
                    <a:pt x="281" y="446"/>
                    <a:pt x="279" y="446"/>
                  </a:cubicBezTo>
                  <a:cubicBezTo>
                    <a:pt x="277" y="447"/>
                    <a:pt x="276" y="447"/>
                    <a:pt x="274" y="448"/>
                  </a:cubicBezTo>
                  <a:cubicBezTo>
                    <a:pt x="275" y="448"/>
                    <a:pt x="275" y="448"/>
                    <a:pt x="276" y="448"/>
                  </a:cubicBezTo>
                  <a:cubicBezTo>
                    <a:pt x="276" y="447"/>
                    <a:pt x="277" y="448"/>
                    <a:pt x="277" y="447"/>
                  </a:cubicBezTo>
                  <a:cubicBezTo>
                    <a:pt x="276" y="448"/>
                    <a:pt x="275" y="448"/>
                    <a:pt x="274" y="449"/>
                  </a:cubicBezTo>
                  <a:cubicBezTo>
                    <a:pt x="274" y="449"/>
                    <a:pt x="276" y="450"/>
                    <a:pt x="276" y="449"/>
                  </a:cubicBezTo>
                  <a:cubicBezTo>
                    <a:pt x="276" y="449"/>
                    <a:pt x="276" y="448"/>
                    <a:pt x="276" y="448"/>
                  </a:cubicBezTo>
                  <a:cubicBezTo>
                    <a:pt x="277" y="448"/>
                    <a:pt x="278" y="448"/>
                    <a:pt x="278" y="448"/>
                  </a:cubicBezTo>
                  <a:cubicBezTo>
                    <a:pt x="278" y="449"/>
                    <a:pt x="277" y="449"/>
                    <a:pt x="277" y="449"/>
                  </a:cubicBezTo>
                  <a:cubicBezTo>
                    <a:pt x="279" y="449"/>
                    <a:pt x="280" y="449"/>
                    <a:pt x="281" y="448"/>
                  </a:cubicBezTo>
                  <a:cubicBezTo>
                    <a:pt x="281" y="447"/>
                    <a:pt x="282" y="447"/>
                    <a:pt x="282" y="446"/>
                  </a:cubicBezTo>
                  <a:cubicBezTo>
                    <a:pt x="282" y="446"/>
                    <a:pt x="282" y="445"/>
                    <a:pt x="282" y="446"/>
                  </a:cubicBezTo>
                  <a:cubicBezTo>
                    <a:pt x="283" y="447"/>
                    <a:pt x="279" y="450"/>
                    <a:pt x="278" y="450"/>
                  </a:cubicBezTo>
                  <a:cubicBezTo>
                    <a:pt x="279" y="450"/>
                    <a:pt x="279" y="451"/>
                    <a:pt x="280" y="450"/>
                  </a:cubicBezTo>
                  <a:cubicBezTo>
                    <a:pt x="279" y="451"/>
                    <a:pt x="278" y="451"/>
                    <a:pt x="276" y="452"/>
                  </a:cubicBezTo>
                  <a:cubicBezTo>
                    <a:pt x="277" y="452"/>
                    <a:pt x="279" y="451"/>
                    <a:pt x="280" y="451"/>
                  </a:cubicBezTo>
                  <a:cubicBezTo>
                    <a:pt x="279" y="451"/>
                    <a:pt x="279" y="452"/>
                    <a:pt x="279" y="452"/>
                  </a:cubicBezTo>
                  <a:cubicBezTo>
                    <a:pt x="280" y="452"/>
                    <a:pt x="281" y="452"/>
                    <a:pt x="281" y="452"/>
                  </a:cubicBezTo>
                  <a:cubicBezTo>
                    <a:pt x="281" y="451"/>
                    <a:pt x="282" y="452"/>
                    <a:pt x="282" y="451"/>
                  </a:cubicBezTo>
                  <a:cubicBezTo>
                    <a:pt x="282" y="451"/>
                    <a:pt x="283" y="450"/>
                    <a:pt x="282" y="450"/>
                  </a:cubicBezTo>
                  <a:cubicBezTo>
                    <a:pt x="283" y="450"/>
                    <a:pt x="284" y="451"/>
                    <a:pt x="285" y="450"/>
                  </a:cubicBezTo>
                  <a:cubicBezTo>
                    <a:pt x="284" y="451"/>
                    <a:pt x="283" y="451"/>
                    <a:pt x="283" y="452"/>
                  </a:cubicBezTo>
                  <a:cubicBezTo>
                    <a:pt x="282" y="452"/>
                    <a:pt x="282" y="453"/>
                    <a:pt x="281" y="453"/>
                  </a:cubicBezTo>
                  <a:cubicBezTo>
                    <a:pt x="282" y="453"/>
                    <a:pt x="283" y="453"/>
                    <a:pt x="284" y="452"/>
                  </a:cubicBezTo>
                  <a:cubicBezTo>
                    <a:pt x="284" y="452"/>
                    <a:pt x="283" y="452"/>
                    <a:pt x="284" y="452"/>
                  </a:cubicBezTo>
                  <a:cubicBezTo>
                    <a:pt x="284" y="452"/>
                    <a:pt x="284" y="452"/>
                    <a:pt x="284" y="452"/>
                  </a:cubicBezTo>
                  <a:cubicBezTo>
                    <a:pt x="284" y="452"/>
                    <a:pt x="284" y="452"/>
                    <a:pt x="284" y="451"/>
                  </a:cubicBezTo>
                  <a:cubicBezTo>
                    <a:pt x="284" y="451"/>
                    <a:pt x="285" y="451"/>
                    <a:pt x="285" y="451"/>
                  </a:cubicBezTo>
                  <a:cubicBezTo>
                    <a:pt x="285" y="452"/>
                    <a:pt x="284" y="453"/>
                    <a:pt x="283" y="454"/>
                  </a:cubicBezTo>
                  <a:cubicBezTo>
                    <a:pt x="285" y="454"/>
                    <a:pt x="286" y="454"/>
                    <a:pt x="287" y="452"/>
                  </a:cubicBezTo>
                  <a:cubicBezTo>
                    <a:pt x="288" y="451"/>
                    <a:pt x="288" y="450"/>
                    <a:pt x="290" y="450"/>
                  </a:cubicBezTo>
                  <a:cubicBezTo>
                    <a:pt x="289" y="451"/>
                    <a:pt x="288" y="453"/>
                    <a:pt x="287" y="454"/>
                  </a:cubicBezTo>
                  <a:cubicBezTo>
                    <a:pt x="289" y="453"/>
                    <a:pt x="285" y="457"/>
                    <a:pt x="284" y="458"/>
                  </a:cubicBezTo>
                  <a:cubicBezTo>
                    <a:pt x="286" y="458"/>
                    <a:pt x="287" y="458"/>
                    <a:pt x="288" y="457"/>
                  </a:cubicBezTo>
                  <a:cubicBezTo>
                    <a:pt x="289" y="455"/>
                    <a:pt x="290" y="454"/>
                    <a:pt x="292" y="452"/>
                  </a:cubicBezTo>
                  <a:cubicBezTo>
                    <a:pt x="291" y="454"/>
                    <a:pt x="289" y="455"/>
                    <a:pt x="288" y="456"/>
                  </a:cubicBezTo>
                  <a:cubicBezTo>
                    <a:pt x="288" y="457"/>
                    <a:pt x="287" y="457"/>
                    <a:pt x="287" y="458"/>
                  </a:cubicBezTo>
                  <a:cubicBezTo>
                    <a:pt x="285" y="459"/>
                    <a:pt x="284" y="459"/>
                    <a:pt x="287" y="460"/>
                  </a:cubicBezTo>
                  <a:cubicBezTo>
                    <a:pt x="287" y="460"/>
                    <a:pt x="287" y="459"/>
                    <a:pt x="287" y="459"/>
                  </a:cubicBezTo>
                  <a:cubicBezTo>
                    <a:pt x="288" y="459"/>
                    <a:pt x="288" y="461"/>
                    <a:pt x="289" y="461"/>
                  </a:cubicBezTo>
                  <a:cubicBezTo>
                    <a:pt x="289" y="461"/>
                    <a:pt x="290" y="461"/>
                    <a:pt x="290" y="461"/>
                  </a:cubicBezTo>
                  <a:cubicBezTo>
                    <a:pt x="292" y="460"/>
                    <a:pt x="291" y="460"/>
                    <a:pt x="292" y="459"/>
                  </a:cubicBezTo>
                  <a:cubicBezTo>
                    <a:pt x="292" y="458"/>
                    <a:pt x="295" y="458"/>
                    <a:pt x="293" y="457"/>
                  </a:cubicBezTo>
                  <a:cubicBezTo>
                    <a:pt x="295" y="457"/>
                    <a:pt x="294" y="457"/>
                    <a:pt x="294" y="456"/>
                  </a:cubicBezTo>
                  <a:cubicBezTo>
                    <a:pt x="294" y="456"/>
                    <a:pt x="294" y="456"/>
                    <a:pt x="294" y="456"/>
                  </a:cubicBezTo>
                  <a:cubicBezTo>
                    <a:pt x="295" y="455"/>
                    <a:pt x="296" y="456"/>
                    <a:pt x="295" y="455"/>
                  </a:cubicBezTo>
                  <a:cubicBezTo>
                    <a:pt x="296" y="456"/>
                    <a:pt x="296" y="456"/>
                    <a:pt x="296" y="457"/>
                  </a:cubicBezTo>
                  <a:cubicBezTo>
                    <a:pt x="295" y="457"/>
                    <a:pt x="295" y="457"/>
                    <a:pt x="295" y="458"/>
                  </a:cubicBezTo>
                  <a:cubicBezTo>
                    <a:pt x="295" y="459"/>
                    <a:pt x="295" y="458"/>
                    <a:pt x="296" y="458"/>
                  </a:cubicBezTo>
                  <a:cubicBezTo>
                    <a:pt x="299" y="459"/>
                    <a:pt x="303" y="459"/>
                    <a:pt x="306" y="459"/>
                  </a:cubicBezTo>
                  <a:cubicBezTo>
                    <a:pt x="306" y="459"/>
                    <a:pt x="305" y="458"/>
                    <a:pt x="305" y="457"/>
                  </a:cubicBezTo>
                  <a:cubicBezTo>
                    <a:pt x="306" y="457"/>
                    <a:pt x="305" y="455"/>
                    <a:pt x="305" y="455"/>
                  </a:cubicBezTo>
                  <a:cubicBezTo>
                    <a:pt x="304" y="455"/>
                    <a:pt x="304" y="455"/>
                    <a:pt x="304" y="456"/>
                  </a:cubicBezTo>
                  <a:cubicBezTo>
                    <a:pt x="303" y="456"/>
                    <a:pt x="303" y="456"/>
                    <a:pt x="302" y="456"/>
                  </a:cubicBezTo>
                  <a:cubicBezTo>
                    <a:pt x="302" y="456"/>
                    <a:pt x="301" y="456"/>
                    <a:pt x="301" y="456"/>
                  </a:cubicBezTo>
                  <a:cubicBezTo>
                    <a:pt x="301" y="456"/>
                    <a:pt x="302" y="455"/>
                    <a:pt x="302" y="455"/>
                  </a:cubicBezTo>
                  <a:cubicBezTo>
                    <a:pt x="302" y="455"/>
                    <a:pt x="303" y="455"/>
                    <a:pt x="303" y="454"/>
                  </a:cubicBezTo>
                  <a:cubicBezTo>
                    <a:pt x="303" y="454"/>
                    <a:pt x="295" y="452"/>
                    <a:pt x="294" y="452"/>
                  </a:cubicBezTo>
                  <a:cubicBezTo>
                    <a:pt x="296" y="452"/>
                    <a:pt x="298" y="452"/>
                    <a:pt x="300" y="453"/>
                  </a:cubicBezTo>
                  <a:cubicBezTo>
                    <a:pt x="300" y="452"/>
                    <a:pt x="300" y="451"/>
                    <a:pt x="299" y="450"/>
                  </a:cubicBezTo>
                  <a:cubicBezTo>
                    <a:pt x="300" y="451"/>
                    <a:pt x="300" y="452"/>
                    <a:pt x="302" y="453"/>
                  </a:cubicBezTo>
                  <a:cubicBezTo>
                    <a:pt x="302" y="453"/>
                    <a:pt x="304" y="454"/>
                    <a:pt x="305" y="454"/>
                  </a:cubicBezTo>
                  <a:cubicBezTo>
                    <a:pt x="305" y="453"/>
                    <a:pt x="304" y="453"/>
                    <a:pt x="303" y="453"/>
                  </a:cubicBezTo>
                  <a:cubicBezTo>
                    <a:pt x="305" y="453"/>
                    <a:pt x="305" y="453"/>
                    <a:pt x="306" y="453"/>
                  </a:cubicBezTo>
                  <a:cubicBezTo>
                    <a:pt x="307" y="453"/>
                    <a:pt x="307" y="452"/>
                    <a:pt x="308" y="452"/>
                  </a:cubicBezTo>
                  <a:cubicBezTo>
                    <a:pt x="307" y="452"/>
                    <a:pt x="306" y="452"/>
                    <a:pt x="305" y="452"/>
                  </a:cubicBezTo>
                  <a:cubicBezTo>
                    <a:pt x="306" y="452"/>
                    <a:pt x="307" y="452"/>
                    <a:pt x="308" y="452"/>
                  </a:cubicBezTo>
                  <a:cubicBezTo>
                    <a:pt x="307" y="451"/>
                    <a:pt x="305" y="451"/>
                    <a:pt x="304" y="451"/>
                  </a:cubicBezTo>
                  <a:cubicBezTo>
                    <a:pt x="306" y="450"/>
                    <a:pt x="307" y="452"/>
                    <a:pt x="309" y="450"/>
                  </a:cubicBezTo>
                  <a:cubicBezTo>
                    <a:pt x="308" y="449"/>
                    <a:pt x="306" y="449"/>
                    <a:pt x="305" y="449"/>
                  </a:cubicBezTo>
                  <a:cubicBezTo>
                    <a:pt x="305" y="449"/>
                    <a:pt x="304" y="449"/>
                    <a:pt x="304" y="449"/>
                  </a:cubicBezTo>
                  <a:cubicBezTo>
                    <a:pt x="304" y="449"/>
                    <a:pt x="304" y="449"/>
                    <a:pt x="303" y="449"/>
                  </a:cubicBezTo>
                  <a:cubicBezTo>
                    <a:pt x="303" y="448"/>
                    <a:pt x="302" y="448"/>
                    <a:pt x="301" y="448"/>
                  </a:cubicBezTo>
                  <a:cubicBezTo>
                    <a:pt x="304" y="448"/>
                    <a:pt x="306" y="449"/>
                    <a:pt x="309" y="449"/>
                  </a:cubicBezTo>
                  <a:cubicBezTo>
                    <a:pt x="308" y="448"/>
                    <a:pt x="306" y="448"/>
                    <a:pt x="305" y="448"/>
                  </a:cubicBezTo>
                  <a:cubicBezTo>
                    <a:pt x="305" y="447"/>
                    <a:pt x="302" y="448"/>
                    <a:pt x="302" y="447"/>
                  </a:cubicBezTo>
                  <a:cubicBezTo>
                    <a:pt x="303" y="447"/>
                    <a:pt x="305" y="447"/>
                    <a:pt x="306" y="447"/>
                  </a:cubicBezTo>
                  <a:cubicBezTo>
                    <a:pt x="307" y="447"/>
                    <a:pt x="308" y="447"/>
                    <a:pt x="308" y="447"/>
                  </a:cubicBezTo>
                  <a:cubicBezTo>
                    <a:pt x="309" y="447"/>
                    <a:pt x="310" y="447"/>
                    <a:pt x="309" y="446"/>
                  </a:cubicBezTo>
                  <a:cubicBezTo>
                    <a:pt x="309" y="446"/>
                    <a:pt x="310" y="446"/>
                    <a:pt x="310" y="446"/>
                  </a:cubicBezTo>
                  <a:cubicBezTo>
                    <a:pt x="309" y="445"/>
                    <a:pt x="308" y="444"/>
                    <a:pt x="307" y="445"/>
                  </a:cubicBezTo>
                  <a:cubicBezTo>
                    <a:pt x="307" y="444"/>
                    <a:pt x="305" y="444"/>
                    <a:pt x="304" y="444"/>
                  </a:cubicBezTo>
                  <a:cubicBezTo>
                    <a:pt x="303" y="444"/>
                    <a:pt x="302" y="444"/>
                    <a:pt x="300" y="444"/>
                  </a:cubicBezTo>
                  <a:cubicBezTo>
                    <a:pt x="302" y="443"/>
                    <a:pt x="304" y="444"/>
                    <a:pt x="306" y="444"/>
                  </a:cubicBezTo>
                  <a:cubicBezTo>
                    <a:pt x="308" y="444"/>
                    <a:pt x="309" y="444"/>
                    <a:pt x="310" y="444"/>
                  </a:cubicBezTo>
                  <a:cubicBezTo>
                    <a:pt x="309" y="443"/>
                    <a:pt x="307" y="443"/>
                    <a:pt x="305" y="442"/>
                  </a:cubicBezTo>
                  <a:cubicBezTo>
                    <a:pt x="306" y="442"/>
                    <a:pt x="307" y="442"/>
                    <a:pt x="308" y="442"/>
                  </a:cubicBezTo>
                  <a:cubicBezTo>
                    <a:pt x="309" y="443"/>
                    <a:pt x="310" y="442"/>
                    <a:pt x="311" y="443"/>
                  </a:cubicBezTo>
                  <a:cubicBezTo>
                    <a:pt x="310" y="442"/>
                    <a:pt x="310" y="442"/>
                    <a:pt x="309" y="442"/>
                  </a:cubicBezTo>
                  <a:cubicBezTo>
                    <a:pt x="309" y="442"/>
                    <a:pt x="307" y="442"/>
                    <a:pt x="308" y="441"/>
                  </a:cubicBezTo>
                  <a:cubicBezTo>
                    <a:pt x="308" y="441"/>
                    <a:pt x="305" y="441"/>
                    <a:pt x="304" y="440"/>
                  </a:cubicBezTo>
                  <a:cubicBezTo>
                    <a:pt x="306" y="440"/>
                    <a:pt x="307" y="440"/>
                    <a:pt x="309" y="441"/>
                  </a:cubicBezTo>
                  <a:cubicBezTo>
                    <a:pt x="309" y="441"/>
                    <a:pt x="310" y="441"/>
                    <a:pt x="310" y="441"/>
                  </a:cubicBezTo>
                  <a:cubicBezTo>
                    <a:pt x="311" y="441"/>
                    <a:pt x="312" y="440"/>
                    <a:pt x="313" y="439"/>
                  </a:cubicBezTo>
                  <a:cubicBezTo>
                    <a:pt x="312" y="439"/>
                    <a:pt x="312" y="439"/>
                    <a:pt x="311" y="438"/>
                  </a:cubicBezTo>
                  <a:cubicBezTo>
                    <a:pt x="311" y="438"/>
                    <a:pt x="311" y="438"/>
                    <a:pt x="311" y="438"/>
                  </a:cubicBezTo>
                  <a:cubicBezTo>
                    <a:pt x="311" y="437"/>
                    <a:pt x="310" y="437"/>
                    <a:pt x="310" y="437"/>
                  </a:cubicBezTo>
                  <a:cubicBezTo>
                    <a:pt x="309" y="437"/>
                    <a:pt x="308" y="438"/>
                    <a:pt x="307" y="437"/>
                  </a:cubicBezTo>
                  <a:cubicBezTo>
                    <a:pt x="307" y="437"/>
                    <a:pt x="306" y="437"/>
                    <a:pt x="306" y="436"/>
                  </a:cubicBezTo>
                  <a:cubicBezTo>
                    <a:pt x="308" y="436"/>
                    <a:pt x="312" y="438"/>
                    <a:pt x="313" y="436"/>
                  </a:cubicBezTo>
                  <a:cubicBezTo>
                    <a:pt x="314" y="434"/>
                    <a:pt x="311" y="435"/>
                    <a:pt x="311" y="435"/>
                  </a:cubicBezTo>
                  <a:cubicBezTo>
                    <a:pt x="310" y="435"/>
                    <a:pt x="310" y="434"/>
                    <a:pt x="309" y="434"/>
                  </a:cubicBezTo>
                  <a:cubicBezTo>
                    <a:pt x="309" y="434"/>
                    <a:pt x="308" y="434"/>
                    <a:pt x="308" y="434"/>
                  </a:cubicBezTo>
                  <a:cubicBezTo>
                    <a:pt x="309" y="433"/>
                    <a:pt x="311" y="434"/>
                    <a:pt x="312" y="434"/>
                  </a:cubicBezTo>
                  <a:cubicBezTo>
                    <a:pt x="314" y="434"/>
                    <a:pt x="315" y="432"/>
                    <a:pt x="313" y="431"/>
                  </a:cubicBezTo>
                  <a:cubicBezTo>
                    <a:pt x="313" y="431"/>
                    <a:pt x="315" y="432"/>
                    <a:pt x="315" y="431"/>
                  </a:cubicBezTo>
                  <a:cubicBezTo>
                    <a:pt x="315" y="430"/>
                    <a:pt x="314" y="429"/>
                    <a:pt x="313" y="430"/>
                  </a:cubicBezTo>
                  <a:cubicBezTo>
                    <a:pt x="313" y="430"/>
                    <a:pt x="312" y="431"/>
                    <a:pt x="312" y="431"/>
                  </a:cubicBezTo>
                  <a:cubicBezTo>
                    <a:pt x="311" y="431"/>
                    <a:pt x="312" y="430"/>
                    <a:pt x="312" y="429"/>
                  </a:cubicBezTo>
                  <a:cubicBezTo>
                    <a:pt x="312" y="428"/>
                    <a:pt x="313" y="427"/>
                    <a:pt x="314" y="426"/>
                  </a:cubicBezTo>
                  <a:cubicBezTo>
                    <a:pt x="313" y="426"/>
                    <a:pt x="314" y="425"/>
                    <a:pt x="313" y="425"/>
                  </a:cubicBezTo>
                  <a:cubicBezTo>
                    <a:pt x="312" y="424"/>
                    <a:pt x="311" y="425"/>
                    <a:pt x="310" y="425"/>
                  </a:cubicBezTo>
                  <a:cubicBezTo>
                    <a:pt x="310" y="425"/>
                    <a:pt x="310" y="424"/>
                    <a:pt x="310" y="424"/>
                  </a:cubicBezTo>
                  <a:cubicBezTo>
                    <a:pt x="310" y="423"/>
                    <a:pt x="309" y="423"/>
                    <a:pt x="309" y="423"/>
                  </a:cubicBezTo>
                  <a:cubicBezTo>
                    <a:pt x="308" y="423"/>
                    <a:pt x="307" y="423"/>
                    <a:pt x="307" y="422"/>
                  </a:cubicBezTo>
                  <a:cubicBezTo>
                    <a:pt x="309" y="422"/>
                    <a:pt x="310" y="423"/>
                    <a:pt x="311" y="423"/>
                  </a:cubicBezTo>
                  <a:cubicBezTo>
                    <a:pt x="312" y="424"/>
                    <a:pt x="314" y="425"/>
                    <a:pt x="315" y="424"/>
                  </a:cubicBezTo>
                  <a:cubicBezTo>
                    <a:pt x="314" y="423"/>
                    <a:pt x="311" y="424"/>
                    <a:pt x="311" y="422"/>
                  </a:cubicBezTo>
                  <a:cubicBezTo>
                    <a:pt x="312" y="422"/>
                    <a:pt x="312" y="423"/>
                    <a:pt x="313" y="423"/>
                  </a:cubicBezTo>
                  <a:cubicBezTo>
                    <a:pt x="314" y="422"/>
                    <a:pt x="313" y="421"/>
                    <a:pt x="313" y="421"/>
                  </a:cubicBezTo>
                  <a:cubicBezTo>
                    <a:pt x="313" y="421"/>
                    <a:pt x="312" y="420"/>
                    <a:pt x="311" y="420"/>
                  </a:cubicBezTo>
                  <a:cubicBezTo>
                    <a:pt x="311" y="420"/>
                    <a:pt x="310" y="420"/>
                    <a:pt x="310" y="420"/>
                  </a:cubicBezTo>
                  <a:cubicBezTo>
                    <a:pt x="309" y="420"/>
                    <a:pt x="308" y="419"/>
                    <a:pt x="307" y="419"/>
                  </a:cubicBezTo>
                  <a:cubicBezTo>
                    <a:pt x="306" y="419"/>
                    <a:pt x="306" y="419"/>
                    <a:pt x="305" y="418"/>
                  </a:cubicBezTo>
                  <a:cubicBezTo>
                    <a:pt x="307" y="418"/>
                    <a:pt x="309" y="420"/>
                    <a:pt x="310" y="419"/>
                  </a:cubicBezTo>
                  <a:cubicBezTo>
                    <a:pt x="310" y="420"/>
                    <a:pt x="311" y="418"/>
                    <a:pt x="312" y="419"/>
                  </a:cubicBezTo>
                  <a:cubicBezTo>
                    <a:pt x="312" y="418"/>
                    <a:pt x="311" y="417"/>
                    <a:pt x="311" y="417"/>
                  </a:cubicBezTo>
                  <a:cubicBezTo>
                    <a:pt x="311" y="416"/>
                    <a:pt x="310" y="417"/>
                    <a:pt x="311" y="416"/>
                  </a:cubicBezTo>
                  <a:cubicBezTo>
                    <a:pt x="312" y="416"/>
                    <a:pt x="313" y="415"/>
                    <a:pt x="314" y="415"/>
                  </a:cubicBezTo>
                  <a:cubicBezTo>
                    <a:pt x="314" y="416"/>
                    <a:pt x="313" y="416"/>
                    <a:pt x="313" y="416"/>
                  </a:cubicBezTo>
                  <a:cubicBezTo>
                    <a:pt x="314" y="416"/>
                    <a:pt x="314" y="416"/>
                    <a:pt x="314" y="416"/>
                  </a:cubicBezTo>
                  <a:cubicBezTo>
                    <a:pt x="313" y="417"/>
                    <a:pt x="314" y="417"/>
                    <a:pt x="314" y="417"/>
                  </a:cubicBezTo>
                  <a:cubicBezTo>
                    <a:pt x="315" y="417"/>
                    <a:pt x="316" y="417"/>
                    <a:pt x="316" y="417"/>
                  </a:cubicBezTo>
                  <a:cubicBezTo>
                    <a:pt x="317" y="417"/>
                    <a:pt x="317" y="417"/>
                    <a:pt x="318" y="417"/>
                  </a:cubicBezTo>
                  <a:cubicBezTo>
                    <a:pt x="318" y="417"/>
                    <a:pt x="318" y="417"/>
                    <a:pt x="318" y="417"/>
                  </a:cubicBezTo>
                  <a:cubicBezTo>
                    <a:pt x="319" y="417"/>
                    <a:pt x="320" y="415"/>
                    <a:pt x="320" y="414"/>
                  </a:cubicBezTo>
                  <a:cubicBezTo>
                    <a:pt x="319" y="414"/>
                    <a:pt x="319" y="414"/>
                    <a:pt x="318" y="414"/>
                  </a:cubicBezTo>
                  <a:cubicBezTo>
                    <a:pt x="317" y="414"/>
                    <a:pt x="317" y="414"/>
                    <a:pt x="317" y="413"/>
                  </a:cubicBezTo>
                  <a:cubicBezTo>
                    <a:pt x="317" y="413"/>
                    <a:pt x="315" y="413"/>
                    <a:pt x="315" y="413"/>
                  </a:cubicBezTo>
                  <a:cubicBezTo>
                    <a:pt x="315" y="412"/>
                    <a:pt x="316" y="412"/>
                    <a:pt x="315" y="411"/>
                  </a:cubicBezTo>
                  <a:cubicBezTo>
                    <a:pt x="316" y="411"/>
                    <a:pt x="316" y="412"/>
                    <a:pt x="317" y="412"/>
                  </a:cubicBezTo>
                  <a:cubicBezTo>
                    <a:pt x="317" y="413"/>
                    <a:pt x="318" y="413"/>
                    <a:pt x="318" y="413"/>
                  </a:cubicBezTo>
                  <a:cubicBezTo>
                    <a:pt x="319" y="413"/>
                    <a:pt x="319" y="413"/>
                    <a:pt x="320" y="414"/>
                  </a:cubicBezTo>
                  <a:cubicBezTo>
                    <a:pt x="320" y="414"/>
                    <a:pt x="321" y="413"/>
                    <a:pt x="321" y="414"/>
                  </a:cubicBezTo>
                  <a:cubicBezTo>
                    <a:pt x="321" y="412"/>
                    <a:pt x="318" y="411"/>
                    <a:pt x="317" y="410"/>
                  </a:cubicBezTo>
                  <a:cubicBezTo>
                    <a:pt x="318" y="410"/>
                    <a:pt x="320" y="411"/>
                    <a:pt x="321" y="412"/>
                  </a:cubicBezTo>
                  <a:cubicBezTo>
                    <a:pt x="321" y="412"/>
                    <a:pt x="322" y="413"/>
                    <a:pt x="322" y="412"/>
                  </a:cubicBezTo>
                  <a:cubicBezTo>
                    <a:pt x="323" y="412"/>
                    <a:pt x="322" y="411"/>
                    <a:pt x="322" y="410"/>
                  </a:cubicBezTo>
                  <a:cubicBezTo>
                    <a:pt x="321" y="410"/>
                    <a:pt x="321" y="409"/>
                    <a:pt x="321" y="409"/>
                  </a:cubicBezTo>
                  <a:cubicBezTo>
                    <a:pt x="320" y="409"/>
                    <a:pt x="320" y="409"/>
                    <a:pt x="319" y="409"/>
                  </a:cubicBezTo>
                  <a:cubicBezTo>
                    <a:pt x="319" y="408"/>
                    <a:pt x="319" y="408"/>
                    <a:pt x="319" y="408"/>
                  </a:cubicBezTo>
                  <a:cubicBezTo>
                    <a:pt x="319" y="408"/>
                    <a:pt x="319" y="408"/>
                    <a:pt x="318" y="408"/>
                  </a:cubicBezTo>
                  <a:cubicBezTo>
                    <a:pt x="318" y="407"/>
                    <a:pt x="317" y="407"/>
                    <a:pt x="319" y="407"/>
                  </a:cubicBezTo>
                  <a:cubicBezTo>
                    <a:pt x="318" y="406"/>
                    <a:pt x="318" y="406"/>
                    <a:pt x="318" y="406"/>
                  </a:cubicBezTo>
                  <a:cubicBezTo>
                    <a:pt x="319" y="406"/>
                    <a:pt x="320" y="406"/>
                    <a:pt x="321" y="406"/>
                  </a:cubicBezTo>
                  <a:cubicBezTo>
                    <a:pt x="321" y="406"/>
                    <a:pt x="322" y="407"/>
                    <a:pt x="323" y="407"/>
                  </a:cubicBezTo>
                  <a:cubicBezTo>
                    <a:pt x="323" y="408"/>
                    <a:pt x="323" y="408"/>
                    <a:pt x="324" y="408"/>
                  </a:cubicBezTo>
                  <a:cubicBezTo>
                    <a:pt x="325" y="409"/>
                    <a:pt x="325" y="409"/>
                    <a:pt x="326" y="409"/>
                  </a:cubicBezTo>
                  <a:cubicBezTo>
                    <a:pt x="325" y="408"/>
                    <a:pt x="323" y="407"/>
                    <a:pt x="321" y="406"/>
                  </a:cubicBezTo>
                  <a:cubicBezTo>
                    <a:pt x="322" y="407"/>
                    <a:pt x="323" y="407"/>
                    <a:pt x="324" y="408"/>
                  </a:cubicBezTo>
                  <a:cubicBezTo>
                    <a:pt x="324" y="407"/>
                    <a:pt x="323" y="406"/>
                    <a:pt x="323" y="405"/>
                  </a:cubicBezTo>
                  <a:cubicBezTo>
                    <a:pt x="324" y="406"/>
                    <a:pt x="324" y="407"/>
                    <a:pt x="325" y="407"/>
                  </a:cubicBezTo>
                  <a:cubicBezTo>
                    <a:pt x="326" y="408"/>
                    <a:pt x="326" y="408"/>
                    <a:pt x="327" y="408"/>
                  </a:cubicBezTo>
                  <a:cubicBezTo>
                    <a:pt x="326" y="407"/>
                    <a:pt x="325" y="406"/>
                    <a:pt x="324" y="405"/>
                  </a:cubicBezTo>
                  <a:cubicBezTo>
                    <a:pt x="325" y="406"/>
                    <a:pt x="326" y="407"/>
                    <a:pt x="327" y="407"/>
                  </a:cubicBezTo>
                  <a:cubicBezTo>
                    <a:pt x="327" y="406"/>
                    <a:pt x="326" y="406"/>
                    <a:pt x="326" y="406"/>
                  </a:cubicBezTo>
                  <a:cubicBezTo>
                    <a:pt x="327" y="406"/>
                    <a:pt x="328" y="406"/>
                    <a:pt x="329" y="406"/>
                  </a:cubicBezTo>
                  <a:cubicBezTo>
                    <a:pt x="329" y="405"/>
                    <a:pt x="329" y="405"/>
                    <a:pt x="328" y="405"/>
                  </a:cubicBezTo>
                  <a:cubicBezTo>
                    <a:pt x="328" y="404"/>
                    <a:pt x="329" y="404"/>
                    <a:pt x="328" y="403"/>
                  </a:cubicBezTo>
                  <a:cubicBezTo>
                    <a:pt x="328" y="403"/>
                    <a:pt x="326" y="403"/>
                    <a:pt x="326" y="403"/>
                  </a:cubicBezTo>
                  <a:cubicBezTo>
                    <a:pt x="325" y="403"/>
                    <a:pt x="324" y="402"/>
                    <a:pt x="323" y="402"/>
                  </a:cubicBezTo>
                  <a:cubicBezTo>
                    <a:pt x="322" y="402"/>
                    <a:pt x="321" y="402"/>
                    <a:pt x="321" y="401"/>
                  </a:cubicBezTo>
                  <a:cubicBezTo>
                    <a:pt x="324" y="401"/>
                    <a:pt x="328" y="404"/>
                    <a:pt x="331" y="403"/>
                  </a:cubicBezTo>
                  <a:cubicBezTo>
                    <a:pt x="331" y="403"/>
                    <a:pt x="331" y="403"/>
                    <a:pt x="331" y="403"/>
                  </a:cubicBezTo>
                  <a:cubicBezTo>
                    <a:pt x="332" y="403"/>
                    <a:pt x="332" y="403"/>
                    <a:pt x="331" y="402"/>
                  </a:cubicBezTo>
                  <a:cubicBezTo>
                    <a:pt x="331" y="401"/>
                    <a:pt x="331" y="401"/>
                    <a:pt x="331" y="400"/>
                  </a:cubicBezTo>
                  <a:cubicBezTo>
                    <a:pt x="331" y="399"/>
                    <a:pt x="330" y="399"/>
                    <a:pt x="329" y="399"/>
                  </a:cubicBezTo>
                  <a:cubicBezTo>
                    <a:pt x="329" y="398"/>
                    <a:pt x="330" y="397"/>
                    <a:pt x="331" y="396"/>
                  </a:cubicBezTo>
                  <a:cubicBezTo>
                    <a:pt x="330" y="396"/>
                    <a:pt x="330" y="395"/>
                    <a:pt x="329" y="395"/>
                  </a:cubicBezTo>
                  <a:cubicBezTo>
                    <a:pt x="328" y="395"/>
                    <a:pt x="328" y="395"/>
                    <a:pt x="327" y="396"/>
                  </a:cubicBezTo>
                  <a:cubicBezTo>
                    <a:pt x="326" y="396"/>
                    <a:pt x="327" y="396"/>
                    <a:pt x="326" y="396"/>
                  </a:cubicBezTo>
                  <a:cubicBezTo>
                    <a:pt x="326" y="395"/>
                    <a:pt x="325" y="395"/>
                    <a:pt x="324" y="395"/>
                  </a:cubicBezTo>
                  <a:cubicBezTo>
                    <a:pt x="323" y="395"/>
                    <a:pt x="323" y="394"/>
                    <a:pt x="322" y="394"/>
                  </a:cubicBezTo>
                  <a:cubicBezTo>
                    <a:pt x="322" y="394"/>
                    <a:pt x="321" y="394"/>
                    <a:pt x="321" y="393"/>
                  </a:cubicBezTo>
                  <a:cubicBezTo>
                    <a:pt x="321" y="393"/>
                    <a:pt x="322" y="393"/>
                    <a:pt x="323" y="393"/>
                  </a:cubicBezTo>
                  <a:cubicBezTo>
                    <a:pt x="324" y="393"/>
                    <a:pt x="326" y="393"/>
                    <a:pt x="327" y="393"/>
                  </a:cubicBezTo>
                  <a:cubicBezTo>
                    <a:pt x="328" y="393"/>
                    <a:pt x="329" y="392"/>
                    <a:pt x="330" y="392"/>
                  </a:cubicBezTo>
                  <a:cubicBezTo>
                    <a:pt x="331" y="392"/>
                    <a:pt x="331" y="392"/>
                    <a:pt x="331" y="392"/>
                  </a:cubicBezTo>
                  <a:cubicBezTo>
                    <a:pt x="332" y="392"/>
                    <a:pt x="332" y="393"/>
                    <a:pt x="332" y="393"/>
                  </a:cubicBezTo>
                  <a:cubicBezTo>
                    <a:pt x="333" y="393"/>
                    <a:pt x="334" y="392"/>
                    <a:pt x="332" y="391"/>
                  </a:cubicBezTo>
                  <a:cubicBezTo>
                    <a:pt x="332" y="391"/>
                    <a:pt x="331" y="391"/>
                    <a:pt x="331" y="390"/>
                  </a:cubicBezTo>
                  <a:cubicBezTo>
                    <a:pt x="331" y="390"/>
                    <a:pt x="331" y="390"/>
                    <a:pt x="332" y="389"/>
                  </a:cubicBezTo>
                  <a:cubicBezTo>
                    <a:pt x="332" y="389"/>
                    <a:pt x="331" y="388"/>
                    <a:pt x="331" y="387"/>
                  </a:cubicBezTo>
                  <a:cubicBezTo>
                    <a:pt x="330" y="386"/>
                    <a:pt x="330" y="386"/>
                    <a:pt x="329" y="385"/>
                  </a:cubicBezTo>
                  <a:cubicBezTo>
                    <a:pt x="329" y="385"/>
                    <a:pt x="328" y="385"/>
                    <a:pt x="328" y="385"/>
                  </a:cubicBezTo>
                  <a:cubicBezTo>
                    <a:pt x="328" y="384"/>
                    <a:pt x="328" y="385"/>
                    <a:pt x="327" y="384"/>
                  </a:cubicBezTo>
                  <a:cubicBezTo>
                    <a:pt x="327" y="384"/>
                    <a:pt x="327" y="384"/>
                    <a:pt x="327" y="384"/>
                  </a:cubicBezTo>
                  <a:cubicBezTo>
                    <a:pt x="327" y="384"/>
                    <a:pt x="326" y="383"/>
                    <a:pt x="326" y="383"/>
                  </a:cubicBezTo>
                  <a:cubicBezTo>
                    <a:pt x="326" y="382"/>
                    <a:pt x="326" y="382"/>
                    <a:pt x="326" y="382"/>
                  </a:cubicBezTo>
                  <a:cubicBezTo>
                    <a:pt x="326" y="381"/>
                    <a:pt x="326" y="381"/>
                    <a:pt x="326" y="381"/>
                  </a:cubicBezTo>
                  <a:cubicBezTo>
                    <a:pt x="326" y="380"/>
                    <a:pt x="326" y="380"/>
                    <a:pt x="326" y="380"/>
                  </a:cubicBezTo>
                  <a:cubicBezTo>
                    <a:pt x="326" y="380"/>
                    <a:pt x="326" y="380"/>
                    <a:pt x="327" y="380"/>
                  </a:cubicBezTo>
                  <a:cubicBezTo>
                    <a:pt x="328" y="380"/>
                    <a:pt x="329" y="380"/>
                    <a:pt x="330" y="380"/>
                  </a:cubicBezTo>
                  <a:cubicBezTo>
                    <a:pt x="330" y="380"/>
                    <a:pt x="330" y="381"/>
                    <a:pt x="330" y="381"/>
                  </a:cubicBezTo>
                  <a:cubicBezTo>
                    <a:pt x="331" y="381"/>
                    <a:pt x="332" y="380"/>
                    <a:pt x="332" y="380"/>
                  </a:cubicBezTo>
                  <a:cubicBezTo>
                    <a:pt x="333" y="381"/>
                    <a:pt x="333" y="381"/>
                    <a:pt x="334" y="381"/>
                  </a:cubicBezTo>
                  <a:cubicBezTo>
                    <a:pt x="334" y="381"/>
                    <a:pt x="334" y="382"/>
                    <a:pt x="335" y="381"/>
                  </a:cubicBezTo>
                  <a:cubicBezTo>
                    <a:pt x="335" y="380"/>
                    <a:pt x="336" y="379"/>
                    <a:pt x="336" y="379"/>
                  </a:cubicBezTo>
                  <a:cubicBezTo>
                    <a:pt x="337" y="378"/>
                    <a:pt x="338" y="377"/>
                    <a:pt x="339" y="377"/>
                  </a:cubicBezTo>
                  <a:cubicBezTo>
                    <a:pt x="339" y="377"/>
                    <a:pt x="339" y="377"/>
                    <a:pt x="339" y="377"/>
                  </a:cubicBezTo>
                  <a:cubicBezTo>
                    <a:pt x="339" y="377"/>
                    <a:pt x="339" y="376"/>
                    <a:pt x="339" y="376"/>
                  </a:cubicBezTo>
                  <a:cubicBezTo>
                    <a:pt x="338" y="376"/>
                    <a:pt x="338" y="376"/>
                    <a:pt x="338" y="376"/>
                  </a:cubicBezTo>
                  <a:cubicBezTo>
                    <a:pt x="338" y="375"/>
                    <a:pt x="338" y="375"/>
                    <a:pt x="338" y="375"/>
                  </a:cubicBezTo>
                  <a:cubicBezTo>
                    <a:pt x="338" y="375"/>
                    <a:pt x="339" y="375"/>
                    <a:pt x="338" y="374"/>
                  </a:cubicBezTo>
                  <a:cubicBezTo>
                    <a:pt x="338" y="374"/>
                    <a:pt x="337" y="374"/>
                    <a:pt x="337" y="374"/>
                  </a:cubicBezTo>
                  <a:cubicBezTo>
                    <a:pt x="336" y="374"/>
                    <a:pt x="335" y="374"/>
                    <a:pt x="336" y="373"/>
                  </a:cubicBezTo>
                  <a:cubicBezTo>
                    <a:pt x="337" y="372"/>
                    <a:pt x="336" y="372"/>
                    <a:pt x="337" y="372"/>
                  </a:cubicBezTo>
                  <a:cubicBezTo>
                    <a:pt x="339" y="373"/>
                    <a:pt x="339" y="373"/>
                    <a:pt x="339" y="372"/>
                  </a:cubicBezTo>
                  <a:cubicBezTo>
                    <a:pt x="340" y="371"/>
                    <a:pt x="341" y="370"/>
                    <a:pt x="341" y="371"/>
                  </a:cubicBezTo>
                  <a:cubicBezTo>
                    <a:pt x="342" y="371"/>
                    <a:pt x="343" y="373"/>
                    <a:pt x="344" y="372"/>
                  </a:cubicBezTo>
                  <a:cubicBezTo>
                    <a:pt x="345" y="371"/>
                    <a:pt x="344" y="370"/>
                    <a:pt x="344" y="369"/>
                  </a:cubicBezTo>
                  <a:cubicBezTo>
                    <a:pt x="345" y="368"/>
                    <a:pt x="346" y="371"/>
                    <a:pt x="347" y="371"/>
                  </a:cubicBezTo>
                  <a:cubicBezTo>
                    <a:pt x="347" y="372"/>
                    <a:pt x="347" y="372"/>
                    <a:pt x="348" y="372"/>
                  </a:cubicBezTo>
                  <a:cubicBezTo>
                    <a:pt x="349" y="372"/>
                    <a:pt x="350" y="372"/>
                    <a:pt x="351" y="372"/>
                  </a:cubicBezTo>
                  <a:cubicBezTo>
                    <a:pt x="351" y="371"/>
                    <a:pt x="349" y="371"/>
                    <a:pt x="350" y="370"/>
                  </a:cubicBezTo>
                  <a:cubicBezTo>
                    <a:pt x="350" y="370"/>
                    <a:pt x="353" y="371"/>
                    <a:pt x="353" y="372"/>
                  </a:cubicBezTo>
                  <a:cubicBezTo>
                    <a:pt x="354" y="371"/>
                    <a:pt x="355" y="369"/>
                    <a:pt x="356" y="368"/>
                  </a:cubicBezTo>
                  <a:cubicBezTo>
                    <a:pt x="355" y="367"/>
                    <a:pt x="354" y="367"/>
                    <a:pt x="353" y="366"/>
                  </a:cubicBezTo>
                  <a:cubicBezTo>
                    <a:pt x="352" y="364"/>
                    <a:pt x="354" y="364"/>
                    <a:pt x="355" y="364"/>
                  </a:cubicBezTo>
                  <a:cubicBezTo>
                    <a:pt x="355" y="364"/>
                    <a:pt x="358" y="364"/>
                    <a:pt x="358" y="364"/>
                  </a:cubicBezTo>
                  <a:cubicBezTo>
                    <a:pt x="358" y="363"/>
                    <a:pt x="357" y="363"/>
                    <a:pt x="357" y="363"/>
                  </a:cubicBezTo>
                  <a:cubicBezTo>
                    <a:pt x="357" y="362"/>
                    <a:pt x="359" y="362"/>
                    <a:pt x="359" y="361"/>
                  </a:cubicBezTo>
                  <a:cubicBezTo>
                    <a:pt x="359" y="361"/>
                    <a:pt x="358" y="361"/>
                    <a:pt x="358" y="361"/>
                  </a:cubicBezTo>
                  <a:cubicBezTo>
                    <a:pt x="358" y="360"/>
                    <a:pt x="360" y="361"/>
                    <a:pt x="360" y="361"/>
                  </a:cubicBezTo>
                  <a:cubicBezTo>
                    <a:pt x="362" y="360"/>
                    <a:pt x="359" y="359"/>
                    <a:pt x="358" y="359"/>
                  </a:cubicBezTo>
                  <a:cubicBezTo>
                    <a:pt x="358" y="359"/>
                    <a:pt x="357" y="359"/>
                    <a:pt x="356" y="359"/>
                  </a:cubicBezTo>
                  <a:cubicBezTo>
                    <a:pt x="356" y="358"/>
                    <a:pt x="357" y="358"/>
                    <a:pt x="358" y="358"/>
                  </a:cubicBezTo>
                  <a:cubicBezTo>
                    <a:pt x="359" y="358"/>
                    <a:pt x="359" y="359"/>
                    <a:pt x="359" y="357"/>
                  </a:cubicBezTo>
                  <a:cubicBezTo>
                    <a:pt x="360" y="358"/>
                    <a:pt x="361" y="359"/>
                    <a:pt x="362" y="359"/>
                  </a:cubicBezTo>
                  <a:cubicBezTo>
                    <a:pt x="362" y="359"/>
                    <a:pt x="363" y="359"/>
                    <a:pt x="363" y="359"/>
                  </a:cubicBezTo>
                  <a:cubicBezTo>
                    <a:pt x="364" y="359"/>
                    <a:pt x="365" y="359"/>
                    <a:pt x="365" y="359"/>
                  </a:cubicBezTo>
                  <a:cubicBezTo>
                    <a:pt x="367" y="359"/>
                    <a:pt x="366" y="359"/>
                    <a:pt x="365" y="360"/>
                  </a:cubicBezTo>
                  <a:cubicBezTo>
                    <a:pt x="363" y="361"/>
                    <a:pt x="363" y="362"/>
                    <a:pt x="362" y="363"/>
                  </a:cubicBezTo>
                  <a:cubicBezTo>
                    <a:pt x="361" y="363"/>
                    <a:pt x="361" y="363"/>
                    <a:pt x="361" y="364"/>
                  </a:cubicBezTo>
                  <a:cubicBezTo>
                    <a:pt x="361" y="364"/>
                    <a:pt x="360" y="363"/>
                    <a:pt x="360" y="364"/>
                  </a:cubicBezTo>
                  <a:cubicBezTo>
                    <a:pt x="359" y="365"/>
                    <a:pt x="360" y="366"/>
                    <a:pt x="359" y="367"/>
                  </a:cubicBezTo>
                  <a:cubicBezTo>
                    <a:pt x="360" y="367"/>
                    <a:pt x="361" y="366"/>
                    <a:pt x="362" y="367"/>
                  </a:cubicBezTo>
                  <a:cubicBezTo>
                    <a:pt x="363" y="367"/>
                    <a:pt x="365" y="369"/>
                    <a:pt x="366" y="369"/>
                  </a:cubicBezTo>
                  <a:cubicBezTo>
                    <a:pt x="367" y="368"/>
                    <a:pt x="366" y="367"/>
                    <a:pt x="366" y="367"/>
                  </a:cubicBezTo>
                  <a:cubicBezTo>
                    <a:pt x="366" y="366"/>
                    <a:pt x="366" y="366"/>
                    <a:pt x="366" y="366"/>
                  </a:cubicBezTo>
                  <a:cubicBezTo>
                    <a:pt x="367" y="365"/>
                    <a:pt x="366" y="365"/>
                    <a:pt x="366" y="365"/>
                  </a:cubicBezTo>
                  <a:cubicBezTo>
                    <a:pt x="366" y="364"/>
                    <a:pt x="367" y="364"/>
                    <a:pt x="367" y="364"/>
                  </a:cubicBezTo>
                  <a:cubicBezTo>
                    <a:pt x="367" y="365"/>
                    <a:pt x="367" y="365"/>
                    <a:pt x="367" y="366"/>
                  </a:cubicBezTo>
                  <a:cubicBezTo>
                    <a:pt x="367" y="366"/>
                    <a:pt x="368" y="368"/>
                    <a:pt x="368" y="367"/>
                  </a:cubicBezTo>
                  <a:cubicBezTo>
                    <a:pt x="369" y="368"/>
                    <a:pt x="371" y="363"/>
                    <a:pt x="373" y="364"/>
                  </a:cubicBezTo>
                  <a:cubicBezTo>
                    <a:pt x="374" y="365"/>
                    <a:pt x="374" y="365"/>
                    <a:pt x="374" y="365"/>
                  </a:cubicBezTo>
                  <a:cubicBezTo>
                    <a:pt x="375" y="366"/>
                    <a:pt x="374" y="366"/>
                    <a:pt x="375" y="366"/>
                  </a:cubicBezTo>
                  <a:cubicBezTo>
                    <a:pt x="376" y="366"/>
                    <a:pt x="377" y="366"/>
                    <a:pt x="377" y="366"/>
                  </a:cubicBezTo>
                  <a:cubicBezTo>
                    <a:pt x="378" y="366"/>
                    <a:pt x="379" y="363"/>
                    <a:pt x="380" y="363"/>
                  </a:cubicBezTo>
                  <a:cubicBezTo>
                    <a:pt x="379" y="363"/>
                    <a:pt x="379" y="363"/>
                    <a:pt x="379" y="363"/>
                  </a:cubicBezTo>
                  <a:cubicBezTo>
                    <a:pt x="379" y="362"/>
                    <a:pt x="380" y="362"/>
                    <a:pt x="381" y="362"/>
                  </a:cubicBezTo>
                  <a:cubicBezTo>
                    <a:pt x="381" y="362"/>
                    <a:pt x="382" y="362"/>
                    <a:pt x="382" y="363"/>
                  </a:cubicBezTo>
                  <a:cubicBezTo>
                    <a:pt x="382" y="362"/>
                    <a:pt x="382" y="361"/>
                    <a:pt x="381" y="361"/>
                  </a:cubicBezTo>
                  <a:cubicBezTo>
                    <a:pt x="382" y="361"/>
                    <a:pt x="382" y="361"/>
                    <a:pt x="382" y="361"/>
                  </a:cubicBezTo>
                  <a:cubicBezTo>
                    <a:pt x="382" y="360"/>
                    <a:pt x="381" y="360"/>
                    <a:pt x="381" y="360"/>
                  </a:cubicBezTo>
                  <a:cubicBezTo>
                    <a:pt x="382" y="360"/>
                    <a:pt x="381" y="359"/>
                    <a:pt x="380" y="358"/>
                  </a:cubicBezTo>
                  <a:cubicBezTo>
                    <a:pt x="378" y="357"/>
                    <a:pt x="381" y="358"/>
                    <a:pt x="382" y="359"/>
                  </a:cubicBezTo>
                  <a:cubicBezTo>
                    <a:pt x="383" y="360"/>
                    <a:pt x="383" y="360"/>
                    <a:pt x="384" y="360"/>
                  </a:cubicBezTo>
                  <a:cubicBezTo>
                    <a:pt x="385" y="360"/>
                    <a:pt x="386" y="361"/>
                    <a:pt x="388" y="361"/>
                  </a:cubicBezTo>
                  <a:cubicBezTo>
                    <a:pt x="387" y="360"/>
                    <a:pt x="386" y="360"/>
                    <a:pt x="386" y="359"/>
                  </a:cubicBezTo>
                  <a:cubicBezTo>
                    <a:pt x="386" y="358"/>
                    <a:pt x="387" y="358"/>
                    <a:pt x="387" y="358"/>
                  </a:cubicBezTo>
                  <a:cubicBezTo>
                    <a:pt x="387" y="359"/>
                    <a:pt x="388" y="360"/>
                    <a:pt x="389" y="360"/>
                  </a:cubicBezTo>
                  <a:cubicBezTo>
                    <a:pt x="390" y="360"/>
                    <a:pt x="392" y="358"/>
                    <a:pt x="392" y="357"/>
                  </a:cubicBezTo>
                  <a:cubicBezTo>
                    <a:pt x="393" y="357"/>
                    <a:pt x="393" y="356"/>
                    <a:pt x="394" y="356"/>
                  </a:cubicBezTo>
                  <a:cubicBezTo>
                    <a:pt x="395" y="355"/>
                    <a:pt x="394" y="355"/>
                    <a:pt x="394" y="355"/>
                  </a:cubicBezTo>
                  <a:cubicBezTo>
                    <a:pt x="394" y="356"/>
                    <a:pt x="393" y="354"/>
                    <a:pt x="393" y="354"/>
                  </a:cubicBezTo>
                  <a:cubicBezTo>
                    <a:pt x="393" y="354"/>
                    <a:pt x="394" y="354"/>
                    <a:pt x="393" y="354"/>
                  </a:cubicBezTo>
                  <a:cubicBezTo>
                    <a:pt x="394" y="353"/>
                    <a:pt x="394" y="353"/>
                    <a:pt x="394" y="352"/>
                  </a:cubicBezTo>
                  <a:cubicBezTo>
                    <a:pt x="394" y="353"/>
                    <a:pt x="394" y="355"/>
                    <a:pt x="396" y="354"/>
                  </a:cubicBezTo>
                  <a:cubicBezTo>
                    <a:pt x="396" y="355"/>
                    <a:pt x="396" y="355"/>
                    <a:pt x="396" y="355"/>
                  </a:cubicBezTo>
                  <a:cubicBezTo>
                    <a:pt x="397" y="354"/>
                    <a:pt x="397" y="352"/>
                    <a:pt x="398" y="351"/>
                  </a:cubicBezTo>
                  <a:cubicBezTo>
                    <a:pt x="398" y="350"/>
                    <a:pt x="399" y="350"/>
                    <a:pt x="399" y="350"/>
                  </a:cubicBezTo>
                  <a:cubicBezTo>
                    <a:pt x="399" y="349"/>
                    <a:pt x="399" y="349"/>
                    <a:pt x="399" y="349"/>
                  </a:cubicBezTo>
                  <a:cubicBezTo>
                    <a:pt x="399" y="349"/>
                    <a:pt x="399" y="349"/>
                    <a:pt x="399" y="348"/>
                  </a:cubicBezTo>
                  <a:cubicBezTo>
                    <a:pt x="399" y="347"/>
                    <a:pt x="402" y="346"/>
                    <a:pt x="403" y="346"/>
                  </a:cubicBezTo>
                  <a:cubicBezTo>
                    <a:pt x="403" y="345"/>
                    <a:pt x="403" y="345"/>
                    <a:pt x="403" y="345"/>
                  </a:cubicBezTo>
                  <a:cubicBezTo>
                    <a:pt x="403" y="344"/>
                    <a:pt x="403" y="344"/>
                    <a:pt x="402" y="344"/>
                  </a:cubicBezTo>
                  <a:cubicBezTo>
                    <a:pt x="403" y="343"/>
                    <a:pt x="404" y="343"/>
                    <a:pt x="404" y="342"/>
                  </a:cubicBezTo>
                  <a:cubicBezTo>
                    <a:pt x="404" y="342"/>
                    <a:pt x="404" y="342"/>
                    <a:pt x="404" y="342"/>
                  </a:cubicBezTo>
                  <a:cubicBezTo>
                    <a:pt x="405" y="341"/>
                    <a:pt x="403" y="342"/>
                    <a:pt x="403" y="341"/>
                  </a:cubicBezTo>
                  <a:cubicBezTo>
                    <a:pt x="403" y="341"/>
                    <a:pt x="407" y="339"/>
                    <a:pt x="405" y="339"/>
                  </a:cubicBezTo>
                  <a:cubicBezTo>
                    <a:pt x="405" y="339"/>
                    <a:pt x="405" y="339"/>
                    <a:pt x="405" y="338"/>
                  </a:cubicBezTo>
                  <a:cubicBezTo>
                    <a:pt x="406" y="337"/>
                    <a:pt x="407" y="337"/>
                    <a:pt x="408" y="337"/>
                  </a:cubicBezTo>
                  <a:cubicBezTo>
                    <a:pt x="405" y="336"/>
                    <a:pt x="408" y="335"/>
                    <a:pt x="410" y="334"/>
                  </a:cubicBezTo>
                  <a:cubicBezTo>
                    <a:pt x="413" y="333"/>
                    <a:pt x="416" y="332"/>
                    <a:pt x="418" y="330"/>
                  </a:cubicBezTo>
                  <a:cubicBezTo>
                    <a:pt x="418" y="330"/>
                    <a:pt x="418" y="330"/>
                    <a:pt x="418" y="330"/>
                  </a:cubicBezTo>
                  <a:cubicBezTo>
                    <a:pt x="418" y="330"/>
                    <a:pt x="417" y="330"/>
                    <a:pt x="418" y="329"/>
                  </a:cubicBezTo>
                  <a:cubicBezTo>
                    <a:pt x="419" y="328"/>
                    <a:pt x="419" y="328"/>
                    <a:pt x="418" y="328"/>
                  </a:cubicBezTo>
                  <a:cubicBezTo>
                    <a:pt x="418" y="328"/>
                    <a:pt x="417" y="327"/>
                    <a:pt x="417" y="327"/>
                  </a:cubicBezTo>
                  <a:cubicBezTo>
                    <a:pt x="417" y="327"/>
                    <a:pt x="416" y="327"/>
                    <a:pt x="416" y="327"/>
                  </a:cubicBezTo>
                  <a:cubicBezTo>
                    <a:pt x="416" y="327"/>
                    <a:pt x="414" y="327"/>
                    <a:pt x="415" y="326"/>
                  </a:cubicBezTo>
                  <a:cubicBezTo>
                    <a:pt x="416" y="325"/>
                    <a:pt x="418" y="325"/>
                    <a:pt x="416" y="324"/>
                  </a:cubicBezTo>
                  <a:cubicBezTo>
                    <a:pt x="416" y="324"/>
                    <a:pt x="415" y="324"/>
                    <a:pt x="414" y="323"/>
                  </a:cubicBezTo>
                  <a:cubicBezTo>
                    <a:pt x="413" y="322"/>
                    <a:pt x="413" y="322"/>
                    <a:pt x="414" y="321"/>
                  </a:cubicBezTo>
                  <a:cubicBezTo>
                    <a:pt x="414" y="321"/>
                    <a:pt x="414" y="321"/>
                    <a:pt x="414" y="321"/>
                  </a:cubicBezTo>
                  <a:cubicBezTo>
                    <a:pt x="415" y="321"/>
                    <a:pt x="414" y="320"/>
                    <a:pt x="414" y="320"/>
                  </a:cubicBezTo>
                  <a:cubicBezTo>
                    <a:pt x="414" y="320"/>
                    <a:pt x="414" y="320"/>
                    <a:pt x="414" y="319"/>
                  </a:cubicBezTo>
                  <a:cubicBezTo>
                    <a:pt x="415" y="320"/>
                    <a:pt x="415" y="321"/>
                    <a:pt x="416" y="321"/>
                  </a:cubicBezTo>
                  <a:cubicBezTo>
                    <a:pt x="416" y="322"/>
                    <a:pt x="416" y="322"/>
                    <a:pt x="416" y="323"/>
                  </a:cubicBezTo>
                  <a:cubicBezTo>
                    <a:pt x="417" y="323"/>
                    <a:pt x="418" y="323"/>
                    <a:pt x="418" y="324"/>
                  </a:cubicBezTo>
                  <a:cubicBezTo>
                    <a:pt x="419" y="325"/>
                    <a:pt x="418" y="326"/>
                    <a:pt x="419" y="326"/>
                  </a:cubicBezTo>
                  <a:cubicBezTo>
                    <a:pt x="421" y="326"/>
                    <a:pt x="423" y="325"/>
                    <a:pt x="424" y="326"/>
                  </a:cubicBezTo>
                  <a:cubicBezTo>
                    <a:pt x="423" y="326"/>
                    <a:pt x="422" y="326"/>
                    <a:pt x="422" y="327"/>
                  </a:cubicBezTo>
                  <a:cubicBezTo>
                    <a:pt x="423" y="327"/>
                    <a:pt x="422" y="327"/>
                    <a:pt x="422" y="328"/>
                  </a:cubicBezTo>
                  <a:cubicBezTo>
                    <a:pt x="422" y="329"/>
                    <a:pt x="424" y="329"/>
                    <a:pt x="425" y="329"/>
                  </a:cubicBezTo>
                  <a:cubicBezTo>
                    <a:pt x="426" y="329"/>
                    <a:pt x="427" y="329"/>
                    <a:pt x="429" y="329"/>
                  </a:cubicBezTo>
                  <a:cubicBezTo>
                    <a:pt x="430" y="330"/>
                    <a:pt x="432" y="328"/>
                    <a:pt x="433" y="327"/>
                  </a:cubicBezTo>
                  <a:cubicBezTo>
                    <a:pt x="433" y="327"/>
                    <a:pt x="432" y="326"/>
                    <a:pt x="431" y="326"/>
                  </a:cubicBezTo>
                  <a:cubicBezTo>
                    <a:pt x="432" y="326"/>
                    <a:pt x="434" y="326"/>
                    <a:pt x="435" y="327"/>
                  </a:cubicBezTo>
                  <a:cubicBezTo>
                    <a:pt x="436" y="327"/>
                    <a:pt x="435" y="328"/>
                    <a:pt x="435" y="328"/>
                  </a:cubicBezTo>
                  <a:cubicBezTo>
                    <a:pt x="436" y="329"/>
                    <a:pt x="439" y="329"/>
                    <a:pt x="438" y="327"/>
                  </a:cubicBezTo>
                  <a:cubicBezTo>
                    <a:pt x="438" y="325"/>
                    <a:pt x="435" y="327"/>
                    <a:pt x="438" y="325"/>
                  </a:cubicBezTo>
                  <a:cubicBezTo>
                    <a:pt x="439" y="325"/>
                    <a:pt x="439" y="324"/>
                    <a:pt x="439" y="324"/>
                  </a:cubicBezTo>
                  <a:cubicBezTo>
                    <a:pt x="440" y="324"/>
                    <a:pt x="440" y="323"/>
                    <a:pt x="441" y="323"/>
                  </a:cubicBezTo>
                  <a:cubicBezTo>
                    <a:pt x="442" y="324"/>
                    <a:pt x="442" y="325"/>
                    <a:pt x="443" y="325"/>
                  </a:cubicBezTo>
                  <a:cubicBezTo>
                    <a:pt x="443" y="326"/>
                    <a:pt x="445" y="327"/>
                    <a:pt x="445" y="327"/>
                  </a:cubicBezTo>
                  <a:cubicBezTo>
                    <a:pt x="446" y="326"/>
                    <a:pt x="446" y="326"/>
                    <a:pt x="447" y="325"/>
                  </a:cubicBezTo>
                  <a:cubicBezTo>
                    <a:pt x="447" y="324"/>
                    <a:pt x="448" y="324"/>
                    <a:pt x="448" y="323"/>
                  </a:cubicBezTo>
                  <a:cubicBezTo>
                    <a:pt x="450" y="324"/>
                    <a:pt x="451" y="325"/>
                    <a:pt x="452" y="324"/>
                  </a:cubicBezTo>
                  <a:cubicBezTo>
                    <a:pt x="455" y="323"/>
                    <a:pt x="457" y="322"/>
                    <a:pt x="459" y="321"/>
                  </a:cubicBezTo>
                  <a:cubicBezTo>
                    <a:pt x="461" y="320"/>
                    <a:pt x="461" y="322"/>
                    <a:pt x="462" y="322"/>
                  </a:cubicBezTo>
                  <a:cubicBezTo>
                    <a:pt x="463" y="322"/>
                    <a:pt x="464" y="322"/>
                    <a:pt x="465" y="321"/>
                  </a:cubicBezTo>
                  <a:cubicBezTo>
                    <a:pt x="470" y="320"/>
                    <a:pt x="476" y="318"/>
                    <a:pt x="481" y="316"/>
                  </a:cubicBezTo>
                  <a:cubicBezTo>
                    <a:pt x="482" y="316"/>
                    <a:pt x="483" y="314"/>
                    <a:pt x="484" y="313"/>
                  </a:cubicBezTo>
                  <a:cubicBezTo>
                    <a:pt x="484" y="312"/>
                    <a:pt x="485" y="312"/>
                    <a:pt x="484" y="311"/>
                  </a:cubicBezTo>
                  <a:cubicBezTo>
                    <a:pt x="485" y="311"/>
                    <a:pt x="486" y="311"/>
                    <a:pt x="487" y="312"/>
                  </a:cubicBezTo>
                  <a:cubicBezTo>
                    <a:pt x="487" y="312"/>
                    <a:pt x="488" y="312"/>
                    <a:pt x="488" y="312"/>
                  </a:cubicBezTo>
                  <a:cubicBezTo>
                    <a:pt x="488" y="311"/>
                    <a:pt x="487" y="310"/>
                    <a:pt x="488" y="310"/>
                  </a:cubicBezTo>
                  <a:cubicBezTo>
                    <a:pt x="488" y="309"/>
                    <a:pt x="489" y="309"/>
                    <a:pt x="490" y="308"/>
                  </a:cubicBezTo>
                  <a:cubicBezTo>
                    <a:pt x="489" y="309"/>
                    <a:pt x="487" y="309"/>
                    <a:pt x="488" y="308"/>
                  </a:cubicBezTo>
                  <a:cubicBezTo>
                    <a:pt x="489" y="307"/>
                    <a:pt x="492" y="308"/>
                    <a:pt x="493" y="308"/>
                  </a:cubicBezTo>
                  <a:cubicBezTo>
                    <a:pt x="493" y="308"/>
                    <a:pt x="493" y="308"/>
                    <a:pt x="493" y="308"/>
                  </a:cubicBezTo>
                  <a:cubicBezTo>
                    <a:pt x="494" y="309"/>
                    <a:pt x="494" y="307"/>
                    <a:pt x="494" y="306"/>
                  </a:cubicBezTo>
                  <a:cubicBezTo>
                    <a:pt x="494" y="306"/>
                    <a:pt x="493" y="306"/>
                    <a:pt x="493" y="305"/>
                  </a:cubicBezTo>
                  <a:close/>
                  <a:moveTo>
                    <a:pt x="486" y="21"/>
                  </a:moveTo>
                  <a:cubicBezTo>
                    <a:pt x="485" y="21"/>
                    <a:pt x="483" y="22"/>
                    <a:pt x="482" y="22"/>
                  </a:cubicBezTo>
                  <a:cubicBezTo>
                    <a:pt x="483" y="21"/>
                    <a:pt x="485" y="21"/>
                    <a:pt x="486" y="2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28" name="Freeform 1979">
              <a:extLst>
                <a:ext uri="{FF2B5EF4-FFF2-40B4-BE49-F238E27FC236}">
                  <a16:creationId xmlns:a16="http://schemas.microsoft.com/office/drawing/2014/main" id="{7C0DBE5D-7775-44C7-8AC8-C3132F118E8B}"/>
                </a:ext>
              </a:extLst>
            </p:cNvPr>
            <p:cNvSpPr>
              <a:spLocks/>
            </p:cNvSpPr>
            <p:nvPr/>
          </p:nvSpPr>
          <p:spPr bwMode="auto">
            <a:xfrm>
              <a:off x="3055" y="349"/>
              <a:ext cx="28" cy="9"/>
            </a:xfrm>
            <a:custGeom>
              <a:avLst/>
              <a:gdLst>
                <a:gd name="T0" fmla="*/ 0 w 12"/>
                <a:gd name="T1" fmla="*/ 1 h 4"/>
                <a:gd name="T2" fmla="*/ 1 w 12"/>
                <a:gd name="T3" fmla="*/ 1 h 4"/>
                <a:gd name="T4" fmla="*/ 1 w 12"/>
                <a:gd name="T5" fmla="*/ 1 h 4"/>
                <a:gd name="T6" fmla="*/ 3 w 12"/>
                <a:gd name="T7" fmla="*/ 2 h 4"/>
                <a:gd name="T8" fmla="*/ 3 w 12"/>
                <a:gd name="T9" fmla="*/ 2 h 4"/>
                <a:gd name="T10" fmla="*/ 5 w 12"/>
                <a:gd name="T11" fmla="*/ 2 h 4"/>
                <a:gd name="T12" fmla="*/ 5 w 12"/>
                <a:gd name="T13" fmla="*/ 2 h 4"/>
                <a:gd name="T14" fmla="*/ 5 w 12"/>
                <a:gd name="T15" fmla="*/ 2 h 4"/>
                <a:gd name="T16" fmla="*/ 6 w 12"/>
                <a:gd name="T17" fmla="*/ 3 h 4"/>
                <a:gd name="T18" fmla="*/ 8 w 12"/>
                <a:gd name="T19" fmla="*/ 3 h 4"/>
                <a:gd name="T20" fmla="*/ 12 w 12"/>
                <a:gd name="T21" fmla="*/ 4 h 4"/>
                <a:gd name="T22" fmla="*/ 1 w 12"/>
                <a:gd name="T23" fmla="*/ 1 h 4"/>
                <a:gd name="T24" fmla="*/ 0 w 12"/>
                <a:gd name="T25" fmla="*/ 0 h 4"/>
                <a:gd name="T26" fmla="*/ 0 w 12"/>
                <a:gd name="T27" fmla="*/ 0 h 4"/>
                <a:gd name="T28" fmla="*/ 0 w 12"/>
                <a:gd name="T29" fmla="*/ 0 h 4"/>
                <a:gd name="T30" fmla="*/ 0 w 12"/>
                <a:gd name="T31" fmla="*/ 0 h 4"/>
                <a:gd name="T32" fmla="*/ 0 w 12"/>
                <a:gd name="T3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4">
                  <a:moveTo>
                    <a:pt x="0" y="1"/>
                  </a:moveTo>
                  <a:cubicBezTo>
                    <a:pt x="1" y="1"/>
                    <a:pt x="1" y="1"/>
                    <a:pt x="1" y="1"/>
                  </a:cubicBezTo>
                  <a:cubicBezTo>
                    <a:pt x="1" y="1"/>
                    <a:pt x="1" y="1"/>
                    <a:pt x="1" y="1"/>
                  </a:cubicBezTo>
                  <a:cubicBezTo>
                    <a:pt x="2" y="1"/>
                    <a:pt x="2" y="2"/>
                    <a:pt x="3" y="2"/>
                  </a:cubicBezTo>
                  <a:cubicBezTo>
                    <a:pt x="3" y="2"/>
                    <a:pt x="3" y="2"/>
                    <a:pt x="3" y="2"/>
                  </a:cubicBezTo>
                  <a:cubicBezTo>
                    <a:pt x="4" y="2"/>
                    <a:pt x="4" y="2"/>
                    <a:pt x="5" y="2"/>
                  </a:cubicBezTo>
                  <a:cubicBezTo>
                    <a:pt x="5" y="2"/>
                    <a:pt x="5" y="2"/>
                    <a:pt x="5" y="2"/>
                  </a:cubicBezTo>
                  <a:cubicBezTo>
                    <a:pt x="5" y="2"/>
                    <a:pt x="5" y="2"/>
                    <a:pt x="5" y="2"/>
                  </a:cubicBezTo>
                  <a:cubicBezTo>
                    <a:pt x="5" y="3"/>
                    <a:pt x="5" y="3"/>
                    <a:pt x="6" y="3"/>
                  </a:cubicBezTo>
                  <a:cubicBezTo>
                    <a:pt x="7" y="3"/>
                    <a:pt x="7" y="3"/>
                    <a:pt x="8" y="3"/>
                  </a:cubicBezTo>
                  <a:cubicBezTo>
                    <a:pt x="9" y="3"/>
                    <a:pt x="10" y="4"/>
                    <a:pt x="12" y="4"/>
                  </a:cubicBezTo>
                  <a:cubicBezTo>
                    <a:pt x="8" y="3"/>
                    <a:pt x="5" y="2"/>
                    <a:pt x="1" y="1"/>
                  </a:cubicBezTo>
                  <a:cubicBezTo>
                    <a:pt x="1" y="1"/>
                    <a:pt x="0" y="0"/>
                    <a:pt x="0" y="0"/>
                  </a:cubicBezTo>
                  <a:cubicBezTo>
                    <a:pt x="0" y="0"/>
                    <a:pt x="0" y="0"/>
                    <a:pt x="0" y="0"/>
                  </a:cubicBezTo>
                  <a:cubicBezTo>
                    <a:pt x="0" y="0"/>
                    <a:pt x="0" y="0"/>
                    <a:pt x="0" y="0"/>
                  </a:cubicBezTo>
                  <a:cubicBezTo>
                    <a:pt x="0" y="0"/>
                    <a:pt x="0" y="0"/>
                    <a:pt x="0" y="0"/>
                  </a:cubicBezTo>
                  <a:cubicBezTo>
                    <a:pt x="0" y="1"/>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29" name="Freeform 1980">
              <a:extLst>
                <a:ext uri="{FF2B5EF4-FFF2-40B4-BE49-F238E27FC236}">
                  <a16:creationId xmlns:a16="http://schemas.microsoft.com/office/drawing/2014/main" id="{2BF63860-C82C-4797-881F-D6AB258EA790}"/>
                </a:ext>
              </a:extLst>
            </p:cNvPr>
            <p:cNvSpPr>
              <a:spLocks/>
            </p:cNvSpPr>
            <p:nvPr/>
          </p:nvSpPr>
          <p:spPr bwMode="auto">
            <a:xfrm>
              <a:off x="2265" y="907"/>
              <a:ext cx="7" cy="5"/>
            </a:xfrm>
            <a:custGeom>
              <a:avLst/>
              <a:gdLst>
                <a:gd name="T0" fmla="*/ 3 w 3"/>
                <a:gd name="T1" fmla="*/ 0 h 2"/>
                <a:gd name="T2" fmla="*/ 3 w 3"/>
                <a:gd name="T3" fmla="*/ 0 h 2"/>
                <a:gd name="T4" fmla="*/ 2 w 3"/>
                <a:gd name="T5" fmla="*/ 0 h 2"/>
                <a:gd name="T6" fmla="*/ 0 w 3"/>
                <a:gd name="T7" fmla="*/ 1 h 2"/>
                <a:gd name="T8" fmla="*/ 3 w 3"/>
                <a:gd name="T9" fmla="*/ 0 h 2"/>
              </a:gdLst>
              <a:ahLst/>
              <a:cxnLst>
                <a:cxn ang="0">
                  <a:pos x="T0" y="T1"/>
                </a:cxn>
                <a:cxn ang="0">
                  <a:pos x="T2" y="T3"/>
                </a:cxn>
                <a:cxn ang="0">
                  <a:pos x="T4" y="T5"/>
                </a:cxn>
                <a:cxn ang="0">
                  <a:pos x="T6" y="T7"/>
                </a:cxn>
                <a:cxn ang="0">
                  <a:pos x="T8" y="T9"/>
                </a:cxn>
              </a:cxnLst>
              <a:rect l="0" t="0" r="r" b="b"/>
              <a:pathLst>
                <a:path w="3" h="2">
                  <a:moveTo>
                    <a:pt x="3" y="0"/>
                  </a:moveTo>
                  <a:cubicBezTo>
                    <a:pt x="3" y="0"/>
                    <a:pt x="3" y="0"/>
                    <a:pt x="3" y="0"/>
                  </a:cubicBezTo>
                  <a:cubicBezTo>
                    <a:pt x="2" y="0"/>
                    <a:pt x="2" y="0"/>
                    <a:pt x="2" y="0"/>
                  </a:cubicBezTo>
                  <a:cubicBezTo>
                    <a:pt x="1" y="0"/>
                    <a:pt x="1" y="1"/>
                    <a:pt x="0" y="1"/>
                  </a:cubicBezTo>
                  <a:cubicBezTo>
                    <a:pt x="1" y="1"/>
                    <a:pt x="3" y="2"/>
                    <a:pt x="3"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30" name="Freeform 1981">
              <a:extLst>
                <a:ext uri="{FF2B5EF4-FFF2-40B4-BE49-F238E27FC236}">
                  <a16:creationId xmlns:a16="http://schemas.microsoft.com/office/drawing/2014/main" id="{D31C4A3A-D5C6-42D8-8377-9F3D80A6607A}"/>
                </a:ext>
              </a:extLst>
            </p:cNvPr>
            <p:cNvSpPr>
              <a:spLocks/>
            </p:cNvSpPr>
            <p:nvPr/>
          </p:nvSpPr>
          <p:spPr bwMode="auto">
            <a:xfrm>
              <a:off x="2060" y="1227"/>
              <a:ext cx="7" cy="14"/>
            </a:xfrm>
            <a:custGeom>
              <a:avLst/>
              <a:gdLst>
                <a:gd name="T0" fmla="*/ 2 w 3"/>
                <a:gd name="T1" fmla="*/ 2 h 6"/>
                <a:gd name="T2" fmla="*/ 2 w 3"/>
                <a:gd name="T3" fmla="*/ 2 h 6"/>
                <a:gd name="T4" fmla="*/ 2 w 3"/>
                <a:gd name="T5" fmla="*/ 2 h 6"/>
                <a:gd name="T6" fmla="*/ 2 w 3"/>
                <a:gd name="T7" fmla="*/ 2 h 6"/>
                <a:gd name="T8" fmla="*/ 3 w 3"/>
                <a:gd name="T9" fmla="*/ 2 h 6"/>
                <a:gd name="T10" fmla="*/ 3 w 3"/>
                <a:gd name="T11" fmla="*/ 1 h 6"/>
                <a:gd name="T12" fmla="*/ 0 w 3"/>
                <a:gd name="T13" fmla="*/ 5 h 6"/>
                <a:gd name="T14" fmla="*/ 1 w 3"/>
                <a:gd name="T15" fmla="*/ 4 h 6"/>
                <a:gd name="T16" fmla="*/ 3 w 3"/>
                <a:gd name="T17" fmla="*/ 5 h 6"/>
                <a:gd name="T18" fmla="*/ 3 w 3"/>
                <a:gd name="T19" fmla="*/ 5 h 6"/>
                <a:gd name="T20" fmla="*/ 3 w 3"/>
                <a:gd name="T21" fmla="*/ 5 h 6"/>
                <a:gd name="T22" fmla="*/ 3 w 3"/>
                <a:gd name="T23" fmla="*/ 4 h 6"/>
                <a:gd name="T24" fmla="*/ 2 w 3"/>
                <a:gd name="T25" fmla="*/ 3 h 6"/>
                <a:gd name="T26" fmla="*/ 2 w 3"/>
                <a:gd name="T27" fmla="*/ 3 h 6"/>
                <a:gd name="T28" fmla="*/ 1 w 3"/>
                <a:gd name="T29" fmla="*/ 3 h 6"/>
                <a:gd name="T30" fmla="*/ 2 w 3"/>
                <a:gd name="T3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6">
                  <a:moveTo>
                    <a:pt x="2" y="2"/>
                  </a:moveTo>
                  <a:cubicBezTo>
                    <a:pt x="2" y="2"/>
                    <a:pt x="2" y="2"/>
                    <a:pt x="2" y="2"/>
                  </a:cubicBezTo>
                  <a:cubicBezTo>
                    <a:pt x="2" y="2"/>
                    <a:pt x="2" y="2"/>
                    <a:pt x="2" y="2"/>
                  </a:cubicBezTo>
                  <a:cubicBezTo>
                    <a:pt x="2" y="2"/>
                    <a:pt x="2" y="2"/>
                    <a:pt x="2" y="2"/>
                  </a:cubicBezTo>
                  <a:cubicBezTo>
                    <a:pt x="2" y="2"/>
                    <a:pt x="2" y="2"/>
                    <a:pt x="3" y="2"/>
                  </a:cubicBezTo>
                  <a:cubicBezTo>
                    <a:pt x="3" y="2"/>
                    <a:pt x="3" y="1"/>
                    <a:pt x="3" y="1"/>
                  </a:cubicBezTo>
                  <a:cubicBezTo>
                    <a:pt x="1" y="0"/>
                    <a:pt x="0" y="2"/>
                    <a:pt x="0" y="5"/>
                  </a:cubicBezTo>
                  <a:cubicBezTo>
                    <a:pt x="0" y="4"/>
                    <a:pt x="1" y="4"/>
                    <a:pt x="1" y="4"/>
                  </a:cubicBezTo>
                  <a:cubicBezTo>
                    <a:pt x="2" y="4"/>
                    <a:pt x="2" y="6"/>
                    <a:pt x="3" y="5"/>
                  </a:cubicBezTo>
                  <a:cubicBezTo>
                    <a:pt x="3" y="5"/>
                    <a:pt x="3" y="5"/>
                    <a:pt x="3" y="5"/>
                  </a:cubicBezTo>
                  <a:cubicBezTo>
                    <a:pt x="3" y="5"/>
                    <a:pt x="3" y="5"/>
                    <a:pt x="3" y="5"/>
                  </a:cubicBezTo>
                  <a:cubicBezTo>
                    <a:pt x="3" y="4"/>
                    <a:pt x="3" y="4"/>
                    <a:pt x="3" y="4"/>
                  </a:cubicBezTo>
                  <a:cubicBezTo>
                    <a:pt x="3" y="3"/>
                    <a:pt x="3" y="3"/>
                    <a:pt x="2" y="3"/>
                  </a:cubicBezTo>
                  <a:cubicBezTo>
                    <a:pt x="2" y="3"/>
                    <a:pt x="2" y="3"/>
                    <a:pt x="2" y="3"/>
                  </a:cubicBezTo>
                  <a:cubicBezTo>
                    <a:pt x="1" y="3"/>
                    <a:pt x="1" y="3"/>
                    <a:pt x="1" y="3"/>
                  </a:cubicBezTo>
                  <a:cubicBezTo>
                    <a:pt x="1" y="3"/>
                    <a:pt x="2" y="3"/>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31" name="Freeform 1982">
              <a:extLst>
                <a:ext uri="{FF2B5EF4-FFF2-40B4-BE49-F238E27FC236}">
                  <a16:creationId xmlns:a16="http://schemas.microsoft.com/office/drawing/2014/main" id="{3B5D8EF4-88D3-4D1A-B22D-C45A14B48036}"/>
                </a:ext>
              </a:extLst>
            </p:cNvPr>
            <p:cNvSpPr>
              <a:spLocks/>
            </p:cNvSpPr>
            <p:nvPr/>
          </p:nvSpPr>
          <p:spPr bwMode="auto">
            <a:xfrm>
              <a:off x="398" y="1295"/>
              <a:ext cx="7" cy="5"/>
            </a:xfrm>
            <a:custGeom>
              <a:avLst/>
              <a:gdLst>
                <a:gd name="T0" fmla="*/ 2 w 3"/>
                <a:gd name="T1" fmla="*/ 2 h 2"/>
                <a:gd name="T2" fmla="*/ 3 w 3"/>
                <a:gd name="T3" fmla="*/ 0 h 2"/>
                <a:gd name="T4" fmla="*/ 2 w 3"/>
                <a:gd name="T5" fmla="*/ 1 h 2"/>
                <a:gd name="T6" fmla="*/ 1 w 3"/>
                <a:gd name="T7" fmla="*/ 1 h 2"/>
                <a:gd name="T8" fmla="*/ 0 w 3"/>
                <a:gd name="T9" fmla="*/ 2 h 2"/>
                <a:gd name="T10" fmla="*/ 1 w 3"/>
                <a:gd name="T11" fmla="*/ 2 h 2"/>
                <a:gd name="T12" fmla="*/ 2 w 3"/>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2"/>
                  </a:moveTo>
                  <a:cubicBezTo>
                    <a:pt x="2" y="1"/>
                    <a:pt x="3" y="1"/>
                    <a:pt x="3" y="0"/>
                  </a:cubicBezTo>
                  <a:cubicBezTo>
                    <a:pt x="3" y="0"/>
                    <a:pt x="2" y="0"/>
                    <a:pt x="2" y="1"/>
                  </a:cubicBezTo>
                  <a:cubicBezTo>
                    <a:pt x="2" y="1"/>
                    <a:pt x="2" y="1"/>
                    <a:pt x="1" y="1"/>
                  </a:cubicBezTo>
                  <a:cubicBezTo>
                    <a:pt x="1" y="1"/>
                    <a:pt x="1" y="2"/>
                    <a:pt x="0" y="2"/>
                  </a:cubicBezTo>
                  <a:cubicBezTo>
                    <a:pt x="1" y="2"/>
                    <a:pt x="1" y="2"/>
                    <a:pt x="1" y="2"/>
                  </a:cubicBezTo>
                  <a:cubicBezTo>
                    <a:pt x="1" y="2"/>
                    <a:pt x="2" y="2"/>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32" name="Freeform 1983">
              <a:extLst>
                <a:ext uri="{FF2B5EF4-FFF2-40B4-BE49-F238E27FC236}">
                  <a16:creationId xmlns:a16="http://schemas.microsoft.com/office/drawing/2014/main" id="{EA0DE972-6D6D-4A68-8DEC-69BE3D71F32F}"/>
                </a:ext>
              </a:extLst>
            </p:cNvPr>
            <p:cNvSpPr>
              <a:spLocks/>
            </p:cNvSpPr>
            <p:nvPr/>
          </p:nvSpPr>
          <p:spPr bwMode="auto">
            <a:xfrm>
              <a:off x="185" y="742"/>
              <a:ext cx="9" cy="4"/>
            </a:xfrm>
            <a:custGeom>
              <a:avLst/>
              <a:gdLst>
                <a:gd name="T0" fmla="*/ 1 w 4"/>
                <a:gd name="T1" fmla="*/ 2 h 2"/>
                <a:gd name="T2" fmla="*/ 2 w 4"/>
                <a:gd name="T3" fmla="*/ 2 h 2"/>
                <a:gd name="T4" fmla="*/ 2 w 4"/>
                <a:gd name="T5" fmla="*/ 2 h 2"/>
                <a:gd name="T6" fmla="*/ 2 w 4"/>
                <a:gd name="T7" fmla="*/ 2 h 2"/>
                <a:gd name="T8" fmla="*/ 3 w 4"/>
                <a:gd name="T9" fmla="*/ 1 h 2"/>
                <a:gd name="T10" fmla="*/ 4 w 4"/>
                <a:gd name="T11" fmla="*/ 1 h 2"/>
                <a:gd name="T12" fmla="*/ 0 w 4"/>
                <a:gd name="T13" fmla="*/ 1 h 2"/>
                <a:gd name="T14" fmla="*/ 0 w 4"/>
                <a:gd name="T15" fmla="*/ 1 h 2"/>
                <a:gd name="T16" fmla="*/ 1 w 4"/>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1" y="2"/>
                  </a:moveTo>
                  <a:cubicBezTo>
                    <a:pt x="1" y="2"/>
                    <a:pt x="2" y="2"/>
                    <a:pt x="2" y="2"/>
                  </a:cubicBezTo>
                  <a:cubicBezTo>
                    <a:pt x="2" y="2"/>
                    <a:pt x="2" y="2"/>
                    <a:pt x="2" y="2"/>
                  </a:cubicBezTo>
                  <a:cubicBezTo>
                    <a:pt x="2" y="2"/>
                    <a:pt x="2" y="2"/>
                    <a:pt x="2" y="2"/>
                  </a:cubicBezTo>
                  <a:cubicBezTo>
                    <a:pt x="3" y="1"/>
                    <a:pt x="3" y="1"/>
                    <a:pt x="3" y="1"/>
                  </a:cubicBezTo>
                  <a:cubicBezTo>
                    <a:pt x="4" y="1"/>
                    <a:pt x="4" y="1"/>
                    <a:pt x="4" y="1"/>
                  </a:cubicBezTo>
                  <a:cubicBezTo>
                    <a:pt x="3" y="0"/>
                    <a:pt x="1" y="0"/>
                    <a:pt x="0" y="1"/>
                  </a:cubicBezTo>
                  <a:cubicBezTo>
                    <a:pt x="0" y="1"/>
                    <a:pt x="0" y="1"/>
                    <a:pt x="0" y="1"/>
                  </a:cubicBezTo>
                  <a:cubicBezTo>
                    <a:pt x="0" y="2"/>
                    <a:pt x="1" y="2"/>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33" name="Freeform 1984">
              <a:extLst>
                <a:ext uri="{FF2B5EF4-FFF2-40B4-BE49-F238E27FC236}">
                  <a16:creationId xmlns:a16="http://schemas.microsoft.com/office/drawing/2014/main" id="{798F95D4-7C1D-4A23-AAA5-2D960319C5F7}"/>
                </a:ext>
              </a:extLst>
            </p:cNvPr>
            <p:cNvSpPr>
              <a:spLocks/>
            </p:cNvSpPr>
            <p:nvPr/>
          </p:nvSpPr>
          <p:spPr bwMode="auto">
            <a:xfrm>
              <a:off x="866" y="789"/>
              <a:ext cx="9" cy="2"/>
            </a:xfrm>
            <a:custGeom>
              <a:avLst/>
              <a:gdLst>
                <a:gd name="T0" fmla="*/ 2 w 4"/>
                <a:gd name="T1" fmla="*/ 0 h 1"/>
                <a:gd name="T2" fmla="*/ 0 w 4"/>
                <a:gd name="T3" fmla="*/ 1 h 1"/>
                <a:gd name="T4" fmla="*/ 4 w 4"/>
                <a:gd name="T5" fmla="*/ 1 h 1"/>
                <a:gd name="T6" fmla="*/ 3 w 4"/>
                <a:gd name="T7" fmla="*/ 0 h 1"/>
                <a:gd name="T8" fmla="*/ 2 w 4"/>
                <a:gd name="T9" fmla="*/ 0 h 1"/>
              </a:gdLst>
              <a:ahLst/>
              <a:cxnLst>
                <a:cxn ang="0">
                  <a:pos x="T0" y="T1"/>
                </a:cxn>
                <a:cxn ang="0">
                  <a:pos x="T2" y="T3"/>
                </a:cxn>
                <a:cxn ang="0">
                  <a:pos x="T4" y="T5"/>
                </a:cxn>
                <a:cxn ang="0">
                  <a:pos x="T6" y="T7"/>
                </a:cxn>
                <a:cxn ang="0">
                  <a:pos x="T8" y="T9"/>
                </a:cxn>
              </a:cxnLst>
              <a:rect l="0" t="0" r="r" b="b"/>
              <a:pathLst>
                <a:path w="4" h="1">
                  <a:moveTo>
                    <a:pt x="2" y="0"/>
                  </a:moveTo>
                  <a:cubicBezTo>
                    <a:pt x="2" y="0"/>
                    <a:pt x="1" y="0"/>
                    <a:pt x="0" y="1"/>
                  </a:cubicBezTo>
                  <a:cubicBezTo>
                    <a:pt x="1" y="1"/>
                    <a:pt x="3" y="1"/>
                    <a:pt x="4" y="1"/>
                  </a:cubicBezTo>
                  <a:cubicBezTo>
                    <a:pt x="4" y="0"/>
                    <a:pt x="3" y="0"/>
                    <a:pt x="3" y="0"/>
                  </a:cubicBezTo>
                  <a:cubicBezTo>
                    <a:pt x="3" y="0"/>
                    <a:pt x="2" y="0"/>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grpSp>
      <p:grpSp>
        <p:nvGrpSpPr>
          <p:cNvPr id="106" name="Group 2186">
            <a:extLst>
              <a:ext uri="{FF2B5EF4-FFF2-40B4-BE49-F238E27FC236}">
                <a16:creationId xmlns:a16="http://schemas.microsoft.com/office/drawing/2014/main" id="{B345849F-DFAC-4C45-A64D-35995229028C}"/>
              </a:ext>
            </a:extLst>
          </p:cNvPr>
          <p:cNvGrpSpPr>
            <a:grpSpLocks/>
          </p:cNvGrpSpPr>
          <p:nvPr/>
        </p:nvGrpSpPr>
        <p:grpSpPr bwMode="auto">
          <a:xfrm>
            <a:off x="1747263" y="2138070"/>
            <a:ext cx="3891141" cy="2301962"/>
            <a:chOff x="334" y="46"/>
            <a:chExt cx="7852" cy="3878"/>
          </a:xfrm>
          <a:solidFill>
            <a:schemeClr val="tx1">
              <a:lumMod val="40000"/>
              <a:lumOff val="60000"/>
            </a:schemeClr>
          </a:solidFill>
        </p:grpSpPr>
        <p:sp>
          <p:nvSpPr>
            <p:cNvPr id="1134" name="Freeform 1986">
              <a:extLst>
                <a:ext uri="{FF2B5EF4-FFF2-40B4-BE49-F238E27FC236}">
                  <a16:creationId xmlns:a16="http://schemas.microsoft.com/office/drawing/2014/main" id="{B76F417A-4BE9-4DEF-9AE1-F86ED592C4C8}"/>
                </a:ext>
              </a:extLst>
            </p:cNvPr>
            <p:cNvSpPr>
              <a:spLocks/>
            </p:cNvSpPr>
            <p:nvPr/>
          </p:nvSpPr>
          <p:spPr bwMode="auto">
            <a:xfrm>
              <a:off x="2142" y="1298"/>
              <a:ext cx="10" cy="4"/>
            </a:xfrm>
            <a:custGeom>
              <a:avLst/>
              <a:gdLst>
                <a:gd name="T0" fmla="*/ 2 w 4"/>
                <a:gd name="T1" fmla="*/ 2 h 2"/>
                <a:gd name="T2" fmla="*/ 3 w 4"/>
                <a:gd name="T3" fmla="*/ 2 h 2"/>
                <a:gd name="T4" fmla="*/ 3 w 4"/>
                <a:gd name="T5" fmla="*/ 1 h 2"/>
                <a:gd name="T6" fmla="*/ 3 w 4"/>
                <a:gd name="T7" fmla="*/ 0 h 2"/>
                <a:gd name="T8" fmla="*/ 3 w 4"/>
                <a:gd name="T9" fmla="*/ 0 h 2"/>
                <a:gd name="T10" fmla="*/ 2 w 4"/>
                <a:gd name="T11" fmla="*/ 0 h 2"/>
                <a:gd name="T12" fmla="*/ 1 w 4"/>
                <a:gd name="T13" fmla="*/ 0 h 2"/>
                <a:gd name="T14" fmla="*/ 0 w 4"/>
                <a:gd name="T15" fmla="*/ 0 h 2"/>
                <a:gd name="T16" fmla="*/ 0 w 4"/>
                <a:gd name="T17" fmla="*/ 1 h 2"/>
                <a:gd name="T18" fmla="*/ 0 w 4"/>
                <a:gd name="T19" fmla="*/ 1 h 2"/>
                <a:gd name="T20" fmla="*/ 2 w 4"/>
                <a:gd name="T2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2">
                  <a:moveTo>
                    <a:pt x="2" y="2"/>
                  </a:moveTo>
                  <a:cubicBezTo>
                    <a:pt x="2" y="2"/>
                    <a:pt x="3" y="2"/>
                    <a:pt x="3" y="2"/>
                  </a:cubicBezTo>
                  <a:cubicBezTo>
                    <a:pt x="3" y="1"/>
                    <a:pt x="4" y="1"/>
                    <a:pt x="3" y="1"/>
                  </a:cubicBezTo>
                  <a:cubicBezTo>
                    <a:pt x="3" y="0"/>
                    <a:pt x="3" y="0"/>
                    <a:pt x="3" y="0"/>
                  </a:cubicBezTo>
                  <a:cubicBezTo>
                    <a:pt x="3" y="0"/>
                    <a:pt x="3" y="0"/>
                    <a:pt x="3" y="0"/>
                  </a:cubicBezTo>
                  <a:cubicBezTo>
                    <a:pt x="3" y="0"/>
                    <a:pt x="2" y="0"/>
                    <a:pt x="2" y="0"/>
                  </a:cubicBezTo>
                  <a:cubicBezTo>
                    <a:pt x="1" y="0"/>
                    <a:pt x="1" y="0"/>
                    <a:pt x="1" y="0"/>
                  </a:cubicBezTo>
                  <a:cubicBezTo>
                    <a:pt x="0" y="0"/>
                    <a:pt x="0" y="0"/>
                    <a:pt x="0" y="0"/>
                  </a:cubicBezTo>
                  <a:cubicBezTo>
                    <a:pt x="0" y="1"/>
                    <a:pt x="0" y="1"/>
                    <a:pt x="0" y="1"/>
                  </a:cubicBezTo>
                  <a:cubicBezTo>
                    <a:pt x="0" y="1"/>
                    <a:pt x="0" y="1"/>
                    <a:pt x="0" y="1"/>
                  </a:cubicBezTo>
                  <a:cubicBezTo>
                    <a:pt x="1" y="2"/>
                    <a:pt x="1" y="2"/>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35" name="Freeform 1987">
              <a:extLst>
                <a:ext uri="{FF2B5EF4-FFF2-40B4-BE49-F238E27FC236}">
                  <a16:creationId xmlns:a16="http://schemas.microsoft.com/office/drawing/2014/main" id="{EEA22030-850F-43CE-A26D-FBF2E29BEC62}"/>
                </a:ext>
              </a:extLst>
            </p:cNvPr>
            <p:cNvSpPr>
              <a:spLocks/>
            </p:cNvSpPr>
            <p:nvPr/>
          </p:nvSpPr>
          <p:spPr bwMode="auto">
            <a:xfrm>
              <a:off x="1428" y="2353"/>
              <a:ext cx="0" cy="2"/>
            </a:xfrm>
            <a:custGeom>
              <a:avLst/>
              <a:gdLst>
                <a:gd name="T0" fmla="*/ 0 h 1"/>
                <a:gd name="T1" fmla="*/ 0 h 1"/>
                <a:gd name="T2" fmla="*/ 1 h 1"/>
                <a:gd name="T3" fmla="*/ 1 h 1"/>
                <a:gd name="T4" fmla="*/ 1 h 1"/>
                <a:gd name="T5" fmla="*/ 0 h 1"/>
                <a:gd name="T6" fmla="*/ 0 h 1"/>
              </a:gdLst>
              <a:ahLst/>
              <a:cxnLst>
                <a:cxn ang="0">
                  <a:pos x="0" y="T0"/>
                </a:cxn>
                <a:cxn ang="0">
                  <a:pos x="0" y="T1"/>
                </a:cxn>
                <a:cxn ang="0">
                  <a:pos x="0" y="T2"/>
                </a:cxn>
                <a:cxn ang="0">
                  <a:pos x="0" y="T3"/>
                </a:cxn>
                <a:cxn ang="0">
                  <a:pos x="0" y="T4"/>
                </a:cxn>
                <a:cxn ang="0">
                  <a:pos x="0" y="T5"/>
                </a:cxn>
                <a:cxn ang="0">
                  <a:pos x="0" y="T6"/>
                </a:cxn>
              </a:cxnLst>
              <a:rect l="0" t="0" r="r" b="b"/>
              <a:pathLst>
                <a:path h="1">
                  <a:moveTo>
                    <a:pt x="0" y="0"/>
                  </a:moveTo>
                  <a:cubicBezTo>
                    <a:pt x="0" y="0"/>
                    <a:pt x="0" y="0"/>
                    <a:pt x="0" y="0"/>
                  </a:cubicBezTo>
                  <a:cubicBezTo>
                    <a:pt x="0" y="0"/>
                    <a:pt x="0" y="1"/>
                    <a:pt x="0" y="1"/>
                  </a:cubicBezTo>
                  <a:cubicBezTo>
                    <a:pt x="0" y="1"/>
                    <a:pt x="0" y="1"/>
                    <a:pt x="0" y="1"/>
                  </a:cubicBezTo>
                  <a:cubicBezTo>
                    <a:pt x="0" y="1"/>
                    <a:pt x="0" y="1"/>
                    <a:pt x="0" y="1"/>
                  </a:cubicBezTo>
                  <a:cubicBezTo>
                    <a:pt x="0" y="1"/>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36" name="Freeform 1988">
              <a:extLst>
                <a:ext uri="{FF2B5EF4-FFF2-40B4-BE49-F238E27FC236}">
                  <a16:creationId xmlns:a16="http://schemas.microsoft.com/office/drawing/2014/main" id="{A7DE529D-15C8-4167-BCCA-9B6CDCAFF90E}"/>
                </a:ext>
              </a:extLst>
            </p:cNvPr>
            <p:cNvSpPr>
              <a:spLocks/>
            </p:cNvSpPr>
            <p:nvPr/>
          </p:nvSpPr>
          <p:spPr bwMode="auto">
            <a:xfrm>
              <a:off x="1426" y="2350"/>
              <a:ext cx="2" cy="5"/>
            </a:xfrm>
            <a:custGeom>
              <a:avLst/>
              <a:gdLst>
                <a:gd name="T0" fmla="*/ 0 w 1"/>
                <a:gd name="T1" fmla="*/ 0 h 2"/>
                <a:gd name="T2" fmla="*/ 0 w 1"/>
                <a:gd name="T3" fmla="*/ 0 h 2"/>
                <a:gd name="T4" fmla="*/ 0 w 1"/>
                <a:gd name="T5" fmla="*/ 0 h 2"/>
                <a:gd name="T6" fmla="*/ 0 w 1"/>
                <a:gd name="T7" fmla="*/ 1 h 2"/>
                <a:gd name="T8" fmla="*/ 0 w 1"/>
                <a:gd name="T9" fmla="*/ 2 h 2"/>
                <a:gd name="T10" fmla="*/ 1 w 1"/>
                <a:gd name="T11" fmla="*/ 0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cubicBezTo>
                    <a:pt x="0" y="0"/>
                    <a:pt x="0" y="0"/>
                    <a:pt x="0" y="0"/>
                  </a:cubicBezTo>
                  <a:cubicBezTo>
                    <a:pt x="0" y="0"/>
                    <a:pt x="0" y="0"/>
                    <a:pt x="0" y="0"/>
                  </a:cubicBezTo>
                  <a:cubicBezTo>
                    <a:pt x="0" y="1"/>
                    <a:pt x="0" y="1"/>
                    <a:pt x="0" y="1"/>
                  </a:cubicBezTo>
                  <a:cubicBezTo>
                    <a:pt x="0" y="1"/>
                    <a:pt x="0" y="2"/>
                    <a:pt x="0" y="2"/>
                  </a:cubicBezTo>
                  <a:cubicBezTo>
                    <a:pt x="0" y="2"/>
                    <a:pt x="1" y="1"/>
                    <a:pt x="1" y="0"/>
                  </a:cubicBezTo>
                  <a:cubicBezTo>
                    <a:pt x="1" y="0"/>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37" name="Freeform 1989">
              <a:extLst>
                <a:ext uri="{FF2B5EF4-FFF2-40B4-BE49-F238E27FC236}">
                  <a16:creationId xmlns:a16="http://schemas.microsoft.com/office/drawing/2014/main" id="{248B8DE7-388B-4EBC-8EE1-06A6F72A3DB1}"/>
                </a:ext>
              </a:extLst>
            </p:cNvPr>
            <p:cNvSpPr>
              <a:spLocks noEditPoints="1"/>
            </p:cNvSpPr>
            <p:nvPr/>
          </p:nvSpPr>
          <p:spPr bwMode="auto">
            <a:xfrm>
              <a:off x="577" y="328"/>
              <a:ext cx="428" cy="186"/>
            </a:xfrm>
            <a:custGeom>
              <a:avLst/>
              <a:gdLst>
                <a:gd name="T0" fmla="*/ 42 w 181"/>
                <a:gd name="T1" fmla="*/ 18 h 79"/>
                <a:gd name="T2" fmla="*/ 30 w 181"/>
                <a:gd name="T3" fmla="*/ 25 h 79"/>
                <a:gd name="T4" fmla="*/ 26 w 181"/>
                <a:gd name="T5" fmla="*/ 30 h 79"/>
                <a:gd name="T6" fmla="*/ 17 w 181"/>
                <a:gd name="T7" fmla="*/ 34 h 79"/>
                <a:gd name="T8" fmla="*/ 4 w 181"/>
                <a:gd name="T9" fmla="*/ 39 h 79"/>
                <a:gd name="T10" fmla="*/ 5 w 181"/>
                <a:gd name="T11" fmla="*/ 47 h 79"/>
                <a:gd name="T12" fmla="*/ 23 w 181"/>
                <a:gd name="T13" fmla="*/ 42 h 79"/>
                <a:gd name="T14" fmla="*/ 27 w 181"/>
                <a:gd name="T15" fmla="*/ 46 h 79"/>
                <a:gd name="T16" fmla="*/ 35 w 181"/>
                <a:gd name="T17" fmla="*/ 42 h 79"/>
                <a:gd name="T18" fmla="*/ 43 w 181"/>
                <a:gd name="T19" fmla="*/ 34 h 79"/>
                <a:gd name="T20" fmla="*/ 52 w 181"/>
                <a:gd name="T21" fmla="*/ 33 h 79"/>
                <a:gd name="T22" fmla="*/ 52 w 181"/>
                <a:gd name="T23" fmla="*/ 38 h 79"/>
                <a:gd name="T24" fmla="*/ 71 w 181"/>
                <a:gd name="T25" fmla="*/ 41 h 79"/>
                <a:gd name="T26" fmla="*/ 70 w 181"/>
                <a:gd name="T27" fmla="*/ 42 h 79"/>
                <a:gd name="T28" fmla="*/ 83 w 181"/>
                <a:gd name="T29" fmla="*/ 48 h 79"/>
                <a:gd name="T30" fmla="*/ 65 w 181"/>
                <a:gd name="T31" fmla="*/ 55 h 79"/>
                <a:gd name="T32" fmla="*/ 58 w 181"/>
                <a:gd name="T33" fmla="*/ 58 h 79"/>
                <a:gd name="T34" fmla="*/ 68 w 181"/>
                <a:gd name="T35" fmla="*/ 63 h 79"/>
                <a:gd name="T36" fmla="*/ 76 w 181"/>
                <a:gd name="T37" fmla="*/ 64 h 79"/>
                <a:gd name="T38" fmla="*/ 88 w 181"/>
                <a:gd name="T39" fmla="*/ 65 h 79"/>
                <a:gd name="T40" fmla="*/ 96 w 181"/>
                <a:gd name="T41" fmla="*/ 58 h 79"/>
                <a:gd name="T42" fmla="*/ 94 w 181"/>
                <a:gd name="T43" fmla="*/ 65 h 79"/>
                <a:gd name="T44" fmla="*/ 109 w 181"/>
                <a:gd name="T45" fmla="*/ 64 h 79"/>
                <a:gd name="T46" fmla="*/ 114 w 181"/>
                <a:gd name="T47" fmla="*/ 67 h 79"/>
                <a:gd name="T48" fmla="*/ 106 w 181"/>
                <a:gd name="T49" fmla="*/ 78 h 79"/>
                <a:gd name="T50" fmla="*/ 155 w 181"/>
                <a:gd name="T51" fmla="*/ 66 h 79"/>
                <a:gd name="T52" fmla="*/ 176 w 181"/>
                <a:gd name="T53" fmla="*/ 63 h 79"/>
                <a:gd name="T54" fmla="*/ 179 w 181"/>
                <a:gd name="T55" fmla="*/ 54 h 79"/>
                <a:gd name="T56" fmla="*/ 167 w 181"/>
                <a:gd name="T57" fmla="*/ 50 h 79"/>
                <a:gd name="T58" fmla="*/ 159 w 181"/>
                <a:gd name="T59" fmla="*/ 48 h 79"/>
                <a:gd name="T60" fmla="*/ 152 w 181"/>
                <a:gd name="T61" fmla="*/ 38 h 79"/>
                <a:gd name="T62" fmla="*/ 148 w 181"/>
                <a:gd name="T63" fmla="*/ 30 h 79"/>
                <a:gd name="T64" fmla="*/ 138 w 181"/>
                <a:gd name="T65" fmla="*/ 31 h 79"/>
                <a:gd name="T66" fmla="*/ 135 w 181"/>
                <a:gd name="T67" fmla="*/ 42 h 79"/>
                <a:gd name="T68" fmla="*/ 145 w 181"/>
                <a:gd name="T69" fmla="*/ 54 h 79"/>
                <a:gd name="T70" fmla="*/ 118 w 181"/>
                <a:gd name="T71" fmla="*/ 49 h 79"/>
                <a:gd name="T72" fmla="*/ 104 w 181"/>
                <a:gd name="T73" fmla="*/ 40 h 79"/>
                <a:gd name="T74" fmla="*/ 91 w 181"/>
                <a:gd name="T75" fmla="*/ 39 h 79"/>
                <a:gd name="T76" fmla="*/ 110 w 181"/>
                <a:gd name="T77" fmla="*/ 30 h 79"/>
                <a:gd name="T78" fmla="*/ 123 w 181"/>
                <a:gd name="T79" fmla="*/ 17 h 79"/>
                <a:gd name="T80" fmla="*/ 130 w 181"/>
                <a:gd name="T81" fmla="*/ 15 h 79"/>
                <a:gd name="T82" fmla="*/ 132 w 181"/>
                <a:gd name="T83" fmla="*/ 12 h 79"/>
                <a:gd name="T84" fmla="*/ 141 w 181"/>
                <a:gd name="T85" fmla="*/ 14 h 79"/>
                <a:gd name="T86" fmla="*/ 126 w 181"/>
                <a:gd name="T87" fmla="*/ 8 h 79"/>
                <a:gd name="T88" fmla="*/ 112 w 181"/>
                <a:gd name="T89" fmla="*/ 3 h 79"/>
                <a:gd name="T90" fmla="*/ 101 w 181"/>
                <a:gd name="T91" fmla="*/ 12 h 79"/>
                <a:gd name="T92" fmla="*/ 116 w 181"/>
                <a:gd name="T93" fmla="*/ 17 h 79"/>
                <a:gd name="T94" fmla="*/ 104 w 181"/>
                <a:gd name="T95" fmla="*/ 23 h 79"/>
                <a:gd name="T96" fmla="*/ 98 w 181"/>
                <a:gd name="T97" fmla="*/ 23 h 79"/>
                <a:gd name="T98" fmla="*/ 91 w 181"/>
                <a:gd name="T99" fmla="*/ 19 h 79"/>
                <a:gd name="T100" fmla="*/ 76 w 181"/>
                <a:gd name="T101" fmla="*/ 13 h 79"/>
                <a:gd name="T102" fmla="*/ 78 w 181"/>
                <a:gd name="T103" fmla="*/ 16 h 79"/>
                <a:gd name="T104" fmla="*/ 84 w 181"/>
                <a:gd name="T105" fmla="*/ 23 h 79"/>
                <a:gd name="T106" fmla="*/ 78 w 181"/>
                <a:gd name="T107" fmla="*/ 27 h 79"/>
                <a:gd name="T108" fmla="*/ 72 w 181"/>
                <a:gd name="T109" fmla="*/ 33 h 79"/>
                <a:gd name="T110" fmla="*/ 72 w 181"/>
                <a:gd name="T111" fmla="*/ 28 h 79"/>
                <a:gd name="T112" fmla="*/ 70 w 181"/>
                <a:gd name="T113" fmla="*/ 20 h 79"/>
                <a:gd name="T114" fmla="*/ 63 w 181"/>
                <a:gd name="T115" fmla="*/ 13 h 79"/>
                <a:gd name="T116" fmla="*/ 60 w 181"/>
                <a:gd name="T117" fmla="*/ 17 h 79"/>
                <a:gd name="T118" fmla="*/ 118 w 181"/>
                <a:gd name="T119" fmla="*/ 1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1" h="79">
                  <a:moveTo>
                    <a:pt x="59" y="18"/>
                  </a:moveTo>
                  <a:cubicBezTo>
                    <a:pt x="58" y="18"/>
                    <a:pt x="57" y="17"/>
                    <a:pt x="56" y="18"/>
                  </a:cubicBezTo>
                  <a:cubicBezTo>
                    <a:pt x="55" y="18"/>
                    <a:pt x="53" y="16"/>
                    <a:pt x="52" y="16"/>
                  </a:cubicBezTo>
                  <a:cubicBezTo>
                    <a:pt x="51" y="17"/>
                    <a:pt x="50" y="17"/>
                    <a:pt x="49" y="17"/>
                  </a:cubicBezTo>
                  <a:cubicBezTo>
                    <a:pt x="48" y="17"/>
                    <a:pt x="47" y="17"/>
                    <a:pt x="46" y="17"/>
                  </a:cubicBezTo>
                  <a:cubicBezTo>
                    <a:pt x="44" y="17"/>
                    <a:pt x="44" y="17"/>
                    <a:pt x="42" y="18"/>
                  </a:cubicBezTo>
                  <a:cubicBezTo>
                    <a:pt x="42" y="18"/>
                    <a:pt x="41" y="17"/>
                    <a:pt x="40" y="18"/>
                  </a:cubicBezTo>
                  <a:cubicBezTo>
                    <a:pt x="38" y="18"/>
                    <a:pt x="38" y="19"/>
                    <a:pt x="38" y="20"/>
                  </a:cubicBezTo>
                  <a:cubicBezTo>
                    <a:pt x="37" y="21"/>
                    <a:pt x="36" y="21"/>
                    <a:pt x="35" y="22"/>
                  </a:cubicBezTo>
                  <a:cubicBezTo>
                    <a:pt x="35" y="22"/>
                    <a:pt x="34" y="22"/>
                    <a:pt x="34" y="22"/>
                  </a:cubicBezTo>
                  <a:cubicBezTo>
                    <a:pt x="33" y="23"/>
                    <a:pt x="33" y="23"/>
                    <a:pt x="33" y="23"/>
                  </a:cubicBezTo>
                  <a:cubicBezTo>
                    <a:pt x="32" y="24"/>
                    <a:pt x="31" y="24"/>
                    <a:pt x="30" y="25"/>
                  </a:cubicBezTo>
                  <a:cubicBezTo>
                    <a:pt x="30" y="25"/>
                    <a:pt x="30" y="25"/>
                    <a:pt x="30" y="26"/>
                  </a:cubicBezTo>
                  <a:cubicBezTo>
                    <a:pt x="30" y="26"/>
                    <a:pt x="29" y="26"/>
                    <a:pt x="29" y="27"/>
                  </a:cubicBezTo>
                  <a:cubicBezTo>
                    <a:pt x="29" y="27"/>
                    <a:pt x="28" y="27"/>
                    <a:pt x="28" y="27"/>
                  </a:cubicBezTo>
                  <a:cubicBezTo>
                    <a:pt x="27" y="28"/>
                    <a:pt x="27" y="27"/>
                    <a:pt x="27" y="28"/>
                  </a:cubicBezTo>
                  <a:cubicBezTo>
                    <a:pt x="27" y="28"/>
                    <a:pt x="28" y="29"/>
                    <a:pt x="27" y="29"/>
                  </a:cubicBezTo>
                  <a:cubicBezTo>
                    <a:pt x="26" y="29"/>
                    <a:pt x="26" y="30"/>
                    <a:pt x="26" y="30"/>
                  </a:cubicBezTo>
                  <a:cubicBezTo>
                    <a:pt x="25" y="30"/>
                    <a:pt x="23" y="30"/>
                    <a:pt x="23" y="30"/>
                  </a:cubicBezTo>
                  <a:cubicBezTo>
                    <a:pt x="22" y="31"/>
                    <a:pt x="22" y="31"/>
                    <a:pt x="21" y="31"/>
                  </a:cubicBezTo>
                  <a:cubicBezTo>
                    <a:pt x="21" y="31"/>
                    <a:pt x="20" y="31"/>
                    <a:pt x="19" y="31"/>
                  </a:cubicBezTo>
                  <a:cubicBezTo>
                    <a:pt x="19" y="32"/>
                    <a:pt x="19" y="32"/>
                    <a:pt x="19" y="33"/>
                  </a:cubicBezTo>
                  <a:cubicBezTo>
                    <a:pt x="19" y="33"/>
                    <a:pt x="18" y="34"/>
                    <a:pt x="18" y="34"/>
                  </a:cubicBezTo>
                  <a:cubicBezTo>
                    <a:pt x="17" y="34"/>
                    <a:pt x="17" y="34"/>
                    <a:pt x="17" y="34"/>
                  </a:cubicBezTo>
                  <a:cubicBezTo>
                    <a:pt x="17" y="34"/>
                    <a:pt x="17" y="35"/>
                    <a:pt x="17" y="35"/>
                  </a:cubicBezTo>
                  <a:cubicBezTo>
                    <a:pt x="17" y="35"/>
                    <a:pt x="16" y="35"/>
                    <a:pt x="16" y="36"/>
                  </a:cubicBezTo>
                  <a:cubicBezTo>
                    <a:pt x="15" y="37"/>
                    <a:pt x="15" y="37"/>
                    <a:pt x="13" y="37"/>
                  </a:cubicBezTo>
                  <a:cubicBezTo>
                    <a:pt x="12" y="37"/>
                    <a:pt x="12" y="36"/>
                    <a:pt x="11" y="37"/>
                  </a:cubicBezTo>
                  <a:cubicBezTo>
                    <a:pt x="10" y="37"/>
                    <a:pt x="10" y="37"/>
                    <a:pt x="9" y="37"/>
                  </a:cubicBezTo>
                  <a:cubicBezTo>
                    <a:pt x="8" y="37"/>
                    <a:pt x="5" y="37"/>
                    <a:pt x="4" y="39"/>
                  </a:cubicBezTo>
                  <a:cubicBezTo>
                    <a:pt x="4" y="40"/>
                    <a:pt x="4" y="40"/>
                    <a:pt x="4" y="40"/>
                  </a:cubicBezTo>
                  <a:cubicBezTo>
                    <a:pt x="3" y="41"/>
                    <a:pt x="3" y="41"/>
                    <a:pt x="2" y="41"/>
                  </a:cubicBezTo>
                  <a:cubicBezTo>
                    <a:pt x="3" y="41"/>
                    <a:pt x="1" y="42"/>
                    <a:pt x="1" y="42"/>
                  </a:cubicBezTo>
                  <a:cubicBezTo>
                    <a:pt x="1" y="43"/>
                    <a:pt x="1" y="43"/>
                    <a:pt x="0" y="44"/>
                  </a:cubicBezTo>
                  <a:cubicBezTo>
                    <a:pt x="2" y="43"/>
                    <a:pt x="4" y="41"/>
                    <a:pt x="6" y="43"/>
                  </a:cubicBezTo>
                  <a:cubicBezTo>
                    <a:pt x="6" y="44"/>
                    <a:pt x="4" y="46"/>
                    <a:pt x="5" y="47"/>
                  </a:cubicBezTo>
                  <a:cubicBezTo>
                    <a:pt x="6" y="48"/>
                    <a:pt x="7" y="47"/>
                    <a:pt x="8" y="47"/>
                  </a:cubicBezTo>
                  <a:cubicBezTo>
                    <a:pt x="10" y="47"/>
                    <a:pt x="12" y="48"/>
                    <a:pt x="14" y="48"/>
                  </a:cubicBezTo>
                  <a:cubicBezTo>
                    <a:pt x="16" y="48"/>
                    <a:pt x="19" y="48"/>
                    <a:pt x="21" y="47"/>
                  </a:cubicBezTo>
                  <a:cubicBezTo>
                    <a:pt x="22" y="46"/>
                    <a:pt x="21" y="46"/>
                    <a:pt x="21" y="45"/>
                  </a:cubicBezTo>
                  <a:cubicBezTo>
                    <a:pt x="21" y="44"/>
                    <a:pt x="21" y="43"/>
                    <a:pt x="22" y="43"/>
                  </a:cubicBezTo>
                  <a:cubicBezTo>
                    <a:pt x="23" y="42"/>
                    <a:pt x="23" y="42"/>
                    <a:pt x="23" y="42"/>
                  </a:cubicBezTo>
                  <a:cubicBezTo>
                    <a:pt x="25" y="43"/>
                    <a:pt x="24" y="43"/>
                    <a:pt x="24" y="43"/>
                  </a:cubicBezTo>
                  <a:cubicBezTo>
                    <a:pt x="24" y="43"/>
                    <a:pt x="24" y="44"/>
                    <a:pt x="24" y="44"/>
                  </a:cubicBezTo>
                  <a:cubicBezTo>
                    <a:pt x="24" y="44"/>
                    <a:pt x="24" y="44"/>
                    <a:pt x="24" y="44"/>
                  </a:cubicBezTo>
                  <a:cubicBezTo>
                    <a:pt x="24" y="45"/>
                    <a:pt x="24" y="44"/>
                    <a:pt x="24" y="45"/>
                  </a:cubicBezTo>
                  <a:cubicBezTo>
                    <a:pt x="25" y="45"/>
                    <a:pt x="26" y="45"/>
                    <a:pt x="26" y="46"/>
                  </a:cubicBezTo>
                  <a:cubicBezTo>
                    <a:pt x="27" y="46"/>
                    <a:pt x="27" y="46"/>
                    <a:pt x="27" y="46"/>
                  </a:cubicBezTo>
                  <a:cubicBezTo>
                    <a:pt x="27" y="47"/>
                    <a:pt x="26" y="47"/>
                    <a:pt x="27" y="48"/>
                  </a:cubicBezTo>
                  <a:cubicBezTo>
                    <a:pt x="27" y="50"/>
                    <a:pt x="27" y="50"/>
                    <a:pt x="29" y="49"/>
                  </a:cubicBezTo>
                  <a:cubicBezTo>
                    <a:pt x="30" y="49"/>
                    <a:pt x="36" y="47"/>
                    <a:pt x="37" y="46"/>
                  </a:cubicBezTo>
                  <a:cubicBezTo>
                    <a:pt x="37" y="45"/>
                    <a:pt x="36" y="45"/>
                    <a:pt x="36" y="45"/>
                  </a:cubicBezTo>
                  <a:cubicBezTo>
                    <a:pt x="36" y="44"/>
                    <a:pt x="36" y="44"/>
                    <a:pt x="36" y="43"/>
                  </a:cubicBezTo>
                  <a:cubicBezTo>
                    <a:pt x="36" y="43"/>
                    <a:pt x="36" y="42"/>
                    <a:pt x="35" y="42"/>
                  </a:cubicBezTo>
                  <a:cubicBezTo>
                    <a:pt x="35" y="41"/>
                    <a:pt x="34" y="40"/>
                    <a:pt x="34" y="39"/>
                  </a:cubicBezTo>
                  <a:cubicBezTo>
                    <a:pt x="34" y="39"/>
                    <a:pt x="36" y="38"/>
                    <a:pt x="36" y="38"/>
                  </a:cubicBezTo>
                  <a:cubicBezTo>
                    <a:pt x="37" y="39"/>
                    <a:pt x="36" y="39"/>
                    <a:pt x="37" y="40"/>
                  </a:cubicBezTo>
                  <a:cubicBezTo>
                    <a:pt x="37" y="40"/>
                    <a:pt x="38" y="42"/>
                    <a:pt x="38" y="42"/>
                  </a:cubicBezTo>
                  <a:cubicBezTo>
                    <a:pt x="41" y="44"/>
                    <a:pt x="48" y="40"/>
                    <a:pt x="45" y="37"/>
                  </a:cubicBezTo>
                  <a:cubicBezTo>
                    <a:pt x="44" y="36"/>
                    <a:pt x="41" y="36"/>
                    <a:pt x="43" y="34"/>
                  </a:cubicBezTo>
                  <a:cubicBezTo>
                    <a:pt x="44" y="34"/>
                    <a:pt x="45" y="35"/>
                    <a:pt x="45" y="35"/>
                  </a:cubicBezTo>
                  <a:cubicBezTo>
                    <a:pt x="46" y="35"/>
                    <a:pt x="48" y="34"/>
                    <a:pt x="49" y="34"/>
                  </a:cubicBezTo>
                  <a:cubicBezTo>
                    <a:pt x="48" y="33"/>
                    <a:pt x="48" y="30"/>
                    <a:pt x="49" y="30"/>
                  </a:cubicBezTo>
                  <a:cubicBezTo>
                    <a:pt x="49" y="29"/>
                    <a:pt x="53" y="28"/>
                    <a:pt x="54" y="29"/>
                  </a:cubicBezTo>
                  <a:cubicBezTo>
                    <a:pt x="55" y="30"/>
                    <a:pt x="53" y="30"/>
                    <a:pt x="53" y="31"/>
                  </a:cubicBezTo>
                  <a:cubicBezTo>
                    <a:pt x="52" y="32"/>
                    <a:pt x="52" y="32"/>
                    <a:pt x="52" y="33"/>
                  </a:cubicBezTo>
                  <a:cubicBezTo>
                    <a:pt x="52" y="33"/>
                    <a:pt x="52" y="33"/>
                    <a:pt x="52" y="33"/>
                  </a:cubicBezTo>
                  <a:cubicBezTo>
                    <a:pt x="52" y="34"/>
                    <a:pt x="52" y="34"/>
                    <a:pt x="52" y="34"/>
                  </a:cubicBezTo>
                  <a:cubicBezTo>
                    <a:pt x="52" y="34"/>
                    <a:pt x="53" y="34"/>
                    <a:pt x="52" y="35"/>
                  </a:cubicBezTo>
                  <a:cubicBezTo>
                    <a:pt x="52" y="35"/>
                    <a:pt x="52" y="35"/>
                    <a:pt x="52" y="35"/>
                  </a:cubicBezTo>
                  <a:cubicBezTo>
                    <a:pt x="52" y="35"/>
                    <a:pt x="52" y="36"/>
                    <a:pt x="52" y="36"/>
                  </a:cubicBezTo>
                  <a:cubicBezTo>
                    <a:pt x="51" y="37"/>
                    <a:pt x="51" y="37"/>
                    <a:pt x="52" y="38"/>
                  </a:cubicBezTo>
                  <a:cubicBezTo>
                    <a:pt x="53" y="38"/>
                    <a:pt x="53" y="39"/>
                    <a:pt x="54" y="39"/>
                  </a:cubicBezTo>
                  <a:cubicBezTo>
                    <a:pt x="57" y="39"/>
                    <a:pt x="59" y="40"/>
                    <a:pt x="61" y="39"/>
                  </a:cubicBezTo>
                  <a:cubicBezTo>
                    <a:pt x="62" y="39"/>
                    <a:pt x="62" y="39"/>
                    <a:pt x="62" y="38"/>
                  </a:cubicBezTo>
                  <a:cubicBezTo>
                    <a:pt x="64" y="38"/>
                    <a:pt x="66" y="38"/>
                    <a:pt x="67" y="39"/>
                  </a:cubicBezTo>
                  <a:cubicBezTo>
                    <a:pt x="67" y="39"/>
                    <a:pt x="68" y="40"/>
                    <a:pt x="69" y="40"/>
                  </a:cubicBezTo>
                  <a:cubicBezTo>
                    <a:pt x="70" y="40"/>
                    <a:pt x="70" y="41"/>
                    <a:pt x="71" y="41"/>
                  </a:cubicBezTo>
                  <a:cubicBezTo>
                    <a:pt x="73" y="41"/>
                    <a:pt x="74" y="41"/>
                    <a:pt x="76" y="41"/>
                  </a:cubicBezTo>
                  <a:cubicBezTo>
                    <a:pt x="77" y="42"/>
                    <a:pt x="79" y="41"/>
                    <a:pt x="80" y="41"/>
                  </a:cubicBezTo>
                  <a:cubicBezTo>
                    <a:pt x="82" y="42"/>
                    <a:pt x="84" y="42"/>
                    <a:pt x="86" y="42"/>
                  </a:cubicBezTo>
                  <a:cubicBezTo>
                    <a:pt x="84" y="43"/>
                    <a:pt x="81" y="42"/>
                    <a:pt x="79" y="42"/>
                  </a:cubicBezTo>
                  <a:cubicBezTo>
                    <a:pt x="77" y="42"/>
                    <a:pt x="76" y="42"/>
                    <a:pt x="74" y="42"/>
                  </a:cubicBezTo>
                  <a:cubicBezTo>
                    <a:pt x="73" y="42"/>
                    <a:pt x="71" y="42"/>
                    <a:pt x="70" y="42"/>
                  </a:cubicBezTo>
                  <a:cubicBezTo>
                    <a:pt x="69" y="42"/>
                    <a:pt x="64" y="43"/>
                    <a:pt x="65" y="45"/>
                  </a:cubicBezTo>
                  <a:cubicBezTo>
                    <a:pt x="65" y="45"/>
                    <a:pt x="66" y="45"/>
                    <a:pt x="66" y="45"/>
                  </a:cubicBezTo>
                  <a:cubicBezTo>
                    <a:pt x="66" y="46"/>
                    <a:pt x="65" y="46"/>
                    <a:pt x="65" y="47"/>
                  </a:cubicBezTo>
                  <a:cubicBezTo>
                    <a:pt x="65" y="48"/>
                    <a:pt x="66" y="48"/>
                    <a:pt x="67" y="48"/>
                  </a:cubicBezTo>
                  <a:cubicBezTo>
                    <a:pt x="69" y="49"/>
                    <a:pt x="71" y="49"/>
                    <a:pt x="73" y="48"/>
                  </a:cubicBezTo>
                  <a:cubicBezTo>
                    <a:pt x="76" y="48"/>
                    <a:pt x="79" y="48"/>
                    <a:pt x="83" y="48"/>
                  </a:cubicBezTo>
                  <a:cubicBezTo>
                    <a:pt x="84" y="48"/>
                    <a:pt x="85" y="48"/>
                    <a:pt x="83" y="49"/>
                  </a:cubicBezTo>
                  <a:cubicBezTo>
                    <a:pt x="81" y="49"/>
                    <a:pt x="79" y="49"/>
                    <a:pt x="78" y="49"/>
                  </a:cubicBezTo>
                  <a:cubicBezTo>
                    <a:pt x="75" y="49"/>
                    <a:pt x="73" y="49"/>
                    <a:pt x="71" y="50"/>
                  </a:cubicBezTo>
                  <a:cubicBezTo>
                    <a:pt x="68" y="50"/>
                    <a:pt x="64" y="50"/>
                    <a:pt x="62" y="51"/>
                  </a:cubicBezTo>
                  <a:cubicBezTo>
                    <a:pt x="61" y="51"/>
                    <a:pt x="61" y="52"/>
                    <a:pt x="60" y="53"/>
                  </a:cubicBezTo>
                  <a:cubicBezTo>
                    <a:pt x="58" y="55"/>
                    <a:pt x="63" y="55"/>
                    <a:pt x="65" y="55"/>
                  </a:cubicBezTo>
                  <a:cubicBezTo>
                    <a:pt x="67" y="55"/>
                    <a:pt x="69" y="55"/>
                    <a:pt x="72" y="54"/>
                  </a:cubicBezTo>
                  <a:cubicBezTo>
                    <a:pt x="75" y="53"/>
                    <a:pt x="79" y="52"/>
                    <a:pt x="82" y="52"/>
                  </a:cubicBezTo>
                  <a:cubicBezTo>
                    <a:pt x="81" y="52"/>
                    <a:pt x="80" y="53"/>
                    <a:pt x="79" y="54"/>
                  </a:cubicBezTo>
                  <a:cubicBezTo>
                    <a:pt x="79" y="54"/>
                    <a:pt x="77" y="54"/>
                    <a:pt x="76" y="55"/>
                  </a:cubicBezTo>
                  <a:cubicBezTo>
                    <a:pt x="75" y="55"/>
                    <a:pt x="74" y="56"/>
                    <a:pt x="72" y="56"/>
                  </a:cubicBezTo>
                  <a:cubicBezTo>
                    <a:pt x="68" y="57"/>
                    <a:pt x="63" y="57"/>
                    <a:pt x="58" y="58"/>
                  </a:cubicBezTo>
                  <a:cubicBezTo>
                    <a:pt x="57" y="58"/>
                    <a:pt x="57" y="59"/>
                    <a:pt x="56" y="60"/>
                  </a:cubicBezTo>
                  <a:cubicBezTo>
                    <a:pt x="55" y="61"/>
                    <a:pt x="55" y="61"/>
                    <a:pt x="56" y="62"/>
                  </a:cubicBezTo>
                  <a:cubicBezTo>
                    <a:pt x="57" y="63"/>
                    <a:pt x="60" y="63"/>
                    <a:pt x="61" y="63"/>
                  </a:cubicBezTo>
                  <a:cubicBezTo>
                    <a:pt x="62" y="63"/>
                    <a:pt x="63" y="64"/>
                    <a:pt x="64" y="64"/>
                  </a:cubicBezTo>
                  <a:cubicBezTo>
                    <a:pt x="65" y="64"/>
                    <a:pt x="65" y="63"/>
                    <a:pt x="66" y="63"/>
                  </a:cubicBezTo>
                  <a:cubicBezTo>
                    <a:pt x="67" y="63"/>
                    <a:pt x="67" y="63"/>
                    <a:pt x="68" y="63"/>
                  </a:cubicBezTo>
                  <a:cubicBezTo>
                    <a:pt x="69" y="63"/>
                    <a:pt x="70" y="62"/>
                    <a:pt x="70" y="63"/>
                  </a:cubicBezTo>
                  <a:cubicBezTo>
                    <a:pt x="70" y="64"/>
                    <a:pt x="68" y="64"/>
                    <a:pt x="69" y="64"/>
                  </a:cubicBezTo>
                  <a:cubicBezTo>
                    <a:pt x="69" y="65"/>
                    <a:pt x="70" y="64"/>
                    <a:pt x="70" y="64"/>
                  </a:cubicBezTo>
                  <a:cubicBezTo>
                    <a:pt x="69" y="66"/>
                    <a:pt x="72" y="66"/>
                    <a:pt x="73" y="66"/>
                  </a:cubicBezTo>
                  <a:cubicBezTo>
                    <a:pt x="74" y="67"/>
                    <a:pt x="76" y="68"/>
                    <a:pt x="76" y="66"/>
                  </a:cubicBezTo>
                  <a:cubicBezTo>
                    <a:pt x="77" y="65"/>
                    <a:pt x="76" y="65"/>
                    <a:pt x="76" y="64"/>
                  </a:cubicBezTo>
                  <a:cubicBezTo>
                    <a:pt x="77" y="64"/>
                    <a:pt x="77" y="64"/>
                    <a:pt x="79" y="63"/>
                  </a:cubicBezTo>
                  <a:cubicBezTo>
                    <a:pt x="80" y="63"/>
                    <a:pt x="80" y="63"/>
                    <a:pt x="80" y="64"/>
                  </a:cubicBezTo>
                  <a:cubicBezTo>
                    <a:pt x="80" y="65"/>
                    <a:pt x="80" y="65"/>
                    <a:pt x="80" y="65"/>
                  </a:cubicBezTo>
                  <a:cubicBezTo>
                    <a:pt x="80" y="66"/>
                    <a:pt x="81" y="66"/>
                    <a:pt x="81" y="67"/>
                  </a:cubicBezTo>
                  <a:cubicBezTo>
                    <a:pt x="82" y="67"/>
                    <a:pt x="83" y="67"/>
                    <a:pt x="84" y="67"/>
                  </a:cubicBezTo>
                  <a:cubicBezTo>
                    <a:pt x="85" y="66"/>
                    <a:pt x="87" y="66"/>
                    <a:pt x="88" y="65"/>
                  </a:cubicBezTo>
                  <a:cubicBezTo>
                    <a:pt x="88" y="65"/>
                    <a:pt x="90" y="64"/>
                    <a:pt x="89" y="63"/>
                  </a:cubicBezTo>
                  <a:cubicBezTo>
                    <a:pt x="89" y="62"/>
                    <a:pt x="88" y="61"/>
                    <a:pt x="87" y="60"/>
                  </a:cubicBezTo>
                  <a:cubicBezTo>
                    <a:pt x="89" y="61"/>
                    <a:pt x="90" y="63"/>
                    <a:pt x="91" y="61"/>
                  </a:cubicBezTo>
                  <a:cubicBezTo>
                    <a:pt x="92" y="59"/>
                    <a:pt x="91" y="58"/>
                    <a:pt x="92" y="57"/>
                  </a:cubicBezTo>
                  <a:cubicBezTo>
                    <a:pt x="92" y="56"/>
                    <a:pt x="93" y="59"/>
                    <a:pt x="93" y="59"/>
                  </a:cubicBezTo>
                  <a:cubicBezTo>
                    <a:pt x="94" y="59"/>
                    <a:pt x="95" y="59"/>
                    <a:pt x="96" y="58"/>
                  </a:cubicBezTo>
                  <a:cubicBezTo>
                    <a:pt x="96" y="59"/>
                    <a:pt x="95" y="59"/>
                    <a:pt x="94" y="60"/>
                  </a:cubicBezTo>
                  <a:cubicBezTo>
                    <a:pt x="94" y="60"/>
                    <a:pt x="94" y="61"/>
                    <a:pt x="94" y="61"/>
                  </a:cubicBezTo>
                  <a:cubicBezTo>
                    <a:pt x="94" y="62"/>
                    <a:pt x="93" y="62"/>
                    <a:pt x="93" y="63"/>
                  </a:cubicBezTo>
                  <a:cubicBezTo>
                    <a:pt x="93" y="63"/>
                    <a:pt x="93" y="63"/>
                    <a:pt x="93" y="63"/>
                  </a:cubicBezTo>
                  <a:cubicBezTo>
                    <a:pt x="93" y="64"/>
                    <a:pt x="93" y="64"/>
                    <a:pt x="93" y="64"/>
                  </a:cubicBezTo>
                  <a:cubicBezTo>
                    <a:pt x="93" y="65"/>
                    <a:pt x="93" y="65"/>
                    <a:pt x="94" y="65"/>
                  </a:cubicBezTo>
                  <a:cubicBezTo>
                    <a:pt x="95" y="65"/>
                    <a:pt x="96" y="65"/>
                    <a:pt x="97" y="65"/>
                  </a:cubicBezTo>
                  <a:cubicBezTo>
                    <a:pt x="98" y="65"/>
                    <a:pt x="105" y="65"/>
                    <a:pt x="106" y="63"/>
                  </a:cubicBezTo>
                  <a:cubicBezTo>
                    <a:pt x="106" y="63"/>
                    <a:pt x="106" y="60"/>
                    <a:pt x="107" y="61"/>
                  </a:cubicBezTo>
                  <a:cubicBezTo>
                    <a:pt x="107" y="62"/>
                    <a:pt x="106" y="62"/>
                    <a:pt x="106" y="62"/>
                  </a:cubicBezTo>
                  <a:cubicBezTo>
                    <a:pt x="107" y="63"/>
                    <a:pt x="110" y="61"/>
                    <a:pt x="109" y="63"/>
                  </a:cubicBezTo>
                  <a:cubicBezTo>
                    <a:pt x="109" y="63"/>
                    <a:pt x="108" y="63"/>
                    <a:pt x="109" y="64"/>
                  </a:cubicBezTo>
                  <a:cubicBezTo>
                    <a:pt x="109" y="64"/>
                    <a:pt x="110" y="64"/>
                    <a:pt x="110" y="64"/>
                  </a:cubicBezTo>
                  <a:cubicBezTo>
                    <a:pt x="111" y="64"/>
                    <a:pt x="112" y="64"/>
                    <a:pt x="113" y="64"/>
                  </a:cubicBezTo>
                  <a:cubicBezTo>
                    <a:pt x="114" y="64"/>
                    <a:pt x="115" y="63"/>
                    <a:pt x="115" y="63"/>
                  </a:cubicBezTo>
                  <a:cubicBezTo>
                    <a:pt x="116" y="63"/>
                    <a:pt x="116" y="63"/>
                    <a:pt x="116" y="63"/>
                  </a:cubicBezTo>
                  <a:cubicBezTo>
                    <a:pt x="118" y="63"/>
                    <a:pt x="120" y="61"/>
                    <a:pt x="121" y="61"/>
                  </a:cubicBezTo>
                  <a:cubicBezTo>
                    <a:pt x="120" y="64"/>
                    <a:pt x="117" y="67"/>
                    <a:pt x="114" y="67"/>
                  </a:cubicBezTo>
                  <a:cubicBezTo>
                    <a:pt x="111" y="66"/>
                    <a:pt x="109" y="67"/>
                    <a:pt x="107" y="67"/>
                  </a:cubicBezTo>
                  <a:cubicBezTo>
                    <a:pt x="103" y="68"/>
                    <a:pt x="99" y="69"/>
                    <a:pt x="95" y="71"/>
                  </a:cubicBezTo>
                  <a:cubicBezTo>
                    <a:pt x="93" y="71"/>
                    <a:pt x="92" y="72"/>
                    <a:pt x="90" y="72"/>
                  </a:cubicBezTo>
                  <a:cubicBezTo>
                    <a:pt x="89" y="72"/>
                    <a:pt x="88" y="72"/>
                    <a:pt x="88" y="73"/>
                  </a:cubicBezTo>
                  <a:cubicBezTo>
                    <a:pt x="87" y="75"/>
                    <a:pt x="96" y="78"/>
                    <a:pt x="98" y="78"/>
                  </a:cubicBezTo>
                  <a:cubicBezTo>
                    <a:pt x="101" y="79"/>
                    <a:pt x="103" y="79"/>
                    <a:pt x="106" y="78"/>
                  </a:cubicBezTo>
                  <a:cubicBezTo>
                    <a:pt x="114" y="75"/>
                    <a:pt x="122" y="73"/>
                    <a:pt x="129" y="71"/>
                  </a:cubicBezTo>
                  <a:cubicBezTo>
                    <a:pt x="135" y="69"/>
                    <a:pt x="140" y="67"/>
                    <a:pt x="145" y="65"/>
                  </a:cubicBezTo>
                  <a:cubicBezTo>
                    <a:pt x="146" y="65"/>
                    <a:pt x="147" y="65"/>
                    <a:pt x="147" y="66"/>
                  </a:cubicBezTo>
                  <a:cubicBezTo>
                    <a:pt x="150" y="67"/>
                    <a:pt x="152" y="67"/>
                    <a:pt x="154" y="68"/>
                  </a:cubicBezTo>
                  <a:cubicBezTo>
                    <a:pt x="154" y="68"/>
                    <a:pt x="154" y="68"/>
                    <a:pt x="154" y="68"/>
                  </a:cubicBezTo>
                  <a:cubicBezTo>
                    <a:pt x="154" y="67"/>
                    <a:pt x="155" y="67"/>
                    <a:pt x="155" y="66"/>
                  </a:cubicBezTo>
                  <a:cubicBezTo>
                    <a:pt x="155" y="66"/>
                    <a:pt x="156" y="65"/>
                    <a:pt x="156" y="65"/>
                  </a:cubicBezTo>
                  <a:cubicBezTo>
                    <a:pt x="157" y="65"/>
                    <a:pt x="157" y="65"/>
                    <a:pt x="157" y="65"/>
                  </a:cubicBezTo>
                  <a:cubicBezTo>
                    <a:pt x="159" y="65"/>
                    <a:pt x="162" y="65"/>
                    <a:pt x="164" y="65"/>
                  </a:cubicBezTo>
                  <a:cubicBezTo>
                    <a:pt x="167" y="65"/>
                    <a:pt x="170" y="65"/>
                    <a:pt x="174" y="65"/>
                  </a:cubicBezTo>
                  <a:cubicBezTo>
                    <a:pt x="175" y="65"/>
                    <a:pt x="173" y="65"/>
                    <a:pt x="174" y="64"/>
                  </a:cubicBezTo>
                  <a:cubicBezTo>
                    <a:pt x="175" y="64"/>
                    <a:pt x="176" y="64"/>
                    <a:pt x="176" y="63"/>
                  </a:cubicBezTo>
                  <a:cubicBezTo>
                    <a:pt x="176" y="62"/>
                    <a:pt x="175" y="63"/>
                    <a:pt x="175" y="62"/>
                  </a:cubicBezTo>
                  <a:cubicBezTo>
                    <a:pt x="175" y="61"/>
                    <a:pt x="176" y="61"/>
                    <a:pt x="177" y="60"/>
                  </a:cubicBezTo>
                  <a:cubicBezTo>
                    <a:pt x="177" y="60"/>
                    <a:pt x="177" y="60"/>
                    <a:pt x="178" y="59"/>
                  </a:cubicBezTo>
                  <a:cubicBezTo>
                    <a:pt x="178" y="59"/>
                    <a:pt x="177" y="59"/>
                    <a:pt x="177" y="58"/>
                  </a:cubicBezTo>
                  <a:cubicBezTo>
                    <a:pt x="177" y="57"/>
                    <a:pt x="179" y="57"/>
                    <a:pt x="177" y="57"/>
                  </a:cubicBezTo>
                  <a:cubicBezTo>
                    <a:pt x="178" y="56"/>
                    <a:pt x="179" y="55"/>
                    <a:pt x="179" y="54"/>
                  </a:cubicBezTo>
                  <a:cubicBezTo>
                    <a:pt x="181" y="53"/>
                    <a:pt x="180" y="52"/>
                    <a:pt x="180" y="50"/>
                  </a:cubicBezTo>
                  <a:cubicBezTo>
                    <a:pt x="180" y="49"/>
                    <a:pt x="179" y="48"/>
                    <a:pt x="178" y="47"/>
                  </a:cubicBezTo>
                  <a:cubicBezTo>
                    <a:pt x="176" y="46"/>
                    <a:pt x="175" y="46"/>
                    <a:pt x="173" y="45"/>
                  </a:cubicBezTo>
                  <a:cubicBezTo>
                    <a:pt x="171" y="45"/>
                    <a:pt x="169" y="44"/>
                    <a:pt x="167" y="45"/>
                  </a:cubicBezTo>
                  <a:cubicBezTo>
                    <a:pt x="166" y="46"/>
                    <a:pt x="165" y="46"/>
                    <a:pt x="165" y="48"/>
                  </a:cubicBezTo>
                  <a:cubicBezTo>
                    <a:pt x="165" y="50"/>
                    <a:pt x="166" y="49"/>
                    <a:pt x="167" y="50"/>
                  </a:cubicBezTo>
                  <a:cubicBezTo>
                    <a:pt x="165" y="50"/>
                    <a:pt x="165" y="51"/>
                    <a:pt x="165" y="53"/>
                  </a:cubicBezTo>
                  <a:cubicBezTo>
                    <a:pt x="165" y="53"/>
                    <a:pt x="165" y="52"/>
                    <a:pt x="165" y="52"/>
                  </a:cubicBezTo>
                  <a:cubicBezTo>
                    <a:pt x="164" y="51"/>
                    <a:pt x="164" y="51"/>
                    <a:pt x="164" y="50"/>
                  </a:cubicBezTo>
                  <a:cubicBezTo>
                    <a:pt x="163" y="49"/>
                    <a:pt x="164" y="48"/>
                    <a:pt x="163" y="48"/>
                  </a:cubicBezTo>
                  <a:cubicBezTo>
                    <a:pt x="163" y="48"/>
                    <a:pt x="162" y="48"/>
                    <a:pt x="162" y="48"/>
                  </a:cubicBezTo>
                  <a:cubicBezTo>
                    <a:pt x="161" y="48"/>
                    <a:pt x="160" y="48"/>
                    <a:pt x="159" y="48"/>
                  </a:cubicBezTo>
                  <a:cubicBezTo>
                    <a:pt x="157" y="48"/>
                    <a:pt x="158" y="46"/>
                    <a:pt x="157" y="45"/>
                  </a:cubicBezTo>
                  <a:cubicBezTo>
                    <a:pt x="156" y="45"/>
                    <a:pt x="155" y="44"/>
                    <a:pt x="154" y="44"/>
                  </a:cubicBezTo>
                  <a:cubicBezTo>
                    <a:pt x="154" y="45"/>
                    <a:pt x="153" y="45"/>
                    <a:pt x="152" y="45"/>
                  </a:cubicBezTo>
                  <a:cubicBezTo>
                    <a:pt x="152" y="45"/>
                    <a:pt x="152" y="44"/>
                    <a:pt x="152" y="43"/>
                  </a:cubicBezTo>
                  <a:cubicBezTo>
                    <a:pt x="152" y="42"/>
                    <a:pt x="153" y="40"/>
                    <a:pt x="152" y="40"/>
                  </a:cubicBezTo>
                  <a:cubicBezTo>
                    <a:pt x="152" y="39"/>
                    <a:pt x="152" y="39"/>
                    <a:pt x="152" y="38"/>
                  </a:cubicBezTo>
                  <a:cubicBezTo>
                    <a:pt x="151" y="38"/>
                    <a:pt x="150" y="38"/>
                    <a:pt x="149" y="37"/>
                  </a:cubicBezTo>
                  <a:cubicBezTo>
                    <a:pt x="148" y="36"/>
                    <a:pt x="149" y="34"/>
                    <a:pt x="148" y="34"/>
                  </a:cubicBezTo>
                  <a:cubicBezTo>
                    <a:pt x="147" y="34"/>
                    <a:pt x="146" y="33"/>
                    <a:pt x="147" y="32"/>
                  </a:cubicBezTo>
                  <a:cubicBezTo>
                    <a:pt x="147" y="32"/>
                    <a:pt x="149" y="32"/>
                    <a:pt x="149" y="31"/>
                  </a:cubicBezTo>
                  <a:cubicBezTo>
                    <a:pt x="149" y="30"/>
                    <a:pt x="149" y="30"/>
                    <a:pt x="148" y="30"/>
                  </a:cubicBezTo>
                  <a:cubicBezTo>
                    <a:pt x="148" y="30"/>
                    <a:pt x="148" y="30"/>
                    <a:pt x="148" y="30"/>
                  </a:cubicBezTo>
                  <a:cubicBezTo>
                    <a:pt x="147" y="29"/>
                    <a:pt x="147" y="29"/>
                    <a:pt x="147" y="29"/>
                  </a:cubicBezTo>
                  <a:cubicBezTo>
                    <a:pt x="147" y="29"/>
                    <a:pt x="147" y="28"/>
                    <a:pt x="146" y="28"/>
                  </a:cubicBezTo>
                  <a:cubicBezTo>
                    <a:pt x="145" y="28"/>
                    <a:pt x="146" y="28"/>
                    <a:pt x="145" y="28"/>
                  </a:cubicBezTo>
                  <a:cubicBezTo>
                    <a:pt x="144" y="29"/>
                    <a:pt x="143" y="28"/>
                    <a:pt x="142" y="28"/>
                  </a:cubicBezTo>
                  <a:cubicBezTo>
                    <a:pt x="141" y="28"/>
                    <a:pt x="140" y="29"/>
                    <a:pt x="140" y="30"/>
                  </a:cubicBezTo>
                  <a:cubicBezTo>
                    <a:pt x="139" y="31"/>
                    <a:pt x="139" y="31"/>
                    <a:pt x="138" y="31"/>
                  </a:cubicBezTo>
                  <a:cubicBezTo>
                    <a:pt x="138" y="32"/>
                    <a:pt x="138" y="32"/>
                    <a:pt x="138" y="33"/>
                  </a:cubicBezTo>
                  <a:cubicBezTo>
                    <a:pt x="137" y="33"/>
                    <a:pt x="134" y="35"/>
                    <a:pt x="136" y="35"/>
                  </a:cubicBezTo>
                  <a:cubicBezTo>
                    <a:pt x="136" y="36"/>
                    <a:pt x="134" y="36"/>
                    <a:pt x="133" y="36"/>
                  </a:cubicBezTo>
                  <a:cubicBezTo>
                    <a:pt x="132" y="36"/>
                    <a:pt x="129" y="37"/>
                    <a:pt x="129" y="39"/>
                  </a:cubicBezTo>
                  <a:cubicBezTo>
                    <a:pt x="130" y="40"/>
                    <a:pt x="131" y="40"/>
                    <a:pt x="131" y="40"/>
                  </a:cubicBezTo>
                  <a:cubicBezTo>
                    <a:pt x="133" y="40"/>
                    <a:pt x="134" y="41"/>
                    <a:pt x="135" y="42"/>
                  </a:cubicBezTo>
                  <a:cubicBezTo>
                    <a:pt x="137" y="43"/>
                    <a:pt x="139" y="44"/>
                    <a:pt x="141" y="45"/>
                  </a:cubicBezTo>
                  <a:cubicBezTo>
                    <a:pt x="140" y="45"/>
                    <a:pt x="138" y="46"/>
                    <a:pt x="137" y="46"/>
                  </a:cubicBezTo>
                  <a:cubicBezTo>
                    <a:pt x="136" y="47"/>
                    <a:pt x="135" y="47"/>
                    <a:pt x="133" y="48"/>
                  </a:cubicBezTo>
                  <a:cubicBezTo>
                    <a:pt x="132" y="48"/>
                    <a:pt x="136" y="49"/>
                    <a:pt x="137" y="49"/>
                  </a:cubicBezTo>
                  <a:cubicBezTo>
                    <a:pt x="139" y="50"/>
                    <a:pt x="141" y="51"/>
                    <a:pt x="144" y="52"/>
                  </a:cubicBezTo>
                  <a:cubicBezTo>
                    <a:pt x="146" y="52"/>
                    <a:pt x="145" y="52"/>
                    <a:pt x="145" y="54"/>
                  </a:cubicBezTo>
                  <a:cubicBezTo>
                    <a:pt x="145" y="55"/>
                    <a:pt x="145" y="57"/>
                    <a:pt x="144" y="57"/>
                  </a:cubicBezTo>
                  <a:cubicBezTo>
                    <a:pt x="143" y="57"/>
                    <a:pt x="141" y="56"/>
                    <a:pt x="139" y="56"/>
                  </a:cubicBezTo>
                  <a:cubicBezTo>
                    <a:pt x="137" y="56"/>
                    <a:pt x="134" y="55"/>
                    <a:pt x="132" y="55"/>
                  </a:cubicBezTo>
                  <a:cubicBezTo>
                    <a:pt x="128" y="56"/>
                    <a:pt x="125" y="56"/>
                    <a:pt x="121" y="56"/>
                  </a:cubicBezTo>
                  <a:cubicBezTo>
                    <a:pt x="120" y="56"/>
                    <a:pt x="119" y="54"/>
                    <a:pt x="119" y="53"/>
                  </a:cubicBezTo>
                  <a:cubicBezTo>
                    <a:pt x="119" y="52"/>
                    <a:pt x="120" y="50"/>
                    <a:pt x="118" y="49"/>
                  </a:cubicBezTo>
                  <a:cubicBezTo>
                    <a:pt x="118" y="49"/>
                    <a:pt x="116" y="49"/>
                    <a:pt x="115" y="49"/>
                  </a:cubicBezTo>
                  <a:cubicBezTo>
                    <a:pt x="114" y="50"/>
                    <a:pt x="112" y="50"/>
                    <a:pt x="111" y="50"/>
                  </a:cubicBezTo>
                  <a:cubicBezTo>
                    <a:pt x="112" y="49"/>
                    <a:pt x="111" y="49"/>
                    <a:pt x="112" y="48"/>
                  </a:cubicBezTo>
                  <a:cubicBezTo>
                    <a:pt x="113" y="48"/>
                    <a:pt x="114" y="48"/>
                    <a:pt x="114" y="48"/>
                  </a:cubicBezTo>
                  <a:cubicBezTo>
                    <a:pt x="113" y="47"/>
                    <a:pt x="111" y="45"/>
                    <a:pt x="109" y="44"/>
                  </a:cubicBezTo>
                  <a:cubicBezTo>
                    <a:pt x="107" y="43"/>
                    <a:pt x="105" y="41"/>
                    <a:pt x="104" y="40"/>
                  </a:cubicBezTo>
                  <a:cubicBezTo>
                    <a:pt x="103" y="40"/>
                    <a:pt x="102" y="40"/>
                    <a:pt x="102" y="41"/>
                  </a:cubicBezTo>
                  <a:cubicBezTo>
                    <a:pt x="101" y="41"/>
                    <a:pt x="100" y="40"/>
                    <a:pt x="99" y="40"/>
                  </a:cubicBezTo>
                  <a:cubicBezTo>
                    <a:pt x="98" y="41"/>
                    <a:pt x="96" y="41"/>
                    <a:pt x="95" y="41"/>
                  </a:cubicBezTo>
                  <a:cubicBezTo>
                    <a:pt x="94" y="41"/>
                    <a:pt x="91" y="41"/>
                    <a:pt x="92" y="41"/>
                  </a:cubicBezTo>
                  <a:cubicBezTo>
                    <a:pt x="93" y="41"/>
                    <a:pt x="93" y="40"/>
                    <a:pt x="92" y="40"/>
                  </a:cubicBezTo>
                  <a:cubicBezTo>
                    <a:pt x="92" y="40"/>
                    <a:pt x="92" y="40"/>
                    <a:pt x="91" y="39"/>
                  </a:cubicBezTo>
                  <a:cubicBezTo>
                    <a:pt x="92" y="39"/>
                    <a:pt x="94" y="39"/>
                    <a:pt x="95" y="39"/>
                  </a:cubicBezTo>
                  <a:cubicBezTo>
                    <a:pt x="96" y="39"/>
                    <a:pt x="97" y="36"/>
                    <a:pt x="95" y="36"/>
                  </a:cubicBezTo>
                  <a:cubicBezTo>
                    <a:pt x="96" y="36"/>
                    <a:pt x="95" y="36"/>
                    <a:pt x="96" y="35"/>
                  </a:cubicBezTo>
                  <a:cubicBezTo>
                    <a:pt x="96" y="35"/>
                    <a:pt x="97" y="34"/>
                    <a:pt x="98" y="33"/>
                  </a:cubicBezTo>
                  <a:cubicBezTo>
                    <a:pt x="99" y="32"/>
                    <a:pt x="100" y="31"/>
                    <a:pt x="102" y="32"/>
                  </a:cubicBezTo>
                  <a:cubicBezTo>
                    <a:pt x="105" y="32"/>
                    <a:pt x="107" y="31"/>
                    <a:pt x="110" y="30"/>
                  </a:cubicBezTo>
                  <a:cubicBezTo>
                    <a:pt x="111" y="29"/>
                    <a:pt x="111" y="29"/>
                    <a:pt x="111" y="28"/>
                  </a:cubicBezTo>
                  <a:cubicBezTo>
                    <a:pt x="113" y="27"/>
                    <a:pt x="116" y="25"/>
                    <a:pt x="117" y="24"/>
                  </a:cubicBezTo>
                  <a:cubicBezTo>
                    <a:pt x="117" y="23"/>
                    <a:pt x="119" y="22"/>
                    <a:pt x="118" y="22"/>
                  </a:cubicBezTo>
                  <a:cubicBezTo>
                    <a:pt x="118" y="22"/>
                    <a:pt x="116" y="23"/>
                    <a:pt x="116" y="23"/>
                  </a:cubicBezTo>
                  <a:cubicBezTo>
                    <a:pt x="117" y="22"/>
                    <a:pt x="118" y="21"/>
                    <a:pt x="119" y="20"/>
                  </a:cubicBezTo>
                  <a:cubicBezTo>
                    <a:pt x="120" y="19"/>
                    <a:pt x="122" y="17"/>
                    <a:pt x="123" y="17"/>
                  </a:cubicBezTo>
                  <a:cubicBezTo>
                    <a:pt x="124" y="17"/>
                    <a:pt x="127" y="17"/>
                    <a:pt x="127" y="17"/>
                  </a:cubicBezTo>
                  <a:cubicBezTo>
                    <a:pt x="130" y="18"/>
                    <a:pt x="132" y="17"/>
                    <a:pt x="135" y="15"/>
                  </a:cubicBezTo>
                  <a:cubicBezTo>
                    <a:pt x="134" y="14"/>
                    <a:pt x="132" y="16"/>
                    <a:pt x="131" y="16"/>
                  </a:cubicBezTo>
                  <a:cubicBezTo>
                    <a:pt x="131" y="16"/>
                    <a:pt x="130" y="15"/>
                    <a:pt x="130" y="15"/>
                  </a:cubicBezTo>
                  <a:cubicBezTo>
                    <a:pt x="129" y="15"/>
                    <a:pt x="129" y="16"/>
                    <a:pt x="128" y="16"/>
                  </a:cubicBezTo>
                  <a:cubicBezTo>
                    <a:pt x="129" y="16"/>
                    <a:pt x="129" y="15"/>
                    <a:pt x="130" y="15"/>
                  </a:cubicBezTo>
                  <a:cubicBezTo>
                    <a:pt x="128" y="15"/>
                    <a:pt x="128" y="16"/>
                    <a:pt x="126" y="15"/>
                  </a:cubicBezTo>
                  <a:cubicBezTo>
                    <a:pt x="126" y="15"/>
                    <a:pt x="126" y="15"/>
                    <a:pt x="126" y="15"/>
                  </a:cubicBezTo>
                  <a:cubicBezTo>
                    <a:pt x="127" y="15"/>
                    <a:pt x="128" y="15"/>
                    <a:pt x="129" y="14"/>
                  </a:cubicBezTo>
                  <a:cubicBezTo>
                    <a:pt x="131" y="14"/>
                    <a:pt x="134" y="14"/>
                    <a:pt x="137" y="13"/>
                  </a:cubicBezTo>
                  <a:cubicBezTo>
                    <a:pt x="135" y="12"/>
                    <a:pt x="134" y="13"/>
                    <a:pt x="132" y="13"/>
                  </a:cubicBezTo>
                  <a:cubicBezTo>
                    <a:pt x="132" y="12"/>
                    <a:pt x="132" y="12"/>
                    <a:pt x="132" y="12"/>
                  </a:cubicBezTo>
                  <a:cubicBezTo>
                    <a:pt x="133" y="12"/>
                    <a:pt x="135" y="12"/>
                    <a:pt x="136" y="12"/>
                  </a:cubicBezTo>
                  <a:cubicBezTo>
                    <a:pt x="135" y="12"/>
                    <a:pt x="134" y="11"/>
                    <a:pt x="133" y="11"/>
                  </a:cubicBezTo>
                  <a:cubicBezTo>
                    <a:pt x="133" y="11"/>
                    <a:pt x="133" y="11"/>
                    <a:pt x="133" y="10"/>
                  </a:cubicBezTo>
                  <a:cubicBezTo>
                    <a:pt x="134" y="10"/>
                    <a:pt x="135" y="11"/>
                    <a:pt x="136" y="11"/>
                  </a:cubicBezTo>
                  <a:cubicBezTo>
                    <a:pt x="137" y="11"/>
                    <a:pt x="138" y="11"/>
                    <a:pt x="139" y="12"/>
                  </a:cubicBezTo>
                  <a:cubicBezTo>
                    <a:pt x="141" y="12"/>
                    <a:pt x="140" y="13"/>
                    <a:pt x="141" y="14"/>
                  </a:cubicBezTo>
                  <a:cubicBezTo>
                    <a:pt x="142" y="13"/>
                    <a:pt x="143" y="12"/>
                    <a:pt x="144" y="11"/>
                  </a:cubicBezTo>
                  <a:cubicBezTo>
                    <a:pt x="143" y="11"/>
                    <a:pt x="142" y="10"/>
                    <a:pt x="141" y="10"/>
                  </a:cubicBezTo>
                  <a:cubicBezTo>
                    <a:pt x="140" y="10"/>
                    <a:pt x="139" y="10"/>
                    <a:pt x="138" y="9"/>
                  </a:cubicBezTo>
                  <a:cubicBezTo>
                    <a:pt x="137" y="9"/>
                    <a:pt x="137" y="9"/>
                    <a:pt x="136" y="9"/>
                  </a:cubicBezTo>
                  <a:cubicBezTo>
                    <a:pt x="135" y="9"/>
                    <a:pt x="134" y="8"/>
                    <a:pt x="132" y="8"/>
                  </a:cubicBezTo>
                  <a:cubicBezTo>
                    <a:pt x="132" y="6"/>
                    <a:pt x="128" y="9"/>
                    <a:pt x="126" y="8"/>
                  </a:cubicBezTo>
                  <a:cubicBezTo>
                    <a:pt x="126" y="8"/>
                    <a:pt x="125" y="7"/>
                    <a:pt x="125" y="6"/>
                  </a:cubicBezTo>
                  <a:cubicBezTo>
                    <a:pt x="125" y="6"/>
                    <a:pt x="125" y="6"/>
                    <a:pt x="126" y="6"/>
                  </a:cubicBezTo>
                  <a:cubicBezTo>
                    <a:pt x="128" y="5"/>
                    <a:pt x="130" y="5"/>
                    <a:pt x="132" y="5"/>
                  </a:cubicBezTo>
                  <a:cubicBezTo>
                    <a:pt x="133" y="5"/>
                    <a:pt x="138" y="2"/>
                    <a:pt x="137" y="1"/>
                  </a:cubicBezTo>
                  <a:cubicBezTo>
                    <a:pt x="136" y="0"/>
                    <a:pt x="134" y="1"/>
                    <a:pt x="133" y="1"/>
                  </a:cubicBezTo>
                  <a:cubicBezTo>
                    <a:pt x="126" y="1"/>
                    <a:pt x="119" y="2"/>
                    <a:pt x="112" y="3"/>
                  </a:cubicBezTo>
                  <a:cubicBezTo>
                    <a:pt x="108" y="4"/>
                    <a:pt x="105" y="4"/>
                    <a:pt x="101" y="5"/>
                  </a:cubicBezTo>
                  <a:cubicBezTo>
                    <a:pt x="100" y="5"/>
                    <a:pt x="100" y="6"/>
                    <a:pt x="99" y="7"/>
                  </a:cubicBezTo>
                  <a:cubicBezTo>
                    <a:pt x="99" y="8"/>
                    <a:pt x="100" y="8"/>
                    <a:pt x="101" y="9"/>
                  </a:cubicBezTo>
                  <a:cubicBezTo>
                    <a:pt x="101" y="10"/>
                    <a:pt x="100" y="10"/>
                    <a:pt x="100" y="10"/>
                  </a:cubicBezTo>
                  <a:cubicBezTo>
                    <a:pt x="100" y="10"/>
                    <a:pt x="101" y="10"/>
                    <a:pt x="101" y="11"/>
                  </a:cubicBezTo>
                  <a:cubicBezTo>
                    <a:pt x="101" y="11"/>
                    <a:pt x="100" y="12"/>
                    <a:pt x="101" y="12"/>
                  </a:cubicBezTo>
                  <a:cubicBezTo>
                    <a:pt x="101" y="14"/>
                    <a:pt x="102" y="13"/>
                    <a:pt x="103" y="14"/>
                  </a:cubicBezTo>
                  <a:cubicBezTo>
                    <a:pt x="103" y="14"/>
                    <a:pt x="103" y="15"/>
                    <a:pt x="104" y="15"/>
                  </a:cubicBezTo>
                  <a:cubicBezTo>
                    <a:pt x="105" y="15"/>
                    <a:pt x="105" y="15"/>
                    <a:pt x="106" y="15"/>
                  </a:cubicBezTo>
                  <a:cubicBezTo>
                    <a:pt x="107" y="15"/>
                    <a:pt x="107" y="15"/>
                    <a:pt x="108" y="16"/>
                  </a:cubicBezTo>
                  <a:cubicBezTo>
                    <a:pt x="109" y="17"/>
                    <a:pt x="111" y="18"/>
                    <a:pt x="112" y="18"/>
                  </a:cubicBezTo>
                  <a:cubicBezTo>
                    <a:pt x="114" y="17"/>
                    <a:pt x="115" y="17"/>
                    <a:pt x="116" y="17"/>
                  </a:cubicBezTo>
                  <a:cubicBezTo>
                    <a:pt x="116" y="17"/>
                    <a:pt x="116" y="17"/>
                    <a:pt x="116" y="17"/>
                  </a:cubicBezTo>
                  <a:cubicBezTo>
                    <a:pt x="115" y="18"/>
                    <a:pt x="114" y="18"/>
                    <a:pt x="114" y="18"/>
                  </a:cubicBezTo>
                  <a:cubicBezTo>
                    <a:pt x="113" y="19"/>
                    <a:pt x="113" y="19"/>
                    <a:pt x="112" y="20"/>
                  </a:cubicBezTo>
                  <a:cubicBezTo>
                    <a:pt x="111" y="20"/>
                    <a:pt x="110" y="22"/>
                    <a:pt x="108" y="22"/>
                  </a:cubicBezTo>
                  <a:cubicBezTo>
                    <a:pt x="107" y="22"/>
                    <a:pt x="106" y="22"/>
                    <a:pt x="106" y="22"/>
                  </a:cubicBezTo>
                  <a:cubicBezTo>
                    <a:pt x="105" y="22"/>
                    <a:pt x="105" y="23"/>
                    <a:pt x="104" y="23"/>
                  </a:cubicBezTo>
                  <a:cubicBezTo>
                    <a:pt x="104" y="23"/>
                    <a:pt x="104" y="22"/>
                    <a:pt x="103" y="22"/>
                  </a:cubicBezTo>
                  <a:cubicBezTo>
                    <a:pt x="103" y="22"/>
                    <a:pt x="103" y="23"/>
                    <a:pt x="102" y="23"/>
                  </a:cubicBezTo>
                  <a:cubicBezTo>
                    <a:pt x="102" y="23"/>
                    <a:pt x="102" y="23"/>
                    <a:pt x="101" y="23"/>
                  </a:cubicBezTo>
                  <a:cubicBezTo>
                    <a:pt x="101" y="23"/>
                    <a:pt x="100" y="24"/>
                    <a:pt x="99" y="23"/>
                  </a:cubicBezTo>
                  <a:cubicBezTo>
                    <a:pt x="99" y="23"/>
                    <a:pt x="99" y="23"/>
                    <a:pt x="99" y="23"/>
                  </a:cubicBezTo>
                  <a:cubicBezTo>
                    <a:pt x="98" y="23"/>
                    <a:pt x="98" y="23"/>
                    <a:pt x="98" y="23"/>
                  </a:cubicBezTo>
                  <a:cubicBezTo>
                    <a:pt x="98" y="23"/>
                    <a:pt x="97" y="22"/>
                    <a:pt x="96" y="22"/>
                  </a:cubicBezTo>
                  <a:cubicBezTo>
                    <a:pt x="96" y="22"/>
                    <a:pt x="96" y="22"/>
                    <a:pt x="95" y="21"/>
                  </a:cubicBezTo>
                  <a:cubicBezTo>
                    <a:pt x="95" y="21"/>
                    <a:pt x="94" y="21"/>
                    <a:pt x="94" y="21"/>
                  </a:cubicBezTo>
                  <a:cubicBezTo>
                    <a:pt x="94" y="20"/>
                    <a:pt x="93" y="20"/>
                    <a:pt x="93" y="20"/>
                  </a:cubicBezTo>
                  <a:cubicBezTo>
                    <a:pt x="93" y="20"/>
                    <a:pt x="92" y="19"/>
                    <a:pt x="92" y="19"/>
                  </a:cubicBezTo>
                  <a:cubicBezTo>
                    <a:pt x="92" y="19"/>
                    <a:pt x="91" y="19"/>
                    <a:pt x="91" y="19"/>
                  </a:cubicBezTo>
                  <a:cubicBezTo>
                    <a:pt x="91" y="18"/>
                    <a:pt x="90" y="17"/>
                    <a:pt x="89" y="17"/>
                  </a:cubicBezTo>
                  <a:cubicBezTo>
                    <a:pt x="89" y="17"/>
                    <a:pt x="88" y="17"/>
                    <a:pt x="87" y="18"/>
                  </a:cubicBezTo>
                  <a:cubicBezTo>
                    <a:pt x="85" y="18"/>
                    <a:pt x="85" y="17"/>
                    <a:pt x="83" y="16"/>
                  </a:cubicBezTo>
                  <a:cubicBezTo>
                    <a:pt x="82" y="16"/>
                    <a:pt x="81" y="16"/>
                    <a:pt x="81" y="15"/>
                  </a:cubicBezTo>
                  <a:cubicBezTo>
                    <a:pt x="80" y="14"/>
                    <a:pt x="80" y="14"/>
                    <a:pt x="79" y="14"/>
                  </a:cubicBezTo>
                  <a:cubicBezTo>
                    <a:pt x="78" y="13"/>
                    <a:pt x="77" y="13"/>
                    <a:pt x="76" y="13"/>
                  </a:cubicBezTo>
                  <a:cubicBezTo>
                    <a:pt x="75" y="13"/>
                    <a:pt x="74" y="12"/>
                    <a:pt x="73" y="11"/>
                  </a:cubicBezTo>
                  <a:cubicBezTo>
                    <a:pt x="73" y="11"/>
                    <a:pt x="71" y="11"/>
                    <a:pt x="72" y="12"/>
                  </a:cubicBezTo>
                  <a:cubicBezTo>
                    <a:pt x="72" y="13"/>
                    <a:pt x="74" y="13"/>
                    <a:pt x="74" y="14"/>
                  </a:cubicBezTo>
                  <a:cubicBezTo>
                    <a:pt x="74" y="14"/>
                    <a:pt x="74" y="15"/>
                    <a:pt x="74" y="15"/>
                  </a:cubicBezTo>
                  <a:cubicBezTo>
                    <a:pt x="74" y="15"/>
                    <a:pt x="75" y="16"/>
                    <a:pt x="75" y="16"/>
                  </a:cubicBezTo>
                  <a:cubicBezTo>
                    <a:pt x="76" y="16"/>
                    <a:pt x="77" y="16"/>
                    <a:pt x="78" y="16"/>
                  </a:cubicBezTo>
                  <a:cubicBezTo>
                    <a:pt x="78" y="16"/>
                    <a:pt x="79" y="16"/>
                    <a:pt x="79" y="16"/>
                  </a:cubicBezTo>
                  <a:cubicBezTo>
                    <a:pt x="80" y="16"/>
                    <a:pt x="79" y="16"/>
                    <a:pt x="79" y="16"/>
                  </a:cubicBezTo>
                  <a:cubicBezTo>
                    <a:pt x="79" y="17"/>
                    <a:pt x="79" y="18"/>
                    <a:pt x="80" y="18"/>
                  </a:cubicBezTo>
                  <a:cubicBezTo>
                    <a:pt x="78" y="20"/>
                    <a:pt x="80" y="19"/>
                    <a:pt x="81" y="20"/>
                  </a:cubicBezTo>
                  <a:cubicBezTo>
                    <a:pt x="82" y="21"/>
                    <a:pt x="81" y="21"/>
                    <a:pt x="82" y="22"/>
                  </a:cubicBezTo>
                  <a:cubicBezTo>
                    <a:pt x="83" y="23"/>
                    <a:pt x="84" y="23"/>
                    <a:pt x="84" y="23"/>
                  </a:cubicBezTo>
                  <a:cubicBezTo>
                    <a:pt x="84" y="23"/>
                    <a:pt x="85" y="24"/>
                    <a:pt x="85" y="24"/>
                  </a:cubicBezTo>
                  <a:cubicBezTo>
                    <a:pt x="86" y="25"/>
                    <a:pt x="86" y="24"/>
                    <a:pt x="86" y="25"/>
                  </a:cubicBezTo>
                  <a:cubicBezTo>
                    <a:pt x="86" y="26"/>
                    <a:pt x="86" y="26"/>
                    <a:pt x="85" y="26"/>
                  </a:cubicBezTo>
                  <a:cubicBezTo>
                    <a:pt x="85" y="26"/>
                    <a:pt x="85" y="26"/>
                    <a:pt x="86" y="26"/>
                  </a:cubicBezTo>
                  <a:cubicBezTo>
                    <a:pt x="85" y="27"/>
                    <a:pt x="82" y="28"/>
                    <a:pt x="81" y="27"/>
                  </a:cubicBezTo>
                  <a:cubicBezTo>
                    <a:pt x="80" y="27"/>
                    <a:pt x="79" y="27"/>
                    <a:pt x="78" y="27"/>
                  </a:cubicBezTo>
                  <a:cubicBezTo>
                    <a:pt x="77" y="27"/>
                    <a:pt x="76" y="27"/>
                    <a:pt x="77" y="28"/>
                  </a:cubicBezTo>
                  <a:cubicBezTo>
                    <a:pt x="76" y="29"/>
                    <a:pt x="76" y="29"/>
                    <a:pt x="76" y="29"/>
                  </a:cubicBezTo>
                  <a:cubicBezTo>
                    <a:pt x="75" y="30"/>
                    <a:pt x="75" y="31"/>
                    <a:pt x="75" y="31"/>
                  </a:cubicBezTo>
                  <a:cubicBezTo>
                    <a:pt x="75" y="32"/>
                    <a:pt x="76" y="32"/>
                    <a:pt x="74" y="32"/>
                  </a:cubicBezTo>
                  <a:cubicBezTo>
                    <a:pt x="74" y="33"/>
                    <a:pt x="73" y="32"/>
                    <a:pt x="73" y="32"/>
                  </a:cubicBezTo>
                  <a:cubicBezTo>
                    <a:pt x="72" y="33"/>
                    <a:pt x="72" y="33"/>
                    <a:pt x="72" y="33"/>
                  </a:cubicBezTo>
                  <a:cubicBezTo>
                    <a:pt x="73" y="34"/>
                    <a:pt x="74" y="34"/>
                    <a:pt x="73" y="35"/>
                  </a:cubicBezTo>
                  <a:cubicBezTo>
                    <a:pt x="72" y="36"/>
                    <a:pt x="71" y="35"/>
                    <a:pt x="69" y="35"/>
                  </a:cubicBezTo>
                  <a:cubicBezTo>
                    <a:pt x="69" y="35"/>
                    <a:pt x="69" y="35"/>
                    <a:pt x="68" y="34"/>
                  </a:cubicBezTo>
                  <a:cubicBezTo>
                    <a:pt x="70" y="33"/>
                    <a:pt x="71" y="32"/>
                    <a:pt x="73" y="31"/>
                  </a:cubicBezTo>
                  <a:cubicBezTo>
                    <a:pt x="73" y="31"/>
                    <a:pt x="72" y="29"/>
                    <a:pt x="72" y="29"/>
                  </a:cubicBezTo>
                  <a:cubicBezTo>
                    <a:pt x="72" y="29"/>
                    <a:pt x="72" y="29"/>
                    <a:pt x="72" y="28"/>
                  </a:cubicBezTo>
                  <a:cubicBezTo>
                    <a:pt x="71" y="28"/>
                    <a:pt x="71" y="28"/>
                    <a:pt x="70" y="28"/>
                  </a:cubicBezTo>
                  <a:cubicBezTo>
                    <a:pt x="69" y="27"/>
                    <a:pt x="69" y="26"/>
                    <a:pt x="69" y="26"/>
                  </a:cubicBezTo>
                  <a:cubicBezTo>
                    <a:pt x="69" y="26"/>
                    <a:pt x="73" y="26"/>
                    <a:pt x="73" y="26"/>
                  </a:cubicBezTo>
                  <a:cubicBezTo>
                    <a:pt x="75" y="26"/>
                    <a:pt x="75" y="25"/>
                    <a:pt x="73" y="25"/>
                  </a:cubicBezTo>
                  <a:cubicBezTo>
                    <a:pt x="72" y="25"/>
                    <a:pt x="71" y="24"/>
                    <a:pt x="70" y="24"/>
                  </a:cubicBezTo>
                  <a:cubicBezTo>
                    <a:pt x="69" y="23"/>
                    <a:pt x="69" y="21"/>
                    <a:pt x="70" y="20"/>
                  </a:cubicBezTo>
                  <a:cubicBezTo>
                    <a:pt x="73" y="19"/>
                    <a:pt x="76" y="19"/>
                    <a:pt x="78" y="18"/>
                  </a:cubicBezTo>
                  <a:cubicBezTo>
                    <a:pt x="77" y="17"/>
                    <a:pt x="76" y="16"/>
                    <a:pt x="75" y="16"/>
                  </a:cubicBezTo>
                  <a:cubicBezTo>
                    <a:pt x="74" y="15"/>
                    <a:pt x="74" y="15"/>
                    <a:pt x="73" y="15"/>
                  </a:cubicBezTo>
                  <a:cubicBezTo>
                    <a:pt x="72" y="15"/>
                    <a:pt x="72" y="15"/>
                    <a:pt x="71" y="14"/>
                  </a:cubicBezTo>
                  <a:cubicBezTo>
                    <a:pt x="70" y="13"/>
                    <a:pt x="69" y="13"/>
                    <a:pt x="67" y="13"/>
                  </a:cubicBezTo>
                  <a:cubicBezTo>
                    <a:pt x="66" y="13"/>
                    <a:pt x="64" y="13"/>
                    <a:pt x="63" y="13"/>
                  </a:cubicBezTo>
                  <a:cubicBezTo>
                    <a:pt x="66" y="14"/>
                    <a:pt x="60" y="15"/>
                    <a:pt x="60" y="15"/>
                  </a:cubicBezTo>
                  <a:cubicBezTo>
                    <a:pt x="60" y="15"/>
                    <a:pt x="62" y="16"/>
                    <a:pt x="62" y="16"/>
                  </a:cubicBezTo>
                  <a:cubicBezTo>
                    <a:pt x="63" y="16"/>
                    <a:pt x="64" y="16"/>
                    <a:pt x="65" y="16"/>
                  </a:cubicBezTo>
                  <a:cubicBezTo>
                    <a:pt x="65" y="17"/>
                    <a:pt x="65" y="17"/>
                    <a:pt x="64" y="17"/>
                  </a:cubicBezTo>
                  <a:cubicBezTo>
                    <a:pt x="64" y="17"/>
                    <a:pt x="64" y="18"/>
                    <a:pt x="64" y="18"/>
                  </a:cubicBezTo>
                  <a:cubicBezTo>
                    <a:pt x="63" y="18"/>
                    <a:pt x="61" y="17"/>
                    <a:pt x="60" y="17"/>
                  </a:cubicBezTo>
                  <a:cubicBezTo>
                    <a:pt x="60" y="17"/>
                    <a:pt x="62" y="18"/>
                    <a:pt x="62" y="18"/>
                  </a:cubicBezTo>
                  <a:cubicBezTo>
                    <a:pt x="62" y="18"/>
                    <a:pt x="59" y="18"/>
                    <a:pt x="59" y="18"/>
                  </a:cubicBezTo>
                  <a:close/>
                  <a:moveTo>
                    <a:pt x="118" y="16"/>
                  </a:moveTo>
                  <a:cubicBezTo>
                    <a:pt x="118" y="17"/>
                    <a:pt x="117" y="17"/>
                    <a:pt x="116" y="18"/>
                  </a:cubicBezTo>
                  <a:cubicBezTo>
                    <a:pt x="116" y="17"/>
                    <a:pt x="116" y="17"/>
                    <a:pt x="117" y="17"/>
                  </a:cubicBezTo>
                  <a:cubicBezTo>
                    <a:pt x="117" y="17"/>
                    <a:pt x="118" y="16"/>
                    <a:pt x="118" y="1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38" name="Freeform 1990">
              <a:extLst>
                <a:ext uri="{FF2B5EF4-FFF2-40B4-BE49-F238E27FC236}">
                  <a16:creationId xmlns:a16="http://schemas.microsoft.com/office/drawing/2014/main" id="{7DC45BEF-A9CC-4EF5-A200-F04D3B0C160C}"/>
                </a:ext>
              </a:extLst>
            </p:cNvPr>
            <p:cNvSpPr>
              <a:spLocks/>
            </p:cNvSpPr>
            <p:nvPr/>
          </p:nvSpPr>
          <p:spPr bwMode="auto">
            <a:xfrm>
              <a:off x="665" y="429"/>
              <a:ext cx="47" cy="31"/>
            </a:xfrm>
            <a:custGeom>
              <a:avLst/>
              <a:gdLst>
                <a:gd name="T0" fmla="*/ 8 w 20"/>
                <a:gd name="T1" fmla="*/ 13 h 13"/>
                <a:gd name="T2" fmla="*/ 13 w 20"/>
                <a:gd name="T3" fmla="*/ 10 h 13"/>
                <a:gd name="T4" fmla="*/ 18 w 20"/>
                <a:gd name="T5" fmla="*/ 4 h 13"/>
                <a:gd name="T6" fmla="*/ 18 w 20"/>
                <a:gd name="T7" fmla="*/ 0 h 13"/>
                <a:gd name="T8" fmla="*/ 15 w 20"/>
                <a:gd name="T9" fmla="*/ 2 h 13"/>
                <a:gd name="T10" fmla="*/ 14 w 20"/>
                <a:gd name="T11" fmla="*/ 2 h 13"/>
                <a:gd name="T12" fmla="*/ 13 w 20"/>
                <a:gd name="T13" fmla="*/ 3 h 13"/>
                <a:gd name="T14" fmla="*/ 11 w 20"/>
                <a:gd name="T15" fmla="*/ 4 h 13"/>
                <a:gd name="T16" fmla="*/ 6 w 20"/>
                <a:gd name="T17" fmla="*/ 7 h 13"/>
                <a:gd name="T18" fmla="*/ 1 w 20"/>
                <a:gd name="T19" fmla="*/ 10 h 13"/>
                <a:gd name="T20" fmla="*/ 3 w 20"/>
                <a:gd name="T21" fmla="*/ 12 h 13"/>
                <a:gd name="T22" fmla="*/ 5 w 20"/>
                <a:gd name="T23" fmla="*/ 13 h 13"/>
                <a:gd name="T24" fmla="*/ 8 w 20"/>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3">
                  <a:moveTo>
                    <a:pt x="8" y="13"/>
                  </a:moveTo>
                  <a:cubicBezTo>
                    <a:pt x="10" y="13"/>
                    <a:pt x="12" y="11"/>
                    <a:pt x="13" y="10"/>
                  </a:cubicBezTo>
                  <a:cubicBezTo>
                    <a:pt x="15" y="8"/>
                    <a:pt x="17" y="6"/>
                    <a:pt x="18" y="4"/>
                  </a:cubicBezTo>
                  <a:cubicBezTo>
                    <a:pt x="19" y="3"/>
                    <a:pt x="20" y="2"/>
                    <a:pt x="18" y="0"/>
                  </a:cubicBezTo>
                  <a:cubicBezTo>
                    <a:pt x="17" y="0"/>
                    <a:pt x="17" y="1"/>
                    <a:pt x="15" y="2"/>
                  </a:cubicBezTo>
                  <a:cubicBezTo>
                    <a:pt x="15" y="2"/>
                    <a:pt x="14" y="2"/>
                    <a:pt x="14" y="2"/>
                  </a:cubicBezTo>
                  <a:cubicBezTo>
                    <a:pt x="14" y="2"/>
                    <a:pt x="14" y="3"/>
                    <a:pt x="13" y="3"/>
                  </a:cubicBezTo>
                  <a:cubicBezTo>
                    <a:pt x="12" y="4"/>
                    <a:pt x="12" y="3"/>
                    <a:pt x="11" y="4"/>
                  </a:cubicBezTo>
                  <a:cubicBezTo>
                    <a:pt x="9" y="4"/>
                    <a:pt x="7" y="5"/>
                    <a:pt x="6" y="7"/>
                  </a:cubicBezTo>
                  <a:cubicBezTo>
                    <a:pt x="4" y="8"/>
                    <a:pt x="3" y="9"/>
                    <a:pt x="1" y="10"/>
                  </a:cubicBezTo>
                  <a:cubicBezTo>
                    <a:pt x="0" y="11"/>
                    <a:pt x="2" y="12"/>
                    <a:pt x="3" y="12"/>
                  </a:cubicBezTo>
                  <a:cubicBezTo>
                    <a:pt x="4" y="12"/>
                    <a:pt x="6" y="12"/>
                    <a:pt x="5" y="13"/>
                  </a:cubicBezTo>
                  <a:cubicBezTo>
                    <a:pt x="6" y="12"/>
                    <a:pt x="7" y="13"/>
                    <a:pt x="8" y="1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39" name="Freeform 1991">
              <a:extLst>
                <a:ext uri="{FF2B5EF4-FFF2-40B4-BE49-F238E27FC236}">
                  <a16:creationId xmlns:a16="http://schemas.microsoft.com/office/drawing/2014/main" id="{240C3587-540A-4D00-B4D3-F32175DD8F5E}"/>
                </a:ext>
              </a:extLst>
            </p:cNvPr>
            <p:cNvSpPr>
              <a:spLocks/>
            </p:cNvSpPr>
            <p:nvPr/>
          </p:nvSpPr>
          <p:spPr bwMode="auto">
            <a:xfrm>
              <a:off x="1627" y="739"/>
              <a:ext cx="35" cy="24"/>
            </a:xfrm>
            <a:custGeom>
              <a:avLst/>
              <a:gdLst>
                <a:gd name="T0" fmla="*/ 3 w 15"/>
                <a:gd name="T1" fmla="*/ 10 h 10"/>
                <a:gd name="T2" fmla="*/ 6 w 15"/>
                <a:gd name="T3" fmla="*/ 9 h 10"/>
                <a:gd name="T4" fmla="*/ 9 w 15"/>
                <a:gd name="T5" fmla="*/ 8 h 10"/>
                <a:gd name="T6" fmla="*/ 9 w 15"/>
                <a:gd name="T7" fmla="*/ 7 h 10"/>
                <a:gd name="T8" fmla="*/ 10 w 15"/>
                <a:gd name="T9" fmla="*/ 6 h 10"/>
                <a:gd name="T10" fmla="*/ 11 w 15"/>
                <a:gd name="T11" fmla="*/ 4 h 10"/>
                <a:gd name="T12" fmla="*/ 11 w 15"/>
                <a:gd name="T13" fmla="*/ 3 h 10"/>
                <a:gd name="T14" fmla="*/ 12 w 15"/>
                <a:gd name="T15" fmla="*/ 3 h 10"/>
                <a:gd name="T16" fmla="*/ 14 w 15"/>
                <a:gd name="T17" fmla="*/ 2 h 10"/>
                <a:gd name="T18" fmla="*/ 12 w 15"/>
                <a:gd name="T19" fmla="*/ 0 h 10"/>
                <a:gd name="T20" fmla="*/ 4 w 15"/>
                <a:gd name="T21" fmla="*/ 7 h 10"/>
                <a:gd name="T22" fmla="*/ 3 w 15"/>
                <a:gd name="T2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0">
                  <a:moveTo>
                    <a:pt x="3" y="10"/>
                  </a:moveTo>
                  <a:cubicBezTo>
                    <a:pt x="4" y="10"/>
                    <a:pt x="5" y="9"/>
                    <a:pt x="6" y="9"/>
                  </a:cubicBezTo>
                  <a:cubicBezTo>
                    <a:pt x="7" y="9"/>
                    <a:pt x="8" y="8"/>
                    <a:pt x="9" y="8"/>
                  </a:cubicBezTo>
                  <a:cubicBezTo>
                    <a:pt x="9" y="7"/>
                    <a:pt x="9" y="7"/>
                    <a:pt x="9" y="7"/>
                  </a:cubicBezTo>
                  <a:cubicBezTo>
                    <a:pt x="9" y="6"/>
                    <a:pt x="10" y="6"/>
                    <a:pt x="10" y="6"/>
                  </a:cubicBezTo>
                  <a:cubicBezTo>
                    <a:pt x="11" y="5"/>
                    <a:pt x="11" y="4"/>
                    <a:pt x="11" y="4"/>
                  </a:cubicBezTo>
                  <a:cubicBezTo>
                    <a:pt x="11" y="4"/>
                    <a:pt x="11" y="3"/>
                    <a:pt x="11" y="3"/>
                  </a:cubicBezTo>
                  <a:cubicBezTo>
                    <a:pt x="12" y="3"/>
                    <a:pt x="12" y="4"/>
                    <a:pt x="12" y="3"/>
                  </a:cubicBezTo>
                  <a:cubicBezTo>
                    <a:pt x="13" y="3"/>
                    <a:pt x="13" y="3"/>
                    <a:pt x="14" y="2"/>
                  </a:cubicBezTo>
                  <a:cubicBezTo>
                    <a:pt x="15" y="1"/>
                    <a:pt x="12" y="0"/>
                    <a:pt x="12" y="0"/>
                  </a:cubicBezTo>
                  <a:cubicBezTo>
                    <a:pt x="9" y="2"/>
                    <a:pt x="7" y="5"/>
                    <a:pt x="4" y="7"/>
                  </a:cubicBezTo>
                  <a:cubicBezTo>
                    <a:pt x="4" y="8"/>
                    <a:pt x="0" y="10"/>
                    <a:pt x="3" y="1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40" name="Freeform 1992">
              <a:extLst>
                <a:ext uri="{FF2B5EF4-FFF2-40B4-BE49-F238E27FC236}">
                  <a16:creationId xmlns:a16="http://schemas.microsoft.com/office/drawing/2014/main" id="{AC8C9BDC-44EC-4C9A-BF86-26E722EB5599}"/>
                </a:ext>
              </a:extLst>
            </p:cNvPr>
            <p:cNvSpPr>
              <a:spLocks/>
            </p:cNvSpPr>
            <p:nvPr/>
          </p:nvSpPr>
          <p:spPr bwMode="auto">
            <a:xfrm>
              <a:off x="1168" y="292"/>
              <a:ext cx="90" cy="54"/>
            </a:xfrm>
            <a:custGeom>
              <a:avLst/>
              <a:gdLst>
                <a:gd name="T0" fmla="*/ 3 w 38"/>
                <a:gd name="T1" fmla="*/ 8 h 23"/>
                <a:gd name="T2" fmla="*/ 5 w 38"/>
                <a:gd name="T3" fmla="*/ 10 h 23"/>
                <a:gd name="T4" fmla="*/ 6 w 38"/>
                <a:gd name="T5" fmla="*/ 11 h 23"/>
                <a:gd name="T6" fmla="*/ 6 w 38"/>
                <a:gd name="T7" fmla="*/ 11 h 23"/>
                <a:gd name="T8" fmla="*/ 7 w 38"/>
                <a:gd name="T9" fmla="*/ 13 h 23"/>
                <a:gd name="T10" fmla="*/ 10 w 38"/>
                <a:gd name="T11" fmla="*/ 13 h 23"/>
                <a:gd name="T12" fmla="*/ 14 w 38"/>
                <a:gd name="T13" fmla="*/ 14 h 23"/>
                <a:gd name="T14" fmla="*/ 17 w 38"/>
                <a:gd name="T15" fmla="*/ 15 h 23"/>
                <a:gd name="T16" fmla="*/ 16 w 38"/>
                <a:gd name="T17" fmla="*/ 16 h 23"/>
                <a:gd name="T18" fmla="*/ 8 w 38"/>
                <a:gd name="T19" fmla="*/ 17 h 23"/>
                <a:gd name="T20" fmla="*/ 13 w 38"/>
                <a:gd name="T21" fmla="*/ 19 h 23"/>
                <a:gd name="T22" fmla="*/ 15 w 38"/>
                <a:gd name="T23" fmla="*/ 21 h 23"/>
                <a:gd name="T24" fmla="*/ 17 w 38"/>
                <a:gd name="T25" fmla="*/ 23 h 23"/>
                <a:gd name="T26" fmla="*/ 32 w 38"/>
                <a:gd name="T27" fmla="*/ 20 h 23"/>
                <a:gd name="T28" fmla="*/ 37 w 38"/>
                <a:gd name="T29" fmla="*/ 17 h 23"/>
                <a:gd name="T30" fmla="*/ 36 w 38"/>
                <a:gd name="T31" fmla="*/ 15 h 23"/>
                <a:gd name="T32" fmla="*/ 36 w 38"/>
                <a:gd name="T33" fmla="*/ 13 h 23"/>
                <a:gd name="T34" fmla="*/ 38 w 38"/>
                <a:gd name="T35" fmla="*/ 10 h 23"/>
                <a:gd name="T36" fmla="*/ 32 w 38"/>
                <a:gd name="T37" fmla="*/ 7 h 23"/>
                <a:gd name="T38" fmla="*/ 29 w 38"/>
                <a:gd name="T39" fmla="*/ 6 h 23"/>
                <a:gd name="T40" fmla="*/ 26 w 38"/>
                <a:gd name="T41" fmla="*/ 7 h 23"/>
                <a:gd name="T42" fmla="*/ 23 w 38"/>
                <a:gd name="T43" fmla="*/ 4 h 23"/>
                <a:gd name="T44" fmla="*/ 21 w 38"/>
                <a:gd name="T45" fmla="*/ 3 h 23"/>
                <a:gd name="T46" fmla="*/ 17 w 38"/>
                <a:gd name="T47" fmla="*/ 2 h 23"/>
                <a:gd name="T48" fmla="*/ 14 w 38"/>
                <a:gd name="T49" fmla="*/ 1 h 23"/>
                <a:gd name="T50" fmla="*/ 7 w 38"/>
                <a:gd name="T51" fmla="*/ 0 h 23"/>
                <a:gd name="T52" fmla="*/ 3 w 38"/>
                <a:gd name="T53" fmla="*/ 4 h 23"/>
                <a:gd name="T54" fmla="*/ 5 w 38"/>
                <a:gd name="T55" fmla="*/ 6 h 23"/>
                <a:gd name="T56" fmla="*/ 3 w 38"/>
                <a:gd name="T57" fmla="*/ 6 h 23"/>
                <a:gd name="T58" fmla="*/ 3 w 38"/>
                <a:gd name="T59"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23">
                  <a:moveTo>
                    <a:pt x="3" y="8"/>
                  </a:moveTo>
                  <a:cubicBezTo>
                    <a:pt x="4" y="9"/>
                    <a:pt x="5" y="9"/>
                    <a:pt x="5" y="10"/>
                  </a:cubicBezTo>
                  <a:cubicBezTo>
                    <a:pt x="5" y="11"/>
                    <a:pt x="5" y="11"/>
                    <a:pt x="6" y="11"/>
                  </a:cubicBezTo>
                  <a:cubicBezTo>
                    <a:pt x="6" y="11"/>
                    <a:pt x="6" y="11"/>
                    <a:pt x="6" y="11"/>
                  </a:cubicBezTo>
                  <a:cubicBezTo>
                    <a:pt x="7" y="12"/>
                    <a:pt x="6" y="13"/>
                    <a:pt x="7" y="13"/>
                  </a:cubicBezTo>
                  <a:cubicBezTo>
                    <a:pt x="7" y="13"/>
                    <a:pt x="10" y="13"/>
                    <a:pt x="10" y="13"/>
                  </a:cubicBezTo>
                  <a:cubicBezTo>
                    <a:pt x="12" y="13"/>
                    <a:pt x="12" y="13"/>
                    <a:pt x="14" y="14"/>
                  </a:cubicBezTo>
                  <a:cubicBezTo>
                    <a:pt x="15" y="14"/>
                    <a:pt x="16" y="14"/>
                    <a:pt x="17" y="15"/>
                  </a:cubicBezTo>
                  <a:cubicBezTo>
                    <a:pt x="19" y="16"/>
                    <a:pt x="16" y="16"/>
                    <a:pt x="16" y="16"/>
                  </a:cubicBezTo>
                  <a:cubicBezTo>
                    <a:pt x="14" y="16"/>
                    <a:pt x="9" y="15"/>
                    <a:pt x="8" y="17"/>
                  </a:cubicBezTo>
                  <a:cubicBezTo>
                    <a:pt x="10" y="18"/>
                    <a:pt x="12" y="18"/>
                    <a:pt x="13" y="19"/>
                  </a:cubicBezTo>
                  <a:cubicBezTo>
                    <a:pt x="15" y="20"/>
                    <a:pt x="15" y="19"/>
                    <a:pt x="15" y="21"/>
                  </a:cubicBezTo>
                  <a:cubicBezTo>
                    <a:pt x="15" y="22"/>
                    <a:pt x="16" y="22"/>
                    <a:pt x="17" y="23"/>
                  </a:cubicBezTo>
                  <a:cubicBezTo>
                    <a:pt x="22" y="22"/>
                    <a:pt x="27" y="21"/>
                    <a:pt x="32" y="20"/>
                  </a:cubicBezTo>
                  <a:cubicBezTo>
                    <a:pt x="34" y="19"/>
                    <a:pt x="36" y="19"/>
                    <a:pt x="37" y="17"/>
                  </a:cubicBezTo>
                  <a:cubicBezTo>
                    <a:pt x="38" y="15"/>
                    <a:pt x="37" y="16"/>
                    <a:pt x="36" y="15"/>
                  </a:cubicBezTo>
                  <a:cubicBezTo>
                    <a:pt x="35" y="14"/>
                    <a:pt x="35" y="14"/>
                    <a:pt x="36" y="13"/>
                  </a:cubicBezTo>
                  <a:cubicBezTo>
                    <a:pt x="37" y="12"/>
                    <a:pt x="38" y="10"/>
                    <a:pt x="38" y="10"/>
                  </a:cubicBezTo>
                  <a:cubicBezTo>
                    <a:pt x="38" y="8"/>
                    <a:pt x="33" y="7"/>
                    <a:pt x="32" y="7"/>
                  </a:cubicBezTo>
                  <a:cubicBezTo>
                    <a:pt x="31" y="6"/>
                    <a:pt x="30" y="6"/>
                    <a:pt x="29" y="6"/>
                  </a:cubicBezTo>
                  <a:cubicBezTo>
                    <a:pt x="28" y="7"/>
                    <a:pt x="27" y="7"/>
                    <a:pt x="26" y="7"/>
                  </a:cubicBezTo>
                  <a:cubicBezTo>
                    <a:pt x="25" y="6"/>
                    <a:pt x="25" y="4"/>
                    <a:pt x="23" y="4"/>
                  </a:cubicBezTo>
                  <a:cubicBezTo>
                    <a:pt x="23" y="4"/>
                    <a:pt x="22" y="3"/>
                    <a:pt x="21" y="3"/>
                  </a:cubicBezTo>
                  <a:cubicBezTo>
                    <a:pt x="20" y="2"/>
                    <a:pt x="18" y="3"/>
                    <a:pt x="17" y="2"/>
                  </a:cubicBezTo>
                  <a:cubicBezTo>
                    <a:pt x="16" y="2"/>
                    <a:pt x="16" y="1"/>
                    <a:pt x="14" y="1"/>
                  </a:cubicBezTo>
                  <a:cubicBezTo>
                    <a:pt x="12" y="1"/>
                    <a:pt x="10" y="0"/>
                    <a:pt x="7" y="0"/>
                  </a:cubicBezTo>
                  <a:cubicBezTo>
                    <a:pt x="4" y="0"/>
                    <a:pt x="0" y="1"/>
                    <a:pt x="3" y="4"/>
                  </a:cubicBezTo>
                  <a:cubicBezTo>
                    <a:pt x="3" y="4"/>
                    <a:pt x="6" y="6"/>
                    <a:pt x="5" y="6"/>
                  </a:cubicBezTo>
                  <a:cubicBezTo>
                    <a:pt x="5" y="6"/>
                    <a:pt x="4" y="6"/>
                    <a:pt x="3" y="6"/>
                  </a:cubicBezTo>
                  <a:cubicBezTo>
                    <a:pt x="1" y="7"/>
                    <a:pt x="2" y="8"/>
                    <a:pt x="3" y="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41" name="Freeform 1993">
              <a:extLst>
                <a:ext uri="{FF2B5EF4-FFF2-40B4-BE49-F238E27FC236}">
                  <a16:creationId xmlns:a16="http://schemas.microsoft.com/office/drawing/2014/main" id="{28B3A75D-7555-40F5-9AD0-8C6BFF57FF74}"/>
                </a:ext>
              </a:extLst>
            </p:cNvPr>
            <p:cNvSpPr>
              <a:spLocks/>
            </p:cNvSpPr>
            <p:nvPr/>
          </p:nvSpPr>
          <p:spPr bwMode="auto">
            <a:xfrm>
              <a:off x="1216" y="453"/>
              <a:ext cx="78" cy="54"/>
            </a:xfrm>
            <a:custGeom>
              <a:avLst/>
              <a:gdLst>
                <a:gd name="T0" fmla="*/ 5 w 33"/>
                <a:gd name="T1" fmla="*/ 14 h 23"/>
                <a:gd name="T2" fmla="*/ 9 w 33"/>
                <a:gd name="T3" fmla="*/ 17 h 23"/>
                <a:gd name="T4" fmla="*/ 10 w 33"/>
                <a:gd name="T5" fmla="*/ 17 h 23"/>
                <a:gd name="T6" fmla="*/ 11 w 33"/>
                <a:gd name="T7" fmla="*/ 18 h 23"/>
                <a:gd name="T8" fmla="*/ 12 w 33"/>
                <a:gd name="T9" fmla="*/ 18 h 23"/>
                <a:gd name="T10" fmla="*/ 14 w 33"/>
                <a:gd name="T11" fmla="*/ 18 h 23"/>
                <a:gd name="T12" fmla="*/ 17 w 33"/>
                <a:gd name="T13" fmla="*/ 20 h 23"/>
                <a:gd name="T14" fmla="*/ 18 w 33"/>
                <a:gd name="T15" fmla="*/ 20 h 23"/>
                <a:gd name="T16" fmla="*/ 20 w 33"/>
                <a:gd name="T17" fmla="*/ 21 h 23"/>
                <a:gd name="T18" fmla="*/ 22 w 33"/>
                <a:gd name="T19" fmla="*/ 21 h 23"/>
                <a:gd name="T20" fmla="*/ 33 w 33"/>
                <a:gd name="T21" fmla="*/ 17 h 23"/>
                <a:gd name="T22" fmla="*/ 32 w 33"/>
                <a:gd name="T23" fmla="*/ 14 h 23"/>
                <a:gd name="T24" fmla="*/ 31 w 33"/>
                <a:gd name="T25" fmla="*/ 13 h 23"/>
                <a:gd name="T26" fmla="*/ 32 w 33"/>
                <a:gd name="T27" fmla="*/ 11 h 23"/>
                <a:gd name="T28" fmla="*/ 32 w 33"/>
                <a:gd name="T29" fmla="*/ 9 h 23"/>
                <a:gd name="T30" fmla="*/ 31 w 33"/>
                <a:gd name="T31" fmla="*/ 7 h 23"/>
                <a:gd name="T32" fmla="*/ 30 w 33"/>
                <a:gd name="T33" fmla="*/ 6 h 23"/>
                <a:gd name="T34" fmla="*/ 29 w 33"/>
                <a:gd name="T35" fmla="*/ 6 h 23"/>
                <a:gd name="T36" fmla="*/ 24 w 33"/>
                <a:gd name="T37" fmla="*/ 2 h 23"/>
                <a:gd name="T38" fmla="*/ 18 w 33"/>
                <a:gd name="T39" fmla="*/ 0 h 23"/>
                <a:gd name="T40" fmla="*/ 10 w 33"/>
                <a:gd name="T41" fmla="*/ 3 h 23"/>
                <a:gd name="T42" fmla="*/ 5 w 33"/>
                <a:gd name="T43" fmla="*/ 6 h 23"/>
                <a:gd name="T44" fmla="*/ 7 w 33"/>
                <a:gd name="T45" fmla="*/ 5 h 23"/>
                <a:gd name="T46" fmla="*/ 2 w 33"/>
                <a:gd name="T47" fmla="*/ 10 h 23"/>
                <a:gd name="T48" fmla="*/ 0 w 33"/>
                <a:gd name="T49" fmla="*/ 14 h 23"/>
                <a:gd name="T50" fmla="*/ 3 w 33"/>
                <a:gd name="T51" fmla="*/ 15 h 23"/>
                <a:gd name="T52" fmla="*/ 5 w 33"/>
                <a:gd name="T53"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 h="23">
                  <a:moveTo>
                    <a:pt x="5" y="14"/>
                  </a:moveTo>
                  <a:cubicBezTo>
                    <a:pt x="5" y="16"/>
                    <a:pt x="7" y="17"/>
                    <a:pt x="9" y="17"/>
                  </a:cubicBezTo>
                  <a:cubicBezTo>
                    <a:pt x="9" y="17"/>
                    <a:pt x="9" y="17"/>
                    <a:pt x="10" y="17"/>
                  </a:cubicBezTo>
                  <a:cubicBezTo>
                    <a:pt x="10" y="17"/>
                    <a:pt x="10" y="18"/>
                    <a:pt x="11" y="18"/>
                  </a:cubicBezTo>
                  <a:cubicBezTo>
                    <a:pt x="11" y="19"/>
                    <a:pt x="12" y="19"/>
                    <a:pt x="12" y="18"/>
                  </a:cubicBezTo>
                  <a:cubicBezTo>
                    <a:pt x="12" y="18"/>
                    <a:pt x="13" y="18"/>
                    <a:pt x="14" y="18"/>
                  </a:cubicBezTo>
                  <a:cubicBezTo>
                    <a:pt x="15" y="18"/>
                    <a:pt x="15" y="20"/>
                    <a:pt x="17" y="20"/>
                  </a:cubicBezTo>
                  <a:cubicBezTo>
                    <a:pt x="18" y="20"/>
                    <a:pt x="18" y="20"/>
                    <a:pt x="18" y="20"/>
                  </a:cubicBezTo>
                  <a:cubicBezTo>
                    <a:pt x="19" y="20"/>
                    <a:pt x="19" y="21"/>
                    <a:pt x="20" y="21"/>
                  </a:cubicBezTo>
                  <a:cubicBezTo>
                    <a:pt x="21" y="21"/>
                    <a:pt x="22" y="21"/>
                    <a:pt x="22" y="21"/>
                  </a:cubicBezTo>
                  <a:cubicBezTo>
                    <a:pt x="26" y="20"/>
                    <a:pt x="32" y="23"/>
                    <a:pt x="33" y="17"/>
                  </a:cubicBezTo>
                  <a:cubicBezTo>
                    <a:pt x="33" y="16"/>
                    <a:pt x="33" y="15"/>
                    <a:pt x="32" y="14"/>
                  </a:cubicBezTo>
                  <a:cubicBezTo>
                    <a:pt x="32" y="13"/>
                    <a:pt x="31" y="13"/>
                    <a:pt x="31" y="13"/>
                  </a:cubicBezTo>
                  <a:cubicBezTo>
                    <a:pt x="30" y="13"/>
                    <a:pt x="32" y="11"/>
                    <a:pt x="32" y="11"/>
                  </a:cubicBezTo>
                  <a:cubicBezTo>
                    <a:pt x="32" y="11"/>
                    <a:pt x="32" y="9"/>
                    <a:pt x="32" y="9"/>
                  </a:cubicBezTo>
                  <a:cubicBezTo>
                    <a:pt x="32" y="8"/>
                    <a:pt x="31" y="8"/>
                    <a:pt x="31" y="7"/>
                  </a:cubicBezTo>
                  <a:cubicBezTo>
                    <a:pt x="30" y="7"/>
                    <a:pt x="30" y="7"/>
                    <a:pt x="30" y="6"/>
                  </a:cubicBezTo>
                  <a:cubicBezTo>
                    <a:pt x="30" y="6"/>
                    <a:pt x="29" y="6"/>
                    <a:pt x="29" y="6"/>
                  </a:cubicBezTo>
                  <a:cubicBezTo>
                    <a:pt x="27" y="5"/>
                    <a:pt x="26" y="3"/>
                    <a:pt x="24" y="2"/>
                  </a:cubicBezTo>
                  <a:cubicBezTo>
                    <a:pt x="22" y="1"/>
                    <a:pt x="20" y="1"/>
                    <a:pt x="18" y="0"/>
                  </a:cubicBezTo>
                  <a:cubicBezTo>
                    <a:pt x="15" y="1"/>
                    <a:pt x="12" y="2"/>
                    <a:pt x="10" y="3"/>
                  </a:cubicBezTo>
                  <a:cubicBezTo>
                    <a:pt x="9" y="4"/>
                    <a:pt x="5" y="4"/>
                    <a:pt x="5" y="6"/>
                  </a:cubicBezTo>
                  <a:cubicBezTo>
                    <a:pt x="5" y="6"/>
                    <a:pt x="6" y="5"/>
                    <a:pt x="7" y="5"/>
                  </a:cubicBezTo>
                  <a:cubicBezTo>
                    <a:pt x="5" y="7"/>
                    <a:pt x="3" y="8"/>
                    <a:pt x="2" y="10"/>
                  </a:cubicBezTo>
                  <a:cubicBezTo>
                    <a:pt x="1" y="11"/>
                    <a:pt x="0" y="13"/>
                    <a:pt x="0" y="14"/>
                  </a:cubicBezTo>
                  <a:cubicBezTo>
                    <a:pt x="2" y="13"/>
                    <a:pt x="2" y="15"/>
                    <a:pt x="3" y="15"/>
                  </a:cubicBezTo>
                  <a:cubicBezTo>
                    <a:pt x="4" y="16"/>
                    <a:pt x="4" y="14"/>
                    <a:pt x="5" y="1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42" name="Freeform 1994">
              <a:extLst>
                <a:ext uri="{FF2B5EF4-FFF2-40B4-BE49-F238E27FC236}">
                  <a16:creationId xmlns:a16="http://schemas.microsoft.com/office/drawing/2014/main" id="{1D6B1CA8-8281-4B4D-98AD-27A3A2680138}"/>
                </a:ext>
              </a:extLst>
            </p:cNvPr>
            <p:cNvSpPr>
              <a:spLocks/>
            </p:cNvSpPr>
            <p:nvPr/>
          </p:nvSpPr>
          <p:spPr bwMode="auto">
            <a:xfrm>
              <a:off x="1681" y="784"/>
              <a:ext cx="59" cy="47"/>
            </a:xfrm>
            <a:custGeom>
              <a:avLst/>
              <a:gdLst>
                <a:gd name="T0" fmla="*/ 17 w 25"/>
                <a:gd name="T1" fmla="*/ 0 h 20"/>
                <a:gd name="T2" fmla="*/ 14 w 25"/>
                <a:gd name="T3" fmla="*/ 0 h 20"/>
                <a:gd name="T4" fmla="*/ 12 w 25"/>
                <a:gd name="T5" fmla="*/ 0 h 20"/>
                <a:gd name="T6" fmla="*/ 11 w 25"/>
                <a:gd name="T7" fmla="*/ 0 h 20"/>
                <a:gd name="T8" fmla="*/ 8 w 25"/>
                <a:gd name="T9" fmla="*/ 1 h 20"/>
                <a:gd name="T10" fmla="*/ 6 w 25"/>
                <a:gd name="T11" fmla="*/ 2 h 20"/>
                <a:gd name="T12" fmla="*/ 3 w 25"/>
                <a:gd name="T13" fmla="*/ 6 h 20"/>
                <a:gd name="T14" fmla="*/ 0 w 25"/>
                <a:gd name="T15" fmla="*/ 10 h 20"/>
                <a:gd name="T16" fmla="*/ 2 w 25"/>
                <a:gd name="T17" fmla="*/ 16 h 20"/>
                <a:gd name="T18" fmla="*/ 10 w 25"/>
                <a:gd name="T19" fmla="*/ 19 h 20"/>
                <a:gd name="T20" fmla="*/ 16 w 25"/>
                <a:gd name="T21" fmla="*/ 18 h 20"/>
                <a:gd name="T22" fmla="*/ 23 w 25"/>
                <a:gd name="T23" fmla="*/ 12 h 20"/>
                <a:gd name="T24" fmla="*/ 23 w 25"/>
                <a:gd name="T25" fmla="*/ 8 h 20"/>
                <a:gd name="T26" fmla="*/ 23 w 25"/>
                <a:gd name="T27" fmla="*/ 2 h 20"/>
                <a:gd name="T28" fmla="*/ 20 w 25"/>
                <a:gd name="T29" fmla="*/ 1 h 20"/>
                <a:gd name="T30" fmla="*/ 17 w 25"/>
                <a:gd name="T3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0">
                  <a:moveTo>
                    <a:pt x="17" y="0"/>
                  </a:moveTo>
                  <a:cubicBezTo>
                    <a:pt x="16" y="0"/>
                    <a:pt x="15" y="0"/>
                    <a:pt x="14" y="0"/>
                  </a:cubicBezTo>
                  <a:cubicBezTo>
                    <a:pt x="13" y="0"/>
                    <a:pt x="13" y="1"/>
                    <a:pt x="12" y="0"/>
                  </a:cubicBezTo>
                  <a:cubicBezTo>
                    <a:pt x="12" y="0"/>
                    <a:pt x="11" y="0"/>
                    <a:pt x="11" y="0"/>
                  </a:cubicBezTo>
                  <a:cubicBezTo>
                    <a:pt x="10" y="0"/>
                    <a:pt x="9" y="1"/>
                    <a:pt x="8" y="1"/>
                  </a:cubicBezTo>
                  <a:cubicBezTo>
                    <a:pt x="7" y="1"/>
                    <a:pt x="6" y="1"/>
                    <a:pt x="6" y="2"/>
                  </a:cubicBezTo>
                  <a:cubicBezTo>
                    <a:pt x="5" y="3"/>
                    <a:pt x="4" y="5"/>
                    <a:pt x="3" y="6"/>
                  </a:cubicBezTo>
                  <a:cubicBezTo>
                    <a:pt x="2" y="7"/>
                    <a:pt x="1" y="9"/>
                    <a:pt x="0" y="10"/>
                  </a:cubicBezTo>
                  <a:cubicBezTo>
                    <a:pt x="0" y="12"/>
                    <a:pt x="1" y="14"/>
                    <a:pt x="2" y="16"/>
                  </a:cubicBezTo>
                  <a:cubicBezTo>
                    <a:pt x="4" y="18"/>
                    <a:pt x="6" y="20"/>
                    <a:pt x="10" y="19"/>
                  </a:cubicBezTo>
                  <a:cubicBezTo>
                    <a:pt x="12" y="19"/>
                    <a:pt x="14" y="19"/>
                    <a:pt x="16" y="18"/>
                  </a:cubicBezTo>
                  <a:cubicBezTo>
                    <a:pt x="19" y="17"/>
                    <a:pt x="23" y="16"/>
                    <a:pt x="23" y="12"/>
                  </a:cubicBezTo>
                  <a:cubicBezTo>
                    <a:pt x="23" y="10"/>
                    <a:pt x="23" y="9"/>
                    <a:pt x="23" y="8"/>
                  </a:cubicBezTo>
                  <a:cubicBezTo>
                    <a:pt x="22" y="6"/>
                    <a:pt x="25" y="4"/>
                    <a:pt x="23" y="2"/>
                  </a:cubicBezTo>
                  <a:cubicBezTo>
                    <a:pt x="22" y="1"/>
                    <a:pt x="21" y="2"/>
                    <a:pt x="20" y="1"/>
                  </a:cubicBezTo>
                  <a:cubicBezTo>
                    <a:pt x="19" y="1"/>
                    <a:pt x="18" y="0"/>
                    <a:pt x="17"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43" name="Freeform 1995">
              <a:extLst>
                <a:ext uri="{FF2B5EF4-FFF2-40B4-BE49-F238E27FC236}">
                  <a16:creationId xmlns:a16="http://schemas.microsoft.com/office/drawing/2014/main" id="{E48FD437-6482-47D3-BAC8-282D26B5821F}"/>
                </a:ext>
              </a:extLst>
            </p:cNvPr>
            <p:cNvSpPr>
              <a:spLocks/>
            </p:cNvSpPr>
            <p:nvPr/>
          </p:nvSpPr>
          <p:spPr bwMode="auto">
            <a:xfrm>
              <a:off x="939" y="548"/>
              <a:ext cx="9" cy="4"/>
            </a:xfrm>
            <a:custGeom>
              <a:avLst/>
              <a:gdLst>
                <a:gd name="T0" fmla="*/ 4 w 4"/>
                <a:gd name="T1" fmla="*/ 2 h 2"/>
                <a:gd name="T2" fmla="*/ 0 w 4"/>
                <a:gd name="T3" fmla="*/ 2 h 2"/>
                <a:gd name="T4" fmla="*/ 1 w 4"/>
                <a:gd name="T5" fmla="*/ 2 h 2"/>
                <a:gd name="T6" fmla="*/ 1 w 4"/>
                <a:gd name="T7" fmla="*/ 2 h 2"/>
                <a:gd name="T8" fmla="*/ 4 w 4"/>
                <a:gd name="T9" fmla="*/ 2 h 2"/>
              </a:gdLst>
              <a:ahLst/>
              <a:cxnLst>
                <a:cxn ang="0">
                  <a:pos x="T0" y="T1"/>
                </a:cxn>
                <a:cxn ang="0">
                  <a:pos x="T2" y="T3"/>
                </a:cxn>
                <a:cxn ang="0">
                  <a:pos x="T4" y="T5"/>
                </a:cxn>
                <a:cxn ang="0">
                  <a:pos x="T6" y="T7"/>
                </a:cxn>
                <a:cxn ang="0">
                  <a:pos x="T8" y="T9"/>
                </a:cxn>
              </a:cxnLst>
              <a:rect l="0" t="0" r="r" b="b"/>
              <a:pathLst>
                <a:path w="4" h="2">
                  <a:moveTo>
                    <a:pt x="4" y="2"/>
                  </a:moveTo>
                  <a:cubicBezTo>
                    <a:pt x="3" y="1"/>
                    <a:pt x="1" y="0"/>
                    <a:pt x="0" y="2"/>
                  </a:cubicBezTo>
                  <a:cubicBezTo>
                    <a:pt x="0" y="2"/>
                    <a:pt x="0" y="2"/>
                    <a:pt x="1" y="2"/>
                  </a:cubicBezTo>
                  <a:cubicBezTo>
                    <a:pt x="1" y="2"/>
                    <a:pt x="1" y="2"/>
                    <a:pt x="1" y="2"/>
                  </a:cubicBezTo>
                  <a:cubicBezTo>
                    <a:pt x="2" y="2"/>
                    <a:pt x="3" y="2"/>
                    <a:pt x="4"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44" name="Freeform 1996">
              <a:extLst>
                <a:ext uri="{FF2B5EF4-FFF2-40B4-BE49-F238E27FC236}">
                  <a16:creationId xmlns:a16="http://schemas.microsoft.com/office/drawing/2014/main" id="{9193DD35-72B9-4F92-AFC1-3E1706EC01A8}"/>
                </a:ext>
              </a:extLst>
            </p:cNvPr>
            <p:cNvSpPr>
              <a:spLocks/>
            </p:cNvSpPr>
            <p:nvPr/>
          </p:nvSpPr>
          <p:spPr bwMode="auto">
            <a:xfrm>
              <a:off x="1643" y="1231"/>
              <a:ext cx="8" cy="12"/>
            </a:xfrm>
            <a:custGeom>
              <a:avLst/>
              <a:gdLst>
                <a:gd name="T0" fmla="*/ 2 w 3"/>
                <a:gd name="T1" fmla="*/ 1 h 5"/>
                <a:gd name="T2" fmla="*/ 1 w 3"/>
                <a:gd name="T3" fmla="*/ 3 h 5"/>
                <a:gd name="T4" fmla="*/ 0 w 3"/>
                <a:gd name="T5" fmla="*/ 5 h 5"/>
                <a:gd name="T6" fmla="*/ 2 w 3"/>
                <a:gd name="T7" fmla="*/ 1 h 5"/>
              </a:gdLst>
              <a:ahLst/>
              <a:cxnLst>
                <a:cxn ang="0">
                  <a:pos x="T0" y="T1"/>
                </a:cxn>
                <a:cxn ang="0">
                  <a:pos x="T2" y="T3"/>
                </a:cxn>
                <a:cxn ang="0">
                  <a:pos x="T4" y="T5"/>
                </a:cxn>
                <a:cxn ang="0">
                  <a:pos x="T6" y="T7"/>
                </a:cxn>
              </a:cxnLst>
              <a:rect l="0" t="0" r="r" b="b"/>
              <a:pathLst>
                <a:path w="3" h="5">
                  <a:moveTo>
                    <a:pt x="2" y="1"/>
                  </a:moveTo>
                  <a:cubicBezTo>
                    <a:pt x="1" y="0"/>
                    <a:pt x="1" y="2"/>
                    <a:pt x="1" y="3"/>
                  </a:cubicBezTo>
                  <a:cubicBezTo>
                    <a:pt x="0" y="3"/>
                    <a:pt x="0" y="4"/>
                    <a:pt x="0" y="5"/>
                  </a:cubicBezTo>
                  <a:cubicBezTo>
                    <a:pt x="3" y="5"/>
                    <a:pt x="2" y="3"/>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45" name="Freeform 1997">
              <a:extLst>
                <a:ext uri="{FF2B5EF4-FFF2-40B4-BE49-F238E27FC236}">
                  <a16:creationId xmlns:a16="http://schemas.microsoft.com/office/drawing/2014/main" id="{68071842-8219-41B3-85E8-5ECB36F3953C}"/>
                </a:ext>
              </a:extLst>
            </p:cNvPr>
            <p:cNvSpPr>
              <a:spLocks/>
            </p:cNvSpPr>
            <p:nvPr/>
          </p:nvSpPr>
          <p:spPr bwMode="auto">
            <a:xfrm>
              <a:off x="1828" y="999"/>
              <a:ext cx="26" cy="15"/>
            </a:xfrm>
            <a:custGeom>
              <a:avLst/>
              <a:gdLst>
                <a:gd name="T0" fmla="*/ 4 w 11"/>
                <a:gd name="T1" fmla="*/ 4 h 6"/>
                <a:gd name="T2" fmla="*/ 5 w 11"/>
                <a:gd name="T3" fmla="*/ 5 h 6"/>
                <a:gd name="T4" fmla="*/ 11 w 11"/>
                <a:gd name="T5" fmla="*/ 5 h 6"/>
                <a:gd name="T6" fmla="*/ 7 w 11"/>
                <a:gd name="T7" fmla="*/ 2 h 6"/>
                <a:gd name="T8" fmla="*/ 0 w 11"/>
                <a:gd name="T9" fmla="*/ 0 h 6"/>
                <a:gd name="T10" fmla="*/ 4 w 11"/>
                <a:gd name="T11" fmla="*/ 4 h 6"/>
              </a:gdLst>
              <a:ahLst/>
              <a:cxnLst>
                <a:cxn ang="0">
                  <a:pos x="T0" y="T1"/>
                </a:cxn>
                <a:cxn ang="0">
                  <a:pos x="T2" y="T3"/>
                </a:cxn>
                <a:cxn ang="0">
                  <a:pos x="T4" y="T5"/>
                </a:cxn>
                <a:cxn ang="0">
                  <a:pos x="T6" y="T7"/>
                </a:cxn>
                <a:cxn ang="0">
                  <a:pos x="T8" y="T9"/>
                </a:cxn>
                <a:cxn ang="0">
                  <a:pos x="T10" y="T11"/>
                </a:cxn>
              </a:cxnLst>
              <a:rect l="0" t="0" r="r" b="b"/>
              <a:pathLst>
                <a:path w="11" h="6">
                  <a:moveTo>
                    <a:pt x="4" y="4"/>
                  </a:moveTo>
                  <a:cubicBezTo>
                    <a:pt x="5" y="4"/>
                    <a:pt x="5" y="5"/>
                    <a:pt x="5" y="5"/>
                  </a:cubicBezTo>
                  <a:cubicBezTo>
                    <a:pt x="6" y="6"/>
                    <a:pt x="9" y="6"/>
                    <a:pt x="11" y="5"/>
                  </a:cubicBezTo>
                  <a:cubicBezTo>
                    <a:pt x="10" y="4"/>
                    <a:pt x="8" y="3"/>
                    <a:pt x="7" y="2"/>
                  </a:cubicBezTo>
                  <a:cubicBezTo>
                    <a:pt x="5" y="1"/>
                    <a:pt x="3" y="1"/>
                    <a:pt x="0" y="0"/>
                  </a:cubicBezTo>
                  <a:cubicBezTo>
                    <a:pt x="2" y="1"/>
                    <a:pt x="4" y="2"/>
                    <a:pt x="4"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46" name="Freeform 1998">
              <a:extLst>
                <a:ext uri="{FF2B5EF4-FFF2-40B4-BE49-F238E27FC236}">
                  <a16:creationId xmlns:a16="http://schemas.microsoft.com/office/drawing/2014/main" id="{36CD6EDB-A2EB-4207-9279-D374CF6E0D60}"/>
                </a:ext>
              </a:extLst>
            </p:cNvPr>
            <p:cNvSpPr>
              <a:spLocks/>
            </p:cNvSpPr>
            <p:nvPr/>
          </p:nvSpPr>
          <p:spPr bwMode="auto">
            <a:xfrm>
              <a:off x="989" y="346"/>
              <a:ext cx="42" cy="34"/>
            </a:xfrm>
            <a:custGeom>
              <a:avLst/>
              <a:gdLst>
                <a:gd name="T0" fmla="*/ 4 w 18"/>
                <a:gd name="T1" fmla="*/ 8 h 14"/>
                <a:gd name="T2" fmla="*/ 8 w 18"/>
                <a:gd name="T3" fmla="*/ 13 h 14"/>
                <a:gd name="T4" fmla="*/ 10 w 18"/>
                <a:gd name="T5" fmla="*/ 13 h 14"/>
                <a:gd name="T6" fmla="*/ 13 w 18"/>
                <a:gd name="T7" fmla="*/ 14 h 14"/>
                <a:gd name="T8" fmla="*/ 16 w 18"/>
                <a:gd name="T9" fmla="*/ 13 h 14"/>
                <a:gd name="T10" fmla="*/ 13 w 18"/>
                <a:gd name="T11" fmla="*/ 8 h 14"/>
                <a:gd name="T12" fmla="*/ 13 w 18"/>
                <a:gd name="T13" fmla="*/ 8 h 14"/>
                <a:gd name="T14" fmla="*/ 12 w 18"/>
                <a:gd name="T15" fmla="*/ 8 h 14"/>
                <a:gd name="T16" fmla="*/ 11 w 18"/>
                <a:gd name="T17" fmla="*/ 7 h 14"/>
                <a:gd name="T18" fmla="*/ 9 w 18"/>
                <a:gd name="T19" fmla="*/ 4 h 14"/>
                <a:gd name="T20" fmla="*/ 4 w 18"/>
                <a:gd name="T21" fmla="*/ 0 h 14"/>
                <a:gd name="T22" fmla="*/ 0 w 18"/>
                <a:gd name="T23" fmla="*/ 1 h 14"/>
                <a:gd name="T24" fmla="*/ 4 w 18"/>
                <a:gd name="T25"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4">
                  <a:moveTo>
                    <a:pt x="4" y="8"/>
                  </a:moveTo>
                  <a:cubicBezTo>
                    <a:pt x="5" y="10"/>
                    <a:pt x="6" y="11"/>
                    <a:pt x="8" y="13"/>
                  </a:cubicBezTo>
                  <a:cubicBezTo>
                    <a:pt x="8" y="13"/>
                    <a:pt x="9" y="13"/>
                    <a:pt x="10" y="13"/>
                  </a:cubicBezTo>
                  <a:cubicBezTo>
                    <a:pt x="12" y="13"/>
                    <a:pt x="12" y="14"/>
                    <a:pt x="13" y="14"/>
                  </a:cubicBezTo>
                  <a:cubicBezTo>
                    <a:pt x="14" y="14"/>
                    <a:pt x="16" y="14"/>
                    <a:pt x="16" y="13"/>
                  </a:cubicBezTo>
                  <a:cubicBezTo>
                    <a:pt x="18" y="10"/>
                    <a:pt x="15" y="10"/>
                    <a:pt x="13" y="8"/>
                  </a:cubicBezTo>
                  <a:cubicBezTo>
                    <a:pt x="13" y="8"/>
                    <a:pt x="13" y="8"/>
                    <a:pt x="13" y="8"/>
                  </a:cubicBezTo>
                  <a:cubicBezTo>
                    <a:pt x="13" y="8"/>
                    <a:pt x="12" y="8"/>
                    <a:pt x="12" y="8"/>
                  </a:cubicBezTo>
                  <a:cubicBezTo>
                    <a:pt x="11" y="7"/>
                    <a:pt x="11" y="8"/>
                    <a:pt x="11" y="7"/>
                  </a:cubicBezTo>
                  <a:cubicBezTo>
                    <a:pt x="11" y="5"/>
                    <a:pt x="10" y="5"/>
                    <a:pt x="9" y="4"/>
                  </a:cubicBezTo>
                  <a:cubicBezTo>
                    <a:pt x="8" y="3"/>
                    <a:pt x="6" y="1"/>
                    <a:pt x="4" y="0"/>
                  </a:cubicBezTo>
                  <a:cubicBezTo>
                    <a:pt x="2" y="1"/>
                    <a:pt x="1" y="1"/>
                    <a:pt x="0" y="1"/>
                  </a:cubicBezTo>
                  <a:cubicBezTo>
                    <a:pt x="2" y="3"/>
                    <a:pt x="2" y="6"/>
                    <a:pt x="4" y="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47" name="Freeform 1999">
              <a:extLst>
                <a:ext uri="{FF2B5EF4-FFF2-40B4-BE49-F238E27FC236}">
                  <a16:creationId xmlns:a16="http://schemas.microsoft.com/office/drawing/2014/main" id="{EB812206-D8D3-4B7C-95F7-42C63A097ADA}"/>
                </a:ext>
              </a:extLst>
            </p:cNvPr>
            <p:cNvSpPr>
              <a:spLocks/>
            </p:cNvSpPr>
            <p:nvPr/>
          </p:nvSpPr>
          <p:spPr bwMode="auto">
            <a:xfrm>
              <a:off x="965" y="543"/>
              <a:ext cx="61" cy="42"/>
            </a:xfrm>
            <a:custGeom>
              <a:avLst/>
              <a:gdLst>
                <a:gd name="T0" fmla="*/ 19 w 26"/>
                <a:gd name="T1" fmla="*/ 1 h 18"/>
                <a:gd name="T2" fmla="*/ 16 w 26"/>
                <a:gd name="T3" fmla="*/ 0 h 18"/>
                <a:gd name="T4" fmla="*/ 15 w 26"/>
                <a:gd name="T5" fmla="*/ 0 h 18"/>
                <a:gd name="T6" fmla="*/ 11 w 26"/>
                <a:gd name="T7" fmla="*/ 1 h 18"/>
                <a:gd name="T8" fmla="*/ 7 w 26"/>
                <a:gd name="T9" fmla="*/ 1 h 18"/>
                <a:gd name="T10" fmla="*/ 6 w 26"/>
                <a:gd name="T11" fmla="*/ 1 h 18"/>
                <a:gd name="T12" fmla="*/ 5 w 26"/>
                <a:gd name="T13" fmla="*/ 1 h 18"/>
                <a:gd name="T14" fmla="*/ 4 w 26"/>
                <a:gd name="T15" fmla="*/ 1 h 18"/>
                <a:gd name="T16" fmla="*/ 4 w 26"/>
                <a:gd name="T17" fmla="*/ 2 h 18"/>
                <a:gd name="T18" fmla="*/ 4 w 26"/>
                <a:gd name="T19" fmla="*/ 2 h 18"/>
                <a:gd name="T20" fmla="*/ 3 w 26"/>
                <a:gd name="T21" fmla="*/ 2 h 18"/>
                <a:gd name="T22" fmla="*/ 2 w 26"/>
                <a:gd name="T23" fmla="*/ 3 h 18"/>
                <a:gd name="T24" fmla="*/ 1 w 26"/>
                <a:gd name="T25" fmla="*/ 4 h 18"/>
                <a:gd name="T26" fmla="*/ 1 w 26"/>
                <a:gd name="T27" fmla="*/ 4 h 18"/>
                <a:gd name="T28" fmla="*/ 0 w 26"/>
                <a:gd name="T29" fmla="*/ 6 h 18"/>
                <a:gd name="T30" fmla="*/ 0 w 26"/>
                <a:gd name="T31" fmla="*/ 6 h 18"/>
                <a:gd name="T32" fmla="*/ 3 w 26"/>
                <a:gd name="T33" fmla="*/ 7 h 18"/>
                <a:gd name="T34" fmla="*/ 5 w 26"/>
                <a:gd name="T35" fmla="*/ 8 h 18"/>
                <a:gd name="T36" fmla="*/ 6 w 26"/>
                <a:gd name="T37" fmla="*/ 8 h 18"/>
                <a:gd name="T38" fmla="*/ 8 w 26"/>
                <a:gd name="T39" fmla="*/ 10 h 18"/>
                <a:gd name="T40" fmla="*/ 8 w 26"/>
                <a:gd name="T41" fmla="*/ 10 h 18"/>
                <a:gd name="T42" fmla="*/ 9 w 26"/>
                <a:gd name="T43" fmla="*/ 10 h 18"/>
                <a:gd name="T44" fmla="*/ 9 w 26"/>
                <a:gd name="T45" fmla="*/ 11 h 18"/>
                <a:gd name="T46" fmla="*/ 9 w 26"/>
                <a:gd name="T47" fmla="*/ 11 h 18"/>
                <a:gd name="T48" fmla="*/ 9 w 26"/>
                <a:gd name="T49" fmla="*/ 11 h 18"/>
                <a:gd name="T50" fmla="*/ 10 w 26"/>
                <a:gd name="T51" fmla="*/ 12 h 18"/>
                <a:gd name="T52" fmla="*/ 11 w 26"/>
                <a:gd name="T53" fmla="*/ 13 h 18"/>
                <a:gd name="T54" fmla="*/ 15 w 26"/>
                <a:gd name="T55" fmla="*/ 16 h 18"/>
                <a:gd name="T56" fmla="*/ 16 w 26"/>
                <a:gd name="T57" fmla="*/ 18 h 18"/>
                <a:gd name="T58" fmla="*/ 17 w 26"/>
                <a:gd name="T59" fmla="*/ 17 h 18"/>
                <a:gd name="T60" fmla="*/ 17 w 26"/>
                <a:gd name="T61" fmla="*/ 17 h 18"/>
                <a:gd name="T62" fmla="*/ 20 w 26"/>
                <a:gd name="T63" fmla="*/ 16 h 18"/>
                <a:gd name="T64" fmla="*/ 20 w 26"/>
                <a:gd name="T65" fmla="*/ 16 h 18"/>
                <a:gd name="T66" fmla="*/ 20 w 26"/>
                <a:gd name="T67" fmla="*/ 16 h 18"/>
                <a:gd name="T68" fmla="*/ 25 w 26"/>
                <a:gd name="T69" fmla="*/ 9 h 18"/>
                <a:gd name="T70" fmla="*/ 25 w 26"/>
                <a:gd name="T71" fmla="*/ 6 h 18"/>
                <a:gd name="T72" fmla="*/ 26 w 26"/>
                <a:gd name="T73" fmla="*/ 5 h 18"/>
                <a:gd name="T74" fmla="*/ 25 w 26"/>
                <a:gd name="T75" fmla="*/ 5 h 18"/>
                <a:gd name="T76" fmla="*/ 25 w 26"/>
                <a:gd name="T77" fmla="*/ 4 h 18"/>
                <a:gd name="T78" fmla="*/ 24 w 26"/>
                <a:gd name="T79" fmla="*/ 3 h 18"/>
                <a:gd name="T80" fmla="*/ 23 w 26"/>
                <a:gd name="T81" fmla="*/ 3 h 18"/>
                <a:gd name="T82" fmla="*/ 21 w 26"/>
                <a:gd name="T83" fmla="*/ 2 h 18"/>
                <a:gd name="T84" fmla="*/ 19 w 26"/>
                <a:gd name="T85"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 h="18">
                  <a:moveTo>
                    <a:pt x="19" y="1"/>
                  </a:moveTo>
                  <a:cubicBezTo>
                    <a:pt x="18" y="0"/>
                    <a:pt x="17" y="0"/>
                    <a:pt x="16" y="0"/>
                  </a:cubicBezTo>
                  <a:cubicBezTo>
                    <a:pt x="16" y="0"/>
                    <a:pt x="16" y="0"/>
                    <a:pt x="15" y="0"/>
                  </a:cubicBezTo>
                  <a:cubicBezTo>
                    <a:pt x="14" y="1"/>
                    <a:pt x="12" y="1"/>
                    <a:pt x="11" y="1"/>
                  </a:cubicBezTo>
                  <a:cubicBezTo>
                    <a:pt x="10" y="1"/>
                    <a:pt x="8" y="1"/>
                    <a:pt x="7" y="1"/>
                  </a:cubicBezTo>
                  <a:cubicBezTo>
                    <a:pt x="7" y="1"/>
                    <a:pt x="7" y="1"/>
                    <a:pt x="6" y="1"/>
                  </a:cubicBezTo>
                  <a:cubicBezTo>
                    <a:pt x="6" y="1"/>
                    <a:pt x="6" y="1"/>
                    <a:pt x="5" y="1"/>
                  </a:cubicBezTo>
                  <a:cubicBezTo>
                    <a:pt x="5" y="1"/>
                    <a:pt x="5" y="1"/>
                    <a:pt x="4" y="1"/>
                  </a:cubicBezTo>
                  <a:cubicBezTo>
                    <a:pt x="4" y="1"/>
                    <a:pt x="4" y="1"/>
                    <a:pt x="4" y="2"/>
                  </a:cubicBezTo>
                  <a:cubicBezTo>
                    <a:pt x="4" y="2"/>
                    <a:pt x="4" y="2"/>
                    <a:pt x="4" y="2"/>
                  </a:cubicBezTo>
                  <a:cubicBezTo>
                    <a:pt x="4" y="2"/>
                    <a:pt x="3" y="2"/>
                    <a:pt x="3" y="2"/>
                  </a:cubicBezTo>
                  <a:cubicBezTo>
                    <a:pt x="3" y="2"/>
                    <a:pt x="2" y="3"/>
                    <a:pt x="2" y="3"/>
                  </a:cubicBezTo>
                  <a:cubicBezTo>
                    <a:pt x="2" y="4"/>
                    <a:pt x="1" y="4"/>
                    <a:pt x="1" y="4"/>
                  </a:cubicBezTo>
                  <a:cubicBezTo>
                    <a:pt x="1" y="4"/>
                    <a:pt x="1" y="4"/>
                    <a:pt x="1" y="4"/>
                  </a:cubicBezTo>
                  <a:cubicBezTo>
                    <a:pt x="0" y="5"/>
                    <a:pt x="0" y="6"/>
                    <a:pt x="0" y="6"/>
                  </a:cubicBezTo>
                  <a:cubicBezTo>
                    <a:pt x="0" y="6"/>
                    <a:pt x="0" y="6"/>
                    <a:pt x="0" y="6"/>
                  </a:cubicBezTo>
                  <a:cubicBezTo>
                    <a:pt x="1" y="7"/>
                    <a:pt x="2" y="6"/>
                    <a:pt x="3" y="7"/>
                  </a:cubicBezTo>
                  <a:cubicBezTo>
                    <a:pt x="4" y="7"/>
                    <a:pt x="5" y="7"/>
                    <a:pt x="5" y="8"/>
                  </a:cubicBezTo>
                  <a:cubicBezTo>
                    <a:pt x="6" y="8"/>
                    <a:pt x="6" y="8"/>
                    <a:pt x="6" y="8"/>
                  </a:cubicBezTo>
                  <a:cubicBezTo>
                    <a:pt x="7" y="9"/>
                    <a:pt x="8" y="9"/>
                    <a:pt x="8" y="10"/>
                  </a:cubicBezTo>
                  <a:cubicBezTo>
                    <a:pt x="8" y="10"/>
                    <a:pt x="8" y="10"/>
                    <a:pt x="8" y="10"/>
                  </a:cubicBezTo>
                  <a:cubicBezTo>
                    <a:pt x="8" y="10"/>
                    <a:pt x="9" y="10"/>
                    <a:pt x="9" y="10"/>
                  </a:cubicBezTo>
                  <a:cubicBezTo>
                    <a:pt x="9" y="10"/>
                    <a:pt x="9" y="11"/>
                    <a:pt x="9" y="11"/>
                  </a:cubicBezTo>
                  <a:cubicBezTo>
                    <a:pt x="9" y="11"/>
                    <a:pt x="9" y="11"/>
                    <a:pt x="9" y="11"/>
                  </a:cubicBezTo>
                  <a:cubicBezTo>
                    <a:pt x="9" y="11"/>
                    <a:pt x="9" y="11"/>
                    <a:pt x="9" y="11"/>
                  </a:cubicBezTo>
                  <a:cubicBezTo>
                    <a:pt x="9" y="12"/>
                    <a:pt x="10" y="12"/>
                    <a:pt x="10" y="12"/>
                  </a:cubicBezTo>
                  <a:cubicBezTo>
                    <a:pt x="10" y="12"/>
                    <a:pt x="11" y="13"/>
                    <a:pt x="11" y="13"/>
                  </a:cubicBezTo>
                  <a:cubicBezTo>
                    <a:pt x="12" y="14"/>
                    <a:pt x="14" y="15"/>
                    <a:pt x="15" y="16"/>
                  </a:cubicBezTo>
                  <a:cubicBezTo>
                    <a:pt x="15" y="16"/>
                    <a:pt x="16" y="17"/>
                    <a:pt x="16" y="18"/>
                  </a:cubicBezTo>
                  <a:cubicBezTo>
                    <a:pt x="16" y="17"/>
                    <a:pt x="17" y="17"/>
                    <a:pt x="17" y="17"/>
                  </a:cubicBezTo>
                  <a:cubicBezTo>
                    <a:pt x="17" y="17"/>
                    <a:pt x="17" y="17"/>
                    <a:pt x="17" y="17"/>
                  </a:cubicBezTo>
                  <a:cubicBezTo>
                    <a:pt x="18" y="17"/>
                    <a:pt x="19" y="16"/>
                    <a:pt x="20" y="16"/>
                  </a:cubicBezTo>
                  <a:cubicBezTo>
                    <a:pt x="20" y="16"/>
                    <a:pt x="20" y="16"/>
                    <a:pt x="20" y="16"/>
                  </a:cubicBezTo>
                  <a:cubicBezTo>
                    <a:pt x="20" y="16"/>
                    <a:pt x="20" y="16"/>
                    <a:pt x="20" y="16"/>
                  </a:cubicBezTo>
                  <a:cubicBezTo>
                    <a:pt x="21" y="14"/>
                    <a:pt x="24" y="11"/>
                    <a:pt x="25" y="9"/>
                  </a:cubicBezTo>
                  <a:cubicBezTo>
                    <a:pt x="25" y="8"/>
                    <a:pt x="25" y="7"/>
                    <a:pt x="25" y="6"/>
                  </a:cubicBezTo>
                  <a:cubicBezTo>
                    <a:pt x="25" y="6"/>
                    <a:pt x="26" y="5"/>
                    <a:pt x="26" y="5"/>
                  </a:cubicBezTo>
                  <a:cubicBezTo>
                    <a:pt x="26" y="5"/>
                    <a:pt x="26" y="5"/>
                    <a:pt x="25" y="5"/>
                  </a:cubicBezTo>
                  <a:cubicBezTo>
                    <a:pt x="25" y="5"/>
                    <a:pt x="25" y="5"/>
                    <a:pt x="25" y="4"/>
                  </a:cubicBezTo>
                  <a:cubicBezTo>
                    <a:pt x="25" y="4"/>
                    <a:pt x="25" y="4"/>
                    <a:pt x="24" y="3"/>
                  </a:cubicBezTo>
                  <a:cubicBezTo>
                    <a:pt x="24" y="3"/>
                    <a:pt x="24" y="3"/>
                    <a:pt x="23" y="3"/>
                  </a:cubicBezTo>
                  <a:cubicBezTo>
                    <a:pt x="23" y="3"/>
                    <a:pt x="22" y="2"/>
                    <a:pt x="21" y="2"/>
                  </a:cubicBezTo>
                  <a:cubicBezTo>
                    <a:pt x="21" y="1"/>
                    <a:pt x="20" y="1"/>
                    <a:pt x="19"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48" name="Freeform 2000">
              <a:extLst>
                <a:ext uri="{FF2B5EF4-FFF2-40B4-BE49-F238E27FC236}">
                  <a16:creationId xmlns:a16="http://schemas.microsoft.com/office/drawing/2014/main" id="{CD5246B0-79D6-4AF9-B891-B4578BA0EE6B}"/>
                </a:ext>
              </a:extLst>
            </p:cNvPr>
            <p:cNvSpPr>
              <a:spLocks/>
            </p:cNvSpPr>
            <p:nvPr/>
          </p:nvSpPr>
          <p:spPr bwMode="auto">
            <a:xfrm>
              <a:off x="1599" y="720"/>
              <a:ext cx="35" cy="14"/>
            </a:xfrm>
            <a:custGeom>
              <a:avLst/>
              <a:gdLst>
                <a:gd name="T0" fmla="*/ 0 w 15"/>
                <a:gd name="T1" fmla="*/ 3 h 6"/>
                <a:gd name="T2" fmla="*/ 3 w 15"/>
                <a:gd name="T3" fmla="*/ 4 h 6"/>
                <a:gd name="T4" fmla="*/ 4 w 15"/>
                <a:gd name="T5" fmla="*/ 5 h 6"/>
                <a:gd name="T6" fmla="*/ 5 w 15"/>
                <a:gd name="T7" fmla="*/ 4 h 6"/>
                <a:gd name="T8" fmla="*/ 5 w 15"/>
                <a:gd name="T9" fmla="*/ 5 h 6"/>
                <a:gd name="T10" fmla="*/ 8 w 15"/>
                <a:gd name="T11" fmla="*/ 6 h 6"/>
                <a:gd name="T12" fmla="*/ 7 w 15"/>
                <a:gd name="T13" fmla="*/ 3 h 6"/>
                <a:gd name="T14" fmla="*/ 8 w 15"/>
                <a:gd name="T15" fmla="*/ 4 h 6"/>
                <a:gd name="T16" fmla="*/ 15 w 15"/>
                <a:gd name="T17" fmla="*/ 2 h 6"/>
                <a:gd name="T18" fmla="*/ 12 w 15"/>
                <a:gd name="T19" fmla="*/ 1 h 6"/>
                <a:gd name="T20" fmla="*/ 10 w 15"/>
                <a:gd name="T21" fmla="*/ 1 h 6"/>
                <a:gd name="T22" fmla="*/ 8 w 15"/>
                <a:gd name="T23" fmla="*/ 2 h 6"/>
                <a:gd name="T24" fmla="*/ 5 w 15"/>
                <a:gd name="T25" fmla="*/ 1 h 6"/>
                <a:gd name="T26" fmla="*/ 4 w 15"/>
                <a:gd name="T27" fmla="*/ 2 h 6"/>
                <a:gd name="T28" fmla="*/ 0 w 15"/>
                <a:gd name="T2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6">
                  <a:moveTo>
                    <a:pt x="0" y="3"/>
                  </a:moveTo>
                  <a:cubicBezTo>
                    <a:pt x="1" y="3"/>
                    <a:pt x="2" y="3"/>
                    <a:pt x="3" y="4"/>
                  </a:cubicBezTo>
                  <a:cubicBezTo>
                    <a:pt x="4" y="4"/>
                    <a:pt x="5" y="5"/>
                    <a:pt x="4" y="5"/>
                  </a:cubicBezTo>
                  <a:cubicBezTo>
                    <a:pt x="5" y="5"/>
                    <a:pt x="5" y="4"/>
                    <a:pt x="5" y="4"/>
                  </a:cubicBezTo>
                  <a:cubicBezTo>
                    <a:pt x="6" y="4"/>
                    <a:pt x="5" y="5"/>
                    <a:pt x="5" y="5"/>
                  </a:cubicBezTo>
                  <a:cubicBezTo>
                    <a:pt x="6" y="6"/>
                    <a:pt x="8" y="6"/>
                    <a:pt x="8" y="6"/>
                  </a:cubicBezTo>
                  <a:cubicBezTo>
                    <a:pt x="8" y="6"/>
                    <a:pt x="7" y="4"/>
                    <a:pt x="7" y="3"/>
                  </a:cubicBezTo>
                  <a:cubicBezTo>
                    <a:pt x="7" y="3"/>
                    <a:pt x="8" y="4"/>
                    <a:pt x="8" y="4"/>
                  </a:cubicBezTo>
                  <a:cubicBezTo>
                    <a:pt x="9" y="4"/>
                    <a:pt x="14" y="3"/>
                    <a:pt x="15" y="2"/>
                  </a:cubicBezTo>
                  <a:cubicBezTo>
                    <a:pt x="15" y="1"/>
                    <a:pt x="13" y="1"/>
                    <a:pt x="12" y="1"/>
                  </a:cubicBezTo>
                  <a:cubicBezTo>
                    <a:pt x="11" y="0"/>
                    <a:pt x="11" y="1"/>
                    <a:pt x="10" y="1"/>
                  </a:cubicBezTo>
                  <a:cubicBezTo>
                    <a:pt x="10" y="1"/>
                    <a:pt x="9" y="2"/>
                    <a:pt x="8" y="2"/>
                  </a:cubicBezTo>
                  <a:cubicBezTo>
                    <a:pt x="7" y="2"/>
                    <a:pt x="6" y="1"/>
                    <a:pt x="5" y="1"/>
                  </a:cubicBezTo>
                  <a:cubicBezTo>
                    <a:pt x="3" y="0"/>
                    <a:pt x="2" y="1"/>
                    <a:pt x="4" y="2"/>
                  </a:cubicBezTo>
                  <a:cubicBezTo>
                    <a:pt x="2" y="2"/>
                    <a:pt x="1" y="2"/>
                    <a:pt x="0"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49" name="Freeform 2001">
              <a:extLst>
                <a:ext uri="{FF2B5EF4-FFF2-40B4-BE49-F238E27FC236}">
                  <a16:creationId xmlns:a16="http://schemas.microsoft.com/office/drawing/2014/main" id="{9DD1D16E-C0DE-4744-A248-C065E3435802}"/>
                </a:ext>
              </a:extLst>
            </p:cNvPr>
            <p:cNvSpPr>
              <a:spLocks/>
            </p:cNvSpPr>
            <p:nvPr/>
          </p:nvSpPr>
          <p:spPr bwMode="auto">
            <a:xfrm>
              <a:off x="1015" y="465"/>
              <a:ext cx="35" cy="19"/>
            </a:xfrm>
            <a:custGeom>
              <a:avLst/>
              <a:gdLst>
                <a:gd name="T0" fmla="*/ 1 w 15"/>
                <a:gd name="T1" fmla="*/ 6 h 8"/>
                <a:gd name="T2" fmla="*/ 4 w 15"/>
                <a:gd name="T3" fmla="*/ 8 h 8"/>
                <a:gd name="T4" fmla="*/ 10 w 15"/>
                <a:gd name="T5" fmla="*/ 8 h 8"/>
                <a:gd name="T6" fmla="*/ 13 w 15"/>
                <a:gd name="T7" fmla="*/ 4 h 8"/>
                <a:gd name="T8" fmla="*/ 11 w 15"/>
                <a:gd name="T9" fmla="*/ 1 h 8"/>
                <a:gd name="T10" fmla="*/ 8 w 15"/>
                <a:gd name="T11" fmla="*/ 0 h 8"/>
                <a:gd name="T12" fmla="*/ 3 w 15"/>
                <a:gd name="T13" fmla="*/ 2 h 8"/>
                <a:gd name="T14" fmla="*/ 1 w 15"/>
                <a:gd name="T15" fmla="*/ 5 h 8"/>
                <a:gd name="T16" fmla="*/ 1 w 15"/>
                <a:gd name="T17"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8">
                  <a:moveTo>
                    <a:pt x="1" y="6"/>
                  </a:moveTo>
                  <a:cubicBezTo>
                    <a:pt x="2" y="7"/>
                    <a:pt x="3" y="7"/>
                    <a:pt x="4" y="8"/>
                  </a:cubicBezTo>
                  <a:cubicBezTo>
                    <a:pt x="6" y="8"/>
                    <a:pt x="8" y="8"/>
                    <a:pt x="10" y="8"/>
                  </a:cubicBezTo>
                  <a:cubicBezTo>
                    <a:pt x="11" y="7"/>
                    <a:pt x="15" y="5"/>
                    <a:pt x="13" y="4"/>
                  </a:cubicBezTo>
                  <a:cubicBezTo>
                    <a:pt x="12" y="3"/>
                    <a:pt x="12" y="2"/>
                    <a:pt x="11" y="1"/>
                  </a:cubicBezTo>
                  <a:cubicBezTo>
                    <a:pt x="11" y="0"/>
                    <a:pt x="9" y="0"/>
                    <a:pt x="8" y="0"/>
                  </a:cubicBezTo>
                  <a:cubicBezTo>
                    <a:pt x="6" y="0"/>
                    <a:pt x="4" y="0"/>
                    <a:pt x="3" y="2"/>
                  </a:cubicBezTo>
                  <a:cubicBezTo>
                    <a:pt x="2" y="3"/>
                    <a:pt x="1" y="4"/>
                    <a:pt x="1" y="5"/>
                  </a:cubicBezTo>
                  <a:cubicBezTo>
                    <a:pt x="0" y="6"/>
                    <a:pt x="0" y="6"/>
                    <a:pt x="1" y="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50" name="Freeform 2002">
              <a:extLst>
                <a:ext uri="{FF2B5EF4-FFF2-40B4-BE49-F238E27FC236}">
                  <a16:creationId xmlns:a16="http://schemas.microsoft.com/office/drawing/2014/main" id="{742DD568-F0DB-4838-86C9-3474194B844D}"/>
                </a:ext>
              </a:extLst>
            </p:cNvPr>
            <p:cNvSpPr>
              <a:spLocks/>
            </p:cNvSpPr>
            <p:nvPr/>
          </p:nvSpPr>
          <p:spPr bwMode="auto">
            <a:xfrm>
              <a:off x="1681" y="737"/>
              <a:ext cx="17" cy="14"/>
            </a:xfrm>
            <a:custGeom>
              <a:avLst/>
              <a:gdLst>
                <a:gd name="T0" fmla="*/ 2 w 7"/>
                <a:gd name="T1" fmla="*/ 0 h 6"/>
                <a:gd name="T2" fmla="*/ 0 w 7"/>
                <a:gd name="T3" fmla="*/ 1 h 6"/>
                <a:gd name="T4" fmla="*/ 0 w 7"/>
                <a:gd name="T5" fmla="*/ 3 h 6"/>
                <a:gd name="T6" fmla="*/ 3 w 7"/>
                <a:gd name="T7" fmla="*/ 6 h 6"/>
                <a:gd name="T8" fmla="*/ 4 w 7"/>
                <a:gd name="T9" fmla="*/ 6 h 6"/>
                <a:gd name="T10" fmla="*/ 5 w 7"/>
                <a:gd name="T11" fmla="*/ 3 h 6"/>
                <a:gd name="T12" fmla="*/ 7 w 7"/>
                <a:gd name="T13" fmla="*/ 2 h 6"/>
                <a:gd name="T14" fmla="*/ 2 w 7"/>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2" y="0"/>
                  </a:moveTo>
                  <a:cubicBezTo>
                    <a:pt x="2" y="0"/>
                    <a:pt x="0" y="0"/>
                    <a:pt x="0" y="1"/>
                  </a:cubicBezTo>
                  <a:cubicBezTo>
                    <a:pt x="0" y="1"/>
                    <a:pt x="0" y="3"/>
                    <a:pt x="0" y="3"/>
                  </a:cubicBezTo>
                  <a:cubicBezTo>
                    <a:pt x="0" y="5"/>
                    <a:pt x="1" y="6"/>
                    <a:pt x="3" y="6"/>
                  </a:cubicBezTo>
                  <a:cubicBezTo>
                    <a:pt x="3" y="5"/>
                    <a:pt x="4" y="6"/>
                    <a:pt x="4" y="6"/>
                  </a:cubicBezTo>
                  <a:cubicBezTo>
                    <a:pt x="5" y="6"/>
                    <a:pt x="5" y="4"/>
                    <a:pt x="5" y="3"/>
                  </a:cubicBezTo>
                  <a:cubicBezTo>
                    <a:pt x="5" y="3"/>
                    <a:pt x="7" y="3"/>
                    <a:pt x="7" y="2"/>
                  </a:cubicBezTo>
                  <a:cubicBezTo>
                    <a:pt x="7" y="1"/>
                    <a:pt x="3" y="0"/>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51" name="Freeform 2003">
              <a:extLst>
                <a:ext uri="{FF2B5EF4-FFF2-40B4-BE49-F238E27FC236}">
                  <a16:creationId xmlns:a16="http://schemas.microsoft.com/office/drawing/2014/main" id="{25BC9FF8-6A13-49A6-8973-FAD7B79D7100}"/>
                </a:ext>
              </a:extLst>
            </p:cNvPr>
            <p:cNvSpPr>
              <a:spLocks/>
            </p:cNvSpPr>
            <p:nvPr/>
          </p:nvSpPr>
          <p:spPr bwMode="auto">
            <a:xfrm>
              <a:off x="1523" y="997"/>
              <a:ext cx="50" cy="31"/>
            </a:xfrm>
            <a:custGeom>
              <a:avLst/>
              <a:gdLst>
                <a:gd name="T0" fmla="*/ 20 w 21"/>
                <a:gd name="T1" fmla="*/ 2 h 13"/>
                <a:gd name="T2" fmla="*/ 19 w 21"/>
                <a:gd name="T3" fmla="*/ 0 h 13"/>
                <a:gd name="T4" fmla="*/ 17 w 21"/>
                <a:gd name="T5" fmla="*/ 0 h 13"/>
                <a:gd name="T6" fmla="*/ 15 w 21"/>
                <a:gd name="T7" fmla="*/ 1 h 13"/>
                <a:gd name="T8" fmla="*/ 12 w 21"/>
                <a:gd name="T9" fmla="*/ 1 h 13"/>
                <a:gd name="T10" fmla="*/ 10 w 21"/>
                <a:gd name="T11" fmla="*/ 2 h 13"/>
                <a:gd name="T12" fmla="*/ 8 w 21"/>
                <a:gd name="T13" fmla="*/ 2 h 13"/>
                <a:gd name="T14" fmla="*/ 6 w 21"/>
                <a:gd name="T15" fmla="*/ 1 h 13"/>
                <a:gd name="T16" fmla="*/ 4 w 21"/>
                <a:gd name="T17" fmla="*/ 2 h 13"/>
                <a:gd name="T18" fmla="*/ 3 w 21"/>
                <a:gd name="T19" fmla="*/ 4 h 13"/>
                <a:gd name="T20" fmla="*/ 0 w 21"/>
                <a:gd name="T21" fmla="*/ 8 h 13"/>
                <a:gd name="T22" fmla="*/ 2 w 21"/>
                <a:gd name="T23" fmla="*/ 12 h 13"/>
                <a:gd name="T24" fmla="*/ 3 w 21"/>
                <a:gd name="T25" fmla="*/ 13 h 13"/>
                <a:gd name="T26" fmla="*/ 4 w 21"/>
                <a:gd name="T27" fmla="*/ 12 h 13"/>
                <a:gd name="T28" fmla="*/ 7 w 21"/>
                <a:gd name="T29" fmla="*/ 12 h 13"/>
                <a:gd name="T30" fmla="*/ 12 w 21"/>
                <a:gd name="T31" fmla="*/ 10 h 13"/>
                <a:gd name="T32" fmla="*/ 15 w 21"/>
                <a:gd name="T33" fmla="*/ 7 h 13"/>
                <a:gd name="T34" fmla="*/ 20 w 21"/>
                <a:gd name="T35" fmla="*/ 4 h 13"/>
                <a:gd name="T36" fmla="*/ 20 w 21"/>
                <a:gd name="T37"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 h="13">
                  <a:moveTo>
                    <a:pt x="20" y="2"/>
                  </a:moveTo>
                  <a:cubicBezTo>
                    <a:pt x="21" y="0"/>
                    <a:pt x="20" y="0"/>
                    <a:pt x="19" y="0"/>
                  </a:cubicBezTo>
                  <a:cubicBezTo>
                    <a:pt x="18" y="0"/>
                    <a:pt x="17" y="0"/>
                    <a:pt x="17" y="0"/>
                  </a:cubicBezTo>
                  <a:cubicBezTo>
                    <a:pt x="16" y="0"/>
                    <a:pt x="16" y="1"/>
                    <a:pt x="15" y="1"/>
                  </a:cubicBezTo>
                  <a:cubicBezTo>
                    <a:pt x="14" y="1"/>
                    <a:pt x="13" y="0"/>
                    <a:pt x="12" y="1"/>
                  </a:cubicBezTo>
                  <a:cubicBezTo>
                    <a:pt x="11" y="1"/>
                    <a:pt x="11" y="1"/>
                    <a:pt x="10" y="2"/>
                  </a:cubicBezTo>
                  <a:cubicBezTo>
                    <a:pt x="9" y="2"/>
                    <a:pt x="9" y="2"/>
                    <a:pt x="8" y="2"/>
                  </a:cubicBezTo>
                  <a:cubicBezTo>
                    <a:pt x="7" y="1"/>
                    <a:pt x="7" y="1"/>
                    <a:pt x="6" y="1"/>
                  </a:cubicBezTo>
                  <a:cubicBezTo>
                    <a:pt x="5" y="1"/>
                    <a:pt x="4" y="2"/>
                    <a:pt x="4" y="2"/>
                  </a:cubicBezTo>
                  <a:cubicBezTo>
                    <a:pt x="3" y="3"/>
                    <a:pt x="4" y="4"/>
                    <a:pt x="3" y="4"/>
                  </a:cubicBezTo>
                  <a:cubicBezTo>
                    <a:pt x="3" y="6"/>
                    <a:pt x="1" y="7"/>
                    <a:pt x="0" y="8"/>
                  </a:cubicBezTo>
                  <a:cubicBezTo>
                    <a:pt x="0" y="9"/>
                    <a:pt x="1" y="11"/>
                    <a:pt x="2" y="12"/>
                  </a:cubicBezTo>
                  <a:cubicBezTo>
                    <a:pt x="2" y="13"/>
                    <a:pt x="2" y="13"/>
                    <a:pt x="3" y="13"/>
                  </a:cubicBezTo>
                  <a:cubicBezTo>
                    <a:pt x="3" y="13"/>
                    <a:pt x="4" y="12"/>
                    <a:pt x="4" y="12"/>
                  </a:cubicBezTo>
                  <a:cubicBezTo>
                    <a:pt x="5" y="12"/>
                    <a:pt x="6" y="12"/>
                    <a:pt x="7" y="12"/>
                  </a:cubicBezTo>
                  <a:cubicBezTo>
                    <a:pt x="9" y="13"/>
                    <a:pt x="11" y="11"/>
                    <a:pt x="12" y="10"/>
                  </a:cubicBezTo>
                  <a:cubicBezTo>
                    <a:pt x="13" y="9"/>
                    <a:pt x="14" y="8"/>
                    <a:pt x="15" y="7"/>
                  </a:cubicBezTo>
                  <a:cubicBezTo>
                    <a:pt x="16" y="6"/>
                    <a:pt x="19" y="6"/>
                    <a:pt x="20" y="4"/>
                  </a:cubicBezTo>
                  <a:cubicBezTo>
                    <a:pt x="20" y="4"/>
                    <a:pt x="20" y="3"/>
                    <a:pt x="2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52" name="Freeform 2004">
              <a:extLst>
                <a:ext uri="{FF2B5EF4-FFF2-40B4-BE49-F238E27FC236}">
                  <a16:creationId xmlns:a16="http://schemas.microsoft.com/office/drawing/2014/main" id="{6B6D151D-44F2-4ADB-81B7-BCB69664A374}"/>
                </a:ext>
              </a:extLst>
            </p:cNvPr>
            <p:cNvSpPr>
              <a:spLocks/>
            </p:cNvSpPr>
            <p:nvPr/>
          </p:nvSpPr>
          <p:spPr bwMode="auto">
            <a:xfrm>
              <a:off x="1610" y="1018"/>
              <a:ext cx="26" cy="31"/>
            </a:xfrm>
            <a:custGeom>
              <a:avLst/>
              <a:gdLst>
                <a:gd name="T0" fmla="*/ 5 w 11"/>
                <a:gd name="T1" fmla="*/ 13 h 13"/>
                <a:gd name="T2" fmla="*/ 7 w 11"/>
                <a:gd name="T3" fmla="*/ 10 h 13"/>
                <a:gd name="T4" fmla="*/ 8 w 11"/>
                <a:gd name="T5" fmla="*/ 9 h 13"/>
                <a:gd name="T6" fmla="*/ 8 w 11"/>
                <a:gd name="T7" fmla="*/ 8 h 13"/>
                <a:gd name="T8" fmla="*/ 9 w 11"/>
                <a:gd name="T9" fmla="*/ 6 h 13"/>
                <a:gd name="T10" fmla="*/ 10 w 11"/>
                <a:gd name="T11" fmla="*/ 6 h 13"/>
                <a:gd name="T12" fmla="*/ 10 w 11"/>
                <a:gd name="T13" fmla="*/ 3 h 13"/>
                <a:gd name="T14" fmla="*/ 10 w 11"/>
                <a:gd name="T15" fmla="*/ 2 h 13"/>
                <a:gd name="T16" fmla="*/ 9 w 11"/>
                <a:gd name="T17" fmla="*/ 1 h 13"/>
                <a:gd name="T18" fmla="*/ 7 w 11"/>
                <a:gd name="T19" fmla="*/ 0 h 13"/>
                <a:gd name="T20" fmla="*/ 6 w 11"/>
                <a:gd name="T21" fmla="*/ 1 h 13"/>
                <a:gd name="T22" fmla="*/ 5 w 11"/>
                <a:gd name="T23" fmla="*/ 0 h 13"/>
                <a:gd name="T24" fmla="*/ 3 w 11"/>
                <a:gd name="T25" fmla="*/ 1 h 13"/>
                <a:gd name="T26" fmla="*/ 1 w 11"/>
                <a:gd name="T27" fmla="*/ 3 h 13"/>
                <a:gd name="T28" fmla="*/ 0 w 11"/>
                <a:gd name="T29" fmla="*/ 5 h 13"/>
                <a:gd name="T30" fmla="*/ 0 w 11"/>
                <a:gd name="T31" fmla="*/ 9 h 13"/>
                <a:gd name="T32" fmla="*/ 5 w 11"/>
                <a:gd name="T33"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3">
                  <a:moveTo>
                    <a:pt x="5" y="13"/>
                  </a:moveTo>
                  <a:cubicBezTo>
                    <a:pt x="6" y="12"/>
                    <a:pt x="6" y="12"/>
                    <a:pt x="7" y="10"/>
                  </a:cubicBezTo>
                  <a:cubicBezTo>
                    <a:pt x="7" y="10"/>
                    <a:pt x="7" y="9"/>
                    <a:pt x="8" y="9"/>
                  </a:cubicBezTo>
                  <a:cubicBezTo>
                    <a:pt x="8" y="9"/>
                    <a:pt x="8" y="8"/>
                    <a:pt x="8" y="8"/>
                  </a:cubicBezTo>
                  <a:cubicBezTo>
                    <a:pt x="9" y="7"/>
                    <a:pt x="9" y="7"/>
                    <a:pt x="9" y="6"/>
                  </a:cubicBezTo>
                  <a:cubicBezTo>
                    <a:pt x="9" y="6"/>
                    <a:pt x="9" y="7"/>
                    <a:pt x="10" y="6"/>
                  </a:cubicBezTo>
                  <a:cubicBezTo>
                    <a:pt x="10" y="6"/>
                    <a:pt x="10" y="4"/>
                    <a:pt x="10" y="3"/>
                  </a:cubicBezTo>
                  <a:cubicBezTo>
                    <a:pt x="10" y="3"/>
                    <a:pt x="11" y="3"/>
                    <a:pt x="10" y="2"/>
                  </a:cubicBezTo>
                  <a:cubicBezTo>
                    <a:pt x="9" y="2"/>
                    <a:pt x="9" y="1"/>
                    <a:pt x="9" y="1"/>
                  </a:cubicBezTo>
                  <a:cubicBezTo>
                    <a:pt x="8" y="0"/>
                    <a:pt x="8" y="0"/>
                    <a:pt x="7" y="0"/>
                  </a:cubicBezTo>
                  <a:cubicBezTo>
                    <a:pt x="6" y="0"/>
                    <a:pt x="6" y="1"/>
                    <a:pt x="6" y="1"/>
                  </a:cubicBezTo>
                  <a:cubicBezTo>
                    <a:pt x="6" y="1"/>
                    <a:pt x="5" y="0"/>
                    <a:pt x="5" y="0"/>
                  </a:cubicBezTo>
                  <a:cubicBezTo>
                    <a:pt x="4" y="0"/>
                    <a:pt x="3" y="0"/>
                    <a:pt x="3" y="1"/>
                  </a:cubicBezTo>
                  <a:cubicBezTo>
                    <a:pt x="2" y="1"/>
                    <a:pt x="2" y="2"/>
                    <a:pt x="1" y="3"/>
                  </a:cubicBezTo>
                  <a:cubicBezTo>
                    <a:pt x="1" y="4"/>
                    <a:pt x="0" y="4"/>
                    <a:pt x="0" y="5"/>
                  </a:cubicBezTo>
                  <a:cubicBezTo>
                    <a:pt x="0" y="6"/>
                    <a:pt x="0" y="8"/>
                    <a:pt x="0" y="9"/>
                  </a:cubicBezTo>
                  <a:cubicBezTo>
                    <a:pt x="0" y="11"/>
                    <a:pt x="3" y="12"/>
                    <a:pt x="5" y="1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53" name="Freeform 2005">
              <a:extLst>
                <a:ext uri="{FF2B5EF4-FFF2-40B4-BE49-F238E27FC236}">
                  <a16:creationId xmlns:a16="http://schemas.microsoft.com/office/drawing/2014/main" id="{01D3C06A-B411-43D1-8BE3-D7B274A321A5}"/>
                </a:ext>
              </a:extLst>
            </p:cNvPr>
            <p:cNvSpPr>
              <a:spLocks/>
            </p:cNvSpPr>
            <p:nvPr/>
          </p:nvSpPr>
          <p:spPr bwMode="auto">
            <a:xfrm>
              <a:off x="1967" y="1044"/>
              <a:ext cx="19" cy="15"/>
            </a:xfrm>
            <a:custGeom>
              <a:avLst/>
              <a:gdLst>
                <a:gd name="T0" fmla="*/ 5 w 8"/>
                <a:gd name="T1" fmla="*/ 5 h 6"/>
                <a:gd name="T2" fmla="*/ 7 w 8"/>
                <a:gd name="T3" fmla="*/ 5 h 6"/>
                <a:gd name="T4" fmla="*/ 7 w 8"/>
                <a:gd name="T5" fmla="*/ 5 h 6"/>
                <a:gd name="T6" fmla="*/ 8 w 8"/>
                <a:gd name="T7" fmla="*/ 4 h 6"/>
                <a:gd name="T8" fmla="*/ 8 w 8"/>
                <a:gd name="T9" fmla="*/ 2 h 6"/>
                <a:gd name="T10" fmla="*/ 0 w 8"/>
                <a:gd name="T11" fmla="*/ 2 h 6"/>
                <a:gd name="T12" fmla="*/ 5 w 8"/>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5" y="5"/>
                  </a:moveTo>
                  <a:cubicBezTo>
                    <a:pt x="6" y="6"/>
                    <a:pt x="6" y="6"/>
                    <a:pt x="7" y="5"/>
                  </a:cubicBezTo>
                  <a:cubicBezTo>
                    <a:pt x="7" y="5"/>
                    <a:pt x="7" y="5"/>
                    <a:pt x="7" y="5"/>
                  </a:cubicBezTo>
                  <a:cubicBezTo>
                    <a:pt x="7" y="4"/>
                    <a:pt x="8" y="5"/>
                    <a:pt x="8" y="4"/>
                  </a:cubicBezTo>
                  <a:cubicBezTo>
                    <a:pt x="8" y="4"/>
                    <a:pt x="8" y="3"/>
                    <a:pt x="8" y="2"/>
                  </a:cubicBezTo>
                  <a:cubicBezTo>
                    <a:pt x="6" y="1"/>
                    <a:pt x="3" y="0"/>
                    <a:pt x="0" y="2"/>
                  </a:cubicBezTo>
                  <a:cubicBezTo>
                    <a:pt x="2" y="3"/>
                    <a:pt x="3" y="4"/>
                    <a:pt x="5"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54" name="Freeform 2006">
              <a:extLst>
                <a:ext uri="{FF2B5EF4-FFF2-40B4-BE49-F238E27FC236}">
                  <a16:creationId xmlns:a16="http://schemas.microsoft.com/office/drawing/2014/main" id="{3CFEB90D-5ECB-41E8-A385-C57DA64B1FDF}"/>
                </a:ext>
              </a:extLst>
            </p:cNvPr>
            <p:cNvSpPr>
              <a:spLocks/>
            </p:cNvSpPr>
            <p:nvPr/>
          </p:nvSpPr>
          <p:spPr bwMode="auto">
            <a:xfrm>
              <a:off x="1052" y="436"/>
              <a:ext cx="34" cy="12"/>
            </a:xfrm>
            <a:custGeom>
              <a:avLst/>
              <a:gdLst>
                <a:gd name="T0" fmla="*/ 6 w 14"/>
                <a:gd name="T1" fmla="*/ 1 h 5"/>
                <a:gd name="T2" fmla="*/ 6 w 14"/>
                <a:gd name="T3" fmla="*/ 1 h 5"/>
                <a:gd name="T4" fmla="*/ 4 w 14"/>
                <a:gd name="T5" fmla="*/ 2 h 5"/>
                <a:gd name="T6" fmla="*/ 4 w 14"/>
                <a:gd name="T7" fmla="*/ 2 h 5"/>
                <a:gd name="T8" fmla="*/ 3 w 14"/>
                <a:gd name="T9" fmla="*/ 2 h 5"/>
                <a:gd name="T10" fmla="*/ 0 w 14"/>
                <a:gd name="T11" fmla="*/ 5 h 5"/>
                <a:gd name="T12" fmla="*/ 14 w 14"/>
                <a:gd name="T13" fmla="*/ 1 h 5"/>
                <a:gd name="T14" fmla="*/ 14 w 14"/>
                <a:gd name="T15" fmla="*/ 1 h 5"/>
                <a:gd name="T16" fmla="*/ 14 w 14"/>
                <a:gd name="T17" fmla="*/ 1 h 5"/>
                <a:gd name="T18" fmla="*/ 14 w 14"/>
                <a:gd name="T19" fmla="*/ 1 h 5"/>
                <a:gd name="T20" fmla="*/ 14 w 14"/>
                <a:gd name="T21" fmla="*/ 1 h 5"/>
                <a:gd name="T22" fmla="*/ 13 w 14"/>
                <a:gd name="T23" fmla="*/ 1 h 5"/>
                <a:gd name="T24" fmla="*/ 13 w 14"/>
                <a:gd name="T25" fmla="*/ 1 h 5"/>
                <a:gd name="T26" fmla="*/ 13 w 14"/>
                <a:gd name="T27" fmla="*/ 0 h 5"/>
                <a:gd name="T28" fmla="*/ 12 w 14"/>
                <a:gd name="T29" fmla="*/ 0 h 5"/>
                <a:gd name="T30" fmla="*/ 12 w 14"/>
                <a:gd name="T31" fmla="*/ 0 h 5"/>
                <a:gd name="T32" fmla="*/ 6 w 14"/>
                <a:gd name="T33" fmla="*/ 1 h 5"/>
                <a:gd name="T34" fmla="*/ 6 w 14"/>
                <a:gd name="T3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5">
                  <a:moveTo>
                    <a:pt x="6" y="1"/>
                  </a:moveTo>
                  <a:cubicBezTo>
                    <a:pt x="6" y="1"/>
                    <a:pt x="6" y="1"/>
                    <a:pt x="6" y="1"/>
                  </a:cubicBezTo>
                  <a:cubicBezTo>
                    <a:pt x="5" y="1"/>
                    <a:pt x="4" y="2"/>
                    <a:pt x="4" y="2"/>
                  </a:cubicBezTo>
                  <a:cubicBezTo>
                    <a:pt x="4" y="2"/>
                    <a:pt x="4" y="2"/>
                    <a:pt x="4" y="2"/>
                  </a:cubicBezTo>
                  <a:cubicBezTo>
                    <a:pt x="3" y="2"/>
                    <a:pt x="3" y="2"/>
                    <a:pt x="3" y="2"/>
                  </a:cubicBezTo>
                  <a:cubicBezTo>
                    <a:pt x="2" y="3"/>
                    <a:pt x="1" y="4"/>
                    <a:pt x="0" y="5"/>
                  </a:cubicBezTo>
                  <a:cubicBezTo>
                    <a:pt x="5" y="4"/>
                    <a:pt x="9" y="2"/>
                    <a:pt x="14" y="1"/>
                  </a:cubicBezTo>
                  <a:cubicBezTo>
                    <a:pt x="14" y="1"/>
                    <a:pt x="14" y="1"/>
                    <a:pt x="14" y="1"/>
                  </a:cubicBezTo>
                  <a:cubicBezTo>
                    <a:pt x="14" y="1"/>
                    <a:pt x="14" y="1"/>
                    <a:pt x="14" y="1"/>
                  </a:cubicBezTo>
                  <a:cubicBezTo>
                    <a:pt x="14" y="1"/>
                    <a:pt x="14" y="1"/>
                    <a:pt x="14" y="1"/>
                  </a:cubicBezTo>
                  <a:cubicBezTo>
                    <a:pt x="14" y="1"/>
                    <a:pt x="14" y="1"/>
                    <a:pt x="14" y="1"/>
                  </a:cubicBezTo>
                  <a:cubicBezTo>
                    <a:pt x="14" y="1"/>
                    <a:pt x="13" y="1"/>
                    <a:pt x="13" y="1"/>
                  </a:cubicBezTo>
                  <a:cubicBezTo>
                    <a:pt x="13" y="1"/>
                    <a:pt x="13" y="1"/>
                    <a:pt x="13" y="1"/>
                  </a:cubicBezTo>
                  <a:cubicBezTo>
                    <a:pt x="13" y="0"/>
                    <a:pt x="13" y="0"/>
                    <a:pt x="13" y="0"/>
                  </a:cubicBezTo>
                  <a:cubicBezTo>
                    <a:pt x="12" y="0"/>
                    <a:pt x="12" y="0"/>
                    <a:pt x="12" y="0"/>
                  </a:cubicBezTo>
                  <a:cubicBezTo>
                    <a:pt x="12" y="0"/>
                    <a:pt x="12" y="0"/>
                    <a:pt x="12" y="0"/>
                  </a:cubicBezTo>
                  <a:cubicBezTo>
                    <a:pt x="10" y="0"/>
                    <a:pt x="7" y="1"/>
                    <a:pt x="6" y="1"/>
                  </a:cubicBezTo>
                  <a:cubicBezTo>
                    <a:pt x="6" y="1"/>
                    <a:pt x="6" y="1"/>
                    <a:pt x="6"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55" name="Freeform 2007">
              <a:extLst>
                <a:ext uri="{FF2B5EF4-FFF2-40B4-BE49-F238E27FC236}">
                  <a16:creationId xmlns:a16="http://schemas.microsoft.com/office/drawing/2014/main" id="{F5E1742D-84DE-42FD-B1C6-E91323A043F5}"/>
                </a:ext>
              </a:extLst>
            </p:cNvPr>
            <p:cNvSpPr>
              <a:spLocks/>
            </p:cNvSpPr>
            <p:nvPr/>
          </p:nvSpPr>
          <p:spPr bwMode="auto">
            <a:xfrm>
              <a:off x="1651" y="978"/>
              <a:ext cx="26" cy="14"/>
            </a:xfrm>
            <a:custGeom>
              <a:avLst/>
              <a:gdLst>
                <a:gd name="T0" fmla="*/ 9 w 11"/>
                <a:gd name="T1" fmla="*/ 5 h 6"/>
                <a:gd name="T2" fmla="*/ 11 w 11"/>
                <a:gd name="T3" fmla="*/ 4 h 6"/>
                <a:gd name="T4" fmla="*/ 9 w 11"/>
                <a:gd name="T5" fmla="*/ 1 h 6"/>
                <a:gd name="T6" fmla="*/ 8 w 11"/>
                <a:gd name="T7" fmla="*/ 1 h 6"/>
                <a:gd name="T8" fmla="*/ 8 w 11"/>
                <a:gd name="T9" fmla="*/ 0 h 6"/>
                <a:gd name="T10" fmla="*/ 7 w 11"/>
                <a:gd name="T11" fmla="*/ 0 h 6"/>
                <a:gd name="T12" fmla="*/ 4 w 11"/>
                <a:gd name="T13" fmla="*/ 0 h 6"/>
                <a:gd name="T14" fmla="*/ 1 w 11"/>
                <a:gd name="T15" fmla="*/ 1 h 6"/>
                <a:gd name="T16" fmla="*/ 2 w 11"/>
                <a:gd name="T17" fmla="*/ 2 h 6"/>
                <a:gd name="T18" fmla="*/ 5 w 11"/>
                <a:gd name="T19" fmla="*/ 5 h 6"/>
                <a:gd name="T20" fmla="*/ 9 w 11"/>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6">
                  <a:moveTo>
                    <a:pt x="9" y="5"/>
                  </a:moveTo>
                  <a:cubicBezTo>
                    <a:pt x="10" y="5"/>
                    <a:pt x="11" y="5"/>
                    <a:pt x="11" y="4"/>
                  </a:cubicBezTo>
                  <a:cubicBezTo>
                    <a:pt x="11" y="3"/>
                    <a:pt x="10" y="1"/>
                    <a:pt x="9" y="1"/>
                  </a:cubicBezTo>
                  <a:cubicBezTo>
                    <a:pt x="9" y="1"/>
                    <a:pt x="9" y="1"/>
                    <a:pt x="8" y="1"/>
                  </a:cubicBezTo>
                  <a:cubicBezTo>
                    <a:pt x="8" y="1"/>
                    <a:pt x="8" y="0"/>
                    <a:pt x="8" y="0"/>
                  </a:cubicBezTo>
                  <a:cubicBezTo>
                    <a:pt x="8" y="0"/>
                    <a:pt x="7" y="0"/>
                    <a:pt x="7" y="0"/>
                  </a:cubicBezTo>
                  <a:cubicBezTo>
                    <a:pt x="6" y="0"/>
                    <a:pt x="5" y="0"/>
                    <a:pt x="4" y="0"/>
                  </a:cubicBezTo>
                  <a:cubicBezTo>
                    <a:pt x="4" y="0"/>
                    <a:pt x="0" y="1"/>
                    <a:pt x="1" y="1"/>
                  </a:cubicBezTo>
                  <a:cubicBezTo>
                    <a:pt x="1" y="2"/>
                    <a:pt x="2" y="2"/>
                    <a:pt x="2" y="2"/>
                  </a:cubicBezTo>
                  <a:cubicBezTo>
                    <a:pt x="3" y="3"/>
                    <a:pt x="4" y="4"/>
                    <a:pt x="5" y="5"/>
                  </a:cubicBezTo>
                  <a:cubicBezTo>
                    <a:pt x="7" y="6"/>
                    <a:pt x="7" y="6"/>
                    <a:pt x="9"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56" name="Freeform 2008">
              <a:extLst>
                <a:ext uri="{FF2B5EF4-FFF2-40B4-BE49-F238E27FC236}">
                  <a16:creationId xmlns:a16="http://schemas.microsoft.com/office/drawing/2014/main" id="{EFEEC21B-150D-4D6B-A1D4-BD35409EBAB3}"/>
                </a:ext>
              </a:extLst>
            </p:cNvPr>
            <p:cNvSpPr>
              <a:spLocks/>
            </p:cNvSpPr>
            <p:nvPr/>
          </p:nvSpPr>
          <p:spPr bwMode="auto">
            <a:xfrm>
              <a:off x="811" y="294"/>
              <a:ext cx="100" cy="26"/>
            </a:xfrm>
            <a:custGeom>
              <a:avLst/>
              <a:gdLst>
                <a:gd name="T0" fmla="*/ 4 w 42"/>
                <a:gd name="T1" fmla="*/ 11 h 11"/>
                <a:gd name="T2" fmla="*/ 11 w 42"/>
                <a:gd name="T3" fmla="*/ 9 h 11"/>
                <a:gd name="T4" fmla="*/ 14 w 42"/>
                <a:gd name="T5" fmla="*/ 9 h 11"/>
                <a:gd name="T6" fmla="*/ 15 w 42"/>
                <a:gd name="T7" fmla="*/ 10 h 11"/>
                <a:gd name="T8" fmla="*/ 19 w 42"/>
                <a:gd name="T9" fmla="*/ 11 h 11"/>
                <a:gd name="T10" fmla="*/ 23 w 42"/>
                <a:gd name="T11" fmla="*/ 8 h 11"/>
                <a:gd name="T12" fmla="*/ 26 w 42"/>
                <a:gd name="T13" fmla="*/ 9 h 11"/>
                <a:gd name="T14" fmla="*/ 35 w 42"/>
                <a:gd name="T15" fmla="*/ 10 h 11"/>
                <a:gd name="T16" fmla="*/ 41 w 42"/>
                <a:gd name="T17" fmla="*/ 9 h 11"/>
                <a:gd name="T18" fmla="*/ 40 w 42"/>
                <a:gd name="T19" fmla="*/ 5 h 11"/>
                <a:gd name="T20" fmla="*/ 38 w 42"/>
                <a:gd name="T21" fmla="*/ 3 h 11"/>
                <a:gd name="T22" fmla="*/ 34 w 42"/>
                <a:gd name="T23" fmla="*/ 2 h 11"/>
                <a:gd name="T24" fmla="*/ 26 w 42"/>
                <a:gd name="T25" fmla="*/ 0 h 11"/>
                <a:gd name="T26" fmla="*/ 22 w 42"/>
                <a:gd name="T27" fmla="*/ 2 h 11"/>
                <a:gd name="T28" fmla="*/ 2 w 42"/>
                <a:gd name="T29" fmla="*/ 8 h 11"/>
                <a:gd name="T30" fmla="*/ 1 w 42"/>
                <a:gd name="T31" fmla="*/ 10 h 11"/>
                <a:gd name="T32" fmla="*/ 4 w 42"/>
                <a:gd name="T33"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11">
                  <a:moveTo>
                    <a:pt x="4" y="11"/>
                  </a:moveTo>
                  <a:cubicBezTo>
                    <a:pt x="6" y="10"/>
                    <a:pt x="8" y="9"/>
                    <a:pt x="11" y="9"/>
                  </a:cubicBezTo>
                  <a:cubicBezTo>
                    <a:pt x="12" y="9"/>
                    <a:pt x="13" y="9"/>
                    <a:pt x="14" y="9"/>
                  </a:cubicBezTo>
                  <a:cubicBezTo>
                    <a:pt x="15" y="9"/>
                    <a:pt x="15" y="10"/>
                    <a:pt x="15" y="10"/>
                  </a:cubicBezTo>
                  <a:cubicBezTo>
                    <a:pt x="16" y="11"/>
                    <a:pt x="18" y="11"/>
                    <a:pt x="19" y="11"/>
                  </a:cubicBezTo>
                  <a:cubicBezTo>
                    <a:pt x="20" y="10"/>
                    <a:pt x="21" y="9"/>
                    <a:pt x="23" y="8"/>
                  </a:cubicBezTo>
                  <a:cubicBezTo>
                    <a:pt x="23" y="8"/>
                    <a:pt x="25" y="9"/>
                    <a:pt x="26" y="9"/>
                  </a:cubicBezTo>
                  <a:cubicBezTo>
                    <a:pt x="29" y="9"/>
                    <a:pt x="32" y="10"/>
                    <a:pt x="35" y="10"/>
                  </a:cubicBezTo>
                  <a:cubicBezTo>
                    <a:pt x="37" y="10"/>
                    <a:pt x="40" y="11"/>
                    <a:pt x="41" y="9"/>
                  </a:cubicBezTo>
                  <a:cubicBezTo>
                    <a:pt x="42" y="7"/>
                    <a:pt x="42" y="6"/>
                    <a:pt x="40" y="5"/>
                  </a:cubicBezTo>
                  <a:cubicBezTo>
                    <a:pt x="40" y="4"/>
                    <a:pt x="39" y="4"/>
                    <a:pt x="38" y="3"/>
                  </a:cubicBezTo>
                  <a:cubicBezTo>
                    <a:pt x="37" y="3"/>
                    <a:pt x="35" y="2"/>
                    <a:pt x="34" y="2"/>
                  </a:cubicBezTo>
                  <a:cubicBezTo>
                    <a:pt x="32" y="1"/>
                    <a:pt x="29" y="0"/>
                    <a:pt x="26" y="0"/>
                  </a:cubicBezTo>
                  <a:cubicBezTo>
                    <a:pt x="25" y="1"/>
                    <a:pt x="23" y="1"/>
                    <a:pt x="22" y="2"/>
                  </a:cubicBezTo>
                  <a:cubicBezTo>
                    <a:pt x="15" y="4"/>
                    <a:pt x="9" y="6"/>
                    <a:pt x="2" y="8"/>
                  </a:cubicBezTo>
                  <a:cubicBezTo>
                    <a:pt x="1" y="8"/>
                    <a:pt x="0" y="9"/>
                    <a:pt x="1" y="10"/>
                  </a:cubicBezTo>
                  <a:cubicBezTo>
                    <a:pt x="1" y="11"/>
                    <a:pt x="3" y="11"/>
                    <a:pt x="4" y="1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57" name="Freeform 2009">
              <a:extLst>
                <a:ext uri="{FF2B5EF4-FFF2-40B4-BE49-F238E27FC236}">
                  <a16:creationId xmlns:a16="http://schemas.microsoft.com/office/drawing/2014/main" id="{1FE2C9BB-4291-40B8-9C5D-F0ABD1F63890}"/>
                </a:ext>
              </a:extLst>
            </p:cNvPr>
            <p:cNvSpPr>
              <a:spLocks/>
            </p:cNvSpPr>
            <p:nvPr/>
          </p:nvSpPr>
          <p:spPr bwMode="auto">
            <a:xfrm>
              <a:off x="334" y="1309"/>
              <a:ext cx="35" cy="34"/>
            </a:xfrm>
            <a:custGeom>
              <a:avLst/>
              <a:gdLst>
                <a:gd name="T0" fmla="*/ 10 w 15"/>
                <a:gd name="T1" fmla="*/ 14 h 14"/>
                <a:gd name="T2" fmla="*/ 9 w 15"/>
                <a:gd name="T3" fmla="*/ 13 h 14"/>
                <a:gd name="T4" fmla="*/ 12 w 15"/>
                <a:gd name="T5" fmla="*/ 11 h 14"/>
                <a:gd name="T6" fmla="*/ 12 w 15"/>
                <a:gd name="T7" fmla="*/ 7 h 14"/>
                <a:gd name="T8" fmla="*/ 14 w 15"/>
                <a:gd name="T9" fmla="*/ 4 h 14"/>
                <a:gd name="T10" fmla="*/ 15 w 15"/>
                <a:gd name="T11" fmla="*/ 0 h 14"/>
                <a:gd name="T12" fmla="*/ 10 w 15"/>
                <a:gd name="T13" fmla="*/ 2 h 14"/>
                <a:gd name="T14" fmla="*/ 10 w 15"/>
                <a:gd name="T15" fmla="*/ 5 h 14"/>
                <a:gd name="T16" fmla="*/ 9 w 15"/>
                <a:gd name="T17" fmla="*/ 7 h 14"/>
                <a:gd name="T18" fmla="*/ 7 w 15"/>
                <a:gd name="T19" fmla="*/ 8 h 14"/>
                <a:gd name="T20" fmla="*/ 8 w 15"/>
                <a:gd name="T21" fmla="*/ 7 h 14"/>
                <a:gd name="T22" fmla="*/ 7 w 15"/>
                <a:gd name="T23" fmla="*/ 7 h 14"/>
                <a:gd name="T24" fmla="*/ 10 w 15"/>
                <a:gd name="T25" fmla="*/ 2 h 14"/>
                <a:gd name="T26" fmla="*/ 7 w 15"/>
                <a:gd name="T27" fmla="*/ 1 h 14"/>
                <a:gd name="T28" fmla="*/ 6 w 15"/>
                <a:gd name="T29" fmla="*/ 1 h 14"/>
                <a:gd name="T30" fmla="*/ 4 w 15"/>
                <a:gd name="T31" fmla="*/ 0 h 14"/>
                <a:gd name="T32" fmla="*/ 3 w 15"/>
                <a:gd name="T33" fmla="*/ 0 h 14"/>
                <a:gd name="T34" fmla="*/ 1 w 15"/>
                <a:gd name="T35" fmla="*/ 0 h 14"/>
                <a:gd name="T36" fmla="*/ 1 w 15"/>
                <a:gd name="T37" fmla="*/ 1 h 14"/>
                <a:gd name="T38" fmla="*/ 0 w 15"/>
                <a:gd name="T39" fmla="*/ 4 h 14"/>
                <a:gd name="T40" fmla="*/ 0 w 15"/>
                <a:gd name="T41" fmla="*/ 5 h 14"/>
                <a:gd name="T42" fmla="*/ 1 w 15"/>
                <a:gd name="T43" fmla="*/ 6 h 14"/>
                <a:gd name="T44" fmla="*/ 2 w 15"/>
                <a:gd name="T45" fmla="*/ 6 h 14"/>
                <a:gd name="T46" fmla="*/ 2 w 15"/>
                <a:gd name="T47" fmla="*/ 6 h 14"/>
                <a:gd name="T48" fmla="*/ 1 w 15"/>
                <a:gd name="T49" fmla="*/ 7 h 14"/>
                <a:gd name="T50" fmla="*/ 3 w 15"/>
                <a:gd name="T51" fmla="*/ 8 h 14"/>
                <a:gd name="T52" fmla="*/ 2 w 15"/>
                <a:gd name="T53" fmla="*/ 8 h 14"/>
                <a:gd name="T54" fmla="*/ 7 w 15"/>
                <a:gd name="T55" fmla="*/ 12 h 14"/>
                <a:gd name="T56" fmla="*/ 4 w 15"/>
                <a:gd name="T57" fmla="*/ 12 h 14"/>
                <a:gd name="T58" fmla="*/ 6 w 15"/>
                <a:gd name="T59" fmla="*/ 12 h 14"/>
                <a:gd name="T60" fmla="*/ 5 w 15"/>
                <a:gd name="T61" fmla="*/ 12 h 14"/>
                <a:gd name="T62" fmla="*/ 7 w 15"/>
                <a:gd name="T63" fmla="*/ 14 h 14"/>
                <a:gd name="T64" fmla="*/ 10 w 15"/>
                <a:gd name="T65"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 h="14">
                  <a:moveTo>
                    <a:pt x="10" y="14"/>
                  </a:moveTo>
                  <a:cubicBezTo>
                    <a:pt x="9" y="14"/>
                    <a:pt x="9" y="13"/>
                    <a:pt x="9" y="13"/>
                  </a:cubicBezTo>
                  <a:cubicBezTo>
                    <a:pt x="11" y="13"/>
                    <a:pt x="12" y="13"/>
                    <a:pt x="12" y="11"/>
                  </a:cubicBezTo>
                  <a:cubicBezTo>
                    <a:pt x="13" y="10"/>
                    <a:pt x="12" y="8"/>
                    <a:pt x="12" y="7"/>
                  </a:cubicBezTo>
                  <a:cubicBezTo>
                    <a:pt x="13" y="6"/>
                    <a:pt x="13" y="5"/>
                    <a:pt x="14" y="4"/>
                  </a:cubicBezTo>
                  <a:cubicBezTo>
                    <a:pt x="14" y="3"/>
                    <a:pt x="15" y="2"/>
                    <a:pt x="15" y="0"/>
                  </a:cubicBezTo>
                  <a:cubicBezTo>
                    <a:pt x="14" y="2"/>
                    <a:pt x="11" y="2"/>
                    <a:pt x="10" y="2"/>
                  </a:cubicBezTo>
                  <a:cubicBezTo>
                    <a:pt x="11" y="3"/>
                    <a:pt x="10" y="4"/>
                    <a:pt x="10" y="5"/>
                  </a:cubicBezTo>
                  <a:cubicBezTo>
                    <a:pt x="9" y="6"/>
                    <a:pt x="10" y="7"/>
                    <a:pt x="9" y="7"/>
                  </a:cubicBezTo>
                  <a:cubicBezTo>
                    <a:pt x="8" y="8"/>
                    <a:pt x="7" y="8"/>
                    <a:pt x="7" y="8"/>
                  </a:cubicBezTo>
                  <a:cubicBezTo>
                    <a:pt x="7" y="8"/>
                    <a:pt x="8" y="7"/>
                    <a:pt x="8" y="7"/>
                  </a:cubicBezTo>
                  <a:cubicBezTo>
                    <a:pt x="8" y="7"/>
                    <a:pt x="7" y="7"/>
                    <a:pt x="7" y="7"/>
                  </a:cubicBezTo>
                  <a:cubicBezTo>
                    <a:pt x="8" y="6"/>
                    <a:pt x="11" y="5"/>
                    <a:pt x="10" y="2"/>
                  </a:cubicBezTo>
                  <a:cubicBezTo>
                    <a:pt x="9" y="1"/>
                    <a:pt x="8" y="1"/>
                    <a:pt x="7" y="1"/>
                  </a:cubicBezTo>
                  <a:cubicBezTo>
                    <a:pt x="7" y="1"/>
                    <a:pt x="6" y="2"/>
                    <a:pt x="6" y="1"/>
                  </a:cubicBezTo>
                  <a:cubicBezTo>
                    <a:pt x="6" y="0"/>
                    <a:pt x="5" y="0"/>
                    <a:pt x="4" y="0"/>
                  </a:cubicBezTo>
                  <a:cubicBezTo>
                    <a:pt x="4" y="0"/>
                    <a:pt x="3" y="0"/>
                    <a:pt x="3" y="0"/>
                  </a:cubicBezTo>
                  <a:cubicBezTo>
                    <a:pt x="2" y="0"/>
                    <a:pt x="2" y="0"/>
                    <a:pt x="1" y="0"/>
                  </a:cubicBezTo>
                  <a:cubicBezTo>
                    <a:pt x="1" y="0"/>
                    <a:pt x="1" y="1"/>
                    <a:pt x="1" y="1"/>
                  </a:cubicBezTo>
                  <a:cubicBezTo>
                    <a:pt x="1" y="2"/>
                    <a:pt x="0" y="3"/>
                    <a:pt x="0" y="4"/>
                  </a:cubicBezTo>
                  <a:cubicBezTo>
                    <a:pt x="0" y="4"/>
                    <a:pt x="1" y="5"/>
                    <a:pt x="0" y="5"/>
                  </a:cubicBezTo>
                  <a:cubicBezTo>
                    <a:pt x="0" y="5"/>
                    <a:pt x="1" y="5"/>
                    <a:pt x="1" y="6"/>
                  </a:cubicBezTo>
                  <a:cubicBezTo>
                    <a:pt x="1" y="5"/>
                    <a:pt x="2" y="5"/>
                    <a:pt x="2" y="6"/>
                  </a:cubicBezTo>
                  <a:cubicBezTo>
                    <a:pt x="2" y="6"/>
                    <a:pt x="2" y="6"/>
                    <a:pt x="2" y="6"/>
                  </a:cubicBezTo>
                  <a:cubicBezTo>
                    <a:pt x="2" y="6"/>
                    <a:pt x="1" y="7"/>
                    <a:pt x="1" y="7"/>
                  </a:cubicBezTo>
                  <a:cubicBezTo>
                    <a:pt x="2" y="7"/>
                    <a:pt x="2" y="7"/>
                    <a:pt x="3" y="8"/>
                  </a:cubicBezTo>
                  <a:cubicBezTo>
                    <a:pt x="2" y="8"/>
                    <a:pt x="2" y="8"/>
                    <a:pt x="2" y="8"/>
                  </a:cubicBezTo>
                  <a:cubicBezTo>
                    <a:pt x="2" y="10"/>
                    <a:pt x="8" y="11"/>
                    <a:pt x="7" y="12"/>
                  </a:cubicBezTo>
                  <a:cubicBezTo>
                    <a:pt x="7" y="11"/>
                    <a:pt x="5" y="10"/>
                    <a:pt x="4" y="12"/>
                  </a:cubicBezTo>
                  <a:cubicBezTo>
                    <a:pt x="5" y="12"/>
                    <a:pt x="5" y="11"/>
                    <a:pt x="6" y="12"/>
                  </a:cubicBezTo>
                  <a:cubicBezTo>
                    <a:pt x="6" y="12"/>
                    <a:pt x="5" y="12"/>
                    <a:pt x="5" y="12"/>
                  </a:cubicBezTo>
                  <a:cubicBezTo>
                    <a:pt x="5" y="13"/>
                    <a:pt x="6" y="14"/>
                    <a:pt x="7" y="14"/>
                  </a:cubicBezTo>
                  <a:cubicBezTo>
                    <a:pt x="8" y="14"/>
                    <a:pt x="9" y="14"/>
                    <a:pt x="10" y="1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58" name="Freeform 2010">
              <a:extLst>
                <a:ext uri="{FF2B5EF4-FFF2-40B4-BE49-F238E27FC236}">
                  <a16:creationId xmlns:a16="http://schemas.microsoft.com/office/drawing/2014/main" id="{8073AD2F-9531-4398-ACEA-27ACF68701E4}"/>
                </a:ext>
              </a:extLst>
            </p:cNvPr>
            <p:cNvSpPr>
              <a:spLocks/>
            </p:cNvSpPr>
            <p:nvPr/>
          </p:nvSpPr>
          <p:spPr bwMode="auto">
            <a:xfrm>
              <a:off x="1568" y="1340"/>
              <a:ext cx="33" cy="17"/>
            </a:xfrm>
            <a:custGeom>
              <a:avLst/>
              <a:gdLst>
                <a:gd name="T0" fmla="*/ 5 w 14"/>
                <a:gd name="T1" fmla="*/ 5 h 7"/>
                <a:gd name="T2" fmla="*/ 9 w 14"/>
                <a:gd name="T3" fmla="*/ 6 h 7"/>
                <a:gd name="T4" fmla="*/ 13 w 14"/>
                <a:gd name="T5" fmla="*/ 7 h 7"/>
                <a:gd name="T6" fmla="*/ 10 w 14"/>
                <a:gd name="T7" fmla="*/ 1 h 7"/>
                <a:gd name="T8" fmla="*/ 3 w 14"/>
                <a:gd name="T9" fmla="*/ 0 h 7"/>
                <a:gd name="T10" fmla="*/ 0 w 14"/>
                <a:gd name="T11" fmla="*/ 2 h 7"/>
                <a:gd name="T12" fmla="*/ 5 w 14"/>
                <a:gd name="T13" fmla="*/ 5 h 7"/>
              </a:gdLst>
              <a:ahLst/>
              <a:cxnLst>
                <a:cxn ang="0">
                  <a:pos x="T0" y="T1"/>
                </a:cxn>
                <a:cxn ang="0">
                  <a:pos x="T2" y="T3"/>
                </a:cxn>
                <a:cxn ang="0">
                  <a:pos x="T4" y="T5"/>
                </a:cxn>
                <a:cxn ang="0">
                  <a:pos x="T6" y="T7"/>
                </a:cxn>
                <a:cxn ang="0">
                  <a:pos x="T8" y="T9"/>
                </a:cxn>
                <a:cxn ang="0">
                  <a:pos x="T10" y="T11"/>
                </a:cxn>
                <a:cxn ang="0">
                  <a:pos x="T12" y="T13"/>
                </a:cxn>
              </a:cxnLst>
              <a:rect l="0" t="0" r="r" b="b"/>
              <a:pathLst>
                <a:path w="14" h="7">
                  <a:moveTo>
                    <a:pt x="5" y="5"/>
                  </a:moveTo>
                  <a:cubicBezTo>
                    <a:pt x="6" y="5"/>
                    <a:pt x="8" y="5"/>
                    <a:pt x="9" y="6"/>
                  </a:cubicBezTo>
                  <a:cubicBezTo>
                    <a:pt x="10" y="7"/>
                    <a:pt x="12" y="6"/>
                    <a:pt x="13" y="7"/>
                  </a:cubicBezTo>
                  <a:cubicBezTo>
                    <a:pt x="14" y="4"/>
                    <a:pt x="12" y="3"/>
                    <a:pt x="10" y="1"/>
                  </a:cubicBezTo>
                  <a:cubicBezTo>
                    <a:pt x="8" y="0"/>
                    <a:pt x="5" y="0"/>
                    <a:pt x="3" y="0"/>
                  </a:cubicBezTo>
                  <a:cubicBezTo>
                    <a:pt x="2" y="1"/>
                    <a:pt x="0" y="1"/>
                    <a:pt x="0" y="2"/>
                  </a:cubicBezTo>
                  <a:cubicBezTo>
                    <a:pt x="0" y="3"/>
                    <a:pt x="3" y="4"/>
                    <a:pt x="5"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59" name="Freeform 2011">
              <a:extLst>
                <a:ext uri="{FF2B5EF4-FFF2-40B4-BE49-F238E27FC236}">
                  <a16:creationId xmlns:a16="http://schemas.microsoft.com/office/drawing/2014/main" id="{99412E11-52FB-4B14-B250-1E57F9D2C0F9}"/>
                </a:ext>
              </a:extLst>
            </p:cNvPr>
            <p:cNvSpPr>
              <a:spLocks/>
            </p:cNvSpPr>
            <p:nvPr/>
          </p:nvSpPr>
          <p:spPr bwMode="auto">
            <a:xfrm>
              <a:off x="1617" y="1227"/>
              <a:ext cx="29" cy="28"/>
            </a:xfrm>
            <a:custGeom>
              <a:avLst/>
              <a:gdLst>
                <a:gd name="T0" fmla="*/ 8 w 12"/>
                <a:gd name="T1" fmla="*/ 10 h 12"/>
                <a:gd name="T2" fmla="*/ 10 w 12"/>
                <a:gd name="T3" fmla="*/ 6 h 12"/>
                <a:gd name="T4" fmla="*/ 11 w 12"/>
                <a:gd name="T5" fmla="*/ 3 h 12"/>
                <a:gd name="T6" fmla="*/ 9 w 12"/>
                <a:gd name="T7" fmla="*/ 2 h 12"/>
                <a:gd name="T8" fmla="*/ 8 w 12"/>
                <a:gd name="T9" fmla="*/ 1 h 12"/>
                <a:gd name="T10" fmla="*/ 7 w 12"/>
                <a:gd name="T11" fmla="*/ 0 h 12"/>
                <a:gd name="T12" fmla="*/ 7 w 12"/>
                <a:gd name="T13" fmla="*/ 3 h 12"/>
                <a:gd name="T14" fmla="*/ 6 w 12"/>
                <a:gd name="T15" fmla="*/ 6 h 12"/>
                <a:gd name="T16" fmla="*/ 4 w 12"/>
                <a:gd name="T17" fmla="*/ 7 h 12"/>
                <a:gd name="T18" fmla="*/ 5 w 12"/>
                <a:gd name="T19" fmla="*/ 1 h 12"/>
                <a:gd name="T20" fmla="*/ 4 w 12"/>
                <a:gd name="T21" fmla="*/ 5 h 12"/>
                <a:gd name="T22" fmla="*/ 2 w 12"/>
                <a:gd name="T23" fmla="*/ 7 h 12"/>
                <a:gd name="T24" fmla="*/ 0 w 12"/>
                <a:gd name="T25" fmla="*/ 10 h 12"/>
                <a:gd name="T26" fmla="*/ 1 w 12"/>
                <a:gd name="T27" fmla="*/ 11 h 12"/>
                <a:gd name="T28" fmla="*/ 5 w 12"/>
                <a:gd name="T29" fmla="*/ 7 h 12"/>
                <a:gd name="T30" fmla="*/ 4 w 12"/>
                <a:gd name="T31" fmla="*/ 8 h 12"/>
                <a:gd name="T32" fmla="*/ 2 w 12"/>
                <a:gd name="T33" fmla="*/ 12 h 12"/>
                <a:gd name="T34" fmla="*/ 6 w 12"/>
                <a:gd name="T35" fmla="*/ 9 h 12"/>
                <a:gd name="T36" fmla="*/ 9 w 12"/>
                <a:gd name="T37" fmla="*/ 5 h 12"/>
                <a:gd name="T38" fmla="*/ 7 w 12"/>
                <a:gd name="T39" fmla="*/ 11 h 12"/>
                <a:gd name="T40" fmla="*/ 9 w 12"/>
                <a:gd name="T41" fmla="*/ 6 h 12"/>
                <a:gd name="T42" fmla="*/ 10 w 12"/>
                <a:gd name="T43" fmla="*/ 3 h 12"/>
                <a:gd name="T44" fmla="*/ 8 w 12"/>
                <a:gd name="T45"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 h="12">
                  <a:moveTo>
                    <a:pt x="8" y="10"/>
                  </a:moveTo>
                  <a:cubicBezTo>
                    <a:pt x="9" y="9"/>
                    <a:pt x="9" y="7"/>
                    <a:pt x="10" y="6"/>
                  </a:cubicBezTo>
                  <a:cubicBezTo>
                    <a:pt x="11" y="5"/>
                    <a:pt x="12" y="4"/>
                    <a:pt x="11" y="3"/>
                  </a:cubicBezTo>
                  <a:cubicBezTo>
                    <a:pt x="10" y="2"/>
                    <a:pt x="10" y="3"/>
                    <a:pt x="9" y="2"/>
                  </a:cubicBezTo>
                  <a:cubicBezTo>
                    <a:pt x="9" y="2"/>
                    <a:pt x="9" y="1"/>
                    <a:pt x="8" y="1"/>
                  </a:cubicBezTo>
                  <a:cubicBezTo>
                    <a:pt x="8" y="1"/>
                    <a:pt x="8" y="0"/>
                    <a:pt x="7" y="0"/>
                  </a:cubicBezTo>
                  <a:cubicBezTo>
                    <a:pt x="7" y="1"/>
                    <a:pt x="7" y="2"/>
                    <a:pt x="7" y="3"/>
                  </a:cubicBezTo>
                  <a:cubicBezTo>
                    <a:pt x="7" y="4"/>
                    <a:pt x="6" y="5"/>
                    <a:pt x="6" y="6"/>
                  </a:cubicBezTo>
                  <a:cubicBezTo>
                    <a:pt x="5" y="6"/>
                    <a:pt x="4" y="6"/>
                    <a:pt x="4" y="7"/>
                  </a:cubicBezTo>
                  <a:cubicBezTo>
                    <a:pt x="5" y="5"/>
                    <a:pt x="6" y="3"/>
                    <a:pt x="5" y="1"/>
                  </a:cubicBezTo>
                  <a:cubicBezTo>
                    <a:pt x="5" y="2"/>
                    <a:pt x="5" y="4"/>
                    <a:pt x="4" y="5"/>
                  </a:cubicBezTo>
                  <a:cubicBezTo>
                    <a:pt x="4" y="6"/>
                    <a:pt x="3" y="6"/>
                    <a:pt x="2" y="7"/>
                  </a:cubicBezTo>
                  <a:cubicBezTo>
                    <a:pt x="1" y="8"/>
                    <a:pt x="1" y="9"/>
                    <a:pt x="0" y="10"/>
                  </a:cubicBezTo>
                  <a:cubicBezTo>
                    <a:pt x="0" y="10"/>
                    <a:pt x="1" y="11"/>
                    <a:pt x="1" y="11"/>
                  </a:cubicBezTo>
                  <a:cubicBezTo>
                    <a:pt x="2" y="10"/>
                    <a:pt x="4" y="7"/>
                    <a:pt x="5" y="7"/>
                  </a:cubicBezTo>
                  <a:cubicBezTo>
                    <a:pt x="6" y="7"/>
                    <a:pt x="5" y="8"/>
                    <a:pt x="4" y="8"/>
                  </a:cubicBezTo>
                  <a:cubicBezTo>
                    <a:pt x="4" y="9"/>
                    <a:pt x="3" y="11"/>
                    <a:pt x="2" y="12"/>
                  </a:cubicBezTo>
                  <a:cubicBezTo>
                    <a:pt x="4" y="11"/>
                    <a:pt x="5" y="11"/>
                    <a:pt x="6" y="9"/>
                  </a:cubicBezTo>
                  <a:cubicBezTo>
                    <a:pt x="7" y="8"/>
                    <a:pt x="8" y="7"/>
                    <a:pt x="9" y="5"/>
                  </a:cubicBezTo>
                  <a:cubicBezTo>
                    <a:pt x="9" y="7"/>
                    <a:pt x="8" y="9"/>
                    <a:pt x="7" y="11"/>
                  </a:cubicBezTo>
                  <a:cubicBezTo>
                    <a:pt x="8" y="9"/>
                    <a:pt x="9" y="7"/>
                    <a:pt x="9" y="6"/>
                  </a:cubicBezTo>
                  <a:cubicBezTo>
                    <a:pt x="8" y="6"/>
                    <a:pt x="10" y="4"/>
                    <a:pt x="10" y="3"/>
                  </a:cubicBezTo>
                  <a:cubicBezTo>
                    <a:pt x="10" y="5"/>
                    <a:pt x="8" y="8"/>
                    <a:pt x="8" y="1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60" name="Freeform 2012">
              <a:extLst>
                <a:ext uri="{FF2B5EF4-FFF2-40B4-BE49-F238E27FC236}">
                  <a16:creationId xmlns:a16="http://schemas.microsoft.com/office/drawing/2014/main" id="{AADBA677-A6C3-4C69-997C-BC3EF8A1154F}"/>
                </a:ext>
              </a:extLst>
            </p:cNvPr>
            <p:cNvSpPr>
              <a:spLocks/>
            </p:cNvSpPr>
            <p:nvPr/>
          </p:nvSpPr>
          <p:spPr bwMode="auto">
            <a:xfrm>
              <a:off x="2062" y="1534"/>
              <a:ext cx="43" cy="47"/>
            </a:xfrm>
            <a:custGeom>
              <a:avLst/>
              <a:gdLst>
                <a:gd name="T0" fmla="*/ 14 w 18"/>
                <a:gd name="T1" fmla="*/ 18 h 20"/>
                <a:gd name="T2" fmla="*/ 17 w 18"/>
                <a:gd name="T3" fmla="*/ 15 h 20"/>
                <a:gd name="T4" fmla="*/ 18 w 18"/>
                <a:gd name="T5" fmla="*/ 13 h 20"/>
                <a:gd name="T6" fmla="*/ 18 w 18"/>
                <a:gd name="T7" fmla="*/ 12 h 20"/>
                <a:gd name="T8" fmla="*/ 15 w 18"/>
                <a:gd name="T9" fmla="*/ 11 h 20"/>
                <a:gd name="T10" fmla="*/ 14 w 18"/>
                <a:gd name="T11" fmla="*/ 10 h 20"/>
                <a:gd name="T12" fmla="*/ 10 w 18"/>
                <a:gd name="T13" fmla="*/ 13 h 20"/>
                <a:gd name="T14" fmla="*/ 13 w 18"/>
                <a:gd name="T15" fmla="*/ 11 h 20"/>
                <a:gd name="T16" fmla="*/ 9 w 18"/>
                <a:gd name="T17" fmla="*/ 14 h 20"/>
                <a:gd name="T18" fmla="*/ 8 w 18"/>
                <a:gd name="T19" fmla="*/ 15 h 20"/>
                <a:gd name="T20" fmla="*/ 9 w 18"/>
                <a:gd name="T21" fmla="*/ 15 h 20"/>
                <a:gd name="T22" fmla="*/ 10 w 18"/>
                <a:gd name="T23" fmla="*/ 16 h 20"/>
                <a:gd name="T24" fmla="*/ 9 w 18"/>
                <a:gd name="T25" fmla="*/ 17 h 20"/>
                <a:gd name="T26" fmla="*/ 7 w 18"/>
                <a:gd name="T27" fmla="*/ 18 h 20"/>
                <a:gd name="T28" fmla="*/ 5 w 18"/>
                <a:gd name="T29" fmla="*/ 16 h 20"/>
                <a:gd name="T30" fmla="*/ 5 w 18"/>
                <a:gd name="T31" fmla="*/ 16 h 20"/>
                <a:gd name="T32" fmla="*/ 5 w 18"/>
                <a:gd name="T33" fmla="*/ 16 h 20"/>
                <a:gd name="T34" fmla="*/ 5 w 18"/>
                <a:gd name="T35" fmla="*/ 16 h 20"/>
                <a:gd name="T36" fmla="*/ 5 w 18"/>
                <a:gd name="T37" fmla="*/ 16 h 20"/>
                <a:gd name="T38" fmla="*/ 7 w 18"/>
                <a:gd name="T39" fmla="*/ 15 h 20"/>
                <a:gd name="T40" fmla="*/ 8 w 18"/>
                <a:gd name="T41" fmla="*/ 15 h 20"/>
                <a:gd name="T42" fmla="*/ 8 w 18"/>
                <a:gd name="T43" fmla="*/ 14 h 20"/>
                <a:gd name="T44" fmla="*/ 5 w 18"/>
                <a:gd name="T45" fmla="*/ 15 h 20"/>
                <a:gd name="T46" fmla="*/ 9 w 18"/>
                <a:gd name="T47" fmla="*/ 13 h 20"/>
                <a:gd name="T48" fmla="*/ 10 w 18"/>
                <a:gd name="T49" fmla="*/ 12 h 20"/>
                <a:gd name="T50" fmla="*/ 11 w 18"/>
                <a:gd name="T51" fmla="*/ 11 h 20"/>
                <a:gd name="T52" fmla="*/ 10 w 18"/>
                <a:gd name="T53" fmla="*/ 11 h 20"/>
                <a:gd name="T54" fmla="*/ 12 w 18"/>
                <a:gd name="T55" fmla="*/ 8 h 20"/>
                <a:gd name="T56" fmla="*/ 12 w 18"/>
                <a:gd name="T57" fmla="*/ 8 h 20"/>
                <a:gd name="T58" fmla="*/ 12 w 18"/>
                <a:gd name="T59" fmla="*/ 6 h 20"/>
                <a:gd name="T60" fmla="*/ 13 w 18"/>
                <a:gd name="T61" fmla="*/ 3 h 20"/>
                <a:gd name="T62" fmla="*/ 11 w 18"/>
                <a:gd name="T63" fmla="*/ 2 h 20"/>
                <a:gd name="T64" fmla="*/ 10 w 18"/>
                <a:gd name="T65" fmla="*/ 1 h 20"/>
                <a:gd name="T66" fmla="*/ 10 w 18"/>
                <a:gd name="T67" fmla="*/ 1 h 20"/>
                <a:gd name="T68" fmla="*/ 8 w 18"/>
                <a:gd name="T69" fmla="*/ 3 h 20"/>
                <a:gd name="T70" fmla="*/ 7 w 18"/>
                <a:gd name="T71" fmla="*/ 4 h 20"/>
                <a:gd name="T72" fmla="*/ 6 w 18"/>
                <a:gd name="T73" fmla="*/ 6 h 20"/>
                <a:gd name="T74" fmla="*/ 6 w 18"/>
                <a:gd name="T75" fmla="*/ 6 h 20"/>
                <a:gd name="T76" fmla="*/ 5 w 18"/>
                <a:gd name="T77" fmla="*/ 6 h 20"/>
                <a:gd name="T78" fmla="*/ 5 w 18"/>
                <a:gd name="T79" fmla="*/ 6 h 20"/>
                <a:gd name="T80" fmla="*/ 5 w 18"/>
                <a:gd name="T81" fmla="*/ 8 h 20"/>
                <a:gd name="T82" fmla="*/ 2 w 18"/>
                <a:gd name="T83" fmla="*/ 11 h 20"/>
                <a:gd name="T84" fmla="*/ 1 w 18"/>
                <a:gd name="T85" fmla="*/ 12 h 20"/>
                <a:gd name="T86" fmla="*/ 1 w 18"/>
                <a:gd name="T87" fmla="*/ 13 h 20"/>
                <a:gd name="T88" fmla="*/ 0 w 18"/>
                <a:gd name="T89" fmla="*/ 15 h 20"/>
                <a:gd name="T90" fmla="*/ 3 w 18"/>
                <a:gd name="T91" fmla="*/ 19 h 20"/>
                <a:gd name="T92" fmla="*/ 4 w 18"/>
                <a:gd name="T93" fmla="*/ 20 h 20"/>
                <a:gd name="T94" fmla="*/ 5 w 18"/>
                <a:gd name="T95" fmla="*/ 19 h 20"/>
                <a:gd name="T96" fmla="*/ 7 w 18"/>
                <a:gd name="T97" fmla="*/ 19 h 20"/>
                <a:gd name="T98" fmla="*/ 12 w 18"/>
                <a:gd name="T99"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 h="20">
                  <a:moveTo>
                    <a:pt x="12" y="18"/>
                  </a:moveTo>
                  <a:cubicBezTo>
                    <a:pt x="13" y="18"/>
                    <a:pt x="13" y="18"/>
                    <a:pt x="14" y="18"/>
                  </a:cubicBezTo>
                  <a:cubicBezTo>
                    <a:pt x="15" y="17"/>
                    <a:pt x="14" y="15"/>
                    <a:pt x="16" y="16"/>
                  </a:cubicBezTo>
                  <a:cubicBezTo>
                    <a:pt x="16" y="15"/>
                    <a:pt x="17" y="15"/>
                    <a:pt x="17" y="15"/>
                  </a:cubicBezTo>
                  <a:cubicBezTo>
                    <a:pt x="17" y="15"/>
                    <a:pt x="18" y="15"/>
                    <a:pt x="18" y="14"/>
                  </a:cubicBezTo>
                  <a:cubicBezTo>
                    <a:pt x="18" y="14"/>
                    <a:pt x="18" y="14"/>
                    <a:pt x="18" y="13"/>
                  </a:cubicBezTo>
                  <a:cubicBezTo>
                    <a:pt x="18" y="13"/>
                    <a:pt x="18" y="13"/>
                    <a:pt x="18" y="12"/>
                  </a:cubicBezTo>
                  <a:cubicBezTo>
                    <a:pt x="18" y="12"/>
                    <a:pt x="18" y="12"/>
                    <a:pt x="18" y="12"/>
                  </a:cubicBezTo>
                  <a:cubicBezTo>
                    <a:pt x="18" y="12"/>
                    <a:pt x="17" y="12"/>
                    <a:pt x="17" y="12"/>
                  </a:cubicBezTo>
                  <a:cubicBezTo>
                    <a:pt x="17" y="11"/>
                    <a:pt x="16" y="11"/>
                    <a:pt x="15" y="11"/>
                  </a:cubicBezTo>
                  <a:cubicBezTo>
                    <a:pt x="15" y="11"/>
                    <a:pt x="15" y="11"/>
                    <a:pt x="15" y="11"/>
                  </a:cubicBezTo>
                  <a:cubicBezTo>
                    <a:pt x="14" y="11"/>
                    <a:pt x="14" y="10"/>
                    <a:pt x="14" y="10"/>
                  </a:cubicBezTo>
                  <a:cubicBezTo>
                    <a:pt x="12" y="9"/>
                    <a:pt x="10" y="12"/>
                    <a:pt x="9" y="13"/>
                  </a:cubicBezTo>
                  <a:cubicBezTo>
                    <a:pt x="10" y="13"/>
                    <a:pt x="10" y="13"/>
                    <a:pt x="10" y="13"/>
                  </a:cubicBezTo>
                  <a:cubicBezTo>
                    <a:pt x="10" y="13"/>
                    <a:pt x="10" y="13"/>
                    <a:pt x="11" y="12"/>
                  </a:cubicBezTo>
                  <a:cubicBezTo>
                    <a:pt x="11" y="12"/>
                    <a:pt x="12" y="11"/>
                    <a:pt x="13" y="11"/>
                  </a:cubicBezTo>
                  <a:cubicBezTo>
                    <a:pt x="12" y="12"/>
                    <a:pt x="11" y="13"/>
                    <a:pt x="9" y="14"/>
                  </a:cubicBezTo>
                  <a:cubicBezTo>
                    <a:pt x="9" y="14"/>
                    <a:pt x="9" y="14"/>
                    <a:pt x="9" y="14"/>
                  </a:cubicBezTo>
                  <a:cubicBezTo>
                    <a:pt x="8" y="14"/>
                    <a:pt x="8" y="15"/>
                    <a:pt x="8" y="15"/>
                  </a:cubicBezTo>
                  <a:cubicBezTo>
                    <a:pt x="8" y="15"/>
                    <a:pt x="8" y="15"/>
                    <a:pt x="8" y="15"/>
                  </a:cubicBezTo>
                  <a:cubicBezTo>
                    <a:pt x="8" y="15"/>
                    <a:pt x="8" y="15"/>
                    <a:pt x="8" y="15"/>
                  </a:cubicBezTo>
                  <a:cubicBezTo>
                    <a:pt x="8" y="15"/>
                    <a:pt x="8" y="15"/>
                    <a:pt x="9" y="15"/>
                  </a:cubicBezTo>
                  <a:cubicBezTo>
                    <a:pt x="10" y="15"/>
                    <a:pt x="11" y="14"/>
                    <a:pt x="12" y="14"/>
                  </a:cubicBezTo>
                  <a:cubicBezTo>
                    <a:pt x="11" y="15"/>
                    <a:pt x="10" y="15"/>
                    <a:pt x="10" y="16"/>
                  </a:cubicBezTo>
                  <a:cubicBezTo>
                    <a:pt x="9" y="16"/>
                    <a:pt x="9" y="16"/>
                    <a:pt x="9" y="17"/>
                  </a:cubicBezTo>
                  <a:cubicBezTo>
                    <a:pt x="9" y="17"/>
                    <a:pt x="9" y="17"/>
                    <a:pt x="9" y="17"/>
                  </a:cubicBezTo>
                  <a:cubicBezTo>
                    <a:pt x="8" y="17"/>
                    <a:pt x="8" y="17"/>
                    <a:pt x="8" y="17"/>
                  </a:cubicBezTo>
                  <a:cubicBezTo>
                    <a:pt x="8" y="18"/>
                    <a:pt x="7" y="18"/>
                    <a:pt x="7" y="18"/>
                  </a:cubicBezTo>
                  <a:cubicBezTo>
                    <a:pt x="6" y="18"/>
                    <a:pt x="5" y="18"/>
                    <a:pt x="4" y="18"/>
                  </a:cubicBezTo>
                  <a:cubicBezTo>
                    <a:pt x="4" y="17"/>
                    <a:pt x="5" y="17"/>
                    <a:pt x="5" y="16"/>
                  </a:cubicBezTo>
                  <a:cubicBezTo>
                    <a:pt x="5" y="16"/>
                    <a:pt x="6" y="16"/>
                    <a:pt x="6" y="16"/>
                  </a:cubicBezTo>
                  <a:cubicBezTo>
                    <a:pt x="6" y="16"/>
                    <a:pt x="5" y="16"/>
                    <a:pt x="5" y="16"/>
                  </a:cubicBezTo>
                  <a:cubicBezTo>
                    <a:pt x="5" y="16"/>
                    <a:pt x="5" y="16"/>
                    <a:pt x="5" y="16"/>
                  </a:cubicBezTo>
                  <a:cubicBezTo>
                    <a:pt x="5" y="16"/>
                    <a:pt x="5" y="16"/>
                    <a:pt x="5" y="16"/>
                  </a:cubicBezTo>
                  <a:cubicBezTo>
                    <a:pt x="5" y="16"/>
                    <a:pt x="5" y="16"/>
                    <a:pt x="5" y="16"/>
                  </a:cubicBezTo>
                  <a:cubicBezTo>
                    <a:pt x="5" y="16"/>
                    <a:pt x="5" y="16"/>
                    <a:pt x="5" y="16"/>
                  </a:cubicBezTo>
                  <a:cubicBezTo>
                    <a:pt x="5" y="16"/>
                    <a:pt x="5" y="16"/>
                    <a:pt x="5" y="16"/>
                  </a:cubicBezTo>
                  <a:cubicBezTo>
                    <a:pt x="5" y="16"/>
                    <a:pt x="5" y="16"/>
                    <a:pt x="5" y="16"/>
                  </a:cubicBezTo>
                  <a:cubicBezTo>
                    <a:pt x="5" y="15"/>
                    <a:pt x="6" y="15"/>
                    <a:pt x="6" y="15"/>
                  </a:cubicBezTo>
                  <a:cubicBezTo>
                    <a:pt x="6" y="15"/>
                    <a:pt x="6" y="15"/>
                    <a:pt x="7" y="15"/>
                  </a:cubicBezTo>
                  <a:cubicBezTo>
                    <a:pt x="7" y="15"/>
                    <a:pt x="7" y="15"/>
                    <a:pt x="8" y="15"/>
                  </a:cubicBezTo>
                  <a:cubicBezTo>
                    <a:pt x="8" y="15"/>
                    <a:pt x="8" y="15"/>
                    <a:pt x="8" y="15"/>
                  </a:cubicBezTo>
                  <a:cubicBezTo>
                    <a:pt x="8" y="14"/>
                    <a:pt x="8" y="14"/>
                    <a:pt x="8" y="14"/>
                  </a:cubicBezTo>
                  <a:cubicBezTo>
                    <a:pt x="8" y="14"/>
                    <a:pt x="8" y="14"/>
                    <a:pt x="8" y="14"/>
                  </a:cubicBezTo>
                  <a:cubicBezTo>
                    <a:pt x="8" y="14"/>
                    <a:pt x="8" y="14"/>
                    <a:pt x="8" y="13"/>
                  </a:cubicBezTo>
                  <a:cubicBezTo>
                    <a:pt x="7" y="14"/>
                    <a:pt x="6" y="14"/>
                    <a:pt x="5" y="15"/>
                  </a:cubicBezTo>
                  <a:cubicBezTo>
                    <a:pt x="5" y="14"/>
                    <a:pt x="7" y="13"/>
                    <a:pt x="8" y="13"/>
                  </a:cubicBezTo>
                  <a:cubicBezTo>
                    <a:pt x="8" y="13"/>
                    <a:pt x="9" y="13"/>
                    <a:pt x="9" y="13"/>
                  </a:cubicBezTo>
                  <a:cubicBezTo>
                    <a:pt x="9" y="12"/>
                    <a:pt x="10" y="12"/>
                    <a:pt x="10" y="12"/>
                  </a:cubicBezTo>
                  <a:cubicBezTo>
                    <a:pt x="10" y="12"/>
                    <a:pt x="10" y="12"/>
                    <a:pt x="10" y="12"/>
                  </a:cubicBezTo>
                  <a:cubicBezTo>
                    <a:pt x="10" y="12"/>
                    <a:pt x="11" y="12"/>
                    <a:pt x="11" y="11"/>
                  </a:cubicBezTo>
                  <a:cubicBezTo>
                    <a:pt x="11" y="11"/>
                    <a:pt x="11" y="11"/>
                    <a:pt x="11" y="11"/>
                  </a:cubicBezTo>
                  <a:cubicBezTo>
                    <a:pt x="11" y="11"/>
                    <a:pt x="12" y="10"/>
                    <a:pt x="12" y="10"/>
                  </a:cubicBezTo>
                  <a:cubicBezTo>
                    <a:pt x="11" y="10"/>
                    <a:pt x="10" y="11"/>
                    <a:pt x="10" y="11"/>
                  </a:cubicBezTo>
                  <a:cubicBezTo>
                    <a:pt x="10" y="10"/>
                    <a:pt x="11" y="9"/>
                    <a:pt x="12" y="8"/>
                  </a:cubicBezTo>
                  <a:cubicBezTo>
                    <a:pt x="12" y="8"/>
                    <a:pt x="12" y="8"/>
                    <a:pt x="12" y="8"/>
                  </a:cubicBezTo>
                  <a:cubicBezTo>
                    <a:pt x="12" y="8"/>
                    <a:pt x="12" y="8"/>
                    <a:pt x="12" y="8"/>
                  </a:cubicBezTo>
                  <a:cubicBezTo>
                    <a:pt x="12" y="8"/>
                    <a:pt x="12" y="8"/>
                    <a:pt x="12" y="8"/>
                  </a:cubicBezTo>
                  <a:cubicBezTo>
                    <a:pt x="12" y="8"/>
                    <a:pt x="12" y="8"/>
                    <a:pt x="12" y="7"/>
                  </a:cubicBezTo>
                  <a:cubicBezTo>
                    <a:pt x="12" y="7"/>
                    <a:pt x="12" y="6"/>
                    <a:pt x="12" y="6"/>
                  </a:cubicBezTo>
                  <a:cubicBezTo>
                    <a:pt x="12" y="5"/>
                    <a:pt x="12" y="5"/>
                    <a:pt x="12" y="5"/>
                  </a:cubicBezTo>
                  <a:cubicBezTo>
                    <a:pt x="13" y="4"/>
                    <a:pt x="13" y="4"/>
                    <a:pt x="13" y="3"/>
                  </a:cubicBezTo>
                  <a:cubicBezTo>
                    <a:pt x="13" y="3"/>
                    <a:pt x="13" y="3"/>
                    <a:pt x="13" y="3"/>
                  </a:cubicBezTo>
                  <a:cubicBezTo>
                    <a:pt x="13" y="3"/>
                    <a:pt x="11" y="3"/>
                    <a:pt x="11" y="2"/>
                  </a:cubicBezTo>
                  <a:cubicBezTo>
                    <a:pt x="11" y="2"/>
                    <a:pt x="12" y="1"/>
                    <a:pt x="12" y="1"/>
                  </a:cubicBezTo>
                  <a:cubicBezTo>
                    <a:pt x="11" y="1"/>
                    <a:pt x="11" y="0"/>
                    <a:pt x="10" y="1"/>
                  </a:cubicBezTo>
                  <a:cubicBezTo>
                    <a:pt x="10" y="1"/>
                    <a:pt x="10" y="1"/>
                    <a:pt x="10" y="1"/>
                  </a:cubicBezTo>
                  <a:cubicBezTo>
                    <a:pt x="10" y="1"/>
                    <a:pt x="10" y="1"/>
                    <a:pt x="10" y="1"/>
                  </a:cubicBezTo>
                  <a:cubicBezTo>
                    <a:pt x="9" y="1"/>
                    <a:pt x="9" y="2"/>
                    <a:pt x="9" y="2"/>
                  </a:cubicBezTo>
                  <a:cubicBezTo>
                    <a:pt x="9" y="3"/>
                    <a:pt x="8" y="3"/>
                    <a:pt x="8" y="3"/>
                  </a:cubicBezTo>
                  <a:cubicBezTo>
                    <a:pt x="8" y="3"/>
                    <a:pt x="8" y="3"/>
                    <a:pt x="8" y="4"/>
                  </a:cubicBezTo>
                  <a:cubicBezTo>
                    <a:pt x="7" y="4"/>
                    <a:pt x="7" y="4"/>
                    <a:pt x="7" y="4"/>
                  </a:cubicBezTo>
                  <a:cubicBezTo>
                    <a:pt x="7" y="4"/>
                    <a:pt x="7" y="5"/>
                    <a:pt x="6" y="5"/>
                  </a:cubicBezTo>
                  <a:cubicBezTo>
                    <a:pt x="6" y="5"/>
                    <a:pt x="6" y="5"/>
                    <a:pt x="6" y="6"/>
                  </a:cubicBezTo>
                  <a:cubicBezTo>
                    <a:pt x="6" y="6"/>
                    <a:pt x="6" y="6"/>
                    <a:pt x="6" y="6"/>
                  </a:cubicBezTo>
                  <a:cubicBezTo>
                    <a:pt x="6" y="6"/>
                    <a:pt x="6" y="6"/>
                    <a:pt x="6" y="6"/>
                  </a:cubicBezTo>
                  <a:cubicBezTo>
                    <a:pt x="6" y="6"/>
                    <a:pt x="5" y="6"/>
                    <a:pt x="5" y="6"/>
                  </a:cubicBezTo>
                  <a:cubicBezTo>
                    <a:pt x="5" y="6"/>
                    <a:pt x="5" y="6"/>
                    <a:pt x="5" y="6"/>
                  </a:cubicBezTo>
                  <a:cubicBezTo>
                    <a:pt x="5" y="6"/>
                    <a:pt x="5" y="6"/>
                    <a:pt x="5" y="6"/>
                  </a:cubicBezTo>
                  <a:cubicBezTo>
                    <a:pt x="5" y="6"/>
                    <a:pt x="5" y="6"/>
                    <a:pt x="5" y="6"/>
                  </a:cubicBezTo>
                  <a:cubicBezTo>
                    <a:pt x="5" y="6"/>
                    <a:pt x="5" y="7"/>
                    <a:pt x="5" y="7"/>
                  </a:cubicBezTo>
                  <a:cubicBezTo>
                    <a:pt x="5" y="7"/>
                    <a:pt x="5" y="7"/>
                    <a:pt x="5" y="8"/>
                  </a:cubicBezTo>
                  <a:cubicBezTo>
                    <a:pt x="5" y="8"/>
                    <a:pt x="5" y="8"/>
                    <a:pt x="5" y="8"/>
                  </a:cubicBezTo>
                  <a:cubicBezTo>
                    <a:pt x="4" y="9"/>
                    <a:pt x="3" y="10"/>
                    <a:pt x="2" y="11"/>
                  </a:cubicBezTo>
                  <a:cubicBezTo>
                    <a:pt x="2" y="11"/>
                    <a:pt x="2" y="11"/>
                    <a:pt x="2" y="11"/>
                  </a:cubicBezTo>
                  <a:cubicBezTo>
                    <a:pt x="2" y="12"/>
                    <a:pt x="1" y="12"/>
                    <a:pt x="1" y="12"/>
                  </a:cubicBezTo>
                  <a:cubicBezTo>
                    <a:pt x="1" y="12"/>
                    <a:pt x="1" y="12"/>
                    <a:pt x="1" y="13"/>
                  </a:cubicBezTo>
                  <a:cubicBezTo>
                    <a:pt x="1" y="13"/>
                    <a:pt x="1" y="13"/>
                    <a:pt x="1" y="13"/>
                  </a:cubicBezTo>
                  <a:cubicBezTo>
                    <a:pt x="0" y="13"/>
                    <a:pt x="0" y="14"/>
                    <a:pt x="0" y="14"/>
                  </a:cubicBezTo>
                  <a:cubicBezTo>
                    <a:pt x="0" y="14"/>
                    <a:pt x="0" y="14"/>
                    <a:pt x="0" y="15"/>
                  </a:cubicBezTo>
                  <a:cubicBezTo>
                    <a:pt x="1" y="15"/>
                    <a:pt x="1" y="16"/>
                    <a:pt x="1" y="17"/>
                  </a:cubicBezTo>
                  <a:cubicBezTo>
                    <a:pt x="1" y="18"/>
                    <a:pt x="2" y="20"/>
                    <a:pt x="3" y="19"/>
                  </a:cubicBezTo>
                  <a:cubicBezTo>
                    <a:pt x="3" y="19"/>
                    <a:pt x="4" y="19"/>
                    <a:pt x="4" y="19"/>
                  </a:cubicBezTo>
                  <a:cubicBezTo>
                    <a:pt x="4" y="19"/>
                    <a:pt x="4" y="20"/>
                    <a:pt x="4" y="20"/>
                  </a:cubicBezTo>
                  <a:cubicBezTo>
                    <a:pt x="4" y="20"/>
                    <a:pt x="4" y="20"/>
                    <a:pt x="5" y="20"/>
                  </a:cubicBezTo>
                  <a:cubicBezTo>
                    <a:pt x="5" y="20"/>
                    <a:pt x="5" y="19"/>
                    <a:pt x="5" y="19"/>
                  </a:cubicBezTo>
                  <a:cubicBezTo>
                    <a:pt x="5" y="19"/>
                    <a:pt x="5" y="19"/>
                    <a:pt x="6" y="19"/>
                  </a:cubicBezTo>
                  <a:cubicBezTo>
                    <a:pt x="6" y="19"/>
                    <a:pt x="7" y="19"/>
                    <a:pt x="7" y="19"/>
                  </a:cubicBezTo>
                  <a:cubicBezTo>
                    <a:pt x="8" y="19"/>
                    <a:pt x="8" y="19"/>
                    <a:pt x="9" y="19"/>
                  </a:cubicBezTo>
                  <a:cubicBezTo>
                    <a:pt x="10" y="19"/>
                    <a:pt x="11" y="19"/>
                    <a:pt x="12" y="19"/>
                  </a:cubicBezTo>
                  <a:cubicBezTo>
                    <a:pt x="12" y="18"/>
                    <a:pt x="12" y="18"/>
                    <a:pt x="12" y="1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61" name="Freeform 2013">
              <a:extLst>
                <a:ext uri="{FF2B5EF4-FFF2-40B4-BE49-F238E27FC236}">
                  <a16:creationId xmlns:a16="http://schemas.microsoft.com/office/drawing/2014/main" id="{9FD4A02A-D5C3-4909-A781-2C0A1A4D03BD}"/>
                </a:ext>
              </a:extLst>
            </p:cNvPr>
            <p:cNvSpPr>
              <a:spLocks/>
            </p:cNvSpPr>
            <p:nvPr/>
          </p:nvSpPr>
          <p:spPr bwMode="auto">
            <a:xfrm>
              <a:off x="426" y="1354"/>
              <a:ext cx="12" cy="12"/>
            </a:xfrm>
            <a:custGeom>
              <a:avLst/>
              <a:gdLst>
                <a:gd name="T0" fmla="*/ 1 w 5"/>
                <a:gd name="T1" fmla="*/ 0 h 5"/>
                <a:gd name="T2" fmla="*/ 2 w 5"/>
                <a:gd name="T3" fmla="*/ 3 h 5"/>
                <a:gd name="T4" fmla="*/ 3 w 5"/>
                <a:gd name="T5" fmla="*/ 5 h 5"/>
                <a:gd name="T6" fmla="*/ 1 w 5"/>
                <a:gd name="T7" fmla="*/ 0 h 5"/>
              </a:gdLst>
              <a:ahLst/>
              <a:cxnLst>
                <a:cxn ang="0">
                  <a:pos x="T0" y="T1"/>
                </a:cxn>
                <a:cxn ang="0">
                  <a:pos x="T2" y="T3"/>
                </a:cxn>
                <a:cxn ang="0">
                  <a:pos x="T4" y="T5"/>
                </a:cxn>
                <a:cxn ang="0">
                  <a:pos x="T6" y="T7"/>
                </a:cxn>
              </a:cxnLst>
              <a:rect l="0" t="0" r="r" b="b"/>
              <a:pathLst>
                <a:path w="5" h="5">
                  <a:moveTo>
                    <a:pt x="1" y="0"/>
                  </a:moveTo>
                  <a:cubicBezTo>
                    <a:pt x="0" y="1"/>
                    <a:pt x="1" y="2"/>
                    <a:pt x="2" y="3"/>
                  </a:cubicBezTo>
                  <a:cubicBezTo>
                    <a:pt x="3" y="4"/>
                    <a:pt x="3" y="4"/>
                    <a:pt x="3" y="5"/>
                  </a:cubicBezTo>
                  <a:cubicBezTo>
                    <a:pt x="5" y="3"/>
                    <a:pt x="2"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62" name="Freeform 2014">
              <a:extLst>
                <a:ext uri="{FF2B5EF4-FFF2-40B4-BE49-F238E27FC236}">
                  <a16:creationId xmlns:a16="http://schemas.microsoft.com/office/drawing/2014/main" id="{6DCA853F-3C24-40D8-AB78-ADBDECC2F628}"/>
                </a:ext>
              </a:extLst>
            </p:cNvPr>
            <p:cNvSpPr>
              <a:spLocks/>
            </p:cNvSpPr>
            <p:nvPr/>
          </p:nvSpPr>
          <p:spPr bwMode="auto">
            <a:xfrm>
              <a:off x="2100" y="1626"/>
              <a:ext cx="7" cy="3"/>
            </a:xfrm>
            <a:custGeom>
              <a:avLst/>
              <a:gdLst>
                <a:gd name="T0" fmla="*/ 0 w 3"/>
                <a:gd name="T1" fmla="*/ 1 h 1"/>
                <a:gd name="T2" fmla="*/ 3 w 3"/>
                <a:gd name="T3" fmla="*/ 0 h 1"/>
                <a:gd name="T4" fmla="*/ 0 w 3"/>
                <a:gd name="T5" fmla="*/ 1 h 1"/>
              </a:gdLst>
              <a:ahLst/>
              <a:cxnLst>
                <a:cxn ang="0">
                  <a:pos x="T0" y="T1"/>
                </a:cxn>
                <a:cxn ang="0">
                  <a:pos x="T2" y="T3"/>
                </a:cxn>
                <a:cxn ang="0">
                  <a:pos x="T4" y="T5"/>
                </a:cxn>
              </a:cxnLst>
              <a:rect l="0" t="0" r="r" b="b"/>
              <a:pathLst>
                <a:path w="3" h="1">
                  <a:moveTo>
                    <a:pt x="0" y="1"/>
                  </a:moveTo>
                  <a:cubicBezTo>
                    <a:pt x="1" y="1"/>
                    <a:pt x="2" y="1"/>
                    <a:pt x="3" y="0"/>
                  </a:cubicBezTo>
                  <a:cubicBezTo>
                    <a:pt x="2" y="1"/>
                    <a:pt x="1"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63" name="Freeform 2015">
              <a:extLst>
                <a:ext uri="{FF2B5EF4-FFF2-40B4-BE49-F238E27FC236}">
                  <a16:creationId xmlns:a16="http://schemas.microsoft.com/office/drawing/2014/main" id="{7FD33889-4080-42EF-91D9-32270078CB94}"/>
                </a:ext>
              </a:extLst>
            </p:cNvPr>
            <p:cNvSpPr>
              <a:spLocks/>
            </p:cNvSpPr>
            <p:nvPr/>
          </p:nvSpPr>
          <p:spPr bwMode="auto">
            <a:xfrm>
              <a:off x="1979" y="1014"/>
              <a:ext cx="14" cy="7"/>
            </a:xfrm>
            <a:custGeom>
              <a:avLst/>
              <a:gdLst>
                <a:gd name="T0" fmla="*/ 4 w 6"/>
                <a:gd name="T1" fmla="*/ 0 h 3"/>
                <a:gd name="T2" fmla="*/ 3 w 6"/>
                <a:gd name="T3" fmla="*/ 0 h 3"/>
                <a:gd name="T4" fmla="*/ 0 w 6"/>
                <a:gd name="T5" fmla="*/ 1 h 3"/>
                <a:gd name="T6" fmla="*/ 3 w 6"/>
                <a:gd name="T7" fmla="*/ 2 h 3"/>
                <a:gd name="T8" fmla="*/ 6 w 6"/>
                <a:gd name="T9" fmla="*/ 0 h 3"/>
                <a:gd name="T10" fmla="*/ 4 w 6"/>
                <a:gd name="T11" fmla="*/ 0 h 3"/>
              </a:gdLst>
              <a:ahLst/>
              <a:cxnLst>
                <a:cxn ang="0">
                  <a:pos x="T0" y="T1"/>
                </a:cxn>
                <a:cxn ang="0">
                  <a:pos x="T2" y="T3"/>
                </a:cxn>
                <a:cxn ang="0">
                  <a:pos x="T4" y="T5"/>
                </a:cxn>
                <a:cxn ang="0">
                  <a:pos x="T6" y="T7"/>
                </a:cxn>
                <a:cxn ang="0">
                  <a:pos x="T8" y="T9"/>
                </a:cxn>
                <a:cxn ang="0">
                  <a:pos x="T10" y="T11"/>
                </a:cxn>
              </a:cxnLst>
              <a:rect l="0" t="0" r="r" b="b"/>
              <a:pathLst>
                <a:path w="6" h="3">
                  <a:moveTo>
                    <a:pt x="4" y="0"/>
                  </a:moveTo>
                  <a:cubicBezTo>
                    <a:pt x="4" y="0"/>
                    <a:pt x="3" y="0"/>
                    <a:pt x="3" y="0"/>
                  </a:cubicBezTo>
                  <a:cubicBezTo>
                    <a:pt x="1" y="0"/>
                    <a:pt x="2" y="1"/>
                    <a:pt x="0" y="1"/>
                  </a:cubicBezTo>
                  <a:cubicBezTo>
                    <a:pt x="1" y="2"/>
                    <a:pt x="2" y="2"/>
                    <a:pt x="3" y="2"/>
                  </a:cubicBezTo>
                  <a:cubicBezTo>
                    <a:pt x="5" y="3"/>
                    <a:pt x="5" y="1"/>
                    <a:pt x="6" y="0"/>
                  </a:cubicBezTo>
                  <a:cubicBezTo>
                    <a:pt x="5" y="0"/>
                    <a:pt x="5" y="0"/>
                    <a:pt x="4"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64" name="Freeform 2016">
              <a:extLst>
                <a:ext uri="{FF2B5EF4-FFF2-40B4-BE49-F238E27FC236}">
                  <a16:creationId xmlns:a16="http://schemas.microsoft.com/office/drawing/2014/main" id="{6A195BC4-DB08-48C0-BE98-A4FC523FB1E8}"/>
                </a:ext>
              </a:extLst>
            </p:cNvPr>
            <p:cNvSpPr>
              <a:spLocks/>
            </p:cNvSpPr>
            <p:nvPr/>
          </p:nvSpPr>
          <p:spPr bwMode="auto">
            <a:xfrm>
              <a:off x="480" y="1447"/>
              <a:ext cx="10" cy="9"/>
            </a:xfrm>
            <a:custGeom>
              <a:avLst/>
              <a:gdLst>
                <a:gd name="T0" fmla="*/ 2 w 4"/>
                <a:gd name="T1" fmla="*/ 3 h 4"/>
                <a:gd name="T2" fmla="*/ 4 w 4"/>
                <a:gd name="T3" fmla="*/ 4 h 4"/>
                <a:gd name="T4" fmla="*/ 4 w 4"/>
                <a:gd name="T5" fmla="*/ 4 h 4"/>
                <a:gd name="T6" fmla="*/ 3 w 4"/>
                <a:gd name="T7" fmla="*/ 0 h 4"/>
                <a:gd name="T8" fmla="*/ 2 w 4"/>
                <a:gd name="T9" fmla="*/ 3 h 4"/>
              </a:gdLst>
              <a:ahLst/>
              <a:cxnLst>
                <a:cxn ang="0">
                  <a:pos x="T0" y="T1"/>
                </a:cxn>
                <a:cxn ang="0">
                  <a:pos x="T2" y="T3"/>
                </a:cxn>
                <a:cxn ang="0">
                  <a:pos x="T4" y="T5"/>
                </a:cxn>
                <a:cxn ang="0">
                  <a:pos x="T6" y="T7"/>
                </a:cxn>
                <a:cxn ang="0">
                  <a:pos x="T8" y="T9"/>
                </a:cxn>
              </a:cxnLst>
              <a:rect l="0" t="0" r="r" b="b"/>
              <a:pathLst>
                <a:path w="4" h="4">
                  <a:moveTo>
                    <a:pt x="2" y="3"/>
                  </a:moveTo>
                  <a:cubicBezTo>
                    <a:pt x="3" y="4"/>
                    <a:pt x="3" y="4"/>
                    <a:pt x="4" y="4"/>
                  </a:cubicBezTo>
                  <a:cubicBezTo>
                    <a:pt x="4" y="4"/>
                    <a:pt x="4" y="4"/>
                    <a:pt x="4" y="4"/>
                  </a:cubicBezTo>
                  <a:cubicBezTo>
                    <a:pt x="4" y="3"/>
                    <a:pt x="3" y="1"/>
                    <a:pt x="3" y="0"/>
                  </a:cubicBezTo>
                  <a:cubicBezTo>
                    <a:pt x="1" y="1"/>
                    <a:pt x="0" y="2"/>
                    <a:pt x="2"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65" name="Freeform 2017">
              <a:extLst>
                <a:ext uri="{FF2B5EF4-FFF2-40B4-BE49-F238E27FC236}">
                  <a16:creationId xmlns:a16="http://schemas.microsoft.com/office/drawing/2014/main" id="{51DCCE5F-BFC1-4A53-A99B-AE1B8AD40655}"/>
                </a:ext>
              </a:extLst>
            </p:cNvPr>
            <p:cNvSpPr>
              <a:spLocks/>
            </p:cNvSpPr>
            <p:nvPr/>
          </p:nvSpPr>
          <p:spPr bwMode="auto">
            <a:xfrm>
              <a:off x="1119" y="753"/>
              <a:ext cx="11" cy="15"/>
            </a:xfrm>
            <a:custGeom>
              <a:avLst/>
              <a:gdLst>
                <a:gd name="T0" fmla="*/ 0 w 5"/>
                <a:gd name="T1" fmla="*/ 5 h 6"/>
                <a:gd name="T2" fmla="*/ 1 w 5"/>
                <a:gd name="T3" fmla="*/ 5 h 6"/>
                <a:gd name="T4" fmla="*/ 2 w 5"/>
                <a:gd name="T5" fmla="*/ 6 h 6"/>
                <a:gd name="T6" fmla="*/ 3 w 5"/>
                <a:gd name="T7" fmla="*/ 6 h 6"/>
                <a:gd name="T8" fmla="*/ 4 w 5"/>
                <a:gd name="T9" fmla="*/ 5 h 6"/>
                <a:gd name="T10" fmla="*/ 3 w 5"/>
                <a:gd name="T11" fmla="*/ 1 h 6"/>
                <a:gd name="T12" fmla="*/ 3 w 5"/>
                <a:gd name="T13" fmla="*/ 1 h 6"/>
                <a:gd name="T14" fmla="*/ 3 w 5"/>
                <a:gd name="T15" fmla="*/ 1 h 6"/>
                <a:gd name="T16" fmla="*/ 2 w 5"/>
                <a:gd name="T17" fmla="*/ 1 h 6"/>
                <a:gd name="T18" fmla="*/ 2 w 5"/>
                <a:gd name="T19" fmla="*/ 1 h 6"/>
                <a:gd name="T20" fmla="*/ 0 w 5"/>
                <a:gd name="T21" fmla="*/ 2 h 6"/>
                <a:gd name="T22" fmla="*/ 0 w 5"/>
                <a:gd name="T23" fmla="*/ 3 h 6"/>
                <a:gd name="T24" fmla="*/ 0 w 5"/>
                <a:gd name="T25" fmla="*/ 4 h 6"/>
                <a:gd name="T26" fmla="*/ 0 w 5"/>
                <a:gd name="T27" fmla="*/ 5 h 6"/>
                <a:gd name="T28" fmla="*/ 0 w 5"/>
                <a:gd name="T2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6">
                  <a:moveTo>
                    <a:pt x="0" y="5"/>
                  </a:moveTo>
                  <a:cubicBezTo>
                    <a:pt x="0" y="5"/>
                    <a:pt x="0" y="5"/>
                    <a:pt x="1" y="5"/>
                  </a:cubicBezTo>
                  <a:cubicBezTo>
                    <a:pt x="2" y="5"/>
                    <a:pt x="1" y="6"/>
                    <a:pt x="2" y="6"/>
                  </a:cubicBezTo>
                  <a:cubicBezTo>
                    <a:pt x="2" y="6"/>
                    <a:pt x="2" y="6"/>
                    <a:pt x="3" y="6"/>
                  </a:cubicBezTo>
                  <a:cubicBezTo>
                    <a:pt x="3" y="6"/>
                    <a:pt x="4" y="5"/>
                    <a:pt x="4" y="5"/>
                  </a:cubicBezTo>
                  <a:cubicBezTo>
                    <a:pt x="5" y="4"/>
                    <a:pt x="4" y="2"/>
                    <a:pt x="3" y="1"/>
                  </a:cubicBezTo>
                  <a:cubicBezTo>
                    <a:pt x="3" y="1"/>
                    <a:pt x="3" y="1"/>
                    <a:pt x="3" y="1"/>
                  </a:cubicBezTo>
                  <a:cubicBezTo>
                    <a:pt x="3" y="1"/>
                    <a:pt x="3" y="1"/>
                    <a:pt x="3" y="1"/>
                  </a:cubicBezTo>
                  <a:cubicBezTo>
                    <a:pt x="3" y="1"/>
                    <a:pt x="2" y="1"/>
                    <a:pt x="2" y="1"/>
                  </a:cubicBezTo>
                  <a:cubicBezTo>
                    <a:pt x="2" y="1"/>
                    <a:pt x="2" y="1"/>
                    <a:pt x="2" y="1"/>
                  </a:cubicBezTo>
                  <a:cubicBezTo>
                    <a:pt x="1" y="0"/>
                    <a:pt x="0" y="1"/>
                    <a:pt x="0" y="2"/>
                  </a:cubicBezTo>
                  <a:cubicBezTo>
                    <a:pt x="0" y="2"/>
                    <a:pt x="0" y="2"/>
                    <a:pt x="0" y="3"/>
                  </a:cubicBezTo>
                  <a:cubicBezTo>
                    <a:pt x="0" y="3"/>
                    <a:pt x="0" y="3"/>
                    <a:pt x="0" y="4"/>
                  </a:cubicBezTo>
                  <a:cubicBezTo>
                    <a:pt x="0" y="4"/>
                    <a:pt x="0" y="5"/>
                    <a:pt x="0" y="5"/>
                  </a:cubicBezTo>
                  <a:cubicBezTo>
                    <a:pt x="0" y="5"/>
                    <a:pt x="0" y="5"/>
                    <a:pt x="0"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66" name="Freeform 2018">
              <a:extLst>
                <a:ext uri="{FF2B5EF4-FFF2-40B4-BE49-F238E27FC236}">
                  <a16:creationId xmlns:a16="http://schemas.microsoft.com/office/drawing/2014/main" id="{BD90D761-D884-4299-AEFB-8DA9FB3E3E73}"/>
                </a:ext>
              </a:extLst>
            </p:cNvPr>
            <p:cNvSpPr>
              <a:spLocks/>
            </p:cNvSpPr>
            <p:nvPr/>
          </p:nvSpPr>
          <p:spPr bwMode="auto">
            <a:xfrm>
              <a:off x="2053" y="1527"/>
              <a:ext cx="7" cy="2"/>
            </a:xfrm>
            <a:custGeom>
              <a:avLst/>
              <a:gdLst>
                <a:gd name="T0" fmla="*/ 0 w 3"/>
                <a:gd name="T1" fmla="*/ 0 h 1"/>
                <a:gd name="T2" fmla="*/ 0 w 3"/>
                <a:gd name="T3" fmla="*/ 1 h 1"/>
                <a:gd name="T4" fmla="*/ 0 w 3"/>
                <a:gd name="T5" fmla="*/ 0 h 1"/>
              </a:gdLst>
              <a:ahLst/>
              <a:cxnLst>
                <a:cxn ang="0">
                  <a:pos x="T0" y="T1"/>
                </a:cxn>
                <a:cxn ang="0">
                  <a:pos x="T2" y="T3"/>
                </a:cxn>
                <a:cxn ang="0">
                  <a:pos x="T4" y="T5"/>
                </a:cxn>
              </a:cxnLst>
              <a:rect l="0" t="0" r="r" b="b"/>
              <a:pathLst>
                <a:path w="3" h="1">
                  <a:moveTo>
                    <a:pt x="0" y="0"/>
                  </a:moveTo>
                  <a:cubicBezTo>
                    <a:pt x="0" y="0"/>
                    <a:pt x="0" y="1"/>
                    <a:pt x="0" y="1"/>
                  </a:cubicBezTo>
                  <a:cubicBezTo>
                    <a:pt x="3" y="1"/>
                    <a:pt x="0"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67" name="Freeform 2019">
              <a:extLst>
                <a:ext uri="{FF2B5EF4-FFF2-40B4-BE49-F238E27FC236}">
                  <a16:creationId xmlns:a16="http://schemas.microsoft.com/office/drawing/2014/main" id="{4D29E40B-511E-4039-B5E2-B109DE8B932E}"/>
                </a:ext>
              </a:extLst>
            </p:cNvPr>
            <p:cNvSpPr>
              <a:spLocks/>
            </p:cNvSpPr>
            <p:nvPr/>
          </p:nvSpPr>
          <p:spPr bwMode="auto">
            <a:xfrm>
              <a:off x="2053" y="152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68" name="Freeform 2020">
              <a:extLst>
                <a:ext uri="{FF2B5EF4-FFF2-40B4-BE49-F238E27FC236}">
                  <a16:creationId xmlns:a16="http://schemas.microsoft.com/office/drawing/2014/main" id="{01125E52-2377-4117-91A2-F379C745D6CD}"/>
                </a:ext>
              </a:extLst>
            </p:cNvPr>
            <p:cNvSpPr>
              <a:spLocks/>
            </p:cNvSpPr>
            <p:nvPr/>
          </p:nvSpPr>
          <p:spPr bwMode="auto">
            <a:xfrm>
              <a:off x="2053" y="1518"/>
              <a:ext cx="9" cy="9"/>
            </a:xfrm>
            <a:custGeom>
              <a:avLst/>
              <a:gdLst>
                <a:gd name="T0" fmla="*/ 4 w 4"/>
                <a:gd name="T1" fmla="*/ 0 h 4"/>
                <a:gd name="T2" fmla="*/ 2 w 4"/>
                <a:gd name="T3" fmla="*/ 2 h 4"/>
                <a:gd name="T4" fmla="*/ 0 w 4"/>
                <a:gd name="T5" fmla="*/ 4 h 4"/>
                <a:gd name="T6" fmla="*/ 2 w 4"/>
                <a:gd name="T7" fmla="*/ 3 h 4"/>
                <a:gd name="T8" fmla="*/ 4 w 4"/>
                <a:gd name="T9" fmla="*/ 0 h 4"/>
              </a:gdLst>
              <a:ahLst/>
              <a:cxnLst>
                <a:cxn ang="0">
                  <a:pos x="T0" y="T1"/>
                </a:cxn>
                <a:cxn ang="0">
                  <a:pos x="T2" y="T3"/>
                </a:cxn>
                <a:cxn ang="0">
                  <a:pos x="T4" y="T5"/>
                </a:cxn>
                <a:cxn ang="0">
                  <a:pos x="T6" y="T7"/>
                </a:cxn>
                <a:cxn ang="0">
                  <a:pos x="T8" y="T9"/>
                </a:cxn>
              </a:cxnLst>
              <a:rect l="0" t="0" r="r" b="b"/>
              <a:pathLst>
                <a:path w="4" h="4">
                  <a:moveTo>
                    <a:pt x="4" y="0"/>
                  </a:moveTo>
                  <a:cubicBezTo>
                    <a:pt x="3" y="0"/>
                    <a:pt x="3" y="1"/>
                    <a:pt x="2" y="2"/>
                  </a:cubicBezTo>
                  <a:cubicBezTo>
                    <a:pt x="1" y="3"/>
                    <a:pt x="1" y="3"/>
                    <a:pt x="0" y="4"/>
                  </a:cubicBezTo>
                  <a:cubicBezTo>
                    <a:pt x="1" y="3"/>
                    <a:pt x="2" y="3"/>
                    <a:pt x="2" y="3"/>
                  </a:cubicBezTo>
                  <a:cubicBezTo>
                    <a:pt x="3" y="2"/>
                    <a:pt x="4" y="1"/>
                    <a:pt x="4"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69" name="Freeform 2021">
              <a:extLst>
                <a:ext uri="{FF2B5EF4-FFF2-40B4-BE49-F238E27FC236}">
                  <a16:creationId xmlns:a16="http://schemas.microsoft.com/office/drawing/2014/main" id="{BB385806-490E-49FC-838E-1F297BA921E1}"/>
                </a:ext>
              </a:extLst>
            </p:cNvPr>
            <p:cNvSpPr>
              <a:spLocks/>
            </p:cNvSpPr>
            <p:nvPr/>
          </p:nvSpPr>
          <p:spPr bwMode="auto">
            <a:xfrm>
              <a:off x="379" y="1366"/>
              <a:ext cx="0" cy="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70" name="Freeform 2022">
              <a:extLst>
                <a:ext uri="{FF2B5EF4-FFF2-40B4-BE49-F238E27FC236}">
                  <a16:creationId xmlns:a16="http://schemas.microsoft.com/office/drawing/2014/main" id="{B5571D95-CE51-4937-A021-B070B7CD5856}"/>
                </a:ext>
              </a:extLst>
            </p:cNvPr>
            <p:cNvSpPr>
              <a:spLocks/>
            </p:cNvSpPr>
            <p:nvPr/>
          </p:nvSpPr>
          <p:spPr bwMode="auto">
            <a:xfrm>
              <a:off x="348" y="1340"/>
              <a:ext cx="35" cy="38"/>
            </a:xfrm>
            <a:custGeom>
              <a:avLst/>
              <a:gdLst>
                <a:gd name="T0" fmla="*/ 15 w 15"/>
                <a:gd name="T1" fmla="*/ 14 h 16"/>
                <a:gd name="T2" fmla="*/ 12 w 15"/>
                <a:gd name="T3" fmla="*/ 12 h 16"/>
                <a:gd name="T4" fmla="*/ 8 w 15"/>
                <a:gd name="T5" fmla="*/ 7 h 16"/>
                <a:gd name="T6" fmla="*/ 9 w 15"/>
                <a:gd name="T7" fmla="*/ 6 h 16"/>
                <a:gd name="T8" fmla="*/ 6 w 15"/>
                <a:gd name="T9" fmla="*/ 5 h 16"/>
                <a:gd name="T10" fmla="*/ 6 w 15"/>
                <a:gd name="T11" fmla="*/ 3 h 16"/>
                <a:gd name="T12" fmla="*/ 6 w 15"/>
                <a:gd name="T13" fmla="*/ 2 h 16"/>
                <a:gd name="T14" fmla="*/ 7 w 15"/>
                <a:gd name="T15" fmla="*/ 2 h 16"/>
                <a:gd name="T16" fmla="*/ 8 w 15"/>
                <a:gd name="T17" fmla="*/ 0 h 16"/>
                <a:gd name="T18" fmla="*/ 5 w 15"/>
                <a:gd name="T19" fmla="*/ 1 h 16"/>
                <a:gd name="T20" fmla="*/ 0 w 15"/>
                <a:gd name="T21" fmla="*/ 1 h 16"/>
                <a:gd name="T22" fmla="*/ 4 w 15"/>
                <a:gd name="T23" fmla="*/ 3 h 16"/>
                <a:gd name="T24" fmla="*/ 4 w 15"/>
                <a:gd name="T25" fmla="*/ 4 h 16"/>
                <a:gd name="T26" fmla="*/ 2 w 15"/>
                <a:gd name="T27" fmla="*/ 4 h 16"/>
                <a:gd name="T28" fmla="*/ 4 w 15"/>
                <a:gd name="T29" fmla="*/ 6 h 16"/>
                <a:gd name="T30" fmla="*/ 5 w 15"/>
                <a:gd name="T31" fmla="*/ 5 h 16"/>
                <a:gd name="T32" fmla="*/ 6 w 15"/>
                <a:gd name="T33" fmla="*/ 6 h 16"/>
                <a:gd name="T34" fmla="*/ 5 w 15"/>
                <a:gd name="T35" fmla="*/ 7 h 16"/>
                <a:gd name="T36" fmla="*/ 6 w 15"/>
                <a:gd name="T37" fmla="*/ 8 h 16"/>
                <a:gd name="T38" fmla="*/ 8 w 15"/>
                <a:gd name="T39" fmla="*/ 10 h 16"/>
                <a:gd name="T40" fmla="*/ 9 w 15"/>
                <a:gd name="T41" fmla="*/ 11 h 16"/>
                <a:gd name="T42" fmla="*/ 10 w 15"/>
                <a:gd name="T43" fmla="*/ 12 h 16"/>
                <a:gd name="T44" fmla="*/ 12 w 15"/>
                <a:gd name="T45" fmla="*/ 14 h 16"/>
                <a:gd name="T46" fmla="*/ 12 w 15"/>
                <a:gd name="T47" fmla="*/ 14 h 16"/>
                <a:gd name="T48" fmla="*/ 13 w 15"/>
                <a:gd name="T49" fmla="*/ 14 h 16"/>
                <a:gd name="T50" fmla="*/ 15 w 15"/>
                <a:gd name="T5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 h="16">
                  <a:moveTo>
                    <a:pt x="15" y="14"/>
                  </a:moveTo>
                  <a:cubicBezTo>
                    <a:pt x="14" y="13"/>
                    <a:pt x="13" y="11"/>
                    <a:pt x="12" y="12"/>
                  </a:cubicBezTo>
                  <a:cubicBezTo>
                    <a:pt x="13" y="11"/>
                    <a:pt x="9" y="8"/>
                    <a:pt x="8" y="7"/>
                  </a:cubicBezTo>
                  <a:cubicBezTo>
                    <a:pt x="7" y="6"/>
                    <a:pt x="8" y="6"/>
                    <a:pt x="9" y="6"/>
                  </a:cubicBezTo>
                  <a:cubicBezTo>
                    <a:pt x="8" y="6"/>
                    <a:pt x="7" y="5"/>
                    <a:pt x="6" y="5"/>
                  </a:cubicBezTo>
                  <a:cubicBezTo>
                    <a:pt x="6" y="4"/>
                    <a:pt x="6" y="4"/>
                    <a:pt x="6" y="3"/>
                  </a:cubicBezTo>
                  <a:cubicBezTo>
                    <a:pt x="5" y="2"/>
                    <a:pt x="6" y="3"/>
                    <a:pt x="6" y="2"/>
                  </a:cubicBezTo>
                  <a:cubicBezTo>
                    <a:pt x="7" y="2"/>
                    <a:pt x="7" y="2"/>
                    <a:pt x="7" y="2"/>
                  </a:cubicBezTo>
                  <a:cubicBezTo>
                    <a:pt x="8" y="2"/>
                    <a:pt x="8" y="0"/>
                    <a:pt x="8" y="0"/>
                  </a:cubicBezTo>
                  <a:cubicBezTo>
                    <a:pt x="7" y="0"/>
                    <a:pt x="6" y="1"/>
                    <a:pt x="5" y="1"/>
                  </a:cubicBezTo>
                  <a:cubicBezTo>
                    <a:pt x="4" y="1"/>
                    <a:pt x="1" y="1"/>
                    <a:pt x="0" y="1"/>
                  </a:cubicBezTo>
                  <a:cubicBezTo>
                    <a:pt x="0" y="3"/>
                    <a:pt x="3" y="2"/>
                    <a:pt x="4" y="3"/>
                  </a:cubicBezTo>
                  <a:cubicBezTo>
                    <a:pt x="4" y="3"/>
                    <a:pt x="4" y="4"/>
                    <a:pt x="4" y="4"/>
                  </a:cubicBezTo>
                  <a:cubicBezTo>
                    <a:pt x="3" y="4"/>
                    <a:pt x="3" y="4"/>
                    <a:pt x="2" y="4"/>
                  </a:cubicBezTo>
                  <a:cubicBezTo>
                    <a:pt x="3" y="5"/>
                    <a:pt x="4" y="6"/>
                    <a:pt x="4" y="6"/>
                  </a:cubicBezTo>
                  <a:cubicBezTo>
                    <a:pt x="5" y="6"/>
                    <a:pt x="5" y="6"/>
                    <a:pt x="5" y="5"/>
                  </a:cubicBezTo>
                  <a:cubicBezTo>
                    <a:pt x="5" y="5"/>
                    <a:pt x="6" y="6"/>
                    <a:pt x="6" y="6"/>
                  </a:cubicBezTo>
                  <a:cubicBezTo>
                    <a:pt x="6" y="7"/>
                    <a:pt x="5" y="6"/>
                    <a:pt x="5" y="7"/>
                  </a:cubicBezTo>
                  <a:cubicBezTo>
                    <a:pt x="5" y="7"/>
                    <a:pt x="6" y="8"/>
                    <a:pt x="6" y="8"/>
                  </a:cubicBezTo>
                  <a:cubicBezTo>
                    <a:pt x="6" y="8"/>
                    <a:pt x="7" y="9"/>
                    <a:pt x="8" y="10"/>
                  </a:cubicBezTo>
                  <a:cubicBezTo>
                    <a:pt x="9" y="10"/>
                    <a:pt x="9" y="10"/>
                    <a:pt x="9" y="11"/>
                  </a:cubicBezTo>
                  <a:cubicBezTo>
                    <a:pt x="10" y="11"/>
                    <a:pt x="10" y="11"/>
                    <a:pt x="10" y="12"/>
                  </a:cubicBezTo>
                  <a:cubicBezTo>
                    <a:pt x="10" y="12"/>
                    <a:pt x="11" y="14"/>
                    <a:pt x="12" y="14"/>
                  </a:cubicBezTo>
                  <a:cubicBezTo>
                    <a:pt x="12" y="14"/>
                    <a:pt x="12" y="14"/>
                    <a:pt x="12" y="14"/>
                  </a:cubicBezTo>
                  <a:cubicBezTo>
                    <a:pt x="13" y="15"/>
                    <a:pt x="13" y="16"/>
                    <a:pt x="13" y="14"/>
                  </a:cubicBezTo>
                  <a:cubicBezTo>
                    <a:pt x="14" y="15"/>
                    <a:pt x="14" y="16"/>
                    <a:pt x="15" y="1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71" name="Freeform 2023">
              <a:extLst>
                <a:ext uri="{FF2B5EF4-FFF2-40B4-BE49-F238E27FC236}">
                  <a16:creationId xmlns:a16="http://schemas.microsoft.com/office/drawing/2014/main" id="{6BA16675-7ED8-47B7-AFEE-B8362CA25332}"/>
                </a:ext>
              </a:extLst>
            </p:cNvPr>
            <p:cNvSpPr>
              <a:spLocks/>
            </p:cNvSpPr>
            <p:nvPr/>
          </p:nvSpPr>
          <p:spPr bwMode="auto">
            <a:xfrm>
              <a:off x="2185" y="1529"/>
              <a:ext cx="5" cy="15"/>
            </a:xfrm>
            <a:custGeom>
              <a:avLst/>
              <a:gdLst>
                <a:gd name="T0" fmla="*/ 1 w 2"/>
                <a:gd name="T1" fmla="*/ 6 h 6"/>
                <a:gd name="T2" fmla="*/ 2 w 2"/>
                <a:gd name="T3" fmla="*/ 2 h 6"/>
                <a:gd name="T4" fmla="*/ 2 w 2"/>
                <a:gd name="T5" fmla="*/ 4 h 6"/>
                <a:gd name="T6" fmla="*/ 1 w 2"/>
                <a:gd name="T7" fmla="*/ 6 h 6"/>
              </a:gdLst>
              <a:ahLst/>
              <a:cxnLst>
                <a:cxn ang="0">
                  <a:pos x="T0" y="T1"/>
                </a:cxn>
                <a:cxn ang="0">
                  <a:pos x="T2" y="T3"/>
                </a:cxn>
                <a:cxn ang="0">
                  <a:pos x="T4" y="T5"/>
                </a:cxn>
                <a:cxn ang="0">
                  <a:pos x="T6" y="T7"/>
                </a:cxn>
              </a:cxnLst>
              <a:rect l="0" t="0" r="r" b="b"/>
              <a:pathLst>
                <a:path w="2" h="6">
                  <a:moveTo>
                    <a:pt x="1" y="6"/>
                  </a:moveTo>
                  <a:cubicBezTo>
                    <a:pt x="2" y="5"/>
                    <a:pt x="2" y="3"/>
                    <a:pt x="2" y="2"/>
                  </a:cubicBezTo>
                  <a:cubicBezTo>
                    <a:pt x="0" y="0"/>
                    <a:pt x="2" y="4"/>
                    <a:pt x="2" y="4"/>
                  </a:cubicBezTo>
                  <a:cubicBezTo>
                    <a:pt x="1" y="5"/>
                    <a:pt x="1" y="5"/>
                    <a:pt x="1" y="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72" name="Freeform 2024">
              <a:extLst>
                <a:ext uri="{FF2B5EF4-FFF2-40B4-BE49-F238E27FC236}">
                  <a16:creationId xmlns:a16="http://schemas.microsoft.com/office/drawing/2014/main" id="{02AB05B2-1EC8-4EB6-9C09-340C84586D8F}"/>
                </a:ext>
              </a:extLst>
            </p:cNvPr>
            <p:cNvSpPr>
              <a:spLocks/>
            </p:cNvSpPr>
            <p:nvPr/>
          </p:nvSpPr>
          <p:spPr bwMode="auto">
            <a:xfrm>
              <a:off x="511" y="505"/>
              <a:ext cx="253" cy="161"/>
            </a:xfrm>
            <a:custGeom>
              <a:avLst/>
              <a:gdLst>
                <a:gd name="T0" fmla="*/ 6 w 107"/>
                <a:gd name="T1" fmla="*/ 52 h 68"/>
                <a:gd name="T2" fmla="*/ 18 w 107"/>
                <a:gd name="T3" fmla="*/ 56 h 68"/>
                <a:gd name="T4" fmla="*/ 25 w 107"/>
                <a:gd name="T5" fmla="*/ 64 h 68"/>
                <a:gd name="T6" fmla="*/ 32 w 107"/>
                <a:gd name="T7" fmla="*/ 67 h 68"/>
                <a:gd name="T8" fmla="*/ 40 w 107"/>
                <a:gd name="T9" fmla="*/ 62 h 68"/>
                <a:gd name="T10" fmla="*/ 44 w 107"/>
                <a:gd name="T11" fmla="*/ 62 h 68"/>
                <a:gd name="T12" fmla="*/ 53 w 107"/>
                <a:gd name="T13" fmla="*/ 60 h 68"/>
                <a:gd name="T14" fmla="*/ 56 w 107"/>
                <a:gd name="T15" fmla="*/ 50 h 68"/>
                <a:gd name="T16" fmla="*/ 57 w 107"/>
                <a:gd name="T17" fmla="*/ 46 h 68"/>
                <a:gd name="T18" fmla="*/ 61 w 107"/>
                <a:gd name="T19" fmla="*/ 46 h 68"/>
                <a:gd name="T20" fmla="*/ 67 w 107"/>
                <a:gd name="T21" fmla="*/ 42 h 68"/>
                <a:gd name="T22" fmla="*/ 69 w 107"/>
                <a:gd name="T23" fmla="*/ 38 h 68"/>
                <a:gd name="T24" fmla="*/ 75 w 107"/>
                <a:gd name="T25" fmla="*/ 36 h 68"/>
                <a:gd name="T26" fmla="*/ 87 w 107"/>
                <a:gd name="T27" fmla="*/ 30 h 68"/>
                <a:gd name="T28" fmla="*/ 92 w 107"/>
                <a:gd name="T29" fmla="*/ 28 h 68"/>
                <a:gd name="T30" fmla="*/ 105 w 107"/>
                <a:gd name="T31" fmla="*/ 23 h 68"/>
                <a:gd name="T32" fmla="*/ 104 w 107"/>
                <a:gd name="T33" fmla="*/ 18 h 68"/>
                <a:gd name="T34" fmla="*/ 93 w 107"/>
                <a:gd name="T35" fmla="*/ 12 h 68"/>
                <a:gd name="T36" fmla="*/ 76 w 107"/>
                <a:gd name="T37" fmla="*/ 7 h 68"/>
                <a:gd name="T38" fmla="*/ 71 w 107"/>
                <a:gd name="T39" fmla="*/ 9 h 68"/>
                <a:gd name="T40" fmla="*/ 68 w 107"/>
                <a:gd name="T41" fmla="*/ 11 h 68"/>
                <a:gd name="T42" fmla="*/ 66 w 107"/>
                <a:gd name="T43" fmla="*/ 7 h 68"/>
                <a:gd name="T44" fmla="*/ 61 w 107"/>
                <a:gd name="T45" fmla="*/ 10 h 68"/>
                <a:gd name="T46" fmla="*/ 56 w 107"/>
                <a:gd name="T47" fmla="*/ 5 h 68"/>
                <a:gd name="T48" fmla="*/ 48 w 107"/>
                <a:gd name="T49" fmla="*/ 2 h 68"/>
                <a:gd name="T50" fmla="*/ 44 w 107"/>
                <a:gd name="T51" fmla="*/ 1 h 68"/>
                <a:gd name="T52" fmla="*/ 22 w 107"/>
                <a:gd name="T53" fmla="*/ 3 h 68"/>
                <a:gd name="T54" fmla="*/ 14 w 107"/>
                <a:gd name="T55" fmla="*/ 9 h 68"/>
                <a:gd name="T56" fmla="*/ 16 w 107"/>
                <a:gd name="T57" fmla="*/ 13 h 68"/>
                <a:gd name="T58" fmla="*/ 19 w 107"/>
                <a:gd name="T59" fmla="*/ 18 h 68"/>
                <a:gd name="T60" fmla="*/ 15 w 107"/>
                <a:gd name="T61" fmla="*/ 22 h 68"/>
                <a:gd name="T62" fmla="*/ 10 w 107"/>
                <a:gd name="T63" fmla="*/ 29 h 68"/>
                <a:gd name="T64" fmla="*/ 13 w 107"/>
                <a:gd name="T65" fmla="*/ 32 h 68"/>
                <a:gd name="T66" fmla="*/ 9 w 107"/>
                <a:gd name="T67" fmla="*/ 34 h 68"/>
                <a:gd name="T68" fmla="*/ 8 w 107"/>
                <a:gd name="T69" fmla="*/ 37 h 68"/>
                <a:gd name="T70" fmla="*/ 5 w 107"/>
                <a:gd name="T71" fmla="*/ 41 h 68"/>
                <a:gd name="T72" fmla="*/ 4 w 107"/>
                <a:gd name="T73" fmla="*/ 43 h 68"/>
                <a:gd name="T74" fmla="*/ 3 w 107"/>
                <a:gd name="T75" fmla="*/ 45 h 68"/>
                <a:gd name="T76" fmla="*/ 2 w 107"/>
                <a:gd name="T77" fmla="*/ 46 h 68"/>
                <a:gd name="T78" fmla="*/ 0 w 107"/>
                <a:gd name="T79" fmla="*/ 48 h 68"/>
                <a:gd name="T80" fmla="*/ 8 w 107"/>
                <a:gd name="T81" fmla="*/ 5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7" h="68">
                  <a:moveTo>
                    <a:pt x="8" y="51"/>
                  </a:moveTo>
                  <a:cubicBezTo>
                    <a:pt x="8" y="52"/>
                    <a:pt x="7" y="52"/>
                    <a:pt x="6" y="52"/>
                  </a:cubicBezTo>
                  <a:cubicBezTo>
                    <a:pt x="8" y="53"/>
                    <a:pt x="11" y="54"/>
                    <a:pt x="14" y="55"/>
                  </a:cubicBezTo>
                  <a:cubicBezTo>
                    <a:pt x="15" y="56"/>
                    <a:pt x="17" y="56"/>
                    <a:pt x="18" y="56"/>
                  </a:cubicBezTo>
                  <a:cubicBezTo>
                    <a:pt x="19" y="57"/>
                    <a:pt x="19" y="58"/>
                    <a:pt x="20" y="59"/>
                  </a:cubicBezTo>
                  <a:cubicBezTo>
                    <a:pt x="21" y="60"/>
                    <a:pt x="23" y="62"/>
                    <a:pt x="25" y="64"/>
                  </a:cubicBezTo>
                  <a:cubicBezTo>
                    <a:pt x="26" y="66"/>
                    <a:pt x="27" y="68"/>
                    <a:pt x="30" y="68"/>
                  </a:cubicBezTo>
                  <a:cubicBezTo>
                    <a:pt x="31" y="68"/>
                    <a:pt x="31" y="67"/>
                    <a:pt x="32" y="67"/>
                  </a:cubicBezTo>
                  <a:cubicBezTo>
                    <a:pt x="33" y="66"/>
                    <a:pt x="34" y="66"/>
                    <a:pt x="35" y="65"/>
                  </a:cubicBezTo>
                  <a:cubicBezTo>
                    <a:pt x="37" y="65"/>
                    <a:pt x="38" y="64"/>
                    <a:pt x="40" y="62"/>
                  </a:cubicBezTo>
                  <a:cubicBezTo>
                    <a:pt x="41" y="61"/>
                    <a:pt x="42" y="60"/>
                    <a:pt x="43" y="61"/>
                  </a:cubicBezTo>
                  <a:cubicBezTo>
                    <a:pt x="44" y="61"/>
                    <a:pt x="44" y="62"/>
                    <a:pt x="44" y="62"/>
                  </a:cubicBezTo>
                  <a:cubicBezTo>
                    <a:pt x="45" y="63"/>
                    <a:pt x="45" y="62"/>
                    <a:pt x="46" y="62"/>
                  </a:cubicBezTo>
                  <a:cubicBezTo>
                    <a:pt x="48" y="62"/>
                    <a:pt x="51" y="61"/>
                    <a:pt x="53" y="60"/>
                  </a:cubicBezTo>
                  <a:cubicBezTo>
                    <a:pt x="56" y="59"/>
                    <a:pt x="55" y="56"/>
                    <a:pt x="55" y="54"/>
                  </a:cubicBezTo>
                  <a:cubicBezTo>
                    <a:pt x="55" y="52"/>
                    <a:pt x="55" y="51"/>
                    <a:pt x="56" y="50"/>
                  </a:cubicBezTo>
                  <a:cubicBezTo>
                    <a:pt x="57" y="50"/>
                    <a:pt x="58" y="49"/>
                    <a:pt x="58" y="48"/>
                  </a:cubicBezTo>
                  <a:cubicBezTo>
                    <a:pt x="58" y="47"/>
                    <a:pt x="56" y="46"/>
                    <a:pt x="57" y="46"/>
                  </a:cubicBezTo>
                  <a:cubicBezTo>
                    <a:pt x="57" y="46"/>
                    <a:pt x="58" y="45"/>
                    <a:pt x="58" y="46"/>
                  </a:cubicBezTo>
                  <a:cubicBezTo>
                    <a:pt x="59" y="47"/>
                    <a:pt x="60" y="46"/>
                    <a:pt x="61" y="46"/>
                  </a:cubicBezTo>
                  <a:cubicBezTo>
                    <a:pt x="62" y="47"/>
                    <a:pt x="66" y="44"/>
                    <a:pt x="66" y="43"/>
                  </a:cubicBezTo>
                  <a:cubicBezTo>
                    <a:pt x="66" y="43"/>
                    <a:pt x="66" y="42"/>
                    <a:pt x="67" y="42"/>
                  </a:cubicBezTo>
                  <a:cubicBezTo>
                    <a:pt x="67" y="41"/>
                    <a:pt x="67" y="41"/>
                    <a:pt x="67" y="41"/>
                  </a:cubicBezTo>
                  <a:cubicBezTo>
                    <a:pt x="68" y="39"/>
                    <a:pt x="68" y="39"/>
                    <a:pt x="69" y="38"/>
                  </a:cubicBezTo>
                  <a:cubicBezTo>
                    <a:pt x="70" y="38"/>
                    <a:pt x="71" y="37"/>
                    <a:pt x="72" y="37"/>
                  </a:cubicBezTo>
                  <a:cubicBezTo>
                    <a:pt x="73" y="36"/>
                    <a:pt x="74" y="36"/>
                    <a:pt x="75" y="36"/>
                  </a:cubicBezTo>
                  <a:cubicBezTo>
                    <a:pt x="77" y="34"/>
                    <a:pt x="79" y="34"/>
                    <a:pt x="81" y="33"/>
                  </a:cubicBezTo>
                  <a:cubicBezTo>
                    <a:pt x="83" y="32"/>
                    <a:pt x="85" y="30"/>
                    <a:pt x="87" y="30"/>
                  </a:cubicBezTo>
                  <a:cubicBezTo>
                    <a:pt x="88" y="30"/>
                    <a:pt x="89" y="30"/>
                    <a:pt x="90" y="29"/>
                  </a:cubicBezTo>
                  <a:cubicBezTo>
                    <a:pt x="91" y="29"/>
                    <a:pt x="92" y="28"/>
                    <a:pt x="92" y="28"/>
                  </a:cubicBezTo>
                  <a:cubicBezTo>
                    <a:pt x="94" y="27"/>
                    <a:pt x="96" y="26"/>
                    <a:pt x="98" y="26"/>
                  </a:cubicBezTo>
                  <a:cubicBezTo>
                    <a:pt x="101" y="25"/>
                    <a:pt x="103" y="24"/>
                    <a:pt x="105" y="23"/>
                  </a:cubicBezTo>
                  <a:cubicBezTo>
                    <a:pt x="107" y="22"/>
                    <a:pt x="107" y="22"/>
                    <a:pt x="106" y="20"/>
                  </a:cubicBezTo>
                  <a:cubicBezTo>
                    <a:pt x="106" y="20"/>
                    <a:pt x="104" y="18"/>
                    <a:pt x="104" y="18"/>
                  </a:cubicBezTo>
                  <a:cubicBezTo>
                    <a:pt x="102" y="18"/>
                    <a:pt x="100" y="16"/>
                    <a:pt x="98" y="15"/>
                  </a:cubicBezTo>
                  <a:cubicBezTo>
                    <a:pt x="97" y="14"/>
                    <a:pt x="95" y="13"/>
                    <a:pt x="93" y="12"/>
                  </a:cubicBezTo>
                  <a:cubicBezTo>
                    <a:pt x="90" y="9"/>
                    <a:pt x="86" y="7"/>
                    <a:pt x="82" y="7"/>
                  </a:cubicBezTo>
                  <a:cubicBezTo>
                    <a:pt x="80" y="6"/>
                    <a:pt x="78" y="6"/>
                    <a:pt x="76" y="7"/>
                  </a:cubicBezTo>
                  <a:cubicBezTo>
                    <a:pt x="75" y="7"/>
                    <a:pt x="74" y="7"/>
                    <a:pt x="72" y="7"/>
                  </a:cubicBezTo>
                  <a:cubicBezTo>
                    <a:pt x="72" y="8"/>
                    <a:pt x="71" y="8"/>
                    <a:pt x="71" y="9"/>
                  </a:cubicBezTo>
                  <a:cubicBezTo>
                    <a:pt x="72" y="10"/>
                    <a:pt x="70" y="10"/>
                    <a:pt x="69" y="11"/>
                  </a:cubicBezTo>
                  <a:cubicBezTo>
                    <a:pt x="68" y="12"/>
                    <a:pt x="68" y="12"/>
                    <a:pt x="68" y="11"/>
                  </a:cubicBezTo>
                  <a:cubicBezTo>
                    <a:pt x="68" y="10"/>
                    <a:pt x="69" y="9"/>
                    <a:pt x="68" y="8"/>
                  </a:cubicBezTo>
                  <a:cubicBezTo>
                    <a:pt x="68" y="7"/>
                    <a:pt x="66" y="7"/>
                    <a:pt x="66" y="7"/>
                  </a:cubicBezTo>
                  <a:cubicBezTo>
                    <a:pt x="65" y="8"/>
                    <a:pt x="64" y="7"/>
                    <a:pt x="64" y="8"/>
                  </a:cubicBezTo>
                  <a:cubicBezTo>
                    <a:pt x="63" y="9"/>
                    <a:pt x="62" y="10"/>
                    <a:pt x="61" y="10"/>
                  </a:cubicBezTo>
                  <a:cubicBezTo>
                    <a:pt x="61" y="9"/>
                    <a:pt x="63" y="9"/>
                    <a:pt x="63" y="7"/>
                  </a:cubicBezTo>
                  <a:cubicBezTo>
                    <a:pt x="60" y="7"/>
                    <a:pt x="58" y="6"/>
                    <a:pt x="56" y="5"/>
                  </a:cubicBezTo>
                  <a:cubicBezTo>
                    <a:pt x="54" y="5"/>
                    <a:pt x="51" y="4"/>
                    <a:pt x="49" y="3"/>
                  </a:cubicBezTo>
                  <a:cubicBezTo>
                    <a:pt x="49" y="3"/>
                    <a:pt x="49" y="2"/>
                    <a:pt x="48" y="2"/>
                  </a:cubicBezTo>
                  <a:cubicBezTo>
                    <a:pt x="48" y="2"/>
                    <a:pt x="47" y="1"/>
                    <a:pt x="47" y="1"/>
                  </a:cubicBezTo>
                  <a:cubicBezTo>
                    <a:pt x="46" y="1"/>
                    <a:pt x="45" y="1"/>
                    <a:pt x="44" y="1"/>
                  </a:cubicBezTo>
                  <a:cubicBezTo>
                    <a:pt x="40" y="0"/>
                    <a:pt x="36" y="2"/>
                    <a:pt x="33" y="2"/>
                  </a:cubicBezTo>
                  <a:cubicBezTo>
                    <a:pt x="29" y="3"/>
                    <a:pt x="25" y="3"/>
                    <a:pt x="22" y="3"/>
                  </a:cubicBezTo>
                  <a:cubicBezTo>
                    <a:pt x="18" y="4"/>
                    <a:pt x="14" y="4"/>
                    <a:pt x="11" y="5"/>
                  </a:cubicBezTo>
                  <a:cubicBezTo>
                    <a:pt x="13" y="6"/>
                    <a:pt x="13" y="7"/>
                    <a:pt x="14" y="9"/>
                  </a:cubicBezTo>
                  <a:cubicBezTo>
                    <a:pt x="14" y="10"/>
                    <a:pt x="14" y="11"/>
                    <a:pt x="15" y="12"/>
                  </a:cubicBezTo>
                  <a:cubicBezTo>
                    <a:pt x="15" y="12"/>
                    <a:pt x="16" y="13"/>
                    <a:pt x="16" y="13"/>
                  </a:cubicBezTo>
                  <a:cubicBezTo>
                    <a:pt x="17" y="15"/>
                    <a:pt x="17" y="14"/>
                    <a:pt x="19" y="15"/>
                  </a:cubicBezTo>
                  <a:cubicBezTo>
                    <a:pt x="21" y="15"/>
                    <a:pt x="21" y="17"/>
                    <a:pt x="19" y="18"/>
                  </a:cubicBezTo>
                  <a:cubicBezTo>
                    <a:pt x="18" y="19"/>
                    <a:pt x="18" y="18"/>
                    <a:pt x="18" y="20"/>
                  </a:cubicBezTo>
                  <a:cubicBezTo>
                    <a:pt x="17" y="22"/>
                    <a:pt x="16" y="22"/>
                    <a:pt x="15" y="22"/>
                  </a:cubicBezTo>
                  <a:cubicBezTo>
                    <a:pt x="14" y="23"/>
                    <a:pt x="13" y="26"/>
                    <a:pt x="12" y="27"/>
                  </a:cubicBezTo>
                  <a:cubicBezTo>
                    <a:pt x="12" y="28"/>
                    <a:pt x="10" y="28"/>
                    <a:pt x="10" y="29"/>
                  </a:cubicBezTo>
                  <a:cubicBezTo>
                    <a:pt x="10" y="30"/>
                    <a:pt x="10" y="30"/>
                    <a:pt x="11" y="31"/>
                  </a:cubicBezTo>
                  <a:cubicBezTo>
                    <a:pt x="12" y="31"/>
                    <a:pt x="13" y="31"/>
                    <a:pt x="13" y="32"/>
                  </a:cubicBezTo>
                  <a:cubicBezTo>
                    <a:pt x="13" y="33"/>
                    <a:pt x="12" y="33"/>
                    <a:pt x="11" y="34"/>
                  </a:cubicBezTo>
                  <a:cubicBezTo>
                    <a:pt x="10" y="34"/>
                    <a:pt x="9" y="34"/>
                    <a:pt x="9" y="34"/>
                  </a:cubicBezTo>
                  <a:cubicBezTo>
                    <a:pt x="9" y="34"/>
                    <a:pt x="8" y="34"/>
                    <a:pt x="7" y="34"/>
                  </a:cubicBezTo>
                  <a:cubicBezTo>
                    <a:pt x="6" y="34"/>
                    <a:pt x="8" y="36"/>
                    <a:pt x="8" y="37"/>
                  </a:cubicBezTo>
                  <a:cubicBezTo>
                    <a:pt x="8" y="38"/>
                    <a:pt x="7" y="38"/>
                    <a:pt x="7" y="39"/>
                  </a:cubicBezTo>
                  <a:cubicBezTo>
                    <a:pt x="7" y="41"/>
                    <a:pt x="7" y="40"/>
                    <a:pt x="5" y="41"/>
                  </a:cubicBezTo>
                  <a:cubicBezTo>
                    <a:pt x="5" y="42"/>
                    <a:pt x="5" y="42"/>
                    <a:pt x="4" y="42"/>
                  </a:cubicBezTo>
                  <a:cubicBezTo>
                    <a:pt x="4" y="43"/>
                    <a:pt x="4" y="43"/>
                    <a:pt x="4" y="43"/>
                  </a:cubicBezTo>
                  <a:cubicBezTo>
                    <a:pt x="4" y="43"/>
                    <a:pt x="4" y="43"/>
                    <a:pt x="4" y="44"/>
                  </a:cubicBezTo>
                  <a:cubicBezTo>
                    <a:pt x="4" y="44"/>
                    <a:pt x="3" y="44"/>
                    <a:pt x="3" y="45"/>
                  </a:cubicBezTo>
                  <a:cubicBezTo>
                    <a:pt x="3" y="45"/>
                    <a:pt x="3" y="45"/>
                    <a:pt x="3" y="46"/>
                  </a:cubicBezTo>
                  <a:cubicBezTo>
                    <a:pt x="3" y="46"/>
                    <a:pt x="2" y="46"/>
                    <a:pt x="2" y="46"/>
                  </a:cubicBezTo>
                  <a:cubicBezTo>
                    <a:pt x="2" y="46"/>
                    <a:pt x="1" y="46"/>
                    <a:pt x="1" y="47"/>
                  </a:cubicBezTo>
                  <a:cubicBezTo>
                    <a:pt x="1" y="48"/>
                    <a:pt x="1" y="48"/>
                    <a:pt x="0" y="48"/>
                  </a:cubicBezTo>
                  <a:cubicBezTo>
                    <a:pt x="0" y="49"/>
                    <a:pt x="1" y="51"/>
                    <a:pt x="0" y="51"/>
                  </a:cubicBezTo>
                  <a:cubicBezTo>
                    <a:pt x="2" y="51"/>
                    <a:pt x="6" y="51"/>
                    <a:pt x="8" y="5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73" name="Freeform 2025">
              <a:extLst>
                <a:ext uri="{FF2B5EF4-FFF2-40B4-BE49-F238E27FC236}">
                  <a16:creationId xmlns:a16="http://schemas.microsoft.com/office/drawing/2014/main" id="{BA06DCB9-59B0-4CFA-8C13-C74498B9B206}"/>
                </a:ext>
              </a:extLst>
            </p:cNvPr>
            <p:cNvSpPr>
              <a:spLocks/>
            </p:cNvSpPr>
            <p:nvPr/>
          </p:nvSpPr>
          <p:spPr bwMode="auto">
            <a:xfrm>
              <a:off x="1093" y="396"/>
              <a:ext cx="33" cy="10"/>
            </a:xfrm>
            <a:custGeom>
              <a:avLst/>
              <a:gdLst>
                <a:gd name="T0" fmla="*/ 7 w 14"/>
                <a:gd name="T1" fmla="*/ 2 h 4"/>
                <a:gd name="T2" fmla="*/ 6 w 14"/>
                <a:gd name="T3" fmla="*/ 2 h 4"/>
                <a:gd name="T4" fmla="*/ 4 w 14"/>
                <a:gd name="T5" fmla="*/ 3 h 4"/>
                <a:gd name="T6" fmla="*/ 0 w 14"/>
                <a:gd name="T7" fmla="*/ 4 h 4"/>
                <a:gd name="T8" fmla="*/ 14 w 14"/>
                <a:gd name="T9" fmla="*/ 2 h 4"/>
                <a:gd name="T10" fmla="*/ 13 w 14"/>
                <a:gd name="T11" fmla="*/ 1 h 4"/>
                <a:gd name="T12" fmla="*/ 9 w 14"/>
                <a:gd name="T13" fmla="*/ 1 h 4"/>
                <a:gd name="T14" fmla="*/ 8 w 14"/>
                <a:gd name="T15" fmla="*/ 2 h 4"/>
                <a:gd name="T16" fmla="*/ 7 w 14"/>
                <a:gd name="T17" fmla="*/ 2 h 4"/>
                <a:gd name="T18" fmla="*/ 7 w 14"/>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4">
                  <a:moveTo>
                    <a:pt x="7" y="2"/>
                  </a:moveTo>
                  <a:cubicBezTo>
                    <a:pt x="7" y="2"/>
                    <a:pt x="6" y="2"/>
                    <a:pt x="6" y="2"/>
                  </a:cubicBezTo>
                  <a:cubicBezTo>
                    <a:pt x="5" y="3"/>
                    <a:pt x="5" y="3"/>
                    <a:pt x="4" y="3"/>
                  </a:cubicBezTo>
                  <a:cubicBezTo>
                    <a:pt x="2" y="3"/>
                    <a:pt x="1" y="4"/>
                    <a:pt x="0" y="4"/>
                  </a:cubicBezTo>
                  <a:cubicBezTo>
                    <a:pt x="5" y="3"/>
                    <a:pt x="10" y="3"/>
                    <a:pt x="14" y="2"/>
                  </a:cubicBezTo>
                  <a:cubicBezTo>
                    <a:pt x="14" y="1"/>
                    <a:pt x="14" y="1"/>
                    <a:pt x="13" y="1"/>
                  </a:cubicBezTo>
                  <a:cubicBezTo>
                    <a:pt x="12" y="0"/>
                    <a:pt x="10" y="1"/>
                    <a:pt x="9" y="1"/>
                  </a:cubicBezTo>
                  <a:cubicBezTo>
                    <a:pt x="8" y="1"/>
                    <a:pt x="8" y="1"/>
                    <a:pt x="8" y="2"/>
                  </a:cubicBezTo>
                  <a:cubicBezTo>
                    <a:pt x="8" y="2"/>
                    <a:pt x="7" y="2"/>
                    <a:pt x="7" y="2"/>
                  </a:cubicBezTo>
                  <a:cubicBezTo>
                    <a:pt x="7" y="2"/>
                    <a:pt x="7" y="2"/>
                    <a:pt x="7"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74" name="Freeform 2026">
              <a:extLst>
                <a:ext uri="{FF2B5EF4-FFF2-40B4-BE49-F238E27FC236}">
                  <a16:creationId xmlns:a16="http://schemas.microsoft.com/office/drawing/2014/main" id="{BCAF075B-C1EE-4623-8891-8F8031667B10}"/>
                </a:ext>
              </a:extLst>
            </p:cNvPr>
            <p:cNvSpPr>
              <a:spLocks/>
            </p:cNvSpPr>
            <p:nvPr/>
          </p:nvSpPr>
          <p:spPr bwMode="auto">
            <a:xfrm>
              <a:off x="454" y="1390"/>
              <a:ext cx="5" cy="9"/>
            </a:xfrm>
            <a:custGeom>
              <a:avLst/>
              <a:gdLst>
                <a:gd name="T0" fmla="*/ 2 w 2"/>
                <a:gd name="T1" fmla="*/ 4 h 4"/>
                <a:gd name="T2" fmla="*/ 2 w 2"/>
                <a:gd name="T3" fmla="*/ 3 h 4"/>
                <a:gd name="T4" fmla="*/ 2 w 2"/>
                <a:gd name="T5" fmla="*/ 3 h 4"/>
                <a:gd name="T6" fmla="*/ 2 w 2"/>
                <a:gd name="T7" fmla="*/ 0 h 4"/>
                <a:gd name="T8" fmla="*/ 0 w 2"/>
                <a:gd name="T9" fmla="*/ 1 h 4"/>
                <a:gd name="T10" fmla="*/ 0 w 2"/>
                <a:gd name="T11" fmla="*/ 2 h 4"/>
                <a:gd name="T12" fmla="*/ 2 w 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4"/>
                  </a:moveTo>
                  <a:cubicBezTo>
                    <a:pt x="2" y="4"/>
                    <a:pt x="2" y="3"/>
                    <a:pt x="2" y="3"/>
                  </a:cubicBezTo>
                  <a:cubicBezTo>
                    <a:pt x="2" y="3"/>
                    <a:pt x="2" y="3"/>
                    <a:pt x="2" y="3"/>
                  </a:cubicBezTo>
                  <a:cubicBezTo>
                    <a:pt x="2" y="2"/>
                    <a:pt x="2" y="1"/>
                    <a:pt x="2" y="0"/>
                  </a:cubicBezTo>
                  <a:cubicBezTo>
                    <a:pt x="0" y="0"/>
                    <a:pt x="0" y="0"/>
                    <a:pt x="0" y="1"/>
                  </a:cubicBezTo>
                  <a:cubicBezTo>
                    <a:pt x="0" y="1"/>
                    <a:pt x="0" y="2"/>
                    <a:pt x="0" y="2"/>
                  </a:cubicBezTo>
                  <a:cubicBezTo>
                    <a:pt x="1" y="3"/>
                    <a:pt x="2" y="3"/>
                    <a:pt x="2"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75" name="Freeform 2027">
              <a:extLst>
                <a:ext uri="{FF2B5EF4-FFF2-40B4-BE49-F238E27FC236}">
                  <a16:creationId xmlns:a16="http://schemas.microsoft.com/office/drawing/2014/main" id="{0CAFF4E1-3EDC-4F94-8123-9438C72F23B9}"/>
                </a:ext>
              </a:extLst>
            </p:cNvPr>
            <p:cNvSpPr>
              <a:spLocks/>
            </p:cNvSpPr>
            <p:nvPr/>
          </p:nvSpPr>
          <p:spPr bwMode="auto">
            <a:xfrm>
              <a:off x="769" y="330"/>
              <a:ext cx="38" cy="21"/>
            </a:xfrm>
            <a:custGeom>
              <a:avLst/>
              <a:gdLst>
                <a:gd name="T0" fmla="*/ 4 w 16"/>
                <a:gd name="T1" fmla="*/ 6 h 9"/>
                <a:gd name="T2" fmla="*/ 8 w 16"/>
                <a:gd name="T3" fmla="*/ 8 h 9"/>
                <a:gd name="T4" fmla="*/ 16 w 16"/>
                <a:gd name="T5" fmla="*/ 6 h 9"/>
                <a:gd name="T6" fmla="*/ 8 w 16"/>
                <a:gd name="T7" fmla="*/ 0 h 9"/>
                <a:gd name="T8" fmla="*/ 4 w 16"/>
                <a:gd name="T9" fmla="*/ 2 h 9"/>
                <a:gd name="T10" fmla="*/ 2 w 16"/>
                <a:gd name="T11" fmla="*/ 3 h 9"/>
                <a:gd name="T12" fmla="*/ 0 w 16"/>
                <a:gd name="T13" fmla="*/ 3 h 9"/>
                <a:gd name="T14" fmla="*/ 4 w 16"/>
                <a:gd name="T15" fmla="*/ 6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9">
                  <a:moveTo>
                    <a:pt x="4" y="6"/>
                  </a:moveTo>
                  <a:cubicBezTo>
                    <a:pt x="6" y="7"/>
                    <a:pt x="7" y="8"/>
                    <a:pt x="8" y="8"/>
                  </a:cubicBezTo>
                  <a:cubicBezTo>
                    <a:pt x="11" y="9"/>
                    <a:pt x="14" y="7"/>
                    <a:pt x="16" y="6"/>
                  </a:cubicBezTo>
                  <a:cubicBezTo>
                    <a:pt x="14" y="4"/>
                    <a:pt x="11" y="2"/>
                    <a:pt x="8" y="0"/>
                  </a:cubicBezTo>
                  <a:cubicBezTo>
                    <a:pt x="7" y="0"/>
                    <a:pt x="5" y="1"/>
                    <a:pt x="4" y="2"/>
                  </a:cubicBezTo>
                  <a:cubicBezTo>
                    <a:pt x="3" y="2"/>
                    <a:pt x="3" y="2"/>
                    <a:pt x="2" y="3"/>
                  </a:cubicBezTo>
                  <a:cubicBezTo>
                    <a:pt x="1" y="3"/>
                    <a:pt x="1" y="3"/>
                    <a:pt x="0" y="3"/>
                  </a:cubicBezTo>
                  <a:cubicBezTo>
                    <a:pt x="1" y="4"/>
                    <a:pt x="3" y="5"/>
                    <a:pt x="4" y="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76" name="Freeform 2028">
              <a:extLst>
                <a:ext uri="{FF2B5EF4-FFF2-40B4-BE49-F238E27FC236}">
                  <a16:creationId xmlns:a16="http://schemas.microsoft.com/office/drawing/2014/main" id="{83B429AA-E04A-4069-9470-5F3684780B3E}"/>
                </a:ext>
              </a:extLst>
            </p:cNvPr>
            <p:cNvSpPr>
              <a:spLocks/>
            </p:cNvSpPr>
            <p:nvPr/>
          </p:nvSpPr>
          <p:spPr bwMode="auto">
            <a:xfrm>
              <a:off x="1022" y="403"/>
              <a:ext cx="40" cy="19"/>
            </a:xfrm>
            <a:custGeom>
              <a:avLst/>
              <a:gdLst>
                <a:gd name="T0" fmla="*/ 0 w 17"/>
                <a:gd name="T1" fmla="*/ 1 h 8"/>
                <a:gd name="T2" fmla="*/ 1 w 17"/>
                <a:gd name="T3" fmla="*/ 3 h 8"/>
                <a:gd name="T4" fmla="*/ 2 w 17"/>
                <a:gd name="T5" fmla="*/ 4 h 8"/>
                <a:gd name="T6" fmla="*/ 2 w 17"/>
                <a:gd name="T7" fmla="*/ 6 h 8"/>
                <a:gd name="T8" fmla="*/ 3 w 17"/>
                <a:gd name="T9" fmla="*/ 7 h 8"/>
                <a:gd name="T10" fmla="*/ 4 w 17"/>
                <a:gd name="T11" fmla="*/ 7 h 8"/>
                <a:gd name="T12" fmla="*/ 9 w 17"/>
                <a:gd name="T13" fmla="*/ 7 h 8"/>
                <a:gd name="T14" fmla="*/ 17 w 17"/>
                <a:gd name="T15" fmla="*/ 5 h 8"/>
                <a:gd name="T16" fmla="*/ 5 w 17"/>
                <a:gd name="T17" fmla="*/ 0 h 8"/>
                <a:gd name="T18" fmla="*/ 0 w 17"/>
                <a:gd name="T1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8">
                  <a:moveTo>
                    <a:pt x="0" y="1"/>
                  </a:moveTo>
                  <a:cubicBezTo>
                    <a:pt x="0" y="1"/>
                    <a:pt x="0" y="3"/>
                    <a:pt x="1" y="3"/>
                  </a:cubicBezTo>
                  <a:cubicBezTo>
                    <a:pt x="1" y="4"/>
                    <a:pt x="1" y="4"/>
                    <a:pt x="2" y="4"/>
                  </a:cubicBezTo>
                  <a:cubicBezTo>
                    <a:pt x="3" y="4"/>
                    <a:pt x="3" y="5"/>
                    <a:pt x="2" y="6"/>
                  </a:cubicBezTo>
                  <a:cubicBezTo>
                    <a:pt x="4" y="5"/>
                    <a:pt x="3" y="7"/>
                    <a:pt x="3" y="7"/>
                  </a:cubicBezTo>
                  <a:cubicBezTo>
                    <a:pt x="3" y="7"/>
                    <a:pt x="4" y="7"/>
                    <a:pt x="4" y="7"/>
                  </a:cubicBezTo>
                  <a:cubicBezTo>
                    <a:pt x="6" y="7"/>
                    <a:pt x="7" y="7"/>
                    <a:pt x="9" y="7"/>
                  </a:cubicBezTo>
                  <a:cubicBezTo>
                    <a:pt x="11" y="8"/>
                    <a:pt x="15" y="7"/>
                    <a:pt x="17" y="5"/>
                  </a:cubicBezTo>
                  <a:cubicBezTo>
                    <a:pt x="13" y="3"/>
                    <a:pt x="9" y="1"/>
                    <a:pt x="5" y="0"/>
                  </a:cubicBezTo>
                  <a:cubicBezTo>
                    <a:pt x="3" y="0"/>
                    <a:pt x="2"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77" name="Freeform 2029">
              <a:extLst>
                <a:ext uri="{FF2B5EF4-FFF2-40B4-BE49-F238E27FC236}">
                  <a16:creationId xmlns:a16="http://schemas.microsoft.com/office/drawing/2014/main" id="{3628638C-6F3E-42E3-A1BE-C8903D7F0E64}"/>
                </a:ext>
              </a:extLst>
            </p:cNvPr>
            <p:cNvSpPr>
              <a:spLocks/>
            </p:cNvSpPr>
            <p:nvPr/>
          </p:nvSpPr>
          <p:spPr bwMode="auto">
            <a:xfrm>
              <a:off x="1346" y="351"/>
              <a:ext cx="37" cy="24"/>
            </a:xfrm>
            <a:custGeom>
              <a:avLst/>
              <a:gdLst>
                <a:gd name="T0" fmla="*/ 15 w 16"/>
                <a:gd name="T1" fmla="*/ 4 h 10"/>
                <a:gd name="T2" fmla="*/ 14 w 16"/>
                <a:gd name="T3" fmla="*/ 3 h 10"/>
                <a:gd name="T4" fmla="*/ 7 w 16"/>
                <a:gd name="T5" fmla="*/ 1 h 10"/>
                <a:gd name="T6" fmla="*/ 1 w 16"/>
                <a:gd name="T7" fmla="*/ 2 h 10"/>
                <a:gd name="T8" fmla="*/ 0 w 16"/>
                <a:gd name="T9" fmla="*/ 6 h 10"/>
                <a:gd name="T10" fmla="*/ 3 w 16"/>
                <a:gd name="T11" fmla="*/ 8 h 10"/>
                <a:gd name="T12" fmla="*/ 9 w 16"/>
                <a:gd name="T13" fmla="*/ 10 h 10"/>
                <a:gd name="T14" fmla="*/ 16 w 16"/>
                <a:gd name="T15" fmla="*/ 7 h 10"/>
                <a:gd name="T16" fmla="*/ 15 w 16"/>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
                  <a:moveTo>
                    <a:pt x="15" y="4"/>
                  </a:moveTo>
                  <a:cubicBezTo>
                    <a:pt x="15" y="4"/>
                    <a:pt x="14" y="4"/>
                    <a:pt x="14" y="3"/>
                  </a:cubicBezTo>
                  <a:cubicBezTo>
                    <a:pt x="12" y="2"/>
                    <a:pt x="10" y="1"/>
                    <a:pt x="7" y="1"/>
                  </a:cubicBezTo>
                  <a:cubicBezTo>
                    <a:pt x="5" y="1"/>
                    <a:pt x="3" y="0"/>
                    <a:pt x="1" y="2"/>
                  </a:cubicBezTo>
                  <a:cubicBezTo>
                    <a:pt x="0" y="2"/>
                    <a:pt x="0" y="5"/>
                    <a:pt x="0" y="6"/>
                  </a:cubicBezTo>
                  <a:cubicBezTo>
                    <a:pt x="1" y="7"/>
                    <a:pt x="2" y="7"/>
                    <a:pt x="3" y="8"/>
                  </a:cubicBezTo>
                  <a:cubicBezTo>
                    <a:pt x="5" y="9"/>
                    <a:pt x="7" y="9"/>
                    <a:pt x="9" y="10"/>
                  </a:cubicBezTo>
                  <a:cubicBezTo>
                    <a:pt x="10" y="10"/>
                    <a:pt x="16" y="9"/>
                    <a:pt x="16" y="7"/>
                  </a:cubicBezTo>
                  <a:cubicBezTo>
                    <a:pt x="16" y="7"/>
                    <a:pt x="15" y="5"/>
                    <a:pt x="15"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78" name="Freeform 2030">
              <a:extLst>
                <a:ext uri="{FF2B5EF4-FFF2-40B4-BE49-F238E27FC236}">
                  <a16:creationId xmlns:a16="http://schemas.microsoft.com/office/drawing/2014/main" id="{7CB866F4-77BC-4E2B-8B85-FA6E7F1A7861}"/>
                </a:ext>
              </a:extLst>
            </p:cNvPr>
            <p:cNvSpPr>
              <a:spLocks/>
            </p:cNvSpPr>
            <p:nvPr/>
          </p:nvSpPr>
          <p:spPr bwMode="auto">
            <a:xfrm>
              <a:off x="398" y="1326"/>
              <a:ext cx="23" cy="17"/>
            </a:xfrm>
            <a:custGeom>
              <a:avLst/>
              <a:gdLst>
                <a:gd name="T0" fmla="*/ 5 w 10"/>
                <a:gd name="T1" fmla="*/ 3 h 7"/>
                <a:gd name="T2" fmla="*/ 0 w 10"/>
                <a:gd name="T3" fmla="*/ 0 h 7"/>
                <a:gd name="T4" fmla="*/ 6 w 10"/>
                <a:gd name="T5" fmla="*/ 7 h 7"/>
                <a:gd name="T6" fmla="*/ 5 w 10"/>
                <a:gd name="T7" fmla="*/ 3 h 7"/>
              </a:gdLst>
              <a:ahLst/>
              <a:cxnLst>
                <a:cxn ang="0">
                  <a:pos x="T0" y="T1"/>
                </a:cxn>
                <a:cxn ang="0">
                  <a:pos x="T2" y="T3"/>
                </a:cxn>
                <a:cxn ang="0">
                  <a:pos x="T4" y="T5"/>
                </a:cxn>
                <a:cxn ang="0">
                  <a:pos x="T6" y="T7"/>
                </a:cxn>
              </a:cxnLst>
              <a:rect l="0" t="0" r="r" b="b"/>
              <a:pathLst>
                <a:path w="10" h="7">
                  <a:moveTo>
                    <a:pt x="5" y="3"/>
                  </a:moveTo>
                  <a:cubicBezTo>
                    <a:pt x="4" y="2"/>
                    <a:pt x="1" y="0"/>
                    <a:pt x="0" y="0"/>
                  </a:cubicBezTo>
                  <a:cubicBezTo>
                    <a:pt x="2" y="3"/>
                    <a:pt x="4" y="5"/>
                    <a:pt x="6" y="7"/>
                  </a:cubicBezTo>
                  <a:cubicBezTo>
                    <a:pt x="10" y="7"/>
                    <a:pt x="6" y="3"/>
                    <a:pt x="5"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79" name="Freeform 2031">
              <a:extLst>
                <a:ext uri="{FF2B5EF4-FFF2-40B4-BE49-F238E27FC236}">
                  <a16:creationId xmlns:a16="http://schemas.microsoft.com/office/drawing/2014/main" id="{FA0CF8E8-CC0C-4460-9DA4-146A9CB86C0C}"/>
                </a:ext>
              </a:extLst>
            </p:cNvPr>
            <p:cNvSpPr>
              <a:spLocks/>
            </p:cNvSpPr>
            <p:nvPr/>
          </p:nvSpPr>
          <p:spPr bwMode="auto">
            <a:xfrm>
              <a:off x="2227" y="1456"/>
              <a:ext cx="5"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1" y="0"/>
                    <a:pt x="0" y="0"/>
                  </a:cubicBezTo>
                  <a:cubicBezTo>
                    <a:pt x="1" y="0"/>
                    <a:pt x="1" y="0"/>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80" name="Freeform 2032">
              <a:extLst>
                <a:ext uri="{FF2B5EF4-FFF2-40B4-BE49-F238E27FC236}">
                  <a16:creationId xmlns:a16="http://schemas.microsoft.com/office/drawing/2014/main" id="{924ADE13-F04B-47D7-A159-B5B5507CF45F}"/>
                </a:ext>
              </a:extLst>
            </p:cNvPr>
            <p:cNvSpPr>
              <a:spLocks/>
            </p:cNvSpPr>
            <p:nvPr/>
          </p:nvSpPr>
          <p:spPr bwMode="auto">
            <a:xfrm>
              <a:off x="398" y="1321"/>
              <a:ext cx="9" cy="7"/>
            </a:xfrm>
            <a:custGeom>
              <a:avLst/>
              <a:gdLst>
                <a:gd name="T0" fmla="*/ 4 w 4"/>
                <a:gd name="T1" fmla="*/ 3 h 3"/>
                <a:gd name="T2" fmla="*/ 2 w 4"/>
                <a:gd name="T3" fmla="*/ 0 h 3"/>
                <a:gd name="T4" fmla="*/ 2 w 4"/>
                <a:gd name="T5" fmla="*/ 2 h 3"/>
                <a:gd name="T6" fmla="*/ 4 w 4"/>
                <a:gd name="T7" fmla="*/ 3 h 3"/>
              </a:gdLst>
              <a:ahLst/>
              <a:cxnLst>
                <a:cxn ang="0">
                  <a:pos x="T0" y="T1"/>
                </a:cxn>
                <a:cxn ang="0">
                  <a:pos x="T2" y="T3"/>
                </a:cxn>
                <a:cxn ang="0">
                  <a:pos x="T4" y="T5"/>
                </a:cxn>
                <a:cxn ang="0">
                  <a:pos x="T6" y="T7"/>
                </a:cxn>
              </a:cxnLst>
              <a:rect l="0" t="0" r="r" b="b"/>
              <a:pathLst>
                <a:path w="4" h="3">
                  <a:moveTo>
                    <a:pt x="4" y="3"/>
                  </a:moveTo>
                  <a:cubicBezTo>
                    <a:pt x="4" y="2"/>
                    <a:pt x="3" y="1"/>
                    <a:pt x="2" y="0"/>
                  </a:cubicBezTo>
                  <a:cubicBezTo>
                    <a:pt x="2" y="1"/>
                    <a:pt x="0" y="2"/>
                    <a:pt x="2" y="2"/>
                  </a:cubicBezTo>
                  <a:cubicBezTo>
                    <a:pt x="2" y="3"/>
                    <a:pt x="3" y="3"/>
                    <a:pt x="4"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81" name="Freeform 2033">
              <a:extLst>
                <a:ext uri="{FF2B5EF4-FFF2-40B4-BE49-F238E27FC236}">
                  <a16:creationId xmlns:a16="http://schemas.microsoft.com/office/drawing/2014/main" id="{6303C1E4-DF6E-4A31-8D37-460553620E7C}"/>
                </a:ext>
              </a:extLst>
            </p:cNvPr>
            <p:cNvSpPr>
              <a:spLocks/>
            </p:cNvSpPr>
            <p:nvPr/>
          </p:nvSpPr>
          <p:spPr bwMode="auto">
            <a:xfrm>
              <a:off x="2239" y="1518"/>
              <a:ext cx="3" cy="2"/>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1" y="0"/>
                    <a:pt x="1" y="0"/>
                  </a:cubicBezTo>
                  <a:cubicBezTo>
                    <a:pt x="1" y="0"/>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82" name="Freeform 2034">
              <a:extLst>
                <a:ext uri="{FF2B5EF4-FFF2-40B4-BE49-F238E27FC236}">
                  <a16:creationId xmlns:a16="http://schemas.microsoft.com/office/drawing/2014/main" id="{8E48DE3B-6E0D-43FB-AD48-5F3CB0FCEA1C}"/>
                </a:ext>
              </a:extLst>
            </p:cNvPr>
            <p:cNvSpPr>
              <a:spLocks/>
            </p:cNvSpPr>
            <p:nvPr/>
          </p:nvSpPr>
          <p:spPr bwMode="auto">
            <a:xfrm>
              <a:off x="2206" y="1418"/>
              <a:ext cx="3" cy="3"/>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1" y="1"/>
                    <a:pt x="1" y="0"/>
                  </a:cubicBezTo>
                  <a:cubicBezTo>
                    <a:pt x="0" y="0"/>
                    <a:pt x="0"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83" name="Freeform 2035">
              <a:extLst>
                <a:ext uri="{FF2B5EF4-FFF2-40B4-BE49-F238E27FC236}">
                  <a16:creationId xmlns:a16="http://schemas.microsoft.com/office/drawing/2014/main" id="{6A8F9F91-1584-4CF7-AE65-8DCC95511E8F}"/>
                </a:ext>
              </a:extLst>
            </p:cNvPr>
            <p:cNvSpPr>
              <a:spLocks/>
            </p:cNvSpPr>
            <p:nvPr/>
          </p:nvSpPr>
          <p:spPr bwMode="auto">
            <a:xfrm>
              <a:off x="1677" y="969"/>
              <a:ext cx="23" cy="16"/>
            </a:xfrm>
            <a:custGeom>
              <a:avLst/>
              <a:gdLst>
                <a:gd name="T0" fmla="*/ 3 w 10"/>
                <a:gd name="T1" fmla="*/ 3 h 7"/>
                <a:gd name="T2" fmla="*/ 10 w 10"/>
                <a:gd name="T3" fmla="*/ 4 h 7"/>
                <a:gd name="T4" fmla="*/ 9 w 10"/>
                <a:gd name="T5" fmla="*/ 4 h 7"/>
                <a:gd name="T6" fmla="*/ 4 w 10"/>
                <a:gd name="T7" fmla="*/ 1 h 7"/>
                <a:gd name="T8" fmla="*/ 1 w 10"/>
                <a:gd name="T9" fmla="*/ 1 h 7"/>
                <a:gd name="T10" fmla="*/ 0 w 10"/>
                <a:gd name="T11" fmla="*/ 2 h 7"/>
                <a:gd name="T12" fmla="*/ 1 w 10"/>
                <a:gd name="T13" fmla="*/ 2 h 7"/>
                <a:gd name="T14" fmla="*/ 1 w 10"/>
                <a:gd name="T15" fmla="*/ 2 h 7"/>
                <a:gd name="T16" fmla="*/ 3 w 10"/>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7">
                  <a:moveTo>
                    <a:pt x="3" y="3"/>
                  </a:moveTo>
                  <a:cubicBezTo>
                    <a:pt x="5" y="5"/>
                    <a:pt x="8" y="7"/>
                    <a:pt x="10" y="4"/>
                  </a:cubicBezTo>
                  <a:cubicBezTo>
                    <a:pt x="10" y="4"/>
                    <a:pt x="9" y="4"/>
                    <a:pt x="9" y="4"/>
                  </a:cubicBezTo>
                  <a:cubicBezTo>
                    <a:pt x="7" y="3"/>
                    <a:pt x="6" y="1"/>
                    <a:pt x="4" y="1"/>
                  </a:cubicBezTo>
                  <a:cubicBezTo>
                    <a:pt x="4" y="0"/>
                    <a:pt x="2" y="1"/>
                    <a:pt x="1" y="1"/>
                  </a:cubicBezTo>
                  <a:cubicBezTo>
                    <a:pt x="1" y="1"/>
                    <a:pt x="1" y="1"/>
                    <a:pt x="0" y="2"/>
                  </a:cubicBezTo>
                  <a:cubicBezTo>
                    <a:pt x="1" y="2"/>
                    <a:pt x="1" y="2"/>
                    <a:pt x="1" y="2"/>
                  </a:cubicBezTo>
                  <a:cubicBezTo>
                    <a:pt x="1" y="2"/>
                    <a:pt x="1" y="2"/>
                    <a:pt x="1" y="2"/>
                  </a:cubicBezTo>
                  <a:cubicBezTo>
                    <a:pt x="1" y="2"/>
                    <a:pt x="3" y="3"/>
                    <a:pt x="3"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84" name="Freeform 2036">
              <a:extLst>
                <a:ext uri="{FF2B5EF4-FFF2-40B4-BE49-F238E27FC236}">
                  <a16:creationId xmlns:a16="http://schemas.microsoft.com/office/drawing/2014/main" id="{A24D9182-EA72-46FD-A1B3-03C76B9EBB28}"/>
                </a:ext>
              </a:extLst>
            </p:cNvPr>
            <p:cNvSpPr>
              <a:spLocks/>
            </p:cNvSpPr>
            <p:nvPr/>
          </p:nvSpPr>
          <p:spPr bwMode="auto">
            <a:xfrm>
              <a:off x="1972" y="1035"/>
              <a:ext cx="12" cy="9"/>
            </a:xfrm>
            <a:custGeom>
              <a:avLst/>
              <a:gdLst>
                <a:gd name="T0" fmla="*/ 4 w 5"/>
                <a:gd name="T1" fmla="*/ 4 h 4"/>
                <a:gd name="T2" fmla="*/ 2 w 5"/>
                <a:gd name="T3" fmla="*/ 1 h 4"/>
                <a:gd name="T4" fmla="*/ 0 w 5"/>
                <a:gd name="T5" fmla="*/ 1 h 4"/>
                <a:gd name="T6" fmla="*/ 2 w 5"/>
                <a:gd name="T7" fmla="*/ 3 h 4"/>
                <a:gd name="T8" fmla="*/ 4 w 5"/>
                <a:gd name="T9" fmla="*/ 4 h 4"/>
              </a:gdLst>
              <a:ahLst/>
              <a:cxnLst>
                <a:cxn ang="0">
                  <a:pos x="T0" y="T1"/>
                </a:cxn>
                <a:cxn ang="0">
                  <a:pos x="T2" y="T3"/>
                </a:cxn>
                <a:cxn ang="0">
                  <a:pos x="T4" y="T5"/>
                </a:cxn>
                <a:cxn ang="0">
                  <a:pos x="T6" y="T7"/>
                </a:cxn>
                <a:cxn ang="0">
                  <a:pos x="T8" y="T9"/>
                </a:cxn>
              </a:cxnLst>
              <a:rect l="0" t="0" r="r" b="b"/>
              <a:pathLst>
                <a:path w="5" h="4">
                  <a:moveTo>
                    <a:pt x="4" y="4"/>
                  </a:moveTo>
                  <a:cubicBezTo>
                    <a:pt x="5" y="3"/>
                    <a:pt x="3" y="1"/>
                    <a:pt x="2" y="1"/>
                  </a:cubicBezTo>
                  <a:cubicBezTo>
                    <a:pt x="2" y="0"/>
                    <a:pt x="0" y="0"/>
                    <a:pt x="0" y="1"/>
                  </a:cubicBezTo>
                  <a:cubicBezTo>
                    <a:pt x="0" y="2"/>
                    <a:pt x="2" y="3"/>
                    <a:pt x="2" y="3"/>
                  </a:cubicBezTo>
                  <a:cubicBezTo>
                    <a:pt x="3" y="3"/>
                    <a:pt x="3" y="4"/>
                    <a:pt x="4"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85" name="Freeform 2037">
              <a:extLst>
                <a:ext uri="{FF2B5EF4-FFF2-40B4-BE49-F238E27FC236}">
                  <a16:creationId xmlns:a16="http://schemas.microsoft.com/office/drawing/2014/main" id="{C3335C87-1C2F-4E5F-87B3-1AC029F5FEA8}"/>
                </a:ext>
              </a:extLst>
            </p:cNvPr>
            <p:cNvSpPr>
              <a:spLocks/>
            </p:cNvSpPr>
            <p:nvPr/>
          </p:nvSpPr>
          <p:spPr bwMode="auto">
            <a:xfrm>
              <a:off x="1745" y="1007"/>
              <a:ext cx="17" cy="4"/>
            </a:xfrm>
            <a:custGeom>
              <a:avLst/>
              <a:gdLst>
                <a:gd name="T0" fmla="*/ 0 w 7"/>
                <a:gd name="T1" fmla="*/ 0 h 2"/>
                <a:gd name="T2" fmla="*/ 7 w 7"/>
                <a:gd name="T3" fmla="*/ 2 h 2"/>
                <a:gd name="T4" fmla="*/ 2 w 7"/>
                <a:gd name="T5" fmla="*/ 0 h 2"/>
                <a:gd name="T6" fmla="*/ 0 w 7"/>
                <a:gd name="T7" fmla="*/ 0 h 2"/>
              </a:gdLst>
              <a:ahLst/>
              <a:cxnLst>
                <a:cxn ang="0">
                  <a:pos x="T0" y="T1"/>
                </a:cxn>
                <a:cxn ang="0">
                  <a:pos x="T2" y="T3"/>
                </a:cxn>
                <a:cxn ang="0">
                  <a:pos x="T4" y="T5"/>
                </a:cxn>
                <a:cxn ang="0">
                  <a:pos x="T6" y="T7"/>
                </a:cxn>
              </a:cxnLst>
              <a:rect l="0" t="0" r="r" b="b"/>
              <a:pathLst>
                <a:path w="7" h="2">
                  <a:moveTo>
                    <a:pt x="0" y="0"/>
                  </a:moveTo>
                  <a:cubicBezTo>
                    <a:pt x="2" y="1"/>
                    <a:pt x="5" y="2"/>
                    <a:pt x="7" y="2"/>
                  </a:cubicBezTo>
                  <a:cubicBezTo>
                    <a:pt x="6" y="1"/>
                    <a:pt x="4" y="0"/>
                    <a:pt x="2" y="0"/>
                  </a:cubicBezTo>
                  <a:cubicBezTo>
                    <a:pt x="2" y="0"/>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86" name="Freeform 2038">
              <a:extLst>
                <a:ext uri="{FF2B5EF4-FFF2-40B4-BE49-F238E27FC236}">
                  <a16:creationId xmlns:a16="http://schemas.microsoft.com/office/drawing/2014/main" id="{B20420C7-3530-481E-834B-7BB4A0BC9B34}"/>
                </a:ext>
              </a:extLst>
            </p:cNvPr>
            <p:cNvSpPr>
              <a:spLocks/>
            </p:cNvSpPr>
            <p:nvPr/>
          </p:nvSpPr>
          <p:spPr bwMode="auto">
            <a:xfrm>
              <a:off x="1362" y="394"/>
              <a:ext cx="21" cy="19"/>
            </a:xfrm>
            <a:custGeom>
              <a:avLst/>
              <a:gdLst>
                <a:gd name="T0" fmla="*/ 8 w 9"/>
                <a:gd name="T1" fmla="*/ 4 h 8"/>
                <a:gd name="T2" fmla="*/ 9 w 9"/>
                <a:gd name="T3" fmla="*/ 3 h 8"/>
                <a:gd name="T4" fmla="*/ 9 w 9"/>
                <a:gd name="T5" fmla="*/ 2 h 8"/>
                <a:gd name="T6" fmla="*/ 8 w 9"/>
                <a:gd name="T7" fmla="*/ 2 h 8"/>
                <a:gd name="T8" fmla="*/ 7 w 9"/>
                <a:gd name="T9" fmla="*/ 1 h 8"/>
                <a:gd name="T10" fmla="*/ 7 w 9"/>
                <a:gd name="T11" fmla="*/ 1 h 8"/>
                <a:gd name="T12" fmla="*/ 7 w 9"/>
                <a:gd name="T13" fmla="*/ 1 h 8"/>
                <a:gd name="T14" fmla="*/ 7 w 9"/>
                <a:gd name="T15" fmla="*/ 0 h 8"/>
                <a:gd name="T16" fmla="*/ 6 w 9"/>
                <a:gd name="T17" fmla="*/ 0 h 8"/>
                <a:gd name="T18" fmla="*/ 6 w 9"/>
                <a:gd name="T19" fmla="*/ 0 h 8"/>
                <a:gd name="T20" fmla="*/ 6 w 9"/>
                <a:gd name="T21" fmla="*/ 0 h 8"/>
                <a:gd name="T22" fmla="*/ 6 w 9"/>
                <a:gd name="T23" fmla="*/ 0 h 8"/>
                <a:gd name="T24" fmla="*/ 5 w 9"/>
                <a:gd name="T25" fmla="*/ 0 h 8"/>
                <a:gd name="T26" fmla="*/ 5 w 9"/>
                <a:gd name="T27" fmla="*/ 0 h 8"/>
                <a:gd name="T28" fmla="*/ 1 w 9"/>
                <a:gd name="T29" fmla="*/ 1 h 8"/>
                <a:gd name="T30" fmla="*/ 1 w 9"/>
                <a:gd name="T31" fmla="*/ 1 h 8"/>
                <a:gd name="T32" fmla="*/ 0 w 9"/>
                <a:gd name="T33" fmla="*/ 1 h 8"/>
                <a:gd name="T34" fmla="*/ 0 w 9"/>
                <a:gd name="T35" fmla="*/ 1 h 8"/>
                <a:gd name="T36" fmla="*/ 0 w 9"/>
                <a:gd name="T37" fmla="*/ 2 h 8"/>
                <a:gd name="T38" fmla="*/ 0 w 9"/>
                <a:gd name="T39" fmla="*/ 2 h 8"/>
                <a:gd name="T40" fmla="*/ 0 w 9"/>
                <a:gd name="T41" fmla="*/ 2 h 8"/>
                <a:gd name="T42" fmla="*/ 1 w 9"/>
                <a:gd name="T43" fmla="*/ 3 h 8"/>
                <a:gd name="T44" fmla="*/ 1 w 9"/>
                <a:gd name="T45" fmla="*/ 3 h 8"/>
                <a:gd name="T46" fmla="*/ 1 w 9"/>
                <a:gd name="T47" fmla="*/ 3 h 8"/>
                <a:gd name="T48" fmla="*/ 5 w 9"/>
                <a:gd name="T49" fmla="*/ 7 h 8"/>
                <a:gd name="T50" fmla="*/ 6 w 9"/>
                <a:gd name="T51" fmla="*/ 8 h 8"/>
                <a:gd name="T52" fmla="*/ 8 w 9"/>
                <a:gd name="T53" fmla="*/ 8 h 8"/>
                <a:gd name="T54" fmla="*/ 8 w 9"/>
                <a:gd name="T55" fmla="*/ 7 h 8"/>
                <a:gd name="T56" fmla="*/ 9 w 9"/>
                <a:gd name="T57" fmla="*/ 7 h 8"/>
                <a:gd name="T58" fmla="*/ 9 w 9"/>
                <a:gd name="T59" fmla="*/ 7 h 8"/>
                <a:gd name="T60" fmla="*/ 9 w 9"/>
                <a:gd name="T61" fmla="*/ 7 h 8"/>
                <a:gd name="T62" fmla="*/ 9 w 9"/>
                <a:gd name="T63" fmla="*/ 7 h 8"/>
                <a:gd name="T64" fmla="*/ 7 w 9"/>
                <a:gd name="T65" fmla="*/ 5 h 8"/>
                <a:gd name="T66" fmla="*/ 7 w 9"/>
                <a:gd name="T67" fmla="*/ 4 h 8"/>
                <a:gd name="T68" fmla="*/ 8 w 9"/>
                <a:gd name="T6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 h="8">
                  <a:moveTo>
                    <a:pt x="8" y="4"/>
                  </a:moveTo>
                  <a:cubicBezTo>
                    <a:pt x="8" y="4"/>
                    <a:pt x="8" y="3"/>
                    <a:pt x="9" y="3"/>
                  </a:cubicBezTo>
                  <a:cubicBezTo>
                    <a:pt x="9" y="3"/>
                    <a:pt x="9" y="3"/>
                    <a:pt x="9" y="2"/>
                  </a:cubicBezTo>
                  <a:cubicBezTo>
                    <a:pt x="8" y="2"/>
                    <a:pt x="8" y="2"/>
                    <a:pt x="8" y="2"/>
                  </a:cubicBezTo>
                  <a:cubicBezTo>
                    <a:pt x="8" y="1"/>
                    <a:pt x="8" y="1"/>
                    <a:pt x="7" y="1"/>
                  </a:cubicBezTo>
                  <a:cubicBezTo>
                    <a:pt x="7" y="1"/>
                    <a:pt x="7" y="1"/>
                    <a:pt x="7" y="1"/>
                  </a:cubicBezTo>
                  <a:cubicBezTo>
                    <a:pt x="7" y="1"/>
                    <a:pt x="7" y="1"/>
                    <a:pt x="7" y="1"/>
                  </a:cubicBezTo>
                  <a:cubicBezTo>
                    <a:pt x="7" y="1"/>
                    <a:pt x="7" y="0"/>
                    <a:pt x="7" y="0"/>
                  </a:cubicBezTo>
                  <a:cubicBezTo>
                    <a:pt x="6" y="0"/>
                    <a:pt x="6" y="0"/>
                    <a:pt x="6" y="0"/>
                  </a:cubicBezTo>
                  <a:cubicBezTo>
                    <a:pt x="6" y="0"/>
                    <a:pt x="6" y="0"/>
                    <a:pt x="6" y="0"/>
                  </a:cubicBezTo>
                  <a:cubicBezTo>
                    <a:pt x="6" y="0"/>
                    <a:pt x="6" y="0"/>
                    <a:pt x="6" y="0"/>
                  </a:cubicBezTo>
                  <a:cubicBezTo>
                    <a:pt x="6" y="0"/>
                    <a:pt x="6" y="0"/>
                    <a:pt x="6" y="0"/>
                  </a:cubicBezTo>
                  <a:cubicBezTo>
                    <a:pt x="5" y="0"/>
                    <a:pt x="5" y="0"/>
                    <a:pt x="5" y="0"/>
                  </a:cubicBezTo>
                  <a:cubicBezTo>
                    <a:pt x="5" y="0"/>
                    <a:pt x="5" y="0"/>
                    <a:pt x="5" y="0"/>
                  </a:cubicBezTo>
                  <a:cubicBezTo>
                    <a:pt x="4" y="0"/>
                    <a:pt x="2" y="1"/>
                    <a:pt x="1" y="1"/>
                  </a:cubicBezTo>
                  <a:cubicBezTo>
                    <a:pt x="1" y="1"/>
                    <a:pt x="1" y="1"/>
                    <a:pt x="1" y="1"/>
                  </a:cubicBezTo>
                  <a:cubicBezTo>
                    <a:pt x="1" y="1"/>
                    <a:pt x="0" y="1"/>
                    <a:pt x="0" y="1"/>
                  </a:cubicBezTo>
                  <a:cubicBezTo>
                    <a:pt x="0" y="1"/>
                    <a:pt x="0" y="1"/>
                    <a:pt x="0" y="1"/>
                  </a:cubicBezTo>
                  <a:cubicBezTo>
                    <a:pt x="0" y="1"/>
                    <a:pt x="0" y="1"/>
                    <a:pt x="0" y="2"/>
                  </a:cubicBezTo>
                  <a:cubicBezTo>
                    <a:pt x="0" y="2"/>
                    <a:pt x="0" y="2"/>
                    <a:pt x="0" y="2"/>
                  </a:cubicBezTo>
                  <a:cubicBezTo>
                    <a:pt x="0" y="2"/>
                    <a:pt x="0" y="2"/>
                    <a:pt x="0" y="2"/>
                  </a:cubicBezTo>
                  <a:cubicBezTo>
                    <a:pt x="0" y="2"/>
                    <a:pt x="0" y="3"/>
                    <a:pt x="1" y="3"/>
                  </a:cubicBezTo>
                  <a:cubicBezTo>
                    <a:pt x="1" y="3"/>
                    <a:pt x="1" y="3"/>
                    <a:pt x="1" y="3"/>
                  </a:cubicBezTo>
                  <a:cubicBezTo>
                    <a:pt x="1" y="3"/>
                    <a:pt x="1" y="3"/>
                    <a:pt x="1" y="3"/>
                  </a:cubicBezTo>
                  <a:cubicBezTo>
                    <a:pt x="2" y="4"/>
                    <a:pt x="4" y="7"/>
                    <a:pt x="5" y="7"/>
                  </a:cubicBezTo>
                  <a:cubicBezTo>
                    <a:pt x="5" y="8"/>
                    <a:pt x="6" y="8"/>
                    <a:pt x="6" y="8"/>
                  </a:cubicBezTo>
                  <a:cubicBezTo>
                    <a:pt x="6" y="8"/>
                    <a:pt x="7" y="8"/>
                    <a:pt x="8" y="8"/>
                  </a:cubicBezTo>
                  <a:cubicBezTo>
                    <a:pt x="8" y="8"/>
                    <a:pt x="8" y="7"/>
                    <a:pt x="8" y="7"/>
                  </a:cubicBezTo>
                  <a:cubicBezTo>
                    <a:pt x="9" y="7"/>
                    <a:pt x="9" y="7"/>
                    <a:pt x="9" y="7"/>
                  </a:cubicBezTo>
                  <a:cubicBezTo>
                    <a:pt x="9" y="7"/>
                    <a:pt x="9" y="7"/>
                    <a:pt x="9" y="7"/>
                  </a:cubicBezTo>
                  <a:cubicBezTo>
                    <a:pt x="9" y="7"/>
                    <a:pt x="9" y="7"/>
                    <a:pt x="9" y="7"/>
                  </a:cubicBezTo>
                  <a:cubicBezTo>
                    <a:pt x="9" y="7"/>
                    <a:pt x="9" y="7"/>
                    <a:pt x="9" y="7"/>
                  </a:cubicBezTo>
                  <a:cubicBezTo>
                    <a:pt x="8" y="6"/>
                    <a:pt x="7" y="6"/>
                    <a:pt x="7" y="5"/>
                  </a:cubicBezTo>
                  <a:cubicBezTo>
                    <a:pt x="7" y="4"/>
                    <a:pt x="7" y="4"/>
                    <a:pt x="7" y="4"/>
                  </a:cubicBezTo>
                  <a:cubicBezTo>
                    <a:pt x="7" y="4"/>
                    <a:pt x="8" y="4"/>
                    <a:pt x="8"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87" name="Freeform 2039">
              <a:extLst>
                <a:ext uri="{FF2B5EF4-FFF2-40B4-BE49-F238E27FC236}">
                  <a16:creationId xmlns:a16="http://schemas.microsoft.com/office/drawing/2014/main" id="{9CC1F579-35EE-4784-B348-4EF3E0149A68}"/>
                </a:ext>
              </a:extLst>
            </p:cNvPr>
            <p:cNvSpPr>
              <a:spLocks/>
            </p:cNvSpPr>
            <p:nvPr/>
          </p:nvSpPr>
          <p:spPr bwMode="auto">
            <a:xfrm>
              <a:off x="1986" y="1508"/>
              <a:ext cx="5" cy="5"/>
            </a:xfrm>
            <a:custGeom>
              <a:avLst/>
              <a:gdLst>
                <a:gd name="T0" fmla="*/ 0 w 2"/>
                <a:gd name="T1" fmla="*/ 2 h 2"/>
                <a:gd name="T2" fmla="*/ 0 w 2"/>
                <a:gd name="T3" fmla="*/ 2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cubicBezTo>
                    <a:pt x="0" y="2"/>
                    <a:pt x="0" y="2"/>
                    <a:pt x="0" y="2"/>
                  </a:cubicBezTo>
                  <a:cubicBezTo>
                    <a:pt x="1" y="2"/>
                    <a:pt x="2" y="1"/>
                    <a:pt x="2" y="0"/>
                  </a:cubicBezTo>
                  <a:cubicBezTo>
                    <a:pt x="2" y="0"/>
                    <a:pt x="2" y="0"/>
                    <a:pt x="2" y="0"/>
                  </a:cubicBezTo>
                  <a:cubicBezTo>
                    <a:pt x="1" y="1"/>
                    <a:pt x="0"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88" name="Freeform 2040">
              <a:extLst>
                <a:ext uri="{FF2B5EF4-FFF2-40B4-BE49-F238E27FC236}">
                  <a16:creationId xmlns:a16="http://schemas.microsoft.com/office/drawing/2014/main" id="{2C27465F-1BB1-4D05-AA4D-89B4D03E4360}"/>
                </a:ext>
              </a:extLst>
            </p:cNvPr>
            <p:cNvSpPr>
              <a:spLocks/>
            </p:cNvSpPr>
            <p:nvPr/>
          </p:nvSpPr>
          <p:spPr bwMode="auto">
            <a:xfrm>
              <a:off x="499" y="1463"/>
              <a:ext cx="5" cy="5"/>
            </a:xfrm>
            <a:custGeom>
              <a:avLst/>
              <a:gdLst>
                <a:gd name="T0" fmla="*/ 1 w 2"/>
                <a:gd name="T1" fmla="*/ 1 h 2"/>
                <a:gd name="T2" fmla="*/ 2 w 2"/>
                <a:gd name="T3" fmla="*/ 2 h 2"/>
                <a:gd name="T4" fmla="*/ 2 w 2"/>
                <a:gd name="T5" fmla="*/ 0 h 2"/>
                <a:gd name="T6" fmla="*/ 1 w 2"/>
                <a:gd name="T7" fmla="*/ 1 h 2"/>
              </a:gdLst>
              <a:ahLst/>
              <a:cxnLst>
                <a:cxn ang="0">
                  <a:pos x="T0" y="T1"/>
                </a:cxn>
                <a:cxn ang="0">
                  <a:pos x="T2" y="T3"/>
                </a:cxn>
                <a:cxn ang="0">
                  <a:pos x="T4" y="T5"/>
                </a:cxn>
                <a:cxn ang="0">
                  <a:pos x="T6" y="T7"/>
                </a:cxn>
              </a:cxnLst>
              <a:rect l="0" t="0" r="r" b="b"/>
              <a:pathLst>
                <a:path w="2" h="2">
                  <a:moveTo>
                    <a:pt x="1" y="1"/>
                  </a:moveTo>
                  <a:cubicBezTo>
                    <a:pt x="1" y="1"/>
                    <a:pt x="2" y="2"/>
                    <a:pt x="2" y="2"/>
                  </a:cubicBezTo>
                  <a:cubicBezTo>
                    <a:pt x="2" y="1"/>
                    <a:pt x="2" y="1"/>
                    <a:pt x="2" y="0"/>
                  </a:cubicBezTo>
                  <a:cubicBezTo>
                    <a:pt x="0" y="0"/>
                    <a:pt x="0" y="0"/>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89" name="Freeform 2041">
              <a:extLst>
                <a:ext uri="{FF2B5EF4-FFF2-40B4-BE49-F238E27FC236}">
                  <a16:creationId xmlns:a16="http://schemas.microsoft.com/office/drawing/2014/main" id="{1FAA7FA1-E75C-44CB-8AFF-865FB8A924FF}"/>
                </a:ext>
              </a:extLst>
            </p:cNvPr>
            <p:cNvSpPr>
              <a:spLocks/>
            </p:cNvSpPr>
            <p:nvPr/>
          </p:nvSpPr>
          <p:spPr bwMode="auto">
            <a:xfrm>
              <a:off x="2237" y="1451"/>
              <a:ext cx="7" cy="7"/>
            </a:xfrm>
            <a:custGeom>
              <a:avLst/>
              <a:gdLst>
                <a:gd name="T0" fmla="*/ 1 w 3"/>
                <a:gd name="T1" fmla="*/ 1 h 3"/>
                <a:gd name="T2" fmla="*/ 0 w 3"/>
                <a:gd name="T3" fmla="*/ 1 h 3"/>
                <a:gd name="T4" fmla="*/ 3 w 3"/>
                <a:gd name="T5" fmla="*/ 1 h 3"/>
                <a:gd name="T6" fmla="*/ 3 w 3"/>
                <a:gd name="T7" fmla="*/ 0 h 3"/>
                <a:gd name="T8" fmla="*/ 1 w 3"/>
                <a:gd name="T9" fmla="*/ 1 h 3"/>
              </a:gdLst>
              <a:ahLst/>
              <a:cxnLst>
                <a:cxn ang="0">
                  <a:pos x="T0" y="T1"/>
                </a:cxn>
                <a:cxn ang="0">
                  <a:pos x="T2" y="T3"/>
                </a:cxn>
                <a:cxn ang="0">
                  <a:pos x="T4" y="T5"/>
                </a:cxn>
                <a:cxn ang="0">
                  <a:pos x="T6" y="T7"/>
                </a:cxn>
                <a:cxn ang="0">
                  <a:pos x="T8" y="T9"/>
                </a:cxn>
              </a:cxnLst>
              <a:rect l="0" t="0" r="r" b="b"/>
              <a:pathLst>
                <a:path w="3" h="3">
                  <a:moveTo>
                    <a:pt x="1" y="1"/>
                  </a:moveTo>
                  <a:cubicBezTo>
                    <a:pt x="1" y="0"/>
                    <a:pt x="0" y="1"/>
                    <a:pt x="0" y="1"/>
                  </a:cubicBezTo>
                  <a:cubicBezTo>
                    <a:pt x="1" y="3"/>
                    <a:pt x="2" y="2"/>
                    <a:pt x="3" y="1"/>
                  </a:cubicBezTo>
                  <a:cubicBezTo>
                    <a:pt x="3" y="1"/>
                    <a:pt x="3" y="1"/>
                    <a:pt x="3" y="0"/>
                  </a:cubicBezTo>
                  <a:cubicBezTo>
                    <a:pt x="2" y="0"/>
                    <a:pt x="2" y="1"/>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90" name="Freeform 2042">
              <a:extLst>
                <a:ext uri="{FF2B5EF4-FFF2-40B4-BE49-F238E27FC236}">
                  <a16:creationId xmlns:a16="http://schemas.microsoft.com/office/drawing/2014/main" id="{416A1150-0A35-43B2-A7B5-B3655672E75A}"/>
                </a:ext>
              </a:extLst>
            </p:cNvPr>
            <p:cNvSpPr>
              <a:spLocks/>
            </p:cNvSpPr>
            <p:nvPr/>
          </p:nvSpPr>
          <p:spPr bwMode="auto">
            <a:xfrm>
              <a:off x="1220" y="344"/>
              <a:ext cx="78" cy="19"/>
            </a:xfrm>
            <a:custGeom>
              <a:avLst/>
              <a:gdLst>
                <a:gd name="T0" fmla="*/ 12 w 33"/>
                <a:gd name="T1" fmla="*/ 8 h 8"/>
                <a:gd name="T2" fmla="*/ 19 w 33"/>
                <a:gd name="T3" fmla="*/ 7 h 8"/>
                <a:gd name="T4" fmla="*/ 22 w 33"/>
                <a:gd name="T5" fmla="*/ 8 h 8"/>
                <a:gd name="T6" fmla="*/ 28 w 33"/>
                <a:gd name="T7" fmla="*/ 8 h 8"/>
                <a:gd name="T8" fmla="*/ 33 w 33"/>
                <a:gd name="T9" fmla="*/ 2 h 8"/>
                <a:gd name="T10" fmla="*/ 29 w 33"/>
                <a:gd name="T11" fmla="*/ 1 h 8"/>
                <a:gd name="T12" fmla="*/ 26 w 33"/>
                <a:gd name="T13" fmla="*/ 2 h 8"/>
                <a:gd name="T14" fmla="*/ 24 w 33"/>
                <a:gd name="T15" fmla="*/ 1 h 8"/>
                <a:gd name="T16" fmla="*/ 22 w 33"/>
                <a:gd name="T17" fmla="*/ 1 h 8"/>
                <a:gd name="T18" fmla="*/ 20 w 33"/>
                <a:gd name="T19" fmla="*/ 1 h 8"/>
                <a:gd name="T20" fmla="*/ 16 w 33"/>
                <a:gd name="T21" fmla="*/ 1 h 8"/>
                <a:gd name="T22" fmla="*/ 13 w 33"/>
                <a:gd name="T23" fmla="*/ 1 h 8"/>
                <a:gd name="T24" fmla="*/ 12 w 33"/>
                <a:gd name="T25" fmla="*/ 1 h 8"/>
                <a:gd name="T26" fmla="*/ 11 w 33"/>
                <a:gd name="T27" fmla="*/ 2 h 8"/>
                <a:gd name="T28" fmla="*/ 10 w 33"/>
                <a:gd name="T29" fmla="*/ 0 h 8"/>
                <a:gd name="T30" fmla="*/ 8 w 33"/>
                <a:gd name="T31" fmla="*/ 1 h 8"/>
                <a:gd name="T32" fmla="*/ 5 w 33"/>
                <a:gd name="T33" fmla="*/ 1 h 8"/>
                <a:gd name="T34" fmla="*/ 2 w 33"/>
                <a:gd name="T35" fmla="*/ 6 h 8"/>
                <a:gd name="T36" fmla="*/ 12 w 33"/>
                <a:gd name="T3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8">
                  <a:moveTo>
                    <a:pt x="12" y="8"/>
                  </a:moveTo>
                  <a:cubicBezTo>
                    <a:pt x="14" y="8"/>
                    <a:pt x="17" y="7"/>
                    <a:pt x="19" y="7"/>
                  </a:cubicBezTo>
                  <a:cubicBezTo>
                    <a:pt x="20" y="7"/>
                    <a:pt x="21" y="8"/>
                    <a:pt x="22" y="8"/>
                  </a:cubicBezTo>
                  <a:cubicBezTo>
                    <a:pt x="24" y="8"/>
                    <a:pt x="26" y="8"/>
                    <a:pt x="28" y="8"/>
                  </a:cubicBezTo>
                  <a:cubicBezTo>
                    <a:pt x="30" y="8"/>
                    <a:pt x="32" y="4"/>
                    <a:pt x="33" y="2"/>
                  </a:cubicBezTo>
                  <a:cubicBezTo>
                    <a:pt x="32" y="2"/>
                    <a:pt x="30" y="1"/>
                    <a:pt x="29" y="1"/>
                  </a:cubicBezTo>
                  <a:cubicBezTo>
                    <a:pt x="28" y="1"/>
                    <a:pt x="27" y="2"/>
                    <a:pt x="26" y="2"/>
                  </a:cubicBezTo>
                  <a:cubicBezTo>
                    <a:pt x="25" y="2"/>
                    <a:pt x="25" y="1"/>
                    <a:pt x="24" y="1"/>
                  </a:cubicBezTo>
                  <a:cubicBezTo>
                    <a:pt x="23" y="1"/>
                    <a:pt x="23" y="1"/>
                    <a:pt x="22" y="1"/>
                  </a:cubicBezTo>
                  <a:cubicBezTo>
                    <a:pt x="22" y="1"/>
                    <a:pt x="21" y="1"/>
                    <a:pt x="20" y="1"/>
                  </a:cubicBezTo>
                  <a:cubicBezTo>
                    <a:pt x="19" y="1"/>
                    <a:pt x="18" y="1"/>
                    <a:pt x="16" y="1"/>
                  </a:cubicBezTo>
                  <a:cubicBezTo>
                    <a:pt x="15" y="1"/>
                    <a:pt x="15" y="1"/>
                    <a:pt x="13" y="1"/>
                  </a:cubicBezTo>
                  <a:cubicBezTo>
                    <a:pt x="13" y="1"/>
                    <a:pt x="12" y="1"/>
                    <a:pt x="12" y="1"/>
                  </a:cubicBezTo>
                  <a:cubicBezTo>
                    <a:pt x="12" y="1"/>
                    <a:pt x="11" y="2"/>
                    <a:pt x="11" y="2"/>
                  </a:cubicBezTo>
                  <a:cubicBezTo>
                    <a:pt x="10" y="1"/>
                    <a:pt x="11" y="0"/>
                    <a:pt x="10" y="0"/>
                  </a:cubicBezTo>
                  <a:cubicBezTo>
                    <a:pt x="9" y="0"/>
                    <a:pt x="9" y="1"/>
                    <a:pt x="8" y="1"/>
                  </a:cubicBezTo>
                  <a:cubicBezTo>
                    <a:pt x="8" y="1"/>
                    <a:pt x="6" y="1"/>
                    <a:pt x="5" y="1"/>
                  </a:cubicBezTo>
                  <a:cubicBezTo>
                    <a:pt x="3" y="2"/>
                    <a:pt x="0" y="3"/>
                    <a:pt x="2" y="6"/>
                  </a:cubicBezTo>
                  <a:cubicBezTo>
                    <a:pt x="5" y="8"/>
                    <a:pt x="8" y="7"/>
                    <a:pt x="12" y="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91" name="Freeform 2043">
              <a:extLst>
                <a:ext uri="{FF2B5EF4-FFF2-40B4-BE49-F238E27FC236}">
                  <a16:creationId xmlns:a16="http://schemas.microsoft.com/office/drawing/2014/main" id="{D2A14D56-8024-4B98-8E1B-F3465CD1260D}"/>
                </a:ext>
              </a:extLst>
            </p:cNvPr>
            <p:cNvSpPr>
              <a:spLocks/>
            </p:cNvSpPr>
            <p:nvPr/>
          </p:nvSpPr>
          <p:spPr bwMode="auto">
            <a:xfrm>
              <a:off x="1024" y="417"/>
              <a:ext cx="50" cy="19"/>
            </a:xfrm>
            <a:custGeom>
              <a:avLst/>
              <a:gdLst>
                <a:gd name="T0" fmla="*/ 8 w 21"/>
                <a:gd name="T1" fmla="*/ 2 h 8"/>
                <a:gd name="T2" fmla="*/ 5 w 21"/>
                <a:gd name="T3" fmla="*/ 3 h 8"/>
                <a:gd name="T4" fmla="*/ 3 w 21"/>
                <a:gd name="T5" fmla="*/ 3 h 8"/>
                <a:gd name="T6" fmla="*/ 1 w 21"/>
                <a:gd name="T7" fmla="*/ 4 h 8"/>
                <a:gd name="T8" fmla="*/ 3 w 21"/>
                <a:gd name="T9" fmla="*/ 6 h 8"/>
                <a:gd name="T10" fmla="*/ 5 w 21"/>
                <a:gd name="T11" fmla="*/ 7 h 8"/>
                <a:gd name="T12" fmla="*/ 7 w 21"/>
                <a:gd name="T13" fmla="*/ 7 h 8"/>
                <a:gd name="T14" fmla="*/ 6 w 21"/>
                <a:gd name="T15" fmla="*/ 7 h 8"/>
                <a:gd name="T16" fmla="*/ 12 w 21"/>
                <a:gd name="T17" fmla="*/ 7 h 8"/>
                <a:gd name="T18" fmla="*/ 18 w 21"/>
                <a:gd name="T19" fmla="*/ 6 h 8"/>
                <a:gd name="T20" fmla="*/ 19 w 21"/>
                <a:gd name="T21" fmla="*/ 2 h 8"/>
                <a:gd name="T22" fmla="*/ 8 w 21"/>
                <a:gd name="T23"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8">
                  <a:moveTo>
                    <a:pt x="8" y="2"/>
                  </a:moveTo>
                  <a:cubicBezTo>
                    <a:pt x="7" y="3"/>
                    <a:pt x="6" y="3"/>
                    <a:pt x="5" y="3"/>
                  </a:cubicBezTo>
                  <a:cubicBezTo>
                    <a:pt x="4" y="3"/>
                    <a:pt x="3" y="3"/>
                    <a:pt x="3" y="3"/>
                  </a:cubicBezTo>
                  <a:cubicBezTo>
                    <a:pt x="2" y="4"/>
                    <a:pt x="2" y="4"/>
                    <a:pt x="1" y="4"/>
                  </a:cubicBezTo>
                  <a:cubicBezTo>
                    <a:pt x="0" y="5"/>
                    <a:pt x="2" y="6"/>
                    <a:pt x="3" y="6"/>
                  </a:cubicBezTo>
                  <a:cubicBezTo>
                    <a:pt x="3" y="6"/>
                    <a:pt x="4" y="7"/>
                    <a:pt x="5" y="7"/>
                  </a:cubicBezTo>
                  <a:cubicBezTo>
                    <a:pt x="6" y="7"/>
                    <a:pt x="6" y="7"/>
                    <a:pt x="7" y="7"/>
                  </a:cubicBezTo>
                  <a:cubicBezTo>
                    <a:pt x="7" y="7"/>
                    <a:pt x="6" y="7"/>
                    <a:pt x="6" y="7"/>
                  </a:cubicBezTo>
                  <a:cubicBezTo>
                    <a:pt x="8" y="8"/>
                    <a:pt x="10" y="7"/>
                    <a:pt x="12" y="7"/>
                  </a:cubicBezTo>
                  <a:cubicBezTo>
                    <a:pt x="14" y="7"/>
                    <a:pt x="16" y="7"/>
                    <a:pt x="18" y="6"/>
                  </a:cubicBezTo>
                  <a:cubicBezTo>
                    <a:pt x="21" y="5"/>
                    <a:pt x="20" y="4"/>
                    <a:pt x="19" y="2"/>
                  </a:cubicBezTo>
                  <a:cubicBezTo>
                    <a:pt x="16" y="0"/>
                    <a:pt x="11" y="2"/>
                    <a:pt x="8"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92" name="Freeform 2044">
              <a:extLst>
                <a:ext uri="{FF2B5EF4-FFF2-40B4-BE49-F238E27FC236}">
                  <a16:creationId xmlns:a16="http://schemas.microsoft.com/office/drawing/2014/main" id="{D172CE10-C159-4768-BD3B-6F4D8E9CFD38}"/>
                </a:ext>
              </a:extLst>
            </p:cNvPr>
            <p:cNvSpPr>
              <a:spLocks/>
            </p:cNvSpPr>
            <p:nvPr/>
          </p:nvSpPr>
          <p:spPr bwMode="auto">
            <a:xfrm>
              <a:off x="364" y="1345"/>
              <a:ext cx="8" cy="5"/>
            </a:xfrm>
            <a:custGeom>
              <a:avLst/>
              <a:gdLst>
                <a:gd name="T0" fmla="*/ 0 w 3"/>
                <a:gd name="T1" fmla="*/ 2 h 2"/>
                <a:gd name="T2" fmla="*/ 3 w 3"/>
                <a:gd name="T3" fmla="*/ 1 h 2"/>
                <a:gd name="T4" fmla="*/ 1 w 3"/>
                <a:gd name="T5" fmla="*/ 1 h 2"/>
                <a:gd name="T6" fmla="*/ 0 w 3"/>
                <a:gd name="T7" fmla="*/ 2 h 2"/>
              </a:gdLst>
              <a:ahLst/>
              <a:cxnLst>
                <a:cxn ang="0">
                  <a:pos x="T0" y="T1"/>
                </a:cxn>
                <a:cxn ang="0">
                  <a:pos x="T2" y="T3"/>
                </a:cxn>
                <a:cxn ang="0">
                  <a:pos x="T4" y="T5"/>
                </a:cxn>
                <a:cxn ang="0">
                  <a:pos x="T6" y="T7"/>
                </a:cxn>
              </a:cxnLst>
              <a:rect l="0" t="0" r="r" b="b"/>
              <a:pathLst>
                <a:path w="3" h="2">
                  <a:moveTo>
                    <a:pt x="0" y="2"/>
                  </a:moveTo>
                  <a:cubicBezTo>
                    <a:pt x="1" y="2"/>
                    <a:pt x="2" y="2"/>
                    <a:pt x="3" y="1"/>
                  </a:cubicBezTo>
                  <a:cubicBezTo>
                    <a:pt x="2" y="1"/>
                    <a:pt x="2" y="1"/>
                    <a:pt x="1" y="1"/>
                  </a:cubicBezTo>
                  <a:cubicBezTo>
                    <a:pt x="0" y="1"/>
                    <a:pt x="0" y="0"/>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93" name="Freeform 2045">
              <a:extLst>
                <a:ext uri="{FF2B5EF4-FFF2-40B4-BE49-F238E27FC236}">
                  <a16:creationId xmlns:a16="http://schemas.microsoft.com/office/drawing/2014/main" id="{8D38F280-EB33-4955-AED7-B7A6CA63DD8A}"/>
                </a:ext>
              </a:extLst>
            </p:cNvPr>
            <p:cNvSpPr>
              <a:spLocks/>
            </p:cNvSpPr>
            <p:nvPr/>
          </p:nvSpPr>
          <p:spPr bwMode="auto">
            <a:xfrm>
              <a:off x="1743" y="791"/>
              <a:ext cx="35" cy="17"/>
            </a:xfrm>
            <a:custGeom>
              <a:avLst/>
              <a:gdLst>
                <a:gd name="T0" fmla="*/ 6 w 15"/>
                <a:gd name="T1" fmla="*/ 7 h 7"/>
                <a:gd name="T2" fmla="*/ 13 w 15"/>
                <a:gd name="T3" fmla="*/ 7 h 7"/>
                <a:gd name="T4" fmla="*/ 14 w 15"/>
                <a:gd name="T5" fmla="*/ 4 h 7"/>
                <a:gd name="T6" fmla="*/ 12 w 15"/>
                <a:gd name="T7" fmla="*/ 3 h 7"/>
                <a:gd name="T8" fmla="*/ 5 w 15"/>
                <a:gd name="T9" fmla="*/ 0 h 7"/>
                <a:gd name="T10" fmla="*/ 4 w 15"/>
                <a:gd name="T11" fmla="*/ 1 h 7"/>
                <a:gd name="T12" fmla="*/ 1 w 15"/>
                <a:gd name="T13" fmla="*/ 2 h 7"/>
                <a:gd name="T14" fmla="*/ 1 w 15"/>
                <a:gd name="T15" fmla="*/ 5 h 7"/>
                <a:gd name="T16" fmla="*/ 6 w 15"/>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6" y="7"/>
                  </a:moveTo>
                  <a:cubicBezTo>
                    <a:pt x="8" y="6"/>
                    <a:pt x="11" y="7"/>
                    <a:pt x="13" y="7"/>
                  </a:cubicBezTo>
                  <a:cubicBezTo>
                    <a:pt x="15" y="6"/>
                    <a:pt x="14" y="5"/>
                    <a:pt x="14" y="4"/>
                  </a:cubicBezTo>
                  <a:cubicBezTo>
                    <a:pt x="14" y="3"/>
                    <a:pt x="13" y="3"/>
                    <a:pt x="12" y="3"/>
                  </a:cubicBezTo>
                  <a:cubicBezTo>
                    <a:pt x="9" y="2"/>
                    <a:pt x="7" y="1"/>
                    <a:pt x="5" y="0"/>
                  </a:cubicBezTo>
                  <a:cubicBezTo>
                    <a:pt x="4" y="0"/>
                    <a:pt x="5" y="0"/>
                    <a:pt x="4" y="1"/>
                  </a:cubicBezTo>
                  <a:cubicBezTo>
                    <a:pt x="3" y="1"/>
                    <a:pt x="2" y="2"/>
                    <a:pt x="1" y="2"/>
                  </a:cubicBezTo>
                  <a:cubicBezTo>
                    <a:pt x="0" y="3"/>
                    <a:pt x="0" y="4"/>
                    <a:pt x="1" y="5"/>
                  </a:cubicBezTo>
                  <a:cubicBezTo>
                    <a:pt x="2" y="7"/>
                    <a:pt x="4" y="7"/>
                    <a:pt x="6" y="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94" name="Freeform 2046">
              <a:extLst>
                <a:ext uri="{FF2B5EF4-FFF2-40B4-BE49-F238E27FC236}">
                  <a16:creationId xmlns:a16="http://schemas.microsoft.com/office/drawing/2014/main" id="{3542B232-A42E-407A-9329-F8994EB8F8CB}"/>
                </a:ext>
              </a:extLst>
            </p:cNvPr>
            <p:cNvSpPr>
              <a:spLocks/>
            </p:cNvSpPr>
            <p:nvPr/>
          </p:nvSpPr>
          <p:spPr bwMode="auto">
            <a:xfrm>
              <a:off x="1665" y="957"/>
              <a:ext cx="9" cy="2"/>
            </a:xfrm>
            <a:custGeom>
              <a:avLst/>
              <a:gdLst>
                <a:gd name="T0" fmla="*/ 4 w 4"/>
                <a:gd name="T1" fmla="*/ 0 h 1"/>
                <a:gd name="T2" fmla="*/ 0 w 4"/>
                <a:gd name="T3" fmla="*/ 1 h 1"/>
                <a:gd name="T4" fmla="*/ 4 w 4"/>
                <a:gd name="T5" fmla="*/ 0 h 1"/>
              </a:gdLst>
              <a:ahLst/>
              <a:cxnLst>
                <a:cxn ang="0">
                  <a:pos x="T0" y="T1"/>
                </a:cxn>
                <a:cxn ang="0">
                  <a:pos x="T2" y="T3"/>
                </a:cxn>
                <a:cxn ang="0">
                  <a:pos x="T4" y="T5"/>
                </a:cxn>
              </a:cxnLst>
              <a:rect l="0" t="0" r="r" b="b"/>
              <a:pathLst>
                <a:path w="4" h="1">
                  <a:moveTo>
                    <a:pt x="4" y="0"/>
                  </a:moveTo>
                  <a:cubicBezTo>
                    <a:pt x="3" y="0"/>
                    <a:pt x="1" y="0"/>
                    <a:pt x="0" y="1"/>
                  </a:cubicBezTo>
                  <a:cubicBezTo>
                    <a:pt x="2" y="1"/>
                    <a:pt x="3" y="1"/>
                    <a:pt x="4"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95" name="Freeform 2047">
              <a:extLst>
                <a:ext uri="{FF2B5EF4-FFF2-40B4-BE49-F238E27FC236}">
                  <a16:creationId xmlns:a16="http://schemas.microsoft.com/office/drawing/2014/main" id="{F29609E1-48C3-4CA3-B56C-D91F606ED7BD}"/>
                </a:ext>
              </a:extLst>
            </p:cNvPr>
            <p:cNvSpPr>
              <a:spLocks/>
            </p:cNvSpPr>
            <p:nvPr/>
          </p:nvSpPr>
          <p:spPr bwMode="auto">
            <a:xfrm>
              <a:off x="1615" y="1234"/>
              <a:ext cx="7" cy="7"/>
            </a:xfrm>
            <a:custGeom>
              <a:avLst/>
              <a:gdLst>
                <a:gd name="T0" fmla="*/ 2 w 3"/>
                <a:gd name="T1" fmla="*/ 1 h 3"/>
                <a:gd name="T2" fmla="*/ 1 w 3"/>
                <a:gd name="T3" fmla="*/ 1 h 3"/>
                <a:gd name="T4" fmla="*/ 0 w 3"/>
                <a:gd name="T5" fmla="*/ 3 h 3"/>
                <a:gd name="T6" fmla="*/ 3 w 3"/>
                <a:gd name="T7" fmla="*/ 0 h 3"/>
                <a:gd name="T8" fmla="*/ 2 w 3"/>
                <a:gd name="T9" fmla="*/ 1 h 3"/>
              </a:gdLst>
              <a:ahLst/>
              <a:cxnLst>
                <a:cxn ang="0">
                  <a:pos x="T0" y="T1"/>
                </a:cxn>
                <a:cxn ang="0">
                  <a:pos x="T2" y="T3"/>
                </a:cxn>
                <a:cxn ang="0">
                  <a:pos x="T4" y="T5"/>
                </a:cxn>
                <a:cxn ang="0">
                  <a:pos x="T6" y="T7"/>
                </a:cxn>
                <a:cxn ang="0">
                  <a:pos x="T8" y="T9"/>
                </a:cxn>
              </a:cxnLst>
              <a:rect l="0" t="0" r="r" b="b"/>
              <a:pathLst>
                <a:path w="3" h="3">
                  <a:moveTo>
                    <a:pt x="2" y="1"/>
                  </a:moveTo>
                  <a:cubicBezTo>
                    <a:pt x="2" y="1"/>
                    <a:pt x="1" y="1"/>
                    <a:pt x="1" y="1"/>
                  </a:cubicBezTo>
                  <a:cubicBezTo>
                    <a:pt x="0" y="2"/>
                    <a:pt x="0" y="1"/>
                    <a:pt x="0" y="3"/>
                  </a:cubicBezTo>
                  <a:cubicBezTo>
                    <a:pt x="1" y="2"/>
                    <a:pt x="2" y="1"/>
                    <a:pt x="3" y="0"/>
                  </a:cubicBezTo>
                  <a:cubicBezTo>
                    <a:pt x="2" y="0"/>
                    <a:pt x="2"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96" name="Freeform 2048">
              <a:extLst>
                <a:ext uri="{FF2B5EF4-FFF2-40B4-BE49-F238E27FC236}">
                  <a16:creationId xmlns:a16="http://schemas.microsoft.com/office/drawing/2014/main" id="{89412D69-C2CB-4F91-9683-2B24D2ABDEDB}"/>
                </a:ext>
              </a:extLst>
            </p:cNvPr>
            <p:cNvSpPr>
              <a:spLocks/>
            </p:cNvSpPr>
            <p:nvPr/>
          </p:nvSpPr>
          <p:spPr bwMode="auto">
            <a:xfrm>
              <a:off x="1130" y="219"/>
              <a:ext cx="36" cy="26"/>
            </a:xfrm>
            <a:custGeom>
              <a:avLst/>
              <a:gdLst>
                <a:gd name="T0" fmla="*/ 4 w 15"/>
                <a:gd name="T1" fmla="*/ 8 h 11"/>
                <a:gd name="T2" fmla="*/ 13 w 15"/>
                <a:gd name="T3" fmla="*/ 11 h 11"/>
                <a:gd name="T4" fmla="*/ 15 w 15"/>
                <a:gd name="T5" fmla="*/ 8 h 11"/>
                <a:gd name="T6" fmla="*/ 14 w 15"/>
                <a:gd name="T7" fmla="*/ 6 h 11"/>
                <a:gd name="T8" fmla="*/ 14 w 15"/>
                <a:gd name="T9" fmla="*/ 5 h 11"/>
                <a:gd name="T10" fmla="*/ 13 w 15"/>
                <a:gd name="T11" fmla="*/ 2 h 11"/>
                <a:gd name="T12" fmla="*/ 12 w 15"/>
                <a:gd name="T13" fmla="*/ 1 h 11"/>
                <a:gd name="T14" fmla="*/ 11 w 15"/>
                <a:gd name="T15" fmla="*/ 1 h 11"/>
                <a:gd name="T16" fmla="*/ 7 w 15"/>
                <a:gd name="T17" fmla="*/ 1 h 11"/>
                <a:gd name="T18" fmla="*/ 4 w 15"/>
                <a:gd name="T19" fmla="*/ 0 h 11"/>
                <a:gd name="T20" fmla="*/ 0 w 15"/>
                <a:gd name="T21" fmla="*/ 4 h 11"/>
                <a:gd name="T22" fmla="*/ 4 w 15"/>
                <a:gd name="T23"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1">
                  <a:moveTo>
                    <a:pt x="4" y="8"/>
                  </a:moveTo>
                  <a:cubicBezTo>
                    <a:pt x="7" y="9"/>
                    <a:pt x="10" y="10"/>
                    <a:pt x="13" y="11"/>
                  </a:cubicBezTo>
                  <a:cubicBezTo>
                    <a:pt x="14" y="11"/>
                    <a:pt x="15" y="9"/>
                    <a:pt x="15" y="8"/>
                  </a:cubicBezTo>
                  <a:cubicBezTo>
                    <a:pt x="15" y="7"/>
                    <a:pt x="15" y="7"/>
                    <a:pt x="14" y="6"/>
                  </a:cubicBezTo>
                  <a:cubicBezTo>
                    <a:pt x="14" y="5"/>
                    <a:pt x="14" y="5"/>
                    <a:pt x="14" y="5"/>
                  </a:cubicBezTo>
                  <a:cubicBezTo>
                    <a:pt x="14" y="4"/>
                    <a:pt x="14" y="3"/>
                    <a:pt x="13" y="2"/>
                  </a:cubicBezTo>
                  <a:cubicBezTo>
                    <a:pt x="13" y="2"/>
                    <a:pt x="13" y="2"/>
                    <a:pt x="12" y="1"/>
                  </a:cubicBezTo>
                  <a:cubicBezTo>
                    <a:pt x="12" y="1"/>
                    <a:pt x="11" y="1"/>
                    <a:pt x="11" y="1"/>
                  </a:cubicBezTo>
                  <a:cubicBezTo>
                    <a:pt x="10" y="0"/>
                    <a:pt x="8" y="1"/>
                    <a:pt x="7" y="1"/>
                  </a:cubicBezTo>
                  <a:cubicBezTo>
                    <a:pt x="6" y="1"/>
                    <a:pt x="5" y="0"/>
                    <a:pt x="4" y="0"/>
                  </a:cubicBezTo>
                  <a:cubicBezTo>
                    <a:pt x="2" y="0"/>
                    <a:pt x="0" y="2"/>
                    <a:pt x="0" y="4"/>
                  </a:cubicBezTo>
                  <a:cubicBezTo>
                    <a:pt x="0" y="7"/>
                    <a:pt x="2" y="7"/>
                    <a:pt x="4" y="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97" name="Freeform 2049">
              <a:extLst>
                <a:ext uri="{FF2B5EF4-FFF2-40B4-BE49-F238E27FC236}">
                  <a16:creationId xmlns:a16="http://schemas.microsoft.com/office/drawing/2014/main" id="{943AF06C-2EFF-4E74-8A55-A6AC4F15B0BC}"/>
                </a:ext>
              </a:extLst>
            </p:cNvPr>
            <p:cNvSpPr>
              <a:spLocks/>
            </p:cNvSpPr>
            <p:nvPr/>
          </p:nvSpPr>
          <p:spPr bwMode="auto">
            <a:xfrm>
              <a:off x="1896" y="1085"/>
              <a:ext cx="15" cy="16"/>
            </a:xfrm>
            <a:custGeom>
              <a:avLst/>
              <a:gdLst>
                <a:gd name="T0" fmla="*/ 2 w 6"/>
                <a:gd name="T1" fmla="*/ 3 h 7"/>
                <a:gd name="T2" fmla="*/ 0 w 6"/>
                <a:gd name="T3" fmla="*/ 5 h 7"/>
                <a:gd name="T4" fmla="*/ 4 w 6"/>
                <a:gd name="T5" fmla="*/ 5 h 7"/>
                <a:gd name="T6" fmla="*/ 5 w 6"/>
                <a:gd name="T7" fmla="*/ 1 h 7"/>
                <a:gd name="T8" fmla="*/ 2 w 6"/>
                <a:gd name="T9" fmla="*/ 3 h 7"/>
              </a:gdLst>
              <a:ahLst/>
              <a:cxnLst>
                <a:cxn ang="0">
                  <a:pos x="T0" y="T1"/>
                </a:cxn>
                <a:cxn ang="0">
                  <a:pos x="T2" y="T3"/>
                </a:cxn>
                <a:cxn ang="0">
                  <a:pos x="T4" y="T5"/>
                </a:cxn>
                <a:cxn ang="0">
                  <a:pos x="T6" y="T7"/>
                </a:cxn>
                <a:cxn ang="0">
                  <a:pos x="T8" y="T9"/>
                </a:cxn>
              </a:cxnLst>
              <a:rect l="0" t="0" r="r" b="b"/>
              <a:pathLst>
                <a:path w="6" h="7">
                  <a:moveTo>
                    <a:pt x="2" y="3"/>
                  </a:moveTo>
                  <a:cubicBezTo>
                    <a:pt x="2" y="3"/>
                    <a:pt x="0" y="4"/>
                    <a:pt x="0" y="5"/>
                  </a:cubicBezTo>
                  <a:cubicBezTo>
                    <a:pt x="0" y="7"/>
                    <a:pt x="3" y="6"/>
                    <a:pt x="4" y="5"/>
                  </a:cubicBezTo>
                  <a:cubicBezTo>
                    <a:pt x="6" y="4"/>
                    <a:pt x="6" y="4"/>
                    <a:pt x="5" y="1"/>
                  </a:cubicBezTo>
                  <a:cubicBezTo>
                    <a:pt x="3" y="0"/>
                    <a:pt x="3" y="1"/>
                    <a:pt x="2"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98" name="Freeform 2050">
              <a:extLst>
                <a:ext uri="{FF2B5EF4-FFF2-40B4-BE49-F238E27FC236}">
                  <a16:creationId xmlns:a16="http://schemas.microsoft.com/office/drawing/2014/main" id="{D040472B-2C0D-4D5F-9074-C89B3037BB11}"/>
                </a:ext>
              </a:extLst>
            </p:cNvPr>
            <p:cNvSpPr>
              <a:spLocks/>
            </p:cNvSpPr>
            <p:nvPr/>
          </p:nvSpPr>
          <p:spPr bwMode="auto">
            <a:xfrm>
              <a:off x="1643" y="725"/>
              <a:ext cx="29" cy="12"/>
            </a:xfrm>
            <a:custGeom>
              <a:avLst/>
              <a:gdLst>
                <a:gd name="T0" fmla="*/ 4 w 12"/>
                <a:gd name="T1" fmla="*/ 4 h 5"/>
                <a:gd name="T2" fmla="*/ 4 w 12"/>
                <a:gd name="T3" fmla="*/ 4 h 5"/>
                <a:gd name="T4" fmla="*/ 6 w 12"/>
                <a:gd name="T5" fmla="*/ 3 h 5"/>
                <a:gd name="T6" fmla="*/ 8 w 12"/>
                <a:gd name="T7" fmla="*/ 0 h 5"/>
                <a:gd name="T8" fmla="*/ 0 w 12"/>
                <a:gd name="T9" fmla="*/ 5 h 5"/>
                <a:gd name="T10" fmla="*/ 3 w 12"/>
                <a:gd name="T11" fmla="*/ 4 h 5"/>
                <a:gd name="T12" fmla="*/ 4 w 12"/>
                <a:gd name="T13" fmla="*/ 4 h 5"/>
              </a:gdLst>
              <a:ahLst/>
              <a:cxnLst>
                <a:cxn ang="0">
                  <a:pos x="T0" y="T1"/>
                </a:cxn>
                <a:cxn ang="0">
                  <a:pos x="T2" y="T3"/>
                </a:cxn>
                <a:cxn ang="0">
                  <a:pos x="T4" y="T5"/>
                </a:cxn>
                <a:cxn ang="0">
                  <a:pos x="T6" y="T7"/>
                </a:cxn>
                <a:cxn ang="0">
                  <a:pos x="T8" y="T9"/>
                </a:cxn>
                <a:cxn ang="0">
                  <a:pos x="T10" y="T11"/>
                </a:cxn>
                <a:cxn ang="0">
                  <a:pos x="T12" y="T13"/>
                </a:cxn>
              </a:cxnLst>
              <a:rect l="0" t="0" r="r" b="b"/>
              <a:pathLst>
                <a:path w="12" h="5">
                  <a:moveTo>
                    <a:pt x="4" y="4"/>
                  </a:moveTo>
                  <a:cubicBezTo>
                    <a:pt x="4" y="4"/>
                    <a:pt x="4" y="4"/>
                    <a:pt x="4" y="4"/>
                  </a:cubicBezTo>
                  <a:cubicBezTo>
                    <a:pt x="5" y="4"/>
                    <a:pt x="5" y="4"/>
                    <a:pt x="6" y="3"/>
                  </a:cubicBezTo>
                  <a:cubicBezTo>
                    <a:pt x="8" y="3"/>
                    <a:pt x="12" y="1"/>
                    <a:pt x="8" y="0"/>
                  </a:cubicBezTo>
                  <a:cubicBezTo>
                    <a:pt x="5" y="1"/>
                    <a:pt x="3" y="3"/>
                    <a:pt x="0" y="5"/>
                  </a:cubicBezTo>
                  <a:cubicBezTo>
                    <a:pt x="1" y="5"/>
                    <a:pt x="2" y="4"/>
                    <a:pt x="3" y="4"/>
                  </a:cubicBezTo>
                  <a:cubicBezTo>
                    <a:pt x="3" y="4"/>
                    <a:pt x="4" y="4"/>
                    <a:pt x="4"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99" name="Freeform 2051">
              <a:extLst>
                <a:ext uri="{FF2B5EF4-FFF2-40B4-BE49-F238E27FC236}">
                  <a16:creationId xmlns:a16="http://schemas.microsoft.com/office/drawing/2014/main" id="{7ADC4036-9496-4C9D-9955-43F9A5C2E4E9}"/>
                </a:ext>
              </a:extLst>
            </p:cNvPr>
            <p:cNvSpPr>
              <a:spLocks/>
            </p:cNvSpPr>
            <p:nvPr/>
          </p:nvSpPr>
          <p:spPr bwMode="auto">
            <a:xfrm>
              <a:off x="1724" y="768"/>
              <a:ext cx="19" cy="19"/>
            </a:xfrm>
            <a:custGeom>
              <a:avLst/>
              <a:gdLst>
                <a:gd name="T0" fmla="*/ 8 w 8"/>
                <a:gd name="T1" fmla="*/ 7 h 8"/>
                <a:gd name="T2" fmla="*/ 8 w 8"/>
                <a:gd name="T3" fmla="*/ 5 h 8"/>
                <a:gd name="T4" fmla="*/ 7 w 8"/>
                <a:gd name="T5" fmla="*/ 3 h 8"/>
                <a:gd name="T6" fmla="*/ 6 w 8"/>
                <a:gd name="T7" fmla="*/ 1 h 8"/>
                <a:gd name="T8" fmla="*/ 4 w 8"/>
                <a:gd name="T9" fmla="*/ 1 h 8"/>
                <a:gd name="T10" fmla="*/ 3 w 8"/>
                <a:gd name="T11" fmla="*/ 0 h 8"/>
                <a:gd name="T12" fmla="*/ 6 w 8"/>
                <a:gd name="T13" fmla="*/ 7 h 8"/>
                <a:gd name="T14" fmla="*/ 8 w 8"/>
                <a:gd name="T15" fmla="*/ 7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8" y="7"/>
                  </a:moveTo>
                  <a:cubicBezTo>
                    <a:pt x="8" y="6"/>
                    <a:pt x="8" y="5"/>
                    <a:pt x="8" y="5"/>
                  </a:cubicBezTo>
                  <a:cubicBezTo>
                    <a:pt x="8" y="4"/>
                    <a:pt x="7" y="3"/>
                    <a:pt x="7" y="3"/>
                  </a:cubicBezTo>
                  <a:cubicBezTo>
                    <a:pt x="6" y="2"/>
                    <a:pt x="6" y="2"/>
                    <a:pt x="6" y="1"/>
                  </a:cubicBezTo>
                  <a:cubicBezTo>
                    <a:pt x="5" y="1"/>
                    <a:pt x="5" y="1"/>
                    <a:pt x="4" y="1"/>
                  </a:cubicBezTo>
                  <a:cubicBezTo>
                    <a:pt x="4" y="1"/>
                    <a:pt x="4" y="0"/>
                    <a:pt x="3" y="0"/>
                  </a:cubicBezTo>
                  <a:cubicBezTo>
                    <a:pt x="0" y="1"/>
                    <a:pt x="5" y="6"/>
                    <a:pt x="6" y="7"/>
                  </a:cubicBezTo>
                  <a:cubicBezTo>
                    <a:pt x="7" y="7"/>
                    <a:pt x="8" y="8"/>
                    <a:pt x="8" y="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00" name="Freeform 2052">
              <a:extLst>
                <a:ext uri="{FF2B5EF4-FFF2-40B4-BE49-F238E27FC236}">
                  <a16:creationId xmlns:a16="http://schemas.microsoft.com/office/drawing/2014/main" id="{A62EA08D-DA7F-49D2-882E-FF12F56D6BD2}"/>
                </a:ext>
              </a:extLst>
            </p:cNvPr>
            <p:cNvSpPr>
              <a:spLocks/>
            </p:cNvSpPr>
            <p:nvPr/>
          </p:nvSpPr>
          <p:spPr bwMode="auto">
            <a:xfrm>
              <a:off x="1012" y="772"/>
              <a:ext cx="14" cy="10"/>
            </a:xfrm>
            <a:custGeom>
              <a:avLst/>
              <a:gdLst>
                <a:gd name="T0" fmla="*/ 4 w 6"/>
                <a:gd name="T1" fmla="*/ 1 h 4"/>
                <a:gd name="T2" fmla="*/ 0 w 6"/>
                <a:gd name="T3" fmla="*/ 1 h 4"/>
                <a:gd name="T4" fmla="*/ 0 w 6"/>
                <a:gd name="T5" fmla="*/ 1 h 4"/>
                <a:gd name="T6" fmla="*/ 0 w 6"/>
                <a:gd name="T7" fmla="*/ 1 h 4"/>
                <a:gd name="T8" fmla="*/ 2 w 6"/>
                <a:gd name="T9" fmla="*/ 3 h 4"/>
                <a:gd name="T10" fmla="*/ 5 w 6"/>
                <a:gd name="T11" fmla="*/ 4 h 4"/>
                <a:gd name="T12" fmla="*/ 6 w 6"/>
                <a:gd name="T13" fmla="*/ 3 h 4"/>
                <a:gd name="T14" fmla="*/ 6 w 6"/>
                <a:gd name="T15" fmla="*/ 2 h 4"/>
                <a:gd name="T16" fmla="*/ 4 w 6"/>
                <a:gd name="T1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4" y="1"/>
                  </a:moveTo>
                  <a:cubicBezTo>
                    <a:pt x="3" y="1"/>
                    <a:pt x="1" y="0"/>
                    <a:pt x="0" y="1"/>
                  </a:cubicBezTo>
                  <a:cubicBezTo>
                    <a:pt x="0" y="1"/>
                    <a:pt x="0" y="1"/>
                    <a:pt x="0" y="1"/>
                  </a:cubicBezTo>
                  <a:cubicBezTo>
                    <a:pt x="0" y="1"/>
                    <a:pt x="0" y="1"/>
                    <a:pt x="0" y="1"/>
                  </a:cubicBezTo>
                  <a:cubicBezTo>
                    <a:pt x="0" y="2"/>
                    <a:pt x="2" y="3"/>
                    <a:pt x="2" y="3"/>
                  </a:cubicBezTo>
                  <a:cubicBezTo>
                    <a:pt x="3" y="3"/>
                    <a:pt x="4" y="4"/>
                    <a:pt x="5" y="4"/>
                  </a:cubicBezTo>
                  <a:cubicBezTo>
                    <a:pt x="6" y="4"/>
                    <a:pt x="6" y="4"/>
                    <a:pt x="6" y="3"/>
                  </a:cubicBezTo>
                  <a:cubicBezTo>
                    <a:pt x="6" y="3"/>
                    <a:pt x="6" y="3"/>
                    <a:pt x="6" y="2"/>
                  </a:cubicBezTo>
                  <a:cubicBezTo>
                    <a:pt x="6" y="2"/>
                    <a:pt x="4" y="1"/>
                    <a:pt x="4"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01" name="Freeform 2053">
              <a:extLst>
                <a:ext uri="{FF2B5EF4-FFF2-40B4-BE49-F238E27FC236}">
                  <a16:creationId xmlns:a16="http://schemas.microsoft.com/office/drawing/2014/main" id="{A9125082-30A1-470F-B004-00703AC91549}"/>
                </a:ext>
              </a:extLst>
            </p:cNvPr>
            <p:cNvSpPr>
              <a:spLocks/>
            </p:cNvSpPr>
            <p:nvPr/>
          </p:nvSpPr>
          <p:spPr bwMode="auto">
            <a:xfrm>
              <a:off x="1625" y="429"/>
              <a:ext cx="18" cy="17"/>
            </a:xfrm>
            <a:custGeom>
              <a:avLst/>
              <a:gdLst>
                <a:gd name="T0" fmla="*/ 8 w 8"/>
                <a:gd name="T1" fmla="*/ 0 h 7"/>
                <a:gd name="T2" fmla="*/ 6 w 8"/>
                <a:gd name="T3" fmla="*/ 0 h 7"/>
                <a:gd name="T4" fmla="*/ 5 w 8"/>
                <a:gd name="T5" fmla="*/ 1 h 7"/>
                <a:gd name="T6" fmla="*/ 3 w 8"/>
                <a:gd name="T7" fmla="*/ 3 h 7"/>
                <a:gd name="T8" fmla="*/ 2 w 8"/>
                <a:gd name="T9" fmla="*/ 3 h 7"/>
                <a:gd name="T10" fmla="*/ 2 w 8"/>
                <a:gd name="T11" fmla="*/ 4 h 7"/>
                <a:gd name="T12" fmla="*/ 0 w 8"/>
                <a:gd name="T13" fmla="*/ 5 h 7"/>
                <a:gd name="T14" fmla="*/ 2 w 8"/>
                <a:gd name="T15" fmla="*/ 7 h 7"/>
                <a:gd name="T16" fmla="*/ 2 w 8"/>
                <a:gd name="T17" fmla="*/ 7 h 7"/>
                <a:gd name="T18" fmla="*/ 7 w 8"/>
                <a:gd name="T19" fmla="*/ 6 h 7"/>
                <a:gd name="T20" fmla="*/ 7 w 8"/>
                <a:gd name="T21" fmla="*/ 6 h 7"/>
                <a:gd name="T22" fmla="*/ 8 w 8"/>
                <a:gd name="T23" fmla="*/ 6 h 7"/>
                <a:gd name="T24" fmla="*/ 7 w 8"/>
                <a:gd name="T25" fmla="*/ 6 h 7"/>
                <a:gd name="T26" fmla="*/ 7 w 8"/>
                <a:gd name="T27" fmla="*/ 5 h 7"/>
                <a:gd name="T28" fmla="*/ 5 w 8"/>
                <a:gd name="T29" fmla="*/ 4 h 7"/>
                <a:gd name="T30" fmla="*/ 5 w 8"/>
                <a:gd name="T31" fmla="*/ 4 h 7"/>
                <a:gd name="T32" fmla="*/ 6 w 8"/>
                <a:gd name="T33" fmla="*/ 3 h 7"/>
                <a:gd name="T34" fmla="*/ 8 w 8"/>
                <a:gd name="T3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7">
                  <a:moveTo>
                    <a:pt x="8" y="0"/>
                  </a:moveTo>
                  <a:cubicBezTo>
                    <a:pt x="8" y="0"/>
                    <a:pt x="7" y="0"/>
                    <a:pt x="6" y="0"/>
                  </a:cubicBezTo>
                  <a:cubicBezTo>
                    <a:pt x="6" y="1"/>
                    <a:pt x="6" y="1"/>
                    <a:pt x="5" y="1"/>
                  </a:cubicBezTo>
                  <a:cubicBezTo>
                    <a:pt x="5" y="2"/>
                    <a:pt x="4" y="2"/>
                    <a:pt x="3" y="3"/>
                  </a:cubicBezTo>
                  <a:cubicBezTo>
                    <a:pt x="3" y="3"/>
                    <a:pt x="3" y="3"/>
                    <a:pt x="2" y="3"/>
                  </a:cubicBezTo>
                  <a:cubicBezTo>
                    <a:pt x="2" y="3"/>
                    <a:pt x="2" y="4"/>
                    <a:pt x="2" y="4"/>
                  </a:cubicBezTo>
                  <a:cubicBezTo>
                    <a:pt x="1" y="4"/>
                    <a:pt x="0" y="5"/>
                    <a:pt x="0" y="5"/>
                  </a:cubicBezTo>
                  <a:cubicBezTo>
                    <a:pt x="0" y="6"/>
                    <a:pt x="1" y="6"/>
                    <a:pt x="2" y="7"/>
                  </a:cubicBezTo>
                  <a:cubicBezTo>
                    <a:pt x="2" y="7"/>
                    <a:pt x="2" y="7"/>
                    <a:pt x="2" y="7"/>
                  </a:cubicBezTo>
                  <a:cubicBezTo>
                    <a:pt x="4" y="7"/>
                    <a:pt x="5" y="5"/>
                    <a:pt x="7" y="6"/>
                  </a:cubicBezTo>
                  <a:cubicBezTo>
                    <a:pt x="6" y="6"/>
                    <a:pt x="6" y="6"/>
                    <a:pt x="7" y="6"/>
                  </a:cubicBezTo>
                  <a:cubicBezTo>
                    <a:pt x="7" y="6"/>
                    <a:pt x="7" y="6"/>
                    <a:pt x="8" y="6"/>
                  </a:cubicBezTo>
                  <a:cubicBezTo>
                    <a:pt x="8" y="6"/>
                    <a:pt x="8" y="6"/>
                    <a:pt x="7" y="6"/>
                  </a:cubicBezTo>
                  <a:cubicBezTo>
                    <a:pt x="7" y="6"/>
                    <a:pt x="7" y="6"/>
                    <a:pt x="7" y="5"/>
                  </a:cubicBezTo>
                  <a:cubicBezTo>
                    <a:pt x="7" y="5"/>
                    <a:pt x="6" y="5"/>
                    <a:pt x="5" y="4"/>
                  </a:cubicBezTo>
                  <a:cubicBezTo>
                    <a:pt x="5" y="4"/>
                    <a:pt x="5" y="4"/>
                    <a:pt x="5" y="4"/>
                  </a:cubicBezTo>
                  <a:cubicBezTo>
                    <a:pt x="6" y="4"/>
                    <a:pt x="6" y="3"/>
                    <a:pt x="6" y="3"/>
                  </a:cubicBezTo>
                  <a:cubicBezTo>
                    <a:pt x="7" y="2"/>
                    <a:pt x="7" y="1"/>
                    <a:pt x="8"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02" name="Freeform 2054">
              <a:extLst>
                <a:ext uri="{FF2B5EF4-FFF2-40B4-BE49-F238E27FC236}">
                  <a16:creationId xmlns:a16="http://schemas.microsoft.com/office/drawing/2014/main" id="{52CC4245-6B6A-45DB-BF50-145EAD680DFF}"/>
                </a:ext>
              </a:extLst>
            </p:cNvPr>
            <p:cNvSpPr>
              <a:spLocks/>
            </p:cNvSpPr>
            <p:nvPr/>
          </p:nvSpPr>
          <p:spPr bwMode="auto">
            <a:xfrm>
              <a:off x="1329" y="46"/>
              <a:ext cx="745" cy="383"/>
            </a:xfrm>
            <a:custGeom>
              <a:avLst/>
              <a:gdLst>
                <a:gd name="T0" fmla="*/ 29 w 315"/>
                <a:gd name="T1" fmla="*/ 40 h 162"/>
                <a:gd name="T2" fmla="*/ 17 w 315"/>
                <a:gd name="T3" fmla="*/ 48 h 162"/>
                <a:gd name="T4" fmla="*/ 73 w 315"/>
                <a:gd name="T5" fmla="*/ 46 h 162"/>
                <a:gd name="T6" fmla="*/ 41 w 315"/>
                <a:gd name="T7" fmla="*/ 61 h 162"/>
                <a:gd name="T8" fmla="*/ 89 w 315"/>
                <a:gd name="T9" fmla="*/ 50 h 162"/>
                <a:gd name="T10" fmla="*/ 62 w 315"/>
                <a:gd name="T11" fmla="*/ 64 h 162"/>
                <a:gd name="T12" fmla="*/ 100 w 315"/>
                <a:gd name="T13" fmla="*/ 57 h 162"/>
                <a:gd name="T14" fmla="*/ 130 w 315"/>
                <a:gd name="T15" fmla="*/ 51 h 162"/>
                <a:gd name="T16" fmla="*/ 141 w 315"/>
                <a:gd name="T17" fmla="*/ 46 h 162"/>
                <a:gd name="T18" fmla="*/ 150 w 315"/>
                <a:gd name="T19" fmla="*/ 57 h 162"/>
                <a:gd name="T20" fmla="*/ 89 w 315"/>
                <a:gd name="T21" fmla="*/ 69 h 162"/>
                <a:gd name="T22" fmla="*/ 104 w 315"/>
                <a:gd name="T23" fmla="*/ 86 h 162"/>
                <a:gd name="T24" fmla="*/ 60 w 315"/>
                <a:gd name="T25" fmla="*/ 77 h 162"/>
                <a:gd name="T26" fmla="*/ 71 w 315"/>
                <a:gd name="T27" fmla="*/ 85 h 162"/>
                <a:gd name="T28" fmla="*/ 75 w 315"/>
                <a:gd name="T29" fmla="*/ 99 h 162"/>
                <a:gd name="T30" fmla="*/ 89 w 315"/>
                <a:gd name="T31" fmla="*/ 103 h 162"/>
                <a:gd name="T32" fmla="*/ 71 w 315"/>
                <a:gd name="T33" fmla="*/ 103 h 162"/>
                <a:gd name="T34" fmla="*/ 60 w 315"/>
                <a:gd name="T35" fmla="*/ 115 h 162"/>
                <a:gd name="T36" fmla="*/ 73 w 315"/>
                <a:gd name="T37" fmla="*/ 110 h 162"/>
                <a:gd name="T38" fmla="*/ 74 w 315"/>
                <a:gd name="T39" fmla="*/ 120 h 162"/>
                <a:gd name="T40" fmla="*/ 68 w 315"/>
                <a:gd name="T41" fmla="*/ 127 h 162"/>
                <a:gd name="T42" fmla="*/ 96 w 315"/>
                <a:gd name="T43" fmla="*/ 121 h 162"/>
                <a:gd name="T44" fmla="*/ 65 w 315"/>
                <a:gd name="T45" fmla="*/ 134 h 162"/>
                <a:gd name="T46" fmla="*/ 43 w 315"/>
                <a:gd name="T47" fmla="*/ 136 h 162"/>
                <a:gd name="T48" fmla="*/ 34 w 315"/>
                <a:gd name="T49" fmla="*/ 143 h 162"/>
                <a:gd name="T50" fmla="*/ 33 w 315"/>
                <a:gd name="T51" fmla="*/ 152 h 162"/>
                <a:gd name="T52" fmla="*/ 44 w 315"/>
                <a:gd name="T53" fmla="*/ 152 h 162"/>
                <a:gd name="T54" fmla="*/ 57 w 315"/>
                <a:gd name="T55" fmla="*/ 157 h 162"/>
                <a:gd name="T56" fmla="*/ 76 w 315"/>
                <a:gd name="T57" fmla="*/ 155 h 162"/>
                <a:gd name="T58" fmla="*/ 97 w 315"/>
                <a:gd name="T59" fmla="*/ 156 h 162"/>
                <a:gd name="T60" fmla="*/ 113 w 315"/>
                <a:gd name="T61" fmla="*/ 157 h 162"/>
                <a:gd name="T62" fmla="*/ 132 w 315"/>
                <a:gd name="T63" fmla="*/ 145 h 162"/>
                <a:gd name="T64" fmla="*/ 102 w 315"/>
                <a:gd name="T65" fmla="*/ 138 h 162"/>
                <a:gd name="T66" fmla="*/ 112 w 315"/>
                <a:gd name="T67" fmla="*/ 135 h 162"/>
                <a:gd name="T68" fmla="*/ 138 w 315"/>
                <a:gd name="T69" fmla="*/ 124 h 162"/>
                <a:gd name="T70" fmla="*/ 165 w 315"/>
                <a:gd name="T71" fmla="*/ 117 h 162"/>
                <a:gd name="T72" fmla="*/ 174 w 315"/>
                <a:gd name="T73" fmla="*/ 103 h 162"/>
                <a:gd name="T74" fmla="*/ 138 w 315"/>
                <a:gd name="T75" fmla="*/ 98 h 162"/>
                <a:gd name="T76" fmla="*/ 154 w 315"/>
                <a:gd name="T77" fmla="*/ 95 h 162"/>
                <a:gd name="T78" fmla="*/ 160 w 315"/>
                <a:gd name="T79" fmla="*/ 93 h 162"/>
                <a:gd name="T80" fmla="*/ 161 w 315"/>
                <a:gd name="T81" fmla="*/ 89 h 162"/>
                <a:gd name="T82" fmla="*/ 179 w 315"/>
                <a:gd name="T83" fmla="*/ 89 h 162"/>
                <a:gd name="T84" fmla="*/ 201 w 315"/>
                <a:gd name="T85" fmla="*/ 84 h 162"/>
                <a:gd name="T86" fmla="*/ 199 w 315"/>
                <a:gd name="T87" fmla="*/ 72 h 162"/>
                <a:gd name="T88" fmla="*/ 221 w 315"/>
                <a:gd name="T89" fmla="*/ 67 h 162"/>
                <a:gd name="T90" fmla="*/ 229 w 315"/>
                <a:gd name="T91" fmla="*/ 49 h 162"/>
                <a:gd name="T92" fmla="*/ 241 w 315"/>
                <a:gd name="T93" fmla="*/ 39 h 162"/>
                <a:gd name="T94" fmla="*/ 295 w 315"/>
                <a:gd name="T95" fmla="*/ 15 h 162"/>
                <a:gd name="T96" fmla="*/ 248 w 315"/>
                <a:gd name="T97" fmla="*/ 12 h 162"/>
                <a:gd name="T98" fmla="*/ 207 w 315"/>
                <a:gd name="T99" fmla="*/ 1 h 162"/>
                <a:gd name="T100" fmla="*/ 152 w 315"/>
                <a:gd name="T101" fmla="*/ 6 h 162"/>
                <a:gd name="T102" fmla="*/ 152 w 315"/>
                <a:gd name="T103" fmla="*/ 10 h 162"/>
                <a:gd name="T104" fmla="*/ 130 w 315"/>
                <a:gd name="T105" fmla="*/ 11 h 162"/>
                <a:gd name="T106" fmla="*/ 101 w 315"/>
                <a:gd name="T107" fmla="*/ 12 h 162"/>
                <a:gd name="T108" fmla="*/ 123 w 315"/>
                <a:gd name="T109" fmla="*/ 29 h 162"/>
                <a:gd name="T110" fmla="*/ 62 w 315"/>
                <a:gd name="T111" fmla="*/ 18 h 162"/>
                <a:gd name="T112" fmla="*/ 73 w 315"/>
                <a:gd name="T113" fmla="*/ 31 h 162"/>
                <a:gd name="T114" fmla="*/ 49 w 315"/>
                <a:gd name="T115" fmla="*/ 29 h 162"/>
                <a:gd name="T116" fmla="*/ 26 w 315"/>
                <a:gd name="T117" fmla="*/ 3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5" h="162">
                  <a:moveTo>
                    <a:pt x="4" y="39"/>
                  </a:moveTo>
                  <a:cubicBezTo>
                    <a:pt x="5" y="39"/>
                    <a:pt x="6" y="40"/>
                    <a:pt x="7" y="40"/>
                  </a:cubicBezTo>
                  <a:cubicBezTo>
                    <a:pt x="7" y="40"/>
                    <a:pt x="9" y="40"/>
                    <a:pt x="9" y="40"/>
                  </a:cubicBezTo>
                  <a:cubicBezTo>
                    <a:pt x="10" y="39"/>
                    <a:pt x="9" y="39"/>
                    <a:pt x="9" y="38"/>
                  </a:cubicBezTo>
                  <a:cubicBezTo>
                    <a:pt x="10" y="38"/>
                    <a:pt x="11" y="38"/>
                    <a:pt x="12" y="37"/>
                  </a:cubicBezTo>
                  <a:cubicBezTo>
                    <a:pt x="13" y="36"/>
                    <a:pt x="15" y="37"/>
                    <a:pt x="16" y="37"/>
                  </a:cubicBezTo>
                  <a:cubicBezTo>
                    <a:pt x="15" y="35"/>
                    <a:pt x="18" y="37"/>
                    <a:pt x="19" y="37"/>
                  </a:cubicBezTo>
                  <a:cubicBezTo>
                    <a:pt x="20" y="37"/>
                    <a:pt x="22" y="38"/>
                    <a:pt x="23" y="38"/>
                  </a:cubicBezTo>
                  <a:cubicBezTo>
                    <a:pt x="21" y="39"/>
                    <a:pt x="19" y="39"/>
                    <a:pt x="17" y="40"/>
                  </a:cubicBezTo>
                  <a:cubicBezTo>
                    <a:pt x="15" y="41"/>
                    <a:pt x="12" y="41"/>
                    <a:pt x="11" y="42"/>
                  </a:cubicBezTo>
                  <a:cubicBezTo>
                    <a:pt x="12" y="42"/>
                    <a:pt x="15" y="44"/>
                    <a:pt x="16" y="44"/>
                  </a:cubicBezTo>
                  <a:cubicBezTo>
                    <a:pt x="17" y="43"/>
                    <a:pt x="19" y="43"/>
                    <a:pt x="20" y="43"/>
                  </a:cubicBezTo>
                  <a:cubicBezTo>
                    <a:pt x="23" y="42"/>
                    <a:pt x="26" y="41"/>
                    <a:pt x="29" y="40"/>
                  </a:cubicBezTo>
                  <a:cubicBezTo>
                    <a:pt x="35" y="38"/>
                    <a:pt x="41" y="39"/>
                    <a:pt x="47" y="40"/>
                  </a:cubicBezTo>
                  <a:cubicBezTo>
                    <a:pt x="47" y="40"/>
                    <a:pt x="47" y="41"/>
                    <a:pt x="48" y="41"/>
                  </a:cubicBezTo>
                  <a:cubicBezTo>
                    <a:pt x="46" y="41"/>
                    <a:pt x="45" y="41"/>
                    <a:pt x="44" y="40"/>
                  </a:cubicBezTo>
                  <a:cubicBezTo>
                    <a:pt x="42" y="40"/>
                    <a:pt x="41" y="40"/>
                    <a:pt x="40" y="40"/>
                  </a:cubicBezTo>
                  <a:cubicBezTo>
                    <a:pt x="38" y="40"/>
                    <a:pt x="34" y="40"/>
                    <a:pt x="32" y="41"/>
                  </a:cubicBezTo>
                  <a:cubicBezTo>
                    <a:pt x="31" y="41"/>
                    <a:pt x="30" y="41"/>
                    <a:pt x="30" y="42"/>
                  </a:cubicBezTo>
                  <a:cubicBezTo>
                    <a:pt x="29" y="42"/>
                    <a:pt x="28" y="43"/>
                    <a:pt x="27" y="43"/>
                  </a:cubicBezTo>
                  <a:cubicBezTo>
                    <a:pt x="25" y="44"/>
                    <a:pt x="22" y="44"/>
                    <a:pt x="20" y="45"/>
                  </a:cubicBezTo>
                  <a:cubicBezTo>
                    <a:pt x="21" y="46"/>
                    <a:pt x="24" y="46"/>
                    <a:pt x="25" y="47"/>
                  </a:cubicBezTo>
                  <a:cubicBezTo>
                    <a:pt x="27" y="47"/>
                    <a:pt x="29" y="46"/>
                    <a:pt x="30" y="47"/>
                  </a:cubicBezTo>
                  <a:cubicBezTo>
                    <a:pt x="29" y="47"/>
                    <a:pt x="26" y="48"/>
                    <a:pt x="24" y="48"/>
                  </a:cubicBezTo>
                  <a:cubicBezTo>
                    <a:pt x="23" y="48"/>
                    <a:pt x="22" y="47"/>
                    <a:pt x="21" y="47"/>
                  </a:cubicBezTo>
                  <a:cubicBezTo>
                    <a:pt x="19" y="47"/>
                    <a:pt x="19" y="47"/>
                    <a:pt x="17" y="48"/>
                  </a:cubicBezTo>
                  <a:cubicBezTo>
                    <a:pt x="17" y="48"/>
                    <a:pt x="16" y="48"/>
                    <a:pt x="16" y="49"/>
                  </a:cubicBezTo>
                  <a:cubicBezTo>
                    <a:pt x="17" y="50"/>
                    <a:pt x="19" y="51"/>
                    <a:pt x="20" y="52"/>
                  </a:cubicBezTo>
                  <a:cubicBezTo>
                    <a:pt x="23" y="54"/>
                    <a:pt x="27" y="52"/>
                    <a:pt x="30" y="52"/>
                  </a:cubicBezTo>
                  <a:cubicBezTo>
                    <a:pt x="32" y="51"/>
                    <a:pt x="33" y="52"/>
                    <a:pt x="35" y="51"/>
                  </a:cubicBezTo>
                  <a:cubicBezTo>
                    <a:pt x="37" y="51"/>
                    <a:pt x="39" y="51"/>
                    <a:pt x="40" y="51"/>
                  </a:cubicBezTo>
                  <a:cubicBezTo>
                    <a:pt x="44" y="51"/>
                    <a:pt x="47" y="51"/>
                    <a:pt x="51" y="51"/>
                  </a:cubicBezTo>
                  <a:cubicBezTo>
                    <a:pt x="52" y="50"/>
                    <a:pt x="54" y="50"/>
                    <a:pt x="56" y="50"/>
                  </a:cubicBezTo>
                  <a:cubicBezTo>
                    <a:pt x="57" y="50"/>
                    <a:pt x="58" y="49"/>
                    <a:pt x="59" y="48"/>
                  </a:cubicBezTo>
                  <a:cubicBezTo>
                    <a:pt x="61" y="47"/>
                    <a:pt x="65" y="46"/>
                    <a:pt x="68" y="46"/>
                  </a:cubicBezTo>
                  <a:cubicBezTo>
                    <a:pt x="69" y="46"/>
                    <a:pt x="70" y="46"/>
                    <a:pt x="70" y="46"/>
                  </a:cubicBezTo>
                  <a:cubicBezTo>
                    <a:pt x="71" y="45"/>
                    <a:pt x="71" y="45"/>
                    <a:pt x="71" y="45"/>
                  </a:cubicBezTo>
                  <a:cubicBezTo>
                    <a:pt x="71" y="45"/>
                    <a:pt x="71" y="45"/>
                    <a:pt x="71" y="45"/>
                  </a:cubicBezTo>
                  <a:cubicBezTo>
                    <a:pt x="72" y="45"/>
                    <a:pt x="72" y="46"/>
                    <a:pt x="73" y="46"/>
                  </a:cubicBezTo>
                  <a:cubicBezTo>
                    <a:pt x="73" y="47"/>
                    <a:pt x="71" y="46"/>
                    <a:pt x="71" y="47"/>
                  </a:cubicBezTo>
                  <a:cubicBezTo>
                    <a:pt x="71" y="47"/>
                    <a:pt x="71" y="47"/>
                    <a:pt x="71" y="47"/>
                  </a:cubicBezTo>
                  <a:cubicBezTo>
                    <a:pt x="71" y="47"/>
                    <a:pt x="70" y="47"/>
                    <a:pt x="70" y="47"/>
                  </a:cubicBezTo>
                  <a:cubicBezTo>
                    <a:pt x="68" y="48"/>
                    <a:pt x="65" y="48"/>
                    <a:pt x="63" y="50"/>
                  </a:cubicBezTo>
                  <a:cubicBezTo>
                    <a:pt x="62" y="50"/>
                    <a:pt x="62" y="50"/>
                    <a:pt x="61" y="50"/>
                  </a:cubicBezTo>
                  <a:cubicBezTo>
                    <a:pt x="61" y="50"/>
                    <a:pt x="61" y="51"/>
                    <a:pt x="61" y="51"/>
                  </a:cubicBezTo>
                  <a:cubicBezTo>
                    <a:pt x="60" y="51"/>
                    <a:pt x="60" y="51"/>
                    <a:pt x="59" y="51"/>
                  </a:cubicBezTo>
                  <a:cubicBezTo>
                    <a:pt x="58" y="51"/>
                    <a:pt x="57" y="52"/>
                    <a:pt x="55" y="52"/>
                  </a:cubicBezTo>
                  <a:cubicBezTo>
                    <a:pt x="53" y="53"/>
                    <a:pt x="49" y="53"/>
                    <a:pt x="46" y="53"/>
                  </a:cubicBezTo>
                  <a:cubicBezTo>
                    <a:pt x="43" y="54"/>
                    <a:pt x="40" y="53"/>
                    <a:pt x="37" y="53"/>
                  </a:cubicBezTo>
                  <a:cubicBezTo>
                    <a:pt x="33" y="53"/>
                    <a:pt x="29" y="53"/>
                    <a:pt x="25" y="55"/>
                  </a:cubicBezTo>
                  <a:cubicBezTo>
                    <a:pt x="27" y="57"/>
                    <a:pt x="32" y="58"/>
                    <a:pt x="34" y="59"/>
                  </a:cubicBezTo>
                  <a:cubicBezTo>
                    <a:pt x="36" y="60"/>
                    <a:pt x="39" y="60"/>
                    <a:pt x="41" y="61"/>
                  </a:cubicBezTo>
                  <a:cubicBezTo>
                    <a:pt x="43" y="61"/>
                    <a:pt x="46" y="63"/>
                    <a:pt x="48" y="61"/>
                  </a:cubicBezTo>
                  <a:cubicBezTo>
                    <a:pt x="49" y="61"/>
                    <a:pt x="50" y="60"/>
                    <a:pt x="50" y="59"/>
                  </a:cubicBezTo>
                  <a:cubicBezTo>
                    <a:pt x="51" y="58"/>
                    <a:pt x="52" y="58"/>
                    <a:pt x="53" y="57"/>
                  </a:cubicBezTo>
                  <a:cubicBezTo>
                    <a:pt x="56" y="56"/>
                    <a:pt x="58" y="54"/>
                    <a:pt x="61" y="53"/>
                  </a:cubicBezTo>
                  <a:cubicBezTo>
                    <a:pt x="63" y="52"/>
                    <a:pt x="64" y="51"/>
                    <a:pt x="67" y="51"/>
                  </a:cubicBezTo>
                  <a:cubicBezTo>
                    <a:pt x="68" y="51"/>
                    <a:pt x="69" y="51"/>
                    <a:pt x="70" y="51"/>
                  </a:cubicBezTo>
                  <a:cubicBezTo>
                    <a:pt x="70" y="51"/>
                    <a:pt x="71" y="51"/>
                    <a:pt x="71" y="51"/>
                  </a:cubicBezTo>
                  <a:cubicBezTo>
                    <a:pt x="71" y="51"/>
                    <a:pt x="71" y="51"/>
                    <a:pt x="71" y="51"/>
                  </a:cubicBezTo>
                  <a:cubicBezTo>
                    <a:pt x="75" y="51"/>
                    <a:pt x="80" y="51"/>
                    <a:pt x="84" y="50"/>
                  </a:cubicBezTo>
                  <a:cubicBezTo>
                    <a:pt x="86" y="50"/>
                    <a:pt x="89" y="49"/>
                    <a:pt x="91" y="49"/>
                  </a:cubicBezTo>
                  <a:cubicBezTo>
                    <a:pt x="93" y="49"/>
                    <a:pt x="95" y="49"/>
                    <a:pt x="97" y="49"/>
                  </a:cubicBezTo>
                  <a:cubicBezTo>
                    <a:pt x="97" y="49"/>
                    <a:pt x="95" y="49"/>
                    <a:pt x="94" y="50"/>
                  </a:cubicBezTo>
                  <a:cubicBezTo>
                    <a:pt x="92" y="50"/>
                    <a:pt x="91" y="50"/>
                    <a:pt x="89" y="50"/>
                  </a:cubicBezTo>
                  <a:cubicBezTo>
                    <a:pt x="87" y="51"/>
                    <a:pt x="84" y="51"/>
                    <a:pt x="81" y="51"/>
                  </a:cubicBezTo>
                  <a:cubicBezTo>
                    <a:pt x="78" y="51"/>
                    <a:pt x="75" y="52"/>
                    <a:pt x="72" y="52"/>
                  </a:cubicBezTo>
                  <a:cubicBezTo>
                    <a:pt x="72" y="52"/>
                    <a:pt x="71" y="52"/>
                    <a:pt x="71" y="52"/>
                  </a:cubicBezTo>
                  <a:cubicBezTo>
                    <a:pt x="71" y="52"/>
                    <a:pt x="71" y="52"/>
                    <a:pt x="71" y="52"/>
                  </a:cubicBezTo>
                  <a:cubicBezTo>
                    <a:pt x="71" y="52"/>
                    <a:pt x="71" y="52"/>
                    <a:pt x="71" y="52"/>
                  </a:cubicBezTo>
                  <a:cubicBezTo>
                    <a:pt x="70" y="53"/>
                    <a:pt x="68" y="53"/>
                    <a:pt x="67" y="53"/>
                  </a:cubicBezTo>
                  <a:cubicBezTo>
                    <a:pt x="66" y="53"/>
                    <a:pt x="64" y="53"/>
                    <a:pt x="63" y="54"/>
                  </a:cubicBezTo>
                  <a:cubicBezTo>
                    <a:pt x="61" y="55"/>
                    <a:pt x="60" y="56"/>
                    <a:pt x="58" y="57"/>
                  </a:cubicBezTo>
                  <a:cubicBezTo>
                    <a:pt x="57" y="59"/>
                    <a:pt x="54" y="59"/>
                    <a:pt x="53" y="61"/>
                  </a:cubicBezTo>
                  <a:cubicBezTo>
                    <a:pt x="53" y="63"/>
                    <a:pt x="55" y="63"/>
                    <a:pt x="56" y="63"/>
                  </a:cubicBezTo>
                  <a:cubicBezTo>
                    <a:pt x="57" y="64"/>
                    <a:pt x="59" y="64"/>
                    <a:pt x="60" y="64"/>
                  </a:cubicBezTo>
                  <a:cubicBezTo>
                    <a:pt x="62" y="64"/>
                    <a:pt x="63" y="62"/>
                    <a:pt x="64" y="62"/>
                  </a:cubicBezTo>
                  <a:cubicBezTo>
                    <a:pt x="64" y="63"/>
                    <a:pt x="63" y="63"/>
                    <a:pt x="62" y="64"/>
                  </a:cubicBezTo>
                  <a:cubicBezTo>
                    <a:pt x="63" y="64"/>
                    <a:pt x="65" y="64"/>
                    <a:pt x="66" y="64"/>
                  </a:cubicBezTo>
                  <a:cubicBezTo>
                    <a:pt x="67" y="64"/>
                    <a:pt x="69" y="65"/>
                    <a:pt x="70" y="65"/>
                  </a:cubicBezTo>
                  <a:cubicBezTo>
                    <a:pt x="70" y="65"/>
                    <a:pt x="71" y="65"/>
                    <a:pt x="71" y="64"/>
                  </a:cubicBezTo>
                  <a:cubicBezTo>
                    <a:pt x="71" y="64"/>
                    <a:pt x="71" y="64"/>
                    <a:pt x="71" y="65"/>
                  </a:cubicBezTo>
                  <a:cubicBezTo>
                    <a:pt x="74" y="64"/>
                    <a:pt x="76" y="65"/>
                    <a:pt x="79" y="64"/>
                  </a:cubicBezTo>
                  <a:cubicBezTo>
                    <a:pt x="80" y="64"/>
                    <a:pt x="82" y="64"/>
                    <a:pt x="83" y="63"/>
                  </a:cubicBezTo>
                  <a:cubicBezTo>
                    <a:pt x="85" y="62"/>
                    <a:pt x="83" y="61"/>
                    <a:pt x="83" y="59"/>
                  </a:cubicBezTo>
                  <a:cubicBezTo>
                    <a:pt x="83" y="59"/>
                    <a:pt x="88" y="57"/>
                    <a:pt x="89" y="57"/>
                  </a:cubicBezTo>
                  <a:cubicBezTo>
                    <a:pt x="91" y="57"/>
                    <a:pt x="88" y="58"/>
                    <a:pt x="87" y="59"/>
                  </a:cubicBezTo>
                  <a:cubicBezTo>
                    <a:pt x="87" y="59"/>
                    <a:pt x="86" y="59"/>
                    <a:pt x="86" y="59"/>
                  </a:cubicBezTo>
                  <a:cubicBezTo>
                    <a:pt x="86" y="60"/>
                    <a:pt x="87" y="60"/>
                    <a:pt x="88" y="60"/>
                  </a:cubicBezTo>
                  <a:cubicBezTo>
                    <a:pt x="91" y="60"/>
                    <a:pt x="94" y="59"/>
                    <a:pt x="96" y="58"/>
                  </a:cubicBezTo>
                  <a:cubicBezTo>
                    <a:pt x="98" y="58"/>
                    <a:pt x="99" y="58"/>
                    <a:pt x="100" y="57"/>
                  </a:cubicBezTo>
                  <a:cubicBezTo>
                    <a:pt x="102" y="57"/>
                    <a:pt x="102" y="57"/>
                    <a:pt x="104" y="57"/>
                  </a:cubicBezTo>
                  <a:cubicBezTo>
                    <a:pt x="103" y="60"/>
                    <a:pt x="98" y="60"/>
                    <a:pt x="96" y="60"/>
                  </a:cubicBezTo>
                  <a:cubicBezTo>
                    <a:pt x="94" y="60"/>
                    <a:pt x="87" y="62"/>
                    <a:pt x="91" y="64"/>
                  </a:cubicBezTo>
                  <a:cubicBezTo>
                    <a:pt x="92" y="64"/>
                    <a:pt x="95" y="64"/>
                    <a:pt x="96" y="64"/>
                  </a:cubicBezTo>
                  <a:cubicBezTo>
                    <a:pt x="98" y="63"/>
                    <a:pt x="99" y="63"/>
                    <a:pt x="101" y="63"/>
                  </a:cubicBezTo>
                  <a:cubicBezTo>
                    <a:pt x="104" y="63"/>
                    <a:pt x="107" y="62"/>
                    <a:pt x="111" y="61"/>
                  </a:cubicBezTo>
                  <a:cubicBezTo>
                    <a:pt x="114" y="61"/>
                    <a:pt x="116" y="60"/>
                    <a:pt x="119" y="59"/>
                  </a:cubicBezTo>
                  <a:cubicBezTo>
                    <a:pt x="121" y="59"/>
                    <a:pt x="124" y="58"/>
                    <a:pt x="126" y="57"/>
                  </a:cubicBezTo>
                  <a:cubicBezTo>
                    <a:pt x="126" y="57"/>
                    <a:pt x="127" y="56"/>
                    <a:pt x="127" y="56"/>
                  </a:cubicBezTo>
                  <a:cubicBezTo>
                    <a:pt x="127" y="56"/>
                    <a:pt x="127" y="55"/>
                    <a:pt x="128" y="55"/>
                  </a:cubicBezTo>
                  <a:cubicBezTo>
                    <a:pt x="128" y="55"/>
                    <a:pt x="131" y="54"/>
                    <a:pt x="130" y="53"/>
                  </a:cubicBezTo>
                  <a:cubicBezTo>
                    <a:pt x="130" y="53"/>
                    <a:pt x="129" y="53"/>
                    <a:pt x="129" y="53"/>
                  </a:cubicBezTo>
                  <a:cubicBezTo>
                    <a:pt x="128" y="52"/>
                    <a:pt x="130" y="51"/>
                    <a:pt x="130" y="51"/>
                  </a:cubicBezTo>
                  <a:cubicBezTo>
                    <a:pt x="132" y="51"/>
                    <a:pt x="129" y="50"/>
                    <a:pt x="129" y="49"/>
                  </a:cubicBezTo>
                  <a:cubicBezTo>
                    <a:pt x="128" y="49"/>
                    <a:pt x="128" y="49"/>
                    <a:pt x="127" y="48"/>
                  </a:cubicBezTo>
                  <a:cubicBezTo>
                    <a:pt x="128" y="49"/>
                    <a:pt x="130" y="50"/>
                    <a:pt x="132" y="50"/>
                  </a:cubicBezTo>
                  <a:cubicBezTo>
                    <a:pt x="132" y="50"/>
                    <a:pt x="133" y="51"/>
                    <a:pt x="134" y="50"/>
                  </a:cubicBezTo>
                  <a:cubicBezTo>
                    <a:pt x="134" y="50"/>
                    <a:pt x="135" y="50"/>
                    <a:pt x="135" y="50"/>
                  </a:cubicBezTo>
                  <a:cubicBezTo>
                    <a:pt x="135" y="50"/>
                    <a:pt x="135" y="49"/>
                    <a:pt x="135" y="49"/>
                  </a:cubicBezTo>
                  <a:cubicBezTo>
                    <a:pt x="135" y="48"/>
                    <a:pt x="137" y="48"/>
                    <a:pt x="138" y="47"/>
                  </a:cubicBezTo>
                  <a:cubicBezTo>
                    <a:pt x="139" y="47"/>
                    <a:pt x="139" y="46"/>
                    <a:pt x="140" y="46"/>
                  </a:cubicBezTo>
                  <a:cubicBezTo>
                    <a:pt x="141" y="46"/>
                    <a:pt x="142" y="45"/>
                    <a:pt x="142" y="45"/>
                  </a:cubicBezTo>
                  <a:cubicBezTo>
                    <a:pt x="142" y="45"/>
                    <a:pt x="142" y="45"/>
                    <a:pt x="142" y="45"/>
                  </a:cubicBezTo>
                  <a:cubicBezTo>
                    <a:pt x="143" y="44"/>
                    <a:pt x="145" y="44"/>
                    <a:pt x="147" y="43"/>
                  </a:cubicBezTo>
                  <a:cubicBezTo>
                    <a:pt x="149" y="43"/>
                    <a:pt x="151" y="42"/>
                    <a:pt x="152" y="42"/>
                  </a:cubicBezTo>
                  <a:cubicBezTo>
                    <a:pt x="150" y="45"/>
                    <a:pt x="144" y="45"/>
                    <a:pt x="141" y="46"/>
                  </a:cubicBezTo>
                  <a:cubicBezTo>
                    <a:pt x="141" y="47"/>
                    <a:pt x="141" y="47"/>
                    <a:pt x="142" y="47"/>
                  </a:cubicBezTo>
                  <a:cubicBezTo>
                    <a:pt x="141" y="48"/>
                    <a:pt x="141" y="48"/>
                    <a:pt x="140" y="49"/>
                  </a:cubicBezTo>
                  <a:cubicBezTo>
                    <a:pt x="139" y="49"/>
                    <a:pt x="138" y="49"/>
                    <a:pt x="137" y="49"/>
                  </a:cubicBezTo>
                  <a:cubicBezTo>
                    <a:pt x="137" y="50"/>
                    <a:pt x="136" y="51"/>
                    <a:pt x="135" y="52"/>
                  </a:cubicBezTo>
                  <a:cubicBezTo>
                    <a:pt x="135" y="52"/>
                    <a:pt x="134" y="52"/>
                    <a:pt x="134" y="52"/>
                  </a:cubicBezTo>
                  <a:cubicBezTo>
                    <a:pt x="133" y="53"/>
                    <a:pt x="133" y="53"/>
                    <a:pt x="133" y="53"/>
                  </a:cubicBezTo>
                  <a:cubicBezTo>
                    <a:pt x="133" y="54"/>
                    <a:pt x="133" y="56"/>
                    <a:pt x="133" y="56"/>
                  </a:cubicBezTo>
                  <a:cubicBezTo>
                    <a:pt x="135" y="56"/>
                    <a:pt x="137" y="56"/>
                    <a:pt x="138" y="56"/>
                  </a:cubicBezTo>
                  <a:cubicBezTo>
                    <a:pt x="141" y="55"/>
                    <a:pt x="145" y="55"/>
                    <a:pt x="148" y="55"/>
                  </a:cubicBezTo>
                  <a:cubicBezTo>
                    <a:pt x="149" y="55"/>
                    <a:pt x="151" y="56"/>
                    <a:pt x="152" y="56"/>
                  </a:cubicBezTo>
                  <a:cubicBezTo>
                    <a:pt x="154" y="56"/>
                    <a:pt x="155" y="55"/>
                    <a:pt x="157" y="55"/>
                  </a:cubicBezTo>
                  <a:cubicBezTo>
                    <a:pt x="159" y="55"/>
                    <a:pt x="157" y="57"/>
                    <a:pt x="156" y="57"/>
                  </a:cubicBezTo>
                  <a:cubicBezTo>
                    <a:pt x="154" y="57"/>
                    <a:pt x="152" y="57"/>
                    <a:pt x="150" y="57"/>
                  </a:cubicBezTo>
                  <a:cubicBezTo>
                    <a:pt x="146" y="57"/>
                    <a:pt x="142" y="57"/>
                    <a:pt x="139" y="58"/>
                  </a:cubicBezTo>
                  <a:cubicBezTo>
                    <a:pt x="136" y="58"/>
                    <a:pt x="133" y="59"/>
                    <a:pt x="130" y="60"/>
                  </a:cubicBezTo>
                  <a:cubicBezTo>
                    <a:pt x="128" y="60"/>
                    <a:pt x="125" y="61"/>
                    <a:pt x="123" y="62"/>
                  </a:cubicBezTo>
                  <a:cubicBezTo>
                    <a:pt x="125" y="63"/>
                    <a:pt x="130" y="62"/>
                    <a:pt x="133" y="62"/>
                  </a:cubicBezTo>
                  <a:cubicBezTo>
                    <a:pt x="136" y="62"/>
                    <a:pt x="139" y="62"/>
                    <a:pt x="142" y="63"/>
                  </a:cubicBezTo>
                  <a:cubicBezTo>
                    <a:pt x="140" y="64"/>
                    <a:pt x="138" y="63"/>
                    <a:pt x="136" y="63"/>
                  </a:cubicBezTo>
                  <a:cubicBezTo>
                    <a:pt x="134" y="63"/>
                    <a:pt x="133" y="64"/>
                    <a:pt x="131" y="64"/>
                  </a:cubicBezTo>
                  <a:cubicBezTo>
                    <a:pt x="128" y="64"/>
                    <a:pt x="124" y="64"/>
                    <a:pt x="121" y="64"/>
                  </a:cubicBezTo>
                  <a:cubicBezTo>
                    <a:pt x="119" y="64"/>
                    <a:pt x="119" y="65"/>
                    <a:pt x="117" y="65"/>
                  </a:cubicBezTo>
                  <a:cubicBezTo>
                    <a:pt x="116" y="66"/>
                    <a:pt x="114" y="66"/>
                    <a:pt x="113" y="66"/>
                  </a:cubicBezTo>
                  <a:cubicBezTo>
                    <a:pt x="110" y="66"/>
                    <a:pt x="107" y="67"/>
                    <a:pt x="103" y="67"/>
                  </a:cubicBezTo>
                  <a:cubicBezTo>
                    <a:pt x="100" y="67"/>
                    <a:pt x="97" y="68"/>
                    <a:pt x="94" y="68"/>
                  </a:cubicBezTo>
                  <a:cubicBezTo>
                    <a:pt x="93" y="68"/>
                    <a:pt x="90" y="68"/>
                    <a:pt x="89" y="69"/>
                  </a:cubicBezTo>
                  <a:cubicBezTo>
                    <a:pt x="89" y="69"/>
                    <a:pt x="91" y="70"/>
                    <a:pt x="92" y="71"/>
                  </a:cubicBezTo>
                  <a:cubicBezTo>
                    <a:pt x="95" y="73"/>
                    <a:pt x="99" y="76"/>
                    <a:pt x="102" y="77"/>
                  </a:cubicBezTo>
                  <a:cubicBezTo>
                    <a:pt x="104" y="77"/>
                    <a:pt x="105" y="77"/>
                    <a:pt x="107" y="78"/>
                  </a:cubicBezTo>
                  <a:cubicBezTo>
                    <a:pt x="106" y="79"/>
                    <a:pt x="105" y="78"/>
                    <a:pt x="105" y="80"/>
                  </a:cubicBezTo>
                  <a:cubicBezTo>
                    <a:pt x="106" y="81"/>
                    <a:pt x="106" y="82"/>
                    <a:pt x="106" y="83"/>
                  </a:cubicBezTo>
                  <a:cubicBezTo>
                    <a:pt x="106" y="83"/>
                    <a:pt x="111" y="84"/>
                    <a:pt x="112" y="84"/>
                  </a:cubicBezTo>
                  <a:cubicBezTo>
                    <a:pt x="114" y="85"/>
                    <a:pt x="116" y="85"/>
                    <a:pt x="117" y="84"/>
                  </a:cubicBezTo>
                  <a:cubicBezTo>
                    <a:pt x="120" y="83"/>
                    <a:pt x="122" y="84"/>
                    <a:pt x="124" y="83"/>
                  </a:cubicBezTo>
                  <a:cubicBezTo>
                    <a:pt x="122" y="85"/>
                    <a:pt x="120" y="85"/>
                    <a:pt x="118" y="85"/>
                  </a:cubicBezTo>
                  <a:cubicBezTo>
                    <a:pt x="117" y="86"/>
                    <a:pt x="116" y="86"/>
                    <a:pt x="115" y="86"/>
                  </a:cubicBezTo>
                  <a:cubicBezTo>
                    <a:pt x="114" y="86"/>
                    <a:pt x="114" y="86"/>
                    <a:pt x="113" y="86"/>
                  </a:cubicBezTo>
                  <a:cubicBezTo>
                    <a:pt x="111" y="86"/>
                    <a:pt x="109" y="85"/>
                    <a:pt x="108" y="85"/>
                  </a:cubicBezTo>
                  <a:cubicBezTo>
                    <a:pt x="106" y="85"/>
                    <a:pt x="105" y="87"/>
                    <a:pt x="104" y="86"/>
                  </a:cubicBezTo>
                  <a:cubicBezTo>
                    <a:pt x="106" y="85"/>
                    <a:pt x="104" y="84"/>
                    <a:pt x="103" y="84"/>
                  </a:cubicBezTo>
                  <a:cubicBezTo>
                    <a:pt x="101" y="83"/>
                    <a:pt x="102" y="82"/>
                    <a:pt x="101" y="81"/>
                  </a:cubicBezTo>
                  <a:cubicBezTo>
                    <a:pt x="100" y="79"/>
                    <a:pt x="98" y="79"/>
                    <a:pt x="96" y="78"/>
                  </a:cubicBezTo>
                  <a:cubicBezTo>
                    <a:pt x="92" y="76"/>
                    <a:pt x="89" y="75"/>
                    <a:pt x="85" y="72"/>
                  </a:cubicBezTo>
                  <a:cubicBezTo>
                    <a:pt x="83" y="70"/>
                    <a:pt x="78" y="70"/>
                    <a:pt x="75" y="70"/>
                  </a:cubicBezTo>
                  <a:cubicBezTo>
                    <a:pt x="74" y="70"/>
                    <a:pt x="73" y="70"/>
                    <a:pt x="72" y="70"/>
                  </a:cubicBezTo>
                  <a:cubicBezTo>
                    <a:pt x="71" y="70"/>
                    <a:pt x="71" y="70"/>
                    <a:pt x="71" y="71"/>
                  </a:cubicBezTo>
                  <a:cubicBezTo>
                    <a:pt x="71" y="71"/>
                    <a:pt x="71" y="71"/>
                    <a:pt x="71" y="71"/>
                  </a:cubicBezTo>
                  <a:cubicBezTo>
                    <a:pt x="71" y="71"/>
                    <a:pt x="71" y="70"/>
                    <a:pt x="70" y="70"/>
                  </a:cubicBezTo>
                  <a:cubicBezTo>
                    <a:pt x="68" y="71"/>
                    <a:pt x="66" y="70"/>
                    <a:pt x="63" y="69"/>
                  </a:cubicBezTo>
                  <a:cubicBezTo>
                    <a:pt x="61" y="68"/>
                    <a:pt x="56" y="68"/>
                    <a:pt x="55" y="71"/>
                  </a:cubicBezTo>
                  <a:cubicBezTo>
                    <a:pt x="54" y="73"/>
                    <a:pt x="53" y="73"/>
                    <a:pt x="55" y="75"/>
                  </a:cubicBezTo>
                  <a:cubicBezTo>
                    <a:pt x="57" y="77"/>
                    <a:pt x="58" y="77"/>
                    <a:pt x="60" y="77"/>
                  </a:cubicBezTo>
                  <a:cubicBezTo>
                    <a:pt x="61" y="77"/>
                    <a:pt x="63" y="77"/>
                    <a:pt x="64" y="77"/>
                  </a:cubicBezTo>
                  <a:cubicBezTo>
                    <a:pt x="65" y="77"/>
                    <a:pt x="66" y="78"/>
                    <a:pt x="67" y="78"/>
                  </a:cubicBezTo>
                  <a:cubicBezTo>
                    <a:pt x="67" y="78"/>
                    <a:pt x="68" y="78"/>
                    <a:pt x="68" y="78"/>
                  </a:cubicBezTo>
                  <a:cubicBezTo>
                    <a:pt x="67" y="79"/>
                    <a:pt x="65" y="78"/>
                    <a:pt x="64" y="78"/>
                  </a:cubicBezTo>
                  <a:cubicBezTo>
                    <a:pt x="63" y="78"/>
                    <a:pt x="62" y="78"/>
                    <a:pt x="61" y="78"/>
                  </a:cubicBezTo>
                  <a:cubicBezTo>
                    <a:pt x="59" y="77"/>
                    <a:pt x="58" y="77"/>
                    <a:pt x="57" y="77"/>
                  </a:cubicBezTo>
                  <a:cubicBezTo>
                    <a:pt x="55" y="78"/>
                    <a:pt x="56" y="79"/>
                    <a:pt x="56" y="80"/>
                  </a:cubicBezTo>
                  <a:cubicBezTo>
                    <a:pt x="56" y="81"/>
                    <a:pt x="55" y="81"/>
                    <a:pt x="56" y="82"/>
                  </a:cubicBezTo>
                  <a:cubicBezTo>
                    <a:pt x="57" y="82"/>
                    <a:pt x="58" y="83"/>
                    <a:pt x="59" y="83"/>
                  </a:cubicBezTo>
                  <a:cubicBezTo>
                    <a:pt x="60" y="83"/>
                    <a:pt x="61" y="84"/>
                    <a:pt x="62" y="83"/>
                  </a:cubicBezTo>
                  <a:cubicBezTo>
                    <a:pt x="65" y="83"/>
                    <a:pt x="67" y="84"/>
                    <a:pt x="69" y="85"/>
                  </a:cubicBezTo>
                  <a:cubicBezTo>
                    <a:pt x="70" y="85"/>
                    <a:pt x="70" y="85"/>
                    <a:pt x="71" y="86"/>
                  </a:cubicBezTo>
                  <a:cubicBezTo>
                    <a:pt x="71" y="86"/>
                    <a:pt x="71" y="85"/>
                    <a:pt x="71" y="85"/>
                  </a:cubicBezTo>
                  <a:cubicBezTo>
                    <a:pt x="71" y="86"/>
                    <a:pt x="71" y="86"/>
                    <a:pt x="72" y="87"/>
                  </a:cubicBezTo>
                  <a:cubicBezTo>
                    <a:pt x="73" y="89"/>
                    <a:pt x="74" y="89"/>
                    <a:pt x="76" y="90"/>
                  </a:cubicBezTo>
                  <a:cubicBezTo>
                    <a:pt x="77" y="91"/>
                    <a:pt x="77" y="93"/>
                    <a:pt x="78" y="95"/>
                  </a:cubicBezTo>
                  <a:cubicBezTo>
                    <a:pt x="78" y="96"/>
                    <a:pt x="80" y="95"/>
                    <a:pt x="80" y="95"/>
                  </a:cubicBezTo>
                  <a:cubicBezTo>
                    <a:pt x="81" y="95"/>
                    <a:pt x="81" y="94"/>
                    <a:pt x="81" y="95"/>
                  </a:cubicBezTo>
                  <a:cubicBezTo>
                    <a:pt x="81" y="95"/>
                    <a:pt x="81" y="96"/>
                    <a:pt x="81" y="96"/>
                  </a:cubicBezTo>
                  <a:cubicBezTo>
                    <a:pt x="82" y="97"/>
                    <a:pt x="83" y="97"/>
                    <a:pt x="84" y="97"/>
                  </a:cubicBezTo>
                  <a:cubicBezTo>
                    <a:pt x="84" y="98"/>
                    <a:pt x="85" y="98"/>
                    <a:pt x="85" y="98"/>
                  </a:cubicBezTo>
                  <a:cubicBezTo>
                    <a:pt x="86" y="99"/>
                    <a:pt x="87" y="98"/>
                    <a:pt x="87" y="98"/>
                  </a:cubicBezTo>
                  <a:cubicBezTo>
                    <a:pt x="86" y="100"/>
                    <a:pt x="82" y="99"/>
                    <a:pt x="80" y="98"/>
                  </a:cubicBezTo>
                  <a:cubicBezTo>
                    <a:pt x="79" y="96"/>
                    <a:pt x="76" y="96"/>
                    <a:pt x="74" y="97"/>
                  </a:cubicBezTo>
                  <a:cubicBezTo>
                    <a:pt x="74" y="97"/>
                    <a:pt x="73" y="98"/>
                    <a:pt x="73" y="98"/>
                  </a:cubicBezTo>
                  <a:cubicBezTo>
                    <a:pt x="73" y="98"/>
                    <a:pt x="74" y="99"/>
                    <a:pt x="75" y="99"/>
                  </a:cubicBezTo>
                  <a:cubicBezTo>
                    <a:pt x="76" y="100"/>
                    <a:pt x="77" y="100"/>
                    <a:pt x="78" y="100"/>
                  </a:cubicBezTo>
                  <a:cubicBezTo>
                    <a:pt x="79" y="101"/>
                    <a:pt x="80" y="100"/>
                    <a:pt x="82" y="100"/>
                  </a:cubicBezTo>
                  <a:cubicBezTo>
                    <a:pt x="83" y="100"/>
                    <a:pt x="84" y="101"/>
                    <a:pt x="85" y="101"/>
                  </a:cubicBezTo>
                  <a:cubicBezTo>
                    <a:pt x="88" y="101"/>
                    <a:pt x="90" y="101"/>
                    <a:pt x="93" y="101"/>
                  </a:cubicBezTo>
                  <a:cubicBezTo>
                    <a:pt x="95" y="102"/>
                    <a:pt x="97" y="103"/>
                    <a:pt x="100" y="101"/>
                  </a:cubicBezTo>
                  <a:cubicBezTo>
                    <a:pt x="101" y="101"/>
                    <a:pt x="102" y="100"/>
                    <a:pt x="103" y="99"/>
                  </a:cubicBezTo>
                  <a:cubicBezTo>
                    <a:pt x="103" y="99"/>
                    <a:pt x="105" y="98"/>
                    <a:pt x="106" y="98"/>
                  </a:cubicBezTo>
                  <a:cubicBezTo>
                    <a:pt x="107" y="98"/>
                    <a:pt x="106" y="99"/>
                    <a:pt x="106" y="99"/>
                  </a:cubicBezTo>
                  <a:cubicBezTo>
                    <a:pt x="105" y="100"/>
                    <a:pt x="105" y="100"/>
                    <a:pt x="104" y="101"/>
                  </a:cubicBezTo>
                  <a:cubicBezTo>
                    <a:pt x="104" y="102"/>
                    <a:pt x="104" y="102"/>
                    <a:pt x="103" y="103"/>
                  </a:cubicBezTo>
                  <a:cubicBezTo>
                    <a:pt x="103" y="103"/>
                    <a:pt x="102" y="103"/>
                    <a:pt x="102" y="103"/>
                  </a:cubicBezTo>
                  <a:cubicBezTo>
                    <a:pt x="100" y="103"/>
                    <a:pt x="98" y="103"/>
                    <a:pt x="95" y="103"/>
                  </a:cubicBezTo>
                  <a:cubicBezTo>
                    <a:pt x="93" y="103"/>
                    <a:pt x="91" y="103"/>
                    <a:pt x="89" y="103"/>
                  </a:cubicBezTo>
                  <a:cubicBezTo>
                    <a:pt x="88" y="103"/>
                    <a:pt x="91" y="104"/>
                    <a:pt x="91" y="105"/>
                  </a:cubicBezTo>
                  <a:cubicBezTo>
                    <a:pt x="92" y="105"/>
                    <a:pt x="93" y="105"/>
                    <a:pt x="94" y="106"/>
                  </a:cubicBezTo>
                  <a:cubicBezTo>
                    <a:pt x="95" y="106"/>
                    <a:pt x="97" y="104"/>
                    <a:pt x="99" y="106"/>
                  </a:cubicBezTo>
                  <a:cubicBezTo>
                    <a:pt x="99" y="106"/>
                    <a:pt x="96" y="105"/>
                    <a:pt x="96" y="106"/>
                  </a:cubicBezTo>
                  <a:cubicBezTo>
                    <a:pt x="95" y="107"/>
                    <a:pt x="98" y="108"/>
                    <a:pt x="98" y="108"/>
                  </a:cubicBezTo>
                  <a:cubicBezTo>
                    <a:pt x="100" y="109"/>
                    <a:pt x="97" y="109"/>
                    <a:pt x="96" y="109"/>
                  </a:cubicBezTo>
                  <a:cubicBezTo>
                    <a:pt x="95" y="108"/>
                    <a:pt x="95" y="107"/>
                    <a:pt x="94" y="107"/>
                  </a:cubicBezTo>
                  <a:cubicBezTo>
                    <a:pt x="93" y="106"/>
                    <a:pt x="92" y="106"/>
                    <a:pt x="91" y="106"/>
                  </a:cubicBezTo>
                  <a:cubicBezTo>
                    <a:pt x="90" y="106"/>
                    <a:pt x="89" y="105"/>
                    <a:pt x="88" y="105"/>
                  </a:cubicBezTo>
                  <a:cubicBezTo>
                    <a:pt x="87" y="104"/>
                    <a:pt x="86" y="104"/>
                    <a:pt x="85" y="104"/>
                  </a:cubicBezTo>
                  <a:cubicBezTo>
                    <a:pt x="84" y="103"/>
                    <a:pt x="83" y="103"/>
                    <a:pt x="82" y="103"/>
                  </a:cubicBezTo>
                  <a:cubicBezTo>
                    <a:pt x="78" y="103"/>
                    <a:pt x="74" y="103"/>
                    <a:pt x="71" y="101"/>
                  </a:cubicBezTo>
                  <a:cubicBezTo>
                    <a:pt x="71" y="102"/>
                    <a:pt x="71" y="103"/>
                    <a:pt x="71" y="103"/>
                  </a:cubicBezTo>
                  <a:cubicBezTo>
                    <a:pt x="71" y="103"/>
                    <a:pt x="71" y="102"/>
                    <a:pt x="71" y="101"/>
                  </a:cubicBezTo>
                  <a:cubicBezTo>
                    <a:pt x="69" y="101"/>
                    <a:pt x="66" y="102"/>
                    <a:pt x="64" y="103"/>
                  </a:cubicBezTo>
                  <a:cubicBezTo>
                    <a:pt x="61" y="103"/>
                    <a:pt x="59" y="104"/>
                    <a:pt x="56" y="104"/>
                  </a:cubicBezTo>
                  <a:cubicBezTo>
                    <a:pt x="54" y="104"/>
                    <a:pt x="51" y="105"/>
                    <a:pt x="50" y="107"/>
                  </a:cubicBezTo>
                  <a:cubicBezTo>
                    <a:pt x="50" y="110"/>
                    <a:pt x="47" y="110"/>
                    <a:pt x="45" y="112"/>
                  </a:cubicBezTo>
                  <a:cubicBezTo>
                    <a:pt x="45" y="113"/>
                    <a:pt x="45" y="115"/>
                    <a:pt x="45" y="116"/>
                  </a:cubicBezTo>
                  <a:cubicBezTo>
                    <a:pt x="45" y="117"/>
                    <a:pt x="45" y="117"/>
                    <a:pt x="46" y="117"/>
                  </a:cubicBezTo>
                  <a:cubicBezTo>
                    <a:pt x="47" y="117"/>
                    <a:pt x="48" y="117"/>
                    <a:pt x="49" y="117"/>
                  </a:cubicBezTo>
                  <a:cubicBezTo>
                    <a:pt x="48" y="118"/>
                    <a:pt x="46" y="117"/>
                    <a:pt x="45" y="119"/>
                  </a:cubicBezTo>
                  <a:cubicBezTo>
                    <a:pt x="47" y="120"/>
                    <a:pt x="50" y="119"/>
                    <a:pt x="52" y="119"/>
                  </a:cubicBezTo>
                  <a:cubicBezTo>
                    <a:pt x="54" y="119"/>
                    <a:pt x="55" y="117"/>
                    <a:pt x="56" y="117"/>
                  </a:cubicBezTo>
                  <a:cubicBezTo>
                    <a:pt x="57" y="118"/>
                    <a:pt x="58" y="117"/>
                    <a:pt x="60" y="116"/>
                  </a:cubicBezTo>
                  <a:cubicBezTo>
                    <a:pt x="60" y="116"/>
                    <a:pt x="60" y="115"/>
                    <a:pt x="60" y="115"/>
                  </a:cubicBezTo>
                  <a:cubicBezTo>
                    <a:pt x="61" y="114"/>
                    <a:pt x="62" y="114"/>
                    <a:pt x="62" y="114"/>
                  </a:cubicBezTo>
                  <a:cubicBezTo>
                    <a:pt x="62" y="114"/>
                    <a:pt x="62" y="117"/>
                    <a:pt x="61" y="117"/>
                  </a:cubicBezTo>
                  <a:cubicBezTo>
                    <a:pt x="60" y="117"/>
                    <a:pt x="60" y="118"/>
                    <a:pt x="59" y="118"/>
                  </a:cubicBezTo>
                  <a:cubicBezTo>
                    <a:pt x="59" y="118"/>
                    <a:pt x="58" y="118"/>
                    <a:pt x="58" y="119"/>
                  </a:cubicBezTo>
                  <a:cubicBezTo>
                    <a:pt x="56" y="121"/>
                    <a:pt x="63" y="120"/>
                    <a:pt x="64" y="120"/>
                  </a:cubicBezTo>
                  <a:cubicBezTo>
                    <a:pt x="65" y="119"/>
                    <a:pt x="66" y="119"/>
                    <a:pt x="67" y="119"/>
                  </a:cubicBezTo>
                  <a:cubicBezTo>
                    <a:pt x="68" y="118"/>
                    <a:pt x="68" y="117"/>
                    <a:pt x="69" y="116"/>
                  </a:cubicBezTo>
                  <a:cubicBezTo>
                    <a:pt x="70" y="116"/>
                    <a:pt x="71" y="115"/>
                    <a:pt x="71" y="114"/>
                  </a:cubicBezTo>
                  <a:cubicBezTo>
                    <a:pt x="71" y="114"/>
                    <a:pt x="71" y="114"/>
                    <a:pt x="71" y="115"/>
                  </a:cubicBezTo>
                  <a:cubicBezTo>
                    <a:pt x="71" y="114"/>
                    <a:pt x="71" y="114"/>
                    <a:pt x="71" y="113"/>
                  </a:cubicBezTo>
                  <a:cubicBezTo>
                    <a:pt x="71" y="112"/>
                    <a:pt x="72" y="112"/>
                    <a:pt x="72" y="112"/>
                  </a:cubicBezTo>
                  <a:cubicBezTo>
                    <a:pt x="73" y="111"/>
                    <a:pt x="73" y="109"/>
                    <a:pt x="74" y="109"/>
                  </a:cubicBezTo>
                  <a:cubicBezTo>
                    <a:pt x="74" y="110"/>
                    <a:pt x="74" y="110"/>
                    <a:pt x="73" y="110"/>
                  </a:cubicBezTo>
                  <a:cubicBezTo>
                    <a:pt x="73" y="111"/>
                    <a:pt x="73" y="112"/>
                    <a:pt x="73" y="112"/>
                  </a:cubicBezTo>
                  <a:cubicBezTo>
                    <a:pt x="72" y="113"/>
                    <a:pt x="72" y="114"/>
                    <a:pt x="72" y="114"/>
                  </a:cubicBezTo>
                  <a:cubicBezTo>
                    <a:pt x="73" y="114"/>
                    <a:pt x="74" y="114"/>
                    <a:pt x="75" y="114"/>
                  </a:cubicBezTo>
                  <a:cubicBezTo>
                    <a:pt x="74" y="115"/>
                    <a:pt x="73" y="115"/>
                    <a:pt x="72" y="115"/>
                  </a:cubicBezTo>
                  <a:cubicBezTo>
                    <a:pt x="72" y="115"/>
                    <a:pt x="71" y="117"/>
                    <a:pt x="71" y="117"/>
                  </a:cubicBezTo>
                  <a:cubicBezTo>
                    <a:pt x="73" y="118"/>
                    <a:pt x="75" y="117"/>
                    <a:pt x="76" y="117"/>
                  </a:cubicBezTo>
                  <a:cubicBezTo>
                    <a:pt x="78" y="117"/>
                    <a:pt x="79" y="118"/>
                    <a:pt x="80" y="118"/>
                  </a:cubicBezTo>
                  <a:cubicBezTo>
                    <a:pt x="78" y="119"/>
                    <a:pt x="77" y="118"/>
                    <a:pt x="76" y="118"/>
                  </a:cubicBezTo>
                  <a:cubicBezTo>
                    <a:pt x="74" y="117"/>
                    <a:pt x="72" y="118"/>
                    <a:pt x="71" y="118"/>
                  </a:cubicBezTo>
                  <a:cubicBezTo>
                    <a:pt x="71" y="118"/>
                    <a:pt x="71" y="119"/>
                    <a:pt x="71" y="119"/>
                  </a:cubicBezTo>
                  <a:cubicBezTo>
                    <a:pt x="71" y="119"/>
                    <a:pt x="71" y="119"/>
                    <a:pt x="71" y="119"/>
                  </a:cubicBezTo>
                  <a:cubicBezTo>
                    <a:pt x="71" y="120"/>
                    <a:pt x="71" y="120"/>
                    <a:pt x="72" y="121"/>
                  </a:cubicBezTo>
                  <a:cubicBezTo>
                    <a:pt x="73" y="121"/>
                    <a:pt x="74" y="120"/>
                    <a:pt x="74" y="120"/>
                  </a:cubicBezTo>
                  <a:cubicBezTo>
                    <a:pt x="76" y="120"/>
                    <a:pt x="77" y="120"/>
                    <a:pt x="78" y="120"/>
                  </a:cubicBezTo>
                  <a:cubicBezTo>
                    <a:pt x="77" y="121"/>
                    <a:pt x="75" y="120"/>
                    <a:pt x="74" y="121"/>
                  </a:cubicBezTo>
                  <a:cubicBezTo>
                    <a:pt x="73" y="122"/>
                    <a:pt x="72" y="121"/>
                    <a:pt x="71" y="121"/>
                  </a:cubicBezTo>
                  <a:cubicBezTo>
                    <a:pt x="71" y="122"/>
                    <a:pt x="71" y="122"/>
                    <a:pt x="71" y="123"/>
                  </a:cubicBezTo>
                  <a:cubicBezTo>
                    <a:pt x="71" y="124"/>
                    <a:pt x="71" y="124"/>
                    <a:pt x="71" y="124"/>
                  </a:cubicBezTo>
                  <a:cubicBezTo>
                    <a:pt x="72" y="124"/>
                    <a:pt x="73" y="124"/>
                    <a:pt x="74" y="124"/>
                  </a:cubicBezTo>
                  <a:cubicBezTo>
                    <a:pt x="75" y="124"/>
                    <a:pt x="76" y="123"/>
                    <a:pt x="77" y="124"/>
                  </a:cubicBezTo>
                  <a:cubicBezTo>
                    <a:pt x="76" y="124"/>
                    <a:pt x="75" y="124"/>
                    <a:pt x="74" y="124"/>
                  </a:cubicBezTo>
                  <a:cubicBezTo>
                    <a:pt x="73" y="124"/>
                    <a:pt x="73" y="125"/>
                    <a:pt x="72" y="125"/>
                  </a:cubicBezTo>
                  <a:cubicBezTo>
                    <a:pt x="71" y="125"/>
                    <a:pt x="71" y="125"/>
                    <a:pt x="71" y="124"/>
                  </a:cubicBezTo>
                  <a:cubicBezTo>
                    <a:pt x="71" y="125"/>
                    <a:pt x="71" y="125"/>
                    <a:pt x="71" y="126"/>
                  </a:cubicBezTo>
                  <a:cubicBezTo>
                    <a:pt x="70" y="126"/>
                    <a:pt x="70" y="126"/>
                    <a:pt x="70" y="126"/>
                  </a:cubicBezTo>
                  <a:cubicBezTo>
                    <a:pt x="69" y="126"/>
                    <a:pt x="69" y="127"/>
                    <a:pt x="68" y="127"/>
                  </a:cubicBezTo>
                  <a:cubicBezTo>
                    <a:pt x="66" y="128"/>
                    <a:pt x="70" y="130"/>
                    <a:pt x="71" y="130"/>
                  </a:cubicBezTo>
                  <a:cubicBezTo>
                    <a:pt x="71" y="130"/>
                    <a:pt x="71" y="130"/>
                    <a:pt x="71" y="130"/>
                  </a:cubicBezTo>
                  <a:cubicBezTo>
                    <a:pt x="71" y="131"/>
                    <a:pt x="72" y="130"/>
                    <a:pt x="73" y="130"/>
                  </a:cubicBezTo>
                  <a:cubicBezTo>
                    <a:pt x="74" y="130"/>
                    <a:pt x="76" y="129"/>
                    <a:pt x="76" y="127"/>
                  </a:cubicBezTo>
                  <a:cubicBezTo>
                    <a:pt x="77" y="128"/>
                    <a:pt x="75" y="130"/>
                    <a:pt x="74" y="130"/>
                  </a:cubicBezTo>
                  <a:cubicBezTo>
                    <a:pt x="73" y="131"/>
                    <a:pt x="71" y="131"/>
                    <a:pt x="73" y="132"/>
                  </a:cubicBezTo>
                  <a:cubicBezTo>
                    <a:pt x="75" y="132"/>
                    <a:pt x="76" y="132"/>
                    <a:pt x="78" y="132"/>
                  </a:cubicBezTo>
                  <a:cubicBezTo>
                    <a:pt x="79" y="132"/>
                    <a:pt x="80" y="133"/>
                    <a:pt x="81" y="133"/>
                  </a:cubicBezTo>
                  <a:cubicBezTo>
                    <a:pt x="85" y="133"/>
                    <a:pt x="88" y="129"/>
                    <a:pt x="90" y="126"/>
                  </a:cubicBezTo>
                  <a:cubicBezTo>
                    <a:pt x="91" y="125"/>
                    <a:pt x="92" y="125"/>
                    <a:pt x="92" y="124"/>
                  </a:cubicBezTo>
                  <a:cubicBezTo>
                    <a:pt x="93" y="124"/>
                    <a:pt x="94" y="124"/>
                    <a:pt x="93" y="123"/>
                  </a:cubicBezTo>
                  <a:cubicBezTo>
                    <a:pt x="92" y="121"/>
                    <a:pt x="97" y="120"/>
                    <a:pt x="98" y="120"/>
                  </a:cubicBezTo>
                  <a:cubicBezTo>
                    <a:pt x="97" y="121"/>
                    <a:pt x="96" y="121"/>
                    <a:pt x="96" y="121"/>
                  </a:cubicBezTo>
                  <a:cubicBezTo>
                    <a:pt x="95" y="122"/>
                    <a:pt x="95" y="124"/>
                    <a:pt x="94" y="125"/>
                  </a:cubicBezTo>
                  <a:cubicBezTo>
                    <a:pt x="93" y="126"/>
                    <a:pt x="93" y="127"/>
                    <a:pt x="92" y="128"/>
                  </a:cubicBezTo>
                  <a:cubicBezTo>
                    <a:pt x="90" y="130"/>
                    <a:pt x="89" y="132"/>
                    <a:pt x="87" y="133"/>
                  </a:cubicBezTo>
                  <a:cubicBezTo>
                    <a:pt x="86" y="133"/>
                    <a:pt x="84" y="133"/>
                    <a:pt x="83" y="134"/>
                  </a:cubicBezTo>
                  <a:cubicBezTo>
                    <a:pt x="81" y="134"/>
                    <a:pt x="86" y="135"/>
                    <a:pt x="86" y="135"/>
                  </a:cubicBezTo>
                  <a:cubicBezTo>
                    <a:pt x="87" y="136"/>
                    <a:pt x="80" y="135"/>
                    <a:pt x="80" y="135"/>
                  </a:cubicBezTo>
                  <a:cubicBezTo>
                    <a:pt x="79" y="135"/>
                    <a:pt x="78" y="135"/>
                    <a:pt x="77" y="135"/>
                  </a:cubicBezTo>
                  <a:cubicBezTo>
                    <a:pt x="76" y="135"/>
                    <a:pt x="76" y="135"/>
                    <a:pt x="75" y="135"/>
                  </a:cubicBezTo>
                  <a:cubicBezTo>
                    <a:pt x="74" y="136"/>
                    <a:pt x="74" y="137"/>
                    <a:pt x="73" y="136"/>
                  </a:cubicBezTo>
                  <a:cubicBezTo>
                    <a:pt x="72" y="136"/>
                    <a:pt x="71" y="136"/>
                    <a:pt x="71" y="135"/>
                  </a:cubicBezTo>
                  <a:cubicBezTo>
                    <a:pt x="71" y="136"/>
                    <a:pt x="71" y="136"/>
                    <a:pt x="71" y="136"/>
                  </a:cubicBezTo>
                  <a:cubicBezTo>
                    <a:pt x="71" y="136"/>
                    <a:pt x="71" y="136"/>
                    <a:pt x="71" y="135"/>
                  </a:cubicBezTo>
                  <a:cubicBezTo>
                    <a:pt x="69" y="135"/>
                    <a:pt x="66" y="136"/>
                    <a:pt x="65" y="134"/>
                  </a:cubicBezTo>
                  <a:cubicBezTo>
                    <a:pt x="64" y="134"/>
                    <a:pt x="63" y="135"/>
                    <a:pt x="63" y="134"/>
                  </a:cubicBezTo>
                  <a:cubicBezTo>
                    <a:pt x="63" y="134"/>
                    <a:pt x="63" y="132"/>
                    <a:pt x="62" y="132"/>
                  </a:cubicBezTo>
                  <a:cubicBezTo>
                    <a:pt x="62" y="131"/>
                    <a:pt x="62" y="131"/>
                    <a:pt x="62" y="131"/>
                  </a:cubicBezTo>
                  <a:cubicBezTo>
                    <a:pt x="61" y="129"/>
                    <a:pt x="60" y="127"/>
                    <a:pt x="58" y="126"/>
                  </a:cubicBezTo>
                  <a:cubicBezTo>
                    <a:pt x="55" y="125"/>
                    <a:pt x="49" y="124"/>
                    <a:pt x="46" y="124"/>
                  </a:cubicBezTo>
                  <a:cubicBezTo>
                    <a:pt x="44" y="125"/>
                    <a:pt x="42" y="126"/>
                    <a:pt x="40" y="126"/>
                  </a:cubicBezTo>
                  <a:cubicBezTo>
                    <a:pt x="40" y="126"/>
                    <a:pt x="38" y="125"/>
                    <a:pt x="38" y="125"/>
                  </a:cubicBezTo>
                  <a:cubicBezTo>
                    <a:pt x="38" y="127"/>
                    <a:pt x="38" y="127"/>
                    <a:pt x="38" y="129"/>
                  </a:cubicBezTo>
                  <a:cubicBezTo>
                    <a:pt x="38" y="129"/>
                    <a:pt x="38" y="129"/>
                    <a:pt x="38" y="129"/>
                  </a:cubicBezTo>
                  <a:cubicBezTo>
                    <a:pt x="38" y="130"/>
                    <a:pt x="39" y="130"/>
                    <a:pt x="39" y="130"/>
                  </a:cubicBezTo>
                  <a:cubicBezTo>
                    <a:pt x="40" y="131"/>
                    <a:pt x="41" y="132"/>
                    <a:pt x="41" y="133"/>
                  </a:cubicBezTo>
                  <a:cubicBezTo>
                    <a:pt x="42" y="134"/>
                    <a:pt x="42" y="134"/>
                    <a:pt x="43" y="135"/>
                  </a:cubicBezTo>
                  <a:cubicBezTo>
                    <a:pt x="43" y="135"/>
                    <a:pt x="43" y="136"/>
                    <a:pt x="43" y="136"/>
                  </a:cubicBezTo>
                  <a:cubicBezTo>
                    <a:pt x="43" y="136"/>
                    <a:pt x="44" y="136"/>
                    <a:pt x="45" y="136"/>
                  </a:cubicBezTo>
                  <a:cubicBezTo>
                    <a:pt x="46" y="136"/>
                    <a:pt x="47" y="136"/>
                    <a:pt x="48" y="136"/>
                  </a:cubicBezTo>
                  <a:cubicBezTo>
                    <a:pt x="49" y="136"/>
                    <a:pt x="50" y="136"/>
                    <a:pt x="52" y="136"/>
                  </a:cubicBezTo>
                  <a:cubicBezTo>
                    <a:pt x="51" y="136"/>
                    <a:pt x="48" y="137"/>
                    <a:pt x="48" y="137"/>
                  </a:cubicBezTo>
                  <a:cubicBezTo>
                    <a:pt x="48" y="138"/>
                    <a:pt x="49" y="138"/>
                    <a:pt x="49" y="138"/>
                  </a:cubicBezTo>
                  <a:cubicBezTo>
                    <a:pt x="49" y="138"/>
                    <a:pt x="48" y="139"/>
                    <a:pt x="48" y="139"/>
                  </a:cubicBezTo>
                  <a:cubicBezTo>
                    <a:pt x="49" y="140"/>
                    <a:pt x="50" y="140"/>
                    <a:pt x="51" y="141"/>
                  </a:cubicBezTo>
                  <a:cubicBezTo>
                    <a:pt x="50" y="140"/>
                    <a:pt x="48" y="139"/>
                    <a:pt x="47" y="140"/>
                  </a:cubicBezTo>
                  <a:cubicBezTo>
                    <a:pt x="46" y="140"/>
                    <a:pt x="45" y="141"/>
                    <a:pt x="46" y="141"/>
                  </a:cubicBezTo>
                  <a:cubicBezTo>
                    <a:pt x="45" y="142"/>
                    <a:pt x="44" y="141"/>
                    <a:pt x="43" y="141"/>
                  </a:cubicBezTo>
                  <a:cubicBezTo>
                    <a:pt x="41" y="141"/>
                    <a:pt x="41" y="141"/>
                    <a:pt x="39" y="141"/>
                  </a:cubicBezTo>
                  <a:cubicBezTo>
                    <a:pt x="38" y="141"/>
                    <a:pt x="37" y="141"/>
                    <a:pt x="36" y="141"/>
                  </a:cubicBezTo>
                  <a:cubicBezTo>
                    <a:pt x="35" y="141"/>
                    <a:pt x="35" y="142"/>
                    <a:pt x="34" y="143"/>
                  </a:cubicBezTo>
                  <a:cubicBezTo>
                    <a:pt x="33" y="143"/>
                    <a:pt x="32" y="144"/>
                    <a:pt x="31" y="144"/>
                  </a:cubicBezTo>
                  <a:cubicBezTo>
                    <a:pt x="30" y="144"/>
                    <a:pt x="30" y="145"/>
                    <a:pt x="28" y="145"/>
                  </a:cubicBezTo>
                  <a:cubicBezTo>
                    <a:pt x="27" y="146"/>
                    <a:pt x="26" y="146"/>
                    <a:pt x="25" y="146"/>
                  </a:cubicBezTo>
                  <a:cubicBezTo>
                    <a:pt x="24" y="147"/>
                    <a:pt x="25" y="148"/>
                    <a:pt x="25" y="150"/>
                  </a:cubicBezTo>
                  <a:cubicBezTo>
                    <a:pt x="25" y="151"/>
                    <a:pt x="25" y="151"/>
                    <a:pt x="24" y="151"/>
                  </a:cubicBezTo>
                  <a:cubicBezTo>
                    <a:pt x="24" y="152"/>
                    <a:pt x="24" y="152"/>
                    <a:pt x="23" y="153"/>
                  </a:cubicBezTo>
                  <a:cubicBezTo>
                    <a:pt x="24" y="154"/>
                    <a:pt x="27" y="156"/>
                    <a:pt x="29" y="156"/>
                  </a:cubicBezTo>
                  <a:cubicBezTo>
                    <a:pt x="32" y="156"/>
                    <a:pt x="32" y="154"/>
                    <a:pt x="33" y="152"/>
                  </a:cubicBezTo>
                  <a:cubicBezTo>
                    <a:pt x="33" y="153"/>
                    <a:pt x="33" y="153"/>
                    <a:pt x="33" y="154"/>
                  </a:cubicBezTo>
                  <a:cubicBezTo>
                    <a:pt x="34" y="155"/>
                    <a:pt x="33" y="154"/>
                    <a:pt x="33" y="155"/>
                  </a:cubicBezTo>
                  <a:cubicBezTo>
                    <a:pt x="33" y="155"/>
                    <a:pt x="33" y="156"/>
                    <a:pt x="33" y="156"/>
                  </a:cubicBezTo>
                  <a:cubicBezTo>
                    <a:pt x="34" y="156"/>
                    <a:pt x="35" y="154"/>
                    <a:pt x="35" y="153"/>
                  </a:cubicBezTo>
                  <a:cubicBezTo>
                    <a:pt x="35" y="152"/>
                    <a:pt x="34" y="152"/>
                    <a:pt x="33" y="152"/>
                  </a:cubicBezTo>
                  <a:cubicBezTo>
                    <a:pt x="35" y="151"/>
                    <a:pt x="33" y="151"/>
                    <a:pt x="33" y="150"/>
                  </a:cubicBezTo>
                  <a:cubicBezTo>
                    <a:pt x="33" y="149"/>
                    <a:pt x="34" y="148"/>
                    <a:pt x="35" y="148"/>
                  </a:cubicBezTo>
                  <a:cubicBezTo>
                    <a:pt x="35" y="148"/>
                    <a:pt x="35" y="149"/>
                    <a:pt x="35" y="149"/>
                  </a:cubicBezTo>
                  <a:cubicBezTo>
                    <a:pt x="35" y="150"/>
                    <a:pt x="35" y="150"/>
                    <a:pt x="35" y="150"/>
                  </a:cubicBezTo>
                  <a:cubicBezTo>
                    <a:pt x="35" y="151"/>
                    <a:pt x="35" y="151"/>
                    <a:pt x="35" y="151"/>
                  </a:cubicBezTo>
                  <a:cubicBezTo>
                    <a:pt x="35" y="151"/>
                    <a:pt x="35" y="152"/>
                    <a:pt x="35" y="152"/>
                  </a:cubicBezTo>
                  <a:cubicBezTo>
                    <a:pt x="35" y="153"/>
                    <a:pt x="37" y="155"/>
                    <a:pt x="36" y="155"/>
                  </a:cubicBezTo>
                  <a:cubicBezTo>
                    <a:pt x="37" y="156"/>
                    <a:pt x="35" y="156"/>
                    <a:pt x="37" y="157"/>
                  </a:cubicBezTo>
                  <a:cubicBezTo>
                    <a:pt x="38" y="157"/>
                    <a:pt x="39" y="157"/>
                    <a:pt x="40" y="157"/>
                  </a:cubicBezTo>
                  <a:cubicBezTo>
                    <a:pt x="42" y="157"/>
                    <a:pt x="43" y="158"/>
                    <a:pt x="44" y="157"/>
                  </a:cubicBezTo>
                  <a:cubicBezTo>
                    <a:pt x="44" y="157"/>
                    <a:pt x="45" y="155"/>
                    <a:pt x="45" y="154"/>
                  </a:cubicBezTo>
                  <a:cubicBezTo>
                    <a:pt x="45" y="154"/>
                    <a:pt x="44" y="154"/>
                    <a:pt x="44" y="154"/>
                  </a:cubicBezTo>
                  <a:cubicBezTo>
                    <a:pt x="44" y="153"/>
                    <a:pt x="45" y="153"/>
                    <a:pt x="44" y="152"/>
                  </a:cubicBezTo>
                  <a:cubicBezTo>
                    <a:pt x="45" y="152"/>
                    <a:pt x="46" y="153"/>
                    <a:pt x="46" y="154"/>
                  </a:cubicBezTo>
                  <a:cubicBezTo>
                    <a:pt x="46" y="154"/>
                    <a:pt x="46" y="155"/>
                    <a:pt x="46" y="155"/>
                  </a:cubicBezTo>
                  <a:cubicBezTo>
                    <a:pt x="47" y="155"/>
                    <a:pt x="48" y="155"/>
                    <a:pt x="49" y="155"/>
                  </a:cubicBezTo>
                  <a:cubicBezTo>
                    <a:pt x="49" y="156"/>
                    <a:pt x="49" y="156"/>
                    <a:pt x="49" y="156"/>
                  </a:cubicBezTo>
                  <a:cubicBezTo>
                    <a:pt x="49" y="157"/>
                    <a:pt x="49" y="157"/>
                    <a:pt x="50" y="157"/>
                  </a:cubicBezTo>
                  <a:cubicBezTo>
                    <a:pt x="50" y="157"/>
                    <a:pt x="51" y="157"/>
                    <a:pt x="52" y="157"/>
                  </a:cubicBezTo>
                  <a:cubicBezTo>
                    <a:pt x="54" y="158"/>
                    <a:pt x="53" y="156"/>
                    <a:pt x="54" y="155"/>
                  </a:cubicBezTo>
                  <a:cubicBezTo>
                    <a:pt x="54" y="155"/>
                    <a:pt x="56" y="154"/>
                    <a:pt x="56" y="154"/>
                  </a:cubicBezTo>
                  <a:cubicBezTo>
                    <a:pt x="57" y="154"/>
                    <a:pt x="57" y="154"/>
                    <a:pt x="56" y="153"/>
                  </a:cubicBezTo>
                  <a:cubicBezTo>
                    <a:pt x="56" y="153"/>
                    <a:pt x="55" y="152"/>
                    <a:pt x="54" y="152"/>
                  </a:cubicBezTo>
                  <a:cubicBezTo>
                    <a:pt x="56" y="152"/>
                    <a:pt x="57" y="153"/>
                    <a:pt x="58" y="154"/>
                  </a:cubicBezTo>
                  <a:cubicBezTo>
                    <a:pt x="58" y="154"/>
                    <a:pt x="57" y="154"/>
                    <a:pt x="56" y="155"/>
                  </a:cubicBezTo>
                  <a:cubicBezTo>
                    <a:pt x="56" y="155"/>
                    <a:pt x="56" y="157"/>
                    <a:pt x="57" y="157"/>
                  </a:cubicBezTo>
                  <a:cubicBezTo>
                    <a:pt x="59" y="157"/>
                    <a:pt x="62" y="157"/>
                    <a:pt x="64" y="158"/>
                  </a:cubicBezTo>
                  <a:cubicBezTo>
                    <a:pt x="66" y="158"/>
                    <a:pt x="67" y="159"/>
                    <a:pt x="69" y="159"/>
                  </a:cubicBezTo>
                  <a:cubicBezTo>
                    <a:pt x="70" y="159"/>
                    <a:pt x="71" y="159"/>
                    <a:pt x="71" y="158"/>
                  </a:cubicBezTo>
                  <a:cubicBezTo>
                    <a:pt x="71" y="158"/>
                    <a:pt x="71" y="159"/>
                    <a:pt x="71" y="159"/>
                  </a:cubicBezTo>
                  <a:cubicBezTo>
                    <a:pt x="72" y="159"/>
                    <a:pt x="74" y="159"/>
                    <a:pt x="75" y="158"/>
                  </a:cubicBezTo>
                  <a:cubicBezTo>
                    <a:pt x="75" y="156"/>
                    <a:pt x="72" y="157"/>
                    <a:pt x="71" y="155"/>
                  </a:cubicBezTo>
                  <a:cubicBezTo>
                    <a:pt x="71" y="156"/>
                    <a:pt x="71" y="156"/>
                    <a:pt x="71" y="156"/>
                  </a:cubicBezTo>
                  <a:cubicBezTo>
                    <a:pt x="71" y="156"/>
                    <a:pt x="71" y="156"/>
                    <a:pt x="71" y="155"/>
                  </a:cubicBezTo>
                  <a:cubicBezTo>
                    <a:pt x="70" y="154"/>
                    <a:pt x="70" y="154"/>
                    <a:pt x="70" y="153"/>
                  </a:cubicBezTo>
                  <a:cubicBezTo>
                    <a:pt x="70" y="153"/>
                    <a:pt x="71" y="153"/>
                    <a:pt x="71" y="153"/>
                  </a:cubicBezTo>
                  <a:cubicBezTo>
                    <a:pt x="71" y="153"/>
                    <a:pt x="71" y="152"/>
                    <a:pt x="71" y="152"/>
                  </a:cubicBezTo>
                  <a:cubicBezTo>
                    <a:pt x="71" y="153"/>
                    <a:pt x="72" y="154"/>
                    <a:pt x="72" y="154"/>
                  </a:cubicBezTo>
                  <a:cubicBezTo>
                    <a:pt x="73" y="155"/>
                    <a:pt x="75" y="156"/>
                    <a:pt x="76" y="155"/>
                  </a:cubicBezTo>
                  <a:cubicBezTo>
                    <a:pt x="76" y="155"/>
                    <a:pt x="79" y="153"/>
                    <a:pt x="79" y="152"/>
                  </a:cubicBezTo>
                  <a:cubicBezTo>
                    <a:pt x="79" y="152"/>
                    <a:pt x="78" y="151"/>
                    <a:pt x="78" y="151"/>
                  </a:cubicBezTo>
                  <a:cubicBezTo>
                    <a:pt x="80" y="153"/>
                    <a:pt x="82" y="155"/>
                    <a:pt x="85" y="156"/>
                  </a:cubicBezTo>
                  <a:cubicBezTo>
                    <a:pt x="86" y="156"/>
                    <a:pt x="88" y="157"/>
                    <a:pt x="88" y="155"/>
                  </a:cubicBezTo>
                  <a:cubicBezTo>
                    <a:pt x="88" y="153"/>
                    <a:pt x="88" y="152"/>
                    <a:pt x="87" y="151"/>
                  </a:cubicBezTo>
                  <a:cubicBezTo>
                    <a:pt x="87" y="151"/>
                    <a:pt x="86" y="151"/>
                    <a:pt x="86" y="150"/>
                  </a:cubicBezTo>
                  <a:cubicBezTo>
                    <a:pt x="87" y="150"/>
                    <a:pt x="89" y="152"/>
                    <a:pt x="89" y="152"/>
                  </a:cubicBezTo>
                  <a:cubicBezTo>
                    <a:pt x="89" y="152"/>
                    <a:pt x="90" y="151"/>
                    <a:pt x="90" y="151"/>
                  </a:cubicBezTo>
                  <a:cubicBezTo>
                    <a:pt x="89" y="152"/>
                    <a:pt x="89" y="152"/>
                    <a:pt x="90" y="153"/>
                  </a:cubicBezTo>
                  <a:cubicBezTo>
                    <a:pt x="90" y="154"/>
                    <a:pt x="90" y="155"/>
                    <a:pt x="90" y="155"/>
                  </a:cubicBezTo>
                  <a:cubicBezTo>
                    <a:pt x="91" y="156"/>
                    <a:pt x="92" y="156"/>
                    <a:pt x="92" y="156"/>
                  </a:cubicBezTo>
                  <a:cubicBezTo>
                    <a:pt x="93" y="156"/>
                    <a:pt x="93" y="157"/>
                    <a:pt x="94" y="157"/>
                  </a:cubicBezTo>
                  <a:cubicBezTo>
                    <a:pt x="95" y="157"/>
                    <a:pt x="96" y="156"/>
                    <a:pt x="97" y="156"/>
                  </a:cubicBezTo>
                  <a:cubicBezTo>
                    <a:pt x="98" y="156"/>
                    <a:pt x="99" y="157"/>
                    <a:pt x="99" y="156"/>
                  </a:cubicBezTo>
                  <a:cubicBezTo>
                    <a:pt x="100" y="155"/>
                    <a:pt x="100" y="153"/>
                    <a:pt x="99" y="152"/>
                  </a:cubicBezTo>
                  <a:cubicBezTo>
                    <a:pt x="98" y="151"/>
                    <a:pt x="95" y="148"/>
                    <a:pt x="94" y="148"/>
                  </a:cubicBezTo>
                  <a:cubicBezTo>
                    <a:pt x="94" y="148"/>
                    <a:pt x="94" y="148"/>
                    <a:pt x="94" y="148"/>
                  </a:cubicBezTo>
                  <a:cubicBezTo>
                    <a:pt x="95" y="147"/>
                    <a:pt x="97" y="149"/>
                    <a:pt x="98" y="149"/>
                  </a:cubicBezTo>
                  <a:cubicBezTo>
                    <a:pt x="100" y="150"/>
                    <a:pt x="101" y="151"/>
                    <a:pt x="103" y="151"/>
                  </a:cubicBezTo>
                  <a:cubicBezTo>
                    <a:pt x="103" y="151"/>
                    <a:pt x="101" y="151"/>
                    <a:pt x="101" y="152"/>
                  </a:cubicBezTo>
                  <a:cubicBezTo>
                    <a:pt x="101" y="152"/>
                    <a:pt x="101" y="153"/>
                    <a:pt x="101" y="154"/>
                  </a:cubicBezTo>
                  <a:cubicBezTo>
                    <a:pt x="102" y="154"/>
                    <a:pt x="105" y="155"/>
                    <a:pt x="107" y="155"/>
                  </a:cubicBezTo>
                  <a:cubicBezTo>
                    <a:pt x="108" y="155"/>
                    <a:pt x="109" y="153"/>
                    <a:pt x="109" y="153"/>
                  </a:cubicBezTo>
                  <a:cubicBezTo>
                    <a:pt x="110" y="153"/>
                    <a:pt x="113" y="155"/>
                    <a:pt x="113" y="156"/>
                  </a:cubicBezTo>
                  <a:cubicBezTo>
                    <a:pt x="113" y="156"/>
                    <a:pt x="113" y="156"/>
                    <a:pt x="114" y="156"/>
                  </a:cubicBezTo>
                  <a:cubicBezTo>
                    <a:pt x="114" y="156"/>
                    <a:pt x="113" y="157"/>
                    <a:pt x="113" y="157"/>
                  </a:cubicBezTo>
                  <a:cubicBezTo>
                    <a:pt x="112" y="159"/>
                    <a:pt x="112" y="161"/>
                    <a:pt x="111" y="162"/>
                  </a:cubicBezTo>
                  <a:cubicBezTo>
                    <a:pt x="114" y="162"/>
                    <a:pt x="117" y="161"/>
                    <a:pt x="120" y="160"/>
                  </a:cubicBezTo>
                  <a:cubicBezTo>
                    <a:pt x="122" y="160"/>
                    <a:pt x="124" y="159"/>
                    <a:pt x="126" y="159"/>
                  </a:cubicBezTo>
                  <a:cubicBezTo>
                    <a:pt x="127" y="159"/>
                    <a:pt x="128" y="159"/>
                    <a:pt x="129" y="158"/>
                  </a:cubicBezTo>
                  <a:cubicBezTo>
                    <a:pt x="131" y="157"/>
                    <a:pt x="132" y="155"/>
                    <a:pt x="134" y="153"/>
                  </a:cubicBezTo>
                  <a:cubicBezTo>
                    <a:pt x="135" y="152"/>
                    <a:pt x="136" y="156"/>
                    <a:pt x="137" y="155"/>
                  </a:cubicBezTo>
                  <a:cubicBezTo>
                    <a:pt x="139" y="154"/>
                    <a:pt x="144" y="153"/>
                    <a:pt x="144" y="150"/>
                  </a:cubicBezTo>
                  <a:cubicBezTo>
                    <a:pt x="144" y="149"/>
                    <a:pt x="144" y="149"/>
                    <a:pt x="145" y="148"/>
                  </a:cubicBezTo>
                  <a:cubicBezTo>
                    <a:pt x="145" y="147"/>
                    <a:pt x="144" y="147"/>
                    <a:pt x="144" y="147"/>
                  </a:cubicBezTo>
                  <a:cubicBezTo>
                    <a:pt x="143" y="146"/>
                    <a:pt x="143" y="145"/>
                    <a:pt x="143" y="144"/>
                  </a:cubicBezTo>
                  <a:cubicBezTo>
                    <a:pt x="142" y="143"/>
                    <a:pt x="141" y="143"/>
                    <a:pt x="140" y="143"/>
                  </a:cubicBezTo>
                  <a:cubicBezTo>
                    <a:pt x="138" y="143"/>
                    <a:pt x="134" y="148"/>
                    <a:pt x="133" y="147"/>
                  </a:cubicBezTo>
                  <a:cubicBezTo>
                    <a:pt x="132" y="146"/>
                    <a:pt x="134" y="145"/>
                    <a:pt x="132" y="145"/>
                  </a:cubicBezTo>
                  <a:cubicBezTo>
                    <a:pt x="131" y="145"/>
                    <a:pt x="130" y="145"/>
                    <a:pt x="129" y="145"/>
                  </a:cubicBezTo>
                  <a:cubicBezTo>
                    <a:pt x="126" y="146"/>
                    <a:pt x="130" y="142"/>
                    <a:pt x="131" y="141"/>
                  </a:cubicBezTo>
                  <a:cubicBezTo>
                    <a:pt x="131" y="140"/>
                    <a:pt x="130" y="139"/>
                    <a:pt x="129" y="139"/>
                  </a:cubicBezTo>
                  <a:cubicBezTo>
                    <a:pt x="127" y="138"/>
                    <a:pt x="125" y="138"/>
                    <a:pt x="123" y="139"/>
                  </a:cubicBezTo>
                  <a:cubicBezTo>
                    <a:pt x="121" y="140"/>
                    <a:pt x="119" y="142"/>
                    <a:pt x="118" y="142"/>
                  </a:cubicBezTo>
                  <a:cubicBezTo>
                    <a:pt x="118" y="141"/>
                    <a:pt x="119" y="140"/>
                    <a:pt x="119" y="139"/>
                  </a:cubicBezTo>
                  <a:cubicBezTo>
                    <a:pt x="119" y="139"/>
                    <a:pt x="118" y="139"/>
                    <a:pt x="118" y="139"/>
                  </a:cubicBezTo>
                  <a:cubicBezTo>
                    <a:pt x="117" y="139"/>
                    <a:pt x="116" y="138"/>
                    <a:pt x="115" y="138"/>
                  </a:cubicBezTo>
                  <a:cubicBezTo>
                    <a:pt x="114" y="138"/>
                    <a:pt x="113" y="138"/>
                    <a:pt x="112" y="138"/>
                  </a:cubicBezTo>
                  <a:cubicBezTo>
                    <a:pt x="111" y="138"/>
                    <a:pt x="110" y="138"/>
                    <a:pt x="109" y="138"/>
                  </a:cubicBezTo>
                  <a:cubicBezTo>
                    <a:pt x="108" y="138"/>
                    <a:pt x="107" y="139"/>
                    <a:pt x="106" y="139"/>
                  </a:cubicBezTo>
                  <a:cubicBezTo>
                    <a:pt x="106" y="139"/>
                    <a:pt x="104" y="140"/>
                    <a:pt x="104" y="140"/>
                  </a:cubicBezTo>
                  <a:cubicBezTo>
                    <a:pt x="102" y="140"/>
                    <a:pt x="103" y="139"/>
                    <a:pt x="102" y="138"/>
                  </a:cubicBezTo>
                  <a:cubicBezTo>
                    <a:pt x="102" y="138"/>
                    <a:pt x="100" y="138"/>
                    <a:pt x="100" y="137"/>
                  </a:cubicBezTo>
                  <a:cubicBezTo>
                    <a:pt x="103" y="137"/>
                    <a:pt x="106" y="137"/>
                    <a:pt x="109" y="137"/>
                  </a:cubicBezTo>
                  <a:cubicBezTo>
                    <a:pt x="109" y="136"/>
                    <a:pt x="107" y="136"/>
                    <a:pt x="106" y="135"/>
                  </a:cubicBezTo>
                  <a:cubicBezTo>
                    <a:pt x="105" y="135"/>
                    <a:pt x="105" y="135"/>
                    <a:pt x="104" y="134"/>
                  </a:cubicBezTo>
                  <a:cubicBezTo>
                    <a:pt x="104" y="134"/>
                    <a:pt x="104" y="134"/>
                    <a:pt x="105" y="133"/>
                  </a:cubicBezTo>
                  <a:cubicBezTo>
                    <a:pt x="105" y="132"/>
                    <a:pt x="104" y="132"/>
                    <a:pt x="104" y="131"/>
                  </a:cubicBezTo>
                  <a:cubicBezTo>
                    <a:pt x="103" y="130"/>
                    <a:pt x="102" y="130"/>
                    <a:pt x="102" y="129"/>
                  </a:cubicBezTo>
                  <a:cubicBezTo>
                    <a:pt x="103" y="129"/>
                    <a:pt x="106" y="131"/>
                    <a:pt x="105" y="131"/>
                  </a:cubicBezTo>
                  <a:cubicBezTo>
                    <a:pt x="105" y="132"/>
                    <a:pt x="105" y="132"/>
                    <a:pt x="106" y="132"/>
                  </a:cubicBezTo>
                  <a:cubicBezTo>
                    <a:pt x="106" y="132"/>
                    <a:pt x="106" y="133"/>
                    <a:pt x="107" y="133"/>
                  </a:cubicBezTo>
                  <a:cubicBezTo>
                    <a:pt x="107" y="133"/>
                    <a:pt x="108" y="134"/>
                    <a:pt x="109" y="134"/>
                  </a:cubicBezTo>
                  <a:cubicBezTo>
                    <a:pt x="109" y="135"/>
                    <a:pt x="110" y="135"/>
                    <a:pt x="110" y="135"/>
                  </a:cubicBezTo>
                  <a:cubicBezTo>
                    <a:pt x="111" y="135"/>
                    <a:pt x="111" y="135"/>
                    <a:pt x="112" y="135"/>
                  </a:cubicBezTo>
                  <a:cubicBezTo>
                    <a:pt x="112" y="136"/>
                    <a:pt x="113" y="136"/>
                    <a:pt x="114" y="136"/>
                  </a:cubicBezTo>
                  <a:cubicBezTo>
                    <a:pt x="116" y="137"/>
                    <a:pt x="118" y="137"/>
                    <a:pt x="120" y="138"/>
                  </a:cubicBezTo>
                  <a:cubicBezTo>
                    <a:pt x="122" y="138"/>
                    <a:pt x="123" y="137"/>
                    <a:pt x="125" y="137"/>
                  </a:cubicBezTo>
                  <a:cubicBezTo>
                    <a:pt x="126" y="137"/>
                    <a:pt x="127" y="137"/>
                    <a:pt x="129" y="137"/>
                  </a:cubicBezTo>
                  <a:cubicBezTo>
                    <a:pt x="130" y="138"/>
                    <a:pt x="132" y="137"/>
                    <a:pt x="134" y="137"/>
                  </a:cubicBezTo>
                  <a:cubicBezTo>
                    <a:pt x="134" y="137"/>
                    <a:pt x="134" y="137"/>
                    <a:pt x="134" y="137"/>
                  </a:cubicBezTo>
                  <a:cubicBezTo>
                    <a:pt x="135" y="137"/>
                    <a:pt x="137" y="135"/>
                    <a:pt x="138" y="134"/>
                  </a:cubicBezTo>
                  <a:cubicBezTo>
                    <a:pt x="139" y="133"/>
                    <a:pt x="141" y="131"/>
                    <a:pt x="143" y="129"/>
                  </a:cubicBezTo>
                  <a:cubicBezTo>
                    <a:pt x="142" y="129"/>
                    <a:pt x="142" y="129"/>
                    <a:pt x="141" y="129"/>
                  </a:cubicBezTo>
                  <a:cubicBezTo>
                    <a:pt x="142" y="128"/>
                    <a:pt x="142" y="128"/>
                    <a:pt x="142" y="128"/>
                  </a:cubicBezTo>
                  <a:cubicBezTo>
                    <a:pt x="142" y="127"/>
                    <a:pt x="143" y="127"/>
                    <a:pt x="142" y="126"/>
                  </a:cubicBezTo>
                  <a:cubicBezTo>
                    <a:pt x="142" y="126"/>
                    <a:pt x="140" y="125"/>
                    <a:pt x="140" y="125"/>
                  </a:cubicBezTo>
                  <a:cubicBezTo>
                    <a:pt x="139" y="125"/>
                    <a:pt x="139" y="124"/>
                    <a:pt x="138" y="124"/>
                  </a:cubicBezTo>
                  <a:cubicBezTo>
                    <a:pt x="137" y="124"/>
                    <a:pt x="139" y="123"/>
                    <a:pt x="139" y="123"/>
                  </a:cubicBezTo>
                  <a:cubicBezTo>
                    <a:pt x="140" y="122"/>
                    <a:pt x="140" y="122"/>
                    <a:pt x="141" y="122"/>
                  </a:cubicBezTo>
                  <a:cubicBezTo>
                    <a:pt x="142" y="123"/>
                    <a:pt x="143" y="123"/>
                    <a:pt x="144" y="123"/>
                  </a:cubicBezTo>
                  <a:cubicBezTo>
                    <a:pt x="146" y="123"/>
                    <a:pt x="147" y="123"/>
                    <a:pt x="148" y="123"/>
                  </a:cubicBezTo>
                  <a:cubicBezTo>
                    <a:pt x="150" y="123"/>
                    <a:pt x="150" y="123"/>
                    <a:pt x="152" y="124"/>
                  </a:cubicBezTo>
                  <a:cubicBezTo>
                    <a:pt x="155" y="125"/>
                    <a:pt x="159" y="122"/>
                    <a:pt x="162" y="122"/>
                  </a:cubicBezTo>
                  <a:cubicBezTo>
                    <a:pt x="163" y="122"/>
                    <a:pt x="163" y="122"/>
                    <a:pt x="163" y="123"/>
                  </a:cubicBezTo>
                  <a:cubicBezTo>
                    <a:pt x="164" y="121"/>
                    <a:pt x="165" y="119"/>
                    <a:pt x="162" y="119"/>
                  </a:cubicBezTo>
                  <a:cubicBezTo>
                    <a:pt x="161" y="119"/>
                    <a:pt x="160" y="119"/>
                    <a:pt x="159" y="118"/>
                  </a:cubicBezTo>
                  <a:cubicBezTo>
                    <a:pt x="158" y="118"/>
                    <a:pt x="157" y="118"/>
                    <a:pt x="156" y="118"/>
                  </a:cubicBezTo>
                  <a:cubicBezTo>
                    <a:pt x="155" y="118"/>
                    <a:pt x="152" y="117"/>
                    <a:pt x="154" y="117"/>
                  </a:cubicBezTo>
                  <a:cubicBezTo>
                    <a:pt x="157" y="117"/>
                    <a:pt x="160" y="116"/>
                    <a:pt x="162" y="117"/>
                  </a:cubicBezTo>
                  <a:cubicBezTo>
                    <a:pt x="163" y="117"/>
                    <a:pt x="164" y="117"/>
                    <a:pt x="165" y="117"/>
                  </a:cubicBezTo>
                  <a:cubicBezTo>
                    <a:pt x="166" y="117"/>
                    <a:pt x="167" y="117"/>
                    <a:pt x="167" y="116"/>
                  </a:cubicBezTo>
                  <a:cubicBezTo>
                    <a:pt x="168" y="115"/>
                    <a:pt x="169" y="113"/>
                    <a:pt x="169" y="112"/>
                  </a:cubicBezTo>
                  <a:cubicBezTo>
                    <a:pt x="168" y="112"/>
                    <a:pt x="166" y="112"/>
                    <a:pt x="165" y="112"/>
                  </a:cubicBezTo>
                  <a:cubicBezTo>
                    <a:pt x="164" y="112"/>
                    <a:pt x="164" y="112"/>
                    <a:pt x="163" y="112"/>
                  </a:cubicBezTo>
                  <a:cubicBezTo>
                    <a:pt x="162" y="112"/>
                    <a:pt x="162" y="111"/>
                    <a:pt x="161" y="111"/>
                  </a:cubicBezTo>
                  <a:cubicBezTo>
                    <a:pt x="160" y="110"/>
                    <a:pt x="158" y="111"/>
                    <a:pt x="156" y="111"/>
                  </a:cubicBezTo>
                  <a:cubicBezTo>
                    <a:pt x="155" y="111"/>
                    <a:pt x="156" y="110"/>
                    <a:pt x="157" y="110"/>
                  </a:cubicBezTo>
                  <a:cubicBezTo>
                    <a:pt x="159" y="110"/>
                    <a:pt x="162" y="110"/>
                    <a:pt x="164" y="110"/>
                  </a:cubicBezTo>
                  <a:cubicBezTo>
                    <a:pt x="168" y="109"/>
                    <a:pt x="172" y="109"/>
                    <a:pt x="177" y="109"/>
                  </a:cubicBezTo>
                  <a:cubicBezTo>
                    <a:pt x="176" y="108"/>
                    <a:pt x="175" y="108"/>
                    <a:pt x="174" y="107"/>
                  </a:cubicBezTo>
                  <a:cubicBezTo>
                    <a:pt x="174" y="107"/>
                    <a:pt x="175" y="106"/>
                    <a:pt x="175" y="106"/>
                  </a:cubicBezTo>
                  <a:cubicBezTo>
                    <a:pt x="175" y="105"/>
                    <a:pt x="175" y="105"/>
                    <a:pt x="175" y="104"/>
                  </a:cubicBezTo>
                  <a:cubicBezTo>
                    <a:pt x="175" y="104"/>
                    <a:pt x="173" y="105"/>
                    <a:pt x="174" y="103"/>
                  </a:cubicBezTo>
                  <a:cubicBezTo>
                    <a:pt x="174" y="103"/>
                    <a:pt x="172" y="103"/>
                    <a:pt x="171" y="102"/>
                  </a:cubicBezTo>
                  <a:cubicBezTo>
                    <a:pt x="169" y="102"/>
                    <a:pt x="168" y="102"/>
                    <a:pt x="166" y="102"/>
                  </a:cubicBezTo>
                  <a:cubicBezTo>
                    <a:pt x="165" y="102"/>
                    <a:pt x="163" y="102"/>
                    <a:pt x="162" y="102"/>
                  </a:cubicBezTo>
                  <a:cubicBezTo>
                    <a:pt x="161" y="102"/>
                    <a:pt x="161" y="102"/>
                    <a:pt x="160" y="102"/>
                  </a:cubicBezTo>
                  <a:cubicBezTo>
                    <a:pt x="159" y="103"/>
                    <a:pt x="159" y="103"/>
                    <a:pt x="158" y="103"/>
                  </a:cubicBezTo>
                  <a:cubicBezTo>
                    <a:pt x="159" y="102"/>
                    <a:pt x="161" y="101"/>
                    <a:pt x="162" y="99"/>
                  </a:cubicBezTo>
                  <a:cubicBezTo>
                    <a:pt x="158" y="99"/>
                    <a:pt x="155" y="99"/>
                    <a:pt x="152" y="99"/>
                  </a:cubicBezTo>
                  <a:cubicBezTo>
                    <a:pt x="150" y="100"/>
                    <a:pt x="148" y="100"/>
                    <a:pt x="146" y="100"/>
                  </a:cubicBezTo>
                  <a:cubicBezTo>
                    <a:pt x="144" y="100"/>
                    <a:pt x="142" y="103"/>
                    <a:pt x="139" y="104"/>
                  </a:cubicBezTo>
                  <a:cubicBezTo>
                    <a:pt x="140" y="103"/>
                    <a:pt x="141" y="102"/>
                    <a:pt x="142" y="101"/>
                  </a:cubicBezTo>
                  <a:cubicBezTo>
                    <a:pt x="142" y="101"/>
                    <a:pt x="145" y="99"/>
                    <a:pt x="144" y="99"/>
                  </a:cubicBezTo>
                  <a:cubicBezTo>
                    <a:pt x="144" y="98"/>
                    <a:pt x="143" y="98"/>
                    <a:pt x="142" y="98"/>
                  </a:cubicBezTo>
                  <a:cubicBezTo>
                    <a:pt x="141" y="98"/>
                    <a:pt x="140" y="98"/>
                    <a:pt x="138" y="98"/>
                  </a:cubicBezTo>
                  <a:cubicBezTo>
                    <a:pt x="137" y="98"/>
                    <a:pt x="135" y="98"/>
                    <a:pt x="133" y="98"/>
                  </a:cubicBezTo>
                  <a:cubicBezTo>
                    <a:pt x="136" y="98"/>
                    <a:pt x="139" y="98"/>
                    <a:pt x="142" y="98"/>
                  </a:cubicBezTo>
                  <a:cubicBezTo>
                    <a:pt x="144" y="98"/>
                    <a:pt x="145" y="99"/>
                    <a:pt x="147" y="99"/>
                  </a:cubicBezTo>
                  <a:cubicBezTo>
                    <a:pt x="149" y="99"/>
                    <a:pt x="150" y="98"/>
                    <a:pt x="152" y="98"/>
                  </a:cubicBezTo>
                  <a:cubicBezTo>
                    <a:pt x="153" y="98"/>
                    <a:pt x="154" y="98"/>
                    <a:pt x="155" y="98"/>
                  </a:cubicBezTo>
                  <a:cubicBezTo>
                    <a:pt x="156" y="97"/>
                    <a:pt x="159" y="98"/>
                    <a:pt x="161" y="98"/>
                  </a:cubicBezTo>
                  <a:cubicBezTo>
                    <a:pt x="158" y="95"/>
                    <a:pt x="155" y="97"/>
                    <a:pt x="152" y="96"/>
                  </a:cubicBezTo>
                  <a:cubicBezTo>
                    <a:pt x="150" y="95"/>
                    <a:pt x="147" y="96"/>
                    <a:pt x="145" y="96"/>
                  </a:cubicBezTo>
                  <a:cubicBezTo>
                    <a:pt x="143" y="95"/>
                    <a:pt x="142" y="96"/>
                    <a:pt x="141" y="96"/>
                  </a:cubicBezTo>
                  <a:cubicBezTo>
                    <a:pt x="140" y="96"/>
                    <a:pt x="139" y="96"/>
                    <a:pt x="140" y="95"/>
                  </a:cubicBezTo>
                  <a:cubicBezTo>
                    <a:pt x="141" y="95"/>
                    <a:pt x="143" y="95"/>
                    <a:pt x="145" y="95"/>
                  </a:cubicBezTo>
                  <a:cubicBezTo>
                    <a:pt x="147" y="95"/>
                    <a:pt x="148" y="95"/>
                    <a:pt x="150" y="95"/>
                  </a:cubicBezTo>
                  <a:cubicBezTo>
                    <a:pt x="152" y="95"/>
                    <a:pt x="153" y="95"/>
                    <a:pt x="154" y="95"/>
                  </a:cubicBezTo>
                  <a:cubicBezTo>
                    <a:pt x="156" y="95"/>
                    <a:pt x="158" y="95"/>
                    <a:pt x="160" y="95"/>
                  </a:cubicBezTo>
                  <a:cubicBezTo>
                    <a:pt x="162" y="95"/>
                    <a:pt x="162" y="95"/>
                    <a:pt x="163" y="96"/>
                  </a:cubicBezTo>
                  <a:cubicBezTo>
                    <a:pt x="164" y="96"/>
                    <a:pt x="164" y="96"/>
                    <a:pt x="164" y="97"/>
                  </a:cubicBezTo>
                  <a:cubicBezTo>
                    <a:pt x="165" y="97"/>
                    <a:pt x="166" y="98"/>
                    <a:pt x="167" y="98"/>
                  </a:cubicBezTo>
                  <a:cubicBezTo>
                    <a:pt x="168" y="98"/>
                    <a:pt x="170" y="98"/>
                    <a:pt x="171" y="99"/>
                  </a:cubicBezTo>
                  <a:cubicBezTo>
                    <a:pt x="173" y="99"/>
                    <a:pt x="174" y="99"/>
                    <a:pt x="176" y="99"/>
                  </a:cubicBezTo>
                  <a:cubicBezTo>
                    <a:pt x="176" y="99"/>
                    <a:pt x="177" y="99"/>
                    <a:pt x="178" y="99"/>
                  </a:cubicBezTo>
                  <a:cubicBezTo>
                    <a:pt x="178" y="98"/>
                    <a:pt x="176" y="97"/>
                    <a:pt x="177" y="96"/>
                  </a:cubicBezTo>
                  <a:cubicBezTo>
                    <a:pt x="176" y="96"/>
                    <a:pt x="175" y="96"/>
                    <a:pt x="175" y="96"/>
                  </a:cubicBezTo>
                  <a:cubicBezTo>
                    <a:pt x="174" y="95"/>
                    <a:pt x="177" y="94"/>
                    <a:pt x="176" y="94"/>
                  </a:cubicBezTo>
                  <a:cubicBezTo>
                    <a:pt x="174" y="94"/>
                    <a:pt x="173" y="94"/>
                    <a:pt x="172" y="94"/>
                  </a:cubicBezTo>
                  <a:cubicBezTo>
                    <a:pt x="169" y="94"/>
                    <a:pt x="166" y="94"/>
                    <a:pt x="163" y="94"/>
                  </a:cubicBezTo>
                  <a:cubicBezTo>
                    <a:pt x="162" y="94"/>
                    <a:pt x="161" y="93"/>
                    <a:pt x="160" y="93"/>
                  </a:cubicBezTo>
                  <a:cubicBezTo>
                    <a:pt x="159" y="93"/>
                    <a:pt x="158" y="93"/>
                    <a:pt x="157" y="93"/>
                  </a:cubicBezTo>
                  <a:cubicBezTo>
                    <a:pt x="155" y="93"/>
                    <a:pt x="154" y="93"/>
                    <a:pt x="153" y="93"/>
                  </a:cubicBezTo>
                  <a:cubicBezTo>
                    <a:pt x="151" y="93"/>
                    <a:pt x="150" y="94"/>
                    <a:pt x="148" y="94"/>
                  </a:cubicBezTo>
                  <a:cubicBezTo>
                    <a:pt x="148" y="94"/>
                    <a:pt x="148" y="94"/>
                    <a:pt x="148" y="94"/>
                  </a:cubicBezTo>
                  <a:cubicBezTo>
                    <a:pt x="149" y="93"/>
                    <a:pt x="146" y="92"/>
                    <a:pt x="145" y="92"/>
                  </a:cubicBezTo>
                  <a:cubicBezTo>
                    <a:pt x="144" y="92"/>
                    <a:pt x="143" y="92"/>
                    <a:pt x="142" y="92"/>
                  </a:cubicBezTo>
                  <a:cubicBezTo>
                    <a:pt x="144" y="91"/>
                    <a:pt x="147" y="92"/>
                    <a:pt x="149" y="92"/>
                  </a:cubicBezTo>
                  <a:cubicBezTo>
                    <a:pt x="151" y="92"/>
                    <a:pt x="149" y="91"/>
                    <a:pt x="148" y="89"/>
                  </a:cubicBezTo>
                  <a:cubicBezTo>
                    <a:pt x="150" y="89"/>
                    <a:pt x="152" y="91"/>
                    <a:pt x="153" y="91"/>
                  </a:cubicBezTo>
                  <a:cubicBezTo>
                    <a:pt x="154" y="92"/>
                    <a:pt x="155" y="91"/>
                    <a:pt x="156" y="92"/>
                  </a:cubicBezTo>
                  <a:cubicBezTo>
                    <a:pt x="159" y="92"/>
                    <a:pt x="161" y="92"/>
                    <a:pt x="163" y="92"/>
                  </a:cubicBezTo>
                  <a:cubicBezTo>
                    <a:pt x="163" y="91"/>
                    <a:pt x="161" y="91"/>
                    <a:pt x="161" y="90"/>
                  </a:cubicBezTo>
                  <a:cubicBezTo>
                    <a:pt x="160" y="89"/>
                    <a:pt x="161" y="90"/>
                    <a:pt x="161" y="89"/>
                  </a:cubicBezTo>
                  <a:cubicBezTo>
                    <a:pt x="160" y="88"/>
                    <a:pt x="158" y="89"/>
                    <a:pt x="157" y="89"/>
                  </a:cubicBezTo>
                  <a:cubicBezTo>
                    <a:pt x="156" y="89"/>
                    <a:pt x="155" y="88"/>
                    <a:pt x="153" y="88"/>
                  </a:cubicBezTo>
                  <a:cubicBezTo>
                    <a:pt x="153" y="89"/>
                    <a:pt x="150" y="89"/>
                    <a:pt x="151" y="88"/>
                  </a:cubicBezTo>
                  <a:cubicBezTo>
                    <a:pt x="151" y="87"/>
                    <a:pt x="160" y="88"/>
                    <a:pt x="161" y="88"/>
                  </a:cubicBezTo>
                  <a:cubicBezTo>
                    <a:pt x="162" y="89"/>
                    <a:pt x="162" y="89"/>
                    <a:pt x="162" y="90"/>
                  </a:cubicBezTo>
                  <a:cubicBezTo>
                    <a:pt x="163" y="90"/>
                    <a:pt x="164" y="90"/>
                    <a:pt x="164" y="90"/>
                  </a:cubicBezTo>
                  <a:cubicBezTo>
                    <a:pt x="165" y="90"/>
                    <a:pt x="165" y="90"/>
                    <a:pt x="166" y="90"/>
                  </a:cubicBezTo>
                  <a:cubicBezTo>
                    <a:pt x="166" y="90"/>
                    <a:pt x="167" y="90"/>
                    <a:pt x="167" y="91"/>
                  </a:cubicBezTo>
                  <a:cubicBezTo>
                    <a:pt x="169" y="91"/>
                    <a:pt x="170" y="91"/>
                    <a:pt x="171" y="91"/>
                  </a:cubicBezTo>
                  <a:cubicBezTo>
                    <a:pt x="173" y="91"/>
                    <a:pt x="173" y="91"/>
                    <a:pt x="173" y="89"/>
                  </a:cubicBezTo>
                  <a:cubicBezTo>
                    <a:pt x="173" y="88"/>
                    <a:pt x="172" y="88"/>
                    <a:pt x="173" y="88"/>
                  </a:cubicBezTo>
                  <a:cubicBezTo>
                    <a:pt x="174" y="88"/>
                    <a:pt x="175" y="89"/>
                    <a:pt x="176" y="89"/>
                  </a:cubicBezTo>
                  <a:cubicBezTo>
                    <a:pt x="177" y="90"/>
                    <a:pt x="178" y="89"/>
                    <a:pt x="179" y="89"/>
                  </a:cubicBezTo>
                  <a:cubicBezTo>
                    <a:pt x="183" y="89"/>
                    <a:pt x="186" y="89"/>
                    <a:pt x="189" y="88"/>
                  </a:cubicBezTo>
                  <a:cubicBezTo>
                    <a:pt x="191" y="88"/>
                    <a:pt x="191" y="85"/>
                    <a:pt x="191" y="84"/>
                  </a:cubicBezTo>
                  <a:cubicBezTo>
                    <a:pt x="190" y="83"/>
                    <a:pt x="189" y="83"/>
                    <a:pt x="190" y="82"/>
                  </a:cubicBezTo>
                  <a:cubicBezTo>
                    <a:pt x="188" y="82"/>
                    <a:pt x="187" y="82"/>
                    <a:pt x="186" y="82"/>
                  </a:cubicBezTo>
                  <a:cubicBezTo>
                    <a:pt x="185" y="82"/>
                    <a:pt x="184" y="81"/>
                    <a:pt x="182" y="81"/>
                  </a:cubicBezTo>
                  <a:cubicBezTo>
                    <a:pt x="181" y="81"/>
                    <a:pt x="179" y="81"/>
                    <a:pt x="178" y="81"/>
                  </a:cubicBezTo>
                  <a:cubicBezTo>
                    <a:pt x="177" y="81"/>
                    <a:pt x="176" y="82"/>
                    <a:pt x="176" y="81"/>
                  </a:cubicBezTo>
                  <a:cubicBezTo>
                    <a:pt x="175" y="81"/>
                    <a:pt x="175" y="80"/>
                    <a:pt x="175" y="80"/>
                  </a:cubicBezTo>
                  <a:cubicBezTo>
                    <a:pt x="178" y="80"/>
                    <a:pt x="183" y="79"/>
                    <a:pt x="186" y="80"/>
                  </a:cubicBezTo>
                  <a:cubicBezTo>
                    <a:pt x="185" y="80"/>
                    <a:pt x="185" y="80"/>
                    <a:pt x="185" y="80"/>
                  </a:cubicBezTo>
                  <a:cubicBezTo>
                    <a:pt x="188" y="81"/>
                    <a:pt x="191" y="80"/>
                    <a:pt x="194" y="81"/>
                  </a:cubicBezTo>
                  <a:cubicBezTo>
                    <a:pt x="191" y="83"/>
                    <a:pt x="196" y="84"/>
                    <a:pt x="198" y="84"/>
                  </a:cubicBezTo>
                  <a:cubicBezTo>
                    <a:pt x="199" y="84"/>
                    <a:pt x="200" y="85"/>
                    <a:pt x="201" y="84"/>
                  </a:cubicBezTo>
                  <a:cubicBezTo>
                    <a:pt x="202" y="84"/>
                    <a:pt x="203" y="84"/>
                    <a:pt x="205" y="84"/>
                  </a:cubicBezTo>
                  <a:cubicBezTo>
                    <a:pt x="207" y="83"/>
                    <a:pt x="209" y="83"/>
                    <a:pt x="211" y="82"/>
                  </a:cubicBezTo>
                  <a:cubicBezTo>
                    <a:pt x="212" y="81"/>
                    <a:pt x="213" y="80"/>
                    <a:pt x="212" y="79"/>
                  </a:cubicBezTo>
                  <a:cubicBezTo>
                    <a:pt x="212" y="78"/>
                    <a:pt x="211" y="79"/>
                    <a:pt x="211" y="79"/>
                  </a:cubicBezTo>
                  <a:cubicBezTo>
                    <a:pt x="208" y="79"/>
                    <a:pt x="209" y="78"/>
                    <a:pt x="211" y="78"/>
                  </a:cubicBezTo>
                  <a:cubicBezTo>
                    <a:pt x="213" y="77"/>
                    <a:pt x="214" y="77"/>
                    <a:pt x="215" y="77"/>
                  </a:cubicBezTo>
                  <a:cubicBezTo>
                    <a:pt x="217" y="77"/>
                    <a:pt x="217" y="76"/>
                    <a:pt x="217" y="75"/>
                  </a:cubicBezTo>
                  <a:cubicBezTo>
                    <a:pt x="218" y="73"/>
                    <a:pt x="215" y="74"/>
                    <a:pt x="214" y="74"/>
                  </a:cubicBezTo>
                  <a:cubicBezTo>
                    <a:pt x="212" y="74"/>
                    <a:pt x="210" y="75"/>
                    <a:pt x="209" y="75"/>
                  </a:cubicBezTo>
                  <a:cubicBezTo>
                    <a:pt x="207" y="75"/>
                    <a:pt x="205" y="75"/>
                    <a:pt x="203" y="75"/>
                  </a:cubicBezTo>
                  <a:cubicBezTo>
                    <a:pt x="201" y="75"/>
                    <a:pt x="200" y="75"/>
                    <a:pt x="199" y="75"/>
                  </a:cubicBezTo>
                  <a:cubicBezTo>
                    <a:pt x="199" y="74"/>
                    <a:pt x="201" y="73"/>
                    <a:pt x="200" y="72"/>
                  </a:cubicBezTo>
                  <a:cubicBezTo>
                    <a:pt x="200" y="72"/>
                    <a:pt x="199" y="72"/>
                    <a:pt x="199" y="72"/>
                  </a:cubicBezTo>
                  <a:cubicBezTo>
                    <a:pt x="200" y="71"/>
                    <a:pt x="203" y="72"/>
                    <a:pt x="204" y="73"/>
                  </a:cubicBezTo>
                  <a:cubicBezTo>
                    <a:pt x="206" y="74"/>
                    <a:pt x="207" y="74"/>
                    <a:pt x="208" y="74"/>
                  </a:cubicBezTo>
                  <a:cubicBezTo>
                    <a:pt x="211" y="73"/>
                    <a:pt x="213" y="72"/>
                    <a:pt x="215" y="72"/>
                  </a:cubicBezTo>
                  <a:cubicBezTo>
                    <a:pt x="217" y="72"/>
                    <a:pt x="218" y="72"/>
                    <a:pt x="220" y="72"/>
                  </a:cubicBezTo>
                  <a:cubicBezTo>
                    <a:pt x="220" y="72"/>
                    <a:pt x="221" y="72"/>
                    <a:pt x="222" y="72"/>
                  </a:cubicBezTo>
                  <a:cubicBezTo>
                    <a:pt x="222" y="71"/>
                    <a:pt x="222" y="70"/>
                    <a:pt x="221" y="69"/>
                  </a:cubicBezTo>
                  <a:cubicBezTo>
                    <a:pt x="220" y="69"/>
                    <a:pt x="219" y="69"/>
                    <a:pt x="219" y="68"/>
                  </a:cubicBezTo>
                  <a:cubicBezTo>
                    <a:pt x="219" y="67"/>
                    <a:pt x="220" y="67"/>
                    <a:pt x="219" y="67"/>
                  </a:cubicBezTo>
                  <a:cubicBezTo>
                    <a:pt x="219" y="66"/>
                    <a:pt x="218" y="66"/>
                    <a:pt x="218" y="65"/>
                  </a:cubicBezTo>
                  <a:cubicBezTo>
                    <a:pt x="217" y="65"/>
                    <a:pt x="216" y="65"/>
                    <a:pt x="216" y="64"/>
                  </a:cubicBezTo>
                  <a:cubicBezTo>
                    <a:pt x="215" y="64"/>
                    <a:pt x="215" y="64"/>
                    <a:pt x="215" y="64"/>
                  </a:cubicBezTo>
                  <a:cubicBezTo>
                    <a:pt x="217" y="64"/>
                    <a:pt x="219" y="65"/>
                    <a:pt x="220" y="66"/>
                  </a:cubicBezTo>
                  <a:cubicBezTo>
                    <a:pt x="221" y="66"/>
                    <a:pt x="221" y="66"/>
                    <a:pt x="221" y="67"/>
                  </a:cubicBezTo>
                  <a:cubicBezTo>
                    <a:pt x="221" y="68"/>
                    <a:pt x="220" y="68"/>
                    <a:pt x="221" y="68"/>
                  </a:cubicBezTo>
                  <a:cubicBezTo>
                    <a:pt x="224" y="69"/>
                    <a:pt x="227" y="68"/>
                    <a:pt x="230" y="67"/>
                  </a:cubicBezTo>
                  <a:cubicBezTo>
                    <a:pt x="236" y="63"/>
                    <a:pt x="243" y="59"/>
                    <a:pt x="249" y="55"/>
                  </a:cubicBezTo>
                  <a:cubicBezTo>
                    <a:pt x="250" y="54"/>
                    <a:pt x="252" y="53"/>
                    <a:pt x="254" y="53"/>
                  </a:cubicBezTo>
                  <a:cubicBezTo>
                    <a:pt x="258" y="51"/>
                    <a:pt x="262" y="50"/>
                    <a:pt x="266" y="48"/>
                  </a:cubicBezTo>
                  <a:cubicBezTo>
                    <a:pt x="268" y="47"/>
                    <a:pt x="271" y="46"/>
                    <a:pt x="273" y="45"/>
                  </a:cubicBezTo>
                  <a:cubicBezTo>
                    <a:pt x="274" y="45"/>
                    <a:pt x="276" y="45"/>
                    <a:pt x="277" y="44"/>
                  </a:cubicBezTo>
                  <a:cubicBezTo>
                    <a:pt x="278" y="44"/>
                    <a:pt x="279" y="41"/>
                    <a:pt x="280" y="40"/>
                  </a:cubicBezTo>
                  <a:cubicBezTo>
                    <a:pt x="277" y="39"/>
                    <a:pt x="273" y="40"/>
                    <a:pt x="270" y="41"/>
                  </a:cubicBezTo>
                  <a:cubicBezTo>
                    <a:pt x="267" y="41"/>
                    <a:pt x="264" y="42"/>
                    <a:pt x="261" y="42"/>
                  </a:cubicBezTo>
                  <a:cubicBezTo>
                    <a:pt x="255" y="43"/>
                    <a:pt x="250" y="44"/>
                    <a:pt x="244" y="46"/>
                  </a:cubicBezTo>
                  <a:cubicBezTo>
                    <a:pt x="241" y="47"/>
                    <a:pt x="237" y="47"/>
                    <a:pt x="234" y="48"/>
                  </a:cubicBezTo>
                  <a:cubicBezTo>
                    <a:pt x="232" y="48"/>
                    <a:pt x="230" y="48"/>
                    <a:pt x="229" y="49"/>
                  </a:cubicBezTo>
                  <a:cubicBezTo>
                    <a:pt x="227" y="49"/>
                    <a:pt x="225" y="51"/>
                    <a:pt x="223" y="50"/>
                  </a:cubicBezTo>
                  <a:cubicBezTo>
                    <a:pt x="224" y="50"/>
                    <a:pt x="225" y="50"/>
                    <a:pt x="225" y="49"/>
                  </a:cubicBezTo>
                  <a:cubicBezTo>
                    <a:pt x="224" y="49"/>
                    <a:pt x="222" y="49"/>
                    <a:pt x="221" y="49"/>
                  </a:cubicBezTo>
                  <a:cubicBezTo>
                    <a:pt x="233" y="46"/>
                    <a:pt x="244" y="43"/>
                    <a:pt x="256" y="41"/>
                  </a:cubicBezTo>
                  <a:cubicBezTo>
                    <a:pt x="256" y="41"/>
                    <a:pt x="257" y="41"/>
                    <a:pt x="257" y="40"/>
                  </a:cubicBezTo>
                  <a:cubicBezTo>
                    <a:pt x="257" y="40"/>
                    <a:pt x="254" y="39"/>
                    <a:pt x="253" y="39"/>
                  </a:cubicBezTo>
                  <a:cubicBezTo>
                    <a:pt x="251" y="39"/>
                    <a:pt x="249" y="39"/>
                    <a:pt x="247" y="40"/>
                  </a:cubicBezTo>
                  <a:cubicBezTo>
                    <a:pt x="244" y="40"/>
                    <a:pt x="240" y="41"/>
                    <a:pt x="237" y="40"/>
                  </a:cubicBezTo>
                  <a:cubicBezTo>
                    <a:pt x="237" y="40"/>
                    <a:pt x="236" y="40"/>
                    <a:pt x="236" y="40"/>
                  </a:cubicBezTo>
                  <a:cubicBezTo>
                    <a:pt x="236" y="39"/>
                    <a:pt x="238" y="39"/>
                    <a:pt x="237" y="38"/>
                  </a:cubicBezTo>
                  <a:cubicBezTo>
                    <a:pt x="237" y="38"/>
                    <a:pt x="235" y="37"/>
                    <a:pt x="235" y="37"/>
                  </a:cubicBezTo>
                  <a:cubicBezTo>
                    <a:pt x="234" y="37"/>
                    <a:pt x="232" y="36"/>
                    <a:pt x="231" y="36"/>
                  </a:cubicBezTo>
                  <a:cubicBezTo>
                    <a:pt x="234" y="36"/>
                    <a:pt x="237" y="38"/>
                    <a:pt x="241" y="39"/>
                  </a:cubicBezTo>
                  <a:cubicBezTo>
                    <a:pt x="242" y="40"/>
                    <a:pt x="245" y="39"/>
                    <a:pt x="247" y="39"/>
                  </a:cubicBezTo>
                  <a:cubicBezTo>
                    <a:pt x="249" y="38"/>
                    <a:pt x="251" y="38"/>
                    <a:pt x="253" y="38"/>
                  </a:cubicBezTo>
                  <a:cubicBezTo>
                    <a:pt x="255" y="38"/>
                    <a:pt x="256" y="38"/>
                    <a:pt x="258" y="38"/>
                  </a:cubicBezTo>
                  <a:cubicBezTo>
                    <a:pt x="260" y="38"/>
                    <a:pt x="262" y="38"/>
                    <a:pt x="264" y="38"/>
                  </a:cubicBezTo>
                  <a:cubicBezTo>
                    <a:pt x="269" y="37"/>
                    <a:pt x="274" y="36"/>
                    <a:pt x="280" y="35"/>
                  </a:cubicBezTo>
                  <a:cubicBezTo>
                    <a:pt x="281" y="35"/>
                    <a:pt x="282" y="35"/>
                    <a:pt x="284" y="34"/>
                  </a:cubicBezTo>
                  <a:cubicBezTo>
                    <a:pt x="287" y="33"/>
                    <a:pt x="291" y="31"/>
                    <a:pt x="295" y="29"/>
                  </a:cubicBezTo>
                  <a:cubicBezTo>
                    <a:pt x="302" y="26"/>
                    <a:pt x="308" y="23"/>
                    <a:pt x="315" y="21"/>
                  </a:cubicBezTo>
                  <a:cubicBezTo>
                    <a:pt x="314" y="20"/>
                    <a:pt x="312" y="17"/>
                    <a:pt x="310" y="17"/>
                  </a:cubicBezTo>
                  <a:cubicBezTo>
                    <a:pt x="308" y="17"/>
                    <a:pt x="305" y="17"/>
                    <a:pt x="302" y="17"/>
                  </a:cubicBezTo>
                  <a:cubicBezTo>
                    <a:pt x="300" y="16"/>
                    <a:pt x="298" y="16"/>
                    <a:pt x="296" y="17"/>
                  </a:cubicBezTo>
                  <a:cubicBezTo>
                    <a:pt x="295" y="17"/>
                    <a:pt x="294" y="18"/>
                    <a:pt x="292" y="17"/>
                  </a:cubicBezTo>
                  <a:cubicBezTo>
                    <a:pt x="293" y="16"/>
                    <a:pt x="295" y="16"/>
                    <a:pt x="295" y="15"/>
                  </a:cubicBezTo>
                  <a:cubicBezTo>
                    <a:pt x="295" y="15"/>
                    <a:pt x="296" y="15"/>
                    <a:pt x="296" y="14"/>
                  </a:cubicBezTo>
                  <a:cubicBezTo>
                    <a:pt x="296" y="14"/>
                    <a:pt x="295" y="13"/>
                    <a:pt x="294" y="13"/>
                  </a:cubicBezTo>
                  <a:cubicBezTo>
                    <a:pt x="293" y="13"/>
                    <a:pt x="291" y="12"/>
                    <a:pt x="290" y="11"/>
                  </a:cubicBezTo>
                  <a:cubicBezTo>
                    <a:pt x="289" y="11"/>
                    <a:pt x="289" y="11"/>
                    <a:pt x="288" y="10"/>
                  </a:cubicBezTo>
                  <a:cubicBezTo>
                    <a:pt x="289" y="10"/>
                    <a:pt x="290" y="10"/>
                    <a:pt x="291" y="10"/>
                  </a:cubicBezTo>
                  <a:cubicBezTo>
                    <a:pt x="292" y="9"/>
                    <a:pt x="291" y="8"/>
                    <a:pt x="290" y="8"/>
                  </a:cubicBezTo>
                  <a:cubicBezTo>
                    <a:pt x="284" y="8"/>
                    <a:pt x="278" y="9"/>
                    <a:pt x="272" y="9"/>
                  </a:cubicBezTo>
                  <a:cubicBezTo>
                    <a:pt x="273" y="9"/>
                    <a:pt x="273" y="9"/>
                    <a:pt x="273" y="9"/>
                  </a:cubicBezTo>
                  <a:cubicBezTo>
                    <a:pt x="269" y="9"/>
                    <a:pt x="265" y="8"/>
                    <a:pt x="261" y="9"/>
                  </a:cubicBezTo>
                  <a:cubicBezTo>
                    <a:pt x="259" y="9"/>
                    <a:pt x="259" y="10"/>
                    <a:pt x="258" y="10"/>
                  </a:cubicBezTo>
                  <a:cubicBezTo>
                    <a:pt x="258" y="10"/>
                    <a:pt x="258" y="11"/>
                    <a:pt x="257" y="11"/>
                  </a:cubicBezTo>
                  <a:cubicBezTo>
                    <a:pt x="256" y="11"/>
                    <a:pt x="255" y="11"/>
                    <a:pt x="254" y="11"/>
                  </a:cubicBezTo>
                  <a:cubicBezTo>
                    <a:pt x="252" y="11"/>
                    <a:pt x="250" y="12"/>
                    <a:pt x="248" y="12"/>
                  </a:cubicBezTo>
                  <a:cubicBezTo>
                    <a:pt x="245" y="12"/>
                    <a:pt x="241" y="12"/>
                    <a:pt x="238" y="13"/>
                  </a:cubicBezTo>
                  <a:cubicBezTo>
                    <a:pt x="242" y="11"/>
                    <a:pt x="247" y="10"/>
                    <a:pt x="251" y="9"/>
                  </a:cubicBezTo>
                  <a:cubicBezTo>
                    <a:pt x="255" y="9"/>
                    <a:pt x="258" y="7"/>
                    <a:pt x="261" y="6"/>
                  </a:cubicBezTo>
                  <a:cubicBezTo>
                    <a:pt x="256" y="6"/>
                    <a:pt x="251" y="5"/>
                    <a:pt x="246" y="4"/>
                  </a:cubicBezTo>
                  <a:cubicBezTo>
                    <a:pt x="242" y="4"/>
                    <a:pt x="238" y="4"/>
                    <a:pt x="234" y="4"/>
                  </a:cubicBezTo>
                  <a:cubicBezTo>
                    <a:pt x="232" y="4"/>
                    <a:pt x="230" y="4"/>
                    <a:pt x="228" y="3"/>
                  </a:cubicBezTo>
                  <a:cubicBezTo>
                    <a:pt x="229" y="3"/>
                    <a:pt x="229" y="2"/>
                    <a:pt x="227" y="1"/>
                  </a:cubicBezTo>
                  <a:cubicBezTo>
                    <a:pt x="227" y="0"/>
                    <a:pt x="224" y="1"/>
                    <a:pt x="223" y="1"/>
                  </a:cubicBezTo>
                  <a:cubicBezTo>
                    <a:pt x="219" y="2"/>
                    <a:pt x="214" y="3"/>
                    <a:pt x="209" y="4"/>
                  </a:cubicBezTo>
                  <a:cubicBezTo>
                    <a:pt x="211" y="4"/>
                    <a:pt x="214" y="5"/>
                    <a:pt x="215" y="6"/>
                  </a:cubicBezTo>
                  <a:cubicBezTo>
                    <a:pt x="213" y="6"/>
                    <a:pt x="210" y="6"/>
                    <a:pt x="208" y="5"/>
                  </a:cubicBezTo>
                  <a:cubicBezTo>
                    <a:pt x="207" y="5"/>
                    <a:pt x="205" y="4"/>
                    <a:pt x="205" y="3"/>
                  </a:cubicBezTo>
                  <a:cubicBezTo>
                    <a:pt x="205" y="3"/>
                    <a:pt x="206" y="2"/>
                    <a:pt x="207" y="1"/>
                  </a:cubicBezTo>
                  <a:cubicBezTo>
                    <a:pt x="200" y="3"/>
                    <a:pt x="194" y="4"/>
                    <a:pt x="188" y="6"/>
                  </a:cubicBezTo>
                  <a:cubicBezTo>
                    <a:pt x="189" y="7"/>
                    <a:pt x="190" y="9"/>
                    <a:pt x="192" y="9"/>
                  </a:cubicBezTo>
                  <a:cubicBezTo>
                    <a:pt x="194" y="9"/>
                    <a:pt x="196" y="10"/>
                    <a:pt x="198" y="11"/>
                  </a:cubicBezTo>
                  <a:cubicBezTo>
                    <a:pt x="197" y="11"/>
                    <a:pt x="197" y="11"/>
                    <a:pt x="197" y="11"/>
                  </a:cubicBezTo>
                  <a:cubicBezTo>
                    <a:pt x="197" y="11"/>
                    <a:pt x="197" y="11"/>
                    <a:pt x="197" y="11"/>
                  </a:cubicBezTo>
                  <a:cubicBezTo>
                    <a:pt x="193" y="10"/>
                    <a:pt x="188" y="9"/>
                    <a:pt x="185" y="7"/>
                  </a:cubicBezTo>
                  <a:cubicBezTo>
                    <a:pt x="184" y="7"/>
                    <a:pt x="183" y="6"/>
                    <a:pt x="183" y="5"/>
                  </a:cubicBezTo>
                  <a:cubicBezTo>
                    <a:pt x="182" y="5"/>
                    <a:pt x="181" y="4"/>
                    <a:pt x="180" y="4"/>
                  </a:cubicBezTo>
                  <a:cubicBezTo>
                    <a:pt x="176" y="2"/>
                    <a:pt x="172" y="2"/>
                    <a:pt x="168" y="2"/>
                  </a:cubicBezTo>
                  <a:cubicBezTo>
                    <a:pt x="166" y="3"/>
                    <a:pt x="163" y="2"/>
                    <a:pt x="161" y="2"/>
                  </a:cubicBezTo>
                  <a:cubicBezTo>
                    <a:pt x="158" y="2"/>
                    <a:pt x="155" y="2"/>
                    <a:pt x="152" y="2"/>
                  </a:cubicBezTo>
                  <a:cubicBezTo>
                    <a:pt x="151" y="3"/>
                    <a:pt x="149" y="3"/>
                    <a:pt x="148" y="3"/>
                  </a:cubicBezTo>
                  <a:cubicBezTo>
                    <a:pt x="149" y="5"/>
                    <a:pt x="149" y="5"/>
                    <a:pt x="152" y="6"/>
                  </a:cubicBezTo>
                  <a:cubicBezTo>
                    <a:pt x="152" y="6"/>
                    <a:pt x="153" y="6"/>
                    <a:pt x="154" y="7"/>
                  </a:cubicBezTo>
                  <a:cubicBezTo>
                    <a:pt x="156" y="9"/>
                    <a:pt x="158" y="8"/>
                    <a:pt x="161" y="9"/>
                  </a:cubicBezTo>
                  <a:cubicBezTo>
                    <a:pt x="160" y="9"/>
                    <a:pt x="157" y="10"/>
                    <a:pt x="158" y="11"/>
                  </a:cubicBezTo>
                  <a:cubicBezTo>
                    <a:pt x="159" y="11"/>
                    <a:pt x="160" y="11"/>
                    <a:pt x="161" y="12"/>
                  </a:cubicBezTo>
                  <a:cubicBezTo>
                    <a:pt x="162" y="12"/>
                    <a:pt x="163" y="12"/>
                    <a:pt x="164" y="12"/>
                  </a:cubicBezTo>
                  <a:cubicBezTo>
                    <a:pt x="165" y="13"/>
                    <a:pt x="166" y="13"/>
                    <a:pt x="167" y="13"/>
                  </a:cubicBezTo>
                  <a:cubicBezTo>
                    <a:pt x="166" y="14"/>
                    <a:pt x="164" y="14"/>
                    <a:pt x="162" y="15"/>
                  </a:cubicBezTo>
                  <a:cubicBezTo>
                    <a:pt x="161" y="16"/>
                    <a:pt x="160" y="17"/>
                    <a:pt x="159" y="17"/>
                  </a:cubicBezTo>
                  <a:cubicBezTo>
                    <a:pt x="159" y="17"/>
                    <a:pt x="160" y="15"/>
                    <a:pt x="160" y="15"/>
                  </a:cubicBezTo>
                  <a:cubicBezTo>
                    <a:pt x="161" y="15"/>
                    <a:pt x="162" y="14"/>
                    <a:pt x="162" y="14"/>
                  </a:cubicBezTo>
                  <a:cubicBezTo>
                    <a:pt x="162" y="13"/>
                    <a:pt x="159" y="13"/>
                    <a:pt x="158" y="13"/>
                  </a:cubicBezTo>
                  <a:cubicBezTo>
                    <a:pt x="157" y="13"/>
                    <a:pt x="155" y="12"/>
                    <a:pt x="154" y="11"/>
                  </a:cubicBezTo>
                  <a:cubicBezTo>
                    <a:pt x="154" y="11"/>
                    <a:pt x="153" y="10"/>
                    <a:pt x="152" y="10"/>
                  </a:cubicBezTo>
                  <a:cubicBezTo>
                    <a:pt x="152" y="10"/>
                    <a:pt x="151" y="9"/>
                    <a:pt x="151" y="9"/>
                  </a:cubicBezTo>
                  <a:cubicBezTo>
                    <a:pt x="150" y="9"/>
                    <a:pt x="151" y="9"/>
                    <a:pt x="151" y="9"/>
                  </a:cubicBezTo>
                  <a:cubicBezTo>
                    <a:pt x="150" y="8"/>
                    <a:pt x="150" y="8"/>
                    <a:pt x="150" y="8"/>
                  </a:cubicBezTo>
                  <a:cubicBezTo>
                    <a:pt x="148" y="7"/>
                    <a:pt x="147" y="7"/>
                    <a:pt x="145" y="7"/>
                  </a:cubicBezTo>
                  <a:cubicBezTo>
                    <a:pt x="143" y="6"/>
                    <a:pt x="142" y="6"/>
                    <a:pt x="140" y="6"/>
                  </a:cubicBezTo>
                  <a:cubicBezTo>
                    <a:pt x="138" y="6"/>
                    <a:pt x="136" y="5"/>
                    <a:pt x="134" y="5"/>
                  </a:cubicBezTo>
                  <a:cubicBezTo>
                    <a:pt x="132" y="5"/>
                    <a:pt x="130" y="4"/>
                    <a:pt x="129" y="4"/>
                  </a:cubicBezTo>
                  <a:cubicBezTo>
                    <a:pt x="128" y="4"/>
                    <a:pt x="128" y="4"/>
                    <a:pt x="127" y="5"/>
                  </a:cubicBezTo>
                  <a:cubicBezTo>
                    <a:pt x="127" y="5"/>
                    <a:pt x="126" y="6"/>
                    <a:pt x="126" y="7"/>
                  </a:cubicBezTo>
                  <a:cubicBezTo>
                    <a:pt x="125" y="8"/>
                    <a:pt x="125" y="8"/>
                    <a:pt x="124" y="8"/>
                  </a:cubicBezTo>
                  <a:cubicBezTo>
                    <a:pt x="124" y="8"/>
                    <a:pt x="123" y="9"/>
                    <a:pt x="123" y="9"/>
                  </a:cubicBezTo>
                  <a:cubicBezTo>
                    <a:pt x="123" y="10"/>
                    <a:pt x="125" y="10"/>
                    <a:pt x="125" y="10"/>
                  </a:cubicBezTo>
                  <a:cubicBezTo>
                    <a:pt x="127" y="11"/>
                    <a:pt x="128" y="11"/>
                    <a:pt x="130" y="11"/>
                  </a:cubicBezTo>
                  <a:cubicBezTo>
                    <a:pt x="132" y="11"/>
                    <a:pt x="135" y="11"/>
                    <a:pt x="137" y="11"/>
                  </a:cubicBezTo>
                  <a:cubicBezTo>
                    <a:pt x="135" y="12"/>
                    <a:pt x="133" y="11"/>
                    <a:pt x="131" y="11"/>
                  </a:cubicBezTo>
                  <a:cubicBezTo>
                    <a:pt x="127" y="11"/>
                    <a:pt x="124" y="11"/>
                    <a:pt x="120" y="11"/>
                  </a:cubicBezTo>
                  <a:cubicBezTo>
                    <a:pt x="120" y="10"/>
                    <a:pt x="119" y="10"/>
                    <a:pt x="119" y="10"/>
                  </a:cubicBezTo>
                  <a:cubicBezTo>
                    <a:pt x="118" y="9"/>
                    <a:pt x="117" y="9"/>
                    <a:pt x="116" y="9"/>
                  </a:cubicBezTo>
                  <a:cubicBezTo>
                    <a:pt x="115" y="8"/>
                    <a:pt x="113" y="8"/>
                    <a:pt x="112" y="8"/>
                  </a:cubicBezTo>
                  <a:cubicBezTo>
                    <a:pt x="111" y="8"/>
                    <a:pt x="109" y="8"/>
                    <a:pt x="108" y="8"/>
                  </a:cubicBezTo>
                  <a:cubicBezTo>
                    <a:pt x="107" y="9"/>
                    <a:pt x="109" y="10"/>
                    <a:pt x="110" y="11"/>
                  </a:cubicBezTo>
                  <a:cubicBezTo>
                    <a:pt x="110" y="11"/>
                    <a:pt x="111" y="12"/>
                    <a:pt x="111" y="12"/>
                  </a:cubicBezTo>
                  <a:cubicBezTo>
                    <a:pt x="113" y="13"/>
                    <a:pt x="114" y="14"/>
                    <a:pt x="116" y="15"/>
                  </a:cubicBezTo>
                  <a:cubicBezTo>
                    <a:pt x="113" y="15"/>
                    <a:pt x="110" y="13"/>
                    <a:pt x="107" y="13"/>
                  </a:cubicBezTo>
                  <a:cubicBezTo>
                    <a:pt x="106" y="13"/>
                    <a:pt x="105" y="13"/>
                    <a:pt x="104" y="12"/>
                  </a:cubicBezTo>
                  <a:cubicBezTo>
                    <a:pt x="103" y="12"/>
                    <a:pt x="102" y="12"/>
                    <a:pt x="101" y="12"/>
                  </a:cubicBezTo>
                  <a:cubicBezTo>
                    <a:pt x="99" y="12"/>
                    <a:pt x="101" y="15"/>
                    <a:pt x="102" y="16"/>
                  </a:cubicBezTo>
                  <a:cubicBezTo>
                    <a:pt x="104" y="16"/>
                    <a:pt x="105" y="16"/>
                    <a:pt x="107" y="16"/>
                  </a:cubicBezTo>
                  <a:cubicBezTo>
                    <a:pt x="104" y="16"/>
                    <a:pt x="101" y="16"/>
                    <a:pt x="99" y="16"/>
                  </a:cubicBezTo>
                  <a:cubicBezTo>
                    <a:pt x="98" y="16"/>
                    <a:pt x="96" y="16"/>
                    <a:pt x="96" y="16"/>
                  </a:cubicBezTo>
                  <a:cubicBezTo>
                    <a:pt x="96" y="17"/>
                    <a:pt x="94" y="18"/>
                    <a:pt x="94" y="18"/>
                  </a:cubicBezTo>
                  <a:cubicBezTo>
                    <a:pt x="94" y="20"/>
                    <a:pt x="98" y="21"/>
                    <a:pt x="99" y="21"/>
                  </a:cubicBezTo>
                  <a:cubicBezTo>
                    <a:pt x="101" y="22"/>
                    <a:pt x="103" y="23"/>
                    <a:pt x="105" y="23"/>
                  </a:cubicBezTo>
                  <a:cubicBezTo>
                    <a:pt x="106" y="24"/>
                    <a:pt x="107" y="24"/>
                    <a:pt x="108" y="24"/>
                  </a:cubicBezTo>
                  <a:cubicBezTo>
                    <a:pt x="109" y="25"/>
                    <a:pt x="111" y="24"/>
                    <a:pt x="113" y="25"/>
                  </a:cubicBezTo>
                  <a:cubicBezTo>
                    <a:pt x="110" y="26"/>
                    <a:pt x="115" y="27"/>
                    <a:pt x="116" y="27"/>
                  </a:cubicBezTo>
                  <a:cubicBezTo>
                    <a:pt x="117" y="27"/>
                    <a:pt x="118" y="27"/>
                    <a:pt x="119" y="28"/>
                  </a:cubicBezTo>
                  <a:cubicBezTo>
                    <a:pt x="120" y="28"/>
                    <a:pt x="122" y="27"/>
                    <a:pt x="123" y="28"/>
                  </a:cubicBezTo>
                  <a:cubicBezTo>
                    <a:pt x="124" y="29"/>
                    <a:pt x="122" y="29"/>
                    <a:pt x="123" y="29"/>
                  </a:cubicBezTo>
                  <a:cubicBezTo>
                    <a:pt x="124" y="29"/>
                    <a:pt x="125" y="30"/>
                    <a:pt x="125" y="30"/>
                  </a:cubicBezTo>
                  <a:cubicBezTo>
                    <a:pt x="126" y="31"/>
                    <a:pt x="127" y="31"/>
                    <a:pt x="128" y="32"/>
                  </a:cubicBezTo>
                  <a:cubicBezTo>
                    <a:pt x="128" y="32"/>
                    <a:pt x="129" y="33"/>
                    <a:pt x="130" y="33"/>
                  </a:cubicBezTo>
                  <a:cubicBezTo>
                    <a:pt x="118" y="31"/>
                    <a:pt x="106" y="28"/>
                    <a:pt x="94" y="26"/>
                  </a:cubicBezTo>
                  <a:cubicBezTo>
                    <a:pt x="95" y="26"/>
                    <a:pt x="96" y="26"/>
                    <a:pt x="97" y="27"/>
                  </a:cubicBezTo>
                  <a:cubicBezTo>
                    <a:pt x="96" y="27"/>
                    <a:pt x="95" y="27"/>
                    <a:pt x="94" y="27"/>
                  </a:cubicBezTo>
                  <a:cubicBezTo>
                    <a:pt x="94" y="27"/>
                    <a:pt x="91" y="27"/>
                    <a:pt x="91" y="27"/>
                  </a:cubicBezTo>
                  <a:cubicBezTo>
                    <a:pt x="90" y="26"/>
                    <a:pt x="92" y="25"/>
                    <a:pt x="91" y="25"/>
                  </a:cubicBezTo>
                  <a:cubicBezTo>
                    <a:pt x="90" y="24"/>
                    <a:pt x="88" y="23"/>
                    <a:pt x="87" y="22"/>
                  </a:cubicBezTo>
                  <a:cubicBezTo>
                    <a:pt x="86" y="21"/>
                    <a:pt x="84" y="20"/>
                    <a:pt x="82" y="20"/>
                  </a:cubicBezTo>
                  <a:cubicBezTo>
                    <a:pt x="78" y="19"/>
                    <a:pt x="74" y="18"/>
                    <a:pt x="71" y="17"/>
                  </a:cubicBezTo>
                  <a:cubicBezTo>
                    <a:pt x="70" y="17"/>
                    <a:pt x="70" y="17"/>
                    <a:pt x="69" y="17"/>
                  </a:cubicBezTo>
                  <a:cubicBezTo>
                    <a:pt x="67" y="17"/>
                    <a:pt x="63" y="16"/>
                    <a:pt x="62" y="18"/>
                  </a:cubicBezTo>
                  <a:cubicBezTo>
                    <a:pt x="63" y="18"/>
                    <a:pt x="65" y="18"/>
                    <a:pt x="66" y="19"/>
                  </a:cubicBezTo>
                  <a:cubicBezTo>
                    <a:pt x="67" y="21"/>
                    <a:pt x="67" y="21"/>
                    <a:pt x="66" y="22"/>
                  </a:cubicBezTo>
                  <a:cubicBezTo>
                    <a:pt x="66" y="22"/>
                    <a:pt x="64" y="22"/>
                    <a:pt x="64" y="22"/>
                  </a:cubicBezTo>
                  <a:cubicBezTo>
                    <a:pt x="60" y="23"/>
                    <a:pt x="56" y="22"/>
                    <a:pt x="53" y="23"/>
                  </a:cubicBezTo>
                  <a:cubicBezTo>
                    <a:pt x="50" y="24"/>
                    <a:pt x="55" y="26"/>
                    <a:pt x="56" y="26"/>
                  </a:cubicBezTo>
                  <a:cubicBezTo>
                    <a:pt x="57" y="26"/>
                    <a:pt x="59" y="26"/>
                    <a:pt x="60" y="26"/>
                  </a:cubicBezTo>
                  <a:cubicBezTo>
                    <a:pt x="63" y="27"/>
                    <a:pt x="66" y="27"/>
                    <a:pt x="69" y="28"/>
                  </a:cubicBezTo>
                  <a:cubicBezTo>
                    <a:pt x="70" y="28"/>
                    <a:pt x="70" y="28"/>
                    <a:pt x="71" y="28"/>
                  </a:cubicBezTo>
                  <a:cubicBezTo>
                    <a:pt x="71" y="28"/>
                    <a:pt x="71" y="28"/>
                    <a:pt x="71" y="28"/>
                  </a:cubicBezTo>
                  <a:cubicBezTo>
                    <a:pt x="71" y="28"/>
                    <a:pt x="71" y="28"/>
                    <a:pt x="71" y="28"/>
                  </a:cubicBezTo>
                  <a:cubicBezTo>
                    <a:pt x="73" y="28"/>
                    <a:pt x="73" y="29"/>
                    <a:pt x="75" y="31"/>
                  </a:cubicBezTo>
                  <a:cubicBezTo>
                    <a:pt x="72" y="31"/>
                    <a:pt x="73" y="28"/>
                    <a:pt x="71" y="29"/>
                  </a:cubicBezTo>
                  <a:cubicBezTo>
                    <a:pt x="70" y="30"/>
                    <a:pt x="72" y="31"/>
                    <a:pt x="73" y="31"/>
                  </a:cubicBezTo>
                  <a:cubicBezTo>
                    <a:pt x="72" y="31"/>
                    <a:pt x="71" y="31"/>
                    <a:pt x="71" y="31"/>
                  </a:cubicBezTo>
                  <a:cubicBezTo>
                    <a:pt x="71" y="31"/>
                    <a:pt x="71" y="31"/>
                    <a:pt x="71" y="31"/>
                  </a:cubicBezTo>
                  <a:cubicBezTo>
                    <a:pt x="71" y="31"/>
                    <a:pt x="71" y="31"/>
                    <a:pt x="71" y="31"/>
                  </a:cubicBezTo>
                  <a:cubicBezTo>
                    <a:pt x="70" y="30"/>
                    <a:pt x="70" y="30"/>
                    <a:pt x="69" y="29"/>
                  </a:cubicBezTo>
                  <a:cubicBezTo>
                    <a:pt x="68" y="28"/>
                    <a:pt x="67" y="29"/>
                    <a:pt x="66" y="29"/>
                  </a:cubicBezTo>
                  <a:cubicBezTo>
                    <a:pt x="64" y="28"/>
                    <a:pt x="63" y="28"/>
                    <a:pt x="64" y="30"/>
                  </a:cubicBezTo>
                  <a:cubicBezTo>
                    <a:pt x="65" y="31"/>
                    <a:pt x="66" y="31"/>
                    <a:pt x="67" y="32"/>
                  </a:cubicBezTo>
                  <a:cubicBezTo>
                    <a:pt x="66" y="32"/>
                    <a:pt x="64" y="30"/>
                    <a:pt x="63" y="30"/>
                  </a:cubicBezTo>
                  <a:cubicBezTo>
                    <a:pt x="62" y="29"/>
                    <a:pt x="61" y="28"/>
                    <a:pt x="60" y="28"/>
                  </a:cubicBezTo>
                  <a:cubicBezTo>
                    <a:pt x="58" y="27"/>
                    <a:pt x="56" y="27"/>
                    <a:pt x="54" y="27"/>
                  </a:cubicBezTo>
                  <a:cubicBezTo>
                    <a:pt x="53" y="27"/>
                    <a:pt x="52" y="27"/>
                    <a:pt x="51" y="27"/>
                  </a:cubicBezTo>
                  <a:cubicBezTo>
                    <a:pt x="50" y="28"/>
                    <a:pt x="51" y="28"/>
                    <a:pt x="51" y="29"/>
                  </a:cubicBezTo>
                  <a:cubicBezTo>
                    <a:pt x="51" y="29"/>
                    <a:pt x="50" y="29"/>
                    <a:pt x="49" y="29"/>
                  </a:cubicBezTo>
                  <a:cubicBezTo>
                    <a:pt x="50" y="30"/>
                    <a:pt x="52" y="30"/>
                    <a:pt x="53" y="31"/>
                  </a:cubicBezTo>
                  <a:cubicBezTo>
                    <a:pt x="52" y="31"/>
                    <a:pt x="50" y="30"/>
                    <a:pt x="49" y="30"/>
                  </a:cubicBezTo>
                  <a:cubicBezTo>
                    <a:pt x="48" y="30"/>
                    <a:pt x="47" y="30"/>
                    <a:pt x="47" y="29"/>
                  </a:cubicBezTo>
                  <a:cubicBezTo>
                    <a:pt x="47" y="29"/>
                    <a:pt x="48" y="29"/>
                    <a:pt x="48" y="28"/>
                  </a:cubicBezTo>
                  <a:cubicBezTo>
                    <a:pt x="48" y="28"/>
                    <a:pt x="47" y="27"/>
                    <a:pt x="47" y="27"/>
                  </a:cubicBezTo>
                  <a:cubicBezTo>
                    <a:pt x="46" y="27"/>
                    <a:pt x="45" y="26"/>
                    <a:pt x="43" y="26"/>
                  </a:cubicBezTo>
                  <a:cubicBezTo>
                    <a:pt x="42" y="27"/>
                    <a:pt x="41" y="26"/>
                    <a:pt x="40" y="26"/>
                  </a:cubicBezTo>
                  <a:cubicBezTo>
                    <a:pt x="37" y="26"/>
                    <a:pt x="34" y="27"/>
                    <a:pt x="32" y="28"/>
                  </a:cubicBezTo>
                  <a:cubicBezTo>
                    <a:pt x="31" y="28"/>
                    <a:pt x="31" y="28"/>
                    <a:pt x="30" y="28"/>
                  </a:cubicBezTo>
                  <a:cubicBezTo>
                    <a:pt x="29" y="29"/>
                    <a:pt x="30" y="30"/>
                    <a:pt x="29" y="30"/>
                  </a:cubicBezTo>
                  <a:cubicBezTo>
                    <a:pt x="28" y="31"/>
                    <a:pt x="27" y="30"/>
                    <a:pt x="26" y="30"/>
                  </a:cubicBezTo>
                  <a:cubicBezTo>
                    <a:pt x="26" y="31"/>
                    <a:pt x="28" y="31"/>
                    <a:pt x="28" y="32"/>
                  </a:cubicBezTo>
                  <a:cubicBezTo>
                    <a:pt x="28" y="32"/>
                    <a:pt x="26" y="33"/>
                    <a:pt x="26" y="33"/>
                  </a:cubicBezTo>
                  <a:cubicBezTo>
                    <a:pt x="25" y="33"/>
                    <a:pt x="24" y="32"/>
                    <a:pt x="23" y="32"/>
                  </a:cubicBezTo>
                  <a:cubicBezTo>
                    <a:pt x="22" y="31"/>
                    <a:pt x="21" y="31"/>
                    <a:pt x="19" y="31"/>
                  </a:cubicBezTo>
                  <a:cubicBezTo>
                    <a:pt x="18" y="31"/>
                    <a:pt x="16" y="31"/>
                    <a:pt x="14" y="31"/>
                  </a:cubicBezTo>
                  <a:cubicBezTo>
                    <a:pt x="14" y="32"/>
                    <a:pt x="13" y="32"/>
                    <a:pt x="13" y="32"/>
                  </a:cubicBezTo>
                  <a:cubicBezTo>
                    <a:pt x="12" y="32"/>
                    <a:pt x="11" y="32"/>
                    <a:pt x="10" y="33"/>
                  </a:cubicBezTo>
                  <a:cubicBezTo>
                    <a:pt x="10" y="33"/>
                    <a:pt x="9" y="33"/>
                    <a:pt x="8" y="33"/>
                  </a:cubicBezTo>
                  <a:cubicBezTo>
                    <a:pt x="8" y="33"/>
                    <a:pt x="8" y="34"/>
                    <a:pt x="7" y="34"/>
                  </a:cubicBezTo>
                  <a:cubicBezTo>
                    <a:pt x="6" y="35"/>
                    <a:pt x="5" y="34"/>
                    <a:pt x="4" y="35"/>
                  </a:cubicBezTo>
                  <a:cubicBezTo>
                    <a:pt x="3" y="35"/>
                    <a:pt x="3" y="35"/>
                    <a:pt x="2" y="35"/>
                  </a:cubicBezTo>
                  <a:cubicBezTo>
                    <a:pt x="2" y="35"/>
                    <a:pt x="2" y="36"/>
                    <a:pt x="1" y="36"/>
                  </a:cubicBezTo>
                  <a:cubicBezTo>
                    <a:pt x="1" y="37"/>
                    <a:pt x="0" y="37"/>
                    <a:pt x="0" y="37"/>
                  </a:cubicBezTo>
                  <a:cubicBezTo>
                    <a:pt x="0" y="38"/>
                    <a:pt x="3" y="38"/>
                    <a:pt x="4" y="39"/>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03" name="Freeform 2055">
              <a:extLst>
                <a:ext uri="{FF2B5EF4-FFF2-40B4-BE49-F238E27FC236}">
                  <a16:creationId xmlns:a16="http://schemas.microsoft.com/office/drawing/2014/main" id="{B281C0CB-CB89-4D9C-877F-28511FB1A50B}"/>
                </a:ext>
              </a:extLst>
            </p:cNvPr>
            <p:cNvSpPr>
              <a:spLocks/>
            </p:cNvSpPr>
            <p:nvPr/>
          </p:nvSpPr>
          <p:spPr bwMode="auto">
            <a:xfrm>
              <a:off x="1495" y="115"/>
              <a:ext cx="2" cy="2"/>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0"/>
                    <a:pt x="1" y="1"/>
                  </a:cubicBezTo>
                  <a:cubicBezTo>
                    <a:pt x="1" y="0"/>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04" name="Freeform 2056">
              <a:extLst>
                <a:ext uri="{FF2B5EF4-FFF2-40B4-BE49-F238E27FC236}">
                  <a16:creationId xmlns:a16="http://schemas.microsoft.com/office/drawing/2014/main" id="{845015B2-0F0C-428E-B9C7-B0B525E4AEA3}"/>
                </a:ext>
              </a:extLst>
            </p:cNvPr>
            <p:cNvSpPr>
              <a:spLocks/>
            </p:cNvSpPr>
            <p:nvPr/>
          </p:nvSpPr>
          <p:spPr bwMode="auto">
            <a:xfrm>
              <a:off x="1495" y="325"/>
              <a:ext cx="2" cy="5"/>
            </a:xfrm>
            <a:custGeom>
              <a:avLst/>
              <a:gdLst>
                <a:gd name="T0" fmla="*/ 1 w 1"/>
                <a:gd name="T1" fmla="*/ 0 h 2"/>
                <a:gd name="T2" fmla="*/ 1 w 1"/>
                <a:gd name="T3" fmla="*/ 2 h 2"/>
                <a:gd name="T4" fmla="*/ 1 w 1"/>
                <a:gd name="T5" fmla="*/ 1 h 2"/>
                <a:gd name="T6" fmla="*/ 1 w 1"/>
                <a:gd name="T7" fmla="*/ 1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0" y="1"/>
                    <a:pt x="0" y="2"/>
                    <a:pt x="1" y="2"/>
                  </a:cubicBezTo>
                  <a:cubicBezTo>
                    <a:pt x="1" y="2"/>
                    <a:pt x="1" y="1"/>
                    <a:pt x="1" y="1"/>
                  </a:cubicBezTo>
                  <a:cubicBezTo>
                    <a:pt x="1" y="1"/>
                    <a:pt x="1" y="1"/>
                    <a:pt x="1" y="1"/>
                  </a:cubicBezTo>
                  <a:cubicBezTo>
                    <a:pt x="1" y="1"/>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05" name="Freeform 2057">
              <a:extLst>
                <a:ext uri="{FF2B5EF4-FFF2-40B4-BE49-F238E27FC236}">
                  <a16:creationId xmlns:a16="http://schemas.microsoft.com/office/drawing/2014/main" id="{5F177DE3-6140-4AB7-868B-8ED69E078CB9}"/>
                </a:ext>
              </a:extLst>
            </p:cNvPr>
            <p:cNvSpPr>
              <a:spLocks/>
            </p:cNvSpPr>
            <p:nvPr/>
          </p:nvSpPr>
          <p:spPr bwMode="auto">
            <a:xfrm>
              <a:off x="1485" y="339"/>
              <a:ext cx="12" cy="7"/>
            </a:xfrm>
            <a:custGeom>
              <a:avLst/>
              <a:gdLst>
                <a:gd name="T0" fmla="*/ 1 w 5"/>
                <a:gd name="T1" fmla="*/ 1 h 3"/>
                <a:gd name="T2" fmla="*/ 5 w 5"/>
                <a:gd name="T3" fmla="*/ 0 h 3"/>
                <a:gd name="T4" fmla="*/ 1 w 5"/>
                <a:gd name="T5" fmla="*/ 1 h 3"/>
              </a:gdLst>
              <a:ahLst/>
              <a:cxnLst>
                <a:cxn ang="0">
                  <a:pos x="T0" y="T1"/>
                </a:cxn>
                <a:cxn ang="0">
                  <a:pos x="T2" y="T3"/>
                </a:cxn>
                <a:cxn ang="0">
                  <a:pos x="T4" y="T5"/>
                </a:cxn>
              </a:cxnLst>
              <a:rect l="0" t="0" r="r" b="b"/>
              <a:pathLst>
                <a:path w="5" h="3">
                  <a:moveTo>
                    <a:pt x="1" y="1"/>
                  </a:moveTo>
                  <a:cubicBezTo>
                    <a:pt x="0" y="3"/>
                    <a:pt x="5" y="2"/>
                    <a:pt x="5" y="0"/>
                  </a:cubicBezTo>
                  <a:cubicBezTo>
                    <a:pt x="4" y="1"/>
                    <a:pt x="2" y="0"/>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06" name="Freeform 2058">
              <a:extLst>
                <a:ext uri="{FF2B5EF4-FFF2-40B4-BE49-F238E27FC236}">
                  <a16:creationId xmlns:a16="http://schemas.microsoft.com/office/drawing/2014/main" id="{E71673F4-2706-41A8-9D76-37E8C4BCEA91}"/>
                </a:ext>
              </a:extLst>
            </p:cNvPr>
            <p:cNvSpPr>
              <a:spLocks/>
            </p:cNvSpPr>
            <p:nvPr/>
          </p:nvSpPr>
          <p:spPr bwMode="auto">
            <a:xfrm>
              <a:off x="1480" y="330"/>
              <a:ext cx="17" cy="9"/>
            </a:xfrm>
            <a:custGeom>
              <a:avLst/>
              <a:gdLst>
                <a:gd name="T0" fmla="*/ 7 w 7"/>
                <a:gd name="T1" fmla="*/ 1 h 4"/>
                <a:gd name="T2" fmla="*/ 0 w 7"/>
                <a:gd name="T3" fmla="*/ 3 h 4"/>
                <a:gd name="T4" fmla="*/ 7 w 7"/>
                <a:gd name="T5" fmla="*/ 4 h 4"/>
                <a:gd name="T6" fmla="*/ 7 w 7"/>
                <a:gd name="T7" fmla="*/ 1 h 4"/>
              </a:gdLst>
              <a:ahLst/>
              <a:cxnLst>
                <a:cxn ang="0">
                  <a:pos x="T0" y="T1"/>
                </a:cxn>
                <a:cxn ang="0">
                  <a:pos x="T2" y="T3"/>
                </a:cxn>
                <a:cxn ang="0">
                  <a:pos x="T4" y="T5"/>
                </a:cxn>
                <a:cxn ang="0">
                  <a:pos x="T6" y="T7"/>
                </a:cxn>
              </a:cxnLst>
              <a:rect l="0" t="0" r="r" b="b"/>
              <a:pathLst>
                <a:path w="7" h="4">
                  <a:moveTo>
                    <a:pt x="7" y="1"/>
                  </a:moveTo>
                  <a:cubicBezTo>
                    <a:pt x="5" y="0"/>
                    <a:pt x="1" y="2"/>
                    <a:pt x="0" y="3"/>
                  </a:cubicBezTo>
                  <a:cubicBezTo>
                    <a:pt x="2" y="4"/>
                    <a:pt x="4" y="4"/>
                    <a:pt x="7" y="4"/>
                  </a:cubicBezTo>
                  <a:cubicBezTo>
                    <a:pt x="7" y="3"/>
                    <a:pt x="7" y="2"/>
                    <a:pt x="7"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07" name="Freeform 2059">
              <a:extLst>
                <a:ext uri="{FF2B5EF4-FFF2-40B4-BE49-F238E27FC236}">
                  <a16:creationId xmlns:a16="http://schemas.microsoft.com/office/drawing/2014/main" id="{7657A1FC-D2D9-4AD3-97BB-F362207DFAB7}"/>
                </a:ext>
              </a:extLst>
            </p:cNvPr>
            <p:cNvSpPr>
              <a:spLocks/>
            </p:cNvSpPr>
            <p:nvPr/>
          </p:nvSpPr>
          <p:spPr bwMode="auto">
            <a:xfrm>
              <a:off x="1062" y="401"/>
              <a:ext cx="137" cy="85"/>
            </a:xfrm>
            <a:custGeom>
              <a:avLst/>
              <a:gdLst>
                <a:gd name="T0" fmla="*/ 41 w 58"/>
                <a:gd name="T1" fmla="*/ 2 h 36"/>
                <a:gd name="T2" fmla="*/ 40 w 58"/>
                <a:gd name="T3" fmla="*/ 6 h 36"/>
                <a:gd name="T4" fmla="*/ 38 w 58"/>
                <a:gd name="T5" fmla="*/ 4 h 36"/>
                <a:gd name="T6" fmla="*/ 32 w 58"/>
                <a:gd name="T7" fmla="*/ 2 h 36"/>
                <a:gd name="T8" fmla="*/ 23 w 58"/>
                <a:gd name="T9" fmla="*/ 4 h 36"/>
                <a:gd name="T10" fmla="*/ 23 w 58"/>
                <a:gd name="T11" fmla="*/ 7 h 36"/>
                <a:gd name="T12" fmla="*/ 28 w 58"/>
                <a:gd name="T13" fmla="*/ 7 h 36"/>
                <a:gd name="T14" fmla="*/ 30 w 58"/>
                <a:gd name="T15" fmla="*/ 9 h 36"/>
                <a:gd name="T16" fmla="*/ 30 w 58"/>
                <a:gd name="T17" fmla="*/ 9 h 36"/>
                <a:gd name="T18" fmla="*/ 32 w 58"/>
                <a:gd name="T19" fmla="*/ 11 h 36"/>
                <a:gd name="T20" fmla="*/ 30 w 58"/>
                <a:gd name="T21" fmla="*/ 12 h 36"/>
                <a:gd name="T22" fmla="*/ 32 w 58"/>
                <a:gd name="T23" fmla="*/ 16 h 36"/>
                <a:gd name="T24" fmla="*/ 31 w 58"/>
                <a:gd name="T25" fmla="*/ 17 h 36"/>
                <a:gd name="T26" fmla="*/ 26 w 58"/>
                <a:gd name="T27" fmla="*/ 12 h 36"/>
                <a:gd name="T28" fmla="*/ 15 w 58"/>
                <a:gd name="T29" fmla="*/ 6 h 36"/>
                <a:gd name="T30" fmla="*/ 10 w 58"/>
                <a:gd name="T31" fmla="*/ 7 h 36"/>
                <a:gd name="T32" fmla="*/ 9 w 58"/>
                <a:gd name="T33" fmla="*/ 10 h 36"/>
                <a:gd name="T34" fmla="*/ 10 w 58"/>
                <a:gd name="T35" fmla="*/ 10 h 36"/>
                <a:gd name="T36" fmla="*/ 12 w 58"/>
                <a:gd name="T37" fmla="*/ 13 h 36"/>
                <a:gd name="T38" fmla="*/ 21 w 58"/>
                <a:gd name="T39" fmla="*/ 19 h 36"/>
                <a:gd name="T40" fmla="*/ 10 w 58"/>
                <a:gd name="T41" fmla="*/ 17 h 36"/>
                <a:gd name="T42" fmla="*/ 9 w 58"/>
                <a:gd name="T43" fmla="*/ 19 h 36"/>
                <a:gd name="T44" fmla="*/ 2 w 58"/>
                <a:gd name="T45" fmla="*/ 23 h 36"/>
                <a:gd name="T46" fmla="*/ 9 w 58"/>
                <a:gd name="T47" fmla="*/ 24 h 36"/>
                <a:gd name="T48" fmla="*/ 16 w 58"/>
                <a:gd name="T49" fmla="*/ 23 h 36"/>
                <a:gd name="T50" fmla="*/ 18 w 58"/>
                <a:gd name="T51" fmla="*/ 23 h 36"/>
                <a:gd name="T52" fmla="*/ 33 w 58"/>
                <a:gd name="T53" fmla="*/ 21 h 36"/>
                <a:gd name="T54" fmla="*/ 42 w 58"/>
                <a:gd name="T55" fmla="*/ 21 h 36"/>
                <a:gd name="T56" fmla="*/ 33 w 58"/>
                <a:gd name="T57" fmla="*/ 22 h 36"/>
                <a:gd name="T58" fmla="*/ 32 w 58"/>
                <a:gd name="T59" fmla="*/ 24 h 36"/>
                <a:gd name="T60" fmla="*/ 28 w 58"/>
                <a:gd name="T61" fmla="*/ 26 h 36"/>
                <a:gd name="T62" fmla="*/ 25 w 58"/>
                <a:gd name="T63" fmla="*/ 27 h 36"/>
                <a:gd name="T64" fmla="*/ 28 w 58"/>
                <a:gd name="T65" fmla="*/ 29 h 36"/>
                <a:gd name="T66" fmla="*/ 26 w 58"/>
                <a:gd name="T67" fmla="*/ 35 h 36"/>
                <a:gd name="T68" fmla="*/ 35 w 58"/>
                <a:gd name="T69" fmla="*/ 36 h 36"/>
                <a:gd name="T70" fmla="*/ 47 w 58"/>
                <a:gd name="T71" fmla="*/ 35 h 36"/>
                <a:gd name="T72" fmla="*/ 52 w 58"/>
                <a:gd name="T73" fmla="*/ 32 h 36"/>
                <a:gd name="T74" fmla="*/ 52 w 58"/>
                <a:gd name="T75" fmla="*/ 29 h 36"/>
                <a:gd name="T76" fmla="*/ 54 w 58"/>
                <a:gd name="T77" fmla="*/ 24 h 36"/>
                <a:gd name="T78" fmla="*/ 57 w 58"/>
                <a:gd name="T79" fmla="*/ 21 h 36"/>
                <a:gd name="T80" fmla="*/ 56 w 58"/>
                <a:gd name="T81" fmla="*/ 13 h 36"/>
                <a:gd name="T82" fmla="*/ 52 w 58"/>
                <a:gd name="T83" fmla="*/ 4 h 36"/>
                <a:gd name="T84" fmla="*/ 49 w 58"/>
                <a:gd name="T85" fmla="*/ 2 h 36"/>
                <a:gd name="T86" fmla="*/ 42 w 58"/>
                <a:gd name="T87" fmla="*/ 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8" h="36">
                  <a:moveTo>
                    <a:pt x="42" y="1"/>
                  </a:moveTo>
                  <a:cubicBezTo>
                    <a:pt x="43" y="1"/>
                    <a:pt x="45" y="1"/>
                    <a:pt x="46" y="1"/>
                  </a:cubicBezTo>
                  <a:cubicBezTo>
                    <a:pt x="46" y="2"/>
                    <a:pt x="42" y="2"/>
                    <a:pt x="41" y="2"/>
                  </a:cubicBezTo>
                  <a:cubicBezTo>
                    <a:pt x="40" y="3"/>
                    <a:pt x="41" y="4"/>
                    <a:pt x="42" y="5"/>
                  </a:cubicBezTo>
                  <a:cubicBezTo>
                    <a:pt x="43" y="6"/>
                    <a:pt x="41" y="5"/>
                    <a:pt x="41" y="5"/>
                  </a:cubicBezTo>
                  <a:cubicBezTo>
                    <a:pt x="40" y="5"/>
                    <a:pt x="40" y="6"/>
                    <a:pt x="40" y="6"/>
                  </a:cubicBezTo>
                  <a:cubicBezTo>
                    <a:pt x="39" y="6"/>
                    <a:pt x="39" y="6"/>
                    <a:pt x="39" y="6"/>
                  </a:cubicBezTo>
                  <a:cubicBezTo>
                    <a:pt x="38" y="5"/>
                    <a:pt x="39" y="5"/>
                    <a:pt x="39" y="4"/>
                  </a:cubicBezTo>
                  <a:cubicBezTo>
                    <a:pt x="39" y="4"/>
                    <a:pt x="38" y="4"/>
                    <a:pt x="38" y="4"/>
                  </a:cubicBezTo>
                  <a:cubicBezTo>
                    <a:pt x="36" y="4"/>
                    <a:pt x="36" y="2"/>
                    <a:pt x="34" y="2"/>
                  </a:cubicBezTo>
                  <a:cubicBezTo>
                    <a:pt x="34" y="2"/>
                    <a:pt x="34" y="2"/>
                    <a:pt x="35" y="2"/>
                  </a:cubicBezTo>
                  <a:cubicBezTo>
                    <a:pt x="33" y="1"/>
                    <a:pt x="33" y="2"/>
                    <a:pt x="32" y="2"/>
                  </a:cubicBezTo>
                  <a:cubicBezTo>
                    <a:pt x="31" y="2"/>
                    <a:pt x="30" y="1"/>
                    <a:pt x="29" y="1"/>
                  </a:cubicBezTo>
                  <a:cubicBezTo>
                    <a:pt x="27" y="1"/>
                    <a:pt x="25" y="2"/>
                    <a:pt x="23" y="3"/>
                  </a:cubicBezTo>
                  <a:cubicBezTo>
                    <a:pt x="23" y="3"/>
                    <a:pt x="23" y="3"/>
                    <a:pt x="23" y="4"/>
                  </a:cubicBezTo>
                  <a:cubicBezTo>
                    <a:pt x="23" y="4"/>
                    <a:pt x="23" y="4"/>
                    <a:pt x="22" y="4"/>
                  </a:cubicBezTo>
                  <a:cubicBezTo>
                    <a:pt x="22" y="4"/>
                    <a:pt x="20" y="4"/>
                    <a:pt x="21" y="5"/>
                  </a:cubicBezTo>
                  <a:cubicBezTo>
                    <a:pt x="22" y="5"/>
                    <a:pt x="23" y="6"/>
                    <a:pt x="23" y="7"/>
                  </a:cubicBezTo>
                  <a:cubicBezTo>
                    <a:pt x="24" y="7"/>
                    <a:pt x="25" y="7"/>
                    <a:pt x="26" y="7"/>
                  </a:cubicBezTo>
                  <a:cubicBezTo>
                    <a:pt x="27" y="7"/>
                    <a:pt x="27" y="7"/>
                    <a:pt x="27" y="7"/>
                  </a:cubicBezTo>
                  <a:cubicBezTo>
                    <a:pt x="28" y="7"/>
                    <a:pt x="28" y="7"/>
                    <a:pt x="28" y="7"/>
                  </a:cubicBezTo>
                  <a:cubicBezTo>
                    <a:pt x="29" y="7"/>
                    <a:pt x="29" y="7"/>
                    <a:pt x="29" y="7"/>
                  </a:cubicBezTo>
                  <a:cubicBezTo>
                    <a:pt x="30" y="8"/>
                    <a:pt x="30" y="8"/>
                    <a:pt x="31" y="8"/>
                  </a:cubicBezTo>
                  <a:cubicBezTo>
                    <a:pt x="31" y="8"/>
                    <a:pt x="31" y="8"/>
                    <a:pt x="30" y="9"/>
                  </a:cubicBezTo>
                  <a:cubicBezTo>
                    <a:pt x="31" y="9"/>
                    <a:pt x="31" y="9"/>
                    <a:pt x="32" y="9"/>
                  </a:cubicBezTo>
                  <a:cubicBezTo>
                    <a:pt x="31" y="9"/>
                    <a:pt x="30" y="8"/>
                    <a:pt x="29" y="8"/>
                  </a:cubicBezTo>
                  <a:cubicBezTo>
                    <a:pt x="29" y="9"/>
                    <a:pt x="29" y="9"/>
                    <a:pt x="30" y="9"/>
                  </a:cubicBezTo>
                  <a:cubicBezTo>
                    <a:pt x="28" y="9"/>
                    <a:pt x="27" y="8"/>
                    <a:pt x="26" y="9"/>
                  </a:cubicBezTo>
                  <a:cubicBezTo>
                    <a:pt x="25" y="10"/>
                    <a:pt x="28" y="11"/>
                    <a:pt x="29" y="11"/>
                  </a:cubicBezTo>
                  <a:cubicBezTo>
                    <a:pt x="30" y="11"/>
                    <a:pt x="31" y="11"/>
                    <a:pt x="32" y="11"/>
                  </a:cubicBezTo>
                  <a:cubicBezTo>
                    <a:pt x="34" y="12"/>
                    <a:pt x="35" y="12"/>
                    <a:pt x="36" y="12"/>
                  </a:cubicBezTo>
                  <a:cubicBezTo>
                    <a:pt x="35" y="12"/>
                    <a:pt x="33" y="12"/>
                    <a:pt x="32" y="12"/>
                  </a:cubicBezTo>
                  <a:cubicBezTo>
                    <a:pt x="31" y="12"/>
                    <a:pt x="31" y="12"/>
                    <a:pt x="30" y="12"/>
                  </a:cubicBezTo>
                  <a:cubicBezTo>
                    <a:pt x="30" y="12"/>
                    <a:pt x="29" y="12"/>
                    <a:pt x="29" y="12"/>
                  </a:cubicBezTo>
                  <a:cubicBezTo>
                    <a:pt x="28" y="12"/>
                    <a:pt x="29" y="12"/>
                    <a:pt x="29" y="13"/>
                  </a:cubicBezTo>
                  <a:cubicBezTo>
                    <a:pt x="30" y="14"/>
                    <a:pt x="31" y="15"/>
                    <a:pt x="32" y="16"/>
                  </a:cubicBezTo>
                  <a:cubicBezTo>
                    <a:pt x="32" y="16"/>
                    <a:pt x="35" y="15"/>
                    <a:pt x="36" y="16"/>
                  </a:cubicBezTo>
                  <a:cubicBezTo>
                    <a:pt x="35" y="16"/>
                    <a:pt x="34" y="16"/>
                    <a:pt x="33" y="17"/>
                  </a:cubicBezTo>
                  <a:cubicBezTo>
                    <a:pt x="32" y="17"/>
                    <a:pt x="32" y="17"/>
                    <a:pt x="31" y="17"/>
                  </a:cubicBezTo>
                  <a:cubicBezTo>
                    <a:pt x="30" y="16"/>
                    <a:pt x="29" y="15"/>
                    <a:pt x="28" y="14"/>
                  </a:cubicBezTo>
                  <a:cubicBezTo>
                    <a:pt x="27" y="13"/>
                    <a:pt x="26" y="13"/>
                    <a:pt x="24" y="13"/>
                  </a:cubicBezTo>
                  <a:cubicBezTo>
                    <a:pt x="25" y="13"/>
                    <a:pt x="26" y="13"/>
                    <a:pt x="26" y="12"/>
                  </a:cubicBezTo>
                  <a:cubicBezTo>
                    <a:pt x="25" y="12"/>
                    <a:pt x="24" y="13"/>
                    <a:pt x="24" y="13"/>
                  </a:cubicBezTo>
                  <a:cubicBezTo>
                    <a:pt x="24" y="11"/>
                    <a:pt x="22" y="11"/>
                    <a:pt x="22" y="10"/>
                  </a:cubicBezTo>
                  <a:cubicBezTo>
                    <a:pt x="19" y="9"/>
                    <a:pt x="18" y="6"/>
                    <a:pt x="15" y="6"/>
                  </a:cubicBezTo>
                  <a:cubicBezTo>
                    <a:pt x="15" y="6"/>
                    <a:pt x="10" y="5"/>
                    <a:pt x="10" y="6"/>
                  </a:cubicBezTo>
                  <a:cubicBezTo>
                    <a:pt x="10" y="6"/>
                    <a:pt x="10" y="7"/>
                    <a:pt x="10" y="7"/>
                  </a:cubicBezTo>
                  <a:cubicBezTo>
                    <a:pt x="10" y="7"/>
                    <a:pt x="10" y="7"/>
                    <a:pt x="10" y="7"/>
                  </a:cubicBezTo>
                  <a:cubicBezTo>
                    <a:pt x="10" y="7"/>
                    <a:pt x="10" y="8"/>
                    <a:pt x="10" y="8"/>
                  </a:cubicBezTo>
                  <a:cubicBezTo>
                    <a:pt x="10" y="7"/>
                    <a:pt x="10" y="8"/>
                    <a:pt x="10" y="8"/>
                  </a:cubicBezTo>
                  <a:cubicBezTo>
                    <a:pt x="9" y="8"/>
                    <a:pt x="9" y="10"/>
                    <a:pt x="9" y="10"/>
                  </a:cubicBezTo>
                  <a:cubicBezTo>
                    <a:pt x="9" y="10"/>
                    <a:pt x="9" y="10"/>
                    <a:pt x="10" y="10"/>
                  </a:cubicBezTo>
                  <a:cubicBezTo>
                    <a:pt x="10" y="10"/>
                    <a:pt x="10" y="10"/>
                    <a:pt x="10" y="10"/>
                  </a:cubicBezTo>
                  <a:cubicBezTo>
                    <a:pt x="10" y="10"/>
                    <a:pt x="10" y="10"/>
                    <a:pt x="10" y="10"/>
                  </a:cubicBezTo>
                  <a:cubicBezTo>
                    <a:pt x="11" y="10"/>
                    <a:pt x="12" y="10"/>
                    <a:pt x="12" y="10"/>
                  </a:cubicBezTo>
                  <a:cubicBezTo>
                    <a:pt x="14" y="10"/>
                    <a:pt x="15" y="10"/>
                    <a:pt x="16" y="10"/>
                  </a:cubicBezTo>
                  <a:cubicBezTo>
                    <a:pt x="15" y="11"/>
                    <a:pt x="12" y="10"/>
                    <a:pt x="12" y="13"/>
                  </a:cubicBezTo>
                  <a:cubicBezTo>
                    <a:pt x="12" y="17"/>
                    <a:pt x="15" y="14"/>
                    <a:pt x="17" y="15"/>
                  </a:cubicBezTo>
                  <a:cubicBezTo>
                    <a:pt x="16" y="15"/>
                    <a:pt x="14" y="17"/>
                    <a:pt x="15" y="18"/>
                  </a:cubicBezTo>
                  <a:cubicBezTo>
                    <a:pt x="18" y="20"/>
                    <a:pt x="18" y="19"/>
                    <a:pt x="21" y="19"/>
                  </a:cubicBezTo>
                  <a:cubicBezTo>
                    <a:pt x="19" y="20"/>
                    <a:pt x="16" y="19"/>
                    <a:pt x="14" y="18"/>
                  </a:cubicBezTo>
                  <a:cubicBezTo>
                    <a:pt x="13" y="18"/>
                    <a:pt x="11" y="16"/>
                    <a:pt x="10" y="17"/>
                  </a:cubicBezTo>
                  <a:cubicBezTo>
                    <a:pt x="10" y="17"/>
                    <a:pt x="10" y="17"/>
                    <a:pt x="10" y="17"/>
                  </a:cubicBezTo>
                  <a:cubicBezTo>
                    <a:pt x="10" y="17"/>
                    <a:pt x="10" y="17"/>
                    <a:pt x="10" y="17"/>
                  </a:cubicBezTo>
                  <a:cubicBezTo>
                    <a:pt x="9" y="17"/>
                    <a:pt x="8" y="17"/>
                    <a:pt x="7" y="18"/>
                  </a:cubicBezTo>
                  <a:cubicBezTo>
                    <a:pt x="7" y="19"/>
                    <a:pt x="8" y="19"/>
                    <a:pt x="9" y="19"/>
                  </a:cubicBezTo>
                  <a:cubicBezTo>
                    <a:pt x="7" y="20"/>
                    <a:pt x="9" y="20"/>
                    <a:pt x="10" y="21"/>
                  </a:cubicBezTo>
                  <a:cubicBezTo>
                    <a:pt x="8" y="21"/>
                    <a:pt x="6" y="20"/>
                    <a:pt x="4" y="21"/>
                  </a:cubicBezTo>
                  <a:cubicBezTo>
                    <a:pt x="5" y="22"/>
                    <a:pt x="0" y="22"/>
                    <a:pt x="2" y="23"/>
                  </a:cubicBezTo>
                  <a:cubicBezTo>
                    <a:pt x="3" y="24"/>
                    <a:pt x="3" y="25"/>
                    <a:pt x="4" y="25"/>
                  </a:cubicBezTo>
                  <a:cubicBezTo>
                    <a:pt x="5" y="25"/>
                    <a:pt x="6" y="24"/>
                    <a:pt x="8" y="24"/>
                  </a:cubicBezTo>
                  <a:cubicBezTo>
                    <a:pt x="8" y="24"/>
                    <a:pt x="9" y="24"/>
                    <a:pt x="9" y="24"/>
                  </a:cubicBezTo>
                  <a:cubicBezTo>
                    <a:pt x="10" y="24"/>
                    <a:pt x="10" y="24"/>
                    <a:pt x="10" y="24"/>
                  </a:cubicBezTo>
                  <a:cubicBezTo>
                    <a:pt x="10" y="24"/>
                    <a:pt x="10" y="24"/>
                    <a:pt x="10" y="24"/>
                  </a:cubicBezTo>
                  <a:cubicBezTo>
                    <a:pt x="12" y="24"/>
                    <a:pt x="14" y="23"/>
                    <a:pt x="16" y="23"/>
                  </a:cubicBezTo>
                  <a:cubicBezTo>
                    <a:pt x="16" y="23"/>
                    <a:pt x="16" y="24"/>
                    <a:pt x="16" y="24"/>
                  </a:cubicBezTo>
                  <a:cubicBezTo>
                    <a:pt x="17" y="24"/>
                    <a:pt x="17" y="23"/>
                    <a:pt x="17" y="23"/>
                  </a:cubicBezTo>
                  <a:cubicBezTo>
                    <a:pt x="17" y="23"/>
                    <a:pt x="18" y="23"/>
                    <a:pt x="18" y="23"/>
                  </a:cubicBezTo>
                  <a:cubicBezTo>
                    <a:pt x="20" y="23"/>
                    <a:pt x="20" y="23"/>
                    <a:pt x="21" y="23"/>
                  </a:cubicBezTo>
                  <a:cubicBezTo>
                    <a:pt x="24" y="23"/>
                    <a:pt x="25" y="22"/>
                    <a:pt x="27" y="22"/>
                  </a:cubicBezTo>
                  <a:cubicBezTo>
                    <a:pt x="29" y="22"/>
                    <a:pt x="31" y="22"/>
                    <a:pt x="33" y="21"/>
                  </a:cubicBezTo>
                  <a:cubicBezTo>
                    <a:pt x="34" y="21"/>
                    <a:pt x="34" y="21"/>
                    <a:pt x="35" y="21"/>
                  </a:cubicBezTo>
                  <a:cubicBezTo>
                    <a:pt x="34" y="21"/>
                    <a:pt x="34" y="21"/>
                    <a:pt x="34" y="22"/>
                  </a:cubicBezTo>
                  <a:cubicBezTo>
                    <a:pt x="37" y="22"/>
                    <a:pt x="39" y="20"/>
                    <a:pt x="42" y="21"/>
                  </a:cubicBezTo>
                  <a:cubicBezTo>
                    <a:pt x="40" y="22"/>
                    <a:pt x="38" y="21"/>
                    <a:pt x="37" y="22"/>
                  </a:cubicBezTo>
                  <a:cubicBezTo>
                    <a:pt x="36" y="22"/>
                    <a:pt x="35" y="22"/>
                    <a:pt x="34" y="22"/>
                  </a:cubicBezTo>
                  <a:cubicBezTo>
                    <a:pt x="33" y="22"/>
                    <a:pt x="33" y="22"/>
                    <a:pt x="33" y="22"/>
                  </a:cubicBezTo>
                  <a:cubicBezTo>
                    <a:pt x="32" y="23"/>
                    <a:pt x="33" y="23"/>
                    <a:pt x="34" y="23"/>
                  </a:cubicBezTo>
                  <a:cubicBezTo>
                    <a:pt x="33" y="24"/>
                    <a:pt x="31" y="24"/>
                    <a:pt x="30" y="24"/>
                  </a:cubicBezTo>
                  <a:cubicBezTo>
                    <a:pt x="31" y="24"/>
                    <a:pt x="31" y="24"/>
                    <a:pt x="32" y="24"/>
                  </a:cubicBezTo>
                  <a:cubicBezTo>
                    <a:pt x="31" y="25"/>
                    <a:pt x="29" y="25"/>
                    <a:pt x="28" y="25"/>
                  </a:cubicBezTo>
                  <a:cubicBezTo>
                    <a:pt x="29" y="25"/>
                    <a:pt x="30" y="25"/>
                    <a:pt x="31" y="25"/>
                  </a:cubicBezTo>
                  <a:cubicBezTo>
                    <a:pt x="30" y="26"/>
                    <a:pt x="29" y="26"/>
                    <a:pt x="28" y="26"/>
                  </a:cubicBezTo>
                  <a:cubicBezTo>
                    <a:pt x="29" y="26"/>
                    <a:pt x="29" y="26"/>
                    <a:pt x="30" y="26"/>
                  </a:cubicBezTo>
                  <a:cubicBezTo>
                    <a:pt x="29" y="26"/>
                    <a:pt x="28" y="26"/>
                    <a:pt x="26" y="26"/>
                  </a:cubicBezTo>
                  <a:cubicBezTo>
                    <a:pt x="25" y="26"/>
                    <a:pt x="24" y="26"/>
                    <a:pt x="25" y="27"/>
                  </a:cubicBezTo>
                  <a:cubicBezTo>
                    <a:pt x="27" y="28"/>
                    <a:pt x="24" y="28"/>
                    <a:pt x="23" y="28"/>
                  </a:cubicBezTo>
                  <a:cubicBezTo>
                    <a:pt x="24" y="28"/>
                    <a:pt x="24" y="29"/>
                    <a:pt x="24" y="29"/>
                  </a:cubicBezTo>
                  <a:cubicBezTo>
                    <a:pt x="26" y="30"/>
                    <a:pt x="27" y="29"/>
                    <a:pt x="28" y="29"/>
                  </a:cubicBezTo>
                  <a:cubicBezTo>
                    <a:pt x="25" y="31"/>
                    <a:pt x="30" y="30"/>
                    <a:pt x="31" y="31"/>
                  </a:cubicBezTo>
                  <a:cubicBezTo>
                    <a:pt x="29" y="31"/>
                    <a:pt x="27" y="31"/>
                    <a:pt x="25" y="32"/>
                  </a:cubicBezTo>
                  <a:cubicBezTo>
                    <a:pt x="27" y="32"/>
                    <a:pt x="26" y="34"/>
                    <a:pt x="26" y="35"/>
                  </a:cubicBezTo>
                  <a:cubicBezTo>
                    <a:pt x="27" y="35"/>
                    <a:pt x="28" y="36"/>
                    <a:pt x="29" y="36"/>
                  </a:cubicBezTo>
                  <a:cubicBezTo>
                    <a:pt x="30" y="36"/>
                    <a:pt x="31" y="36"/>
                    <a:pt x="32" y="36"/>
                  </a:cubicBezTo>
                  <a:cubicBezTo>
                    <a:pt x="33" y="36"/>
                    <a:pt x="34" y="36"/>
                    <a:pt x="35" y="36"/>
                  </a:cubicBezTo>
                  <a:cubicBezTo>
                    <a:pt x="36" y="36"/>
                    <a:pt x="37" y="34"/>
                    <a:pt x="38" y="33"/>
                  </a:cubicBezTo>
                  <a:cubicBezTo>
                    <a:pt x="38" y="33"/>
                    <a:pt x="38" y="34"/>
                    <a:pt x="37" y="34"/>
                  </a:cubicBezTo>
                  <a:cubicBezTo>
                    <a:pt x="41" y="34"/>
                    <a:pt x="44" y="34"/>
                    <a:pt x="47" y="35"/>
                  </a:cubicBezTo>
                  <a:cubicBezTo>
                    <a:pt x="48" y="35"/>
                    <a:pt x="52" y="36"/>
                    <a:pt x="52" y="34"/>
                  </a:cubicBezTo>
                  <a:cubicBezTo>
                    <a:pt x="51" y="33"/>
                    <a:pt x="49" y="32"/>
                    <a:pt x="50" y="31"/>
                  </a:cubicBezTo>
                  <a:cubicBezTo>
                    <a:pt x="50" y="31"/>
                    <a:pt x="52" y="32"/>
                    <a:pt x="52" y="32"/>
                  </a:cubicBezTo>
                  <a:cubicBezTo>
                    <a:pt x="53" y="32"/>
                    <a:pt x="55" y="33"/>
                    <a:pt x="55" y="32"/>
                  </a:cubicBezTo>
                  <a:cubicBezTo>
                    <a:pt x="54" y="32"/>
                    <a:pt x="55" y="31"/>
                    <a:pt x="53" y="32"/>
                  </a:cubicBezTo>
                  <a:cubicBezTo>
                    <a:pt x="55" y="30"/>
                    <a:pt x="49" y="30"/>
                    <a:pt x="52" y="29"/>
                  </a:cubicBezTo>
                  <a:cubicBezTo>
                    <a:pt x="51" y="29"/>
                    <a:pt x="51" y="29"/>
                    <a:pt x="50" y="29"/>
                  </a:cubicBezTo>
                  <a:cubicBezTo>
                    <a:pt x="51" y="29"/>
                    <a:pt x="52" y="28"/>
                    <a:pt x="53" y="27"/>
                  </a:cubicBezTo>
                  <a:cubicBezTo>
                    <a:pt x="53" y="27"/>
                    <a:pt x="53" y="24"/>
                    <a:pt x="54" y="24"/>
                  </a:cubicBezTo>
                  <a:cubicBezTo>
                    <a:pt x="54" y="24"/>
                    <a:pt x="55" y="25"/>
                    <a:pt x="55" y="25"/>
                  </a:cubicBezTo>
                  <a:cubicBezTo>
                    <a:pt x="56" y="26"/>
                    <a:pt x="57" y="26"/>
                    <a:pt x="58" y="27"/>
                  </a:cubicBezTo>
                  <a:cubicBezTo>
                    <a:pt x="55" y="26"/>
                    <a:pt x="58" y="22"/>
                    <a:pt x="57" y="21"/>
                  </a:cubicBezTo>
                  <a:cubicBezTo>
                    <a:pt x="55" y="21"/>
                    <a:pt x="54" y="21"/>
                    <a:pt x="55" y="19"/>
                  </a:cubicBezTo>
                  <a:cubicBezTo>
                    <a:pt x="55" y="17"/>
                    <a:pt x="55" y="17"/>
                    <a:pt x="55" y="16"/>
                  </a:cubicBezTo>
                  <a:cubicBezTo>
                    <a:pt x="55" y="15"/>
                    <a:pt x="55" y="14"/>
                    <a:pt x="56" y="13"/>
                  </a:cubicBezTo>
                  <a:cubicBezTo>
                    <a:pt x="56" y="12"/>
                    <a:pt x="56" y="10"/>
                    <a:pt x="55" y="10"/>
                  </a:cubicBezTo>
                  <a:cubicBezTo>
                    <a:pt x="53" y="9"/>
                    <a:pt x="54" y="7"/>
                    <a:pt x="54" y="5"/>
                  </a:cubicBezTo>
                  <a:cubicBezTo>
                    <a:pt x="54" y="4"/>
                    <a:pt x="53" y="4"/>
                    <a:pt x="52" y="4"/>
                  </a:cubicBezTo>
                  <a:cubicBezTo>
                    <a:pt x="51" y="4"/>
                    <a:pt x="50" y="3"/>
                    <a:pt x="49" y="3"/>
                  </a:cubicBezTo>
                  <a:cubicBezTo>
                    <a:pt x="49" y="3"/>
                    <a:pt x="47" y="3"/>
                    <a:pt x="47" y="2"/>
                  </a:cubicBezTo>
                  <a:cubicBezTo>
                    <a:pt x="48" y="2"/>
                    <a:pt x="48" y="2"/>
                    <a:pt x="49" y="2"/>
                  </a:cubicBezTo>
                  <a:cubicBezTo>
                    <a:pt x="49" y="2"/>
                    <a:pt x="48" y="2"/>
                    <a:pt x="48" y="2"/>
                  </a:cubicBezTo>
                  <a:cubicBezTo>
                    <a:pt x="47" y="2"/>
                    <a:pt x="47" y="1"/>
                    <a:pt x="46" y="0"/>
                  </a:cubicBezTo>
                  <a:cubicBezTo>
                    <a:pt x="45" y="0"/>
                    <a:pt x="43" y="0"/>
                    <a:pt x="4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08" name="Freeform 2060">
              <a:extLst>
                <a:ext uri="{FF2B5EF4-FFF2-40B4-BE49-F238E27FC236}">
                  <a16:creationId xmlns:a16="http://schemas.microsoft.com/office/drawing/2014/main" id="{23B7AD54-130B-4416-AD19-F677F4476827}"/>
                </a:ext>
              </a:extLst>
            </p:cNvPr>
            <p:cNvSpPr>
              <a:spLocks/>
            </p:cNvSpPr>
            <p:nvPr/>
          </p:nvSpPr>
          <p:spPr bwMode="auto">
            <a:xfrm>
              <a:off x="1083" y="415"/>
              <a:ext cx="3" cy="2"/>
            </a:xfrm>
            <a:custGeom>
              <a:avLst/>
              <a:gdLst>
                <a:gd name="T0" fmla="*/ 1 w 1"/>
                <a:gd name="T1" fmla="*/ 0 h 1"/>
                <a:gd name="T2" fmla="*/ 1 w 1"/>
                <a:gd name="T3" fmla="*/ 1 h 1"/>
                <a:gd name="T4" fmla="*/ 1 w 1"/>
                <a:gd name="T5" fmla="*/ 1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0" y="1"/>
                    <a:pt x="1" y="1"/>
                  </a:cubicBezTo>
                  <a:cubicBezTo>
                    <a:pt x="1" y="1"/>
                    <a:pt x="1" y="1"/>
                    <a:pt x="1" y="1"/>
                  </a:cubicBezTo>
                  <a:cubicBezTo>
                    <a:pt x="1" y="1"/>
                    <a:pt x="1" y="0"/>
                    <a:pt x="1" y="0"/>
                  </a:cubicBezTo>
                  <a:cubicBezTo>
                    <a:pt x="1" y="0"/>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09" name="Freeform 2061">
              <a:extLst>
                <a:ext uri="{FF2B5EF4-FFF2-40B4-BE49-F238E27FC236}">
                  <a16:creationId xmlns:a16="http://schemas.microsoft.com/office/drawing/2014/main" id="{B754B5D5-E466-40FE-90BA-09F60C421C51}"/>
                </a:ext>
              </a:extLst>
            </p:cNvPr>
            <p:cNvSpPr>
              <a:spLocks/>
            </p:cNvSpPr>
            <p:nvPr/>
          </p:nvSpPr>
          <p:spPr bwMode="auto">
            <a:xfrm>
              <a:off x="1067" y="536"/>
              <a:ext cx="156" cy="123"/>
            </a:xfrm>
            <a:custGeom>
              <a:avLst/>
              <a:gdLst>
                <a:gd name="T0" fmla="*/ 64 w 66"/>
                <a:gd name="T1" fmla="*/ 23 h 52"/>
                <a:gd name="T2" fmla="*/ 58 w 66"/>
                <a:gd name="T3" fmla="*/ 23 h 52"/>
                <a:gd name="T4" fmla="*/ 53 w 66"/>
                <a:gd name="T5" fmla="*/ 18 h 52"/>
                <a:gd name="T6" fmla="*/ 44 w 66"/>
                <a:gd name="T7" fmla="*/ 18 h 52"/>
                <a:gd name="T8" fmla="*/ 53 w 66"/>
                <a:gd name="T9" fmla="*/ 12 h 52"/>
                <a:gd name="T10" fmla="*/ 56 w 66"/>
                <a:gd name="T11" fmla="*/ 9 h 52"/>
                <a:gd name="T12" fmla="*/ 54 w 66"/>
                <a:gd name="T13" fmla="*/ 8 h 52"/>
                <a:gd name="T14" fmla="*/ 56 w 66"/>
                <a:gd name="T15" fmla="*/ 1 h 52"/>
                <a:gd name="T16" fmla="*/ 49 w 66"/>
                <a:gd name="T17" fmla="*/ 2 h 52"/>
                <a:gd name="T18" fmla="*/ 38 w 66"/>
                <a:gd name="T19" fmla="*/ 4 h 52"/>
                <a:gd name="T20" fmla="*/ 33 w 66"/>
                <a:gd name="T21" fmla="*/ 2 h 52"/>
                <a:gd name="T22" fmla="*/ 26 w 66"/>
                <a:gd name="T23" fmla="*/ 2 h 52"/>
                <a:gd name="T24" fmla="*/ 29 w 66"/>
                <a:gd name="T25" fmla="*/ 2 h 52"/>
                <a:gd name="T26" fmla="*/ 21 w 66"/>
                <a:gd name="T27" fmla="*/ 2 h 52"/>
                <a:gd name="T28" fmla="*/ 18 w 66"/>
                <a:gd name="T29" fmla="*/ 5 h 52"/>
                <a:gd name="T30" fmla="*/ 23 w 66"/>
                <a:gd name="T31" fmla="*/ 9 h 52"/>
                <a:gd name="T32" fmla="*/ 17 w 66"/>
                <a:gd name="T33" fmla="*/ 7 h 52"/>
                <a:gd name="T34" fmla="*/ 13 w 66"/>
                <a:gd name="T35" fmla="*/ 10 h 52"/>
                <a:gd name="T36" fmla="*/ 24 w 66"/>
                <a:gd name="T37" fmla="*/ 12 h 52"/>
                <a:gd name="T38" fmla="*/ 31 w 66"/>
                <a:gd name="T39" fmla="*/ 14 h 52"/>
                <a:gd name="T40" fmla="*/ 24 w 66"/>
                <a:gd name="T41" fmla="*/ 14 h 52"/>
                <a:gd name="T42" fmla="*/ 26 w 66"/>
                <a:gd name="T43" fmla="*/ 16 h 52"/>
                <a:gd name="T44" fmla="*/ 26 w 66"/>
                <a:gd name="T45" fmla="*/ 21 h 52"/>
                <a:gd name="T46" fmla="*/ 24 w 66"/>
                <a:gd name="T47" fmla="*/ 19 h 52"/>
                <a:gd name="T48" fmla="*/ 20 w 66"/>
                <a:gd name="T49" fmla="*/ 23 h 52"/>
                <a:gd name="T50" fmla="*/ 16 w 66"/>
                <a:gd name="T51" fmla="*/ 22 h 52"/>
                <a:gd name="T52" fmla="*/ 8 w 66"/>
                <a:gd name="T53" fmla="*/ 17 h 52"/>
                <a:gd name="T54" fmla="*/ 4 w 66"/>
                <a:gd name="T55" fmla="*/ 17 h 52"/>
                <a:gd name="T56" fmla="*/ 1 w 66"/>
                <a:gd name="T57" fmla="*/ 24 h 52"/>
                <a:gd name="T58" fmla="*/ 9 w 66"/>
                <a:gd name="T59" fmla="*/ 30 h 52"/>
                <a:gd name="T60" fmla="*/ 13 w 66"/>
                <a:gd name="T61" fmla="*/ 33 h 52"/>
                <a:gd name="T62" fmla="*/ 20 w 66"/>
                <a:gd name="T63" fmla="*/ 34 h 52"/>
                <a:gd name="T64" fmla="*/ 30 w 66"/>
                <a:gd name="T65" fmla="*/ 41 h 52"/>
                <a:gd name="T66" fmla="*/ 33 w 66"/>
                <a:gd name="T67" fmla="*/ 45 h 52"/>
                <a:gd name="T68" fmla="*/ 36 w 66"/>
                <a:gd name="T69" fmla="*/ 49 h 52"/>
                <a:gd name="T70" fmla="*/ 41 w 66"/>
                <a:gd name="T71" fmla="*/ 51 h 52"/>
                <a:gd name="T72" fmla="*/ 46 w 66"/>
                <a:gd name="T73" fmla="*/ 44 h 52"/>
                <a:gd name="T74" fmla="*/ 46 w 66"/>
                <a:gd name="T75" fmla="*/ 41 h 52"/>
                <a:gd name="T76" fmla="*/ 46 w 66"/>
                <a:gd name="T77" fmla="*/ 41 h 52"/>
                <a:gd name="T78" fmla="*/ 49 w 66"/>
                <a:gd name="T79" fmla="*/ 44 h 52"/>
                <a:gd name="T80" fmla="*/ 63 w 66"/>
                <a:gd name="T81" fmla="*/ 40 h 52"/>
                <a:gd name="T82" fmla="*/ 64 w 66"/>
                <a:gd name="T83" fmla="*/ 35 h 52"/>
                <a:gd name="T84" fmla="*/ 61 w 66"/>
                <a:gd name="T85" fmla="*/ 3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 h="52">
                  <a:moveTo>
                    <a:pt x="66" y="28"/>
                  </a:moveTo>
                  <a:cubicBezTo>
                    <a:pt x="66" y="27"/>
                    <a:pt x="65" y="26"/>
                    <a:pt x="64" y="25"/>
                  </a:cubicBezTo>
                  <a:cubicBezTo>
                    <a:pt x="64" y="24"/>
                    <a:pt x="64" y="23"/>
                    <a:pt x="64" y="23"/>
                  </a:cubicBezTo>
                  <a:cubicBezTo>
                    <a:pt x="64" y="23"/>
                    <a:pt x="62" y="24"/>
                    <a:pt x="62" y="24"/>
                  </a:cubicBezTo>
                  <a:cubicBezTo>
                    <a:pt x="60" y="24"/>
                    <a:pt x="59" y="25"/>
                    <a:pt x="58" y="26"/>
                  </a:cubicBezTo>
                  <a:cubicBezTo>
                    <a:pt x="58" y="25"/>
                    <a:pt x="59" y="24"/>
                    <a:pt x="58" y="23"/>
                  </a:cubicBezTo>
                  <a:cubicBezTo>
                    <a:pt x="58" y="22"/>
                    <a:pt x="57" y="22"/>
                    <a:pt x="57" y="21"/>
                  </a:cubicBezTo>
                  <a:cubicBezTo>
                    <a:pt x="56" y="19"/>
                    <a:pt x="57" y="19"/>
                    <a:pt x="55" y="19"/>
                  </a:cubicBezTo>
                  <a:cubicBezTo>
                    <a:pt x="54" y="18"/>
                    <a:pt x="54" y="18"/>
                    <a:pt x="53" y="18"/>
                  </a:cubicBezTo>
                  <a:cubicBezTo>
                    <a:pt x="51" y="18"/>
                    <a:pt x="50" y="17"/>
                    <a:pt x="48" y="18"/>
                  </a:cubicBezTo>
                  <a:cubicBezTo>
                    <a:pt x="47" y="18"/>
                    <a:pt x="45" y="19"/>
                    <a:pt x="45" y="21"/>
                  </a:cubicBezTo>
                  <a:cubicBezTo>
                    <a:pt x="44" y="21"/>
                    <a:pt x="43" y="19"/>
                    <a:pt x="44" y="18"/>
                  </a:cubicBezTo>
                  <a:cubicBezTo>
                    <a:pt x="44" y="18"/>
                    <a:pt x="45" y="18"/>
                    <a:pt x="45" y="18"/>
                  </a:cubicBezTo>
                  <a:cubicBezTo>
                    <a:pt x="46" y="17"/>
                    <a:pt x="47" y="16"/>
                    <a:pt x="48" y="16"/>
                  </a:cubicBezTo>
                  <a:cubicBezTo>
                    <a:pt x="50" y="14"/>
                    <a:pt x="51" y="13"/>
                    <a:pt x="53" y="12"/>
                  </a:cubicBezTo>
                  <a:cubicBezTo>
                    <a:pt x="55" y="12"/>
                    <a:pt x="56" y="11"/>
                    <a:pt x="57" y="11"/>
                  </a:cubicBezTo>
                  <a:cubicBezTo>
                    <a:pt x="57" y="11"/>
                    <a:pt x="58" y="10"/>
                    <a:pt x="57" y="10"/>
                  </a:cubicBezTo>
                  <a:cubicBezTo>
                    <a:pt x="57" y="9"/>
                    <a:pt x="57" y="9"/>
                    <a:pt x="56" y="9"/>
                  </a:cubicBezTo>
                  <a:cubicBezTo>
                    <a:pt x="55" y="9"/>
                    <a:pt x="55" y="9"/>
                    <a:pt x="54" y="9"/>
                  </a:cubicBezTo>
                  <a:cubicBezTo>
                    <a:pt x="54" y="9"/>
                    <a:pt x="54" y="10"/>
                    <a:pt x="53" y="8"/>
                  </a:cubicBezTo>
                  <a:cubicBezTo>
                    <a:pt x="52" y="7"/>
                    <a:pt x="53" y="8"/>
                    <a:pt x="54" y="8"/>
                  </a:cubicBezTo>
                  <a:cubicBezTo>
                    <a:pt x="54" y="8"/>
                    <a:pt x="54" y="7"/>
                    <a:pt x="55" y="7"/>
                  </a:cubicBezTo>
                  <a:cubicBezTo>
                    <a:pt x="57" y="8"/>
                    <a:pt x="60" y="6"/>
                    <a:pt x="60" y="4"/>
                  </a:cubicBezTo>
                  <a:cubicBezTo>
                    <a:pt x="59" y="4"/>
                    <a:pt x="57" y="1"/>
                    <a:pt x="56" y="1"/>
                  </a:cubicBezTo>
                  <a:cubicBezTo>
                    <a:pt x="55" y="2"/>
                    <a:pt x="53" y="1"/>
                    <a:pt x="52" y="1"/>
                  </a:cubicBezTo>
                  <a:cubicBezTo>
                    <a:pt x="51" y="1"/>
                    <a:pt x="51" y="0"/>
                    <a:pt x="50" y="1"/>
                  </a:cubicBezTo>
                  <a:cubicBezTo>
                    <a:pt x="50" y="1"/>
                    <a:pt x="50" y="1"/>
                    <a:pt x="49" y="2"/>
                  </a:cubicBezTo>
                  <a:cubicBezTo>
                    <a:pt x="48" y="3"/>
                    <a:pt x="46" y="3"/>
                    <a:pt x="44" y="3"/>
                  </a:cubicBezTo>
                  <a:cubicBezTo>
                    <a:pt x="43" y="3"/>
                    <a:pt x="42" y="4"/>
                    <a:pt x="41" y="4"/>
                  </a:cubicBezTo>
                  <a:cubicBezTo>
                    <a:pt x="40" y="4"/>
                    <a:pt x="39" y="3"/>
                    <a:pt x="38" y="4"/>
                  </a:cubicBezTo>
                  <a:cubicBezTo>
                    <a:pt x="37" y="4"/>
                    <a:pt x="37" y="4"/>
                    <a:pt x="37" y="4"/>
                  </a:cubicBezTo>
                  <a:cubicBezTo>
                    <a:pt x="36" y="4"/>
                    <a:pt x="35" y="3"/>
                    <a:pt x="34" y="2"/>
                  </a:cubicBezTo>
                  <a:cubicBezTo>
                    <a:pt x="33" y="2"/>
                    <a:pt x="33" y="2"/>
                    <a:pt x="33" y="2"/>
                  </a:cubicBezTo>
                  <a:cubicBezTo>
                    <a:pt x="32" y="2"/>
                    <a:pt x="31" y="0"/>
                    <a:pt x="30" y="0"/>
                  </a:cubicBezTo>
                  <a:cubicBezTo>
                    <a:pt x="29" y="0"/>
                    <a:pt x="28" y="0"/>
                    <a:pt x="28" y="0"/>
                  </a:cubicBezTo>
                  <a:cubicBezTo>
                    <a:pt x="27" y="0"/>
                    <a:pt x="25" y="2"/>
                    <a:pt x="26" y="2"/>
                  </a:cubicBezTo>
                  <a:cubicBezTo>
                    <a:pt x="27" y="2"/>
                    <a:pt x="28" y="2"/>
                    <a:pt x="29" y="1"/>
                  </a:cubicBezTo>
                  <a:cubicBezTo>
                    <a:pt x="29" y="1"/>
                    <a:pt x="30" y="0"/>
                    <a:pt x="30" y="1"/>
                  </a:cubicBezTo>
                  <a:cubicBezTo>
                    <a:pt x="30" y="2"/>
                    <a:pt x="29" y="2"/>
                    <a:pt x="29" y="2"/>
                  </a:cubicBezTo>
                  <a:cubicBezTo>
                    <a:pt x="28" y="3"/>
                    <a:pt x="28" y="3"/>
                    <a:pt x="27" y="3"/>
                  </a:cubicBezTo>
                  <a:cubicBezTo>
                    <a:pt x="26" y="2"/>
                    <a:pt x="25" y="2"/>
                    <a:pt x="24" y="2"/>
                  </a:cubicBezTo>
                  <a:cubicBezTo>
                    <a:pt x="22" y="1"/>
                    <a:pt x="22" y="2"/>
                    <a:pt x="21" y="2"/>
                  </a:cubicBezTo>
                  <a:cubicBezTo>
                    <a:pt x="20" y="2"/>
                    <a:pt x="19" y="2"/>
                    <a:pt x="18" y="3"/>
                  </a:cubicBezTo>
                  <a:cubicBezTo>
                    <a:pt x="18" y="3"/>
                    <a:pt x="18" y="4"/>
                    <a:pt x="18" y="4"/>
                  </a:cubicBezTo>
                  <a:cubicBezTo>
                    <a:pt x="18" y="4"/>
                    <a:pt x="17" y="4"/>
                    <a:pt x="18" y="5"/>
                  </a:cubicBezTo>
                  <a:cubicBezTo>
                    <a:pt x="18" y="5"/>
                    <a:pt x="18" y="5"/>
                    <a:pt x="18" y="5"/>
                  </a:cubicBezTo>
                  <a:cubicBezTo>
                    <a:pt x="19" y="6"/>
                    <a:pt x="20" y="6"/>
                    <a:pt x="21" y="6"/>
                  </a:cubicBezTo>
                  <a:cubicBezTo>
                    <a:pt x="24" y="7"/>
                    <a:pt x="22" y="8"/>
                    <a:pt x="23" y="9"/>
                  </a:cubicBezTo>
                  <a:cubicBezTo>
                    <a:pt x="25" y="11"/>
                    <a:pt x="24" y="10"/>
                    <a:pt x="22" y="10"/>
                  </a:cubicBezTo>
                  <a:cubicBezTo>
                    <a:pt x="21" y="9"/>
                    <a:pt x="20" y="7"/>
                    <a:pt x="19" y="7"/>
                  </a:cubicBezTo>
                  <a:cubicBezTo>
                    <a:pt x="19" y="7"/>
                    <a:pt x="17" y="6"/>
                    <a:pt x="17" y="7"/>
                  </a:cubicBezTo>
                  <a:cubicBezTo>
                    <a:pt x="16" y="7"/>
                    <a:pt x="16" y="7"/>
                    <a:pt x="16" y="7"/>
                  </a:cubicBezTo>
                  <a:cubicBezTo>
                    <a:pt x="15" y="7"/>
                    <a:pt x="15" y="7"/>
                    <a:pt x="14" y="8"/>
                  </a:cubicBezTo>
                  <a:cubicBezTo>
                    <a:pt x="13" y="8"/>
                    <a:pt x="12" y="9"/>
                    <a:pt x="13" y="10"/>
                  </a:cubicBezTo>
                  <a:cubicBezTo>
                    <a:pt x="14" y="11"/>
                    <a:pt x="16" y="11"/>
                    <a:pt x="17" y="12"/>
                  </a:cubicBezTo>
                  <a:cubicBezTo>
                    <a:pt x="19" y="13"/>
                    <a:pt x="20" y="13"/>
                    <a:pt x="22" y="13"/>
                  </a:cubicBezTo>
                  <a:cubicBezTo>
                    <a:pt x="23" y="13"/>
                    <a:pt x="24" y="12"/>
                    <a:pt x="24" y="12"/>
                  </a:cubicBezTo>
                  <a:cubicBezTo>
                    <a:pt x="24" y="10"/>
                    <a:pt x="25" y="11"/>
                    <a:pt x="26" y="11"/>
                  </a:cubicBezTo>
                  <a:cubicBezTo>
                    <a:pt x="26" y="12"/>
                    <a:pt x="27" y="13"/>
                    <a:pt x="28" y="13"/>
                  </a:cubicBezTo>
                  <a:cubicBezTo>
                    <a:pt x="29" y="14"/>
                    <a:pt x="30" y="14"/>
                    <a:pt x="31" y="14"/>
                  </a:cubicBezTo>
                  <a:cubicBezTo>
                    <a:pt x="29" y="15"/>
                    <a:pt x="27" y="13"/>
                    <a:pt x="26" y="13"/>
                  </a:cubicBezTo>
                  <a:cubicBezTo>
                    <a:pt x="25" y="13"/>
                    <a:pt x="24" y="13"/>
                    <a:pt x="24" y="14"/>
                  </a:cubicBezTo>
                  <a:cubicBezTo>
                    <a:pt x="24" y="14"/>
                    <a:pt x="24" y="14"/>
                    <a:pt x="24" y="14"/>
                  </a:cubicBezTo>
                  <a:cubicBezTo>
                    <a:pt x="23" y="15"/>
                    <a:pt x="23" y="15"/>
                    <a:pt x="23" y="15"/>
                  </a:cubicBezTo>
                  <a:cubicBezTo>
                    <a:pt x="22" y="16"/>
                    <a:pt x="23" y="17"/>
                    <a:pt x="24" y="17"/>
                  </a:cubicBezTo>
                  <a:cubicBezTo>
                    <a:pt x="25" y="17"/>
                    <a:pt x="25" y="15"/>
                    <a:pt x="26" y="16"/>
                  </a:cubicBezTo>
                  <a:cubicBezTo>
                    <a:pt x="26" y="16"/>
                    <a:pt x="28" y="19"/>
                    <a:pt x="27" y="18"/>
                  </a:cubicBezTo>
                  <a:cubicBezTo>
                    <a:pt x="28" y="19"/>
                    <a:pt x="29" y="20"/>
                    <a:pt x="27" y="21"/>
                  </a:cubicBezTo>
                  <a:cubicBezTo>
                    <a:pt x="27" y="21"/>
                    <a:pt x="26" y="21"/>
                    <a:pt x="26" y="21"/>
                  </a:cubicBezTo>
                  <a:cubicBezTo>
                    <a:pt x="25" y="20"/>
                    <a:pt x="26" y="20"/>
                    <a:pt x="26" y="20"/>
                  </a:cubicBezTo>
                  <a:cubicBezTo>
                    <a:pt x="25" y="19"/>
                    <a:pt x="24" y="19"/>
                    <a:pt x="25" y="17"/>
                  </a:cubicBezTo>
                  <a:cubicBezTo>
                    <a:pt x="24" y="18"/>
                    <a:pt x="24" y="18"/>
                    <a:pt x="24" y="19"/>
                  </a:cubicBezTo>
                  <a:cubicBezTo>
                    <a:pt x="24" y="20"/>
                    <a:pt x="24" y="20"/>
                    <a:pt x="24" y="20"/>
                  </a:cubicBezTo>
                  <a:cubicBezTo>
                    <a:pt x="25" y="21"/>
                    <a:pt x="25" y="21"/>
                    <a:pt x="25" y="22"/>
                  </a:cubicBezTo>
                  <a:cubicBezTo>
                    <a:pt x="25" y="24"/>
                    <a:pt x="22" y="24"/>
                    <a:pt x="20" y="23"/>
                  </a:cubicBezTo>
                  <a:cubicBezTo>
                    <a:pt x="19" y="23"/>
                    <a:pt x="20" y="24"/>
                    <a:pt x="20" y="24"/>
                  </a:cubicBezTo>
                  <a:cubicBezTo>
                    <a:pt x="20" y="24"/>
                    <a:pt x="19" y="24"/>
                    <a:pt x="19" y="24"/>
                  </a:cubicBezTo>
                  <a:cubicBezTo>
                    <a:pt x="18" y="24"/>
                    <a:pt x="17" y="23"/>
                    <a:pt x="16" y="22"/>
                  </a:cubicBezTo>
                  <a:cubicBezTo>
                    <a:pt x="15" y="21"/>
                    <a:pt x="13" y="20"/>
                    <a:pt x="12" y="19"/>
                  </a:cubicBezTo>
                  <a:cubicBezTo>
                    <a:pt x="11" y="19"/>
                    <a:pt x="10" y="17"/>
                    <a:pt x="9" y="17"/>
                  </a:cubicBezTo>
                  <a:cubicBezTo>
                    <a:pt x="8" y="17"/>
                    <a:pt x="8" y="17"/>
                    <a:pt x="8" y="17"/>
                  </a:cubicBezTo>
                  <a:cubicBezTo>
                    <a:pt x="8" y="17"/>
                    <a:pt x="8" y="17"/>
                    <a:pt x="8" y="17"/>
                  </a:cubicBezTo>
                  <a:cubicBezTo>
                    <a:pt x="7" y="17"/>
                    <a:pt x="7" y="17"/>
                    <a:pt x="6" y="17"/>
                  </a:cubicBezTo>
                  <a:cubicBezTo>
                    <a:pt x="5" y="17"/>
                    <a:pt x="5" y="17"/>
                    <a:pt x="4" y="17"/>
                  </a:cubicBezTo>
                  <a:cubicBezTo>
                    <a:pt x="4" y="17"/>
                    <a:pt x="2" y="18"/>
                    <a:pt x="2" y="19"/>
                  </a:cubicBezTo>
                  <a:cubicBezTo>
                    <a:pt x="2" y="20"/>
                    <a:pt x="2" y="20"/>
                    <a:pt x="1" y="21"/>
                  </a:cubicBezTo>
                  <a:cubicBezTo>
                    <a:pt x="1" y="22"/>
                    <a:pt x="0" y="23"/>
                    <a:pt x="1" y="24"/>
                  </a:cubicBezTo>
                  <a:cubicBezTo>
                    <a:pt x="2" y="26"/>
                    <a:pt x="6" y="28"/>
                    <a:pt x="8" y="28"/>
                  </a:cubicBezTo>
                  <a:cubicBezTo>
                    <a:pt x="8" y="28"/>
                    <a:pt x="8" y="28"/>
                    <a:pt x="8" y="28"/>
                  </a:cubicBezTo>
                  <a:cubicBezTo>
                    <a:pt x="8" y="29"/>
                    <a:pt x="9" y="29"/>
                    <a:pt x="9" y="30"/>
                  </a:cubicBezTo>
                  <a:cubicBezTo>
                    <a:pt x="9" y="31"/>
                    <a:pt x="10" y="32"/>
                    <a:pt x="11" y="32"/>
                  </a:cubicBezTo>
                  <a:cubicBezTo>
                    <a:pt x="12" y="32"/>
                    <a:pt x="12" y="32"/>
                    <a:pt x="12" y="32"/>
                  </a:cubicBezTo>
                  <a:cubicBezTo>
                    <a:pt x="13" y="32"/>
                    <a:pt x="13" y="33"/>
                    <a:pt x="13" y="33"/>
                  </a:cubicBezTo>
                  <a:cubicBezTo>
                    <a:pt x="14" y="33"/>
                    <a:pt x="15" y="31"/>
                    <a:pt x="16" y="31"/>
                  </a:cubicBezTo>
                  <a:cubicBezTo>
                    <a:pt x="17" y="31"/>
                    <a:pt x="17" y="33"/>
                    <a:pt x="18" y="33"/>
                  </a:cubicBezTo>
                  <a:cubicBezTo>
                    <a:pt x="19" y="34"/>
                    <a:pt x="19" y="34"/>
                    <a:pt x="20" y="34"/>
                  </a:cubicBezTo>
                  <a:cubicBezTo>
                    <a:pt x="22" y="33"/>
                    <a:pt x="23" y="36"/>
                    <a:pt x="24" y="37"/>
                  </a:cubicBezTo>
                  <a:cubicBezTo>
                    <a:pt x="25" y="38"/>
                    <a:pt x="27" y="40"/>
                    <a:pt x="29" y="40"/>
                  </a:cubicBezTo>
                  <a:cubicBezTo>
                    <a:pt x="29" y="41"/>
                    <a:pt x="30" y="40"/>
                    <a:pt x="30" y="41"/>
                  </a:cubicBezTo>
                  <a:cubicBezTo>
                    <a:pt x="30" y="41"/>
                    <a:pt x="31" y="42"/>
                    <a:pt x="31" y="42"/>
                  </a:cubicBezTo>
                  <a:cubicBezTo>
                    <a:pt x="32" y="43"/>
                    <a:pt x="32" y="43"/>
                    <a:pt x="32" y="44"/>
                  </a:cubicBezTo>
                  <a:cubicBezTo>
                    <a:pt x="33" y="45"/>
                    <a:pt x="33" y="45"/>
                    <a:pt x="33" y="45"/>
                  </a:cubicBezTo>
                  <a:cubicBezTo>
                    <a:pt x="34" y="45"/>
                    <a:pt x="34" y="45"/>
                    <a:pt x="34" y="45"/>
                  </a:cubicBezTo>
                  <a:cubicBezTo>
                    <a:pt x="35" y="46"/>
                    <a:pt x="34" y="46"/>
                    <a:pt x="35" y="46"/>
                  </a:cubicBezTo>
                  <a:cubicBezTo>
                    <a:pt x="35" y="47"/>
                    <a:pt x="35" y="48"/>
                    <a:pt x="36" y="49"/>
                  </a:cubicBezTo>
                  <a:cubicBezTo>
                    <a:pt x="37" y="50"/>
                    <a:pt x="37" y="50"/>
                    <a:pt x="38" y="50"/>
                  </a:cubicBezTo>
                  <a:cubicBezTo>
                    <a:pt x="39" y="50"/>
                    <a:pt x="39" y="49"/>
                    <a:pt x="39" y="50"/>
                  </a:cubicBezTo>
                  <a:cubicBezTo>
                    <a:pt x="40" y="50"/>
                    <a:pt x="40" y="51"/>
                    <a:pt x="41" y="51"/>
                  </a:cubicBezTo>
                  <a:cubicBezTo>
                    <a:pt x="42" y="52"/>
                    <a:pt x="44" y="50"/>
                    <a:pt x="45" y="49"/>
                  </a:cubicBezTo>
                  <a:cubicBezTo>
                    <a:pt x="46" y="48"/>
                    <a:pt x="47" y="48"/>
                    <a:pt x="48" y="47"/>
                  </a:cubicBezTo>
                  <a:cubicBezTo>
                    <a:pt x="47" y="47"/>
                    <a:pt x="46" y="45"/>
                    <a:pt x="46" y="44"/>
                  </a:cubicBezTo>
                  <a:cubicBezTo>
                    <a:pt x="46" y="44"/>
                    <a:pt x="46" y="43"/>
                    <a:pt x="46" y="43"/>
                  </a:cubicBezTo>
                  <a:cubicBezTo>
                    <a:pt x="46" y="43"/>
                    <a:pt x="46" y="43"/>
                    <a:pt x="46" y="43"/>
                  </a:cubicBezTo>
                  <a:cubicBezTo>
                    <a:pt x="46" y="43"/>
                    <a:pt x="46" y="42"/>
                    <a:pt x="46" y="41"/>
                  </a:cubicBezTo>
                  <a:cubicBezTo>
                    <a:pt x="46" y="41"/>
                    <a:pt x="46" y="41"/>
                    <a:pt x="46" y="41"/>
                  </a:cubicBezTo>
                  <a:cubicBezTo>
                    <a:pt x="46" y="41"/>
                    <a:pt x="46" y="41"/>
                    <a:pt x="46" y="40"/>
                  </a:cubicBezTo>
                  <a:cubicBezTo>
                    <a:pt x="46" y="41"/>
                    <a:pt x="46" y="41"/>
                    <a:pt x="46" y="41"/>
                  </a:cubicBezTo>
                  <a:cubicBezTo>
                    <a:pt x="46" y="41"/>
                    <a:pt x="46" y="41"/>
                    <a:pt x="46" y="40"/>
                  </a:cubicBezTo>
                  <a:cubicBezTo>
                    <a:pt x="46" y="42"/>
                    <a:pt x="45" y="43"/>
                    <a:pt x="47" y="44"/>
                  </a:cubicBezTo>
                  <a:cubicBezTo>
                    <a:pt x="47" y="45"/>
                    <a:pt x="48" y="44"/>
                    <a:pt x="49" y="44"/>
                  </a:cubicBezTo>
                  <a:cubicBezTo>
                    <a:pt x="49" y="44"/>
                    <a:pt x="50" y="44"/>
                    <a:pt x="51" y="44"/>
                  </a:cubicBezTo>
                  <a:cubicBezTo>
                    <a:pt x="52" y="44"/>
                    <a:pt x="54" y="43"/>
                    <a:pt x="55" y="43"/>
                  </a:cubicBezTo>
                  <a:cubicBezTo>
                    <a:pt x="58" y="42"/>
                    <a:pt x="60" y="41"/>
                    <a:pt x="63" y="40"/>
                  </a:cubicBezTo>
                  <a:cubicBezTo>
                    <a:pt x="64" y="39"/>
                    <a:pt x="64" y="39"/>
                    <a:pt x="64" y="38"/>
                  </a:cubicBezTo>
                  <a:cubicBezTo>
                    <a:pt x="64" y="37"/>
                    <a:pt x="64" y="36"/>
                    <a:pt x="63" y="37"/>
                  </a:cubicBezTo>
                  <a:cubicBezTo>
                    <a:pt x="63" y="37"/>
                    <a:pt x="64" y="36"/>
                    <a:pt x="64" y="35"/>
                  </a:cubicBezTo>
                  <a:cubicBezTo>
                    <a:pt x="64" y="35"/>
                    <a:pt x="64" y="34"/>
                    <a:pt x="64" y="34"/>
                  </a:cubicBezTo>
                  <a:cubicBezTo>
                    <a:pt x="64" y="33"/>
                    <a:pt x="64" y="33"/>
                    <a:pt x="63" y="32"/>
                  </a:cubicBezTo>
                  <a:cubicBezTo>
                    <a:pt x="63" y="32"/>
                    <a:pt x="61" y="32"/>
                    <a:pt x="61" y="31"/>
                  </a:cubicBezTo>
                  <a:cubicBezTo>
                    <a:pt x="62" y="32"/>
                    <a:pt x="63" y="31"/>
                    <a:pt x="65" y="30"/>
                  </a:cubicBezTo>
                  <a:cubicBezTo>
                    <a:pt x="66" y="30"/>
                    <a:pt x="66" y="30"/>
                    <a:pt x="66" y="2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10" name="Freeform 2062">
              <a:extLst>
                <a:ext uri="{FF2B5EF4-FFF2-40B4-BE49-F238E27FC236}">
                  <a16:creationId xmlns:a16="http://schemas.microsoft.com/office/drawing/2014/main" id="{E64718DE-C773-4A6E-9716-BE2DE666C355}"/>
                </a:ext>
              </a:extLst>
            </p:cNvPr>
            <p:cNvSpPr>
              <a:spLocks noEditPoints="1"/>
            </p:cNvSpPr>
            <p:nvPr/>
          </p:nvSpPr>
          <p:spPr bwMode="auto">
            <a:xfrm>
              <a:off x="1443" y="881"/>
              <a:ext cx="170" cy="111"/>
            </a:xfrm>
            <a:custGeom>
              <a:avLst/>
              <a:gdLst>
                <a:gd name="T0" fmla="*/ 64 w 72"/>
                <a:gd name="T1" fmla="*/ 30 h 47"/>
                <a:gd name="T2" fmla="*/ 59 w 72"/>
                <a:gd name="T3" fmla="*/ 32 h 47"/>
                <a:gd name="T4" fmla="*/ 57 w 72"/>
                <a:gd name="T5" fmla="*/ 30 h 47"/>
                <a:gd name="T6" fmla="*/ 56 w 72"/>
                <a:gd name="T7" fmla="*/ 26 h 47"/>
                <a:gd name="T8" fmla="*/ 47 w 72"/>
                <a:gd name="T9" fmla="*/ 19 h 47"/>
                <a:gd name="T10" fmla="*/ 35 w 72"/>
                <a:gd name="T11" fmla="*/ 13 h 47"/>
                <a:gd name="T12" fmla="*/ 27 w 72"/>
                <a:gd name="T13" fmla="*/ 8 h 47"/>
                <a:gd name="T14" fmla="*/ 23 w 72"/>
                <a:gd name="T15" fmla="*/ 10 h 47"/>
                <a:gd name="T16" fmla="*/ 20 w 72"/>
                <a:gd name="T17" fmla="*/ 7 h 47"/>
                <a:gd name="T18" fmla="*/ 20 w 72"/>
                <a:gd name="T19" fmla="*/ 2 h 47"/>
                <a:gd name="T20" fmla="*/ 17 w 72"/>
                <a:gd name="T21" fmla="*/ 0 h 47"/>
                <a:gd name="T22" fmla="*/ 12 w 72"/>
                <a:gd name="T23" fmla="*/ 6 h 47"/>
                <a:gd name="T24" fmla="*/ 11 w 72"/>
                <a:gd name="T25" fmla="*/ 9 h 47"/>
                <a:gd name="T26" fmla="*/ 11 w 72"/>
                <a:gd name="T27" fmla="*/ 11 h 47"/>
                <a:gd name="T28" fmla="*/ 11 w 72"/>
                <a:gd name="T29" fmla="*/ 14 h 47"/>
                <a:gd name="T30" fmla="*/ 11 w 72"/>
                <a:gd name="T31" fmla="*/ 17 h 47"/>
                <a:gd name="T32" fmla="*/ 11 w 72"/>
                <a:gd name="T33" fmla="*/ 19 h 47"/>
                <a:gd name="T34" fmla="*/ 9 w 72"/>
                <a:gd name="T35" fmla="*/ 22 h 47"/>
                <a:gd name="T36" fmla="*/ 9 w 72"/>
                <a:gd name="T37" fmla="*/ 25 h 47"/>
                <a:gd name="T38" fmla="*/ 9 w 72"/>
                <a:gd name="T39" fmla="*/ 27 h 47"/>
                <a:gd name="T40" fmla="*/ 10 w 72"/>
                <a:gd name="T41" fmla="*/ 30 h 47"/>
                <a:gd name="T42" fmla="*/ 2 w 72"/>
                <a:gd name="T43" fmla="*/ 35 h 47"/>
                <a:gd name="T44" fmla="*/ 10 w 72"/>
                <a:gd name="T45" fmla="*/ 37 h 47"/>
                <a:gd name="T46" fmla="*/ 15 w 72"/>
                <a:gd name="T47" fmla="*/ 37 h 47"/>
                <a:gd name="T48" fmla="*/ 17 w 72"/>
                <a:gd name="T49" fmla="*/ 38 h 47"/>
                <a:gd name="T50" fmla="*/ 16 w 72"/>
                <a:gd name="T51" fmla="*/ 42 h 47"/>
                <a:gd name="T52" fmla="*/ 25 w 72"/>
                <a:gd name="T53" fmla="*/ 44 h 47"/>
                <a:gd name="T54" fmla="*/ 29 w 72"/>
                <a:gd name="T55" fmla="*/ 40 h 47"/>
                <a:gd name="T56" fmla="*/ 34 w 72"/>
                <a:gd name="T57" fmla="*/ 37 h 47"/>
                <a:gd name="T58" fmla="*/ 37 w 72"/>
                <a:gd name="T59" fmla="*/ 34 h 47"/>
                <a:gd name="T60" fmla="*/ 43 w 72"/>
                <a:gd name="T61" fmla="*/ 29 h 47"/>
                <a:gd name="T62" fmla="*/ 50 w 72"/>
                <a:gd name="T63" fmla="*/ 34 h 47"/>
                <a:gd name="T64" fmla="*/ 54 w 72"/>
                <a:gd name="T65" fmla="*/ 38 h 47"/>
                <a:gd name="T66" fmla="*/ 62 w 72"/>
                <a:gd name="T67" fmla="*/ 41 h 47"/>
                <a:gd name="T68" fmla="*/ 72 w 72"/>
                <a:gd name="T69" fmla="*/ 36 h 47"/>
                <a:gd name="T70" fmla="*/ 42 w 72"/>
                <a:gd name="T71" fmla="*/ 22 h 47"/>
                <a:gd name="T72" fmla="*/ 42 w 72"/>
                <a:gd name="T73" fmla="*/ 2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2" h="47">
                  <a:moveTo>
                    <a:pt x="67" y="34"/>
                  </a:moveTo>
                  <a:cubicBezTo>
                    <a:pt x="66" y="33"/>
                    <a:pt x="65" y="31"/>
                    <a:pt x="64" y="30"/>
                  </a:cubicBezTo>
                  <a:cubicBezTo>
                    <a:pt x="65" y="33"/>
                    <a:pt x="60" y="31"/>
                    <a:pt x="59" y="31"/>
                  </a:cubicBezTo>
                  <a:cubicBezTo>
                    <a:pt x="59" y="31"/>
                    <a:pt x="60" y="32"/>
                    <a:pt x="59" y="32"/>
                  </a:cubicBezTo>
                  <a:cubicBezTo>
                    <a:pt x="57" y="32"/>
                    <a:pt x="55" y="32"/>
                    <a:pt x="53" y="32"/>
                  </a:cubicBezTo>
                  <a:cubicBezTo>
                    <a:pt x="54" y="30"/>
                    <a:pt x="57" y="32"/>
                    <a:pt x="57" y="30"/>
                  </a:cubicBezTo>
                  <a:cubicBezTo>
                    <a:pt x="58" y="29"/>
                    <a:pt x="56" y="29"/>
                    <a:pt x="56" y="28"/>
                  </a:cubicBezTo>
                  <a:cubicBezTo>
                    <a:pt x="56" y="27"/>
                    <a:pt x="56" y="27"/>
                    <a:pt x="56" y="26"/>
                  </a:cubicBezTo>
                  <a:cubicBezTo>
                    <a:pt x="55" y="24"/>
                    <a:pt x="53" y="22"/>
                    <a:pt x="52" y="21"/>
                  </a:cubicBezTo>
                  <a:cubicBezTo>
                    <a:pt x="50" y="20"/>
                    <a:pt x="49" y="19"/>
                    <a:pt x="47" y="19"/>
                  </a:cubicBezTo>
                  <a:cubicBezTo>
                    <a:pt x="45" y="17"/>
                    <a:pt x="42" y="15"/>
                    <a:pt x="39" y="14"/>
                  </a:cubicBezTo>
                  <a:cubicBezTo>
                    <a:pt x="38" y="13"/>
                    <a:pt x="36" y="13"/>
                    <a:pt x="35" y="13"/>
                  </a:cubicBezTo>
                  <a:cubicBezTo>
                    <a:pt x="33" y="13"/>
                    <a:pt x="31" y="12"/>
                    <a:pt x="30" y="10"/>
                  </a:cubicBezTo>
                  <a:cubicBezTo>
                    <a:pt x="29" y="9"/>
                    <a:pt x="28" y="7"/>
                    <a:pt x="27" y="8"/>
                  </a:cubicBezTo>
                  <a:cubicBezTo>
                    <a:pt x="25" y="10"/>
                    <a:pt x="26" y="12"/>
                    <a:pt x="23" y="12"/>
                  </a:cubicBezTo>
                  <a:cubicBezTo>
                    <a:pt x="24" y="11"/>
                    <a:pt x="23" y="11"/>
                    <a:pt x="23" y="10"/>
                  </a:cubicBezTo>
                  <a:cubicBezTo>
                    <a:pt x="22" y="10"/>
                    <a:pt x="23" y="10"/>
                    <a:pt x="23" y="9"/>
                  </a:cubicBezTo>
                  <a:cubicBezTo>
                    <a:pt x="22" y="8"/>
                    <a:pt x="20" y="8"/>
                    <a:pt x="20" y="7"/>
                  </a:cubicBezTo>
                  <a:cubicBezTo>
                    <a:pt x="19" y="6"/>
                    <a:pt x="21" y="7"/>
                    <a:pt x="22" y="6"/>
                  </a:cubicBezTo>
                  <a:cubicBezTo>
                    <a:pt x="23" y="5"/>
                    <a:pt x="21" y="3"/>
                    <a:pt x="20" y="2"/>
                  </a:cubicBezTo>
                  <a:cubicBezTo>
                    <a:pt x="19" y="2"/>
                    <a:pt x="18" y="3"/>
                    <a:pt x="17" y="3"/>
                  </a:cubicBezTo>
                  <a:cubicBezTo>
                    <a:pt x="17" y="2"/>
                    <a:pt x="18" y="1"/>
                    <a:pt x="17" y="0"/>
                  </a:cubicBezTo>
                  <a:cubicBezTo>
                    <a:pt x="17" y="0"/>
                    <a:pt x="15" y="1"/>
                    <a:pt x="15" y="2"/>
                  </a:cubicBezTo>
                  <a:cubicBezTo>
                    <a:pt x="13" y="3"/>
                    <a:pt x="13" y="4"/>
                    <a:pt x="12" y="6"/>
                  </a:cubicBezTo>
                  <a:cubicBezTo>
                    <a:pt x="12" y="7"/>
                    <a:pt x="11" y="7"/>
                    <a:pt x="11" y="8"/>
                  </a:cubicBezTo>
                  <a:cubicBezTo>
                    <a:pt x="11" y="8"/>
                    <a:pt x="11" y="9"/>
                    <a:pt x="11" y="9"/>
                  </a:cubicBezTo>
                  <a:cubicBezTo>
                    <a:pt x="11" y="10"/>
                    <a:pt x="11" y="10"/>
                    <a:pt x="11" y="10"/>
                  </a:cubicBezTo>
                  <a:cubicBezTo>
                    <a:pt x="11" y="10"/>
                    <a:pt x="11" y="11"/>
                    <a:pt x="11" y="11"/>
                  </a:cubicBezTo>
                  <a:cubicBezTo>
                    <a:pt x="11" y="12"/>
                    <a:pt x="11" y="12"/>
                    <a:pt x="11" y="12"/>
                  </a:cubicBezTo>
                  <a:cubicBezTo>
                    <a:pt x="11" y="13"/>
                    <a:pt x="11" y="14"/>
                    <a:pt x="11" y="14"/>
                  </a:cubicBezTo>
                  <a:cubicBezTo>
                    <a:pt x="11" y="15"/>
                    <a:pt x="10" y="15"/>
                    <a:pt x="10" y="16"/>
                  </a:cubicBezTo>
                  <a:cubicBezTo>
                    <a:pt x="10" y="17"/>
                    <a:pt x="11" y="17"/>
                    <a:pt x="11" y="17"/>
                  </a:cubicBezTo>
                  <a:cubicBezTo>
                    <a:pt x="11" y="18"/>
                    <a:pt x="10" y="18"/>
                    <a:pt x="10" y="18"/>
                  </a:cubicBezTo>
                  <a:cubicBezTo>
                    <a:pt x="10" y="18"/>
                    <a:pt x="11" y="19"/>
                    <a:pt x="11" y="19"/>
                  </a:cubicBezTo>
                  <a:cubicBezTo>
                    <a:pt x="11" y="19"/>
                    <a:pt x="10" y="20"/>
                    <a:pt x="10" y="20"/>
                  </a:cubicBezTo>
                  <a:cubicBezTo>
                    <a:pt x="9" y="20"/>
                    <a:pt x="9" y="21"/>
                    <a:pt x="9" y="22"/>
                  </a:cubicBezTo>
                  <a:cubicBezTo>
                    <a:pt x="8" y="23"/>
                    <a:pt x="9" y="23"/>
                    <a:pt x="9" y="24"/>
                  </a:cubicBezTo>
                  <a:cubicBezTo>
                    <a:pt x="9" y="24"/>
                    <a:pt x="9" y="25"/>
                    <a:pt x="9" y="25"/>
                  </a:cubicBezTo>
                  <a:cubicBezTo>
                    <a:pt x="9" y="25"/>
                    <a:pt x="9" y="25"/>
                    <a:pt x="9" y="26"/>
                  </a:cubicBezTo>
                  <a:cubicBezTo>
                    <a:pt x="9" y="26"/>
                    <a:pt x="9" y="26"/>
                    <a:pt x="9" y="27"/>
                  </a:cubicBezTo>
                  <a:cubicBezTo>
                    <a:pt x="9" y="27"/>
                    <a:pt x="9" y="28"/>
                    <a:pt x="9" y="28"/>
                  </a:cubicBezTo>
                  <a:cubicBezTo>
                    <a:pt x="9" y="29"/>
                    <a:pt x="10" y="29"/>
                    <a:pt x="10" y="30"/>
                  </a:cubicBezTo>
                  <a:cubicBezTo>
                    <a:pt x="11" y="31"/>
                    <a:pt x="8" y="32"/>
                    <a:pt x="7" y="32"/>
                  </a:cubicBezTo>
                  <a:cubicBezTo>
                    <a:pt x="5" y="33"/>
                    <a:pt x="3" y="33"/>
                    <a:pt x="2" y="35"/>
                  </a:cubicBezTo>
                  <a:cubicBezTo>
                    <a:pt x="1" y="36"/>
                    <a:pt x="0" y="37"/>
                    <a:pt x="0" y="39"/>
                  </a:cubicBezTo>
                  <a:cubicBezTo>
                    <a:pt x="3" y="38"/>
                    <a:pt x="6" y="38"/>
                    <a:pt x="10" y="37"/>
                  </a:cubicBezTo>
                  <a:cubicBezTo>
                    <a:pt x="11" y="37"/>
                    <a:pt x="13" y="37"/>
                    <a:pt x="15" y="36"/>
                  </a:cubicBezTo>
                  <a:cubicBezTo>
                    <a:pt x="16" y="36"/>
                    <a:pt x="15" y="36"/>
                    <a:pt x="15" y="37"/>
                  </a:cubicBezTo>
                  <a:cubicBezTo>
                    <a:pt x="16" y="37"/>
                    <a:pt x="15" y="37"/>
                    <a:pt x="16" y="37"/>
                  </a:cubicBezTo>
                  <a:cubicBezTo>
                    <a:pt x="16" y="38"/>
                    <a:pt x="17" y="38"/>
                    <a:pt x="17" y="38"/>
                  </a:cubicBezTo>
                  <a:cubicBezTo>
                    <a:pt x="17" y="39"/>
                    <a:pt x="17" y="40"/>
                    <a:pt x="17" y="40"/>
                  </a:cubicBezTo>
                  <a:cubicBezTo>
                    <a:pt x="16" y="41"/>
                    <a:pt x="16" y="42"/>
                    <a:pt x="16" y="42"/>
                  </a:cubicBezTo>
                  <a:cubicBezTo>
                    <a:pt x="16" y="44"/>
                    <a:pt x="18" y="46"/>
                    <a:pt x="20" y="46"/>
                  </a:cubicBezTo>
                  <a:cubicBezTo>
                    <a:pt x="21" y="47"/>
                    <a:pt x="24" y="45"/>
                    <a:pt x="25" y="44"/>
                  </a:cubicBezTo>
                  <a:cubicBezTo>
                    <a:pt x="27" y="44"/>
                    <a:pt x="28" y="43"/>
                    <a:pt x="28" y="42"/>
                  </a:cubicBezTo>
                  <a:cubicBezTo>
                    <a:pt x="29" y="41"/>
                    <a:pt x="28" y="40"/>
                    <a:pt x="29" y="40"/>
                  </a:cubicBezTo>
                  <a:cubicBezTo>
                    <a:pt x="30" y="39"/>
                    <a:pt x="31" y="39"/>
                    <a:pt x="32" y="38"/>
                  </a:cubicBezTo>
                  <a:cubicBezTo>
                    <a:pt x="33" y="38"/>
                    <a:pt x="33" y="37"/>
                    <a:pt x="34" y="37"/>
                  </a:cubicBezTo>
                  <a:cubicBezTo>
                    <a:pt x="35" y="37"/>
                    <a:pt x="36" y="37"/>
                    <a:pt x="37" y="36"/>
                  </a:cubicBezTo>
                  <a:cubicBezTo>
                    <a:pt x="37" y="35"/>
                    <a:pt x="37" y="35"/>
                    <a:pt x="37" y="34"/>
                  </a:cubicBezTo>
                  <a:cubicBezTo>
                    <a:pt x="37" y="33"/>
                    <a:pt x="37" y="33"/>
                    <a:pt x="36" y="33"/>
                  </a:cubicBezTo>
                  <a:cubicBezTo>
                    <a:pt x="38" y="31"/>
                    <a:pt x="41" y="30"/>
                    <a:pt x="43" y="29"/>
                  </a:cubicBezTo>
                  <a:cubicBezTo>
                    <a:pt x="44" y="30"/>
                    <a:pt x="42" y="32"/>
                    <a:pt x="42" y="32"/>
                  </a:cubicBezTo>
                  <a:cubicBezTo>
                    <a:pt x="43" y="33"/>
                    <a:pt x="49" y="32"/>
                    <a:pt x="50" y="34"/>
                  </a:cubicBezTo>
                  <a:cubicBezTo>
                    <a:pt x="50" y="35"/>
                    <a:pt x="46" y="37"/>
                    <a:pt x="49" y="37"/>
                  </a:cubicBezTo>
                  <a:cubicBezTo>
                    <a:pt x="51" y="37"/>
                    <a:pt x="52" y="38"/>
                    <a:pt x="54" y="38"/>
                  </a:cubicBezTo>
                  <a:cubicBezTo>
                    <a:pt x="55" y="38"/>
                    <a:pt x="56" y="39"/>
                    <a:pt x="57" y="39"/>
                  </a:cubicBezTo>
                  <a:cubicBezTo>
                    <a:pt x="58" y="40"/>
                    <a:pt x="60" y="40"/>
                    <a:pt x="62" y="41"/>
                  </a:cubicBezTo>
                  <a:cubicBezTo>
                    <a:pt x="63" y="41"/>
                    <a:pt x="65" y="42"/>
                    <a:pt x="64" y="40"/>
                  </a:cubicBezTo>
                  <a:cubicBezTo>
                    <a:pt x="67" y="39"/>
                    <a:pt x="69" y="37"/>
                    <a:pt x="72" y="36"/>
                  </a:cubicBezTo>
                  <a:cubicBezTo>
                    <a:pt x="70" y="36"/>
                    <a:pt x="68" y="35"/>
                    <a:pt x="67" y="34"/>
                  </a:cubicBezTo>
                  <a:close/>
                  <a:moveTo>
                    <a:pt x="42" y="22"/>
                  </a:moveTo>
                  <a:cubicBezTo>
                    <a:pt x="42" y="22"/>
                    <a:pt x="42" y="22"/>
                    <a:pt x="42" y="23"/>
                  </a:cubicBezTo>
                  <a:cubicBezTo>
                    <a:pt x="42" y="22"/>
                    <a:pt x="42" y="22"/>
                    <a:pt x="42" y="2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11" name="Freeform 2063">
              <a:extLst>
                <a:ext uri="{FF2B5EF4-FFF2-40B4-BE49-F238E27FC236}">
                  <a16:creationId xmlns:a16="http://schemas.microsoft.com/office/drawing/2014/main" id="{5BB1FC07-7357-49AC-B209-0CD169918FD1}"/>
                </a:ext>
              </a:extLst>
            </p:cNvPr>
            <p:cNvSpPr>
              <a:spLocks/>
            </p:cNvSpPr>
            <p:nvPr/>
          </p:nvSpPr>
          <p:spPr bwMode="auto">
            <a:xfrm>
              <a:off x="1078" y="763"/>
              <a:ext cx="15" cy="12"/>
            </a:xfrm>
            <a:custGeom>
              <a:avLst/>
              <a:gdLst>
                <a:gd name="T0" fmla="*/ 4 w 6"/>
                <a:gd name="T1" fmla="*/ 5 h 5"/>
                <a:gd name="T2" fmla="*/ 4 w 6"/>
                <a:gd name="T3" fmla="*/ 5 h 5"/>
                <a:gd name="T4" fmla="*/ 5 w 6"/>
                <a:gd name="T5" fmla="*/ 5 h 5"/>
                <a:gd name="T6" fmla="*/ 6 w 6"/>
                <a:gd name="T7" fmla="*/ 1 h 5"/>
                <a:gd name="T8" fmla="*/ 4 w 6"/>
                <a:gd name="T9" fmla="*/ 0 h 5"/>
                <a:gd name="T10" fmla="*/ 4 w 6"/>
                <a:gd name="T11" fmla="*/ 0 h 5"/>
                <a:gd name="T12" fmla="*/ 4 w 6"/>
                <a:gd name="T13" fmla="*/ 0 h 5"/>
                <a:gd name="T14" fmla="*/ 4 w 6"/>
                <a:gd name="T15" fmla="*/ 0 h 5"/>
                <a:gd name="T16" fmla="*/ 3 w 6"/>
                <a:gd name="T17" fmla="*/ 0 h 5"/>
                <a:gd name="T18" fmla="*/ 3 w 6"/>
                <a:gd name="T19" fmla="*/ 0 h 5"/>
                <a:gd name="T20" fmla="*/ 2 w 6"/>
                <a:gd name="T21" fmla="*/ 1 h 5"/>
                <a:gd name="T22" fmla="*/ 1 w 6"/>
                <a:gd name="T23" fmla="*/ 2 h 5"/>
                <a:gd name="T24" fmla="*/ 0 w 6"/>
                <a:gd name="T25" fmla="*/ 3 h 5"/>
                <a:gd name="T26" fmla="*/ 3 w 6"/>
                <a:gd name="T27" fmla="*/ 4 h 5"/>
                <a:gd name="T28" fmla="*/ 3 w 6"/>
                <a:gd name="T29" fmla="*/ 4 h 5"/>
                <a:gd name="T30" fmla="*/ 4 w 6"/>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5">
                  <a:moveTo>
                    <a:pt x="4" y="5"/>
                  </a:moveTo>
                  <a:cubicBezTo>
                    <a:pt x="4" y="5"/>
                    <a:pt x="4" y="5"/>
                    <a:pt x="4" y="5"/>
                  </a:cubicBezTo>
                  <a:cubicBezTo>
                    <a:pt x="4" y="5"/>
                    <a:pt x="5" y="5"/>
                    <a:pt x="5" y="5"/>
                  </a:cubicBezTo>
                  <a:cubicBezTo>
                    <a:pt x="5" y="4"/>
                    <a:pt x="6" y="2"/>
                    <a:pt x="6" y="1"/>
                  </a:cubicBezTo>
                  <a:cubicBezTo>
                    <a:pt x="6" y="1"/>
                    <a:pt x="5" y="0"/>
                    <a:pt x="4" y="0"/>
                  </a:cubicBezTo>
                  <a:cubicBezTo>
                    <a:pt x="4" y="0"/>
                    <a:pt x="4" y="0"/>
                    <a:pt x="4" y="0"/>
                  </a:cubicBezTo>
                  <a:cubicBezTo>
                    <a:pt x="4" y="0"/>
                    <a:pt x="4" y="0"/>
                    <a:pt x="4" y="0"/>
                  </a:cubicBezTo>
                  <a:cubicBezTo>
                    <a:pt x="4" y="0"/>
                    <a:pt x="4" y="0"/>
                    <a:pt x="4" y="0"/>
                  </a:cubicBezTo>
                  <a:cubicBezTo>
                    <a:pt x="3" y="0"/>
                    <a:pt x="3" y="0"/>
                    <a:pt x="3" y="0"/>
                  </a:cubicBezTo>
                  <a:cubicBezTo>
                    <a:pt x="3" y="0"/>
                    <a:pt x="3" y="0"/>
                    <a:pt x="3" y="0"/>
                  </a:cubicBezTo>
                  <a:cubicBezTo>
                    <a:pt x="3" y="0"/>
                    <a:pt x="3" y="1"/>
                    <a:pt x="2" y="1"/>
                  </a:cubicBezTo>
                  <a:cubicBezTo>
                    <a:pt x="2" y="1"/>
                    <a:pt x="2" y="2"/>
                    <a:pt x="1" y="2"/>
                  </a:cubicBezTo>
                  <a:cubicBezTo>
                    <a:pt x="1" y="2"/>
                    <a:pt x="0" y="2"/>
                    <a:pt x="0" y="3"/>
                  </a:cubicBezTo>
                  <a:cubicBezTo>
                    <a:pt x="0" y="3"/>
                    <a:pt x="2" y="4"/>
                    <a:pt x="3" y="4"/>
                  </a:cubicBezTo>
                  <a:cubicBezTo>
                    <a:pt x="3" y="4"/>
                    <a:pt x="3" y="4"/>
                    <a:pt x="3" y="4"/>
                  </a:cubicBezTo>
                  <a:cubicBezTo>
                    <a:pt x="4" y="4"/>
                    <a:pt x="4" y="5"/>
                    <a:pt x="4"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12" name="Freeform 2064">
              <a:extLst>
                <a:ext uri="{FF2B5EF4-FFF2-40B4-BE49-F238E27FC236}">
                  <a16:creationId xmlns:a16="http://schemas.microsoft.com/office/drawing/2014/main" id="{7D03AD69-4497-47A7-9F54-3B121EEA22A9}"/>
                </a:ext>
              </a:extLst>
            </p:cNvPr>
            <p:cNvSpPr>
              <a:spLocks/>
            </p:cNvSpPr>
            <p:nvPr/>
          </p:nvSpPr>
          <p:spPr bwMode="auto">
            <a:xfrm>
              <a:off x="998" y="261"/>
              <a:ext cx="161" cy="85"/>
            </a:xfrm>
            <a:custGeom>
              <a:avLst/>
              <a:gdLst>
                <a:gd name="T0" fmla="*/ 5 w 68"/>
                <a:gd name="T1" fmla="*/ 8 h 36"/>
                <a:gd name="T2" fmla="*/ 7 w 68"/>
                <a:gd name="T3" fmla="*/ 11 h 36"/>
                <a:gd name="T4" fmla="*/ 8 w 68"/>
                <a:gd name="T5" fmla="*/ 13 h 36"/>
                <a:gd name="T6" fmla="*/ 12 w 68"/>
                <a:gd name="T7" fmla="*/ 10 h 36"/>
                <a:gd name="T8" fmla="*/ 18 w 68"/>
                <a:gd name="T9" fmla="*/ 11 h 36"/>
                <a:gd name="T10" fmla="*/ 18 w 68"/>
                <a:gd name="T11" fmla="*/ 14 h 36"/>
                <a:gd name="T12" fmla="*/ 23 w 68"/>
                <a:gd name="T13" fmla="*/ 15 h 36"/>
                <a:gd name="T14" fmla="*/ 22 w 68"/>
                <a:gd name="T15" fmla="*/ 16 h 36"/>
                <a:gd name="T16" fmla="*/ 20 w 68"/>
                <a:gd name="T17" fmla="*/ 16 h 36"/>
                <a:gd name="T18" fmla="*/ 23 w 68"/>
                <a:gd name="T19" fmla="*/ 18 h 36"/>
                <a:gd name="T20" fmla="*/ 22 w 68"/>
                <a:gd name="T21" fmla="*/ 20 h 36"/>
                <a:gd name="T22" fmla="*/ 12 w 68"/>
                <a:gd name="T23" fmla="*/ 18 h 36"/>
                <a:gd name="T24" fmla="*/ 12 w 68"/>
                <a:gd name="T25" fmla="*/ 25 h 36"/>
                <a:gd name="T26" fmla="*/ 17 w 68"/>
                <a:gd name="T27" fmla="*/ 26 h 36"/>
                <a:gd name="T28" fmla="*/ 21 w 68"/>
                <a:gd name="T29" fmla="*/ 24 h 36"/>
                <a:gd name="T30" fmla="*/ 28 w 68"/>
                <a:gd name="T31" fmla="*/ 23 h 36"/>
                <a:gd name="T32" fmla="*/ 30 w 68"/>
                <a:gd name="T33" fmla="*/ 25 h 36"/>
                <a:gd name="T34" fmla="*/ 36 w 68"/>
                <a:gd name="T35" fmla="*/ 25 h 36"/>
                <a:gd name="T36" fmla="*/ 37 w 68"/>
                <a:gd name="T37" fmla="*/ 25 h 36"/>
                <a:gd name="T38" fmla="*/ 40 w 68"/>
                <a:gd name="T39" fmla="*/ 25 h 36"/>
                <a:gd name="T40" fmla="*/ 46 w 68"/>
                <a:gd name="T41" fmla="*/ 27 h 36"/>
                <a:gd name="T42" fmla="*/ 49 w 68"/>
                <a:gd name="T43" fmla="*/ 29 h 36"/>
                <a:gd name="T44" fmla="*/ 51 w 68"/>
                <a:gd name="T45" fmla="*/ 33 h 36"/>
                <a:gd name="T46" fmla="*/ 60 w 68"/>
                <a:gd name="T47" fmla="*/ 35 h 36"/>
                <a:gd name="T48" fmla="*/ 68 w 68"/>
                <a:gd name="T49" fmla="*/ 30 h 36"/>
                <a:gd name="T50" fmla="*/ 65 w 68"/>
                <a:gd name="T51" fmla="*/ 27 h 36"/>
                <a:gd name="T52" fmla="*/ 62 w 68"/>
                <a:gd name="T53" fmla="*/ 25 h 36"/>
                <a:gd name="T54" fmla="*/ 59 w 68"/>
                <a:gd name="T55" fmla="*/ 21 h 36"/>
                <a:gd name="T56" fmla="*/ 61 w 68"/>
                <a:gd name="T57" fmla="*/ 17 h 36"/>
                <a:gd name="T58" fmla="*/ 58 w 68"/>
                <a:gd name="T59" fmla="*/ 17 h 36"/>
                <a:gd name="T60" fmla="*/ 56 w 68"/>
                <a:gd name="T61" fmla="*/ 14 h 36"/>
                <a:gd name="T62" fmla="*/ 50 w 68"/>
                <a:gd name="T63" fmla="*/ 13 h 36"/>
                <a:gd name="T64" fmla="*/ 45 w 68"/>
                <a:gd name="T65" fmla="*/ 13 h 36"/>
                <a:gd name="T66" fmla="*/ 45 w 68"/>
                <a:gd name="T67" fmla="*/ 9 h 36"/>
                <a:gd name="T68" fmla="*/ 39 w 68"/>
                <a:gd name="T69" fmla="*/ 7 h 36"/>
                <a:gd name="T70" fmla="*/ 37 w 68"/>
                <a:gd name="T71" fmla="*/ 7 h 36"/>
                <a:gd name="T72" fmla="*/ 33 w 68"/>
                <a:gd name="T73" fmla="*/ 8 h 36"/>
                <a:gd name="T74" fmla="*/ 29 w 68"/>
                <a:gd name="T75" fmla="*/ 9 h 36"/>
                <a:gd name="T76" fmla="*/ 24 w 68"/>
                <a:gd name="T77" fmla="*/ 2 h 36"/>
                <a:gd name="T78" fmla="*/ 8 w 68"/>
                <a:gd name="T79" fmla="*/ 1 h 36"/>
                <a:gd name="T80" fmla="*/ 2 w 68"/>
                <a:gd name="T81" fmla="*/ 1 h 36"/>
                <a:gd name="T82" fmla="*/ 1 w 68"/>
                <a:gd name="T83" fmla="*/ 3 h 36"/>
                <a:gd name="T84" fmla="*/ 2 w 68"/>
                <a:gd name="T85"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36">
                  <a:moveTo>
                    <a:pt x="2" y="8"/>
                  </a:moveTo>
                  <a:cubicBezTo>
                    <a:pt x="3" y="8"/>
                    <a:pt x="4" y="8"/>
                    <a:pt x="5" y="8"/>
                  </a:cubicBezTo>
                  <a:cubicBezTo>
                    <a:pt x="6" y="8"/>
                    <a:pt x="10" y="7"/>
                    <a:pt x="10" y="9"/>
                  </a:cubicBezTo>
                  <a:cubicBezTo>
                    <a:pt x="9" y="9"/>
                    <a:pt x="8" y="11"/>
                    <a:pt x="7" y="11"/>
                  </a:cubicBezTo>
                  <a:cubicBezTo>
                    <a:pt x="7" y="12"/>
                    <a:pt x="6" y="12"/>
                    <a:pt x="7" y="13"/>
                  </a:cubicBezTo>
                  <a:cubicBezTo>
                    <a:pt x="7" y="13"/>
                    <a:pt x="8" y="13"/>
                    <a:pt x="8" y="13"/>
                  </a:cubicBezTo>
                  <a:cubicBezTo>
                    <a:pt x="9" y="13"/>
                    <a:pt x="11" y="12"/>
                    <a:pt x="11" y="11"/>
                  </a:cubicBezTo>
                  <a:cubicBezTo>
                    <a:pt x="11" y="11"/>
                    <a:pt x="11" y="10"/>
                    <a:pt x="12" y="10"/>
                  </a:cubicBezTo>
                  <a:cubicBezTo>
                    <a:pt x="12" y="9"/>
                    <a:pt x="14" y="9"/>
                    <a:pt x="15" y="9"/>
                  </a:cubicBezTo>
                  <a:cubicBezTo>
                    <a:pt x="15" y="9"/>
                    <a:pt x="18" y="10"/>
                    <a:pt x="18" y="11"/>
                  </a:cubicBezTo>
                  <a:cubicBezTo>
                    <a:pt x="18" y="11"/>
                    <a:pt x="14" y="13"/>
                    <a:pt x="16" y="14"/>
                  </a:cubicBezTo>
                  <a:cubicBezTo>
                    <a:pt x="16" y="14"/>
                    <a:pt x="17" y="14"/>
                    <a:pt x="18" y="14"/>
                  </a:cubicBezTo>
                  <a:cubicBezTo>
                    <a:pt x="19" y="15"/>
                    <a:pt x="20" y="14"/>
                    <a:pt x="22" y="14"/>
                  </a:cubicBezTo>
                  <a:cubicBezTo>
                    <a:pt x="22" y="14"/>
                    <a:pt x="24" y="14"/>
                    <a:pt x="23" y="15"/>
                  </a:cubicBezTo>
                  <a:cubicBezTo>
                    <a:pt x="23" y="15"/>
                    <a:pt x="22" y="15"/>
                    <a:pt x="22" y="15"/>
                  </a:cubicBezTo>
                  <a:cubicBezTo>
                    <a:pt x="22" y="15"/>
                    <a:pt x="22" y="16"/>
                    <a:pt x="22" y="16"/>
                  </a:cubicBezTo>
                  <a:cubicBezTo>
                    <a:pt x="21" y="16"/>
                    <a:pt x="22" y="16"/>
                    <a:pt x="21" y="16"/>
                  </a:cubicBezTo>
                  <a:cubicBezTo>
                    <a:pt x="21" y="16"/>
                    <a:pt x="20" y="16"/>
                    <a:pt x="20" y="16"/>
                  </a:cubicBezTo>
                  <a:cubicBezTo>
                    <a:pt x="19" y="16"/>
                    <a:pt x="17" y="16"/>
                    <a:pt x="17" y="17"/>
                  </a:cubicBezTo>
                  <a:cubicBezTo>
                    <a:pt x="17" y="17"/>
                    <a:pt x="23" y="17"/>
                    <a:pt x="23" y="18"/>
                  </a:cubicBezTo>
                  <a:cubicBezTo>
                    <a:pt x="23" y="18"/>
                    <a:pt x="22" y="18"/>
                    <a:pt x="22" y="18"/>
                  </a:cubicBezTo>
                  <a:cubicBezTo>
                    <a:pt x="22" y="19"/>
                    <a:pt x="23" y="19"/>
                    <a:pt x="22" y="20"/>
                  </a:cubicBezTo>
                  <a:cubicBezTo>
                    <a:pt x="21" y="20"/>
                    <a:pt x="19" y="19"/>
                    <a:pt x="18" y="19"/>
                  </a:cubicBezTo>
                  <a:cubicBezTo>
                    <a:pt x="16" y="19"/>
                    <a:pt x="14" y="18"/>
                    <a:pt x="12" y="18"/>
                  </a:cubicBezTo>
                  <a:cubicBezTo>
                    <a:pt x="10" y="18"/>
                    <a:pt x="4" y="18"/>
                    <a:pt x="7" y="21"/>
                  </a:cubicBezTo>
                  <a:cubicBezTo>
                    <a:pt x="8" y="23"/>
                    <a:pt x="10" y="24"/>
                    <a:pt x="12" y="25"/>
                  </a:cubicBezTo>
                  <a:cubicBezTo>
                    <a:pt x="13" y="25"/>
                    <a:pt x="14" y="25"/>
                    <a:pt x="15" y="25"/>
                  </a:cubicBezTo>
                  <a:cubicBezTo>
                    <a:pt x="16" y="25"/>
                    <a:pt x="16" y="26"/>
                    <a:pt x="17" y="26"/>
                  </a:cubicBezTo>
                  <a:cubicBezTo>
                    <a:pt x="17" y="26"/>
                    <a:pt x="17" y="25"/>
                    <a:pt x="18" y="25"/>
                  </a:cubicBezTo>
                  <a:cubicBezTo>
                    <a:pt x="19" y="24"/>
                    <a:pt x="20" y="24"/>
                    <a:pt x="21" y="24"/>
                  </a:cubicBezTo>
                  <a:cubicBezTo>
                    <a:pt x="22" y="23"/>
                    <a:pt x="23" y="23"/>
                    <a:pt x="25" y="23"/>
                  </a:cubicBezTo>
                  <a:cubicBezTo>
                    <a:pt x="25" y="23"/>
                    <a:pt x="27" y="23"/>
                    <a:pt x="28" y="23"/>
                  </a:cubicBezTo>
                  <a:cubicBezTo>
                    <a:pt x="29" y="23"/>
                    <a:pt x="29" y="23"/>
                    <a:pt x="29" y="24"/>
                  </a:cubicBezTo>
                  <a:cubicBezTo>
                    <a:pt x="29" y="25"/>
                    <a:pt x="29" y="25"/>
                    <a:pt x="30" y="25"/>
                  </a:cubicBezTo>
                  <a:cubicBezTo>
                    <a:pt x="31" y="26"/>
                    <a:pt x="32" y="25"/>
                    <a:pt x="33" y="25"/>
                  </a:cubicBezTo>
                  <a:cubicBezTo>
                    <a:pt x="34" y="25"/>
                    <a:pt x="36" y="25"/>
                    <a:pt x="36" y="25"/>
                  </a:cubicBezTo>
                  <a:cubicBezTo>
                    <a:pt x="37" y="25"/>
                    <a:pt x="37" y="25"/>
                    <a:pt x="37" y="25"/>
                  </a:cubicBezTo>
                  <a:cubicBezTo>
                    <a:pt x="37" y="25"/>
                    <a:pt x="37" y="25"/>
                    <a:pt x="37" y="25"/>
                  </a:cubicBezTo>
                  <a:cubicBezTo>
                    <a:pt x="37" y="25"/>
                    <a:pt x="37" y="25"/>
                    <a:pt x="38" y="25"/>
                  </a:cubicBezTo>
                  <a:cubicBezTo>
                    <a:pt x="38" y="25"/>
                    <a:pt x="39" y="25"/>
                    <a:pt x="40" y="25"/>
                  </a:cubicBezTo>
                  <a:cubicBezTo>
                    <a:pt x="41" y="25"/>
                    <a:pt x="42" y="26"/>
                    <a:pt x="43" y="26"/>
                  </a:cubicBezTo>
                  <a:cubicBezTo>
                    <a:pt x="44" y="27"/>
                    <a:pt x="44" y="27"/>
                    <a:pt x="46" y="27"/>
                  </a:cubicBezTo>
                  <a:cubicBezTo>
                    <a:pt x="47" y="27"/>
                    <a:pt x="47" y="27"/>
                    <a:pt x="48" y="28"/>
                  </a:cubicBezTo>
                  <a:cubicBezTo>
                    <a:pt x="48" y="29"/>
                    <a:pt x="49" y="28"/>
                    <a:pt x="49" y="29"/>
                  </a:cubicBezTo>
                  <a:cubicBezTo>
                    <a:pt x="49" y="30"/>
                    <a:pt x="49" y="30"/>
                    <a:pt x="49" y="31"/>
                  </a:cubicBezTo>
                  <a:cubicBezTo>
                    <a:pt x="50" y="32"/>
                    <a:pt x="51" y="32"/>
                    <a:pt x="51" y="33"/>
                  </a:cubicBezTo>
                  <a:cubicBezTo>
                    <a:pt x="52" y="35"/>
                    <a:pt x="55" y="35"/>
                    <a:pt x="56" y="35"/>
                  </a:cubicBezTo>
                  <a:cubicBezTo>
                    <a:pt x="57" y="35"/>
                    <a:pt x="58" y="36"/>
                    <a:pt x="60" y="35"/>
                  </a:cubicBezTo>
                  <a:cubicBezTo>
                    <a:pt x="62" y="35"/>
                    <a:pt x="65" y="34"/>
                    <a:pt x="67" y="33"/>
                  </a:cubicBezTo>
                  <a:cubicBezTo>
                    <a:pt x="67" y="32"/>
                    <a:pt x="68" y="31"/>
                    <a:pt x="68" y="30"/>
                  </a:cubicBezTo>
                  <a:cubicBezTo>
                    <a:pt x="68" y="29"/>
                    <a:pt x="68" y="29"/>
                    <a:pt x="67" y="29"/>
                  </a:cubicBezTo>
                  <a:cubicBezTo>
                    <a:pt x="66" y="28"/>
                    <a:pt x="66" y="27"/>
                    <a:pt x="65" y="27"/>
                  </a:cubicBezTo>
                  <a:cubicBezTo>
                    <a:pt x="64" y="27"/>
                    <a:pt x="64" y="27"/>
                    <a:pt x="64" y="26"/>
                  </a:cubicBezTo>
                  <a:cubicBezTo>
                    <a:pt x="63" y="26"/>
                    <a:pt x="63" y="25"/>
                    <a:pt x="62" y="25"/>
                  </a:cubicBezTo>
                  <a:cubicBezTo>
                    <a:pt x="61" y="24"/>
                    <a:pt x="60" y="25"/>
                    <a:pt x="60" y="23"/>
                  </a:cubicBezTo>
                  <a:cubicBezTo>
                    <a:pt x="60" y="22"/>
                    <a:pt x="59" y="22"/>
                    <a:pt x="59" y="21"/>
                  </a:cubicBezTo>
                  <a:cubicBezTo>
                    <a:pt x="59" y="20"/>
                    <a:pt x="61" y="19"/>
                    <a:pt x="62" y="19"/>
                  </a:cubicBezTo>
                  <a:cubicBezTo>
                    <a:pt x="62" y="18"/>
                    <a:pt x="62" y="18"/>
                    <a:pt x="61" y="17"/>
                  </a:cubicBezTo>
                  <a:cubicBezTo>
                    <a:pt x="60" y="17"/>
                    <a:pt x="60" y="17"/>
                    <a:pt x="60" y="17"/>
                  </a:cubicBezTo>
                  <a:cubicBezTo>
                    <a:pt x="59" y="17"/>
                    <a:pt x="58" y="17"/>
                    <a:pt x="58" y="17"/>
                  </a:cubicBezTo>
                  <a:cubicBezTo>
                    <a:pt x="57" y="16"/>
                    <a:pt x="58" y="16"/>
                    <a:pt x="58" y="16"/>
                  </a:cubicBezTo>
                  <a:cubicBezTo>
                    <a:pt x="59" y="15"/>
                    <a:pt x="56" y="14"/>
                    <a:pt x="56" y="14"/>
                  </a:cubicBezTo>
                  <a:cubicBezTo>
                    <a:pt x="55" y="14"/>
                    <a:pt x="54" y="12"/>
                    <a:pt x="53" y="13"/>
                  </a:cubicBezTo>
                  <a:cubicBezTo>
                    <a:pt x="52" y="13"/>
                    <a:pt x="51" y="13"/>
                    <a:pt x="50" y="13"/>
                  </a:cubicBezTo>
                  <a:cubicBezTo>
                    <a:pt x="50" y="13"/>
                    <a:pt x="49" y="14"/>
                    <a:pt x="48" y="14"/>
                  </a:cubicBezTo>
                  <a:cubicBezTo>
                    <a:pt x="48" y="14"/>
                    <a:pt x="46" y="13"/>
                    <a:pt x="45" y="13"/>
                  </a:cubicBezTo>
                  <a:cubicBezTo>
                    <a:pt x="46" y="12"/>
                    <a:pt x="47" y="10"/>
                    <a:pt x="46" y="9"/>
                  </a:cubicBezTo>
                  <a:cubicBezTo>
                    <a:pt x="46" y="9"/>
                    <a:pt x="45" y="9"/>
                    <a:pt x="45" y="9"/>
                  </a:cubicBezTo>
                  <a:cubicBezTo>
                    <a:pt x="44" y="9"/>
                    <a:pt x="44" y="9"/>
                    <a:pt x="43" y="8"/>
                  </a:cubicBezTo>
                  <a:cubicBezTo>
                    <a:pt x="42" y="7"/>
                    <a:pt x="40" y="7"/>
                    <a:pt x="39" y="7"/>
                  </a:cubicBezTo>
                  <a:cubicBezTo>
                    <a:pt x="37" y="7"/>
                    <a:pt x="37" y="7"/>
                    <a:pt x="37" y="8"/>
                  </a:cubicBezTo>
                  <a:cubicBezTo>
                    <a:pt x="37" y="7"/>
                    <a:pt x="37" y="7"/>
                    <a:pt x="37" y="7"/>
                  </a:cubicBezTo>
                  <a:cubicBezTo>
                    <a:pt x="37" y="7"/>
                    <a:pt x="36" y="8"/>
                    <a:pt x="35" y="8"/>
                  </a:cubicBezTo>
                  <a:cubicBezTo>
                    <a:pt x="35" y="8"/>
                    <a:pt x="33" y="8"/>
                    <a:pt x="33" y="8"/>
                  </a:cubicBezTo>
                  <a:cubicBezTo>
                    <a:pt x="33" y="9"/>
                    <a:pt x="33" y="9"/>
                    <a:pt x="33" y="10"/>
                  </a:cubicBezTo>
                  <a:cubicBezTo>
                    <a:pt x="33" y="11"/>
                    <a:pt x="30" y="10"/>
                    <a:pt x="29" y="9"/>
                  </a:cubicBezTo>
                  <a:cubicBezTo>
                    <a:pt x="31" y="9"/>
                    <a:pt x="30" y="7"/>
                    <a:pt x="29" y="5"/>
                  </a:cubicBezTo>
                  <a:cubicBezTo>
                    <a:pt x="28" y="4"/>
                    <a:pt x="26" y="2"/>
                    <a:pt x="24" y="2"/>
                  </a:cubicBezTo>
                  <a:cubicBezTo>
                    <a:pt x="22" y="1"/>
                    <a:pt x="19" y="0"/>
                    <a:pt x="16" y="0"/>
                  </a:cubicBezTo>
                  <a:cubicBezTo>
                    <a:pt x="14" y="1"/>
                    <a:pt x="11" y="1"/>
                    <a:pt x="8" y="1"/>
                  </a:cubicBezTo>
                  <a:cubicBezTo>
                    <a:pt x="7" y="1"/>
                    <a:pt x="6" y="2"/>
                    <a:pt x="5" y="2"/>
                  </a:cubicBezTo>
                  <a:cubicBezTo>
                    <a:pt x="4" y="2"/>
                    <a:pt x="2" y="1"/>
                    <a:pt x="2" y="1"/>
                  </a:cubicBezTo>
                  <a:cubicBezTo>
                    <a:pt x="2" y="2"/>
                    <a:pt x="2" y="2"/>
                    <a:pt x="2" y="2"/>
                  </a:cubicBezTo>
                  <a:cubicBezTo>
                    <a:pt x="2" y="2"/>
                    <a:pt x="2" y="3"/>
                    <a:pt x="1" y="3"/>
                  </a:cubicBezTo>
                  <a:cubicBezTo>
                    <a:pt x="1" y="3"/>
                    <a:pt x="0" y="5"/>
                    <a:pt x="0" y="5"/>
                  </a:cubicBezTo>
                  <a:cubicBezTo>
                    <a:pt x="0" y="7"/>
                    <a:pt x="0" y="8"/>
                    <a:pt x="2" y="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13" name="Freeform 2065">
              <a:extLst>
                <a:ext uri="{FF2B5EF4-FFF2-40B4-BE49-F238E27FC236}">
                  <a16:creationId xmlns:a16="http://schemas.microsoft.com/office/drawing/2014/main" id="{A748AA72-DC16-42AA-B892-21C152FEDC20}"/>
                </a:ext>
              </a:extLst>
            </p:cNvPr>
            <p:cNvSpPr>
              <a:spLocks/>
            </p:cNvSpPr>
            <p:nvPr/>
          </p:nvSpPr>
          <p:spPr bwMode="auto">
            <a:xfrm>
              <a:off x="1208" y="382"/>
              <a:ext cx="426" cy="130"/>
            </a:xfrm>
            <a:custGeom>
              <a:avLst/>
              <a:gdLst>
                <a:gd name="T0" fmla="*/ 75 w 180"/>
                <a:gd name="T1" fmla="*/ 53 h 55"/>
                <a:gd name="T2" fmla="*/ 79 w 180"/>
                <a:gd name="T3" fmla="*/ 51 h 55"/>
                <a:gd name="T4" fmla="*/ 82 w 180"/>
                <a:gd name="T5" fmla="*/ 48 h 55"/>
                <a:gd name="T6" fmla="*/ 86 w 180"/>
                <a:gd name="T7" fmla="*/ 48 h 55"/>
                <a:gd name="T8" fmla="*/ 88 w 180"/>
                <a:gd name="T9" fmla="*/ 54 h 55"/>
                <a:gd name="T10" fmla="*/ 94 w 180"/>
                <a:gd name="T11" fmla="*/ 54 h 55"/>
                <a:gd name="T12" fmla="*/ 101 w 180"/>
                <a:gd name="T13" fmla="*/ 54 h 55"/>
                <a:gd name="T14" fmla="*/ 103 w 180"/>
                <a:gd name="T15" fmla="*/ 51 h 55"/>
                <a:gd name="T16" fmla="*/ 112 w 180"/>
                <a:gd name="T17" fmla="*/ 54 h 55"/>
                <a:gd name="T18" fmla="*/ 120 w 180"/>
                <a:gd name="T19" fmla="*/ 54 h 55"/>
                <a:gd name="T20" fmla="*/ 123 w 180"/>
                <a:gd name="T21" fmla="*/ 54 h 55"/>
                <a:gd name="T22" fmla="*/ 137 w 180"/>
                <a:gd name="T23" fmla="*/ 52 h 55"/>
                <a:gd name="T24" fmla="*/ 140 w 180"/>
                <a:gd name="T25" fmla="*/ 47 h 55"/>
                <a:gd name="T26" fmla="*/ 156 w 180"/>
                <a:gd name="T27" fmla="*/ 54 h 55"/>
                <a:gd name="T28" fmla="*/ 171 w 180"/>
                <a:gd name="T29" fmla="*/ 50 h 55"/>
                <a:gd name="T30" fmla="*/ 171 w 180"/>
                <a:gd name="T31" fmla="*/ 45 h 55"/>
                <a:gd name="T32" fmla="*/ 176 w 180"/>
                <a:gd name="T33" fmla="*/ 43 h 55"/>
                <a:gd name="T34" fmla="*/ 178 w 180"/>
                <a:gd name="T35" fmla="*/ 38 h 55"/>
                <a:gd name="T36" fmla="*/ 169 w 180"/>
                <a:gd name="T37" fmla="*/ 34 h 55"/>
                <a:gd name="T38" fmla="*/ 164 w 180"/>
                <a:gd name="T39" fmla="*/ 30 h 55"/>
                <a:gd name="T40" fmla="*/ 154 w 180"/>
                <a:gd name="T41" fmla="*/ 27 h 55"/>
                <a:gd name="T42" fmla="*/ 132 w 180"/>
                <a:gd name="T43" fmla="*/ 27 h 55"/>
                <a:gd name="T44" fmla="*/ 127 w 180"/>
                <a:gd name="T45" fmla="*/ 30 h 55"/>
                <a:gd name="T46" fmla="*/ 119 w 180"/>
                <a:gd name="T47" fmla="*/ 32 h 55"/>
                <a:gd name="T48" fmla="*/ 116 w 180"/>
                <a:gd name="T49" fmla="*/ 35 h 55"/>
                <a:gd name="T50" fmla="*/ 96 w 180"/>
                <a:gd name="T51" fmla="*/ 33 h 55"/>
                <a:gd name="T52" fmla="*/ 84 w 180"/>
                <a:gd name="T53" fmla="*/ 30 h 55"/>
                <a:gd name="T54" fmla="*/ 78 w 180"/>
                <a:gd name="T55" fmla="*/ 32 h 55"/>
                <a:gd name="T56" fmla="*/ 78 w 180"/>
                <a:gd name="T57" fmla="*/ 30 h 55"/>
                <a:gd name="T58" fmla="*/ 71 w 180"/>
                <a:gd name="T59" fmla="*/ 23 h 55"/>
                <a:gd name="T60" fmla="*/ 62 w 180"/>
                <a:gd name="T61" fmla="*/ 24 h 55"/>
                <a:gd name="T62" fmla="*/ 59 w 180"/>
                <a:gd name="T63" fmla="*/ 22 h 55"/>
                <a:gd name="T64" fmla="*/ 57 w 180"/>
                <a:gd name="T65" fmla="*/ 19 h 55"/>
                <a:gd name="T66" fmla="*/ 67 w 180"/>
                <a:gd name="T67" fmla="*/ 20 h 55"/>
                <a:gd name="T68" fmla="*/ 72 w 180"/>
                <a:gd name="T69" fmla="*/ 16 h 55"/>
                <a:gd name="T70" fmla="*/ 62 w 180"/>
                <a:gd name="T71" fmla="*/ 13 h 55"/>
                <a:gd name="T72" fmla="*/ 46 w 180"/>
                <a:gd name="T73" fmla="*/ 10 h 55"/>
                <a:gd name="T74" fmla="*/ 34 w 180"/>
                <a:gd name="T75" fmla="*/ 14 h 55"/>
                <a:gd name="T76" fmla="*/ 32 w 180"/>
                <a:gd name="T77" fmla="*/ 3 h 55"/>
                <a:gd name="T78" fmla="*/ 11 w 180"/>
                <a:gd name="T79" fmla="*/ 0 h 55"/>
                <a:gd name="T80" fmla="*/ 3 w 180"/>
                <a:gd name="T81" fmla="*/ 3 h 55"/>
                <a:gd name="T82" fmla="*/ 6 w 180"/>
                <a:gd name="T83" fmla="*/ 7 h 55"/>
                <a:gd name="T84" fmla="*/ 5 w 180"/>
                <a:gd name="T85" fmla="*/ 9 h 55"/>
                <a:gd name="T86" fmla="*/ 8 w 180"/>
                <a:gd name="T87" fmla="*/ 13 h 55"/>
                <a:gd name="T88" fmla="*/ 21 w 180"/>
                <a:gd name="T89" fmla="*/ 16 h 55"/>
                <a:gd name="T90" fmla="*/ 22 w 180"/>
                <a:gd name="T91" fmla="*/ 16 h 55"/>
                <a:gd name="T92" fmla="*/ 33 w 180"/>
                <a:gd name="T93" fmla="*/ 16 h 55"/>
                <a:gd name="T94" fmla="*/ 39 w 180"/>
                <a:gd name="T95" fmla="*/ 16 h 55"/>
                <a:gd name="T96" fmla="*/ 47 w 180"/>
                <a:gd name="T97" fmla="*/ 25 h 55"/>
                <a:gd name="T98" fmla="*/ 50 w 180"/>
                <a:gd name="T99" fmla="*/ 31 h 55"/>
                <a:gd name="T100" fmla="*/ 46 w 180"/>
                <a:gd name="T101" fmla="*/ 37 h 55"/>
                <a:gd name="T102" fmla="*/ 50 w 180"/>
                <a:gd name="T103" fmla="*/ 47 h 55"/>
                <a:gd name="T104" fmla="*/ 54 w 180"/>
                <a:gd name="T105" fmla="*/ 50 h 55"/>
                <a:gd name="T106" fmla="*/ 59 w 180"/>
                <a:gd name="T107" fmla="*/ 49 h 55"/>
                <a:gd name="T108" fmla="*/ 63 w 180"/>
                <a:gd name="T109" fmla="*/ 50 h 55"/>
                <a:gd name="T110" fmla="*/ 70 w 180"/>
                <a:gd name="T111"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0" h="55">
                  <a:moveTo>
                    <a:pt x="71" y="52"/>
                  </a:moveTo>
                  <a:cubicBezTo>
                    <a:pt x="71" y="52"/>
                    <a:pt x="71" y="52"/>
                    <a:pt x="71" y="52"/>
                  </a:cubicBezTo>
                  <a:cubicBezTo>
                    <a:pt x="71" y="53"/>
                    <a:pt x="71" y="53"/>
                    <a:pt x="72" y="53"/>
                  </a:cubicBezTo>
                  <a:cubicBezTo>
                    <a:pt x="73" y="53"/>
                    <a:pt x="74" y="53"/>
                    <a:pt x="75" y="53"/>
                  </a:cubicBezTo>
                  <a:cubicBezTo>
                    <a:pt x="76" y="53"/>
                    <a:pt x="76" y="53"/>
                    <a:pt x="76" y="53"/>
                  </a:cubicBezTo>
                  <a:cubicBezTo>
                    <a:pt x="77" y="52"/>
                    <a:pt x="77" y="52"/>
                    <a:pt x="77" y="52"/>
                  </a:cubicBezTo>
                  <a:cubicBezTo>
                    <a:pt x="77" y="52"/>
                    <a:pt x="77" y="52"/>
                    <a:pt x="78" y="52"/>
                  </a:cubicBezTo>
                  <a:cubicBezTo>
                    <a:pt x="79" y="52"/>
                    <a:pt x="80" y="52"/>
                    <a:pt x="79" y="51"/>
                  </a:cubicBezTo>
                  <a:cubicBezTo>
                    <a:pt x="79" y="50"/>
                    <a:pt x="79" y="49"/>
                    <a:pt x="78" y="48"/>
                  </a:cubicBezTo>
                  <a:cubicBezTo>
                    <a:pt x="79" y="49"/>
                    <a:pt x="79" y="49"/>
                    <a:pt x="80" y="49"/>
                  </a:cubicBezTo>
                  <a:cubicBezTo>
                    <a:pt x="81" y="49"/>
                    <a:pt x="80" y="47"/>
                    <a:pt x="80" y="47"/>
                  </a:cubicBezTo>
                  <a:cubicBezTo>
                    <a:pt x="81" y="47"/>
                    <a:pt x="82" y="48"/>
                    <a:pt x="82" y="48"/>
                  </a:cubicBezTo>
                  <a:cubicBezTo>
                    <a:pt x="82" y="49"/>
                    <a:pt x="82" y="51"/>
                    <a:pt x="83" y="50"/>
                  </a:cubicBezTo>
                  <a:cubicBezTo>
                    <a:pt x="83" y="50"/>
                    <a:pt x="84" y="45"/>
                    <a:pt x="85" y="47"/>
                  </a:cubicBezTo>
                  <a:cubicBezTo>
                    <a:pt x="85" y="46"/>
                    <a:pt x="86" y="44"/>
                    <a:pt x="86" y="47"/>
                  </a:cubicBezTo>
                  <a:cubicBezTo>
                    <a:pt x="86" y="47"/>
                    <a:pt x="86" y="48"/>
                    <a:pt x="86" y="48"/>
                  </a:cubicBezTo>
                  <a:cubicBezTo>
                    <a:pt x="86" y="48"/>
                    <a:pt x="88" y="48"/>
                    <a:pt x="88" y="48"/>
                  </a:cubicBezTo>
                  <a:cubicBezTo>
                    <a:pt x="88" y="48"/>
                    <a:pt x="87" y="48"/>
                    <a:pt x="87" y="48"/>
                  </a:cubicBezTo>
                  <a:cubicBezTo>
                    <a:pt x="88" y="50"/>
                    <a:pt x="83" y="53"/>
                    <a:pt x="87" y="54"/>
                  </a:cubicBezTo>
                  <a:cubicBezTo>
                    <a:pt x="87" y="54"/>
                    <a:pt x="88" y="54"/>
                    <a:pt x="88" y="54"/>
                  </a:cubicBezTo>
                  <a:cubicBezTo>
                    <a:pt x="89" y="54"/>
                    <a:pt x="89" y="54"/>
                    <a:pt x="89" y="54"/>
                  </a:cubicBezTo>
                  <a:cubicBezTo>
                    <a:pt x="90" y="54"/>
                    <a:pt x="91" y="54"/>
                    <a:pt x="92" y="54"/>
                  </a:cubicBezTo>
                  <a:cubicBezTo>
                    <a:pt x="93" y="54"/>
                    <a:pt x="93" y="53"/>
                    <a:pt x="93" y="54"/>
                  </a:cubicBezTo>
                  <a:cubicBezTo>
                    <a:pt x="93" y="54"/>
                    <a:pt x="94" y="54"/>
                    <a:pt x="94" y="54"/>
                  </a:cubicBezTo>
                  <a:cubicBezTo>
                    <a:pt x="95" y="55"/>
                    <a:pt x="96" y="54"/>
                    <a:pt x="96" y="54"/>
                  </a:cubicBezTo>
                  <a:cubicBezTo>
                    <a:pt x="96" y="54"/>
                    <a:pt x="97" y="53"/>
                    <a:pt x="97" y="53"/>
                  </a:cubicBezTo>
                  <a:cubicBezTo>
                    <a:pt x="98" y="53"/>
                    <a:pt x="98" y="54"/>
                    <a:pt x="99" y="54"/>
                  </a:cubicBezTo>
                  <a:cubicBezTo>
                    <a:pt x="100" y="54"/>
                    <a:pt x="100" y="54"/>
                    <a:pt x="101" y="54"/>
                  </a:cubicBezTo>
                  <a:cubicBezTo>
                    <a:pt x="101" y="54"/>
                    <a:pt x="101" y="53"/>
                    <a:pt x="101" y="54"/>
                  </a:cubicBezTo>
                  <a:cubicBezTo>
                    <a:pt x="101" y="54"/>
                    <a:pt x="101" y="54"/>
                    <a:pt x="102" y="54"/>
                  </a:cubicBezTo>
                  <a:cubicBezTo>
                    <a:pt x="103" y="54"/>
                    <a:pt x="104" y="54"/>
                    <a:pt x="105" y="54"/>
                  </a:cubicBezTo>
                  <a:cubicBezTo>
                    <a:pt x="104" y="54"/>
                    <a:pt x="104" y="53"/>
                    <a:pt x="103" y="51"/>
                  </a:cubicBezTo>
                  <a:cubicBezTo>
                    <a:pt x="104" y="53"/>
                    <a:pt x="107" y="55"/>
                    <a:pt x="108" y="54"/>
                  </a:cubicBezTo>
                  <a:cubicBezTo>
                    <a:pt x="109" y="53"/>
                    <a:pt x="109" y="50"/>
                    <a:pt x="110" y="52"/>
                  </a:cubicBezTo>
                  <a:cubicBezTo>
                    <a:pt x="110" y="53"/>
                    <a:pt x="110" y="54"/>
                    <a:pt x="111" y="54"/>
                  </a:cubicBezTo>
                  <a:cubicBezTo>
                    <a:pt x="111" y="54"/>
                    <a:pt x="112" y="54"/>
                    <a:pt x="112" y="54"/>
                  </a:cubicBezTo>
                  <a:cubicBezTo>
                    <a:pt x="113" y="54"/>
                    <a:pt x="114" y="54"/>
                    <a:pt x="115" y="54"/>
                  </a:cubicBezTo>
                  <a:cubicBezTo>
                    <a:pt x="117" y="54"/>
                    <a:pt x="116" y="52"/>
                    <a:pt x="116" y="51"/>
                  </a:cubicBezTo>
                  <a:cubicBezTo>
                    <a:pt x="116" y="49"/>
                    <a:pt x="117" y="52"/>
                    <a:pt x="118" y="52"/>
                  </a:cubicBezTo>
                  <a:cubicBezTo>
                    <a:pt x="118" y="53"/>
                    <a:pt x="118" y="54"/>
                    <a:pt x="120" y="54"/>
                  </a:cubicBezTo>
                  <a:cubicBezTo>
                    <a:pt x="122" y="53"/>
                    <a:pt x="120" y="51"/>
                    <a:pt x="122" y="50"/>
                  </a:cubicBezTo>
                  <a:cubicBezTo>
                    <a:pt x="122" y="49"/>
                    <a:pt x="122" y="49"/>
                    <a:pt x="122" y="48"/>
                  </a:cubicBezTo>
                  <a:cubicBezTo>
                    <a:pt x="122" y="49"/>
                    <a:pt x="122" y="49"/>
                    <a:pt x="122" y="50"/>
                  </a:cubicBezTo>
                  <a:cubicBezTo>
                    <a:pt x="122" y="51"/>
                    <a:pt x="122" y="53"/>
                    <a:pt x="123" y="54"/>
                  </a:cubicBezTo>
                  <a:cubicBezTo>
                    <a:pt x="123" y="54"/>
                    <a:pt x="124" y="54"/>
                    <a:pt x="124" y="53"/>
                  </a:cubicBezTo>
                  <a:cubicBezTo>
                    <a:pt x="125" y="53"/>
                    <a:pt x="125" y="54"/>
                    <a:pt x="126" y="54"/>
                  </a:cubicBezTo>
                  <a:cubicBezTo>
                    <a:pt x="127" y="54"/>
                    <a:pt x="129" y="54"/>
                    <a:pt x="131" y="53"/>
                  </a:cubicBezTo>
                  <a:cubicBezTo>
                    <a:pt x="133" y="52"/>
                    <a:pt x="135" y="53"/>
                    <a:pt x="137" y="52"/>
                  </a:cubicBezTo>
                  <a:cubicBezTo>
                    <a:pt x="138" y="52"/>
                    <a:pt x="137" y="51"/>
                    <a:pt x="138" y="50"/>
                  </a:cubicBezTo>
                  <a:cubicBezTo>
                    <a:pt x="138" y="50"/>
                    <a:pt x="138" y="49"/>
                    <a:pt x="138" y="49"/>
                  </a:cubicBezTo>
                  <a:cubicBezTo>
                    <a:pt x="138" y="48"/>
                    <a:pt x="137" y="47"/>
                    <a:pt x="137" y="46"/>
                  </a:cubicBezTo>
                  <a:cubicBezTo>
                    <a:pt x="138" y="46"/>
                    <a:pt x="139" y="47"/>
                    <a:pt x="140" y="47"/>
                  </a:cubicBezTo>
                  <a:cubicBezTo>
                    <a:pt x="142" y="47"/>
                    <a:pt x="140" y="49"/>
                    <a:pt x="141" y="51"/>
                  </a:cubicBezTo>
                  <a:cubicBezTo>
                    <a:pt x="142" y="52"/>
                    <a:pt x="146" y="55"/>
                    <a:pt x="148" y="52"/>
                  </a:cubicBezTo>
                  <a:cubicBezTo>
                    <a:pt x="148" y="53"/>
                    <a:pt x="151" y="54"/>
                    <a:pt x="152" y="54"/>
                  </a:cubicBezTo>
                  <a:cubicBezTo>
                    <a:pt x="153" y="54"/>
                    <a:pt x="154" y="54"/>
                    <a:pt x="156" y="54"/>
                  </a:cubicBezTo>
                  <a:cubicBezTo>
                    <a:pt x="159" y="54"/>
                    <a:pt x="162" y="53"/>
                    <a:pt x="166" y="53"/>
                  </a:cubicBezTo>
                  <a:cubicBezTo>
                    <a:pt x="167" y="53"/>
                    <a:pt x="170" y="53"/>
                    <a:pt x="171" y="51"/>
                  </a:cubicBezTo>
                  <a:cubicBezTo>
                    <a:pt x="171" y="51"/>
                    <a:pt x="171" y="51"/>
                    <a:pt x="171" y="51"/>
                  </a:cubicBezTo>
                  <a:cubicBezTo>
                    <a:pt x="171" y="51"/>
                    <a:pt x="171" y="50"/>
                    <a:pt x="171" y="50"/>
                  </a:cubicBezTo>
                  <a:cubicBezTo>
                    <a:pt x="171" y="49"/>
                    <a:pt x="171" y="49"/>
                    <a:pt x="171" y="49"/>
                  </a:cubicBezTo>
                  <a:cubicBezTo>
                    <a:pt x="171" y="48"/>
                    <a:pt x="172" y="48"/>
                    <a:pt x="172" y="47"/>
                  </a:cubicBezTo>
                  <a:cubicBezTo>
                    <a:pt x="171" y="46"/>
                    <a:pt x="170" y="46"/>
                    <a:pt x="170" y="45"/>
                  </a:cubicBezTo>
                  <a:cubicBezTo>
                    <a:pt x="170" y="45"/>
                    <a:pt x="171" y="45"/>
                    <a:pt x="171" y="45"/>
                  </a:cubicBezTo>
                  <a:cubicBezTo>
                    <a:pt x="172" y="46"/>
                    <a:pt x="171" y="46"/>
                    <a:pt x="171" y="46"/>
                  </a:cubicBezTo>
                  <a:cubicBezTo>
                    <a:pt x="172" y="47"/>
                    <a:pt x="175" y="46"/>
                    <a:pt x="175" y="46"/>
                  </a:cubicBezTo>
                  <a:cubicBezTo>
                    <a:pt x="177" y="46"/>
                    <a:pt x="178" y="46"/>
                    <a:pt x="180" y="46"/>
                  </a:cubicBezTo>
                  <a:cubicBezTo>
                    <a:pt x="178" y="45"/>
                    <a:pt x="178" y="43"/>
                    <a:pt x="176" y="43"/>
                  </a:cubicBezTo>
                  <a:cubicBezTo>
                    <a:pt x="175" y="43"/>
                    <a:pt x="175" y="43"/>
                    <a:pt x="174" y="43"/>
                  </a:cubicBezTo>
                  <a:cubicBezTo>
                    <a:pt x="173" y="44"/>
                    <a:pt x="172" y="44"/>
                    <a:pt x="171" y="44"/>
                  </a:cubicBezTo>
                  <a:cubicBezTo>
                    <a:pt x="171" y="43"/>
                    <a:pt x="169" y="43"/>
                    <a:pt x="168" y="43"/>
                  </a:cubicBezTo>
                  <a:cubicBezTo>
                    <a:pt x="172" y="41"/>
                    <a:pt x="175" y="39"/>
                    <a:pt x="178" y="38"/>
                  </a:cubicBezTo>
                  <a:cubicBezTo>
                    <a:pt x="178" y="37"/>
                    <a:pt x="178" y="37"/>
                    <a:pt x="178" y="36"/>
                  </a:cubicBezTo>
                  <a:cubicBezTo>
                    <a:pt x="178" y="35"/>
                    <a:pt x="178" y="36"/>
                    <a:pt x="177" y="35"/>
                  </a:cubicBezTo>
                  <a:cubicBezTo>
                    <a:pt x="177" y="34"/>
                    <a:pt x="177" y="34"/>
                    <a:pt x="175" y="34"/>
                  </a:cubicBezTo>
                  <a:cubicBezTo>
                    <a:pt x="173" y="34"/>
                    <a:pt x="171" y="34"/>
                    <a:pt x="169" y="34"/>
                  </a:cubicBezTo>
                  <a:cubicBezTo>
                    <a:pt x="171" y="33"/>
                    <a:pt x="172" y="33"/>
                    <a:pt x="173" y="32"/>
                  </a:cubicBezTo>
                  <a:cubicBezTo>
                    <a:pt x="172" y="33"/>
                    <a:pt x="172" y="31"/>
                    <a:pt x="171" y="31"/>
                  </a:cubicBezTo>
                  <a:cubicBezTo>
                    <a:pt x="170" y="31"/>
                    <a:pt x="169" y="30"/>
                    <a:pt x="168" y="30"/>
                  </a:cubicBezTo>
                  <a:cubicBezTo>
                    <a:pt x="167" y="30"/>
                    <a:pt x="165" y="30"/>
                    <a:pt x="164" y="30"/>
                  </a:cubicBezTo>
                  <a:cubicBezTo>
                    <a:pt x="164" y="30"/>
                    <a:pt x="163" y="31"/>
                    <a:pt x="163" y="30"/>
                  </a:cubicBezTo>
                  <a:cubicBezTo>
                    <a:pt x="161" y="30"/>
                    <a:pt x="162" y="29"/>
                    <a:pt x="161" y="28"/>
                  </a:cubicBezTo>
                  <a:cubicBezTo>
                    <a:pt x="160" y="27"/>
                    <a:pt x="158" y="27"/>
                    <a:pt x="157" y="27"/>
                  </a:cubicBezTo>
                  <a:cubicBezTo>
                    <a:pt x="156" y="27"/>
                    <a:pt x="155" y="27"/>
                    <a:pt x="154" y="27"/>
                  </a:cubicBezTo>
                  <a:cubicBezTo>
                    <a:pt x="152" y="27"/>
                    <a:pt x="150" y="26"/>
                    <a:pt x="148" y="26"/>
                  </a:cubicBezTo>
                  <a:cubicBezTo>
                    <a:pt x="145" y="27"/>
                    <a:pt x="144" y="28"/>
                    <a:pt x="142" y="28"/>
                  </a:cubicBezTo>
                  <a:cubicBezTo>
                    <a:pt x="140" y="28"/>
                    <a:pt x="139" y="28"/>
                    <a:pt x="137" y="28"/>
                  </a:cubicBezTo>
                  <a:cubicBezTo>
                    <a:pt x="136" y="27"/>
                    <a:pt x="134" y="27"/>
                    <a:pt x="132" y="27"/>
                  </a:cubicBezTo>
                  <a:cubicBezTo>
                    <a:pt x="133" y="27"/>
                    <a:pt x="131" y="28"/>
                    <a:pt x="131" y="28"/>
                  </a:cubicBezTo>
                  <a:cubicBezTo>
                    <a:pt x="131" y="28"/>
                    <a:pt x="130" y="28"/>
                    <a:pt x="130" y="28"/>
                  </a:cubicBezTo>
                  <a:cubicBezTo>
                    <a:pt x="129" y="28"/>
                    <a:pt x="129" y="29"/>
                    <a:pt x="129" y="29"/>
                  </a:cubicBezTo>
                  <a:cubicBezTo>
                    <a:pt x="128" y="30"/>
                    <a:pt x="123" y="29"/>
                    <a:pt x="127" y="30"/>
                  </a:cubicBezTo>
                  <a:cubicBezTo>
                    <a:pt x="125" y="31"/>
                    <a:pt x="123" y="30"/>
                    <a:pt x="122" y="30"/>
                  </a:cubicBezTo>
                  <a:cubicBezTo>
                    <a:pt x="122" y="30"/>
                    <a:pt x="122" y="30"/>
                    <a:pt x="122" y="30"/>
                  </a:cubicBezTo>
                  <a:cubicBezTo>
                    <a:pt x="122" y="30"/>
                    <a:pt x="121" y="30"/>
                    <a:pt x="121" y="30"/>
                  </a:cubicBezTo>
                  <a:cubicBezTo>
                    <a:pt x="122" y="31"/>
                    <a:pt x="117" y="31"/>
                    <a:pt x="119" y="32"/>
                  </a:cubicBezTo>
                  <a:cubicBezTo>
                    <a:pt x="118" y="32"/>
                    <a:pt x="117" y="31"/>
                    <a:pt x="116" y="31"/>
                  </a:cubicBezTo>
                  <a:cubicBezTo>
                    <a:pt x="115" y="31"/>
                    <a:pt x="115" y="32"/>
                    <a:pt x="114" y="32"/>
                  </a:cubicBezTo>
                  <a:cubicBezTo>
                    <a:pt x="112" y="32"/>
                    <a:pt x="111" y="32"/>
                    <a:pt x="110" y="33"/>
                  </a:cubicBezTo>
                  <a:cubicBezTo>
                    <a:pt x="112" y="34"/>
                    <a:pt x="114" y="34"/>
                    <a:pt x="116" y="35"/>
                  </a:cubicBezTo>
                  <a:cubicBezTo>
                    <a:pt x="114" y="35"/>
                    <a:pt x="112" y="35"/>
                    <a:pt x="110" y="35"/>
                  </a:cubicBezTo>
                  <a:cubicBezTo>
                    <a:pt x="108" y="35"/>
                    <a:pt x="106" y="36"/>
                    <a:pt x="105" y="35"/>
                  </a:cubicBezTo>
                  <a:cubicBezTo>
                    <a:pt x="103" y="34"/>
                    <a:pt x="100" y="31"/>
                    <a:pt x="98" y="31"/>
                  </a:cubicBezTo>
                  <a:cubicBezTo>
                    <a:pt x="97" y="31"/>
                    <a:pt x="96" y="32"/>
                    <a:pt x="96" y="33"/>
                  </a:cubicBezTo>
                  <a:cubicBezTo>
                    <a:pt x="95" y="34"/>
                    <a:pt x="95" y="34"/>
                    <a:pt x="94" y="33"/>
                  </a:cubicBezTo>
                  <a:cubicBezTo>
                    <a:pt x="94" y="32"/>
                    <a:pt x="94" y="32"/>
                    <a:pt x="93" y="32"/>
                  </a:cubicBezTo>
                  <a:cubicBezTo>
                    <a:pt x="92" y="32"/>
                    <a:pt x="90" y="34"/>
                    <a:pt x="88" y="33"/>
                  </a:cubicBezTo>
                  <a:cubicBezTo>
                    <a:pt x="87" y="33"/>
                    <a:pt x="85" y="29"/>
                    <a:pt x="84" y="30"/>
                  </a:cubicBezTo>
                  <a:cubicBezTo>
                    <a:pt x="84" y="29"/>
                    <a:pt x="83" y="31"/>
                    <a:pt x="83" y="31"/>
                  </a:cubicBezTo>
                  <a:cubicBezTo>
                    <a:pt x="82" y="31"/>
                    <a:pt x="82" y="31"/>
                    <a:pt x="82" y="31"/>
                  </a:cubicBezTo>
                  <a:cubicBezTo>
                    <a:pt x="82" y="31"/>
                    <a:pt x="83" y="32"/>
                    <a:pt x="83" y="32"/>
                  </a:cubicBezTo>
                  <a:cubicBezTo>
                    <a:pt x="81" y="32"/>
                    <a:pt x="79" y="32"/>
                    <a:pt x="78" y="32"/>
                  </a:cubicBezTo>
                  <a:cubicBezTo>
                    <a:pt x="76" y="32"/>
                    <a:pt x="74" y="32"/>
                    <a:pt x="73" y="32"/>
                  </a:cubicBezTo>
                  <a:cubicBezTo>
                    <a:pt x="73" y="31"/>
                    <a:pt x="74" y="31"/>
                    <a:pt x="74" y="31"/>
                  </a:cubicBezTo>
                  <a:cubicBezTo>
                    <a:pt x="75" y="31"/>
                    <a:pt x="75" y="31"/>
                    <a:pt x="75" y="31"/>
                  </a:cubicBezTo>
                  <a:cubicBezTo>
                    <a:pt x="76" y="31"/>
                    <a:pt x="78" y="31"/>
                    <a:pt x="78" y="30"/>
                  </a:cubicBezTo>
                  <a:cubicBezTo>
                    <a:pt x="79" y="29"/>
                    <a:pt x="77" y="27"/>
                    <a:pt x="76" y="26"/>
                  </a:cubicBezTo>
                  <a:cubicBezTo>
                    <a:pt x="75" y="25"/>
                    <a:pt x="74" y="26"/>
                    <a:pt x="73" y="27"/>
                  </a:cubicBezTo>
                  <a:cubicBezTo>
                    <a:pt x="73" y="27"/>
                    <a:pt x="73" y="26"/>
                    <a:pt x="73" y="26"/>
                  </a:cubicBezTo>
                  <a:cubicBezTo>
                    <a:pt x="73" y="25"/>
                    <a:pt x="72" y="23"/>
                    <a:pt x="71" y="23"/>
                  </a:cubicBezTo>
                  <a:cubicBezTo>
                    <a:pt x="70" y="22"/>
                    <a:pt x="70" y="23"/>
                    <a:pt x="70" y="23"/>
                  </a:cubicBezTo>
                  <a:cubicBezTo>
                    <a:pt x="69" y="24"/>
                    <a:pt x="69" y="24"/>
                    <a:pt x="68" y="23"/>
                  </a:cubicBezTo>
                  <a:cubicBezTo>
                    <a:pt x="67" y="23"/>
                    <a:pt x="63" y="23"/>
                    <a:pt x="63" y="23"/>
                  </a:cubicBezTo>
                  <a:cubicBezTo>
                    <a:pt x="62" y="23"/>
                    <a:pt x="62" y="24"/>
                    <a:pt x="62" y="24"/>
                  </a:cubicBezTo>
                  <a:cubicBezTo>
                    <a:pt x="61" y="25"/>
                    <a:pt x="60" y="26"/>
                    <a:pt x="59" y="26"/>
                  </a:cubicBezTo>
                  <a:cubicBezTo>
                    <a:pt x="59" y="25"/>
                    <a:pt x="59" y="25"/>
                    <a:pt x="60" y="24"/>
                  </a:cubicBezTo>
                  <a:cubicBezTo>
                    <a:pt x="60" y="24"/>
                    <a:pt x="61" y="24"/>
                    <a:pt x="61" y="24"/>
                  </a:cubicBezTo>
                  <a:cubicBezTo>
                    <a:pt x="61" y="24"/>
                    <a:pt x="59" y="23"/>
                    <a:pt x="59" y="22"/>
                  </a:cubicBezTo>
                  <a:cubicBezTo>
                    <a:pt x="60" y="22"/>
                    <a:pt x="61" y="22"/>
                    <a:pt x="62" y="22"/>
                  </a:cubicBezTo>
                  <a:cubicBezTo>
                    <a:pt x="64" y="22"/>
                    <a:pt x="66" y="22"/>
                    <a:pt x="68" y="21"/>
                  </a:cubicBezTo>
                  <a:cubicBezTo>
                    <a:pt x="64" y="21"/>
                    <a:pt x="60" y="20"/>
                    <a:pt x="56" y="20"/>
                  </a:cubicBezTo>
                  <a:cubicBezTo>
                    <a:pt x="57" y="20"/>
                    <a:pt x="57" y="19"/>
                    <a:pt x="57" y="19"/>
                  </a:cubicBezTo>
                  <a:cubicBezTo>
                    <a:pt x="56" y="18"/>
                    <a:pt x="55" y="18"/>
                    <a:pt x="54" y="17"/>
                  </a:cubicBezTo>
                  <a:cubicBezTo>
                    <a:pt x="55" y="17"/>
                    <a:pt x="57" y="18"/>
                    <a:pt x="58" y="18"/>
                  </a:cubicBezTo>
                  <a:cubicBezTo>
                    <a:pt x="59" y="19"/>
                    <a:pt x="60" y="19"/>
                    <a:pt x="61" y="19"/>
                  </a:cubicBezTo>
                  <a:cubicBezTo>
                    <a:pt x="63" y="20"/>
                    <a:pt x="65" y="19"/>
                    <a:pt x="67" y="20"/>
                  </a:cubicBezTo>
                  <a:cubicBezTo>
                    <a:pt x="66" y="20"/>
                    <a:pt x="66" y="19"/>
                    <a:pt x="66" y="19"/>
                  </a:cubicBezTo>
                  <a:cubicBezTo>
                    <a:pt x="68" y="18"/>
                    <a:pt x="77" y="21"/>
                    <a:pt x="78" y="18"/>
                  </a:cubicBezTo>
                  <a:cubicBezTo>
                    <a:pt x="78" y="16"/>
                    <a:pt x="77" y="16"/>
                    <a:pt x="75" y="16"/>
                  </a:cubicBezTo>
                  <a:cubicBezTo>
                    <a:pt x="74" y="16"/>
                    <a:pt x="73" y="16"/>
                    <a:pt x="72" y="16"/>
                  </a:cubicBezTo>
                  <a:cubicBezTo>
                    <a:pt x="70" y="15"/>
                    <a:pt x="68" y="14"/>
                    <a:pt x="66" y="14"/>
                  </a:cubicBezTo>
                  <a:cubicBezTo>
                    <a:pt x="62" y="14"/>
                    <a:pt x="58" y="13"/>
                    <a:pt x="55" y="12"/>
                  </a:cubicBezTo>
                  <a:cubicBezTo>
                    <a:pt x="56" y="11"/>
                    <a:pt x="58" y="13"/>
                    <a:pt x="59" y="13"/>
                  </a:cubicBezTo>
                  <a:cubicBezTo>
                    <a:pt x="60" y="13"/>
                    <a:pt x="61" y="12"/>
                    <a:pt x="62" y="13"/>
                  </a:cubicBezTo>
                  <a:cubicBezTo>
                    <a:pt x="62" y="13"/>
                    <a:pt x="63" y="13"/>
                    <a:pt x="64" y="13"/>
                  </a:cubicBezTo>
                  <a:cubicBezTo>
                    <a:pt x="62" y="10"/>
                    <a:pt x="59" y="8"/>
                    <a:pt x="55" y="8"/>
                  </a:cubicBezTo>
                  <a:cubicBezTo>
                    <a:pt x="53" y="8"/>
                    <a:pt x="51" y="9"/>
                    <a:pt x="49" y="10"/>
                  </a:cubicBezTo>
                  <a:cubicBezTo>
                    <a:pt x="48" y="10"/>
                    <a:pt x="47" y="10"/>
                    <a:pt x="46" y="10"/>
                  </a:cubicBezTo>
                  <a:cubicBezTo>
                    <a:pt x="44" y="10"/>
                    <a:pt x="43" y="10"/>
                    <a:pt x="42" y="10"/>
                  </a:cubicBezTo>
                  <a:cubicBezTo>
                    <a:pt x="41" y="10"/>
                    <a:pt x="40" y="9"/>
                    <a:pt x="39" y="10"/>
                  </a:cubicBezTo>
                  <a:cubicBezTo>
                    <a:pt x="39" y="10"/>
                    <a:pt x="38" y="11"/>
                    <a:pt x="38" y="12"/>
                  </a:cubicBezTo>
                  <a:cubicBezTo>
                    <a:pt x="37" y="12"/>
                    <a:pt x="35" y="15"/>
                    <a:pt x="34" y="14"/>
                  </a:cubicBezTo>
                  <a:cubicBezTo>
                    <a:pt x="32" y="14"/>
                    <a:pt x="35" y="13"/>
                    <a:pt x="35" y="13"/>
                  </a:cubicBezTo>
                  <a:cubicBezTo>
                    <a:pt x="36" y="12"/>
                    <a:pt x="37" y="11"/>
                    <a:pt x="37" y="11"/>
                  </a:cubicBezTo>
                  <a:cubicBezTo>
                    <a:pt x="37" y="10"/>
                    <a:pt x="39" y="8"/>
                    <a:pt x="38" y="8"/>
                  </a:cubicBezTo>
                  <a:cubicBezTo>
                    <a:pt x="36" y="6"/>
                    <a:pt x="34" y="4"/>
                    <a:pt x="32" y="3"/>
                  </a:cubicBezTo>
                  <a:cubicBezTo>
                    <a:pt x="31" y="3"/>
                    <a:pt x="30" y="4"/>
                    <a:pt x="28" y="3"/>
                  </a:cubicBezTo>
                  <a:cubicBezTo>
                    <a:pt x="26" y="3"/>
                    <a:pt x="25" y="2"/>
                    <a:pt x="23" y="2"/>
                  </a:cubicBezTo>
                  <a:cubicBezTo>
                    <a:pt x="21" y="2"/>
                    <a:pt x="19" y="1"/>
                    <a:pt x="17" y="1"/>
                  </a:cubicBezTo>
                  <a:cubicBezTo>
                    <a:pt x="15" y="0"/>
                    <a:pt x="13" y="0"/>
                    <a:pt x="11" y="0"/>
                  </a:cubicBezTo>
                  <a:cubicBezTo>
                    <a:pt x="9" y="0"/>
                    <a:pt x="7" y="0"/>
                    <a:pt x="6" y="1"/>
                  </a:cubicBezTo>
                  <a:cubicBezTo>
                    <a:pt x="8" y="2"/>
                    <a:pt x="6" y="2"/>
                    <a:pt x="5" y="2"/>
                  </a:cubicBezTo>
                  <a:cubicBezTo>
                    <a:pt x="4" y="2"/>
                    <a:pt x="3" y="2"/>
                    <a:pt x="1" y="2"/>
                  </a:cubicBezTo>
                  <a:cubicBezTo>
                    <a:pt x="2" y="2"/>
                    <a:pt x="2" y="2"/>
                    <a:pt x="3" y="3"/>
                  </a:cubicBezTo>
                  <a:cubicBezTo>
                    <a:pt x="2" y="3"/>
                    <a:pt x="0" y="3"/>
                    <a:pt x="1" y="4"/>
                  </a:cubicBezTo>
                  <a:cubicBezTo>
                    <a:pt x="2" y="5"/>
                    <a:pt x="4" y="5"/>
                    <a:pt x="6" y="6"/>
                  </a:cubicBezTo>
                  <a:cubicBezTo>
                    <a:pt x="5" y="6"/>
                    <a:pt x="5" y="6"/>
                    <a:pt x="4" y="6"/>
                  </a:cubicBezTo>
                  <a:cubicBezTo>
                    <a:pt x="5" y="6"/>
                    <a:pt x="5" y="6"/>
                    <a:pt x="6" y="7"/>
                  </a:cubicBezTo>
                  <a:cubicBezTo>
                    <a:pt x="4" y="7"/>
                    <a:pt x="2" y="7"/>
                    <a:pt x="0" y="8"/>
                  </a:cubicBezTo>
                  <a:cubicBezTo>
                    <a:pt x="0" y="8"/>
                    <a:pt x="0" y="8"/>
                    <a:pt x="0" y="8"/>
                  </a:cubicBezTo>
                  <a:cubicBezTo>
                    <a:pt x="1" y="8"/>
                    <a:pt x="2" y="8"/>
                    <a:pt x="3" y="8"/>
                  </a:cubicBezTo>
                  <a:cubicBezTo>
                    <a:pt x="4" y="8"/>
                    <a:pt x="4" y="9"/>
                    <a:pt x="5" y="9"/>
                  </a:cubicBezTo>
                  <a:cubicBezTo>
                    <a:pt x="6" y="10"/>
                    <a:pt x="6" y="9"/>
                    <a:pt x="7" y="9"/>
                  </a:cubicBezTo>
                  <a:cubicBezTo>
                    <a:pt x="7" y="10"/>
                    <a:pt x="8" y="10"/>
                    <a:pt x="8" y="11"/>
                  </a:cubicBezTo>
                  <a:cubicBezTo>
                    <a:pt x="10" y="12"/>
                    <a:pt x="11" y="10"/>
                    <a:pt x="14" y="10"/>
                  </a:cubicBezTo>
                  <a:cubicBezTo>
                    <a:pt x="12" y="12"/>
                    <a:pt x="10" y="12"/>
                    <a:pt x="8" y="13"/>
                  </a:cubicBezTo>
                  <a:cubicBezTo>
                    <a:pt x="10" y="14"/>
                    <a:pt x="11" y="14"/>
                    <a:pt x="13" y="15"/>
                  </a:cubicBezTo>
                  <a:cubicBezTo>
                    <a:pt x="13" y="15"/>
                    <a:pt x="13" y="15"/>
                    <a:pt x="14" y="15"/>
                  </a:cubicBezTo>
                  <a:cubicBezTo>
                    <a:pt x="14" y="15"/>
                    <a:pt x="15" y="15"/>
                    <a:pt x="15" y="15"/>
                  </a:cubicBezTo>
                  <a:cubicBezTo>
                    <a:pt x="17" y="15"/>
                    <a:pt x="19" y="16"/>
                    <a:pt x="21" y="16"/>
                  </a:cubicBezTo>
                  <a:cubicBezTo>
                    <a:pt x="20" y="16"/>
                    <a:pt x="17" y="16"/>
                    <a:pt x="16" y="17"/>
                  </a:cubicBezTo>
                  <a:cubicBezTo>
                    <a:pt x="15" y="18"/>
                    <a:pt x="17" y="18"/>
                    <a:pt x="18" y="18"/>
                  </a:cubicBezTo>
                  <a:cubicBezTo>
                    <a:pt x="19" y="18"/>
                    <a:pt x="20" y="18"/>
                    <a:pt x="21" y="17"/>
                  </a:cubicBezTo>
                  <a:cubicBezTo>
                    <a:pt x="21" y="17"/>
                    <a:pt x="22" y="17"/>
                    <a:pt x="22" y="16"/>
                  </a:cubicBezTo>
                  <a:cubicBezTo>
                    <a:pt x="23" y="16"/>
                    <a:pt x="22" y="17"/>
                    <a:pt x="23" y="17"/>
                  </a:cubicBezTo>
                  <a:cubicBezTo>
                    <a:pt x="25" y="17"/>
                    <a:pt x="27" y="17"/>
                    <a:pt x="29" y="17"/>
                  </a:cubicBezTo>
                  <a:cubicBezTo>
                    <a:pt x="30" y="17"/>
                    <a:pt x="31" y="18"/>
                    <a:pt x="32" y="17"/>
                  </a:cubicBezTo>
                  <a:cubicBezTo>
                    <a:pt x="32" y="17"/>
                    <a:pt x="33" y="16"/>
                    <a:pt x="33" y="16"/>
                  </a:cubicBezTo>
                  <a:cubicBezTo>
                    <a:pt x="33" y="17"/>
                    <a:pt x="34" y="17"/>
                    <a:pt x="34" y="16"/>
                  </a:cubicBezTo>
                  <a:cubicBezTo>
                    <a:pt x="35" y="16"/>
                    <a:pt x="36" y="15"/>
                    <a:pt x="37" y="15"/>
                  </a:cubicBezTo>
                  <a:cubicBezTo>
                    <a:pt x="37" y="15"/>
                    <a:pt x="38" y="15"/>
                    <a:pt x="39" y="15"/>
                  </a:cubicBezTo>
                  <a:cubicBezTo>
                    <a:pt x="39" y="15"/>
                    <a:pt x="39" y="16"/>
                    <a:pt x="39" y="16"/>
                  </a:cubicBezTo>
                  <a:cubicBezTo>
                    <a:pt x="40" y="18"/>
                    <a:pt x="42" y="18"/>
                    <a:pt x="43" y="20"/>
                  </a:cubicBezTo>
                  <a:cubicBezTo>
                    <a:pt x="44" y="21"/>
                    <a:pt x="44" y="21"/>
                    <a:pt x="44" y="22"/>
                  </a:cubicBezTo>
                  <a:cubicBezTo>
                    <a:pt x="44" y="23"/>
                    <a:pt x="44" y="23"/>
                    <a:pt x="45" y="23"/>
                  </a:cubicBezTo>
                  <a:cubicBezTo>
                    <a:pt x="45" y="24"/>
                    <a:pt x="46" y="24"/>
                    <a:pt x="47" y="25"/>
                  </a:cubicBezTo>
                  <a:cubicBezTo>
                    <a:pt x="48" y="25"/>
                    <a:pt x="49" y="25"/>
                    <a:pt x="49" y="27"/>
                  </a:cubicBezTo>
                  <a:cubicBezTo>
                    <a:pt x="49" y="28"/>
                    <a:pt x="48" y="28"/>
                    <a:pt x="49" y="29"/>
                  </a:cubicBezTo>
                  <a:cubicBezTo>
                    <a:pt x="50" y="29"/>
                    <a:pt x="50" y="30"/>
                    <a:pt x="50" y="30"/>
                  </a:cubicBezTo>
                  <a:cubicBezTo>
                    <a:pt x="50" y="29"/>
                    <a:pt x="50" y="32"/>
                    <a:pt x="50" y="31"/>
                  </a:cubicBezTo>
                  <a:cubicBezTo>
                    <a:pt x="50" y="31"/>
                    <a:pt x="50" y="31"/>
                    <a:pt x="49" y="32"/>
                  </a:cubicBezTo>
                  <a:cubicBezTo>
                    <a:pt x="49" y="32"/>
                    <a:pt x="49" y="32"/>
                    <a:pt x="48" y="32"/>
                  </a:cubicBezTo>
                  <a:cubicBezTo>
                    <a:pt x="47" y="33"/>
                    <a:pt x="45" y="36"/>
                    <a:pt x="47" y="36"/>
                  </a:cubicBezTo>
                  <a:cubicBezTo>
                    <a:pt x="46" y="36"/>
                    <a:pt x="46" y="37"/>
                    <a:pt x="46" y="37"/>
                  </a:cubicBezTo>
                  <a:cubicBezTo>
                    <a:pt x="45" y="38"/>
                    <a:pt x="45" y="39"/>
                    <a:pt x="46" y="39"/>
                  </a:cubicBezTo>
                  <a:cubicBezTo>
                    <a:pt x="47" y="41"/>
                    <a:pt x="48" y="40"/>
                    <a:pt x="48" y="42"/>
                  </a:cubicBezTo>
                  <a:cubicBezTo>
                    <a:pt x="48" y="43"/>
                    <a:pt x="49" y="44"/>
                    <a:pt x="50" y="45"/>
                  </a:cubicBezTo>
                  <a:cubicBezTo>
                    <a:pt x="50" y="46"/>
                    <a:pt x="50" y="46"/>
                    <a:pt x="50" y="47"/>
                  </a:cubicBezTo>
                  <a:cubicBezTo>
                    <a:pt x="49" y="48"/>
                    <a:pt x="50" y="48"/>
                    <a:pt x="51" y="48"/>
                  </a:cubicBezTo>
                  <a:cubicBezTo>
                    <a:pt x="51" y="48"/>
                    <a:pt x="52" y="49"/>
                    <a:pt x="52" y="49"/>
                  </a:cubicBezTo>
                  <a:cubicBezTo>
                    <a:pt x="52" y="50"/>
                    <a:pt x="52" y="49"/>
                    <a:pt x="53" y="49"/>
                  </a:cubicBezTo>
                  <a:cubicBezTo>
                    <a:pt x="53" y="49"/>
                    <a:pt x="53" y="50"/>
                    <a:pt x="54" y="50"/>
                  </a:cubicBezTo>
                  <a:cubicBezTo>
                    <a:pt x="54" y="50"/>
                    <a:pt x="55" y="51"/>
                    <a:pt x="55" y="51"/>
                  </a:cubicBezTo>
                  <a:cubicBezTo>
                    <a:pt x="57" y="51"/>
                    <a:pt x="57" y="48"/>
                    <a:pt x="57" y="50"/>
                  </a:cubicBezTo>
                  <a:cubicBezTo>
                    <a:pt x="58" y="51"/>
                    <a:pt x="59" y="51"/>
                    <a:pt x="58" y="50"/>
                  </a:cubicBezTo>
                  <a:cubicBezTo>
                    <a:pt x="58" y="49"/>
                    <a:pt x="58" y="49"/>
                    <a:pt x="59" y="49"/>
                  </a:cubicBezTo>
                  <a:cubicBezTo>
                    <a:pt x="60" y="48"/>
                    <a:pt x="62" y="47"/>
                    <a:pt x="63" y="46"/>
                  </a:cubicBezTo>
                  <a:cubicBezTo>
                    <a:pt x="64" y="47"/>
                    <a:pt x="61" y="49"/>
                    <a:pt x="60" y="50"/>
                  </a:cubicBezTo>
                  <a:cubicBezTo>
                    <a:pt x="62" y="50"/>
                    <a:pt x="62" y="49"/>
                    <a:pt x="63" y="49"/>
                  </a:cubicBezTo>
                  <a:cubicBezTo>
                    <a:pt x="63" y="49"/>
                    <a:pt x="63" y="50"/>
                    <a:pt x="63" y="50"/>
                  </a:cubicBezTo>
                  <a:cubicBezTo>
                    <a:pt x="64" y="51"/>
                    <a:pt x="64" y="51"/>
                    <a:pt x="65" y="51"/>
                  </a:cubicBezTo>
                  <a:cubicBezTo>
                    <a:pt x="65" y="51"/>
                    <a:pt x="65" y="52"/>
                    <a:pt x="66" y="52"/>
                  </a:cubicBezTo>
                  <a:cubicBezTo>
                    <a:pt x="67" y="52"/>
                    <a:pt x="66" y="52"/>
                    <a:pt x="67" y="52"/>
                  </a:cubicBezTo>
                  <a:cubicBezTo>
                    <a:pt x="68" y="52"/>
                    <a:pt x="69" y="52"/>
                    <a:pt x="70" y="52"/>
                  </a:cubicBezTo>
                  <a:cubicBezTo>
                    <a:pt x="70" y="52"/>
                    <a:pt x="70" y="52"/>
                    <a:pt x="71" y="5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14" name="Freeform 2066">
              <a:extLst>
                <a:ext uri="{FF2B5EF4-FFF2-40B4-BE49-F238E27FC236}">
                  <a16:creationId xmlns:a16="http://schemas.microsoft.com/office/drawing/2014/main" id="{EA0713B7-55EB-44B5-9F71-6641D7B7731B}"/>
                </a:ext>
              </a:extLst>
            </p:cNvPr>
            <p:cNvSpPr>
              <a:spLocks/>
            </p:cNvSpPr>
            <p:nvPr/>
          </p:nvSpPr>
          <p:spPr bwMode="auto">
            <a:xfrm>
              <a:off x="1147" y="529"/>
              <a:ext cx="43" cy="14"/>
            </a:xfrm>
            <a:custGeom>
              <a:avLst/>
              <a:gdLst>
                <a:gd name="T0" fmla="*/ 1 w 18"/>
                <a:gd name="T1" fmla="*/ 4 h 6"/>
                <a:gd name="T2" fmla="*/ 3 w 18"/>
                <a:gd name="T3" fmla="*/ 5 h 6"/>
                <a:gd name="T4" fmla="*/ 4 w 18"/>
                <a:gd name="T5" fmla="*/ 5 h 6"/>
                <a:gd name="T6" fmla="*/ 5 w 18"/>
                <a:gd name="T7" fmla="*/ 5 h 6"/>
                <a:gd name="T8" fmla="*/ 5 w 18"/>
                <a:gd name="T9" fmla="*/ 6 h 6"/>
                <a:gd name="T10" fmla="*/ 5 w 18"/>
                <a:gd name="T11" fmla="*/ 6 h 6"/>
                <a:gd name="T12" fmla="*/ 5 w 18"/>
                <a:gd name="T13" fmla="*/ 6 h 6"/>
                <a:gd name="T14" fmla="*/ 5 w 18"/>
                <a:gd name="T15" fmla="*/ 5 h 6"/>
                <a:gd name="T16" fmla="*/ 6 w 18"/>
                <a:gd name="T17" fmla="*/ 5 h 6"/>
                <a:gd name="T18" fmla="*/ 7 w 18"/>
                <a:gd name="T19" fmla="*/ 5 h 6"/>
                <a:gd name="T20" fmla="*/ 7 w 18"/>
                <a:gd name="T21" fmla="*/ 5 h 6"/>
                <a:gd name="T22" fmla="*/ 7 w 18"/>
                <a:gd name="T23" fmla="*/ 5 h 6"/>
                <a:gd name="T24" fmla="*/ 7 w 18"/>
                <a:gd name="T25" fmla="*/ 5 h 6"/>
                <a:gd name="T26" fmla="*/ 10 w 18"/>
                <a:gd name="T27" fmla="*/ 5 h 6"/>
                <a:gd name="T28" fmla="*/ 10 w 18"/>
                <a:gd name="T29" fmla="*/ 5 h 6"/>
                <a:gd name="T30" fmla="*/ 10 w 18"/>
                <a:gd name="T31" fmla="*/ 5 h 6"/>
                <a:gd name="T32" fmla="*/ 10 w 18"/>
                <a:gd name="T33" fmla="*/ 5 h 6"/>
                <a:gd name="T34" fmla="*/ 12 w 18"/>
                <a:gd name="T35" fmla="*/ 4 h 6"/>
                <a:gd name="T36" fmla="*/ 12 w 18"/>
                <a:gd name="T37" fmla="*/ 4 h 6"/>
                <a:gd name="T38" fmla="*/ 14 w 18"/>
                <a:gd name="T39" fmla="*/ 3 h 6"/>
                <a:gd name="T40" fmla="*/ 18 w 18"/>
                <a:gd name="T41" fmla="*/ 0 h 6"/>
                <a:gd name="T42" fmla="*/ 0 w 18"/>
                <a:gd name="T43" fmla="*/ 4 h 6"/>
                <a:gd name="T44" fmla="*/ 0 w 18"/>
                <a:gd name="T45" fmla="*/ 4 h 6"/>
                <a:gd name="T46" fmla="*/ 1 w 18"/>
                <a:gd name="T47" fmla="*/ 4 h 6"/>
                <a:gd name="T48" fmla="*/ 1 w 18"/>
                <a:gd name="T4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6">
                  <a:moveTo>
                    <a:pt x="1" y="4"/>
                  </a:moveTo>
                  <a:cubicBezTo>
                    <a:pt x="1" y="5"/>
                    <a:pt x="2" y="5"/>
                    <a:pt x="3" y="5"/>
                  </a:cubicBezTo>
                  <a:cubicBezTo>
                    <a:pt x="3" y="5"/>
                    <a:pt x="4" y="5"/>
                    <a:pt x="4" y="5"/>
                  </a:cubicBezTo>
                  <a:cubicBezTo>
                    <a:pt x="5" y="5"/>
                    <a:pt x="5" y="6"/>
                    <a:pt x="5" y="5"/>
                  </a:cubicBezTo>
                  <a:cubicBezTo>
                    <a:pt x="5" y="5"/>
                    <a:pt x="5" y="6"/>
                    <a:pt x="5" y="6"/>
                  </a:cubicBezTo>
                  <a:cubicBezTo>
                    <a:pt x="5" y="6"/>
                    <a:pt x="5" y="6"/>
                    <a:pt x="5" y="6"/>
                  </a:cubicBezTo>
                  <a:cubicBezTo>
                    <a:pt x="5" y="6"/>
                    <a:pt x="5" y="6"/>
                    <a:pt x="5" y="6"/>
                  </a:cubicBezTo>
                  <a:cubicBezTo>
                    <a:pt x="5" y="6"/>
                    <a:pt x="5" y="5"/>
                    <a:pt x="5" y="5"/>
                  </a:cubicBezTo>
                  <a:cubicBezTo>
                    <a:pt x="6" y="5"/>
                    <a:pt x="6" y="5"/>
                    <a:pt x="6" y="5"/>
                  </a:cubicBezTo>
                  <a:cubicBezTo>
                    <a:pt x="6" y="5"/>
                    <a:pt x="7" y="5"/>
                    <a:pt x="7" y="5"/>
                  </a:cubicBezTo>
                  <a:cubicBezTo>
                    <a:pt x="7" y="5"/>
                    <a:pt x="7" y="5"/>
                    <a:pt x="7" y="5"/>
                  </a:cubicBezTo>
                  <a:cubicBezTo>
                    <a:pt x="7" y="5"/>
                    <a:pt x="7" y="5"/>
                    <a:pt x="7" y="5"/>
                  </a:cubicBezTo>
                  <a:cubicBezTo>
                    <a:pt x="7" y="5"/>
                    <a:pt x="7" y="5"/>
                    <a:pt x="7" y="5"/>
                  </a:cubicBezTo>
                  <a:cubicBezTo>
                    <a:pt x="8" y="4"/>
                    <a:pt x="9" y="5"/>
                    <a:pt x="10" y="5"/>
                  </a:cubicBezTo>
                  <a:cubicBezTo>
                    <a:pt x="10" y="5"/>
                    <a:pt x="10" y="5"/>
                    <a:pt x="10" y="5"/>
                  </a:cubicBezTo>
                  <a:cubicBezTo>
                    <a:pt x="10" y="5"/>
                    <a:pt x="10" y="5"/>
                    <a:pt x="10" y="5"/>
                  </a:cubicBezTo>
                  <a:cubicBezTo>
                    <a:pt x="10" y="5"/>
                    <a:pt x="10" y="5"/>
                    <a:pt x="10" y="5"/>
                  </a:cubicBezTo>
                  <a:cubicBezTo>
                    <a:pt x="11" y="5"/>
                    <a:pt x="12" y="5"/>
                    <a:pt x="12" y="4"/>
                  </a:cubicBezTo>
                  <a:cubicBezTo>
                    <a:pt x="12" y="4"/>
                    <a:pt x="12" y="4"/>
                    <a:pt x="12" y="4"/>
                  </a:cubicBezTo>
                  <a:cubicBezTo>
                    <a:pt x="13" y="4"/>
                    <a:pt x="14" y="4"/>
                    <a:pt x="14" y="3"/>
                  </a:cubicBezTo>
                  <a:cubicBezTo>
                    <a:pt x="16" y="2"/>
                    <a:pt x="18" y="2"/>
                    <a:pt x="18" y="0"/>
                  </a:cubicBezTo>
                  <a:cubicBezTo>
                    <a:pt x="12" y="1"/>
                    <a:pt x="6" y="2"/>
                    <a:pt x="0" y="4"/>
                  </a:cubicBezTo>
                  <a:cubicBezTo>
                    <a:pt x="0" y="4"/>
                    <a:pt x="0" y="4"/>
                    <a:pt x="0" y="4"/>
                  </a:cubicBezTo>
                  <a:cubicBezTo>
                    <a:pt x="0" y="4"/>
                    <a:pt x="0" y="4"/>
                    <a:pt x="1" y="4"/>
                  </a:cubicBezTo>
                  <a:cubicBezTo>
                    <a:pt x="1" y="4"/>
                    <a:pt x="1" y="4"/>
                    <a:pt x="1"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15" name="Freeform 2067">
              <a:extLst>
                <a:ext uri="{FF2B5EF4-FFF2-40B4-BE49-F238E27FC236}">
                  <a16:creationId xmlns:a16="http://schemas.microsoft.com/office/drawing/2014/main" id="{C892148F-6C9D-4BFF-88A8-2EB4DAF55972}"/>
                </a:ext>
              </a:extLst>
            </p:cNvPr>
            <p:cNvSpPr>
              <a:spLocks/>
            </p:cNvSpPr>
            <p:nvPr/>
          </p:nvSpPr>
          <p:spPr bwMode="auto">
            <a:xfrm>
              <a:off x="1211" y="148"/>
              <a:ext cx="288" cy="180"/>
            </a:xfrm>
            <a:custGeom>
              <a:avLst/>
              <a:gdLst>
                <a:gd name="T0" fmla="*/ 4 w 122"/>
                <a:gd name="T1" fmla="*/ 37 h 76"/>
                <a:gd name="T2" fmla="*/ 14 w 122"/>
                <a:gd name="T3" fmla="*/ 42 h 76"/>
                <a:gd name="T4" fmla="*/ 11 w 122"/>
                <a:gd name="T5" fmla="*/ 47 h 76"/>
                <a:gd name="T6" fmla="*/ 23 w 122"/>
                <a:gd name="T7" fmla="*/ 48 h 76"/>
                <a:gd name="T8" fmla="*/ 32 w 122"/>
                <a:gd name="T9" fmla="*/ 50 h 76"/>
                <a:gd name="T10" fmla="*/ 38 w 122"/>
                <a:gd name="T11" fmla="*/ 48 h 76"/>
                <a:gd name="T12" fmla="*/ 43 w 122"/>
                <a:gd name="T13" fmla="*/ 47 h 76"/>
                <a:gd name="T14" fmla="*/ 58 w 122"/>
                <a:gd name="T15" fmla="*/ 48 h 76"/>
                <a:gd name="T16" fmla="*/ 59 w 122"/>
                <a:gd name="T17" fmla="*/ 51 h 76"/>
                <a:gd name="T18" fmla="*/ 49 w 122"/>
                <a:gd name="T19" fmla="*/ 53 h 76"/>
                <a:gd name="T20" fmla="*/ 39 w 122"/>
                <a:gd name="T21" fmla="*/ 53 h 76"/>
                <a:gd name="T22" fmla="*/ 26 w 122"/>
                <a:gd name="T23" fmla="*/ 57 h 76"/>
                <a:gd name="T24" fmla="*/ 35 w 122"/>
                <a:gd name="T25" fmla="*/ 62 h 76"/>
                <a:gd name="T26" fmla="*/ 41 w 122"/>
                <a:gd name="T27" fmla="*/ 65 h 76"/>
                <a:gd name="T28" fmla="*/ 50 w 122"/>
                <a:gd name="T29" fmla="*/ 67 h 76"/>
                <a:gd name="T30" fmla="*/ 42 w 122"/>
                <a:gd name="T31" fmla="*/ 71 h 76"/>
                <a:gd name="T32" fmla="*/ 51 w 122"/>
                <a:gd name="T33" fmla="*/ 74 h 76"/>
                <a:gd name="T34" fmla="*/ 67 w 122"/>
                <a:gd name="T35" fmla="*/ 74 h 76"/>
                <a:gd name="T36" fmla="*/ 69 w 122"/>
                <a:gd name="T37" fmla="*/ 72 h 76"/>
                <a:gd name="T38" fmla="*/ 74 w 122"/>
                <a:gd name="T39" fmla="*/ 74 h 76"/>
                <a:gd name="T40" fmla="*/ 71 w 122"/>
                <a:gd name="T41" fmla="*/ 67 h 76"/>
                <a:gd name="T42" fmla="*/ 83 w 122"/>
                <a:gd name="T43" fmla="*/ 73 h 76"/>
                <a:gd name="T44" fmla="*/ 90 w 122"/>
                <a:gd name="T45" fmla="*/ 65 h 76"/>
                <a:gd name="T46" fmla="*/ 89 w 122"/>
                <a:gd name="T47" fmla="*/ 56 h 76"/>
                <a:gd name="T48" fmla="*/ 91 w 122"/>
                <a:gd name="T49" fmla="*/ 58 h 76"/>
                <a:gd name="T50" fmla="*/ 99 w 122"/>
                <a:gd name="T51" fmla="*/ 60 h 76"/>
                <a:gd name="T52" fmla="*/ 106 w 122"/>
                <a:gd name="T53" fmla="*/ 55 h 76"/>
                <a:gd name="T54" fmla="*/ 121 w 122"/>
                <a:gd name="T55" fmla="*/ 49 h 76"/>
                <a:gd name="T56" fmla="*/ 118 w 122"/>
                <a:gd name="T57" fmla="*/ 48 h 76"/>
                <a:gd name="T58" fmla="*/ 109 w 122"/>
                <a:gd name="T59" fmla="*/ 43 h 76"/>
                <a:gd name="T60" fmla="*/ 100 w 122"/>
                <a:gd name="T61" fmla="*/ 43 h 76"/>
                <a:gd name="T62" fmla="*/ 100 w 122"/>
                <a:gd name="T63" fmla="*/ 38 h 76"/>
                <a:gd name="T64" fmla="*/ 99 w 122"/>
                <a:gd name="T65" fmla="*/ 35 h 76"/>
                <a:gd name="T66" fmla="*/ 91 w 122"/>
                <a:gd name="T67" fmla="*/ 30 h 76"/>
                <a:gd name="T68" fmla="*/ 83 w 122"/>
                <a:gd name="T69" fmla="*/ 25 h 76"/>
                <a:gd name="T70" fmla="*/ 86 w 122"/>
                <a:gd name="T71" fmla="*/ 31 h 76"/>
                <a:gd name="T72" fmla="*/ 79 w 122"/>
                <a:gd name="T73" fmla="*/ 24 h 76"/>
                <a:gd name="T74" fmla="*/ 62 w 122"/>
                <a:gd name="T75" fmla="*/ 20 h 76"/>
                <a:gd name="T76" fmla="*/ 39 w 122"/>
                <a:gd name="T77" fmla="*/ 2 h 76"/>
                <a:gd name="T78" fmla="*/ 26 w 122"/>
                <a:gd name="T79" fmla="*/ 3 h 76"/>
                <a:gd name="T80" fmla="*/ 37 w 122"/>
                <a:gd name="T81" fmla="*/ 5 h 76"/>
                <a:gd name="T82" fmla="*/ 25 w 122"/>
                <a:gd name="T83" fmla="*/ 8 h 76"/>
                <a:gd name="T84" fmla="*/ 14 w 122"/>
                <a:gd name="T85" fmla="*/ 12 h 76"/>
                <a:gd name="T86" fmla="*/ 18 w 122"/>
                <a:gd name="T87" fmla="*/ 15 h 76"/>
                <a:gd name="T88" fmla="*/ 16 w 122"/>
                <a:gd name="T89" fmla="*/ 19 h 76"/>
                <a:gd name="T90" fmla="*/ 11 w 122"/>
                <a:gd name="T91" fmla="*/ 23 h 76"/>
                <a:gd name="T92" fmla="*/ 4 w 122"/>
                <a:gd name="T93" fmla="*/ 27 h 76"/>
                <a:gd name="T94" fmla="*/ 15 w 122"/>
                <a:gd name="T95" fmla="*/ 28 h 76"/>
                <a:gd name="T96" fmla="*/ 26 w 122"/>
                <a:gd name="T97" fmla="*/ 29 h 76"/>
                <a:gd name="T98" fmla="*/ 14 w 122"/>
                <a:gd name="T99" fmla="*/ 3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2" h="76">
                  <a:moveTo>
                    <a:pt x="14" y="33"/>
                  </a:moveTo>
                  <a:cubicBezTo>
                    <a:pt x="10" y="32"/>
                    <a:pt x="5" y="31"/>
                    <a:pt x="0" y="32"/>
                  </a:cubicBezTo>
                  <a:cubicBezTo>
                    <a:pt x="0" y="32"/>
                    <a:pt x="0" y="32"/>
                    <a:pt x="1" y="32"/>
                  </a:cubicBezTo>
                  <a:cubicBezTo>
                    <a:pt x="3" y="33"/>
                    <a:pt x="1" y="37"/>
                    <a:pt x="4" y="37"/>
                  </a:cubicBezTo>
                  <a:cubicBezTo>
                    <a:pt x="4" y="38"/>
                    <a:pt x="5" y="38"/>
                    <a:pt x="5" y="38"/>
                  </a:cubicBezTo>
                  <a:cubicBezTo>
                    <a:pt x="6" y="38"/>
                    <a:pt x="6" y="39"/>
                    <a:pt x="6" y="39"/>
                  </a:cubicBezTo>
                  <a:cubicBezTo>
                    <a:pt x="6" y="40"/>
                    <a:pt x="7" y="40"/>
                    <a:pt x="8" y="40"/>
                  </a:cubicBezTo>
                  <a:cubicBezTo>
                    <a:pt x="10" y="42"/>
                    <a:pt x="12" y="42"/>
                    <a:pt x="14" y="42"/>
                  </a:cubicBezTo>
                  <a:cubicBezTo>
                    <a:pt x="15" y="42"/>
                    <a:pt x="16" y="42"/>
                    <a:pt x="17" y="42"/>
                  </a:cubicBezTo>
                  <a:cubicBezTo>
                    <a:pt x="19" y="41"/>
                    <a:pt x="22" y="39"/>
                    <a:pt x="23" y="40"/>
                  </a:cubicBezTo>
                  <a:cubicBezTo>
                    <a:pt x="22" y="43"/>
                    <a:pt x="19" y="43"/>
                    <a:pt x="16" y="43"/>
                  </a:cubicBezTo>
                  <a:cubicBezTo>
                    <a:pt x="14" y="44"/>
                    <a:pt x="9" y="44"/>
                    <a:pt x="11" y="47"/>
                  </a:cubicBezTo>
                  <a:cubicBezTo>
                    <a:pt x="11" y="48"/>
                    <a:pt x="13" y="48"/>
                    <a:pt x="14" y="48"/>
                  </a:cubicBezTo>
                  <a:cubicBezTo>
                    <a:pt x="14" y="48"/>
                    <a:pt x="15" y="47"/>
                    <a:pt x="15" y="48"/>
                  </a:cubicBezTo>
                  <a:cubicBezTo>
                    <a:pt x="15" y="49"/>
                    <a:pt x="16" y="49"/>
                    <a:pt x="16" y="50"/>
                  </a:cubicBezTo>
                  <a:cubicBezTo>
                    <a:pt x="17" y="52"/>
                    <a:pt x="22" y="49"/>
                    <a:pt x="23" y="48"/>
                  </a:cubicBezTo>
                  <a:cubicBezTo>
                    <a:pt x="24" y="47"/>
                    <a:pt x="25" y="47"/>
                    <a:pt x="26" y="47"/>
                  </a:cubicBezTo>
                  <a:cubicBezTo>
                    <a:pt x="27" y="48"/>
                    <a:pt x="27" y="48"/>
                    <a:pt x="27" y="49"/>
                  </a:cubicBezTo>
                  <a:cubicBezTo>
                    <a:pt x="27" y="50"/>
                    <a:pt x="27" y="50"/>
                    <a:pt x="28" y="50"/>
                  </a:cubicBezTo>
                  <a:cubicBezTo>
                    <a:pt x="29" y="51"/>
                    <a:pt x="31" y="51"/>
                    <a:pt x="32" y="50"/>
                  </a:cubicBezTo>
                  <a:cubicBezTo>
                    <a:pt x="32" y="49"/>
                    <a:pt x="32" y="48"/>
                    <a:pt x="33" y="48"/>
                  </a:cubicBezTo>
                  <a:cubicBezTo>
                    <a:pt x="34" y="49"/>
                    <a:pt x="35" y="48"/>
                    <a:pt x="35" y="47"/>
                  </a:cubicBezTo>
                  <a:cubicBezTo>
                    <a:pt x="35" y="48"/>
                    <a:pt x="35" y="48"/>
                    <a:pt x="36" y="49"/>
                  </a:cubicBezTo>
                  <a:cubicBezTo>
                    <a:pt x="36" y="49"/>
                    <a:pt x="38" y="48"/>
                    <a:pt x="38" y="48"/>
                  </a:cubicBezTo>
                  <a:cubicBezTo>
                    <a:pt x="39" y="47"/>
                    <a:pt x="37" y="45"/>
                    <a:pt x="39" y="46"/>
                  </a:cubicBezTo>
                  <a:cubicBezTo>
                    <a:pt x="40" y="47"/>
                    <a:pt x="40" y="47"/>
                    <a:pt x="41" y="47"/>
                  </a:cubicBezTo>
                  <a:cubicBezTo>
                    <a:pt x="42" y="47"/>
                    <a:pt x="42" y="46"/>
                    <a:pt x="43" y="46"/>
                  </a:cubicBezTo>
                  <a:cubicBezTo>
                    <a:pt x="44" y="46"/>
                    <a:pt x="43" y="46"/>
                    <a:pt x="43" y="47"/>
                  </a:cubicBezTo>
                  <a:cubicBezTo>
                    <a:pt x="44" y="48"/>
                    <a:pt x="43" y="48"/>
                    <a:pt x="44" y="48"/>
                  </a:cubicBezTo>
                  <a:cubicBezTo>
                    <a:pt x="45" y="48"/>
                    <a:pt x="46" y="48"/>
                    <a:pt x="47" y="48"/>
                  </a:cubicBezTo>
                  <a:cubicBezTo>
                    <a:pt x="48" y="49"/>
                    <a:pt x="49" y="49"/>
                    <a:pt x="50" y="49"/>
                  </a:cubicBezTo>
                  <a:cubicBezTo>
                    <a:pt x="52" y="49"/>
                    <a:pt x="56" y="47"/>
                    <a:pt x="58" y="48"/>
                  </a:cubicBezTo>
                  <a:cubicBezTo>
                    <a:pt x="56" y="49"/>
                    <a:pt x="53" y="49"/>
                    <a:pt x="51" y="49"/>
                  </a:cubicBezTo>
                  <a:cubicBezTo>
                    <a:pt x="48" y="50"/>
                    <a:pt x="44" y="49"/>
                    <a:pt x="43" y="51"/>
                  </a:cubicBezTo>
                  <a:cubicBezTo>
                    <a:pt x="46" y="52"/>
                    <a:pt x="49" y="52"/>
                    <a:pt x="53" y="51"/>
                  </a:cubicBezTo>
                  <a:cubicBezTo>
                    <a:pt x="55" y="51"/>
                    <a:pt x="57" y="51"/>
                    <a:pt x="59" y="51"/>
                  </a:cubicBezTo>
                  <a:cubicBezTo>
                    <a:pt x="60" y="51"/>
                    <a:pt x="61" y="51"/>
                    <a:pt x="62" y="51"/>
                  </a:cubicBezTo>
                  <a:cubicBezTo>
                    <a:pt x="63" y="51"/>
                    <a:pt x="64" y="51"/>
                    <a:pt x="66" y="51"/>
                  </a:cubicBezTo>
                  <a:cubicBezTo>
                    <a:pt x="64" y="52"/>
                    <a:pt x="60" y="52"/>
                    <a:pt x="58" y="52"/>
                  </a:cubicBezTo>
                  <a:cubicBezTo>
                    <a:pt x="55" y="52"/>
                    <a:pt x="52" y="53"/>
                    <a:pt x="49" y="53"/>
                  </a:cubicBezTo>
                  <a:cubicBezTo>
                    <a:pt x="48" y="53"/>
                    <a:pt x="47" y="53"/>
                    <a:pt x="46" y="53"/>
                  </a:cubicBezTo>
                  <a:cubicBezTo>
                    <a:pt x="44" y="53"/>
                    <a:pt x="43" y="53"/>
                    <a:pt x="42" y="53"/>
                  </a:cubicBezTo>
                  <a:cubicBezTo>
                    <a:pt x="41" y="53"/>
                    <a:pt x="41" y="53"/>
                    <a:pt x="40" y="53"/>
                  </a:cubicBezTo>
                  <a:cubicBezTo>
                    <a:pt x="40" y="53"/>
                    <a:pt x="39" y="53"/>
                    <a:pt x="39" y="53"/>
                  </a:cubicBezTo>
                  <a:cubicBezTo>
                    <a:pt x="38" y="53"/>
                    <a:pt x="38" y="53"/>
                    <a:pt x="37" y="53"/>
                  </a:cubicBezTo>
                  <a:cubicBezTo>
                    <a:pt x="36" y="53"/>
                    <a:pt x="34" y="54"/>
                    <a:pt x="33" y="55"/>
                  </a:cubicBezTo>
                  <a:cubicBezTo>
                    <a:pt x="32" y="55"/>
                    <a:pt x="30" y="56"/>
                    <a:pt x="29" y="56"/>
                  </a:cubicBezTo>
                  <a:cubicBezTo>
                    <a:pt x="29" y="56"/>
                    <a:pt x="26" y="57"/>
                    <a:pt x="26" y="57"/>
                  </a:cubicBezTo>
                  <a:cubicBezTo>
                    <a:pt x="26" y="57"/>
                    <a:pt x="27" y="58"/>
                    <a:pt x="27" y="58"/>
                  </a:cubicBezTo>
                  <a:cubicBezTo>
                    <a:pt x="29" y="59"/>
                    <a:pt x="30" y="60"/>
                    <a:pt x="32" y="60"/>
                  </a:cubicBezTo>
                  <a:cubicBezTo>
                    <a:pt x="33" y="60"/>
                    <a:pt x="38" y="61"/>
                    <a:pt x="38" y="62"/>
                  </a:cubicBezTo>
                  <a:cubicBezTo>
                    <a:pt x="38" y="63"/>
                    <a:pt x="36" y="62"/>
                    <a:pt x="35" y="62"/>
                  </a:cubicBezTo>
                  <a:cubicBezTo>
                    <a:pt x="34" y="62"/>
                    <a:pt x="32" y="61"/>
                    <a:pt x="31" y="62"/>
                  </a:cubicBezTo>
                  <a:cubicBezTo>
                    <a:pt x="32" y="63"/>
                    <a:pt x="32" y="63"/>
                    <a:pt x="33" y="63"/>
                  </a:cubicBezTo>
                  <a:cubicBezTo>
                    <a:pt x="34" y="64"/>
                    <a:pt x="34" y="64"/>
                    <a:pt x="35" y="65"/>
                  </a:cubicBezTo>
                  <a:cubicBezTo>
                    <a:pt x="37" y="67"/>
                    <a:pt x="39" y="65"/>
                    <a:pt x="41" y="65"/>
                  </a:cubicBezTo>
                  <a:cubicBezTo>
                    <a:pt x="41" y="65"/>
                    <a:pt x="42" y="65"/>
                    <a:pt x="43" y="66"/>
                  </a:cubicBezTo>
                  <a:cubicBezTo>
                    <a:pt x="44" y="66"/>
                    <a:pt x="45" y="66"/>
                    <a:pt x="46" y="66"/>
                  </a:cubicBezTo>
                  <a:cubicBezTo>
                    <a:pt x="48" y="66"/>
                    <a:pt x="51" y="66"/>
                    <a:pt x="53" y="67"/>
                  </a:cubicBezTo>
                  <a:cubicBezTo>
                    <a:pt x="51" y="67"/>
                    <a:pt x="51" y="67"/>
                    <a:pt x="50" y="67"/>
                  </a:cubicBezTo>
                  <a:cubicBezTo>
                    <a:pt x="48" y="67"/>
                    <a:pt x="47" y="67"/>
                    <a:pt x="46" y="67"/>
                  </a:cubicBezTo>
                  <a:cubicBezTo>
                    <a:pt x="45" y="67"/>
                    <a:pt x="44" y="68"/>
                    <a:pt x="43" y="68"/>
                  </a:cubicBezTo>
                  <a:cubicBezTo>
                    <a:pt x="42" y="68"/>
                    <a:pt x="38" y="68"/>
                    <a:pt x="40" y="69"/>
                  </a:cubicBezTo>
                  <a:cubicBezTo>
                    <a:pt x="40" y="70"/>
                    <a:pt x="42" y="70"/>
                    <a:pt x="42" y="71"/>
                  </a:cubicBezTo>
                  <a:cubicBezTo>
                    <a:pt x="43" y="71"/>
                    <a:pt x="46" y="73"/>
                    <a:pt x="46" y="72"/>
                  </a:cubicBezTo>
                  <a:cubicBezTo>
                    <a:pt x="46" y="73"/>
                    <a:pt x="47" y="73"/>
                    <a:pt x="48" y="73"/>
                  </a:cubicBezTo>
                  <a:cubicBezTo>
                    <a:pt x="48" y="74"/>
                    <a:pt x="48" y="74"/>
                    <a:pt x="49" y="74"/>
                  </a:cubicBezTo>
                  <a:cubicBezTo>
                    <a:pt x="50" y="74"/>
                    <a:pt x="50" y="74"/>
                    <a:pt x="51" y="74"/>
                  </a:cubicBezTo>
                  <a:cubicBezTo>
                    <a:pt x="51" y="74"/>
                    <a:pt x="52" y="74"/>
                    <a:pt x="53" y="74"/>
                  </a:cubicBezTo>
                  <a:cubicBezTo>
                    <a:pt x="54" y="75"/>
                    <a:pt x="56" y="75"/>
                    <a:pt x="58" y="75"/>
                  </a:cubicBezTo>
                  <a:cubicBezTo>
                    <a:pt x="59" y="75"/>
                    <a:pt x="61" y="76"/>
                    <a:pt x="63" y="76"/>
                  </a:cubicBezTo>
                  <a:cubicBezTo>
                    <a:pt x="63" y="76"/>
                    <a:pt x="68" y="76"/>
                    <a:pt x="67" y="74"/>
                  </a:cubicBezTo>
                  <a:cubicBezTo>
                    <a:pt x="65" y="73"/>
                    <a:pt x="67" y="73"/>
                    <a:pt x="65" y="73"/>
                  </a:cubicBezTo>
                  <a:cubicBezTo>
                    <a:pt x="64" y="72"/>
                    <a:pt x="63" y="72"/>
                    <a:pt x="62" y="72"/>
                  </a:cubicBezTo>
                  <a:cubicBezTo>
                    <a:pt x="63" y="71"/>
                    <a:pt x="64" y="72"/>
                    <a:pt x="65" y="72"/>
                  </a:cubicBezTo>
                  <a:cubicBezTo>
                    <a:pt x="67" y="72"/>
                    <a:pt x="68" y="71"/>
                    <a:pt x="69" y="72"/>
                  </a:cubicBezTo>
                  <a:cubicBezTo>
                    <a:pt x="70" y="73"/>
                    <a:pt x="70" y="74"/>
                    <a:pt x="71" y="74"/>
                  </a:cubicBezTo>
                  <a:cubicBezTo>
                    <a:pt x="72" y="74"/>
                    <a:pt x="72" y="74"/>
                    <a:pt x="73" y="75"/>
                  </a:cubicBezTo>
                  <a:cubicBezTo>
                    <a:pt x="74" y="75"/>
                    <a:pt x="74" y="76"/>
                    <a:pt x="75" y="75"/>
                  </a:cubicBezTo>
                  <a:cubicBezTo>
                    <a:pt x="75" y="75"/>
                    <a:pt x="74" y="74"/>
                    <a:pt x="74" y="74"/>
                  </a:cubicBezTo>
                  <a:cubicBezTo>
                    <a:pt x="74" y="73"/>
                    <a:pt x="73" y="72"/>
                    <a:pt x="73" y="71"/>
                  </a:cubicBezTo>
                  <a:cubicBezTo>
                    <a:pt x="72" y="70"/>
                    <a:pt x="71" y="70"/>
                    <a:pt x="71" y="69"/>
                  </a:cubicBezTo>
                  <a:cubicBezTo>
                    <a:pt x="70" y="69"/>
                    <a:pt x="68" y="67"/>
                    <a:pt x="69" y="66"/>
                  </a:cubicBezTo>
                  <a:cubicBezTo>
                    <a:pt x="70" y="65"/>
                    <a:pt x="70" y="66"/>
                    <a:pt x="71" y="67"/>
                  </a:cubicBezTo>
                  <a:cubicBezTo>
                    <a:pt x="72" y="68"/>
                    <a:pt x="74" y="70"/>
                    <a:pt x="75" y="71"/>
                  </a:cubicBezTo>
                  <a:cubicBezTo>
                    <a:pt x="77" y="71"/>
                    <a:pt x="77" y="73"/>
                    <a:pt x="78" y="73"/>
                  </a:cubicBezTo>
                  <a:cubicBezTo>
                    <a:pt x="79" y="74"/>
                    <a:pt x="80" y="75"/>
                    <a:pt x="81" y="75"/>
                  </a:cubicBezTo>
                  <a:cubicBezTo>
                    <a:pt x="82" y="76"/>
                    <a:pt x="83" y="74"/>
                    <a:pt x="83" y="73"/>
                  </a:cubicBezTo>
                  <a:cubicBezTo>
                    <a:pt x="83" y="72"/>
                    <a:pt x="84" y="71"/>
                    <a:pt x="84" y="70"/>
                  </a:cubicBezTo>
                  <a:cubicBezTo>
                    <a:pt x="85" y="69"/>
                    <a:pt x="81" y="66"/>
                    <a:pt x="83" y="65"/>
                  </a:cubicBezTo>
                  <a:cubicBezTo>
                    <a:pt x="85" y="64"/>
                    <a:pt x="87" y="71"/>
                    <a:pt x="90" y="68"/>
                  </a:cubicBezTo>
                  <a:cubicBezTo>
                    <a:pt x="91" y="67"/>
                    <a:pt x="91" y="66"/>
                    <a:pt x="90" y="65"/>
                  </a:cubicBezTo>
                  <a:cubicBezTo>
                    <a:pt x="89" y="64"/>
                    <a:pt x="88" y="64"/>
                    <a:pt x="87" y="64"/>
                  </a:cubicBezTo>
                  <a:cubicBezTo>
                    <a:pt x="88" y="63"/>
                    <a:pt x="89" y="64"/>
                    <a:pt x="88" y="62"/>
                  </a:cubicBezTo>
                  <a:cubicBezTo>
                    <a:pt x="88" y="61"/>
                    <a:pt x="88" y="60"/>
                    <a:pt x="88" y="59"/>
                  </a:cubicBezTo>
                  <a:cubicBezTo>
                    <a:pt x="88" y="58"/>
                    <a:pt x="88" y="57"/>
                    <a:pt x="89" y="56"/>
                  </a:cubicBezTo>
                  <a:cubicBezTo>
                    <a:pt x="90" y="56"/>
                    <a:pt x="90" y="56"/>
                    <a:pt x="91" y="56"/>
                  </a:cubicBezTo>
                  <a:cubicBezTo>
                    <a:pt x="92" y="56"/>
                    <a:pt x="92" y="55"/>
                    <a:pt x="93" y="55"/>
                  </a:cubicBezTo>
                  <a:cubicBezTo>
                    <a:pt x="92" y="55"/>
                    <a:pt x="92" y="56"/>
                    <a:pt x="92" y="57"/>
                  </a:cubicBezTo>
                  <a:cubicBezTo>
                    <a:pt x="92" y="57"/>
                    <a:pt x="91" y="57"/>
                    <a:pt x="91" y="58"/>
                  </a:cubicBezTo>
                  <a:cubicBezTo>
                    <a:pt x="92" y="59"/>
                    <a:pt x="92" y="60"/>
                    <a:pt x="92" y="61"/>
                  </a:cubicBezTo>
                  <a:cubicBezTo>
                    <a:pt x="93" y="62"/>
                    <a:pt x="93" y="65"/>
                    <a:pt x="94" y="64"/>
                  </a:cubicBezTo>
                  <a:cubicBezTo>
                    <a:pt x="95" y="64"/>
                    <a:pt x="95" y="63"/>
                    <a:pt x="96" y="62"/>
                  </a:cubicBezTo>
                  <a:cubicBezTo>
                    <a:pt x="97" y="61"/>
                    <a:pt x="98" y="60"/>
                    <a:pt x="99" y="60"/>
                  </a:cubicBezTo>
                  <a:cubicBezTo>
                    <a:pt x="100" y="60"/>
                    <a:pt x="101" y="59"/>
                    <a:pt x="101" y="58"/>
                  </a:cubicBezTo>
                  <a:cubicBezTo>
                    <a:pt x="101" y="58"/>
                    <a:pt x="100" y="57"/>
                    <a:pt x="100" y="56"/>
                  </a:cubicBezTo>
                  <a:cubicBezTo>
                    <a:pt x="102" y="57"/>
                    <a:pt x="103" y="58"/>
                    <a:pt x="104" y="57"/>
                  </a:cubicBezTo>
                  <a:cubicBezTo>
                    <a:pt x="105" y="56"/>
                    <a:pt x="105" y="55"/>
                    <a:pt x="106" y="55"/>
                  </a:cubicBezTo>
                  <a:cubicBezTo>
                    <a:pt x="108" y="54"/>
                    <a:pt x="111" y="54"/>
                    <a:pt x="114" y="53"/>
                  </a:cubicBezTo>
                  <a:cubicBezTo>
                    <a:pt x="114" y="53"/>
                    <a:pt x="116" y="52"/>
                    <a:pt x="117" y="52"/>
                  </a:cubicBezTo>
                  <a:cubicBezTo>
                    <a:pt x="118" y="52"/>
                    <a:pt x="118" y="52"/>
                    <a:pt x="118" y="52"/>
                  </a:cubicBezTo>
                  <a:cubicBezTo>
                    <a:pt x="120" y="51"/>
                    <a:pt x="121" y="51"/>
                    <a:pt x="121" y="49"/>
                  </a:cubicBezTo>
                  <a:cubicBezTo>
                    <a:pt x="121" y="50"/>
                    <a:pt x="121" y="50"/>
                    <a:pt x="121" y="51"/>
                  </a:cubicBezTo>
                  <a:cubicBezTo>
                    <a:pt x="122" y="50"/>
                    <a:pt x="121" y="50"/>
                    <a:pt x="121" y="49"/>
                  </a:cubicBezTo>
                  <a:cubicBezTo>
                    <a:pt x="121" y="49"/>
                    <a:pt x="121" y="49"/>
                    <a:pt x="121" y="49"/>
                  </a:cubicBezTo>
                  <a:cubicBezTo>
                    <a:pt x="121" y="48"/>
                    <a:pt x="119" y="48"/>
                    <a:pt x="118" y="48"/>
                  </a:cubicBezTo>
                  <a:cubicBezTo>
                    <a:pt x="117" y="47"/>
                    <a:pt x="117" y="46"/>
                    <a:pt x="116" y="45"/>
                  </a:cubicBezTo>
                  <a:cubicBezTo>
                    <a:pt x="116" y="45"/>
                    <a:pt x="113" y="40"/>
                    <a:pt x="112" y="43"/>
                  </a:cubicBezTo>
                  <a:cubicBezTo>
                    <a:pt x="112" y="44"/>
                    <a:pt x="111" y="47"/>
                    <a:pt x="110" y="46"/>
                  </a:cubicBezTo>
                  <a:cubicBezTo>
                    <a:pt x="110" y="46"/>
                    <a:pt x="110" y="43"/>
                    <a:pt x="109" y="43"/>
                  </a:cubicBezTo>
                  <a:cubicBezTo>
                    <a:pt x="108" y="42"/>
                    <a:pt x="107" y="42"/>
                    <a:pt x="106" y="42"/>
                  </a:cubicBezTo>
                  <a:cubicBezTo>
                    <a:pt x="104" y="41"/>
                    <a:pt x="104" y="42"/>
                    <a:pt x="103" y="44"/>
                  </a:cubicBezTo>
                  <a:cubicBezTo>
                    <a:pt x="102" y="45"/>
                    <a:pt x="102" y="43"/>
                    <a:pt x="102" y="43"/>
                  </a:cubicBezTo>
                  <a:cubicBezTo>
                    <a:pt x="102" y="43"/>
                    <a:pt x="101" y="43"/>
                    <a:pt x="100" y="43"/>
                  </a:cubicBezTo>
                  <a:cubicBezTo>
                    <a:pt x="99" y="43"/>
                    <a:pt x="98" y="45"/>
                    <a:pt x="97" y="45"/>
                  </a:cubicBezTo>
                  <a:cubicBezTo>
                    <a:pt x="95" y="45"/>
                    <a:pt x="96" y="43"/>
                    <a:pt x="97" y="43"/>
                  </a:cubicBezTo>
                  <a:cubicBezTo>
                    <a:pt x="99" y="42"/>
                    <a:pt x="99" y="41"/>
                    <a:pt x="100" y="40"/>
                  </a:cubicBezTo>
                  <a:cubicBezTo>
                    <a:pt x="100" y="39"/>
                    <a:pt x="99" y="39"/>
                    <a:pt x="100" y="38"/>
                  </a:cubicBezTo>
                  <a:cubicBezTo>
                    <a:pt x="100" y="37"/>
                    <a:pt x="101" y="36"/>
                    <a:pt x="100" y="35"/>
                  </a:cubicBezTo>
                  <a:cubicBezTo>
                    <a:pt x="100" y="35"/>
                    <a:pt x="99" y="36"/>
                    <a:pt x="99" y="36"/>
                  </a:cubicBezTo>
                  <a:cubicBezTo>
                    <a:pt x="98" y="37"/>
                    <a:pt x="96" y="37"/>
                    <a:pt x="95" y="37"/>
                  </a:cubicBezTo>
                  <a:cubicBezTo>
                    <a:pt x="97" y="36"/>
                    <a:pt x="98" y="36"/>
                    <a:pt x="99" y="35"/>
                  </a:cubicBezTo>
                  <a:cubicBezTo>
                    <a:pt x="100" y="34"/>
                    <a:pt x="100" y="34"/>
                    <a:pt x="99" y="34"/>
                  </a:cubicBezTo>
                  <a:cubicBezTo>
                    <a:pt x="99" y="34"/>
                    <a:pt x="99" y="33"/>
                    <a:pt x="98" y="33"/>
                  </a:cubicBezTo>
                  <a:cubicBezTo>
                    <a:pt x="96" y="30"/>
                    <a:pt x="92" y="33"/>
                    <a:pt x="90" y="31"/>
                  </a:cubicBezTo>
                  <a:cubicBezTo>
                    <a:pt x="89" y="31"/>
                    <a:pt x="90" y="31"/>
                    <a:pt x="91" y="30"/>
                  </a:cubicBezTo>
                  <a:cubicBezTo>
                    <a:pt x="92" y="30"/>
                    <a:pt x="94" y="30"/>
                    <a:pt x="94" y="28"/>
                  </a:cubicBezTo>
                  <a:cubicBezTo>
                    <a:pt x="95" y="28"/>
                    <a:pt x="94" y="25"/>
                    <a:pt x="94" y="24"/>
                  </a:cubicBezTo>
                  <a:cubicBezTo>
                    <a:pt x="93" y="23"/>
                    <a:pt x="87" y="23"/>
                    <a:pt x="85" y="23"/>
                  </a:cubicBezTo>
                  <a:cubicBezTo>
                    <a:pt x="84" y="24"/>
                    <a:pt x="83" y="24"/>
                    <a:pt x="83" y="25"/>
                  </a:cubicBezTo>
                  <a:cubicBezTo>
                    <a:pt x="84" y="28"/>
                    <a:pt x="87" y="30"/>
                    <a:pt x="88" y="31"/>
                  </a:cubicBezTo>
                  <a:cubicBezTo>
                    <a:pt x="88" y="31"/>
                    <a:pt x="87" y="31"/>
                    <a:pt x="87" y="31"/>
                  </a:cubicBezTo>
                  <a:cubicBezTo>
                    <a:pt x="87" y="31"/>
                    <a:pt x="87" y="31"/>
                    <a:pt x="86" y="31"/>
                  </a:cubicBezTo>
                  <a:cubicBezTo>
                    <a:pt x="86" y="31"/>
                    <a:pt x="86" y="31"/>
                    <a:pt x="86" y="31"/>
                  </a:cubicBezTo>
                  <a:cubicBezTo>
                    <a:pt x="85" y="31"/>
                    <a:pt x="84" y="31"/>
                    <a:pt x="82" y="31"/>
                  </a:cubicBezTo>
                  <a:cubicBezTo>
                    <a:pt x="81" y="30"/>
                    <a:pt x="78" y="29"/>
                    <a:pt x="77" y="27"/>
                  </a:cubicBezTo>
                  <a:cubicBezTo>
                    <a:pt x="77" y="26"/>
                    <a:pt x="77" y="26"/>
                    <a:pt x="78" y="26"/>
                  </a:cubicBezTo>
                  <a:cubicBezTo>
                    <a:pt x="79" y="26"/>
                    <a:pt x="79" y="25"/>
                    <a:pt x="79" y="24"/>
                  </a:cubicBezTo>
                  <a:cubicBezTo>
                    <a:pt x="79" y="23"/>
                    <a:pt x="79" y="22"/>
                    <a:pt x="77" y="21"/>
                  </a:cubicBezTo>
                  <a:cubicBezTo>
                    <a:pt x="76" y="21"/>
                    <a:pt x="75" y="21"/>
                    <a:pt x="74" y="21"/>
                  </a:cubicBezTo>
                  <a:cubicBezTo>
                    <a:pt x="72" y="22"/>
                    <a:pt x="72" y="23"/>
                    <a:pt x="71" y="22"/>
                  </a:cubicBezTo>
                  <a:cubicBezTo>
                    <a:pt x="69" y="20"/>
                    <a:pt x="65" y="21"/>
                    <a:pt x="62" y="20"/>
                  </a:cubicBezTo>
                  <a:cubicBezTo>
                    <a:pt x="63" y="19"/>
                    <a:pt x="59" y="17"/>
                    <a:pt x="59" y="16"/>
                  </a:cubicBezTo>
                  <a:cubicBezTo>
                    <a:pt x="58" y="15"/>
                    <a:pt x="57" y="14"/>
                    <a:pt x="55" y="13"/>
                  </a:cubicBezTo>
                  <a:cubicBezTo>
                    <a:pt x="52" y="10"/>
                    <a:pt x="50" y="5"/>
                    <a:pt x="46" y="4"/>
                  </a:cubicBezTo>
                  <a:cubicBezTo>
                    <a:pt x="44" y="3"/>
                    <a:pt x="41" y="2"/>
                    <a:pt x="39" y="2"/>
                  </a:cubicBezTo>
                  <a:cubicBezTo>
                    <a:pt x="38" y="1"/>
                    <a:pt x="37" y="1"/>
                    <a:pt x="36" y="1"/>
                  </a:cubicBezTo>
                  <a:cubicBezTo>
                    <a:pt x="35" y="1"/>
                    <a:pt x="32" y="0"/>
                    <a:pt x="34" y="2"/>
                  </a:cubicBezTo>
                  <a:cubicBezTo>
                    <a:pt x="32" y="2"/>
                    <a:pt x="28" y="1"/>
                    <a:pt x="26" y="1"/>
                  </a:cubicBezTo>
                  <a:cubicBezTo>
                    <a:pt x="26" y="1"/>
                    <a:pt x="26" y="2"/>
                    <a:pt x="26" y="3"/>
                  </a:cubicBezTo>
                  <a:cubicBezTo>
                    <a:pt x="25" y="3"/>
                    <a:pt x="25" y="3"/>
                    <a:pt x="25" y="4"/>
                  </a:cubicBezTo>
                  <a:cubicBezTo>
                    <a:pt x="25" y="5"/>
                    <a:pt x="28" y="5"/>
                    <a:pt x="29" y="5"/>
                  </a:cubicBezTo>
                  <a:cubicBezTo>
                    <a:pt x="30" y="5"/>
                    <a:pt x="32" y="5"/>
                    <a:pt x="34" y="5"/>
                  </a:cubicBezTo>
                  <a:cubicBezTo>
                    <a:pt x="36" y="5"/>
                    <a:pt x="36" y="5"/>
                    <a:pt x="37" y="5"/>
                  </a:cubicBezTo>
                  <a:cubicBezTo>
                    <a:pt x="38" y="6"/>
                    <a:pt x="38" y="6"/>
                    <a:pt x="37" y="6"/>
                  </a:cubicBezTo>
                  <a:cubicBezTo>
                    <a:pt x="37" y="7"/>
                    <a:pt x="38" y="7"/>
                    <a:pt x="37" y="8"/>
                  </a:cubicBezTo>
                  <a:cubicBezTo>
                    <a:pt x="36" y="9"/>
                    <a:pt x="32" y="8"/>
                    <a:pt x="31" y="7"/>
                  </a:cubicBezTo>
                  <a:cubicBezTo>
                    <a:pt x="29" y="7"/>
                    <a:pt x="27" y="7"/>
                    <a:pt x="25" y="8"/>
                  </a:cubicBezTo>
                  <a:cubicBezTo>
                    <a:pt x="23" y="8"/>
                    <a:pt x="21" y="8"/>
                    <a:pt x="19" y="9"/>
                  </a:cubicBezTo>
                  <a:cubicBezTo>
                    <a:pt x="18" y="9"/>
                    <a:pt x="17" y="9"/>
                    <a:pt x="16" y="10"/>
                  </a:cubicBezTo>
                  <a:cubicBezTo>
                    <a:pt x="16" y="10"/>
                    <a:pt x="16" y="10"/>
                    <a:pt x="16" y="11"/>
                  </a:cubicBezTo>
                  <a:cubicBezTo>
                    <a:pt x="16" y="11"/>
                    <a:pt x="14" y="12"/>
                    <a:pt x="14" y="12"/>
                  </a:cubicBezTo>
                  <a:cubicBezTo>
                    <a:pt x="14" y="13"/>
                    <a:pt x="16" y="13"/>
                    <a:pt x="17" y="13"/>
                  </a:cubicBezTo>
                  <a:cubicBezTo>
                    <a:pt x="16" y="13"/>
                    <a:pt x="13" y="13"/>
                    <a:pt x="13" y="14"/>
                  </a:cubicBezTo>
                  <a:cubicBezTo>
                    <a:pt x="13" y="16"/>
                    <a:pt x="19" y="14"/>
                    <a:pt x="20" y="15"/>
                  </a:cubicBezTo>
                  <a:cubicBezTo>
                    <a:pt x="19" y="15"/>
                    <a:pt x="19" y="15"/>
                    <a:pt x="18" y="15"/>
                  </a:cubicBezTo>
                  <a:cubicBezTo>
                    <a:pt x="19" y="15"/>
                    <a:pt x="20" y="16"/>
                    <a:pt x="21" y="16"/>
                  </a:cubicBezTo>
                  <a:cubicBezTo>
                    <a:pt x="22" y="16"/>
                    <a:pt x="24" y="16"/>
                    <a:pt x="25" y="16"/>
                  </a:cubicBezTo>
                  <a:cubicBezTo>
                    <a:pt x="26" y="16"/>
                    <a:pt x="25" y="16"/>
                    <a:pt x="26" y="17"/>
                  </a:cubicBezTo>
                  <a:cubicBezTo>
                    <a:pt x="23" y="18"/>
                    <a:pt x="19" y="18"/>
                    <a:pt x="16" y="19"/>
                  </a:cubicBezTo>
                  <a:cubicBezTo>
                    <a:pt x="13" y="19"/>
                    <a:pt x="11" y="19"/>
                    <a:pt x="9" y="20"/>
                  </a:cubicBezTo>
                  <a:cubicBezTo>
                    <a:pt x="8" y="20"/>
                    <a:pt x="9" y="21"/>
                    <a:pt x="9" y="21"/>
                  </a:cubicBezTo>
                  <a:cubicBezTo>
                    <a:pt x="9" y="22"/>
                    <a:pt x="8" y="22"/>
                    <a:pt x="7" y="22"/>
                  </a:cubicBezTo>
                  <a:cubicBezTo>
                    <a:pt x="8" y="23"/>
                    <a:pt x="10" y="23"/>
                    <a:pt x="11" y="23"/>
                  </a:cubicBezTo>
                  <a:cubicBezTo>
                    <a:pt x="9" y="24"/>
                    <a:pt x="7" y="24"/>
                    <a:pt x="5" y="24"/>
                  </a:cubicBezTo>
                  <a:cubicBezTo>
                    <a:pt x="5" y="25"/>
                    <a:pt x="1" y="25"/>
                    <a:pt x="2" y="26"/>
                  </a:cubicBezTo>
                  <a:cubicBezTo>
                    <a:pt x="2" y="26"/>
                    <a:pt x="4" y="26"/>
                    <a:pt x="3" y="26"/>
                  </a:cubicBezTo>
                  <a:cubicBezTo>
                    <a:pt x="2" y="27"/>
                    <a:pt x="3" y="27"/>
                    <a:pt x="4" y="27"/>
                  </a:cubicBezTo>
                  <a:cubicBezTo>
                    <a:pt x="5" y="27"/>
                    <a:pt x="6" y="28"/>
                    <a:pt x="8" y="28"/>
                  </a:cubicBezTo>
                  <a:cubicBezTo>
                    <a:pt x="9" y="29"/>
                    <a:pt x="11" y="28"/>
                    <a:pt x="12" y="28"/>
                  </a:cubicBezTo>
                  <a:cubicBezTo>
                    <a:pt x="13" y="28"/>
                    <a:pt x="13" y="28"/>
                    <a:pt x="13" y="28"/>
                  </a:cubicBezTo>
                  <a:cubicBezTo>
                    <a:pt x="14" y="28"/>
                    <a:pt x="15" y="28"/>
                    <a:pt x="15" y="28"/>
                  </a:cubicBezTo>
                  <a:cubicBezTo>
                    <a:pt x="15" y="28"/>
                    <a:pt x="11" y="29"/>
                    <a:pt x="12" y="30"/>
                  </a:cubicBezTo>
                  <a:cubicBezTo>
                    <a:pt x="13" y="30"/>
                    <a:pt x="14" y="30"/>
                    <a:pt x="16" y="30"/>
                  </a:cubicBezTo>
                  <a:cubicBezTo>
                    <a:pt x="18" y="30"/>
                    <a:pt x="21" y="29"/>
                    <a:pt x="23" y="28"/>
                  </a:cubicBezTo>
                  <a:cubicBezTo>
                    <a:pt x="24" y="28"/>
                    <a:pt x="25" y="29"/>
                    <a:pt x="26" y="29"/>
                  </a:cubicBezTo>
                  <a:cubicBezTo>
                    <a:pt x="24" y="30"/>
                    <a:pt x="22" y="30"/>
                    <a:pt x="21" y="31"/>
                  </a:cubicBezTo>
                  <a:cubicBezTo>
                    <a:pt x="22" y="32"/>
                    <a:pt x="23" y="33"/>
                    <a:pt x="24" y="34"/>
                  </a:cubicBezTo>
                  <a:cubicBezTo>
                    <a:pt x="23" y="33"/>
                    <a:pt x="21" y="33"/>
                    <a:pt x="20" y="33"/>
                  </a:cubicBezTo>
                  <a:cubicBezTo>
                    <a:pt x="18" y="33"/>
                    <a:pt x="16" y="33"/>
                    <a:pt x="14" y="3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16" name="Freeform 2068">
              <a:extLst>
                <a:ext uri="{FF2B5EF4-FFF2-40B4-BE49-F238E27FC236}">
                  <a16:creationId xmlns:a16="http://schemas.microsoft.com/office/drawing/2014/main" id="{9D319AD5-0F2E-424A-AC4A-F0DBD712127B}"/>
                </a:ext>
              </a:extLst>
            </p:cNvPr>
            <p:cNvSpPr>
              <a:spLocks/>
            </p:cNvSpPr>
            <p:nvPr/>
          </p:nvSpPr>
          <p:spPr bwMode="auto">
            <a:xfrm>
              <a:off x="1594" y="543"/>
              <a:ext cx="118" cy="50"/>
            </a:xfrm>
            <a:custGeom>
              <a:avLst/>
              <a:gdLst>
                <a:gd name="T0" fmla="*/ 46 w 50"/>
                <a:gd name="T1" fmla="*/ 13 h 21"/>
                <a:gd name="T2" fmla="*/ 44 w 50"/>
                <a:gd name="T3" fmla="*/ 11 h 21"/>
                <a:gd name="T4" fmla="*/ 42 w 50"/>
                <a:gd name="T5" fmla="*/ 9 h 21"/>
                <a:gd name="T6" fmla="*/ 39 w 50"/>
                <a:gd name="T7" fmla="*/ 7 h 21"/>
                <a:gd name="T8" fmla="*/ 37 w 50"/>
                <a:gd name="T9" fmla="*/ 5 h 21"/>
                <a:gd name="T10" fmla="*/ 34 w 50"/>
                <a:gd name="T11" fmla="*/ 4 h 21"/>
                <a:gd name="T12" fmla="*/ 32 w 50"/>
                <a:gd name="T13" fmla="*/ 3 h 21"/>
                <a:gd name="T14" fmla="*/ 26 w 50"/>
                <a:gd name="T15" fmla="*/ 2 h 21"/>
                <a:gd name="T16" fmla="*/ 23 w 50"/>
                <a:gd name="T17" fmla="*/ 3 h 21"/>
                <a:gd name="T18" fmla="*/ 20 w 50"/>
                <a:gd name="T19" fmla="*/ 3 h 21"/>
                <a:gd name="T20" fmla="*/ 14 w 50"/>
                <a:gd name="T21" fmla="*/ 2 h 21"/>
                <a:gd name="T22" fmla="*/ 11 w 50"/>
                <a:gd name="T23" fmla="*/ 2 h 21"/>
                <a:gd name="T24" fmla="*/ 10 w 50"/>
                <a:gd name="T25" fmla="*/ 1 h 21"/>
                <a:gd name="T26" fmla="*/ 8 w 50"/>
                <a:gd name="T27" fmla="*/ 2 h 21"/>
                <a:gd name="T28" fmla="*/ 5 w 50"/>
                <a:gd name="T29" fmla="*/ 0 h 21"/>
                <a:gd name="T30" fmla="*/ 1 w 50"/>
                <a:gd name="T31" fmla="*/ 1 h 21"/>
                <a:gd name="T32" fmla="*/ 1 w 50"/>
                <a:gd name="T33" fmla="*/ 5 h 21"/>
                <a:gd name="T34" fmla="*/ 2 w 50"/>
                <a:gd name="T35" fmla="*/ 6 h 21"/>
                <a:gd name="T36" fmla="*/ 1 w 50"/>
                <a:gd name="T37" fmla="*/ 7 h 21"/>
                <a:gd name="T38" fmla="*/ 2 w 50"/>
                <a:gd name="T39" fmla="*/ 10 h 21"/>
                <a:gd name="T40" fmla="*/ 6 w 50"/>
                <a:gd name="T41" fmla="*/ 11 h 21"/>
                <a:gd name="T42" fmla="*/ 8 w 50"/>
                <a:gd name="T43" fmla="*/ 11 h 21"/>
                <a:gd name="T44" fmla="*/ 8 w 50"/>
                <a:gd name="T45" fmla="*/ 14 h 21"/>
                <a:gd name="T46" fmla="*/ 11 w 50"/>
                <a:gd name="T47" fmla="*/ 18 h 21"/>
                <a:gd name="T48" fmla="*/ 14 w 50"/>
                <a:gd name="T49" fmla="*/ 20 h 21"/>
                <a:gd name="T50" fmla="*/ 17 w 50"/>
                <a:gd name="T51" fmla="*/ 20 h 21"/>
                <a:gd name="T52" fmla="*/ 32 w 50"/>
                <a:gd name="T53" fmla="*/ 17 h 21"/>
                <a:gd name="T54" fmla="*/ 50 w 50"/>
                <a:gd name="T55" fmla="*/ 17 h 21"/>
                <a:gd name="T56" fmla="*/ 47 w 50"/>
                <a:gd name="T57" fmla="*/ 16 h 21"/>
                <a:gd name="T58" fmla="*/ 48 w 50"/>
                <a:gd name="T59" fmla="*/ 14 h 21"/>
                <a:gd name="T60" fmla="*/ 46 w 50"/>
                <a:gd name="T61" fmla="*/ 1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0" h="21">
                  <a:moveTo>
                    <a:pt x="46" y="13"/>
                  </a:moveTo>
                  <a:cubicBezTo>
                    <a:pt x="45" y="13"/>
                    <a:pt x="45" y="12"/>
                    <a:pt x="44" y="11"/>
                  </a:cubicBezTo>
                  <a:cubicBezTo>
                    <a:pt x="43" y="9"/>
                    <a:pt x="43" y="9"/>
                    <a:pt x="42" y="9"/>
                  </a:cubicBezTo>
                  <a:cubicBezTo>
                    <a:pt x="41" y="9"/>
                    <a:pt x="40" y="8"/>
                    <a:pt x="39" y="7"/>
                  </a:cubicBezTo>
                  <a:cubicBezTo>
                    <a:pt x="38" y="6"/>
                    <a:pt x="38" y="6"/>
                    <a:pt x="37" y="5"/>
                  </a:cubicBezTo>
                  <a:cubicBezTo>
                    <a:pt x="36" y="5"/>
                    <a:pt x="35" y="4"/>
                    <a:pt x="34" y="4"/>
                  </a:cubicBezTo>
                  <a:cubicBezTo>
                    <a:pt x="33" y="4"/>
                    <a:pt x="32" y="4"/>
                    <a:pt x="32" y="3"/>
                  </a:cubicBezTo>
                  <a:cubicBezTo>
                    <a:pt x="29" y="3"/>
                    <a:pt x="28" y="2"/>
                    <a:pt x="26" y="2"/>
                  </a:cubicBezTo>
                  <a:cubicBezTo>
                    <a:pt x="25" y="2"/>
                    <a:pt x="24" y="3"/>
                    <a:pt x="23" y="3"/>
                  </a:cubicBezTo>
                  <a:cubicBezTo>
                    <a:pt x="21" y="2"/>
                    <a:pt x="21" y="3"/>
                    <a:pt x="20" y="3"/>
                  </a:cubicBezTo>
                  <a:cubicBezTo>
                    <a:pt x="17" y="3"/>
                    <a:pt x="16" y="3"/>
                    <a:pt x="14" y="2"/>
                  </a:cubicBezTo>
                  <a:cubicBezTo>
                    <a:pt x="13" y="2"/>
                    <a:pt x="12" y="2"/>
                    <a:pt x="11" y="2"/>
                  </a:cubicBezTo>
                  <a:cubicBezTo>
                    <a:pt x="11" y="2"/>
                    <a:pt x="10" y="1"/>
                    <a:pt x="10" y="1"/>
                  </a:cubicBezTo>
                  <a:cubicBezTo>
                    <a:pt x="9" y="1"/>
                    <a:pt x="9" y="2"/>
                    <a:pt x="8" y="2"/>
                  </a:cubicBezTo>
                  <a:cubicBezTo>
                    <a:pt x="7" y="2"/>
                    <a:pt x="6" y="0"/>
                    <a:pt x="5" y="0"/>
                  </a:cubicBezTo>
                  <a:cubicBezTo>
                    <a:pt x="4" y="0"/>
                    <a:pt x="2" y="0"/>
                    <a:pt x="1" y="1"/>
                  </a:cubicBezTo>
                  <a:cubicBezTo>
                    <a:pt x="3" y="2"/>
                    <a:pt x="0" y="3"/>
                    <a:pt x="1" y="5"/>
                  </a:cubicBezTo>
                  <a:cubicBezTo>
                    <a:pt x="2" y="5"/>
                    <a:pt x="3" y="5"/>
                    <a:pt x="2" y="6"/>
                  </a:cubicBezTo>
                  <a:cubicBezTo>
                    <a:pt x="2" y="7"/>
                    <a:pt x="1" y="7"/>
                    <a:pt x="1" y="7"/>
                  </a:cubicBezTo>
                  <a:cubicBezTo>
                    <a:pt x="1" y="8"/>
                    <a:pt x="1" y="9"/>
                    <a:pt x="2" y="10"/>
                  </a:cubicBezTo>
                  <a:cubicBezTo>
                    <a:pt x="3" y="10"/>
                    <a:pt x="5" y="11"/>
                    <a:pt x="6" y="11"/>
                  </a:cubicBezTo>
                  <a:cubicBezTo>
                    <a:pt x="7" y="11"/>
                    <a:pt x="8" y="10"/>
                    <a:pt x="8" y="11"/>
                  </a:cubicBezTo>
                  <a:cubicBezTo>
                    <a:pt x="8" y="12"/>
                    <a:pt x="8" y="14"/>
                    <a:pt x="8" y="14"/>
                  </a:cubicBezTo>
                  <a:cubicBezTo>
                    <a:pt x="8" y="16"/>
                    <a:pt x="9" y="18"/>
                    <a:pt x="11" y="18"/>
                  </a:cubicBezTo>
                  <a:cubicBezTo>
                    <a:pt x="11" y="19"/>
                    <a:pt x="13" y="20"/>
                    <a:pt x="14" y="20"/>
                  </a:cubicBezTo>
                  <a:cubicBezTo>
                    <a:pt x="15" y="20"/>
                    <a:pt x="16" y="21"/>
                    <a:pt x="17" y="20"/>
                  </a:cubicBezTo>
                  <a:cubicBezTo>
                    <a:pt x="22" y="19"/>
                    <a:pt x="27" y="17"/>
                    <a:pt x="32" y="17"/>
                  </a:cubicBezTo>
                  <a:cubicBezTo>
                    <a:pt x="38" y="17"/>
                    <a:pt x="44" y="17"/>
                    <a:pt x="50" y="17"/>
                  </a:cubicBezTo>
                  <a:cubicBezTo>
                    <a:pt x="50" y="16"/>
                    <a:pt x="48" y="17"/>
                    <a:pt x="47" y="16"/>
                  </a:cubicBezTo>
                  <a:cubicBezTo>
                    <a:pt x="47" y="16"/>
                    <a:pt x="48" y="14"/>
                    <a:pt x="48" y="14"/>
                  </a:cubicBezTo>
                  <a:cubicBezTo>
                    <a:pt x="48" y="13"/>
                    <a:pt x="47" y="13"/>
                    <a:pt x="46" y="1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17" name="Freeform 2069">
              <a:extLst>
                <a:ext uri="{FF2B5EF4-FFF2-40B4-BE49-F238E27FC236}">
                  <a16:creationId xmlns:a16="http://schemas.microsoft.com/office/drawing/2014/main" id="{8A4B0B0F-F7FF-4DDB-BBFA-9CAC82F9AD32}"/>
                </a:ext>
              </a:extLst>
            </p:cNvPr>
            <p:cNvSpPr>
              <a:spLocks/>
            </p:cNvSpPr>
            <p:nvPr/>
          </p:nvSpPr>
          <p:spPr bwMode="auto">
            <a:xfrm>
              <a:off x="1237" y="526"/>
              <a:ext cx="132" cy="102"/>
            </a:xfrm>
            <a:custGeom>
              <a:avLst/>
              <a:gdLst>
                <a:gd name="T0" fmla="*/ 56 w 56"/>
                <a:gd name="T1" fmla="*/ 5 h 43"/>
                <a:gd name="T2" fmla="*/ 42 w 56"/>
                <a:gd name="T3" fmla="*/ 2 h 43"/>
                <a:gd name="T4" fmla="*/ 37 w 56"/>
                <a:gd name="T5" fmla="*/ 3 h 43"/>
                <a:gd name="T6" fmla="*/ 32 w 56"/>
                <a:gd name="T7" fmla="*/ 1 h 43"/>
                <a:gd name="T8" fmla="*/ 12 w 56"/>
                <a:gd name="T9" fmla="*/ 1 h 43"/>
                <a:gd name="T10" fmla="*/ 8 w 56"/>
                <a:gd name="T11" fmla="*/ 6 h 43"/>
                <a:gd name="T12" fmla="*/ 11 w 56"/>
                <a:gd name="T13" fmla="*/ 10 h 43"/>
                <a:gd name="T14" fmla="*/ 0 w 56"/>
                <a:gd name="T15" fmla="*/ 9 h 43"/>
                <a:gd name="T16" fmla="*/ 1 w 56"/>
                <a:gd name="T17" fmla="*/ 11 h 43"/>
                <a:gd name="T18" fmla="*/ 1 w 56"/>
                <a:gd name="T19" fmla="*/ 15 h 43"/>
                <a:gd name="T20" fmla="*/ 1 w 56"/>
                <a:gd name="T21" fmla="*/ 17 h 43"/>
                <a:gd name="T22" fmla="*/ 0 w 56"/>
                <a:gd name="T23" fmla="*/ 22 h 43"/>
                <a:gd name="T24" fmla="*/ 1 w 56"/>
                <a:gd name="T25" fmla="*/ 25 h 43"/>
                <a:gd name="T26" fmla="*/ 3 w 56"/>
                <a:gd name="T27" fmla="*/ 29 h 43"/>
                <a:gd name="T28" fmla="*/ 6 w 56"/>
                <a:gd name="T29" fmla="*/ 32 h 43"/>
                <a:gd name="T30" fmla="*/ 6 w 56"/>
                <a:gd name="T31" fmla="*/ 34 h 43"/>
                <a:gd name="T32" fmla="*/ 7 w 56"/>
                <a:gd name="T33" fmla="*/ 39 h 43"/>
                <a:gd name="T34" fmla="*/ 6 w 56"/>
                <a:gd name="T35" fmla="*/ 41 h 43"/>
                <a:gd name="T36" fmla="*/ 10 w 56"/>
                <a:gd name="T37" fmla="*/ 42 h 43"/>
                <a:gd name="T38" fmla="*/ 17 w 56"/>
                <a:gd name="T39" fmla="*/ 42 h 43"/>
                <a:gd name="T40" fmla="*/ 15 w 56"/>
                <a:gd name="T41" fmla="*/ 41 h 43"/>
                <a:gd name="T42" fmla="*/ 18 w 56"/>
                <a:gd name="T43" fmla="*/ 38 h 43"/>
                <a:gd name="T44" fmla="*/ 22 w 56"/>
                <a:gd name="T45" fmla="*/ 35 h 43"/>
                <a:gd name="T46" fmla="*/ 23 w 56"/>
                <a:gd name="T47" fmla="*/ 33 h 43"/>
                <a:gd name="T48" fmla="*/ 20 w 56"/>
                <a:gd name="T49" fmla="*/ 29 h 43"/>
                <a:gd name="T50" fmla="*/ 17 w 56"/>
                <a:gd name="T51" fmla="*/ 28 h 43"/>
                <a:gd name="T52" fmla="*/ 15 w 56"/>
                <a:gd name="T53" fmla="*/ 27 h 43"/>
                <a:gd name="T54" fmla="*/ 24 w 56"/>
                <a:gd name="T55" fmla="*/ 26 h 43"/>
                <a:gd name="T56" fmla="*/ 33 w 56"/>
                <a:gd name="T57" fmla="*/ 28 h 43"/>
                <a:gd name="T58" fmla="*/ 43 w 56"/>
                <a:gd name="T59" fmla="*/ 21 h 43"/>
                <a:gd name="T60" fmla="*/ 42 w 56"/>
                <a:gd name="T61" fmla="*/ 18 h 43"/>
                <a:gd name="T62" fmla="*/ 46 w 56"/>
                <a:gd name="T63" fmla="*/ 16 h 43"/>
                <a:gd name="T64" fmla="*/ 49 w 56"/>
                <a:gd name="T65"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43">
                  <a:moveTo>
                    <a:pt x="54" y="8"/>
                  </a:moveTo>
                  <a:cubicBezTo>
                    <a:pt x="54" y="8"/>
                    <a:pt x="56" y="5"/>
                    <a:pt x="56" y="5"/>
                  </a:cubicBezTo>
                  <a:cubicBezTo>
                    <a:pt x="56" y="4"/>
                    <a:pt x="54" y="4"/>
                    <a:pt x="54" y="4"/>
                  </a:cubicBezTo>
                  <a:cubicBezTo>
                    <a:pt x="50" y="3"/>
                    <a:pt x="46" y="2"/>
                    <a:pt x="42" y="2"/>
                  </a:cubicBezTo>
                  <a:cubicBezTo>
                    <a:pt x="41" y="2"/>
                    <a:pt x="40" y="2"/>
                    <a:pt x="39" y="2"/>
                  </a:cubicBezTo>
                  <a:cubicBezTo>
                    <a:pt x="38" y="3"/>
                    <a:pt x="38" y="3"/>
                    <a:pt x="37" y="3"/>
                  </a:cubicBezTo>
                  <a:cubicBezTo>
                    <a:pt x="36" y="4"/>
                    <a:pt x="36" y="3"/>
                    <a:pt x="35" y="2"/>
                  </a:cubicBezTo>
                  <a:cubicBezTo>
                    <a:pt x="35" y="2"/>
                    <a:pt x="33" y="1"/>
                    <a:pt x="32" y="1"/>
                  </a:cubicBezTo>
                  <a:cubicBezTo>
                    <a:pt x="30" y="0"/>
                    <a:pt x="27" y="1"/>
                    <a:pt x="25" y="1"/>
                  </a:cubicBezTo>
                  <a:cubicBezTo>
                    <a:pt x="20" y="1"/>
                    <a:pt x="16" y="1"/>
                    <a:pt x="12" y="1"/>
                  </a:cubicBezTo>
                  <a:cubicBezTo>
                    <a:pt x="10" y="1"/>
                    <a:pt x="3" y="2"/>
                    <a:pt x="4" y="4"/>
                  </a:cubicBezTo>
                  <a:cubicBezTo>
                    <a:pt x="5" y="6"/>
                    <a:pt x="6" y="5"/>
                    <a:pt x="8" y="6"/>
                  </a:cubicBezTo>
                  <a:cubicBezTo>
                    <a:pt x="7" y="7"/>
                    <a:pt x="6" y="7"/>
                    <a:pt x="7" y="8"/>
                  </a:cubicBezTo>
                  <a:cubicBezTo>
                    <a:pt x="9" y="9"/>
                    <a:pt x="10" y="9"/>
                    <a:pt x="11" y="10"/>
                  </a:cubicBezTo>
                  <a:cubicBezTo>
                    <a:pt x="10" y="10"/>
                    <a:pt x="9" y="9"/>
                    <a:pt x="7" y="9"/>
                  </a:cubicBezTo>
                  <a:cubicBezTo>
                    <a:pt x="6" y="9"/>
                    <a:pt x="1" y="8"/>
                    <a:pt x="0" y="9"/>
                  </a:cubicBezTo>
                  <a:cubicBezTo>
                    <a:pt x="0" y="10"/>
                    <a:pt x="1" y="10"/>
                    <a:pt x="1" y="10"/>
                  </a:cubicBezTo>
                  <a:cubicBezTo>
                    <a:pt x="1" y="10"/>
                    <a:pt x="1" y="11"/>
                    <a:pt x="1" y="11"/>
                  </a:cubicBezTo>
                  <a:cubicBezTo>
                    <a:pt x="1" y="11"/>
                    <a:pt x="1" y="12"/>
                    <a:pt x="1" y="13"/>
                  </a:cubicBezTo>
                  <a:cubicBezTo>
                    <a:pt x="0" y="14"/>
                    <a:pt x="1" y="14"/>
                    <a:pt x="1" y="15"/>
                  </a:cubicBezTo>
                  <a:cubicBezTo>
                    <a:pt x="1" y="15"/>
                    <a:pt x="1" y="16"/>
                    <a:pt x="1" y="16"/>
                  </a:cubicBezTo>
                  <a:cubicBezTo>
                    <a:pt x="1" y="16"/>
                    <a:pt x="1" y="17"/>
                    <a:pt x="1" y="17"/>
                  </a:cubicBezTo>
                  <a:cubicBezTo>
                    <a:pt x="2" y="17"/>
                    <a:pt x="2" y="18"/>
                    <a:pt x="2" y="18"/>
                  </a:cubicBezTo>
                  <a:cubicBezTo>
                    <a:pt x="1" y="20"/>
                    <a:pt x="0" y="21"/>
                    <a:pt x="0" y="22"/>
                  </a:cubicBezTo>
                  <a:cubicBezTo>
                    <a:pt x="0" y="23"/>
                    <a:pt x="1" y="23"/>
                    <a:pt x="1" y="24"/>
                  </a:cubicBezTo>
                  <a:cubicBezTo>
                    <a:pt x="1" y="24"/>
                    <a:pt x="1" y="25"/>
                    <a:pt x="1" y="25"/>
                  </a:cubicBezTo>
                  <a:cubicBezTo>
                    <a:pt x="1" y="27"/>
                    <a:pt x="2" y="26"/>
                    <a:pt x="1" y="28"/>
                  </a:cubicBezTo>
                  <a:cubicBezTo>
                    <a:pt x="1" y="29"/>
                    <a:pt x="2" y="28"/>
                    <a:pt x="3" y="29"/>
                  </a:cubicBezTo>
                  <a:cubicBezTo>
                    <a:pt x="4" y="29"/>
                    <a:pt x="4" y="30"/>
                    <a:pt x="4" y="31"/>
                  </a:cubicBezTo>
                  <a:cubicBezTo>
                    <a:pt x="5" y="31"/>
                    <a:pt x="5" y="31"/>
                    <a:pt x="6" y="32"/>
                  </a:cubicBezTo>
                  <a:cubicBezTo>
                    <a:pt x="6" y="32"/>
                    <a:pt x="5" y="33"/>
                    <a:pt x="5" y="33"/>
                  </a:cubicBezTo>
                  <a:cubicBezTo>
                    <a:pt x="5" y="34"/>
                    <a:pt x="6" y="34"/>
                    <a:pt x="6" y="34"/>
                  </a:cubicBezTo>
                  <a:cubicBezTo>
                    <a:pt x="6" y="36"/>
                    <a:pt x="5" y="37"/>
                    <a:pt x="6" y="38"/>
                  </a:cubicBezTo>
                  <a:cubicBezTo>
                    <a:pt x="6" y="39"/>
                    <a:pt x="6" y="39"/>
                    <a:pt x="7" y="39"/>
                  </a:cubicBezTo>
                  <a:cubicBezTo>
                    <a:pt x="8" y="39"/>
                    <a:pt x="9" y="39"/>
                    <a:pt x="10" y="39"/>
                  </a:cubicBezTo>
                  <a:cubicBezTo>
                    <a:pt x="9" y="39"/>
                    <a:pt x="7" y="40"/>
                    <a:pt x="6" y="41"/>
                  </a:cubicBezTo>
                  <a:cubicBezTo>
                    <a:pt x="6" y="41"/>
                    <a:pt x="5" y="43"/>
                    <a:pt x="6" y="42"/>
                  </a:cubicBezTo>
                  <a:cubicBezTo>
                    <a:pt x="8" y="42"/>
                    <a:pt x="9" y="42"/>
                    <a:pt x="10" y="42"/>
                  </a:cubicBezTo>
                  <a:cubicBezTo>
                    <a:pt x="11" y="41"/>
                    <a:pt x="12" y="41"/>
                    <a:pt x="13" y="41"/>
                  </a:cubicBezTo>
                  <a:cubicBezTo>
                    <a:pt x="15" y="41"/>
                    <a:pt x="16" y="42"/>
                    <a:pt x="17" y="42"/>
                  </a:cubicBezTo>
                  <a:cubicBezTo>
                    <a:pt x="17" y="41"/>
                    <a:pt x="17" y="41"/>
                    <a:pt x="17" y="40"/>
                  </a:cubicBezTo>
                  <a:cubicBezTo>
                    <a:pt x="17" y="41"/>
                    <a:pt x="16" y="41"/>
                    <a:pt x="15" y="41"/>
                  </a:cubicBezTo>
                  <a:cubicBezTo>
                    <a:pt x="16" y="40"/>
                    <a:pt x="17" y="41"/>
                    <a:pt x="17" y="40"/>
                  </a:cubicBezTo>
                  <a:cubicBezTo>
                    <a:pt x="18" y="39"/>
                    <a:pt x="18" y="38"/>
                    <a:pt x="18" y="38"/>
                  </a:cubicBezTo>
                  <a:cubicBezTo>
                    <a:pt x="19" y="37"/>
                    <a:pt x="19" y="36"/>
                    <a:pt x="20" y="36"/>
                  </a:cubicBezTo>
                  <a:cubicBezTo>
                    <a:pt x="20" y="35"/>
                    <a:pt x="21" y="36"/>
                    <a:pt x="22" y="35"/>
                  </a:cubicBezTo>
                  <a:cubicBezTo>
                    <a:pt x="22" y="35"/>
                    <a:pt x="22" y="34"/>
                    <a:pt x="22" y="34"/>
                  </a:cubicBezTo>
                  <a:cubicBezTo>
                    <a:pt x="22" y="34"/>
                    <a:pt x="23" y="33"/>
                    <a:pt x="23" y="33"/>
                  </a:cubicBezTo>
                  <a:cubicBezTo>
                    <a:pt x="23" y="32"/>
                    <a:pt x="23" y="32"/>
                    <a:pt x="22" y="31"/>
                  </a:cubicBezTo>
                  <a:cubicBezTo>
                    <a:pt x="22" y="30"/>
                    <a:pt x="20" y="30"/>
                    <a:pt x="20" y="29"/>
                  </a:cubicBezTo>
                  <a:cubicBezTo>
                    <a:pt x="19" y="29"/>
                    <a:pt x="20" y="28"/>
                    <a:pt x="20" y="28"/>
                  </a:cubicBezTo>
                  <a:cubicBezTo>
                    <a:pt x="19" y="28"/>
                    <a:pt x="18" y="28"/>
                    <a:pt x="17" y="28"/>
                  </a:cubicBezTo>
                  <a:cubicBezTo>
                    <a:pt x="17" y="28"/>
                    <a:pt x="15" y="28"/>
                    <a:pt x="15" y="28"/>
                  </a:cubicBezTo>
                  <a:cubicBezTo>
                    <a:pt x="14" y="28"/>
                    <a:pt x="14" y="27"/>
                    <a:pt x="15" y="27"/>
                  </a:cubicBezTo>
                  <a:cubicBezTo>
                    <a:pt x="17" y="27"/>
                    <a:pt x="19" y="27"/>
                    <a:pt x="21" y="27"/>
                  </a:cubicBezTo>
                  <a:cubicBezTo>
                    <a:pt x="22" y="27"/>
                    <a:pt x="23" y="26"/>
                    <a:pt x="24" y="26"/>
                  </a:cubicBezTo>
                  <a:cubicBezTo>
                    <a:pt x="25" y="26"/>
                    <a:pt x="26" y="27"/>
                    <a:pt x="27" y="27"/>
                  </a:cubicBezTo>
                  <a:cubicBezTo>
                    <a:pt x="29" y="27"/>
                    <a:pt x="31" y="27"/>
                    <a:pt x="33" y="28"/>
                  </a:cubicBezTo>
                  <a:cubicBezTo>
                    <a:pt x="36" y="29"/>
                    <a:pt x="39" y="27"/>
                    <a:pt x="41" y="24"/>
                  </a:cubicBezTo>
                  <a:cubicBezTo>
                    <a:pt x="42" y="23"/>
                    <a:pt x="42" y="22"/>
                    <a:pt x="43" y="21"/>
                  </a:cubicBezTo>
                  <a:cubicBezTo>
                    <a:pt x="43" y="20"/>
                    <a:pt x="44" y="19"/>
                    <a:pt x="44" y="19"/>
                  </a:cubicBezTo>
                  <a:cubicBezTo>
                    <a:pt x="45" y="18"/>
                    <a:pt x="43" y="18"/>
                    <a:pt x="42" y="18"/>
                  </a:cubicBezTo>
                  <a:cubicBezTo>
                    <a:pt x="43" y="18"/>
                    <a:pt x="44" y="18"/>
                    <a:pt x="45" y="18"/>
                  </a:cubicBezTo>
                  <a:cubicBezTo>
                    <a:pt x="46" y="17"/>
                    <a:pt x="46" y="17"/>
                    <a:pt x="46" y="16"/>
                  </a:cubicBezTo>
                  <a:cubicBezTo>
                    <a:pt x="47" y="15"/>
                    <a:pt x="50" y="13"/>
                    <a:pt x="49" y="12"/>
                  </a:cubicBezTo>
                  <a:cubicBezTo>
                    <a:pt x="49" y="12"/>
                    <a:pt x="49" y="12"/>
                    <a:pt x="49" y="12"/>
                  </a:cubicBezTo>
                  <a:cubicBezTo>
                    <a:pt x="51" y="12"/>
                    <a:pt x="53" y="10"/>
                    <a:pt x="54" y="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18" name="Freeform 2070">
              <a:extLst>
                <a:ext uri="{FF2B5EF4-FFF2-40B4-BE49-F238E27FC236}">
                  <a16:creationId xmlns:a16="http://schemas.microsoft.com/office/drawing/2014/main" id="{67DFA015-7390-4EAB-9ED9-5BD7FB23EA91}"/>
                </a:ext>
              </a:extLst>
            </p:cNvPr>
            <p:cNvSpPr>
              <a:spLocks/>
            </p:cNvSpPr>
            <p:nvPr/>
          </p:nvSpPr>
          <p:spPr bwMode="auto">
            <a:xfrm>
              <a:off x="672" y="562"/>
              <a:ext cx="444" cy="217"/>
            </a:xfrm>
            <a:custGeom>
              <a:avLst/>
              <a:gdLst>
                <a:gd name="T0" fmla="*/ 184 w 188"/>
                <a:gd name="T1" fmla="*/ 61 h 92"/>
                <a:gd name="T2" fmla="*/ 179 w 188"/>
                <a:gd name="T3" fmla="*/ 61 h 92"/>
                <a:gd name="T4" fmla="*/ 173 w 188"/>
                <a:gd name="T5" fmla="*/ 58 h 92"/>
                <a:gd name="T6" fmla="*/ 163 w 188"/>
                <a:gd name="T7" fmla="*/ 52 h 92"/>
                <a:gd name="T8" fmla="*/ 157 w 188"/>
                <a:gd name="T9" fmla="*/ 51 h 92"/>
                <a:gd name="T10" fmla="*/ 149 w 188"/>
                <a:gd name="T11" fmla="*/ 45 h 92"/>
                <a:gd name="T12" fmla="*/ 146 w 188"/>
                <a:gd name="T13" fmla="*/ 28 h 92"/>
                <a:gd name="T14" fmla="*/ 140 w 188"/>
                <a:gd name="T15" fmla="*/ 12 h 92"/>
                <a:gd name="T16" fmla="*/ 136 w 188"/>
                <a:gd name="T17" fmla="*/ 7 h 92"/>
                <a:gd name="T18" fmla="*/ 124 w 188"/>
                <a:gd name="T19" fmla="*/ 2 h 92"/>
                <a:gd name="T20" fmla="*/ 112 w 188"/>
                <a:gd name="T21" fmla="*/ 2 h 92"/>
                <a:gd name="T22" fmla="*/ 112 w 188"/>
                <a:gd name="T23" fmla="*/ 7 h 92"/>
                <a:gd name="T24" fmla="*/ 115 w 188"/>
                <a:gd name="T25" fmla="*/ 18 h 92"/>
                <a:gd name="T26" fmla="*/ 118 w 188"/>
                <a:gd name="T27" fmla="*/ 26 h 92"/>
                <a:gd name="T28" fmla="*/ 121 w 188"/>
                <a:gd name="T29" fmla="*/ 31 h 92"/>
                <a:gd name="T30" fmla="*/ 114 w 188"/>
                <a:gd name="T31" fmla="*/ 34 h 92"/>
                <a:gd name="T32" fmla="*/ 111 w 188"/>
                <a:gd name="T33" fmla="*/ 27 h 92"/>
                <a:gd name="T34" fmla="*/ 107 w 188"/>
                <a:gd name="T35" fmla="*/ 16 h 92"/>
                <a:gd name="T36" fmla="*/ 102 w 188"/>
                <a:gd name="T37" fmla="*/ 12 h 92"/>
                <a:gd name="T38" fmla="*/ 96 w 188"/>
                <a:gd name="T39" fmla="*/ 9 h 92"/>
                <a:gd name="T40" fmla="*/ 88 w 188"/>
                <a:gd name="T41" fmla="*/ 10 h 92"/>
                <a:gd name="T42" fmla="*/ 90 w 188"/>
                <a:gd name="T43" fmla="*/ 14 h 92"/>
                <a:gd name="T44" fmla="*/ 89 w 188"/>
                <a:gd name="T45" fmla="*/ 17 h 92"/>
                <a:gd name="T46" fmla="*/ 82 w 188"/>
                <a:gd name="T47" fmla="*/ 19 h 92"/>
                <a:gd name="T48" fmla="*/ 77 w 188"/>
                <a:gd name="T49" fmla="*/ 20 h 92"/>
                <a:gd name="T50" fmla="*/ 78 w 188"/>
                <a:gd name="T51" fmla="*/ 17 h 92"/>
                <a:gd name="T52" fmla="*/ 58 w 188"/>
                <a:gd name="T53" fmla="*/ 10 h 92"/>
                <a:gd name="T54" fmla="*/ 53 w 188"/>
                <a:gd name="T55" fmla="*/ 14 h 92"/>
                <a:gd name="T56" fmla="*/ 53 w 188"/>
                <a:gd name="T57" fmla="*/ 11 h 92"/>
                <a:gd name="T58" fmla="*/ 53 w 188"/>
                <a:gd name="T59" fmla="*/ 5 h 92"/>
                <a:gd name="T60" fmla="*/ 24 w 188"/>
                <a:gd name="T61" fmla="*/ 8 h 92"/>
                <a:gd name="T62" fmla="*/ 9 w 188"/>
                <a:gd name="T63" fmla="*/ 20 h 92"/>
                <a:gd name="T64" fmla="*/ 0 w 188"/>
                <a:gd name="T65" fmla="*/ 31 h 92"/>
                <a:gd name="T66" fmla="*/ 12 w 188"/>
                <a:gd name="T67" fmla="*/ 34 h 92"/>
                <a:gd name="T68" fmla="*/ 16 w 188"/>
                <a:gd name="T69" fmla="*/ 36 h 92"/>
                <a:gd name="T70" fmla="*/ 33 w 188"/>
                <a:gd name="T71" fmla="*/ 36 h 92"/>
                <a:gd name="T72" fmla="*/ 14 w 188"/>
                <a:gd name="T73" fmla="*/ 51 h 92"/>
                <a:gd name="T74" fmla="*/ 29 w 188"/>
                <a:gd name="T75" fmla="*/ 52 h 92"/>
                <a:gd name="T76" fmla="*/ 44 w 188"/>
                <a:gd name="T77" fmla="*/ 53 h 92"/>
                <a:gd name="T78" fmla="*/ 58 w 188"/>
                <a:gd name="T79" fmla="*/ 52 h 92"/>
                <a:gd name="T80" fmla="*/ 65 w 188"/>
                <a:gd name="T81" fmla="*/ 54 h 92"/>
                <a:gd name="T82" fmla="*/ 72 w 188"/>
                <a:gd name="T83" fmla="*/ 57 h 92"/>
                <a:gd name="T84" fmla="*/ 71 w 188"/>
                <a:gd name="T85" fmla="*/ 59 h 92"/>
                <a:gd name="T86" fmla="*/ 43 w 188"/>
                <a:gd name="T87" fmla="*/ 59 h 92"/>
                <a:gd name="T88" fmla="*/ 23 w 188"/>
                <a:gd name="T89" fmla="*/ 71 h 92"/>
                <a:gd name="T90" fmla="*/ 57 w 188"/>
                <a:gd name="T91" fmla="*/ 79 h 92"/>
                <a:gd name="T92" fmla="*/ 61 w 188"/>
                <a:gd name="T93" fmla="*/ 91 h 92"/>
                <a:gd name="T94" fmla="*/ 110 w 188"/>
                <a:gd name="T95" fmla="*/ 83 h 92"/>
                <a:gd name="T96" fmla="*/ 125 w 188"/>
                <a:gd name="T97" fmla="*/ 77 h 92"/>
                <a:gd name="T98" fmla="*/ 139 w 188"/>
                <a:gd name="T99" fmla="*/ 80 h 92"/>
                <a:gd name="T100" fmla="*/ 142 w 188"/>
                <a:gd name="T101" fmla="*/ 83 h 92"/>
                <a:gd name="T102" fmla="*/ 170 w 188"/>
                <a:gd name="T103" fmla="*/ 84 h 92"/>
                <a:gd name="T104" fmla="*/ 176 w 188"/>
                <a:gd name="T105" fmla="*/ 81 h 92"/>
                <a:gd name="T106" fmla="*/ 175 w 188"/>
                <a:gd name="T107" fmla="*/ 79 h 92"/>
                <a:gd name="T108" fmla="*/ 175 w 188"/>
                <a:gd name="T109" fmla="*/ 75 h 92"/>
                <a:gd name="T110" fmla="*/ 169 w 188"/>
                <a:gd name="T111" fmla="*/ 75 h 92"/>
                <a:gd name="T112" fmla="*/ 165 w 188"/>
                <a:gd name="T113" fmla="*/ 75 h 92"/>
                <a:gd name="T114" fmla="*/ 164 w 188"/>
                <a:gd name="T115" fmla="*/ 71 h 92"/>
                <a:gd name="T116" fmla="*/ 173 w 188"/>
                <a:gd name="T117" fmla="*/ 66 h 92"/>
                <a:gd name="T118" fmla="*/ 175 w 188"/>
                <a:gd name="T119" fmla="*/ 68 h 92"/>
                <a:gd name="T120" fmla="*/ 181 w 188"/>
                <a:gd name="T121" fmla="*/ 6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 h="92">
                  <a:moveTo>
                    <a:pt x="181" y="68"/>
                  </a:moveTo>
                  <a:cubicBezTo>
                    <a:pt x="181" y="69"/>
                    <a:pt x="184" y="70"/>
                    <a:pt x="185" y="70"/>
                  </a:cubicBezTo>
                  <a:cubicBezTo>
                    <a:pt x="188" y="69"/>
                    <a:pt x="186" y="64"/>
                    <a:pt x="186" y="63"/>
                  </a:cubicBezTo>
                  <a:cubicBezTo>
                    <a:pt x="186" y="62"/>
                    <a:pt x="186" y="61"/>
                    <a:pt x="185" y="61"/>
                  </a:cubicBezTo>
                  <a:cubicBezTo>
                    <a:pt x="184" y="60"/>
                    <a:pt x="184" y="61"/>
                    <a:pt x="184" y="61"/>
                  </a:cubicBezTo>
                  <a:cubicBezTo>
                    <a:pt x="183" y="61"/>
                    <a:pt x="183" y="61"/>
                    <a:pt x="183" y="61"/>
                  </a:cubicBezTo>
                  <a:cubicBezTo>
                    <a:pt x="182" y="61"/>
                    <a:pt x="182" y="61"/>
                    <a:pt x="181" y="61"/>
                  </a:cubicBezTo>
                  <a:cubicBezTo>
                    <a:pt x="181" y="61"/>
                    <a:pt x="181" y="62"/>
                    <a:pt x="181" y="62"/>
                  </a:cubicBezTo>
                  <a:cubicBezTo>
                    <a:pt x="181" y="62"/>
                    <a:pt x="181" y="62"/>
                    <a:pt x="180" y="62"/>
                  </a:cubicBezTo>
                  <a:cubicBezTo>
                    <a:pt x="180" y="62"/>
                    <a:pt x="180" y="62"/>
                    <a:pt x="179" y="61"/>
                  </a:cubicBezTo>
                  <a:cubicBezTo>
                    <a:pt x="179" y="61"/>
                    <a:pt x="180" y="58"/>
                    <a:pt x="178" y="58"/>
                  </a:cubicBezTo>
                  <a:cubicBezTo>
                    <a:pt x="177" y="59"/>
                    <a:pt x="176" y="60"/>
                    <a:pt x="175" y="59"/>
                  </a:cubicBezTo>
                  <a:cubicBezTo>
                    <a:pt x="175" y="59"/>
                    <a:pt x="175" y="59"/>
                    <a:pt x="175" y="59"/>
                  </a:cubicBezTo>
                  <a:cubicBezTo>
                    <a:pt x="175" y="59"/>
                    <a:pt x="175" y="59"/>
                    <a:pt x="175" y="58"/>
                  </a:cubicBezTo>
                  <a:cubicBezTo>
                    <a:pt x="174" y="58"/>
                    <a:pt x="173" y="58"/>
                    <a:pt x="173" y="58"/>
                  </a:cubicBezTo>
                  <a:cubicBezTo>
                    <a:pt x="173" y="58"/>
                    <a:pt x="172" y="57"/>
                    <a:pt x="172" y="57"/>
                  </a:cubicBezTo>
                  <a:cubicBezTo>
                    <a:pt x="171" y="56"/>
                    <a:pt x="170" y="56"/>
                    <a:pt x="169" y="56"/>
                  </a:cubicBezTo>
                  <a:cubicBezTo>
                    <a:pt x="169" y="55"/>
                    <a:pt x="167" y="55"/>
                    <a:pt x="167" y="55"/>
                  </a:cubicBezTo>
                  <a:cubicBezTo>
                    <a:pt x="166" y="54"/>
                    <a:pt x="167" y="54"/>
                    <a:pt x="166" y="53"/>
                  </a:cubicBezTo>
                  <a:cubicBezTo>
                    <a:pt x="166" y="52"/>
                    <a:pt x="164" y="52"/>
                    <a:pt x="163" y="52"/>
                  </a:cubicBezTo>
                  <a:cubicBezTo>
                    <a:pt x="163" y="52"/>
                    <a:pt x="163" y="53"/>
                    <a:pt x="164" y="53"/>
                  </a:cubicBezTo>
                  <a:cubicBezTo>
                    <a:pt x="164" y="54"/>
                    <a:pt x="165" y="54"/>
                    <a:pt x="166" y="55"/>
                  </a:cubicBezTo>
                  <a:cubicBezTo>
                    <a:pt x="164" y="55"/>
                    <a:pt x="164" y="55"/>
                    <a:pt x="163" y="54"/>
                  </a:cubicBezTo>
                  <a:cubicBezTo>
                    <a:pt x="162" y="53"/>
                    <a:pt x="161" y="53"/>
                    <a:pt x="160" y="53"/>
                  </a:cubicBezTo>
                  <a:cubicBezTo>
                    <a:pt x="159" y="53"/>
                    <a:pt x="158" y="52"/>
                    <a:pt x="157" y="51"/>
                  </a:cubicBezTo>
                  <a:cubicBezTo>
                    <a:pt x="157" y="51"/>
                    <a:pt x="157" y="51"/>
                    <a:pt x="156" y="50"/>
                  </a:cubicBezTo>
                  <a:cubicBezTo>
                    <a:pt x="156" y="50"/>
                    <a:pt x="155" y="50"/>
                    <a:pt x="155" y="50"/>
                  </a:cubicBezTo>
                  <a:cubicBezTo>
                    <a:pt x="154" y="50"/>
                    <a:pt x="154" y="49"/>
                    <a:pt x="154" y="48"/>
                  </a:cubicBezTo>
                  <a:cubicBezTo>
                    <a:pt x="153" y="47"/>
                    <a:pt x="153" y="47"/>
                    <a:pt x="152" y="46"/>
                  </a:cubicBezTo>
                  <a:cubicBezTo>
                    <a:pt x="151" y="46"/>
                    <a:pt x="150" y="46"/>
                    <a:pt x="149" y="45"/>
                  </a:cubicBezTo>
                  <a:cubicBezTo>
                    <a:pt x="149" y="44"/>
                    <a:pt x="149" y="45"/>
                    <a:pt x="149" y="44"/>
                  </a:cubicBezTo>
                  <a:cubicBezTo>
                    <a:pt x="149" y="42"/>
                    <a:pt x="151" y="41"/>
                    <a:pt x="151" y="40"/>
                  </a:cubicBezTo>
                  <a:cubicBezTo>
                    <a:pt x="153" y="37"/>
                    <a:pt x="151" y="34"/>
                    <a:pt x="149" y="32"/>
                  </a:cubicBezTo>
                  <a:cubicBezTo>
                    <a:pt x="149" y="32"/>
                    <a:pt x="149" y="31"/>
                    <a:pt x="148" y="30"/>
                  </a:cubicBezTo>
                  <a:cubicBezTo>
                    <a:pt x="147" y="30"/>
                    <a:pt x="147" y="30"/>
                    <a:pt x="146" y="28"/>
                  </a:cubicBezTo>
                  <a:cubicBezTo>
                    <a:pt x="146" y="27"/>
                    <a:pt x="145" y="27"/>
                    <a:pt x="145" y="26"/>
                  </a:cubicBezTo>
                  <a:cubicBezTo>
                    <a:pt x="145" y="25"/>
                    <a:pt x="145" y="24"/>
                    <a:pt x="144" y="22"/>
                  </a:cubicBezTo>
                  <a:cubicBezTo>
                    <a:pt x="143" y="20"/>
                    <a:pt x="142" y="18"/>
                    <a:pt x="142" y="16"/>
                  </a:cubicBezTo>
                  <a:cubicBezTo>
                    <a:pt x="142" y="15"/>
                    <a:pt x="142" y="14"/>
                    <a:pt x="141" y="14"/>
                  </a:cubicBezTo>
                  <a:cubicBezTo>
                    <a:pt x="140" y="13"/>
                    <a:pt x="139" y="13"/>
                    <a:pt x="140" y="12"/>
                  </a:cubicBezTo>
                  <a:cubicBezTo>
                    <a:pt x="140" y="12"/>
                    <a:pt x="141" y="12"/>
                    <a:pt x="141" y="12"/>
                  </a:cubicBezTo>
                  <a:cubicBezTo>
                    <a:pt x="140" y="11"/>
                    <a:pt x="140" y="11"/>
                    <a:pt x="139" y="10"/>
                  </a:cubicBezTo>
                  <a:cubicBezTo>
                    <a:pt x="139" y="10"/>
                    <a:pt x="139" y="9"/>
                    <a:pt x="138" y="9"/>
                  </a:cubicBezTo>
                  <a:cubicBezTo>
                    <a:pt x="138" y="8"/>
                    <a:pt x="137" y="8"/>
                    <a:pt x="137" y="8"/>
                  </a:cubicBezTo>
                  <a:cubicBezTo>
                    <a:pt x="136" y="7"/>
                    <a:pt x="136" y="7"/>
                    <a:pt x="136" y="7"/>
                  </a:cubicBezTo>
                  <a:cubicBezTo>
                    <a:pt x="135" y="6"/>
                    <a:pt x="135" y="6"/>
                    <a:pt x="134" y="6"/>
                  </a:cubicBezTo>
                  <a:cubicBezTo>
                    <a:pt x="133" y="6"/>
                    <a:pt x="132" y="6"/>
                    <a:pt x="132" y="5"/>
                  </a:cubicBezTo>
                  <a:cubicBezTo>
                    <a:pt x="131" y="5"/>
                    <a:pt x="130" y="4"/>
                    <a:pt x="129" y="3"/>
                  </a:cubicBezTo>
                  <a:cubicBezTo>
                    <a:pt x="129" y="3"/>
                    <a:pt x="128" y="3"/>
                    <a:pt x="127" y="2"/>
                  </a:cubicBezTo>
                  <a:cubicBezTo>
                    <a:pt x="126" y="2"/>
                    <a:pt x="126" y="1"/>
                    <a:pt x="124" y="2"/>
                  </a:cubicBezTo>
                  <a:cubicBezTo>
                    <a:pt x="122" y="2"/>
                    <a:pt x="125" y="4"/>
                    <a:pt x="123" y="4"/>
                  </a:cubicBezTo>
                  <a:cubicBezTo>
                    <a:pt x="121" y="3"/>
                    <a:pt x="121" y="2"/>
                    <a:pt x="119" y="2"/>
                  </a:cubicBezTo>
                  <a:cubicBezTo>
                    <a:pt x="118" y="1"/>
                    <a:pt x="117" y="1"/>
                    <a:pt x="116" y="1"/>
                  </a:cubicBezTo>
                  <a:cubicBezTo>
                    <a:pt x="116" y="1"/>
                    <a:pt x="115" y="1"/>
                    <a:pt x="114" y="1"/>
                  </a:cubicBezTo>
                  <a:cubicBezTo>
                    <a:pt x="114" y="1"/>
                    <a:pt x="112" y="2"/>
                    <a:pt x="112" y="2"/>
                  </a:cubicBezTo>
                  <a:cubicBezTo>
                    <a:pt x="112" y="2"/>
                    <a:pt x="114" y="3"/>
                    <a:pt x="115" y="4"/>
                  </a:cubicBezTo>
                  <a:cubicBezTo>
                    <a:pt x="114" y="4"/>
                    <a:pt x="113" y="3"/>
                    <a:pt x="112" y="3"/>
                  </a:cubicBezTo>
                  <a:cubicBezTo>
                    <a:pt x="110" y="4"/>
                    <a:pt x="111" y="5"/>
                    <a:pt x="112" y="6"/>
                  </a:cubicBezTo>
                  <a:cubicBezTo>
                    <a:pt x="112" y="6"/>
                    <a:pt x="111" y="7"/>
                    <a:pt x="111" y="7"/>
                  </a:cubicBezTo>
                  <a:cubicBezTo>
                    <a:pt x="112" y="7"/>
                    <a:pt x="112" y="7"/>
                    <a:pt x="112" y="7"/>
                  </a:cubicBezTo>
                  <a:cubicBezTo>
                    <a:pt x="112" y="8"/>
                    <a:pt x="112" y="8"/>
                    <a:pt x="112" y="9"/>
                  </a:cubicBezTo>
                  <a:cubicBezTo>
                    <a:pt x="112" y="9"/>
                    <a:pt x="113" y="10"/>
                    <a:pt x="113" y="11"/>
                  </a:cubicBezTo>
                  <a:cubicBezTo>
                    <a:pt x="113" y="12"/>
                    <a:pt x="113" y="13"/>
                    <a:pt x="114" y="14"/>
                  </a:cubicBezTo>
                  <a:cubicBezTo>
                    <a:pt x="114" y="15"/>
                    <a:pt x="114" y="15"/>
                    <a:pt x="114" y="17"/>
                  </a:cubicBezTo>
                  <a:cubicBezTo>
                    <a:pt x="114" y="17"/>
                    <a:pt x="115" y="17"/>
                    <a:pt x="115" y="18"/>
                  </a:cubicBezTo>
                  <a:cubicBezTo>
                    <a:pt x="115" y="18"/>
                    <a:pt x="115" y="18"/>
                    <a:pt x="115" y="19"/>
                  </a:cubicBezTo>
                  <a:cubicBezTo>
                    <a:pt x="116" y="20"/>
                    <a:pt x="117" y="21"/>
                    <a:pt x="115" y="21"/>
                  </a:cubicBezTo>
                  <a:cubicBezTo>
                    <a:pt x="116" y="22"/>
                    <a:pt x="116" y="23"/>
                    <a:pt x="116" y="24"/>
                  </a:cubicBezTo>
                  <a:cubicBezTo>
                    <a:pt x="116" y="24"/>
                    <a:pt x="117" y="24"/>
                    <a:pt x="117" y="24"/>
                  </a:cubicBezTo>
                  <a:cubicBezTo>
                    <a:pt x="118" y="25"/>
                    <a:pt x="117" y="26"/>
                    <a:pt x="118" y="26"/>
                  </a:cubicBezTo>
                  <a:cubicBezTo>
                    <a:pt x="118" y="27"/>
                    <a:pt x="119" y="27"/>
                    <a:pt x="120" y="27"/>
                  </a:cubicBezTo>
                  <a:cubicBezTo>
                    <a:pt x="120" y="27"/>
                    <a:pt x="120" y="28"/>
                    <a:pt x="120" y="28"/>
                  </a:cubicBezTo>
                  <a:cubicBezTo>
                    <a:pt x="120" y="28"/>
                    <a:pt x="121" y="28"/>
                    <a:pt x="121" y="29"/>
                  </a:cubicBezTo>
                  <a:cubicBezTo>
                    <a:pt x="121" y="29"/>
                    <a:pt x="120" y="29"/>
                    <a:pt x="119" y="29"/>
                  </a:cubicBezTo>
                  <a:cubicBezTo>
                    <a:pt x="120" y="30"/>
                    <a:pt x="121" y="30"/>
                    <a:pt x="121" y="31"/>
                  </a:cubicBezTo>
                  <a:cubicBezTo>
                    <a:pt x="120" y="31"/>
                    <a:pt x="119" y="30"/>
                    <a:pt x="118" y="31"/>
                  </a:cubicBezTo>
                  <a:cubicBezTo>
                    <a:pt x="117" y="32"/>
                    <a:pt x="117" y="32"/>
                    <a:pt x="117" y="32"/>
                  </a:cubicBezTo>
                  <a:cubicBezTo>
                    <a:pt x="116" y="33"/>
                    <a:pt x="115" y="32"/>
                    <a:pt x="115" y="33"/>
                  </a:cubicBezTo>
                  <a:cubicBezTo>
                    <a:pt x="115" y="34"/>
                    <a:pt x="117" y="33"/>
                    <a:pt x="116" y="34"/>
                  </a:cubicBezTo>
                  <a:cubicBezTo>
                    <a:pt x="116" y="34"/>
                    <a:pt x="115" y="34"/>
                    <a:pt x="114" y="34"/>
                  </a:cubicBezTo>
                  <a:cubicBezTo>
                    <a:pt x="114" y="33"/>
                    <a:pt x="114" y="33"/>
                    <a:pt x="114" y="33"/>
                  </a:cubicBezTo>
                  <a:cubicBezTo>
                    <a:pt x="113" y="32"/>
                    <a:pt x="112" y="32"/>
                    <a:pt x="112" y="32"/>
                  </a:cubicBezTo>
                  <a:cubicBezTo>
                    <a:pt x="112" y="31"/>
                    <a:pt x="112" y="29"/>
                    <a:pt x="112" y="29"/>
                  </a:cubicBezTo>
                  <a:cubicBezTo>
                    <a:pt x="112" y="28"/>
                    <a:pt x="112" y="28"/>
                    <a:pt x="112" y="27"/>
                  </a:cubicBezTo>
                  <a:cubicBezTo>
                    <a:pt x="111" y="27"/>
                    <a:pt x="111" y="28"/>
                    <a:pt x="111" y="27"/>
                  </a:cubicBezTo>
                  <a:cubicBezTo>
                    <a:pt x="111" y="27"/>
                    <a:pt x="110" y="27"/>
                    <a:pt x="110" y="26"/>
                  </a:cubicBezTo>
                  <a:cubicBezTo>
                    <a:pt x="110" y="25"/>
                    <a:pt x="110" y="24"/>
                    <a:pt x="110" y="24"/>
                  </a:cubicBezTo>
                  <a:cubicBezTo>
                    <a:pt x="109" y="23"/>
                    <a:pt x="109" y="25"/>
                    <a:pt x="109" y="23"/>
                  </a:cubicBezTo>
                  <a:cubicBezTo>
                    <a:pt x="108" y="23"/>
                    <a:pt x="108" y="22"/>
                    <a:pt x="108" y="22"/>
                  </a:cubicBezTo>
                  <a:cubicBezTo>
                    <a:pt x="108" y="20"/>
                    <a:pt x="108" y="18"/>
                    <a:pt x="107" y="16"/>
                  </a:cubicBezTo>
                  <a:cubicBezTo>
                    <a:pt x="107" y="16"/>
                    <a:pt x="107" y="16"/>
                    <a:pt x="106" y="15"/>
                  </a:cubicBezTo>
                  <a:cubicBezTo>
                    <a:pt x="106" y="15"/>
                    <a:pt x="105" y="16"/>
                    <a:pt x="105" y="16"/>
                  </a:cubicBezTo>
                  <a:cubicBezTo>
                    <a:pt x="104" y="15"/>
                    <a:pt x="104" y="14"/>
                    <a:pt x="104" y="14"/>
                  </a:cubicBezTo>
                  <a:cubicBezTo>
                    <a:pt x="103" y="14"/>
                    <a:pt x="103" y="14"/>
                    <a:pt x="103" y="13"/>
                  </a:cubicBezTo>
                  <a:cubicBezTo>
                    <a:pt x="102" y="13"/>
                    <a:pt x="102" y="13"/>
                    <a:pt x="102" y="12"/>
                  </a:cubicBezTo>
                  <a:cubicBezTo>
                    <a:pt x="102" y="12"/>
                    <a:pt x="101" y="12"/>
                    <a:pt x="101" y="12"/>
                  </a:cubicBezTo>
                  <a:cubicBezTo>
                    <a:pt x="100" y="12"/>
                    <a:pt x="100" y="12"/>
                    <a:pt x="99" y="11"/>
                  </a:cubicBezTo>
                  <a:cubicBezTo>
                    <a:pt x="98" y="11"/>
                    <a:pt x="98" y="11"/>
                    <a:pt x="97" y="11"/>
                  </a:cubicBezTo>
                  <a:cubicBezTo>
                    <a:pt x="96" y="10"/>
                    <a:pt x="96" y="10"/>
                    <a:pt x="97" y="9"/>
                  </a:cubicBezTo>
                  <a:cubicBezTo>
                    <a:pt x="97" y="9"/>
                    <a:pt x="96" y="9"/>
                    <a:pt x="96" y="9"/>
                  </a:cubicBezTo>
                  <a:cubicBezTo>
                    <a:pt x="95" y="9"/>
                    <a:pt x="95" y="9"/>
                    <a:pt x="95" y="9"/>
                  </a:cubicBezTo>
                  <a:cubicBezTo>
                    <a:pt x="95" y="9"/>
                    <a:pt x="95" y="8"/>
                    <a:pt x="94" y="8"/>
                  </a:cubicBezTo>
                  <a:cubicBezTo>
                    <a:pt x="93" y="8"/>
                    <a:pt x="91" y="8"/>
                    <a:pt x="90" y="8"/>
                  </a:cubicBezTo>
                  <a:cubicBezTo>
                    <a:pt x="89" y="8"/>
                    <a:pt x="87" y="8"/>
                    <a:pt x="86" y="8"/>
                  </a:cubicBezTo>
                  <a:cubicBezTo>
                    <a:pt x="86" y="9"/>
                    <a:pt x="87" y="10"/>
                    <a:pt x="88" y="10"/>
                  </a:cubicBezTo>
                  <a:cubicBezTo>
                    <a:pt x="89" y="11"/>
                    <a:pt x="90" y="10"/>
                    <a:pt x="91" y="12"/>
                  </a:cubicBezTo>
                  <a:cubicBezTo>
                    <a:pt x="91" y="13"/>
                    <a:pt x="95" y="11"/>
                    <a:pt x="96" y="13"/>
                  </a:cubicBezTo>
                  <a:cubicBezTo>
                    <a:pt x="96" y="14"/>
                    <a:pt x="95" y="14"/>
                    <a:pt x="94" y="14"/>
                  </a:cubicBezTo>
                  <a:cubicBezTo>
                    <a:pt x="93" y="13"/>
                    <a:pt x="93" y="13"/>
                    <a:pt x="92" y="13"/>
                  </a:cubicBezTo>
                  <a:cubicBezTo>
                    <a:pt x="91" y="14"/>
                    <a:pt x="91" y="14"/>
                    <a:pt x="90" y="14"/>
                  </a:cubicBezTo>
                  <a:cubicBezTo>
                    <a:pt x="91" y="15"/>
                    <a:pt x="92" y="14"/>
                    <a:pt x="92" y="14"/>
                  </a:cubicBezTo>
                  <a:cubicBezTo>
                    <a:pt x="94" y="15"/>
                    <a:pt x="95" y="16"/>
                    <a:pt x="95" y="17"/>
                  </a:cubicBezTo>
                  <a:cubicBezTo>
                    <a:pt x="94" y="18"/>
                    <a:pt x="92" y="16"/>
                    <a:pt x="91" y="16"/>
                  </a:cubicBezTo>
                  <a:cubicBezTo>
                    <a:pt x="92" y="17"/>
                    <a:pt x="95" y="17"/>
                    <a:pt x="95" y="18"/>
                  </a:cubicBezTo>
                  <a:cubicBezTo>
                    <a:pt x="93" y="18"/>
                    <a:pt x="91" y="17"/>
                    <a:pt x="89" y="17"/>
                  </a:cubicBezTo>
                  <a:cubicBezTo>
                    <a:pt x="88" y="16"/>
                    <a:pt x="87" y="16"/>
                    <a:pt x="86" y="16"/>
                  </a:cubicBezTo>
                  <a:cubicBezTo>
                    <a:pt x="86" y="16"/>
                    <a:pt x="85" y="16"/>
                    <a:pt x="85" y="17"/>
                  </a:cubicBezTo>
                  <a:cubicBezTo>
                    <a:pt x="84" y="17"/>
                    <a:pt x="84" y="17"/>
                    <a:pt x="83" y="18"/>
                  </a:cubicBezTo>
                  <a:cubicBezTo>
                    <a:pt x="83" y="18"/>
                    <a:pt x="83" y="18"/>
                    <a:pt x="83" y="18"/>
                  </a:cubicBezTo>
                  <a:cubicBezTo>
                    <a:pt x="83" y="19"/>
                    <a:pt x="82" y="19"/>
                    <a:pt x="82" y="19"/>
                  </a:cubicBezTo>
                  <a:cubicBezTo>
                    <a:pt x="82" y="20"/>
                    <a:pt x="83" y="21"/>
                    <a:pt x="83" y="21"/>
                  </a:cubicBezTo>
                  <a:cubicBezTo>
                    <a:pt x="82" y="20"/>
                    <a:pt x="82" y="20"/>
                    <a:pt x="81" y="20"/>
                  </a:cubicBezTo>
                  <a:cubicBezTo>
                    <a:pt x="79" y="20"/>
                    <a:pt x="80" y="20"/>
                    <a:pt x="80" y="18"/>
                  </a:cubicBezTo>
                  <a:cubicBezTo>
                    <a:pt x="79" y="18"/>
                    <a:pt x="77" y="19"/>
                    <a:pt x="77" y="20"/>
                  </a:cubicBezTo>
                  <a:cubicBezTo>
                    <a:pt x="77" y="20"/>
                    <a:pt x="78" y="20"/>
                    <a:pt x="77" y="20"/>
                  </a:cubicBezTo>
                  <a:cubicBezTo>
                    <a:pt x="77" y="21"/>
                    <a:pt x="76" y="22"/>
                    <a:pt x="75" y="23"/>
                  </a:cubicBezTo>
                  <a:cubicBezTo>
                    <a:pt x="75" y="21"/>
                    <a:pt x="77" y="21"/>
                    <a:pt x="75" y="20"/>
                  </a:cubicBezTo>
                  <a:cubicBezTo>
                    <a:pt x="73" y="20"/>
                    <a:pt x="75" y="19"/>
                    <a:pt x="76" y="19"/>
                  </a:cubicBezTo>
                  <a:cubicBezTo>
                    <a:pt x="77" y="19"/>
                    <a:pt x="78" y="18"/>
                    <a:pt x="79" y="17"/>
                  </a:cubicBezTo>
                  <a:cubicBezTo>
                    <a:pt x="78" y="17"/>
                    <a:pt x="78" y="17"/>
                    <a:pt x="78" y="17"/>
                  </a:cubicBezTo>
                  <a:cubicBezTo>
                    <a:pt x="79" y="17"/>
                    <a:pt x="79" y="17"/>
                    <a:pt x="79" y="16"/>
                  </a:cubicBezTo>
                  <a:cubicBezTo>
                    <a:pt x="80" y="16"/>
                    <a:pt x="80" y="16"/>
                    <a:pt x="80" y="16"/>
                  </a:cubicBezTo>
                  <a:cubicBezTo>
                    <a:pt x="76" y="13"/>
                    <a:pt x="71" y="11"/>
                    <a:pt x="67" y="9"/>
                  </a:cubicBezTo>
                  <a:cubicBezTo>
                    <a:pt x="65" y="8"/>
                    <a:pt x="63" y="6"/>
                    <a:pt x="60" y="8"/>
                  </a:cubicBezTo>
                  <a:cubicBezTo>
                    <a:pt x="59" y="8"/>
                    <a:pt x="59" y="9"/>
                    <a:pt x="58" y="10"/>
                  </a:cubicBezTo>
                  <a:cubicBezTo>
                    <a:pt x="58" y="10"/>
                    <a:pt x="57" y="11"/>
                    <a:pt x="57" y="12"/>
                  </a:cubicBezTo>
                  <a:cubicBezTo>
                    <a:pt x="56" y="13"/>
                    <a:pt x="58" y="12"/>
                    <a:pt x="58" y="12"/>
                  </a:cubicBezTo>
                  <a:cubicBezTo>
                    <a:pt x="59" y="13"/>
                    <a:pt x="57" y="14"/>
                    <a:pt x="56" y="15"/>
                  </a:cubicBezTo>
                  <a:cubicBezTo>
                    <a:pt x="56" y="14"/>
                    <a:pt x="57" y="14"/>
                    <a:pt x="57" y="13"/>
                  </a:cubicBezTo>
                  <a:cubicBezTo>
                    <a:pt x="56" y="14"/>
                    <a:pt x="54" y="14"/>
                    <a:pt x="53" y="14"/>
                  </a:cubicBezTo>
                  <a:cubicBezTo>
                    <a:pt x="51" y="15"/>
                    <a:pt x="47" y="17"/>
                    <a:pt x="46" y="15"/>
                  </a:cubicBezTo>
                  <a:cubicBezTo>
                    <a:pt x="47" y="15"/>
                    <a:pt x="49" y="14"/>
                    <a:pt x="49" y="14"/>
                  </a:cubicBezTo>
                  <a:cubicBezTo>
                    <a:pt x="49" y="14"/>
                    <a:pt x="49" y="13"/>
                    <a:pt x="49" y="12"/>
                  </a:cubicBezTo>
                  <a:cubicBezTo>
                    <a:pt x="49" y="12"/>
                    <a:pt x="50" y="11"/>
                    <a:pt x="50" y="11"/>
                  </a:cubicBezTo>
                  <a:cubicBezTo>
                    <a:pt x="51" y="11"/>
                    <a:pt x="52" y="12"/>
                    <a:pt x="53" y="11"/>
                  </a:cubicBezTo>
                  <a:cubicBezTo>
                    <a:pt x="53" y="11"/>
                    <a:pt x="52" y="11"/>
                    <a:pt x="52" y="10"/>
                  </a:cubicBezTo>
                  <a:cubicBezTo>
                    <a:pt x="52" y="10"/>
                    <a:pt x="52" y="10"/>
                    <a:pt x="52" y="10"/>
                  </a:cubicBezTo>
                  <a:cubicBezTo>
                    <a:pt x="52" y="9"/>
                    <a:pt x="52" y="9"/>
                    <a:pt x="52" y="9"/>
                  </a:cubicBezTo>
                  <a:cubicBezTo>
                    <a:pt x="52" y="8"/>
                    <a:pt x="52" y="8"/>
                    <a:pt x="52" y="7"/>
                  </a:cubicBezTo>
                  <a:cubicBezTo>
                    <a:pt x="53" y="6"/>
                    <a:pt x="53" y="5"/>
                    <a:pt x="53" y="5"/>
                  </a:cubicBezTo>
                  <a:cubicBezTo>
                    <a:pt x="53" y="4"/>
                    <a:pt x="51" y="3"/>
                    <a:pt x="50" y="3"/>
                  </a:cubicBezTo>
                  <a:cubicBezTo>
                    <a:pt x="49" y="2"/>
                    <a:pt x="48" y="0"/>
                    <a:pt x="46" y="0"/>
                  </a:cubicBezTo>
                  <a:cubicBezTo>
                    <a:pt x="45" y="0"/>
                    <a:pt x="44" y="1"/>
                    <a:pt x="43" y="1"/>
                  </a:cubicBezTo>
                  <a:cubicBezTo>
                    <a:pt x="39" y="3"/>
                    <a:pt x="35" y="4"/>
                    <a:pt x="30" y="5"/>
                  </a:cubicBezTo>
                  <a:cubicBezTo>
                    <a:pt x="28" y="6"/>
                    <a:pt x="26" y="7"/>
                    <a:pt x="24" y="8"/>
                  </a:cubicBezTo>
                  <a:cubicBezTo>
                    <a:pt x="22" y="9"/>
                    <a:pt x="19" y="9"/>
                    <a:pt x="17" y="10"/>
                  </a:cubicBezTo>
                  <a:cubicBezTo>
                    <a:pt x="16" y="11"/>
                    <a:pt x="16" y="11"/>
                    <a:pt x="15" y="12"/>
                  </a:cubicBezTo>
                  <a:cubicBezTo>
                    <a:pt x="13" y="13"/>
                    <a:pt x="11" y="14"/>
                    <a:pt x="10" y="15"/>
                  </a:cubicBezTo>
                  <a:cubicBezTo>
                    <a:pt x="9" y="15"/>
                    <a:pt x="7" y="16"/>
                    <a:pt x="6" y="17"/>
                  </a:cubicBezTo>
                  <a:cubicBezTo>
                    <a:pt x="4" y="20"/>
                    <a:pt x="8" y="20"/>
                    <a:pt x="9" y="20"/>
                  </a:cubicBezTo>
                  <a:cubicBezTo>
                    <a:pt x="12" y="20"/>
                    <a:pt x="8" y="22"/>
                    <a:pt x="7" y="23"/>
                  </a:cubicBezTo>
                  <a:cubicBezTo>
                    <a:pt x="6" y="23"/>
                    <a:pt x="5" y="24"/>
                    <a:pt x="5" y="24"/>
                  </a:cubicBezTo>
                  <a:cubicBezTo>
                    <a:pt x="4" y="24"/>
                    <a:pt x="5" y="25"/>
                    <a:pt x="4" y="25"/>
                  </a:cubicBezTo>
                  <a:cubicBezTo>
                    <a:pt x="2" y="27"/>
                    <a:pt x="1" y="27"/>
                    <a:pt x="0" y="30"/>
                  </a:cubicBezTo>
                  <a:cubicBezTo>
                    <a:pt x="0" y="30"/>
                    <a:pt x="0" y="31"/>
                    <a:pt x="0" y="31"/>
                  </a:cubicBezTo>
                  <a:cubicBezTo>
                    <a:pt x="0" y="32"/>
                    <a:pt x="0" y="33"/>
                    <a:pt x="1" y="33"/>
                  </a:cubicBezTo>
                  <a:cubicBezTo>
                    <a:pt x="1" y="34"/>
                    <a:pt x="2" y="33"/>
                    <a:pt x="4" y="33"/>
                  </a:cubicBezTo>
                  <a:cubicBezTo>
                    <a:pt x="4" y="33"/>
                    <a:pt x="9" y="33"/>
                    <a:pt x="7" y="35"/>
                  </a:cubicBezTo>
                  <a:cubicBezTo>
                    <a:pt x="9" y="35"/>
                    <a:pt x="11" y="32"/>
                    <a:pt x="13" y="33"/>
                  </a:cubicBezTo>
                  <a:cubicBezTo>
                    <a:pt x="12" y="33"/>
                    <a:pt x="12" y="34"/>
                    <a:pt x="12" y="34"/>
                  </a:cubicBezTo>
                  <a:cubicBezTo>
                    <a:pt x="11" y="35"/>
                    <a:pt x="10" y="35"/>
                    <a:pt x="10" y="36"/>
                  </a:cubicBezTo>
                  <a:cubicBezTo>
                    <a:pt x="9" y="36"/>
                    <a:pt x="8" y="37"/>
                    <a:pt x="9" y="38"/>
                  </a:cubicBezTo>
                  <a:cubicBezTo>
                    <a:pt x="9" y="39"/>
                    <a:pt x="13" y="38"/>
                    <a:pt x="14" y="38"/>
                  </a:cubicBezTo>
                  <a:cubicBezTo>
                    <a:pt x="14" y="38"/>
                    <a:pt x="16" y="39"/>
                    <a:pt x="17" y="38"/>
                  </a:cubicBezTo>
                  <a:cubicBezTo>
                    <a:pt x="17" y="38"/>
                    <a:pt x="16" y="37"/>
                    <a:pt x="16" y="36"/>
                  </a:cubicBezTo>
                  <a:cubicBezTo>
                    <a:pt x="17" y="36"/>
                    <a:pt x="17" y="36"/>
                    <a:pt x="17" y="37"/>
                  </a:cubicBezTo>
                  <a:cubicBezTo>
                    <a:pt x="19" y="37"/>
                    <a:pt x="17" y="38"/>
                    <a:pt x="18" y="38"/>
                  </a:cubicBezTo>
                  <a:cubicBezTo>
                    <a:pt x="18" y="38"/>
                    <a:pt x="20" y="38"/>
                    <a:pt x="21" y="38"/>
                  </a:cubicBezTo>
                  <a:cubicBezTo>
                    <a:pt x="22" y="37"/>
                    <a:pt x="24" y="37"/>
                    <a:pt x="25" y="37"/>
                  </a:cubicBezTo>
                  <a:cubicBezTo>
                    <a:pt x="28" y="36"/>
                    <a:pt x="30" y="36"/>
                    <a:pt x="33" y="36"/>
                  </a:cubicBezTo>
                  <a:cubicBezTo>
                    <a:pt x="27" y="38"/>
                    <a:pt x="20" y="41"/>
                    <a:pt x="14" y="43"/>
                  </a:cubicBezTo>
                  <a:cubicBezTo>
                    <a:pt x="12" y="44"/>
                    <a:pt x="11" y="44"/>
                    <a:pt x="9" y="45"/>
                  </a:cubicBezTo>
                  <a:cubicBezTo>
                    <a:pt x="9" y="45"/>
                    <a:pt x="7" y="45"/>
                    <a:pt x="7" y="46"/>
                  </a:cubicBezTo>
                  <a:cubicBezTo>
                    <a:pt x="7" y="46"/>
                    <a:pt x="9" y="48"/>
                    <a:pt x="9" y="48"/>
                  </a:cubicBezTo>
                  <a:cubicBezTo>
                    <a:pt x="10" y="49"/>
                    <a:pt x="13" y="49"/>
                    <a:pt x="14" y="51"/>
                  </a:cubicBezTo>
                  <a:cubicBezTo>
                    <a:pt x="15" y="52"/>
                    <a:pt x="14" y="53"/>
                    <a:pt x="16" y="53"/>
                  </a:cubicBezTo>
                  <a:cubicBezTo>
                    <a:pt x="16" y="53"/>
                    <a:pt x="17" y="53"/>
                    <a:pt x="18" y="53"/>
                  </a:cubicBezTo>
                  <a:cubicBezTo>
                    <a:pt x="18" y="53"/>
                    <a:pt x="18" y="53"/>
                    <a:pt x="19" y="53"/>
                  </a:cubicBezTo>
                  <a:cubicBezTo>
                    <a:pt x="21" y="53"/>
                    <a:pt x="23" y="53"/>
                    <a:pt x="25" y="53"/>
                  </a:cubicBezTo>
                  <a:cubicBezTo>
                    <a:pt x="27" y="52"/>
                    <a:pt x="27" y="52"/>
                    <a:pt x="29" y="52"/>
                  </a:cubicBezTo>
                  <a:cubicBezTo>
                    <a:pt x="30" y="52"/>
                    <a:pt x="30" y="53"/>
                    <a:pt x="31" y="53"/>
                  </a:cubicBezTo>
                  <a:cubicBezTo>
                    <a:pt x="32" y="53"/>
                    <a:pt x="33" y="53"/>
                    <a:pt x="34" y="53"/>
                  </a:cubicBezTo>
                  <a:cubicBezTo>
                    <a:pt x="35" y="53"/>
                    <a:pt x="36" y="53"/>
                    <a:pt x="36" y="53"/>
                  </a:cubicBezTo>
                  <a:cubicBezTo>
                    <a:pt x="37" y="53"/>
                    <a:pt x="37" y="53"/>
                    <a:pt x="38" y="53"/>
                  </a:cubicBezTo>
                  <a:cubicBezTo>
                    <a:pt x="40" y="53"/>
                    <a:pt x="42" y="53"/>
                    <a:pt x="44" y="53"/>
                  </a:cubicBezTo>
                  <a:cubicBezTo>
                    <a:pt x="46" y="53"/>
                    <a:pt x="47" y="52"/>
                    <a:pt x="48" y="52"/>
                  </a:cubicBezTo>
                  <a:cubicBezTo>
                    <a:pt x="49" y="51"/>
                    <a:pt x="50" y="52"/>
                    <a:pt x="51" y="52"/>
                  </a:cubicBezTo>
                  <a:cubicBezTo>
                    <a:pt x="52" y="52"/>
                    <a:pt x="52" y="51"/>
                    <a:pt x="53" y="51"/>
                  </a:cubicBezTo>
                  <a:cubicBezTo>
                    <a:pt x="54" y="51"/>
                    <a:pt x="56" y="52"/>
                    <a:pt x="56" y="52"/>
                  </a:cubicBezTo>
                  <a:cubicBezTo>
                    <a:pt x="57" y="52"/>
                    <a:pt x="57" y="52"/>
                    <a:pt x="58" y="52"/>
                  </a:cubicBezTo>
                  <a:cubicBezTo>
                    <a:pt x="58" y="52"/>
                    <a:pt x="59" y="52"/>
                    <a:pt x="60" y="52"/>
                  </a:cubicBezTo>
                  <a:cubicBezTo>
                    <a:pt x="61" y="52"/>
                    <a:pt x="61" y="53"/>
                    <a:pt x="62" y="53"/>
                  </a:cubicBezTo>
                  <a:cubicBezTo>
                    <a:pt x="62" y="53"/>
                    <a:pt x="63" y="53"/>
                    <a:pt x="63" y="54"/>
                  </a:cubicBezTo>
                  <a:cubicBezTo>
                    <a:pt x="64" y="54"/>
                    <a:pt x="64" y="54"/>
                    <a:pt x="64" y="54"/>
                  </a:cubicBezTo>
                  <a:cubicBezTo>
                    <a:pt x="64" y="54"/>
                    <a:pt x="64" y="54"/>
                    <a:pt x="65" y="54"/>
                  </a:cubicBezTo>
                  <a:cubicBezTo>
                    <a:pt x="66" y="54"/>
                    <a:pt x="67" y="54"/>
                    <a:pt x="68" y="55"/>
                  </a:cubicBezTo>
                  <a:cubicBezTo>
                    <a:pt x="68" y="55"/>
                    <a:pt x="68" y="54"/>
                    <a:pt x="68" y="54"/>
                  </a:cubicBezTo>
                  <a:cubicBezTo>
                    <a:pt x="69" y="54"/>
                    <a:pt x="69" y="55"/>
                    <a:pt x="69" y="55"/>
                  </a:cubicBezTo>
                  <a:cubicBezTo>
                    <a:pt x="69" y="55"/>
                    <a:pt x="70" y="55"/>
                    <a:pt x="70" y="55"/>
                  </a:cubicBezTo>
                  <a:cubicBezTo>
                    <a:pt x="72" y="55"/>
                    <a:pt x="71" y="56"/>
                    <a:pt x="72" y="57"/>
                  </a:cubicBezTo>
                  <a:cubicBezTo>
                    <a:pt x="73" y="57"/>
                    <a:pt x="74" y="57"/>
                    <a:pt x="75" y="58"/>
                  </a:cubicBezTo>
                  <a:cubicBezTo>
                    <a:pt x="76" y="58"/>
                    <a:pt x="76" y="57"/>
                    <a:pt x="77" y="57"/>
                  </a:cubicBezTo>
                  <a:cubicBezTo>
                    <a:pt x="78" y="58"/>
                    <a:pt x="77" y="59"/>
                    <a:pt x="78" y="59"/>
                  </a:cubicBezTo>
                  <a:cubicBezTo>
                    <a:pt x="76" y="60"/>
                    <a:pt x="73" y="59"/>
                    <a:pt x="70" y="59"/>
                  </a:cubicBezTo>
                  <a:cubicBezTo>
                    <a:pt x="71" y="59"/>
                    <a:pt x="71" y="59"/>
                    <a:pt x="71" y="59"/>
                  </a:cubicBezTo>
                  <a:cubicBezTo>
                    <a:pt x="70" y="59"/>
                    <a:pt x="69" y="60"/>
                    <a:pt x="67" y="60"/>
                  </a:cubicBezTo>
                  <a:cubicBezTo>
                    <a:pt x="66" y="60"/>
                    <a:pt x="65" y="60"/>
                    <a:pt x="64" y="60"/>
                  </a:cubicBezTo>
                  <a:cubicBezTo>
                    <a:pt x="61" y="60"/>
                    <a:pt x="59" y="59"/>
                    <a:pt x="57" y="59"/>
                  </a:cubicBezTo>
                  <a:cubicBezTo>
                    <a:pt x="55" y="59"/>
                    <a:pt x="53" y="59"/>
                    <a:pt x="51" y="58"/>
                  </a:cubicBezTo>
                  <a:cubicBezTo>
                    <a:pt x="48" y="58"/>
                    <a:pt x="46" y="59"/>
                    <a:pt x="43" y="59"/>
                  </a:cubicBezTo>
                  <a:cubicBezTo>
                    <a:pt x="40" y="59"/>
                    <a:pt x="36" y="59"/>
                    <a:pt x="32" y="60"/>
                  </a:cubicBezTo>
                  <a:cubicBezTo>
                    <a:pt x="27" y="61"/>
                    <a:pt x="22" y="62"/>
                    <a:pt x="17" y="64"/>
                  </a:cubicBezTo>
                  <a:cubicBezTo>
                    <a:pt x="18" y="65"/>
                    <a:pt x="19" y="67"/>
                    <a:pt x="19" y="68"/>
                  </a:cubicBezTo>
                  <a:cubicBezTo>
                    <a:pt x="20" y="69"/>
                    <a:pt x="22" y="70"/>
                    <a:pt x="23" y="70"/>
                  </a:cubicBezTo>
                  <a:cubicBezTo>
                    <a:pt x="23" y="71"/>
                    <a:pt x="23" y="71"/>
                    <a:pt x="23" y="71"/>
                  </a:cubicBezTo>
                  <a:cubicBezTo>
                    <a:pt x="26" y="73"/>
                    <a:pt x="29" y="76"/>
                    <a:pt x="33" y="77"/>
                  </a:cubicBezTo>
                  <a:cubicBezTo>
                    <a:pt x="35" y="77"/>
                    <a:pt x="36" y="77"/>
                    <a:pt x="38" y="77"/>
                  </a:cubicBezTo>
                  <a:cubicBezTo>
                    <a:pt x="40" y="78"/>
                    <a:pt x="42" y="77"/>
                    <a:pt x="45" y="78"/>
                  </a:cubicBezTo>
                  <a:cubicBezTo>
                    <a:pt x="48" y="78"/>
                    <a:pt x="51" y="78"/>
                    <a:pt x="54" y="78"/>
                  </a:cubicBezTo>
                  <a:cubicBezTo>
                    <a:pt x="55" y="78"/>
                    <a:pt x="57" y="78"/>
                    <a:pt x="57" y="79"/>
                  </a:cubicBezTo>
                  <a:cubicBezTo>
                    <a:pt x="57" y="79"/>
                    <a:pt x="55" y="78"/>
                    <a:pt x="56" y="80"/>
                  </a:cubicBezTo>
                  <a:cubicBezTo>
                    <a:pt x="55" y="80"/>
                    <a:pt x="57" y="81"/>
                    <a:pt x="57" y="81"/>
                  </a:cubicBezTo>
                  <a:cubicBezTo>
                    <a:pt x="57" y="81"/>
                    <a:pt x="57" y="81"/>
                    <a:pt x="57" y="81"/>
                  </a:cubicBezTo>
                  <a:cubicBezTo>
                    <a:pt x="57" y="82"/>
                    <a:pt x="57" y="83"/>
                    <a:pt x="56" y="84"/>
                  </a:cubicBezTo>
                  <a:cubicBezTo>
                    <a:pt x="56" y="86"/>
                    <a:pt x="59" y="89"/>
                    <a:pt x="61" y="91"/>
                  </a:cubicBezTo>
                  <a:cubicBezTo>
                    <a:pt x="62" y="92"/>
                    <a:pt x="66" y="91"/>
                    <a:pt x="66" y="91"/>
                  </a:cubicBezTo>
                  <a:cubicBezTo>
                    <a:pt x="71" y="90"/>
                    <a:pt x="75" y="90"/>
                    <a:pt x="79" y="90"/>
                  </a:cubicBezTo>
                  <a:cubicBezTo>
                    <a:pt x="85" y="89"/>
                    <a:pt x="90" y="89"/>
                    <a:pt x="96" y="88"/>
                  </a:cubicBezTo>
                  <a:cubicBezTo>
                    <a:pt x="98" y="88"/>
                    <a:pt x="102" y="88"/>
                    <a:pt x="104" y="86"/>
                  </a:cubicBezTo>
                  <a:cubicBezTo>
                    <a:pt x="107" y="85"/>
                    <a:pt x="107" y="83"/>
                    <a:pt x="110" y="83"/>
                  </a:cubicBezTo>
                  <a:cubicBezTo>
                    <a:pt x="112" y="83"/>
                    <a:pt x="114" y="82"/>
                    <a:pt x="116" y="82"/>
                  </a:cubicBezTo>
                  <a:cubicBezTo>
                    <a:pt x="117" y="82"/>
                    <a:pt x="119" y="82"/>
                    <a:pt x="120" y="82"/>
                  </a:cubicBezTo>
                  <a:cubicBezTo>
                    <a:pt x="121" y="81"/>
                    <a:pt x="122" y="80"/>
                    <a:pt x="123" y="80"/>
                  </a:cubicBezTo>
                  <a:cubicBezTo>
                    <a:pt x="124" y="79"/>
                    <a:pt x="124" y="79"/>
                    <a:pt x="124" y="78"/>
                  </a:cubicBezTo>
                  <a:cubicBezTo>
                    <a:pt x="125" y="78"/>
                    <a:pt x="124" y="78"/>
                    <a:pt x="125" y="77"/>
                  </a:cubicBezTo>
                  <a:cubicBezTo>
                    <a:pt x="125" y="76"/>
                    <a:pt x="127" y="73"/>
                    <a:pt x="129" y="73"/>
                  </a:cubicBezTo>
                  <a:cubicBezTo>
                    <a:pt x="130" y="74"/>
                    <a:pt x="132" y="76"/>
                    <a:pt x="131" y="77"/>
                  </a:cubicBezTo>
                  <a:cubicBezTo>
                    <a:pt x="131" y="78"/>
                    <a:pt x="129" y="78"/>
                    <a:pt x="131" y="79"/>
                  </a:cubicBezTo>
                  <a:cubicBezTo>
                    <a:pt x="133" y="80"/>
                    <a:pt x="135" y="79"/>
                    <a:pt x="137" y="79"/>
                  </a:cubicBezTo>
                  <a:cubicBezTo>
                    <a:pt x="138" y="79"/>
                    <a:pt x="138" y="79"/>
                    <a:pt x="139" y="80"/>
                  </a:cubicBezTo>
                  <a:cubicBezTo>
                    <a:pt x="140" y="80"/>
                    <a:pt x="140" y="80"/>
                    <a:pt x="140" y="80"/>
                  </a:cubicBezTo>
                  <a:cubicBezTo>
                    <a:pt x="141" y="80"/>
                    <a:pt x="142" y="80"/>
                    <a:pt x="143" y="80"/>
                  </a:cubicBezTo>
                  <a:cubicBezTo>
                    <a:pt x="143" y="80"/>
                    <a:pt x="145" y="80"/>
                    <a:pt x="145" y="81"/>
                  </a:cubicBezTo>
                  <a:cubicBezTo>
                    <a:pt x="145" y="82"/>
                    <a:pt x="144" y="81"/>
                    <a:pt x="144" y="82"/>
                  </a:cubicBezTo>
                  <a:cubicBezTo>
                    <a:pt x="143" y="82"/>
                    <a:pt x="143" y="83"/>
                    <a:pt x="142" y="83"/>
                  </a:cubicBezTo>
                  <a:cubicBezTo>
                    <a:pt x="143" y="84"/>
                    <a:pt x="145" y="83"/>
                    <a:pt x="146" y="83"/>
                  </a:cubicBezTo>
                  <a:cubicBezTo>
                    <a:pt x="147" y="83"/>
                    <a:pt x="151" y="82"/>
                    <a:pt x="152" y="83"/>
                  </a:cubicBezTo>
                  <a:cubicBezTo>
                    <a:pt x="153" y="83"/>
                    <a:pt x="152" y="84"/>
                    <a:pt x="153" y="84"/>
                  </a:cubicBezTo>
                  <a:cubicBezTo>
                    <a:pt x="156" y="85"/>
                    <a:pt x="158" y="85"/>
                    <a:pt x="161" y="85"/>
                  </a:cubicBezTo>
                  <a:cubicBezTo>
                    <a:pt x="164" y="85"/>
                    <a:pt x="167" y="86"/>
                    <a:pt x="170" y="84"/>
                  </a:cubicBezTo>
                  <a:cubicBezTo>
                    <a:pt x="171" y="84"/>
                    <a:pt x="172" y="83"/>
                    <a:pt x="174" y="83"/>
                  </a:cubicBezTo>
                  <a:cubicBezTo>
                    <a:pt x="175" y="83"/>
                    <a:pt x="175" y="83"/>
                    <a:pt x="175" y="82"/>
                  </a:cubicBezTo>
                  <a:cubicBezTo>
                    <a:pt x="175" y="82"/>
                    <a:pt x="175" y="82"/>
                    <a:pt x="175" y="83"/>
                  </a:cubicBezTo>
                  <a:cubicBezTo>
                    <a:pt x="176" y="83"/>
                    <a:pt x="177" y="82"/>
                    <a:pt x="177" y="82"/>
                  </a:cubicBezTo>
                  <a:cubicBezTo>
                    <a:pt x="177" y="82"/>
                    <a:pt x="176" y="82"/>
                    <a:pt x="176" y="81"/>
                  </a:cubicBezTo>
                  <a:cubicBezTo>
                    <a:pt x="177" y="81"/>
                    <a:pt x="177" y="81"/>
                    <a:pt x="177" y="80"/>
                  </a:cubicBezTo>
                  <a:cubicBezTo>
                    <a:pt x="177" y="80"/>
                    <a:pt x="178" y="79"/>
                    <a:pt x="177" y="79"/>
                  </a:cubicBezTo>
                  <a:cubicBezTo>
                    <a:pt x="177" y="78"/>
                    <a:pt x="177" y="78"/>
                    <a:pt x="176" y="78"/>
                  </a:cubicBezTo>
                  <a:cubicBezTo>
                    <a:pt x="175" y="79"/>
                    <a:pt x="175" y="79"/>
                    <a:pt x="175" y="79"/>
                  </a:cubicBezTo>
                  <a:cubicBezTo>
                    <a:pt x="175" y="79"/>
                    <a:pt x="175" y="79"/>
                    <a:pt x="175" y="79"/>
                  </a:cubicBezTo>
                  <a:cubicBezTo>
                    <a:pt x="175" y="79"/>
                    <a:pt x="174" y="79"/>
                    <a:pt x="174" y="79"/>
                  </a:cubicBezTo>
                  <a:cubicBezTo>
                    <a:pt x="173" y="78"/>
                    <a:pt x="174" y="78"/>
                    <a:pt x="174" y="78"/>
                  </a:cubicBezTo>
                  <a:cubicBezTo>
                    <a:pt x="175" y="77"/>
                    <a:pt x="174" y="76"/>
                    <a:pt x="173" y="76"/>
                  </a:cubicBezTo>
                  <a:cubicBezTo>
                    <a:pt x="174" y="76"/>
                    <a:pt x="175" y="76"/>
                    <a:pt x="175" y="75"/>
                  </a:cubicBezTo>
                  <a:cubicBezTo>
                    <a:pt x="175" y="75"/>
                    <a:pt x="175" y="75"/>
                    <a:pt x="175" y="75"/>
                  </a:cubicBezTo>
                  <a:cubicBezTo>
                    <a:pt x="175" y="75"/>
                    <a:pt x="175" y="75"/>
                    <a:pt x="175" y="75"/>
                  </a:cubicBezTo>
                  <a:cubicBezTo>
                    <a:pt x="176" y="75"/>
                    <a:pt x="176" y="74"/>
                    <a:pt x="175" y="74"/>
                  </a:cubicBezTo>
                  <a:cubicBezTo>
                    <a:pt x="175" y="74"/>
                    <a:pt x="175" y="74"/>
                    <a:pt x="175" y="74"/>
                  </a:cubicBezTo>
                  <a:cubicBezTo>
                    <a:pt x="175" y="74"/>
                    <a:pt x="173" y="73"/>
                    <a:pt x="172" y="73"/>
                  </a:cubicBezTo>
                  <a:cubicBezTo>
                    <a:pt x="170" y="73"/>
                    <a:pt x="170" y="74"/>
                    <a:pt x="169" y="75"/>
                  </a:cubicBezTo>
                  <a:cubicBezTo>
                    <a:pt x="167" y="75"/>
                    <a:pt x="167" y="75"/>
                    <a:pt x="166" y="76"/>
                  </a:cubicBezTo>
                  <a:cubicBezTo>
                    <a:pt x="166" y="77"/>
                    <a:pt x="164" y="80"/>
                    <a:pt x="163" y="80"/>
                  </a:cubicBezTo>
                  <a:cubicBezTo>
                    <a:pt x="162" y="80"/>
                    <a:pt x="163" y="78"/>
                    <a:pt x="163" y="78"/>
                  </a:cubicBezTo>
                  <a:cubicBezTo>
                    <a:pt x="164" y="77"/>
                    <a:pt x="165" y="77"/>
                    <a:pt x="165" y="76"/>
                  </a:cubicBezTo>
                  <a:cubicBezTo>
                    <a:pt x="165" y="76"/>
                    <a:pt x="165" y="75"/>
                    <a:pt x="165" y="75"/>
                  </a:cubicBezTo>
                  <a:cubicBezTo>
                    <a:pt x="165" y="74"/>
                    <a:pt x="165" y="75"/>
                    <a:pt x="164" y="74"/>
                  </a:cubicBezTo>
                  <a:cubicBezTo>
                    <a:pt x="163" y="74"/>
                    <a:pt x="163" y="73"/>
                    <a:pt x="163" y="72"/>
                  </a:cubicBezTo>
                  <a:cubicBezTo>
                    <a:pt x="162" y="72"/>
                    <a:pt x="161" y="72"/>
                    <a:pt x="161" y="71"/>
                  </a:cubicBezTo>
                  <a:cubicBezTo>
                    <a:pt x="160" y="71"/>
                    <a:pt x="160" y="70"/>
                    <a:pt x="161" y="70"/>
                  </a:cubicBezTo>
                  <a:cubicBezTo>
                    <a:pt x="162" y="69"/>
                    <a:pt x="163" y="71"/>
                    <a:pt x="164" y="71"/>
                  </a:cubicBezTo>
                  <a:cubicBezTo>
                    <a:pt x="165" y="72"/>
                    <a:pt x="169" y="73"/>
                    <a:pt x="170" y="71"/>
                  </a:cubicBezTo>
                  <a:cubicBezTo>
                    <a:pt x="170" y="71"/>
                    <a:pt x="170" y="70"/>
                    <a:pt x="170" y="70"/>
                  </a:cubicBezTo>
                  <a:cubicBezTo>
                    <a:pt x="170" y="69"/>
                    <a:pt x="170" y="70"/>
                    <a:pt x="169" y="69"/>
                  </a:cubicBezTo>
                  <a:cubicBezTo>
                    <a:pt x="170" y="69"/>
                    <a:pt x="171" y="69"/>
                    <a:pt x="172" y="68"/>
                  </a:cubicBezTo>
                  <a:cubicBezTo>
                    <a:pt x="173" y="67"/>
                    <a:pt x="172" y="66"/>
                    <a:pt x="173" y="66"/>
                  </a:cubicBezTo>
                  <a:cubicBezTo>
                    <a:pt x="174" y="66"/>
                    <a:pt x="173" y="67"/>
                    <a:pt x="173" y="67"/>
                  </a:cubicBezTo>
                  <a:cubicBezTo>
                    <a:pt x="174" y="67"/>
                    <a:pt x="174" y="67"/>
                    <a:pt x="175" y="67"/>
                  </a:cubicBezTo>
                  <a:cubicBezTo>
                    <a:pt x="175" y="67"/>
                    <a:pt x="175" y="68"/>
                    <a:pt x="175" y="68"/>
                  </a:cubicBezTo>
                  <a:cubicBezTo>
                    <a:pt x="175" y="68"/>
                    <a:pt x="175" y="68"/>
                    <a:pt x="175" y="68"/>
                  </a:cubicBezTo>
                  <a:cubicBezTo>
                    <a:pt x="175" y="68"/>
                    <a:pt x="175" y="68"/>
                    <a:pt x="175" y="68"/>
                  </a:cubicBezTo>
                  <a:cubicBezTo>
                    <a:pt x="176" y="69"/>
                    <a:pt x="176" y="69"/>
                    <a:pt x="176" y="69"/>
                  </a:cubicBezTo>
                  <a:cubicBezTo>
                    <a:pt x="177" y="69"/>
                    <a:pt x="178" y="70"/>
                    <a:pt x="178" y="70"/>
                  </a:cubicBezTo>
                  <a:cubicBezTo>
                    <a:pt x="179" y="70"/>
                    <a:pt x="179" y="69"/>
                    <a:pt x="180" y="69"/>
                  </a:cubicBezTo>
                  <a:cubicBezTo>
                    <a:pt x="180" y="68"/>
                    <a:pt x="180" y="67"/>
                    <a:pt x="181" y="66"/>
                  </a:cubicBezTo>
                  <a:cubicBezTo>
                    <a:pt x="181" y="67"/>
                    <a:pt x="180" y="67"/>
                    <a:pt x="181" y="6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19" name="Freeform 2071">
              <a:extLst>
                <a:ext uri="{FF2B5EF4-FFF2-40B4-BE49-F238E27FC236}">
                  <a16:creationId xmlns:a16="http://schemas.microsoft.com/office/drawing/2014/main" id="{B556452D-2BEC-4675-958E-81FC545188C8}"/>
                </a:ext>
              </a:extLst>
            </p:cNvPr>
            <p:cNvSpPr>
              <a:spLocks/>
            </p:cNvSpPr>
            <p:nvPr/>
          </p:nvSpPr>
          <p:spPr bwMode="auto">
            <a:xfrm>
              <a:off x="1145" y="666"/>
              <a:ext cx="104" cy="116"/>
            </a:xfrm>
            <a:custGeom>
              <a:avLst/>
              <a:gdLst>
                <a:gd name="T0" fmla="*/ 30 w 44"/>
                <a:gd name="T1" fmla="*/ 30 h 49"/>
                <a:gd name="T2" fmla="*/ 29 w 44"/>
                <a:gd name="T3" fmla="*/ 29 h 49"/>
                <a:gd name="T4" fmla="*/ 27 w 44"/>
                <a:gd name="T5" fmla="*/ 28 h 49"/>
                <a:gd name="T6" fmla="*/ 27 w 44"/>
                <a:gd name="T7" fmla="*/ 26 h 49"/>
                <a:gd name="T8" fmla="*/ 25 w 44"/>
                <a:gd name="T9" fmla="*/ 20 h 49"/>
                <a:gd name="T10" fmla="*/ 22 w 44"/>
                <a:gd name="T11" fmla="*/ 15 h 49"/>
                <a:gd name="T12" fmla="*/ 22 w 44"/>
                <a:gd name="T13" fmla="*/ 11 h 49"/>
                <a:gd name="T14" fmla="*/ 19 w 44"/>
                <a:gd name="T15" fmla="*/ 6 h 49"/>
                <a:gd name="T16" fmla="*/ 18 w 44"/>
                <a:gd name="T17" fmla="*/ 3 h 49"/>
                <a:gd name="T18" fmla="*/ 16 w 44"/>
                <a:gd name="T19" fmla="*/ 3 h 49"/>
                <a:gd name="T20" fmla="*/ 9 w 44"/>
                <a:gd name="T21" fmla="*/ 1 h 49"/>
                <a:gd name="T22" fmla="*/ 3 w 44"/>
                <a:gd name="T23" fmla="*/ 10 h 49"/>
                <a:gd name="T24" fmla="*/ 5 w 44"/>
                <a:gd name="T25" fmla="*/ 12 h 49"/>
                <a:gd name="T26" fmla="*/ 9 w 44"/>
                <a:gd name="T27" fmla="*/ 12 h 49"/>
                <a:gd name="T28" fmla="*/ 8 w 44"/>
                <a:gd name="T29" fmla="*/ 14 h 49"/>
                <a:gd name="T30" fmla="*/ 10 w 44"/>
                <a:gd name="T31" fmla="*/ 20 h 49"/>
                <a:gd name="T32" fmla="*/ 14 w 44"/>
                <a:gd name="T33" fmla="*/ 24 h 49"/>
                <a:gd name="T34" fmla="*/ 13 w 44"/>
                <a:gd name="T35" fmla="*/ 26 h 49"/>
                <a:gd name="T36" fmla="*/ 11 w 44"/>
                <a:gd name="T37" fmla="*/ 29 h 49"/>
                <a:gd name="T38" fmla="*/ 10 w 44"/>
                <a:gd name="T39" fmla="*/ 33 h 49"/>
                <a:gd name="T40" fmla="*/ 1 w 44"/>
                <a:gd name="T41" fmla="*/ 36 h 49"/>
                <a:gd name="T42" fmla="*/ 0 w 44"/>
                <a:gd name="T43" fmla="*/ 38 h 49"/>
                <a:gd name="T44" fmla="*/ 4 w 44"/>
                <a:gd name="T45" fmla="*/ 41 h 49"/>
                <a:gd name="T46" fmla="*/ 6 w 44"/>
                <a:gd name="T47" fmla="*/ 39 h 49"/>
                <a:gd name="T48" fmla="*/ 10 w 44"/>
                <a:gd name="T49" fmla="*/ 42 h 49"/>
                <a:gd name="T50" fmla="*/ 13 w 44"/>
                <a:gd name="T51" fmla="*/ 43 h 49"/>
                <a:gd name="T52" fmla="*/ 21 w 44"/>
                <a:gd name="T53" fmla="*/ 46 h 49"/>
                <a:gd name="T54" fmla="*/ 25 w 44"/>
                <a:gd name="T55" fmla="*/ 47 h 49"/>
                <a:gd name="T56" fmla="*/ 27 w 44"/>
                <a:gd name="T57" fmla="*/ 46 h 49"/>
                <a:gd name="T58" fmla="*/ 30 w 44"/>
                <a:gd name="T59" fmla="*/ 48 h 49"/>
                <a:gd name="T60" fmla="*/ 34 w 44"/>
                <a:gd name="T61" fmla="*/ 47 h 49"/>
                <a:gd name="T62" fmla="*/ 34 w 44"/>
                <a:gd name="T63" fmla="*/ 47 h 49"/>
                <a:gd name="T64" fmla="*/ 41 w 44"/>
                <a:gd name="T65" fmla="*/ 41 h 49"/>
                <a:gd name="T66" fmla="*/ 38 w 44"/>
                <a:gd name="T67" fmla="*/ 39 h 49"/>
                <a:gd name="T68" fmla="*/ 37 w 44"/>
                <a:gd name="T69" fmla="*/ 35 h 49"/>
                <a:gd name="T70" fmla="*/ 34 w 44"/>
                <a:gd name="T71" fmla="*/ 35 h 49"/>
                <a:gd name="T72" fmla="*/ 33 w 44"/>
                <a:gd name="T73"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49">
                  <a:moveTo>
                    <a:pt x="33" y="32"/>
                  </a:moveTo>
                  <a:cubicBezTo>
                    <a:pt x="33" y="31"/>
                    <a:pt x="31" y="31"/>
                    <a:pt x="30" y="30"/>
                  </a:cubicBezTo>
                  <a:cubicBezTo>
                    <a:pt x="30" y="30"/>
                    <a:pt x="30" y="30"/>
                    <a:pt x="29" y="30"/>
                  </a:cubicBezTo>
                  <a:cubicBezTo>
                    <a:pt x="29" y="30"/>
                    <a:pt x="29" y="29"/>
                    <a:pt x="29" y="29"/>
                  </a:cubicBezTo>
                  <a:cubicBezTo>
                    <a:pt x="29" y="29"/>
                    <a:pt x="28" y="29"/>
                    <a:pt x="28" y="29"/>
                  </a:cubicBezTo>
                  <a:cubicBezTo>
                    <a:pt x="28" y="28"/>
                    <a:pt x="28" y="29"/>
                    <a:pt x="27" y="28"/>
                  </a:cubicBezTo>
                  <a:cubicBezTo>
                    <a:pt x="27" y="28"/>
                    <a:pt x="28" y="28"/>
                    <a:pt x="28" y="27"/>
                  </a:cubicBezTo>
                  <a:cubicBezTo>
                    <a:pt x="28" y="27"/>
                    <a:pt x="27" y="26"/>
                    <a:pt x="27" y="26"/>
                  </a:cubicBezTo>
                  <a:cubicBezTo>
                    <a:pt x="26" y="25"/>
                    <a:pt x="26" y="24"/>
                    <a:pt x="26" y="23"/>
                  </a:cubicBezTo>
                  <a:cubicBezTo>
                    <a:pt x="26" y="21"/>
                    <a:pt x="25" y="21"/>
                    <a:pt x="25" y="20"/>
                  </a:cubicBezTo>
                  <a:cubicBezTo>
                    <a:pt x="25" y="18"/>
                    <a:pt x="24" y="18"/>
                    <a:pt x="23" y="17"/>
                  </a:cubicBezTo>
                  <a:cubicBezTo>
                    <a:pt x="23" y="16"/>
                    <a:pt x="23" y="16"/>
                    <a:pt x="22" y="15"/>
                  </a:cubicBezTo>
                  <a:cubicBezTo>
                    <a:pt x="22" y="14"/>
                    <a:pt x="22" y="14"/>
                    <a:pt x="23" y="13"/>
                  </a:cubicBezTo>
                  <a:cubicBezTo>
                    <a:pt x="22" y="12"/>
                    <a:pt x="22" y="12"/>
                    <a:pt x="22" y="11"/>
                  </a:cubicBezTo>
                  <a:cubicBezTo>
                    <a:pt x="21" y="10"/>
                    <a:pt x="21" y="10"/>
                    <a:pt x="21" y="9"/>
                  </a:cubicBezTo>
                  <a:cubicBezTo>
                    <a:pt x="20" y="8"/>
                    <a:pt x="20" y="7"/>
                    <a:pt x="19" y="6"/>
                  </a:cubicBezTo>
                  <a:cubicBezTo>
                    <a:pt x="19" y="5"/>
                    <a:pt x="18" y="5"/>
                    <a:pt x="18" y="5"/>
                  </a:cubicBezTo>
                  <a:cubicBezTo>
                    <a:pt x="18" y="4"/>
                    <a:pt x="18" y="4"/>
                    <a:pt x="18" y="3"/>
                  </a:cubicBezTo>
                  <a:cubicBezTo>
                    <a:pt x="17" y="2"/>
                    <a:pt x="18" y="3"/>
                    <a:pt x="17" y="3"/>
                  </a:cubicBezTo>
                  <a:cubicBezTo>
                    <a:pt x="16" y="3"/>
                    <a:pt x="16" y="3"/>
                    <a:pt x="16" y="3"/>
                  </a:cubicBezTo>
                  <a:cubicBezTo>
                    <a:pt x="15" y="2"/>
                    <a:pt x="15" y="2"/>
                    <a:pt x="14" y="2"/>
                  </a:cubicBezTo>
                  <a:cubicBezTo>
                    <a:pt x="12" y="1"/>
                    <a:pt x="11" y="1"/>
                    <a:pt x="9" y="1"/>
                  </a:cubicBezTo>
                  <a:cubicBezTo>
                    <a:pt x="8" y="1"/>
                    <a:pt x="7" y="0"/>
                    <a:pt x="6" y="1"/>
                  </a:cubicBezTo>
                  <a:cubicBezTo>
                    <a:pt x="5" y="3"/>
                    <a:pt x="4" y="7"/>
                    <a:pt x="3" y="10"/>
                  </a:cubicBezTo>
                  <a:cubicBezTo>
                    <a:pt x="3" y="10"/>
                    <a:pt x="3" y="10"/>
                    <a:pt x="3" y="10"/>
                  </a:cubicBezTo>
                  <a:cubicBezTo>
                    <a:pt x="4" y="11"/>
                    <a:pt x="4" y="12"/>
                    <a:pt x="5" y="12"/>
                  </a:cubicBezTo>
                  <a:cubicBezTo>
                    <a:pt x="5" y="12"/>
                    <a:pt x="7" y="12"/>
                    <a:pt x="7" y="12"/>
                  </a:cubicBezTo>
                  <a:cubicBezTo>
                    <a:pt x="8" y="12"/>
                    <a:pt x="8" y="12"/>
                    <a:pt x="9" y="12"/>
                  </a:cubicBezTo>
                  <a:cubicBezTo>
                    <a:pt x="9" y="12"/>
                    <a:pt x="11" y="12"/>
                    <a:pt x="11" y="12"/>
                  </a:cubicBezTo>
                  <a:cubicBezTo>
                    <a:pt x="11" y="13"/>
                    <a:pt x="9" y="13"/>
                    <a:pt x="8" y="14"/>
                  </a:cubicBezTo>
                  <a:cubicBezTo>
                    <a:pt x="8" y="16"/>
                    <a:pt x="7" y="16"/>
                    <a:pt x="8" y="18"/>
                  </a:cubicBezTo>
                  <a:cubicBezTo>
                    <a:pt x="9" y="18"/>
                    <a:pt x="10" y="19"/>
                    <a:pt x="10" y="20"/>
                  </a:cubicBezTo>
                  <a:cubicBezTo>
                    <a:pt x="11" y="21"/>
                    <a:pt x="11" y="21"/>
                    <a:pt x="12" y="22"/>
                  </a:cubicBezTo>
                  <a:cubicBezTo>
                    <a:pt x="13" y="23"/>
                    <a:pt x="13" y="23"/>
                    <a:pt x="14" y="24"/>
                  </a:cubicBezTo>
                  <a:cubicBezTo>
                    <a:pt x="13" y="24"/>
                    <a:pt x="13" y="24"/>
                    <a:pt x="13" y="24"/>
                  </a:cubicBezTo>
                  <a:cubicBezTo>
                    <a:pt x="13" y="25"/>
                    <a:pt x="13" y="25"/>
                    <a:pt x="13" y="26"/>
                  </a:cubicBezTo>
                  <a:cubicBezTo>
                    <a:pt x="12" y="28"/>
                    <a:pt x="11" y="27"/>
                    <a:pt x="10" y="28"/>
                  </a:cubicBezTo>
                  <a:cubicBezTo>
                    <a:pt x="9" y="28"/>
                    <a:pt x="10" y="29"/>
                    <a:pt x="11" y="29"/>
                  </a:cubicBezTo>
                  <a:cubicBezTo>
                    <a:pt x="9" y="29"/>
                    <a:pt x="10" y="30"/>
                    <a:pt x="11" y="31"/>
                  </a:cubicBezTo>
                  <a:cubicBezTo>
                    <a:pt x="12" y="32"/>
                    <a:pt x="12" y="32"/>
                    <a:pt x="10" y="33"/>
                  </a:cubicBezTo>
                  <a:cubicBezTo>
                    <a:pt x="8" y="33"/>
                    <a:pt x="9" y="34"/>
                    <a:pt x="8" y="35"/>
                  </a:cubicBezTo>
                  <a:cubicBezTo>
                    <a:pt x="7" y="36"/>
                    <a:pt x="3" y="35"/>
                    <a:pt x="1" y="36"/>
                  </a:cubicBezTo>
                  <a:cubicBezTo>
                    <a:pt x="1" y="36"/>
                    <a:pt x="0" y="37"/>
                    <a:pt x="0" y="38"/>
                  </a:cubicBezTo>
                  <a:cubicBezTo>
                    <a:pt x="0" y="38"/>
                    <a:pt x="0" y="38"/>
                    <a:pt x="0" y="38"/>
                  </a:cubicBezTo>
                  <a:cubicBezTo>
                    <a:pt x="1" y="40"/>
                    <a:pt x="1" y="40"/>
                    <a:pt x="3" y="41"/>
                  </a:cubicBezTo>
                  <a:cubicBezTo>
                    <a:pt x="3" y="41"/>
                    <a:pt x="4" y="41"/>
                    <a:pt x="4" y="41"/>
                  </a:cubicBezTo>
                  <a:cubicBezTo>
                    <a:pt x="4" y="41"/>
                    <a:pt x="4" y="40"/>
                    <a:pt x="5" y="39"/>
                  </a:cubicBezTo>
                  <a:cubicBezTo>
                    <a:pt x="4" y="40"/>
                    <a:pt x="6" y="39"/>
                    <a:pt x="6" y="39"/>
                  </a:cubicBezTo>
                  <a:cubicBezTo>
                    <a:pt x="7" y="39"/>
                    <a:pt x="7" y="39"/>
                    <a:pt x="7" y="40"/>
                  </a:cubicBezTo>
                  <a:cubicBezTo>
                    <a:pt x="7" y="42"/>
                    <a:pt x="9" y="41"/>
                    <a:pt x="10" y="42"/>
                  </a:cubicBezTo>
                  <a:cubicBezTo>
                    <a:pt x="11" y="42"/>
                    <a:pt x="11" y="43"/>
                    <a:pt x="12" y="41"/>
                  </a:cubicBezTo>
                  <a:cubicBezTo>
                    <a:pt x="12" y="39"/>
                    <a:pt x="13" y="43"/>
                    <a:pt x="13" y="43"/>
                  </a:cubicBezTo>
                  <a:cubicBezTo>
                    <a:pt x="14" y="44"/>
                    <a:pt x="15" y="43"/>
                    <a:pt x="16" y="44"/>
                  </a:cubicBezTo>
                  <a:cubicBezTo>
                    <a:pt x="18" y="44"/>
                    <a:pt x="19" y="46"/>
                    <a:pt x="21" y="46"/>
                  </a:cubicBezTo>
                  <a:cubicBezTo>
                    <a:pt x="22" y="46"/>
                    <a:pt x="22" y="46"/>
                    <a:pt x="23" y="46"/>
                  </a:cubicBezTo>
                  <a:cubicBezTo>
                    <a:pt x="23" y="47"/>
                    <a:pt x="24" y="47"/>
                    <a:pt x="25" y="47"/>
                  </a:cubicBezTo>
                  <a:cubicBezTo>
                    <a:pt x="25" y="46"/>
                    <a:pt x="24" y="45"/>
                    <a:pt x="25" y="46"/>
                  </a:cubicBezTo>
                  <a:cubicBezTo>
                    <a:pt x="26" y="46"/>
                    <a:pt x="26" y="46"/>
                    <a:pt x="27" y="46"/>
                  </a:cubicBezTo>
                  <a:cubicBezTo>
                    <a:pt x="27" y="48"/>
                    <a:pt x="27" y="48"/>
                    <a:pt x="28" y="49"/>
                  </a:cubicBezTo>
                  <a:cubicBezTo>
                    <a:pt x="29" y="49"/>
                    <a:pt x="30" y="48"/>
                    <a:pt x="30" y="48"/>
                  </a:cubicBezTo>
                  <a:cubicBezTo>
                    <a:pt x="30" y="48"/>
                    <a:pt x="30" y="48"/>
                    <a:pt x="30" y="48"/>
                  </a:cubicBezTo>
                  <a:cubicBezTo>
                    <a:pt x="32" y="48"/>
                    <a:pt x="33" y="48"/>
                    <a:pt x="34" y="47"/>
                  </a:cubicBezTo>
                  <a:cubicBezTo>
                    <a:pt x="34" y="47"/>
                    <a:pt x="34" y="47"/>
                    <a:pt x="34" y="47"/>
                  </a:cubicBezTo>
                  <a:cubicBezTo>
                    <a:pt x="34" y="47"/>
                    <a:pt x="34" y="47"/>
                    <a:pt x="34" y="47"/>
                  </a:cubicBezTo>
                  <a:cubicBezTo>
                    <a:pt x="38" y="45"/>
                    <a:pt x="41" y="43"/>
                    <a:pt x="44" y="41"/>
                  </a:cubicBezTo>
                  <a:cubicBezTo>
                    <a:pt x="43" y="39"/>
                    <a:pt x="42" y="41"/>
                    <a:pt x="41" y="41"/>
                  </a:cubicBezTo>
                  <a:cubicBezTo>
                    <a:pt x="40" y="41"/>
                    <a:pt x="40" y="41"/>
                    <a:pt x="39" y="40"/>
                  </a:cubicBezTo>
                  <a:cubicBezTo>
                    <a:pt x="38" y="40"/>
                    <a:pt x="38" y="41"/>
                    <a:pt x="38" y="39"/>
                  </a:cubicBezTo>
                  <a:cubicBezTo>
                    <a:pt x="38" y="38"/>
                    <a:pt x="37" y="38"/>
                    <a:pt x="37" y="37"/>
                  </a:cubicBezTo>
                  <a:cubicBezTo>
                    <a:pt x="37" y="36"/>
                    <a:pt x="37" y="36"/>
                    <a:pt x="37" y="35"/>
                  </a:cubicBezTo>
                  <a:cubicBezTo>
                    <a:pt x="35" y="32"/>
                    <a:pt x="36" y="36"/>
                    <a:pt x="35" y="37"/>
                  </a:cubicBezTo>
                  <a:cubicBezTo>
                    <a:pt x="35" y="37"/>
                    <a:pt x="34" y="36"/>
                    <a:pt x="34" y="35"/>
                  </a:cubicBezTo>
                  <a:cubicBezTo>
                    <a:pt x="33" y="36"/>
                    <a:pt x="33" y="36"/>
                    <a:pt x="33" y="36"/>
                  </a:cubicBezTo>
                  <a:cubicBezTo>
                    <a:pt x="33" y="36"/>
                    <a:pt x="33" y="36"/>
                    <a:pt x="33" y="36"/>
                  </a:cubicBezTo>
                  <a:cubicBezTo>
                    <a:pt x="34" y="35"/>
                    <a:pt x="35" y="34"/>
                    <a:pt x="33" y="3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20" name="Freeform 2072">
              <a:extLst>
                <a:ext uri="{FF2B5EF4-FFF2-40B4-BE49-F238E27FC236}">
                  <a16:creationId xmlns:a16="http://schemas.microsoft.com/office/drawing/2014/main" id="{0F20E82F-3A87-4A8C-9516-167210BC11CE}"/>
                </a:ext>
              </a:extLst>
            </p:cNvPr>
            <p:cNvSpPr>
              <a:spLocks/>
            </p:cNvSpPr>
            <p:nvPr/>
          </p:nvSpPr>
          <p:spPr bwMode="auto">
            <a:xfrm>
              <a:off x="1906" y="884"/>
              <a:ext cx="5" cy="11"/>
            </a:xfrm>
            <a:custGeom>
              <a:avLst/>
              <a:gdLst>
                <a:gd name="T0" fmla="*/ 2 w 2"/>
                <a:gd name="T1" fmla="*/ 1 h 5"/>
                <a:gd name="T2" fmla="*/ 0 w 2"/>
                <a:gd name="T3" fmla="*/ 4 h 5"/>
                <a:gd name="T4" fmla="*/ 0 w 2"/>
                <a:gd name="T5" fmla="*/ 5 h 5"/>
                <a:gd name="T6" fmla="*/ 2 w 2"/>
                <a:gd name="T7" fmla="*/ 3 h 5"/>
                <a:gd name="T8" fmla="*/ 2 w 2"/>
                <a:gd name="T9" fmla="*/ 1 h 5"/>
              </a:gdLst>
              <a:ahLst/>
              <a:cxnLst>
                <a:cxn ang="0">
                  <a:pos x="T0" y="T1"/>
                </a:cxn>
                <a:cxn ang="0">
                  <a:pos x="T2" y="T3"/>
                </a:cxn>
                <a:cxn ang="0">
                  <a:pos x="T4" y="T5"/>
                </a:cxn>
                <a:cxn ang="0">
                  <a:pos x="T6" y="T7"/>
                </a:cxn>
                <a:cxn ang="0">
                  <a:pos x="T8" y="T9"/>
                </a:cxn>
              </a:cxnLst>
              <a:rect l="0" t="0" r="r" b="b"/>
              <a:pathLst>
                <a:path w="2" h="5">
                  <a:moveTo>
                    <a:pt x="2" y="1"/>
                  </a:moveTo>
                  <a:cubicBezTo>
                    <a:pt x="0" y="0"/>
                    <a:pt x="0" y="3"/>
                    <a:pt x="0" y="4"/>
                  </a:cubicBezTo>
                  <a:cubicBezTo>
                    <a:pt x="0" y="5"/>
                    <a:pt x="0" y="5"/>
                    <a:pt x="0" y="5"/>
                  </a:cubicBezTo>
                  <a:cubicBezTo>
                    <a:pt x="0" y="4"/>
                    <a:pt x="1" y="4"/>
                    <a:pt x="2" y="3"/>
                  </a:cubicBezTo>
                  <a:cubicBezTo>
                    <a:pt x="0" y="4"/>
                    <a:pt x="2" y="2"/>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21" name="Freeform 2073">
              <a:extLst>
                <a:ext uri="{FF2B5EF4-FFF2-40B4-BE49-F238E27FC236}">
                  <a16:creationId xmlns:a16="http://schemas.microsoft.com/office/drawing/2014/main" id="{49160D94-BE31-4B51-99C9-ADBB9EFDC8E9}"/>
                </a:ext>
              </a:extLst>
            </p:cNvPr>
            <p:cNvSpPr>
              <a:spLocks/>
            </p:cNvSpPr>
            <p:nvPr/>
          </p:nvSpPr>
          <p:spPr bwMode="auto">
            <a:xfrm>
              <a:off x="1906" y="760"/>
              <a:ext cx="0" cy="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22" name="Freeform 2074">
              <a:extLst>
                <a:ext uri="{FF2B5EF4-FFF2-40B4-BE49-F238E27FC236}">
                  <a16:creationId xmlns:a16="http://schemas.microsoft.com/office/drawing/2014/main" id="{347448E3-24FF-437B-A13D-A6FF75ED7A40}"/>
                </a:ext>
              </a:extLst>
            </p:cNvPr>
            <p:cNvSpPr>
              <a:spLocks/>
            </p:cNvSpPr>
            <p:nvPr/>
          </p:nvSpPr>
          <p:spPr bwMode="auto">
            <a:xfrm>
              <a:off x="1906" y="763"/>
              <a:ext cx="5" cy="2"/>
            </a:xfrm>
            <a:custGeom>
              <a:avLst/>
              <a:gdLst>
                <a:gd name="T0" fmla="*/ 2 w 2"/>
                <a:gd name="T1" fmla="*/ 1 h 1"/>
                <a:gd name="T2" fmla="*/ 0 w 2"/>
                <a:gd name="T3" fmla="*/ 0 h 1"/>
                <a:gd name="T4" fmla="*/ 0 w 2"/>
                <a:gd name="T5" fmla="*/ 1 h 1"/>
                <a:gd name="T6" fmla="*/ 2 w 2"/>
                <a:gd name="T7" fmla="*/ 1 h 1"/>
              </a:gdLst>
              <a:ahLst/>
              <a:cxnLst>
                <a:cxn ang="0">
                  <a:pos x="T0" y="T1"/>
                </a:cxn>
                <a:cxn ang="0">
                  <a:pos x="T2" y="T3"/>
                </a:cxn>
                <a:cxn ang="0">
                  <a:pos x="T4" y="T5"/>
                </a:cxn>
                <a:cxn ang="0">
                  <a:pos x="T6" y="T7"/>
                </a:cxn>
              </a:cxnLst>
              <a:rect l="0" t="0" r="r" b="b"/>
              <a:pathLst>
                <a:path w="2" h="1">
                  <a:moveTo>
                    <a:pt x="2" y="1"/>
                  </a:moveTo>
                  <a:cubicBezTo>
                    <a:pt x="2" y="1"/>
                    <a:pt x="1" y="1"/>
                    <a:pt x="0" y="0"/>
                  </a:cubicBezTo>
                  <a:cubicBezTo>
                    <a:pt x="0" y="1"/>
                    <a:pt x="0" y="1"/>
                    <a:pt x="0" y="1"/>
                  </a:cubicBezTo>
                  <a:cubicBezTo>
                    <a:pt x="1" y="1"/>
                    <a:pt x="2"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23" name="Freeform 2075">
              <a:extLst>
                <a:ext uri="{FF2B5EF4-FFF2-40B4-BE49-F238E27FC236}">
                  <a16:creationId xmlns:a16="http://schemas.microsoft.com/office/drawing/2014/main" id="{9715DB8F-39E2-41D6-948E-8C27336A8E7C}"/>
                </a:ext>
              </a:extLst>
            </p:cNvPr>
            <p:cNvSpPr>
              <a:spLocks noEditPoints="1"/>
            </p:cNvSpPr>
            <p:nvPr/>
          </p:nvSpPr>
          <p:spPr bwMode="auto">
            <a:xfrm>
              <a:off x="1372" y="538"/>
              <a:ext cx="697" cy="502"/>
            </a:xfrm>
            <a:custGeom>
              <a:avLst/>
              <a:gdLst>
                <a:gd name="T0" fmla="*/ 169 w 295"/>
                <a:gd name="T1" fmla="*/ 42 h 212"/>
                <a:gd name="T2" fmla="*/ 163 w 295"/>
                <a:gd name="T3" fmla="*/ 36 h 212"/>
                <a:gd name="T4" fmla="*/ 153 w 295"/>
                <a:gd name="T5" fmla="*/ 34 h 212"/>
                <a:gd name="T6" fmla="*/ 130 w 295"/>
                <a:gd name="T7" fmla="*/ 33 h 212"/>
                <a:gd name="T8" fmla="*/ 125 w 295"/>
                <a:gd name="T9" fmla="*/ 41 h 212"/>
                <a:gd name="T10" fmla="*/ 106 w 295"/>
                <a:gd name="T11" fmla="*/ 28 h 212"/>
                <a:gd name="T12" fmla="*/ 98 w 295"/>
                <a:gd name="T13" fmla="*/ 29 h 212"/>
                <a:gd name="T14" fmla="*/ 80 w 295"/>
                <a:gd name="T15" fmla="*/ 3 h 212"/>
                <a:gd name="T16" fmla="*/ 53 w 295"/>
                <a:gd name="T17" fmla="*/ 5 h 212"/>
                <a:gd name="T18" fmla="*/ 9 w 295"/>
                <a:gd name="T19" fmla="*/ 19 h 212"/>
                <a:gd name="T20" fmla="*/ 9 w 295"/>
                <a:gd name="T21" fmla="*/ 50 h 212"/>
                <a:gd name="T22" fmla="*/ 20 w 295"/>
                <a:gd name="T23" fmla="*/ 67 h 212"/>
                <a:gd name="T24" fmla="*/ 44 w 295"/>
                <a:gd name="T25" fmla="*/ 73 h 212"/>
                <a:gd name="T26" fmla="*/ 86 w 295"/>
                <a:gd name="T27" fmla="*/ 75 h 212"/>
                <a:gd name="T28" fmla="*/ 99 w 295"/>
                <a:gd name="T29" fmla="*/ 74 h 212"/>
                <a:gd name="T30" fmla="*/ 116 w 295"/>
                <a:gd name="T31" fmla="*/ 62 h 212"/>
                <a:gd name="T32" fmla="*/ 128 w 295"/>
                <a:gd name="T33" fmla="*/ 77 h 212"/>
                <a:gd name="T34" fmla="*/ 140 w 295"/>
                <a:gd name="T35" fmla="*/ 84 h 212"/>
                <a:gd name="T36" fmla="*/ 156 w 295"/>
                <a:gd name="T37" fmla="*/ 93 h 212"/>
                <a:gd name="T38" fmla="*/ 175 w 295"/>
                <a:gd name="T39" fmla="*/ 106 h 212"/>
                <a:gd name="T40" fmla="*/ 194 w 295"/>
                <a:gd name="T41" fmla="*/ 129 h 212"/>
                <a:gd name="T42" fmla="*/ 215 w 295"/>
                <a:gd name="T43" fmla="*/ 138 h 212"/>
                <a:gd name="T44" fmla="*/ 195 w 295"/>
                <a:gd name="T45" fmla="*/ 139 h 212"/>
                <a:gd name="T46" fmla="*/ 158 w 295"/>
                <a:gd name="T47" fmla="*/ 154 h 212"/>
                <a:gd name="T48" fmla="*/ 150 w 295"/>
                <a:gd name="T49" fmla="*/ 160 h 212"/>
                <a:gd name="T50" fmla="*/ 137 w 295"/>
                <a:gd name="T51" fmla="*/ 173 h 212"/>
                <a:gd name="T52" fmla="*/ 155 w 295"/>
                <a:gd name="T53" fmla="*/ 164 h 212"/>
                <a:gd name="T54" fmla="*/ 168 w 295"/>
                <a:gd name="T55" fmla="*/ 167 h 212"/>
                <a:gd name="T56" fmla="*/ 183 w 295"/>
                <a:gd name="T57" fmla="*/ 178 h 212"/>
                <a:gd name="T58" fmla="*/ 196 w 295"/>
                <a:gd name="T59" fmla="*/ 191 h 212"/>
                <a:gd name="T60" fmla="*/ 247 w 295"/>
                <a:gd name="T61" fmla="*/ 206 h 212"/>
                <a:gd name="T62" fmla="*/ 229 w 295"/>
                <a:gd name="T63" fmla="*/ 194 h 212"/>
                <a:gd name="T64" fmla="*/ 226 w 295"/>
                <a:gd name="T65" fmla="*/ 185 h 212"/>
                <a:gd name="T66" fmla="*/ 241 w 295"/>
                <a:gd name="T67" fmla="*/ 194 h 212"/>
                <a:gd name="T68" fmla="*/ 255 w 295"/>
                <a:gd name="T69" fmla="*/ 201 h 212"/>
                <a:gd name="T70" fmla="*/ 256 w 295"/>
                <a:gd name="T71" fmla="*/ 183 h 212"/>
                <a:gd name="T72" fmla="*/ 254 w 295"/>
                <a:gd name="T73" fmla="*/ 174 h 212"/>
                <a:gd name="T74" fmla="*/ 247 w 295"/>
                <a:gd name="T75" fmla="*/ 165 h 212"/>
                <a:gd name="T76" fmla="*/ 235 w 295"/>
                <a:gd name="T77" fmla="*/ 157 h 212"/>
                <a:gd name="T78" fmla="*/ 223 w 295"/>
                <a:gd name="T79" fmla="*/ 144 h 212"/>
                <a:gd name="T80" fmla="*/ 226 w 295"/>
                <a:gd name="T81" fmla="*/ 136 h 212"/>
                <a:gd name="T82" fmla="*/ 251 w 295"/>
                <a:gd name="T83" fmla="*/ 139 h 212"/>
                <a:gd name="T84" fmla="*/ 253 w 295"/>
                <a:gd name="T85" fmla="*/ 147 h 212"/>
                <a:gd name="T86" fmla="*/ 264 w 295"/>
                <a:gd name="T87" fmla="*/ 154 h 212"/>
                <a:gd name="T88" fmla="*/ 274 w 295"/>
                <a:gd name="T89" fmla="*/ 154 h 212"/>
                <a:gd name="T90" fmla="*/ 284 w 295"/>
                <a:gd name="T91" fmla="*/ 147 h 212"/>
                <a:gd name="T92" fmla="*/ 281 w 295"/>
                <a:gd name="T93" fmla="*/ 140 h 212"/>
                <a:gd name="T94" fmla="*/ 285 w 295"/>
                <a:gd name="T95" fmla="*/ 134 h 212"/>
                <a:gd name="T96" fmla="*/ 272 w 295"/>
                <a:gd name="T97" fmla="*/ 130 h 212"/>
                <a:gd name="T98" fmla="*/ 267 w 295"/>
                <a:gd name="T99" fmla="*/ 122 h 212"/>
                <a:gd name="T100" fmla="*/ 252 w 295"/>
                <a:gd name="T101" fmla="*/ 112 h 212"/>
                <a:gd name="T102" fmla="*/ 239 w 295"/>
                <a:gd name="T103" fmla="*/ 110 h 212"/>
                <a:gd name="T104" fmla="*/ 237 w 295"/>
                <a:gd name="T105" fmla="*/ 103 h 212"/>
                <a:gd name="T106" fmla="*/ 225 w 295"/>
                <a:gd name="T107" fmla="*/ 99 h 212"/>
                <a:gd name="T108" fmla="*/ 226 w 295"/>
                <a:gd name="T109" fmla="*/ 91 h 212"/>
                <a:gd name="T110" fmla="*/ 227 w 295"/>
                <a:gd name="T111" fmla="*/ 88 h 212"/>
                <a:gd name="T112" fmla="*/ 220 w 295"/>
                <a:gd name="T113" fmla="*/ 81 h 212"/>
                <a:gd name="T114" fmla="*/ 211 w 295"/>
                <a:gd name="T115" fmla="*/ 78 h 212"/>
                <a:gd name="T116" fmla="*/ 219 w 295"/>
                <a:gd name="T117" fmla="*/ 68 h 212"/>
                <a:gd name="T118" fmla="*/ 194 w 295"/>
                <a:gd name="T119" fmla="*/ 69 h 212"/>
                <a:gd name="T120" fmla="*/ 183 w 295"/>
                <a:gd name="T121" fmla="*/ 58 h 212"/>
                <a:gd name="T122" fmla="*/ 38 w 295"/>
                <a:gd name="T123" fmla="*/ 56 h 212"/>
                <a:gd name="T124" fmla="*/ 52 w 295"/>
                <a:gd name="T125" fmla="*/ 2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5" h="212">
                  <a:moveTo>
                    <a:pt x="176" y="48"/>
                  </a:moveTo>
                  <a:cubicBezTo>
                    <a:pt x="175" y="48"/>
                    <a:pt x="174" y="50"/>
                    <a:pt x="175" y="51"/>
                  </a:cubicBezTo>
                  <a:cubicBezTo>
                    <a:pt x="174" y="51"/>
                    <a:pt x="174" y="51"/>
                    <a:pt x="174" y="51"/>
                  </a:cubicBezTo>
                  <a:cubicBezTo>
                    <a:pt x="174" y="51"/>
                    <a:pt x="174" y="51"/>
                    <a:pt x="174" y="50"/>
                  </a:cubicBezTo>
                  <a:cubicBezTo>
                    <a:pt x="172" y="49"/>
                    <a:pt x="171" y="49"/>
                    <a:pt x="170" y="50"/>
                  </a:cubicBezTo>
                  <a:cubicBezTo>
                    <a:pt x="169" y="52"/>
                    <a:pt x="168" y="55"/>
                    <a:pt x="166" y="55"/>
                  </a:cubicBezTo>
                  <a:cubicBezTo>
                    <a:pt x="168" y="54"/>
                    <a:pt x="168" y="53"/>
                    <a:pt x="168" y="52"/>
                  </a:cubicBezTo>
                  <a:cubicBezTo>
                    <a:pt x="169" y="50"/>
                    <a:pt x="169" y="50"/>
                    <a:pt x="170" y="49"/>
                  </a:cubicBezTo>
                  <a:cubicBezTo>
                    <a:pt x="170" y="49"/>
                    <a:pt x="172" y="47"/>
                    <a:pt x="170" y="47"/>
                  </a:cubicBezTo>
                  <a:cubicBezTo>
                    <a:pt x="169" y="48"/>
                    <a:pt x="169" y="48"/>
                    <a:pt x="169" y="47"/>
                  </a:cubicBezTo>
                  <a:cubicBezTo>
                    <a:pt x="169" y="46"/>
                    <a:pt x="170" y="45"/>
                    <a:pt x="169" y="45"/>
                  </a:cubicBezTo>
                  <a:cubicBezTo>
                    <a:pt x="169" y="44"/>
                    <a:pt x="168" y="44"/>
                    <a:pt x="167" y="45"/>
                  </a:cubicBezTo>
                  <a:cubicBezTo>
                    <a:pt x="166" y="47"/>
                    <a:pt x="165" y="51"/>
                    <a:pt x="163" y="52"/>
                  </a:cubicBezTo>
                  <a:cubicBezTo>
                    <a:pt x="163" y="51"/>
                    <a:pt x="164" y="48"/>
                    <a:pt x="164" y="47"/>
                  </a:cubicBezTo>
                  <a:cubicBezTo>
                    <a:pt x="164" y="47"/>
                    <a:pt x="162" y="48"/>
                    <a:pt x="162" y="48"/>
                  </a:cubicBezTo>
                  <a:cubicBezTo>
                    <a:pt x="162" y="47"/>
                    <a:pt x="163" y="47"/>
                    <a:pt x="164" y="47"/>
                  </a:cubicBezTo>
                  <a:cubicBezTo>
                    <a:pt x="165" y="47"/>
                    <a:pt x="165" y="47"/>
                    <a:pt x="165" y="46"/>
                  </a:cubicBezTo>
                  <a:cubicBezTo>
                    <a:pt x="166" y="45"/>
                    <a:pt x="166" y="44"/>
                    <a:pt x="166" y="44"/>
                  </a:cubicBezTo>
                  <a:cubicBezTo>
                    <a:pt x="167" y="43"/>
                    <a:pt x="168" y="43"/>
                    <a:pt x="169" y="42"/>
                  </a:cubicBezTo>
                  <a:cubicBezTo>
                    <a:pt x="170" y="41"/>
                    <a:pt x="168" y="41"/>
                    <a:pt x="167" y="41"/>
                  </a:cubicBezTo>
                  <a:cubicBezTo>
                    <a:pt x="165" y="41"/>
                    <a:pt x="163" y="43"/>
                    <a:pt x="163" y="45"/>
                  </a:cubicBezTo>
                  <a:cubicBezTo>
                    <a:pt x="162" y="44"/>
                    <a:pt x="165" y="41"/>
                    <a:pt x="163" y="42"/>
                  </a:cubicBezTo>
                  <a:cubicBezTo>
                    <a:pt x="161" y="42"/>
                    <a:pt x="159" y="44"/>
                    <a:pt x="158" y="45"/>
                  </a:cubicBezTo>
                  <a:cubicBezTo>
                    <a:pt x="157" y="46"/>
                    <a:pt x="159" y="47"/>
                    <a:pt x="159" y="48"/>
                  </a:cubicBezTo>
                  <a:cubicBezTo>
                    <a:pt x="159" y="49"/>
                    <a:pt x="157" y="49"/>
                    <a:pt x="157" y="50"/>
                  </a:cubicBezTo>
                  <a:cubicBezTo>
                    <a:pt x="156" y="51"/>
                    <a:pt x="155" y="52"/>
                    <a:pt x="154" y="52"/>
                  </a:cubicBezTo>
                  <a:cubicBezTo>
                    <a:pt x="155" y="51"/>
                    <a:pt x="158" y="49"/>
                    <a:pt x="157" y="48"/>
                  </a:cubicBezTo>
                  <a:cubicBezTo>
                    <a:pt x="157" y="47"/>
                    <a:pt x="157" y="47"/>
                    <a:pt x="156" y="47"/>
                  </a:cubicBezTo>
                  <a:cubicBezTo>
                    <a:pt x="155" y="47"/>
                    <a:pt x="156" y="46"/>
                    <a:pt x="156" y="46"/>
                  </a:cubicBezTo>
                  <a:cubicBezTo>
                    <a:pt x="155" y="46"/>
                    <a:pt x="155" y="46"/>
                    <a:pt x="155" y="46"/>
                  </a:cubicBezTo>
                  <a:cubicBezTo>
                    <a:pt x="157" y="45"/>
                    <a:pt x="160" y="44"/>
                    <a:pt x="158" y="43"/>
                  </a:cubicBezTo>
                  <a:cubicBezTo>
                    <a:pt x="158" y="42"/>
                    <a:pt x="152" y="45"/>
                    <a:pt x="151" y="46"/>
                  </a:cubicBezTo>
                  <a:cubicBezTo>
                    <a:pt x="151" y="45"/>
                    <a:pt x="155" y="44"/>
                    <a:pt x="155" y="43"/>
                  </a:cubicBezTo>
                  <a:cubicBezTo>
                    <a:pt x="155" y="42"/>
                    <a:pt x="152" y="43"/>
                    <a:pt x="151" y="43"/>
                  </a:cubicBezTo>
                  <a:cubicBezTo>
                    <a:pt x="153" y="41"/>
                    <a:pt x="155" y="43"/>
                    <a:pt x="157" y="42"/>
                  </a:cubicBezTo>
                  <a:cubicBezTo>
                    <a:pt x="158" y="41"/>
                    <a:pt x="159" y="40"/>
                    <a:pt x="160" y="40"/>
                  </a:cubicBezTo>
                  <a:cubicBezTo>
                    <a:pt x="160" y="40"/>
                    <a:pt x="162" y="41"/>
                    <a:pt x="162" y="40"/>
                  </a:cubicBezTo>
                  <a:cubicBezTo>
                    <a:pt x="164" y="39"/>
                    <a:pt x="164" y="38"/>
                    <a:pt x="163" y="36"/>
                  </a:cubicBezTo>
                  <a:cubicBezTo>
                    <a:pt x="163" y="35"/>
                    <a:pt x="162" y="35"/>
                    <a:pt x="161" y="35"/>
                  </a:cubicBezTo>
                  <a:cubicBezTo>
                    <a:pt x="160" y="35"/>
                    <a:pt x="159" y="35"/>
                    <a:pt x="158" y="35"/>
                  </a:cubicBezTo>
                  <a:cubicBezTo>
                    <a:pt x="157" y="35"/>
                    <a:pt x="156" y="34"/>
                    <a:pt x="155" y="34"/>
                  </a:cubicBezTo>
                  <a:cubicBezTo>
                    <a:pt x="153" y="34"/>
                    <a:pt x="153" y="36"/>
                    <a:pt x="151" y="37"/>
                  </a:cubicBezTo>
                  <a:cubicBezTo>
                    <a:pt x="150" y="37"/>
                    <a:pt x="150" y="36"/>
                    <a:pt x="149" y="38"/>
                  </a:cubicBezTo>
                  <a:cubicBezTo>
                    <a:pt x="148" y="39"/>
                    <a:pt x="148" y="41"/>
                    <a:pt x="147" y="42"/>
                  </a:cubicBezTo>
                  <a:cubicBezTo>
                    <a:pt x="146" y="43"/>
                    <a:pt x="145" y="42"/>
                    <a:pt x="144" y="42"/>
                  </a:cubicBezTo>
                  <a:cubicBezTo>
                    <a:pt x="145" y="42"/>
                    <a:pt x="146" y="42"/>
                    <a:pt x="147" y="41"/>
                  </a:cubicBezTo>
                  <a:cubicBezTo>
                    <a:pt x="148" y="40"/>
                    <a:pt x="148" y="39"/>
                    <a:pt x="148" y="38"/>
                  </a:cubicBezTo>
                  <a:cubicBezTo>
                    <a:pt x="149" y="37"/>
                    <a:pt x="149" y="36"/>
                    <a:pt x="151" y="36"/>
                  </a:cubicBezTo>
                  <a:cubicBezTo>
                    <a:pt x="153" y="36"/>
                    <a:pt x="152" y="35"/>
                    <a:pt x="151" y="35"/>
                  </a:cubicBezTo>
                  <a:cubicBezTo>
                    <a:pt x="149" y="34"/>
                    <a:pt x="147" y="34"/>
                    <a:pt x="145" y="35"/>
                  </a:cubicBezTo>
                  <a:cubicBezTo>
                    <a:pt x="144" y="36"/>
                    <a:pt x="143" y="37"/>
                    <a:pt x="142" y="38"/>
                  </a:cubicBezTo>
                  <a:cubicBezTo>
                    <a:pt x="141" y="39"/>
                    <a:pt x="141" y="40"/>
                    <a:pt x="141" y="40"/>
                  </a:cubicBezTo>
                  <a:cubicBezTo>
                    <a:pt x="140" y="40"/>
                    <a:pt x="142" y="38"/>
                    <a:pt x="142" y="38"/>
                  </a:cubicBezTo>
                  <a:cubicBezTo>
                    <a:pt x="143" y="37"/>
                    <a:pt x="143" y="36"/>
                    <a:pt x="144" y="36"/>
                  </a:cubicBezTo>
                  <a:cubicBezTo>
                    <a:pt x="145" y="35"/>
                    <a:pt x="146" y="34"/>
                    <a:pt x="147" y="34"/>
                  </a:cubicBezTo>
                  <a:cubicBezTo>
                    <a:pt x="148" y="34"/>
                    <a:pt x="149" y="34"/>
                    <a:pt x="150" y="34"/>
                  </a:cubicBezTo>
                  <a:cubicBezTo>
                    <a:pt x="151" y="34"/>
                    <a:pt x="152" y="34"/>
                    <a:pt x="153" y="34"/>
                  </a:cubicBezTo>
                  <a:cubicBezTo>
                    <a:pt x="154" y="33"/>
                    <a:pt x="155" y="33"/>
                    <a:pt x="155" y="31"/>
                  </a:cubicBezTo>
                  <a:cubicBezTo>
                    <a:pt x="155" y="31"/>
                    <a:pt x="153" y="29"/>
                    <a:pt x="153" y="28"/>
                  </a:cubicBezTo>
                  <a:cubicBezTo>
                    <a:pt x="152" y="27"/>
                    <a:pt x="152" y="27"/>
                    <a:pt x="151" y="27"/>
                  </a:cubicBezTo>
                  <a:cubicBezTo>
                    <a:pt x="150" y="27"/>
                    <a:pt x="149" y="26"/>
                    <a:pt x="148" y="26"/>
                  </a:cubicBezTo>
                  <a:cubicBezTo>
                    <a:pt x="147" y="26"/>
                    <a:pt x="146" y="25"/>
                    <a:pt x="145" y="25"/>
                  </a:cubicBezTo>
                  <a:cubicBezTo>
                    <a:pt x="144" y="26"/>
                    <a:pt x="144" y="26"/>
                    <a:pt x="143" y="26"/>
                  </a:cubicBezTo>
                  <a:cubicBezTo>
                    <a:pt x="142" y="27"/>
                    <a:pt x="143" y="26"/>
                    <a:pt x="143" y="25"/>
                  </a:cubicBezTo>
                  <a:cubicBezTo>
                    <a:pt x="142" y="25"/>
                    <a:pt x="141" y="25"/>
                    <a:pt x="140" y="25"/>
                  </a:cubicBezTo>
                  <a:cubicBezTo>
                    <a:pt x="140" y="25"/>
                    <a:pt x="139" y="25"/>
                    <a:pt x="139" y="25"/>
                  </a:cubicBezTo>
                  <a:cubicBezTo>
                    <a:pt x="139" y="25"/>
                    <a:pt x="138" y="25"/>
                    <a:pt x="138" y="24"/>
                  </a:cubicBezTo>
                  <a:cubicBezTo>
                    <a:pt x="138" y="24"/>
                    <a:pt x="138" y="24"/>
                    <a:pt x="138" y="24"/>
                  </a:cubicBezTo>
                  <a:cubicBezTo>
                    <a:pt x="136" y="21"/>
                    <a:pt x="130" y="22"/>
                    <a:pt x="127" y="23"/>
                  </a:cubicBezTo>
                  <a:cubicBezTo>
                    <a:pt x="125" y="24"/>
                    <a:pt x="123" y="24"/>
                    <a:pt x="121" y="25"/>
                  </a:cubicBezTo>
                  <a:cubicBezTo>
                    <a:pt x="120" y="26"/>
                    <a:pt x="118" y="27"/>
                    <a:pt x="119" y="28"/>
                  </a:cubicBezTo>
                  <a:cubicBezTo>
                    <a:pt x="119" y="29"/>
                    <a:pt x="121" y="30"/>
                    <a:pt x="122" y="30"/>
                  </a:cubicBezTo>
                  <a:cubicBezTo>
                    <a:pt x="124" y="31"/>
                    <a:pt x="126" y="32"/>
                    <a:pt x="128" y="33"/>
                  </a:cubicBezTo>
                  <a:cubicBezTo>
                    <a:pt x="129" y="33"/>
                    <a:pt x="130" y="33"/>
                    <a:pt x="131" y="33"/>
                  </a:cubicBezTo>
                  <a:cubicBezTo>
                    <a:pt x="132" y="33"/>
                    <a:pt x="133" y="34"/>
                    <a:pt x="134" y="34"/>
                  </a:cubicBezTo>
                  <a:cubicBezTo>
                    <a:pt x="133" y="34"/>
                    <a:pt x="132" y="33"/>
                    <a:pt x="130" y="33"/>
                  </a:cubicBezTo>
                  <a:cubicBezTo>
                    <a:pt x="130" y="33"/>
                    <a:pt x="129" y="33"/>
                    <a:pt x="129" y="33"/>
                  </a:cubicBezTo>
                  <a:cubicBezTo>
                    <a:pt x="128" y="34"/>
                    <a:pt x="128" y="34"/>
                    <a:pt x="128" y="35"/>
                  </a:cubicBezTo>
                  <a:cubicBezTo>
                    <a:pt x="128" y="33"/>
                    <a:pt x="128" y="33"/>
                    <a:pt x="126" y="32"/>
                  </a:cubicBezTo>
                  <a:cubicBezTo>
                    <a:pt x="126" y="32"/>
                    <a:pt x="125" y="32"/>
                    <a:pt x="125" y="32"/>
                  </a:cubicBezTo>
                  <a:cubicBezTo>
                    <a:pt x="125" y="32"/>
                    <a:pt x="124" y="32"/>
                    <a:pt x="124" y="32"/>
                  </a:cubicBezTo>
                  <a:cubicBezTo>
                    <a:pt x="124" y="32"/>
                    <a:pt x="124" y="31"/>
                    <a:pt x="124" y="31"/>
                  </a:cubicBezTo>
                  <a:cubicBezTo>
                    <a:pt x="123" y="31"/>
                    <a:pt x="122" y="31"/>
                    <a:pt x="121" y="31"/>
                  </a:cubicBezTo>
                  <a:cubicBezTo>
                    <a:pt x="119" y="30"/>
                    <a:pt x="120" y="31"/>
                    <a:pt x="119" y="32"/>
                  </a:cubicBezTo>
                  <a:cubicBezTo>
                    <a:pt x="119" y="32"/>
                    <a:pt x="119" y="30"/>
                    <a:pt x="118" y="30"/>
                  </a:cubicBezTo>
                  <a:cubicBezTo>
                    <a:pt x="118" y="30"/>
                    <a:pt x="116" y="30"/>
                    <a:pt x="116" y="30"/>
                  </a:cubicBezTo>
                  <a:cubicBezTo>
                    <a:pt x="115" y="31"/>
                    <a:pt x="116" y="33"/>
                    <a:pt x="117" y="33"/>
                  </a:cubicBezTo>
                  <a:cubicBezTo>
                    <a:pt x="118" y="34"/>
                    <a:pt x="119" y="34"/>
                    <a:pt x="120" y="34"/>
                  </a:cubicBezTo>
                  <a:cubicBezTo>
                    <a:pt x="120" y="35"/>
                    <a:pt x="121" y="36"/>
                    <a:pt x="121" y="36"/>
                  </a:cubicBezTo>
                  <a:cubicBezTo>
                    <a:pt x="121" y="38"/>
                    <a:pt x="122" y="37"/>
                    <a:pt x="123" y="37"/>
                  </a:cubicBezTo>
                  <a:cubicBezTo>
                    <a:pt x="123" y="37"/>
                    <a:pt x="124" y="38"/>
                    <a:pt x="125" y="39"/>
                  </a:cubicBezTo>
                  <a:cubicBezTo>
                    <a:pt x="125" y="40"/>
                    <a:pt x="126" y="40"/>
                    <a:pt x="127" y="40"/>
                  </a:cubicBezTo>
                  <a:cubicBezTo>
                    <a:pt x="124" y="41"/>
                    <a:pt x="124" y="37"/>
                    <a:pt x="122" y="37"/>
                  </a:cubicBezTo>
                  <a:cubicBezTo>
                    <a:pt x="120" y="37"/>
                    <a:pt x="122" y="39"/>
                    <a:pt x="122" y="39"/>
                  </a:cubicBezTo>
                  <a:cubicBezTo>
                    <a:pt x="123" y="40"/>
                    <a:pt x="124" y="40"/>
                    <a:pt x="125" y="41"/>
                  </a:cubicBezTo>
                  <a:cubicBezTo>
                    <a:pt x="123" y="41"/>
                    <a:pt x="122" y="40"/>
                    <a:pt x="121" y="39"/>
                  </a:cubicBezTo>
                  <a:cubicBezTo>
                    <a:pt x="120" y="37"/>
                    <a:pt x="120" y="36"/>
                    <a:pt x="119" y="35"/>
                  </a:cubicBezTo>
                  <a:cubicBezTo>
                    <a:pt x="118" y="34"/>
                    <a:pt x="117" y="34"/>
                    <a:pt x="116" y="34"/>
                  </a:cubicBezTo>
                  <a:cubicBezTo>
                    <a:pt x="115" y="34"/>
                    <a:pt x="115" y="34"/>
                    <a:pt x="115" y="35"/>
                  </a:cubicBezTo>
                  <a:cubicBezTo>
                    <a:pt x="115" y="37"/>
                    <a:pt x="116" y="37"/>
                    <a:pt x="117" y="38"/>
                  </a:cubicBezTo>
                  <a:cubicBezTo>
                    <a:pt x="117" y="38"/>
                    <a:pt x="118" y="38"/>
                    <a:pt x="118" y="38"/>
                  </a:cubicBezTo>
                  <a:cubicBezTo>
                    <a:pt x="118" y="38"/>
                    <a:pt x="118" y="39"/>
                    <a:pt x="119" y="39"/>
                  </a:cubicBezTo>
                  <a:cubicBezTo>
                    <a:pt x="118" y="39"/>
                    <a:pt x="117" y="38"/>
                    <a:pt x="116" y="38"/>
                  </a:cubicBezTo>
                  <a:cubicBezTo>
                    <a:pt x="114" y="37"/>
                    <a:pt x="114" y="37"/>
                    <a:pt x="112" y="37"/>
                  </a:cubicBezTo>
                  <a:cubicBezTo>
                    <a:pt x="111" y="38"/>
                    <a:pt x="113" y="36"/>
                    <a:pt x="114" y="35"/>
                  </a:cubicBezTo>
                  <a:cubicBezTo>
                    <a:pt x="114" y="34"/>
                    <a:pt x="115" y="33"/>
                    <a:pt x="114" y="32"/>
                  </a:cubicBezTo>
                  <a:cubicBezTo>
                    <a:pt x="114" y="31"/>
                    <a:pt x="112" y="30"/>
                    <a:pt x="111" y="29"/>
                  </a:cubicBezTo>
                  <a:cubicBezTo>
                    <a:pt x="110" y="29"/>
                    <a:pt x="109" y="31"/>
                    <a:pt x="108" y="31"/>
                  </a:cubicBezTo>
                  <a:cubicBezTo>
                    <a:pt x="108" y="32"/>
                    <a:pt x="107" y="32"/>
                    <a:pt x="107" y="32"/>
                  </a:cubicBezTo>
                  <a:cubicBezTo>
                    <a:pt x="107" y="32"/>
                    <a:pt x="107" y="33"/>
                    <a:pt x="106" y="32"/>
                  </a:cubicBezTo>
                  <a:cubicBezTo>
                    <a:pt x="106" y="32"/>
                    <a:pt x="106" y="32"/>
                    <a:pt x="107" y="32"/>
                  </a:cubicBezTo>
                  <a:cubicBezTo>
                    <a:pt x="108" y="31"/>
                    <a:pt x="108" y="30"/>
                    <a:pt x="107" y="29"/>
                  </a:cubicBezTo>
                  <a:cubicBezTo>
                    <a:pt x="106" y="29"/>
                    <a:pt x="107" y="29"/>
                    <a:pt x="106" y="28"/>
                  </a:cubicBezTo>
                  <a:cubicBezTo>
                    <a:pt x="106" y="28"/>
                    <a:pt x="107" y="27"/>
                    <a:pt x="106" y="28"/>
                  </a:cubicBezTo>
                  <a:cubicBezTo>
                    <a:pt x="106" y="26"/>
                    <a:pt x="104" y="29"/>
                    <a:pt x="104" y="29"/>
                  </a:cubicBezTo>
                  <a:cubicBezTo>
                    <a:pt x="104" y="29"/>
                    <a:pt x="102" y="30"/>
                    <a:pt x="102" y="30"/>
                  </a:cubicBezTo>
                  <a:cubicBezTo>
                    <a:pt x="102" y="32"/>
                    <a:pt x="106" y="33"/>
                    <a:pt x="107" y="34"/>
                  </a:cubicBezTo>
                  <a:cubicBezTo>
                    <a:pt x="105" y="34"/>
                    <a:pt x="104" y="33"/>
                    <a:pt x="102" y="32"/>
                  </a:cubicBezTo>
                  <a:cubicBezTo>
                    <a:pt x="102" y="31"/>
                    <a:pt x="101" y="31"/>
                    <a:pt x="101" y="32"/>
                  </a:cubicBezTo>
                  <a:cubicBezTo>
                    <a:pt x="101" y="32"/>
                    <a:pt x="101" y="33"/>
                    <a:pt x="100" y="33"/>
                  </a:cubicBezTo>
                  <a:cubicBezTo>
                    <a:pt x="100" y="33"/>
                    <a:pt x="100" y="33"/>
                    <a:pt x="99" y="33"/>
                  </a:cubicBezTo>
                  <a:cubicBezTo>
                    <a:pt x="99" y="34"/>
                    <a:pt x="101" y="35"/>
                    <a:pt x="99" y="36"/>
                  </a:cubicBezTo>
                  <a:cubicBezTo>
                    <a:pt x="99" y="36"/>
                    <a:pt x="98" y="37"/>
                    <a:pt x="97" y="37"/>
                  </a:cubicBezTo>
                  <a:cubicBezTo>
                    <a:pt x="96" y="37"/>
                    <a:pt x="96" y="39"/>
                    <a:pt x="94" y="39"/>
                  </a:cubicBezTo>
                  <a:cubicBezTo>
                    <a:pt x="95" y="38"/>
                    <a:pt x="96" y="37"/>
                    <a:pt x="95" y="36"/>
                  </a:cubicBezTo>
                  <a:cubicBezTo>
                    <a:pt x="95" y="36"/>
                    <a:pt x="94" y="36"/>
                    <a:pt x="93" y="36"/>
                  </a:cubicBezTo>
                  <a:cubicBezTo>
                    <a:pt x="93" y="35"/>
                    <a:pt x="94" y="35"/>
                    <a:pt x="95" y="35"/>
                  </a:cubicBezTo>
                  <a:cubicBezTo>
                    <a:pt x="96" y="35"/>
                    <a:pt x="96" y="35"/>
                    <a:pt x="97" y="35"/>
                  </a:cubicBezTo>
                  <a:cubicBezTo>
                    <a:pt x="99" y="36"/>
                    <a:pt x="97" y="35"/>
                    <a:pt x="96" y="34"/>
                  </a:cubicBezTo>
                  <a:cubicBezTo>
                    <a:pt x="96" y="34"/>
                    <a:pt x="95" y="33"/>
                    <a:pt x="94" y="33"/>
                  </a:cubicBezTo>
                  <a:cubicBezTo>
                    <a:pt x="95" y="33"/>
                    <a:pt x="95" y="33"/>
                    <a:pt x="95" y="32"/>
                  </a:cubicBezTo>
                  <a:cubicBezTo>
                    <a:pt x="96" y="31"/>
                    <a:pt x="96" y="30"/>
                    <a:pt x="97" y="30"/>
                  </a:cubicBezTo>
                  <a:cubicBezTo>
                    <a:pt x="98" y="29"/>
                    <a:pt x="98" y="30"/>
                    <a:pt x="98" y="29"/>
                  </a:cubicBezTo>
                  <a:cubicBezTo>
                    <a:pt x="99" y="28"/>
                    <a:pt x="99" y="27"/>
                    <a:pt x="98" y="27"/>
                  </a:cubicBezTo>
                  <a:cubicBezTo>
                    <a:pt x="97" y="26"/>
                    <a:pt x="94" y="29"/>
                    <a:pt x="94" y="30"/>
                  </a:cubicBezTo>
                  <a:cubicBezTo>
                    <a:pt x="93" y="31"/>
                    <a:pt x="91" y="32"/>
                    <a:pt x="90" y="32"/>
                  </a:cubicBezTo>
                  <a:cubicBezTo>
                    <a:pt x="90" y="32"/>
                    <a:pt x="91" y="31"/>
                    <a:pt x="92" y="31"/>
                  </a:cubicBezTo>
                  <a:cubicBezTo>
                    <a:pt x="92" y="31"/>
                    <a:pt x="92" y="30"/>
                    <a:pt x="92" y="30"/>
                  </a:cubicBezTo>
                  <a:cubicBezTo>
                    <a:pt x="92" y="30"/>
                    <a:pt x="93" y="30"/>
                    <a:pt x="93" y="29"/>
                  </a:cubicBezTo>
                  <a:cubicBezTo>
                    <a:pt x="94" y="28"/>
                    <a:pt x="95" y="27"/>
                    <a:pt x="96" y="27"/>
                  </a:cubicBezTo>
                  <a:cubicBezTo>
                    <a:pt x="96" y="26"/>
                    <a:pt x="97" y="26"/>
                    <a:pt x="97" y="26"/>
                  </a:cubicBezTo>
                  <a:cubicBezTo>
                    <a:pt x="98" y="26"/>
                    <a:pt x="98" y="25"/>
                    <a:pt x="98" y="25"/>
                  </a:cubicBezTo>
                  <a:cubicBezTo>
                    <a:pt x="98" y="24"/>
                    <a:pt x="101" y="22"/>
                    <a:pt x="101" y="22"/>
                  </a:cubicBezTo>
                  <a:cubicBezTo>
                    <a:pt x="100" y="21"/>
                    <a:pt x="97" y="20"/>
                    <a:pt x="97" y="18"/>
                  </a:cubicBezTo>
                  <a:cubicBezTo>
                    <a:pt x="97" y="17"/>
                    <a:pt x="99" y="15"/>
                    <a:pt x="96" y="14"/>
                  </a:cubicBezTo>
                  <a:cubicBezTo>
                    <a:pt x="95" y="13"/>
                    <a:pt x="91" y="13"/>
                    <a:pt x="91" y="11"/>
                  </a:cubicBezTo>
                  <a:cubicBezTo>
                    <a:pt x="91" y="10"/>
                    <a:pt x="92" y="9"/>
                    <a:pt x="91" y="8"/>
                  </a:cubicBezTo>
                  <a:cubicBezTo>
                    <a:pt x="91" y="7"/>
                    <a:pt x="91" y="6"/>
                    <a:pt x="90" y="6"/>
                  </a:cubicBezTo>
                  <a:cubicBezTo>
                    <a:pt x="90" y="5"/>
                    <a:pt x="89" y="5"/>
                    <a:pt x="89" y="5"/>
                  </a:cubicBezTo>
                  <a:cubicBezTo>
                    <a:pt x="89" y="4"/>
                    <a:pt x="89" y="4"/>
                    <a:pt x="88" y="3"/>
                  </a:cubicBezTo>
                  <a:cubicBezTo>
                    <a:pt x="87" y="3"/>
                    <a:pt x="86" y="3"/>
                    <a:pt x="85" y="3"/>
                  </a:cubicBezTo>
                  <a:cubicBezTo>
                    <a:pt x="83" y="3"/>
                    <a:pt x="82" y="3"/>
                    <a:pt x="80" y="3"/>
                  </a:cubicBezTo>
                  <a:cubicBezTo>
                    <a:pt x="78" y="3"/>
                    <a:pt x="76" y="3"/>
                    <a:pt x="75" y="3"/>
                  </a:cubicBezTo>
                  <a:cubicBezTo>
                    <a:pt x="74" y="3"/>
                    <a:pt x="73" y="4"/>
                    <a:pt x="72" y="5"/>
                  </a:cubicBezTo>
                  <a:cubicBezTo>
                    <a:pt x="71" y="5"/>
                    <a:pt x="70" y="5"/>
                    <a:pt x="69" y="5"/>
                  </a:cubicBezTo>
                  <a:cubicBezTo>
                    <a:pt x="68" y="6"/>
                    <a:pt x="66" y="6"/>
                    <a:pt x="64" y="7"/>
                  </a:cubicBezTo>
                  <a:cubicBezTo>
                    <a:pt x="64" y="7"/>
                    <a:pt x="63" y="7"/>
                    <a:pt x="63" y="7"/>
                  </a:cubicBezTo>
                  <a:cubicBezTo>
                    <a:pt x="63" y="8"/>
                    <a:pt x="65" y="8"/>
                    <a:pt x="65" y="8"/>
                  </a:cubicBezTo>
                  <a:cubicBezTo>
                    <a:pt x="67" y="9"/>
                    <a:pt x="67" y="9"/>
                    <a:pt x="66" y="11"/>
                  </a:cubicBezTo>
                  <a:cubicBezTo>
                    <a:pt x="65" y="9"/>
                    <a:pt x="63" y="8"/>
                    <a:pt x="61" y="8"/>
                  </a:cubicBezTo>
                  <a:cubicBezTo>
                    <a:pt x="60" y="8"/>
                    <a:pt x="59" y="9"/>
                    <a:pt x="58" y="9"/>
                  </a:cubicBezTo>
                  <a:cubicBezTo>
                    <a:pt x="57" y="9"/>
                    <a:pt x="57" y="9"/>
                    <a:pt x="57" y="10"/>
                  </a:cubicBezTo>
                  <a:cubicBezTo>
                    <a:pt x="57" y="11"/>
                    <a:pt x="59" y="12"/>
                    <a:pt x="59" y="13"/>
                  </a:cubicBezTo>
                  <a:cubicBezTo>
                    <a:pt x="58" y="13"/>
                    <a:pt x="57" y="12"/>
                    <a:pt x="56" y="11"/>
                  </a:cubicBezTo>
                  <a:cubicBezTo>
                    <a:pt x="55" y="11"/>
                    <a:pt x="56" y="10"/>
                    <a:pt x="54" y="10"/>
                  </a:cubicBezTo>
                  <a:cubicBezTo>
                    <a:pt x="53" y="10"/>
                    <a:pt x="53" y="10"/>
                    <a:pt x="53" y="11"/>
                  </a:cubicBezTo>
                  <a:cubicBezTo>
                    <a:pt x="53" y="11"/>
                    <a:pt x="53" y="11"/>
                    <a:pt x="53" y="11"/>
                  </a:cubicBezTo>
                  <a:cubicBezTo>
                    <a:pt x="52" y="11"/>
                    <a:pt x="52" y="11"/>
                    <a:pt x="52" y="11"/>
                  </a:cubicBezTo>
                  <a:cubicBezTo>
                    <a:pt x="52" y="11"/>
                    <a:pt x="52" y="11"/>
                    <a:pt x="52" y="11"/>
                  </a:cubicBezTo>
                  <a:cubicBezTo>
                    <a:pt x="53" y="10"/>
                    <a:pt x="53" y="10"/>
                    <a:pt x="53" y="9"/>
                  </a:cubicBezTo>
                  <a:cubicBezTo>
                    <a:pt x="53" y="8"/>
                    <a:pt x="53" y="5"/>
                    <a:pt x="53" y="5"/>
                  </a:cubicBezTo>
                  <a:cubicBezTo>
                    <a:pt x="52" y="5"/>
                    <a:pt x="52" y="5"/>
                    <a:pt x="52" y="5"/>
                  </a:cubicBezTo>
                  <a:cubicBezTo>
                    <a:pt x="52" y="5"/>
                    <a:pt x="53" y="4"/>
                    <a:pt x="53" y="4"/>
                  </a:cubicBezTo>
                  <a:cubicBezTo>
                    <a:pt x="53" y="4"/>
                    <a:pt x="53" y="4"/>
                    <a:pt x="53" y="5"/>
                  </a:cubicBezTo>
                  <a:cubicBezTo>
                    <a:pt x="55" y="4"/>
                    <a:pt x="54" y="3"/>
                    <a:pt x="53" y="2"/>
                  </a:cubicBezTo>
                  <a:cubicBezTo>
                    <a:pt x="53" y="2"/>
                    <a:pt x="53" y="2"/>
                    <a:pt x="53" y="2"/>
                  </a:cubicBezTo>
                  <a:cubicBezTo>
                    <a:pt x="53" y="2"/>
                    <a:pt x="52" y="2"/>
                    <a:pt x="52" y="2"/>
                  </a:cubicBezTo>
                  <a:cubicBezTo>
                    <a:pt x="50" y="1"/>
                    <a:pt x="48" y="1"/>
                    <a:pt x="46" y="1"/>
                  </a:cubicBezTo>
                  <a:cubicBezTo>
                    <a:pt x="43" y="1"/>
                    <a:pt x="39" y="0"/>
                    <a:pt x="35" y="1"/>
                  </a:cubicBezTo>
                  <a:cubicBezTo>
                    <a:pt x="31" y="1"/>
                    <a:pt x="28" y="2"/>
                    <a:pt x="24" y="4"/>
                  </a:cubicBezTo>
                  <a:cubicBezTo>
                    <a:pt x="23" y="4"/>
                    <a:pt x="21" y="5"/>
                    <a:pt x="20" y="6"/>
                  </a:cubicBezTo>
                  <a:cubicBezTo>
                    <a:pt x="18" y="7"/>
                    <a:pt x="17" y="8"/>
                    <a:pt x="16" y="9"/>
                  </a:cubicBezTo>
                  <a:cubicBezTo>
                    <a:pt x="15" y="9"/>
                    <a:pt x="14" y="10"/>
                    <a:pt x="13" y="11"/>
                  </a:cubicBezTo>
                  <a:cubicBezTo>
                    <a:pt x="14" y="11"/>
                    <a:pt x="15" y="11"/>
                    <a:pt x="15" y="12"/>
                  </a:cubicBezTo>
                  <a:cubicBezTo>
                    <a:pt x="14" y="12"/>
                    <a:pt x="13" y="11"/>
                    <a:pt x="12" y="12"/>
                  </a:cubicBezTo>
                  <a:cubicBezTo>
                    <a:pt x="11" y="12"/>
                    <a:pt x="11" y="13"/>
                    <a:pt x="11" y="13"/>
                  </a:cubicBezTo>
                  <a:cubicBezTo>
                    <a:pt x="11" y="14"/>
                    <a:pt x="10" y="14"/>
                    <a:pt x="10" y="14"/>
                  </a:cubicBezTo>
                  <a:cubicBezTo>
                    <a:pt x="9" y="15"/>
                    <a:pt x="9" y="16"/>
                    <a:pt x="9" y="17"/>
                  </a:cubicBezTo>
                  <a:cubicBezTo>
                    <a:pt x="8" y="18"/>
                    <a:pt x="8" y="18"/>
                    <a:pt x="8" y="18"/>
                  </a:cubicBezTo>
                  <a:cubicBezTo>
                    <a:pt x="8" y="19"/>
                    <a:pt x="9" y="19"/>
                    <a:pt x="9" y="19"/>
                  </a:cubicBezTo>
                  <a:cubicBezTo>
                    <a:pt x="9" y="20"/>
                    <a:pt x="8" y="20"/>
                    <a:pt x="8" y="20"/>
                  </a:cubicBezTo>
                  <a:cubicBezTo>
                    <a:pt x="8" y="20"/>
                    <a:pt x="8" y="20"/>
                    <a:pt x="8" y="21"/>
                  </a:cubicBezTo>
                  <a:cubicBezTo>
                    <a:pt x="8" y="21"/>
                    <a:pt x="8" y="22"/>
                    <a:pt x="8" y="22"/>
                  </a:cubicBezTo>
                  <a:cubicBezTo>
                    <a:pt x="8" y="23"/>
                    <a:pt x="8" y="22"/>
                    <a:pt x="7" y="22"/>
                  </a:cubicBezTo>
                  <a:cubicBezTo>
                    <a:pt x="5" y="22"/>
                    <a:pt x="6" y="22"/>
                    <a:pt x="6" y="24"/>
                  </a:cubicBezTo>
                  <a:cubicBezTo>
                    <a:pt x="6" y="26"/>
                    <a:pt x="5" y="24"/>
                    <a:pt x="4" y="25"/>
                  </a:cubicBezTo>
                  <a:cubicBezTo>
                    <a:pt x="4" y="26"/>
                    <a:pt x="4" y="27"/>
                    <a:pt x="4" y="28"/>
                  </a:cubicBezTo>
                  <a:cubicBezTo>
                    <a:pt x="3" y="28"/>
                    <a:pt x="3" y="28"/>
                    <a:pt x="3" y="28"/>
                  </a:cubicBezTo>
                  <a:cubicBezTo>
                    <a:pt x="2" y="29"/>
                    <a:pt x="3" y="29"/>
                    <a:pt x="3" y="30"/>
                  </a:cubicBezTo>
                  <a:cubicBezTo>
                    <a:pt x="3" y="30"/>
                    <a:pt x="2" y="31"/>
                    <a:pt x="2" y="32"/>
                  </a:cubicBezTo>
                  <a:cubicBezTo>
                    <a:pt x="3" y="33"/>
                    <a:pt x="6" y="33"/>
                    <a:pt x="5" y="34"/>
                  </a:cubicBezTo>
                  <a:cubicBezTo>
                    <a:pt x="5" y="34"/>
                    <a:pt x="3" y="35"/>
                    <a:pt x="2" y="35"/>
                  </a:cubicBezTo>
                  <a:cubicBezTo>
                    <a:pt x="1" y="35"/>
                    <a:pt x="2" y="36"/>
                    <a:pt x="2" y="37"/>
                  </a:cubicBezTo>
                  <a:cubicBezTo>
                    <a:pt x="1" y="38"/>
                    <a:pt x="0" y="38"/>
                    <a:pt x="1" y="39"/>
                  </a:cubicBezTo>
                  <a:cubicBezTo>
                    <a:pt x="2" y="40"/>
                    <a:pt x="2" y="41"/>
                    <a:pt x="3" y="42"/>
                  </a:cubicBezTo>
                  <a:cubicBezTo>
                    <a:pt x="3" y="43"/>
                    <a:pt x="2" y="43"/>
                    <a:pt x="2" y="43"/>
                  </a:cubicBezTo>
                  <a:cubicBezTo>
                    <a:pt x="1" y="44"/>
                    <a:pt x="2" y="46"/>
                    <a:pt x="2" y="46"/>
                  </a:cubicBezTo>
                  <a:cubicBezTo>
                    <a:pt x="2" y="48"/>
                    <a:pt x="2" y="49"/>
                    <a:pt x="5" y="49"/>
                  </a:cubicBezTo>
                  <a:cubicBezTo>
                    <a:pt x="6" y="50"/>
                    <a:pt x="8" y="50"/>
                    <a:pt x="9" y="50"/>
                  </a:cubicBezTo>
                  <a:cubicBezTo>
                    <a:pt x="12" y="50"/>
                    <a:pt x="14" y="51"/>
                    <a:pt x="16" y="51"/>
                  </a:cubicBezTo>
                  <a:cubicBezTo>
                    <a:pt x="18" y="51"/>
                    <a:pt x="20" y="52"/>
                    <a:pt x="22" y="51"/>
                  </a:cubicBezTo>
                  <a:cubicBezTo>
                    <a:pt x="23" y="51"/>
                    <a:pt x="23" y="50"/>
                    <a:pt x="25" y="52"/>
                  </a:cubicBezTo>
                  <a:cubicBezTo>
                    <a:pt x="26" y="53"/>
                    <a:pt x="28" y="54"/>
                    <a:pt x="29" y="55"/>
                  </a:cubicBezTo>
                  <a:cubicBezTo>
                    <a:pt x="30" y="55"/>
                    <a:pt x="31" y="55"/>
                    <a:pt x="32" y="56"/>
                  </a:cubicBezTo>
                  <a:cubicBezTo>
                    <a:pt x="31" y="56"/>
                    <a:pt x="30" y="55"/>
                    <a:pt x="30" y="55"/>
                  </a:cubicBezTo>
                  <a:cubicBezTo>
                    <a:pt x="29" y="55"/>
                    <a:pt x="29" y="56"/>
                    <a:pt x="29" y="56"/>
                  </a:cubicBezTo>
                  <a:cubicBezTo>
                    <a:pt x="28" y="57"/>
                    <a:pt x="26" y="56"/>
                    <a:pt x="25" y="56"/>
                  </a:cubicBezTo>
                  <a:cubicBezTo>
                    <a:pt x="23" y="56"/>
                    <a:pt x="21" y="57"/>
                    <a:pt x="19" y="56"/>
                  </a:cubicBezTo>
                  <a:cubicBezTo>
                    <a:pt x="18" y="56"/>
                    <a:pt x="17" y="55"/>
                    <a:pt x="16" y="55"/>
                  </a:cubicBezTo>
                  <a:cubicBezTo>
                    <a:pt x="15" y="55"/>
                    <a:pt x="15" y="55"/>
                    <a:pt x="14" y="55"/>
                  </a:cubicBezTo>
                  <a:cubicBezTo>
                    <a:pt x="13" y="55"/>
                    <a:pt x="13" y="55"/>
                    <a:pt x="12" y="55"/>
                  </a:cubicBezTo>
                  <a:cubicBezTo>
                    <a:pt x="11" y="55"/>
                    <a:pt x="10" y="55"/>
                    <a:pt x="9" y="54"/>
                  </a:cubicBezTo>
                  <a:cubicBezTo>
                    <a:pt x="9" y="54"/>
                    <a:pt x="7" y="53"/>
                    <a:pt x="6" y="54"/>
                  </a:cubicBezTo>
                  <a:cubicBezTo>
                    <a:pt x="6" y="54"/>
                    <a:pt x="6" y="54"/>
                    <a:pt x="6" y="54"/>
                  </a:cubicBezTo>
                  <a:cubicBezTo>
                    <a:pt x="7" y="55"/>
                    <a:pt x="8" y="56"/>
                    <a:pt x="8" y="57"/>
                  </a:cubicBezTo>
                  <a:cubicBezTo>
                    <a:pt x="6" y="57"/>
                    <a:pt x="9" y="59"/>
                    <a:pt x="9" y="60"/>
                  </a:cubicBezTo>
                  <a:cubicBezTo>
                    <a:pt x="12" y="62"/>
                    <a:pt x="14" y="63"/>
                    <a:pt x="16" y="65"/>
                  </a:cubicBezTo>
                  <a:cubicBezTo>
                    <a:pt x="17" y="66"/>
                    <a:pt x="19" y="66"/>
                    <a:pt x="20" y="67"/>
                  </a:cubicBezTo>
                  <a:cubicBezTo>
                    <a:pt x="21" y="67"/>
                    <a:pt x="22" y="68"/>
                    <a:pt x="23" y="68"/>
                  </a:cubicBezTo>
                  <a:cubicBezTo>
                    <a:pt x="22" y="68"/>
                    <a:pt x="21" y="68"/>
                    <a:pt x="19" y="68"/>
                  </a:cubicBezTo>
                  <a:cubicBezTo>
                    <a:pt x="21" y="69"/>
                    <a:pt x="23" y="70"/>
                    <a:pt x="25" y="69"/>
                  </a:cubicBezTo>
                  <a:cubicBezTo>
                    <a:pt x="25" y="69"/>
                    <a:pt x="26" y="69"/>
                    <a:pt x="26" y="69"/>
                  </a:cubicBezTo>
                  <a:cubicBezTo>
                    <a:pt x="26" y="69"/>
                    <a:pt x="26" y="68"/>
                    <a:pt x="26" y="68"/>
                  </a:cubicBezTo>
                  <a:cubicBezTo>
                    <a:pt x="26" y="68"/>
                    <a:pt x="27" y="68"/>
                    <a:pt x="28" y="68"/>
                  </a:cubicBezTo>
                  <a:cubicBezTo>
                    <a:pt x="29" y="68"/>
                    <a:pt x="31" y="69"/>
                    <a:pt x="32" y="69"/>
                  </a:cubicBezTo>
                  <a:cubicBezTo>
                    <a:pt x="34" y="68"/>
                    <a:pt x="31" y="67"/>
                    <a:pt x="30" y="67"/>
                  </a:cubicBezTo>
                  <a:cubicBezTo>
                    <a:pt x="31" y="66"/>
                    <a:pt x="32" y="65"/>
                    <a:pt x="33" y="66"/>
                  </a:cubicBezTo>
                  <a:cubicBezTo>
                    <a:pt x="36" y="67"/>
                    <a:pt x="33" y="67"/>
                    <a:pt x="33" y="68"/>
                  </a:cubicBezTo>
                  <a:cubicBezTo>
                    <a:pt x="33" y="68"/>
                    <a:pt x="36" y="68"/>
                    <a:pt x="36" y="68"/>
                  </a:cubicBezTo>
                  <a:cubicBezTo>
                    <a:pt x="36" y="68"/>
                    <a:pt x="36" y="67"/>
                    <a:pt x="36" y="67"/>
                  </a:cubicBezTo>
                  <a:cubicBezTo>
                    <a:pt x="36" y="67"/>
                    <a:pt x="36" y="66"/>
                    <a:pt x="37" y="66"/>
                  </a:cubicBezTo>
                  <a:cubicBezTo>
                    <a:pt x="37" y="66"/>
                    <a:pt x="40" y="66"/>
                    <a:pt x="39" y="64"/>
                  </a:cubicBezTo>
                  <a:cubicBezTo>
                    <a:pt x="40" y="65"/>
                    <a:pt x="37" y="67"/>
                    <a:pt x="37" y="68"/>
                  </a:cubicBezTo>
                  <a:cubicBezTo>
                    <a:pt x="36" y="70"/>
                    <a:pt x="40" y="72"/>
                    <a:pt x="42" y="73"/>
                  </a:cubicBezTo>
                  <a:cubicBezTo>
                    <a:pt x="43" y="74"/>
                    <a:pt x="44" y="74"/>
                    <a:pt x="46" y="74"/>
                  </a:cubicBezTo>
                  <a:cubicBezTo>
                    <a:pt x="47" y="74"/>
                    <a:pt x="49" y="74"/>
                    <a:pt x="50" y="74"/>
                  </a:cubicBezTo>
                  <a:cubicBezTo>
                    <a:pt x="49" y="73"/>
                    <a:pt x="46" y="72"/>
                    <a:pt x="44" y="73"/>
                  </a:cubicBezTo>
                  <a:cubicBezTo>
                    <a:pt x="45" y="71"/>
                    <a:pt x="51" y="72"/>
                    <a:pt x="53" y="73"/>
                  </a:cubicBezTo>
                  <a:cubicBezTo>
                    <a:pt x="53" y="73"/>
                    <a:pt x="53" y="73"/>
                    <a:pt x="53" y="72"/>
                  </a:cubicBezTo>
                  <a:cubicBezTo>
                    <a:pt x="53" y="73"/>
                    <a:pt x="53" y="73"/>
                    <a:pt x="53" y="73"/>
                  </a:cubicBezTo>
                  <a:cubicBezTo>
                    <a:pt x="54" y="73"/>
                    <a:pt x="54" y="72"/>
                    <a:pt x="54" y="72"/>
                  </a:cubicBezTo>
                  <a:cubicBezTo>
                    <a:pt x="55" y="72"/>
                    <a:pt x="56" y="73"/>
                    <a:pt x="57" y="74"/>
                  </a:cubicBezTo>
                  <a:cubicBezTo>
                    <a:pt x="58" y="74"/>
                    <a:pt x="59" y="74"/>
                    <a:pt x="60" y="74"/>
                  </a:cubicBezTo>
                  <a:cubicBezTo>
                    <a:pt x="61" y="74"/>
                    <a:pt x="62" y="74"/>
                    <a:pt x="63" y="74"/>
                  </a:cubicBezTo>
                  <a:cubicBezTo>
                    <a:pt x="64" y="75"/>
                    <a:pt x="65" y="75"/>
                    <a:pt x="66" y="75"/>
                  </a:cubicBezTo>
                  <a:cubicBezTo>
                    <a:pt x="68" y="75"/>
                    <a:pt x="70" y="74"/>
                    <a:pt x="71" y="74"/>
                  </a:cubicBezTo>
                  <a:cubicBezTo>
                    <a:pt x="72" y="74"/>
                    <a:pt x="73" y="74"/>
                    <a:pt x="74" y="75"/>
                  </a:cubicBezTo>
                  <a:cubicBezTo>
                    <a:pt x="75" y="75"/>
                    <a:pt x="75" y="75"/>
                    <a:pt x="75" y="76"/>
                  </a:cubicBezTo>
                  <a:cubicBezTo>
                    <a:pt x="76" y="76"/>
                    <a:pt x="76" y="75"/>
                    <a:pt x="76" y="76"/>
                  </a:cubicBezTo>
                  <a:cubicBezTo>
                    <a:pt x="77" y="76"/>
                    <a:pt x="78" y="77"/>
                    <a:pt x="79" y="77"/>
                  </a:cubicBezTo>
                  <a:cubicBezTo>
                    <a:pt x="80" y="77"/>
                    <a:pt x="81" y="77"/>
                    <a:pt x="82" y="78"/>
                  </a:cubicBezTo>
                  <a:cubicBezTo>
                    <a:pt x="82" y="77"/>
                    <a:pt x="82" y="77"/>
                    <a:pt x="83" y="77"/>
                  </a:cubicBezTo>
                  <a:cubicBezTo>
                    <a:pt x="84" y="76"/>
                    <a:pt x="83" y="77"/>
                    <a:pt x="84" y="77"/>
                  </a:cubicBezTo>
                  <a:cubicBezTo>
                    <a:pt x="84" y="77"/>
                    <a:pt x="86" y="76"/>
                    <a:pt x="86" y="76"/>
                  </a:cubicBezTo>
                  <a:cubicBezTo>
                    <a:pt x="86" y="76"/>
                    <a:pt x="86" y="76"/>
                    <a:pt x="86" y="76"/>
                  </a:cubicBezTo>
                  <a:cubicBezTo>
                    <a:pt x="86" y="75"/>
                    <a:pt x="86" y="75"/>
                    <a:pt x="86" y="75"/>
                  </a:cubicBezTo>
                  <a:cubicBezTo>
                    <a:pt x="86" y="75"/>
                    <a:pt x="85" y="75"/>
                    <a:pt x="84" y="74"/>
                  </a:cubicBezTo>
                  <a:cubicBezTo>
                    <a:pt x="84" y="74"/>
                    <a:pt x="83" y="73"/>
                    <a:pt x="83" y="73"/>
                  </a:cubicBezTo>
                  <a:cubicBezTo>
                    <a:pt x="82" y="72"/>
                    <a:pt x="81" y="72"/>
                    <a:pt x="79" y="72"/>
                  </a:cubicBezTo>
                  <a:cubicBezTo>
                    <a:pt x="78" y="71"/>
                    <a:pt x="77" y="71"/>
                    <a:pt x="76" y="70"/>
                  </a:cubicBezTo>
                  <a:cubicBezTo>
                    <a:pt x="75" y="70"/>
                    <a:pt x="74" y="69"/>
                    <a:pt x="73" y="68"/>
                  </a:cubicBezTo>
                  <a:cubicBezTo>
                    <a:pt x="75" y="69"/>
                    <a:pt x="78" y="70"/>
                    <a:pt x="80" y="71"/>
                  </a:cubicBezTo>
                  <a:cubicBezTo>
                    <a:pt x="82" y="72"/>
                    <a:pt x="83" y="73"/>
                    <a:pt x="85" y="74"/>
                  </a:cubicBezTo>
                  <a:cubicBezTo>
                    <a:pt x="87" y="75"/>
                    <a:pt x="87" y="75"/>
                    <a:pt x="88" y="75"/>
                  </a:cubicBezTo>
                  <a:cubicBezTo>
                    <a:pt x="90" y="76"/>
                    <a:pt x="91" y="76"/>
                    <a:pt x="92" y="77"/>
                  </a:cubicBezTo>
                  <a:cubicBezTo>
                    <a:pt x="93" y="78"/>
                    <a:pt x="94" y="79"/>
                    <a:pt x="95" y="79"/>
                  </a:cubicBezTo>
                  <a:cubicBezTo>
                    <a:pt x="97" y="79"/>
                    <a:pt x="95" y="77"/>
                    <a:pt x="94" y="76"/>
                  </a:cubicBezTo>
                  <a:cubicBezTo>
                    <a:pt x="93" y="76"/>
                    <a:pt x="92" y="75"/>
                    <a:pt x="91" y="74"/>
                  </a:cubicBezTo>
                  <a:cubicBezTo>
                    <a:pt x="90" y="73"/>
                    <a:pt x="90" y="74"/>
                    <a:pt x="89" y="74"/>
                  </a:cubicBezTo>
                  <a:cubicBezTo>
                    <a:pt x="89" y="74"/>
                    <a:pt x="88" y="73"/>
                    <a:pt x="88" y="73"/>
                  </a:cubicBezTo>
                  <a:cubicBezTo>
                    <a:pt x="87" y="73"/>
                    <a:pt x="87" y="73"/>
                    <a:pt x="86" y="73"/>
                  </a:cubicBezTo>
                  <a:cubicBezTo>
                    <a:pt x="85" y="71"/>
                    <a:pt x="89" y="72"/>
                    <a:pt x="89" y="72"/>
                  </a:cubicBezTo>
                  <a:cubicBezTo>
                    <a:pt x="90" y="72"/>
                    <a:pt x="92" y="72"/>
                    <a:pt x="93" y="72"/>
                  </a:cubicBezTo>
                  <a:cubicBezTo>
                    <a:pt x="94" y="73"/>
                    <a:pt x="95" y="73"/>
                    <a:pt x="96" y="73"/>
                  </a:cubicBezTo>
                  <a:cubicBezTo>
                    <a:pt x="97" y="73"/>
                    <a:pt x="98" y="73"/>
                    <a:pt x="99" y="74"/>
                  </a:cubicBezTo>
                  <a:cubicBezTo>
                    <a:pt x="100" y="74"/>
                    <a:pt x="100" y="74"/>
                    <a:pt x="101" y="74"/>
                  </a:cubicBezTo>
                  <a:cubicBezTo>
                    <a:pt x="103" y="74"/>
                    <a:pt x="104" y="74"/>
                    <a:pt x="104" y="75"/>
                  </a:cubicBezTo>
                  <a:cubicBezTo>
                    <a:pt x="105" y="75"/>
                    <a:pt x="105" y="74"/>
                    <a:pt x="106" y="75"/>
                  </a:cubicBezTo>
                  <a:cubicBezTo>
                    <a:pt x="106" y="76"/>
                    <a:pt x="106" y="77"/>
                    <a:pt x="107" y="77"/>
                  </a:cubicBezTo>
                  <a:cubicBezTo>
                    <a:pt x="108" y="77"/>
                    <a:pt x="109" y="76"/>
                    <a:pt x="110" y="76"/>
                  </a:cubicBezTo>
                  <a:cubicBezTo>
                    <a:pt x="111" y="76"/>
                    <a:pt x="113" y="76"/>
                    <a:pt x="114" y="76"/>
                  </a:cubicBezTo>
                  <a:cubicBezTo>
                    <a:pt x="115" y="76"/>
                    <a:pt x="118" y="76"/>
                    <a:pt x="117" y="74"/>
                  </a:cubicBezTo>
                  <a:cubicBezTo>
                    <a:pt x="117" y="72"/>
                    <a:pt x="116" y="69"/>
                    <a:pt x="115" y="68"/>
                  </a:cubicBezTo>
                  <a:cubicBezTo>
                    <a:pt x="113" y="67"/>
                    <a:pt x="113" y="69"/>
                    <a:pt x="112" y="68"/>
                  </a:cubicBezTo>
                  <a:cubicBezTo>
                    <a:pt x="111" y="68"/>
                    <a:pt x="111" y="67"/>
                    <a:pt x="111" y="67"/>
                  </a:cubicBezTo>
                  <a:cubicBezTo>
                    <a:pt x="110" y="67"/>
                    <a:pt x="110" y="68"/>
                    <a:pt x="109" y="68"/>
                  </a:cubicBezTo>
                  <a:cubicBezTo>
                    <a:pt x="109" y="68"/>
                    <a:pt x="108" y="67"/>
                    <a:pt x="108" y="67"/>
                  </a:cubicBezTo>
                  <a:cubicBezTo>
                    <a:pt x="108" y="66"/>
                    <a:pt x="109" y="66"/>
                    <a:pt x="110" y="66"/>
                  </a:cubicBezTo>
                  <a:cubicBezTo>
                    <a:pt x="110" y="66"/>
                    <a:pt x="110" y="65"/>
                    <a:pt x="111" y="65"/>
                  </a:cubicBezTo>
                  <a:cubicBezTo>
                    <a:pt x="111" y="66"/>
                    <a:pt x="112" y="67"/>
                    <a:pt x="113" y="65"/>
                  </a:cubicBezTo>
                  <a:cubicBezTo>
                    <a:pt x="113" y="64"/>
                    <a:pt x="114" y="64"/>
                    <a:pt x="114" y="63"/>
                  </a:cubicBezTo>
                  <a:cubicBezTo>
                    <a:pt x="113" y="63"/>
                    <a:pt x="113" y="63"/>
                    <a:pt x="112" y="63"/>
                  </a:cubicBezTo>
                  <a:cubicBezTo>
                    <a:pt x="113" y="61"/>
                    <a:pt x="114" y="62"/>
                    <a:pt x="115" y="62"/>
                  </a:cubicBezTo>
                  <a:cubicBezTo>
                    <a:pt x="115" y="63"/>
                    <a:pt x="115" y="62"/>
                    <a:pt x="116" y="62"/>
                  </a:cubicBezTo>
                  <a:cubicBezTo>
                    <a:pt x="116" y="63"/>
                    <a:pt x="116" y="63"/>
                    <a:pt x="117" y="64"/>
                  </a:cubicBezTo>
                  <a:cubicBezTo>
                    <a:pt x="116" y="63"/>
                    <a:pt x="115" y="63"/>
                    <a:pt x="114" y="64"/>
                  </a:cubicBezTo>
                  <a:cubicBezTo>
                    <a:pt x="114" y="64"/>
                    <a:pt x="115" y="64"/>
                    <a:pt x="115" y="64"/>
                  </a:cubicBezTo>
                  <a:cubicBezTo>
                    <a:pt x="114" y="64"/>
                    <a:pt x="113" y="64"/>
                    <a:pt x="113" y="65"/>
                  </a:cubicBezTo>
                  <a:cubicBezTo>
                    <a:pt x="114" y="65"/>
                    <a:pt x="115" y="66"/>
                    <a:pt x="115" y="66"/>
                  </a:cubicBezTo>
                  <a:cubicBezTo>
                    <a:pt x="115" y="66"/>
                    <a:pt x="115" y="66"/>
                    <a:pt x="115" y="65"/>
                  </a:cubicBezTo>
                  <a:cubicBezTo>
                    <a:pt x="116" y="66"/>
                    <a:pt x="116" y="66"/>
                    <a:pt x="117" y="66"/>
                  </a:cubicBezTo>
                  <a:cubicBezTo>
                    <a:pt x="117" y="66"/>
                    <a:pt x="118" y="68"/>
                    <a:pt x="118" y="68"/>
                  </a:cubicBezTo>
                  <a:cubicBezTo>
                    <a:pt x="118" y="69"/>
                    <a:pt x="118" y="67"/>
                    <a:pt x="119" y="67"/>
                  </a:cubicBezTo>
                  <a:cubicBezTo>
                    <a:pt x="120" y="67"/>
                    <a:pt x="120" y="68"/>
                    <a:pt x="119" y="68"/>
                  </a:cubicBezTo>
                  <a:cubicBezTo>
                    <a:pt x="119" y="69"/>
                    <a:pt x="120" y="69"/>
                    <a:pt x="120" y="70"/>
                  </a:cubicBezTo>
                  <a:cubicBezTo>
                    <a:pt x="121" y="70"/>
                    <a:pt x="120" y="70"/>
                    <a:pt x="121" y="70"/>
                  </a:cubicBezTo>
                  <a:cubicBezTo>
                    <a:pt x="121" y="70"/>
                    <a:pt x="121" y="70"/>
                    <a:pt x="122" y="70"/>
                  </a:cubicBezTo>
                  <a:cubicBezTo>
                    <a:pt x="122" y="70"/>
                    <a:pt x="122" y="71"/>
                    <a:pt x="122" y="70"/>
                  </a:cubicBezTo>
                  <a:cubicBezTo>
                    <a:pt x="123" y="70"/>
                    <a:pt x="123" y="70"/>
                    <a:pt x="123" y="69"/>
                  </a:cubicBezTo>
                  <a:cubicBezTo>
                    <a:pt x="124" y="70"/>
                    <a:pt x="126" y="68"/>
                    <a:pt x="127" y="70"/>
                  </a:cubicBezTo>
                  <a:cubicBezTo>
                    <a:pt x="128" y="72"/>
                    <a:pt x="128" y="75"/>
                    <a:pt x="128" y="77"/>
                  </a:cubicBezTo>
                  <a:cubicBezTo>
                    <a:pt x="128" y="80"/>
                    <a:pt x="129" y="78"/>
                    <a:pt x="130" y="78"/>
                  </a:cubicBezTo>
                  <a:cubicBezTo>
                    <a:pt x="129" y="77"/>
                    <a:pt x="129" y="77"/>
                    <a:pt x="128" y="77"/>
                  </a:cubicBezTo>
                  <a:cubicBezTo>
                    <a:pt x="130" y="76"/>
                    <a:pt x="132" y="76"/>
                    <a:pt x="135" y="75"/>
                  </a:cubicBezTo>
                  <a:cubicBezTo>
                    <a:pt x="134" y="76"/>
                    <a:pt x="133" y="76"/>
                    <a:pt x="132" y="76"/>
                  </a:cubicBezTo>
                  <a:cubicBezTo>
                    <a:pt x="131" y="77"/>
                    <a:pt x="132" y="77"/>
                    <a:pt x="133" y="77"/>
                  </a:cubicBezTo>
                  <a:cubicBezTo>
                    <a:pt x="133" y="77"/>
                    <a:pt x="133" y="77"/>
                    <a:pt x="134" y="77"/>
                  </a:cubicBezTo>
                  <a:cubicBezTo>
                    <a:pt x="135" y="77"/>
                    <a:pt x="134" y="77"/>
                    <a:pt x="135" y="77"/>
                  </a:cubicBezTo>
                  <a:cubicBezTo>
                    <a:pt x="135" y="77"/>
                    <a:pt x="136" y="77"/>
                    <a:pt x="137" y="77"/>
                  </a:cubicBezTo>
                  <a:cubicBezTo>
                    <a:pt x="135" y="78"/>
                    <a:pt x="137" y="78"/>
                    <a:pt x="137" y="79"/>
                  </a:cubicBezTo>
                  <a:cubicBezTo>
                    <a:pt x="136" y="80"/>
                    <a:pt x="135" y="79"/>
                    <a:pt x="134" y="79"/>
                  </a:cubicBezTo>
                  <a:cubicBezTo>
                    <a:pt x="133" y="80"/>
                    <a:pt x="132" y="80"/>
                    <a:pt x="134" y="81"/>
                  </a:cubicBezTo>
                  <a:cubicBezTo>
                    <a:pt x="134" y="81"/>
                    <a:pt x="134" y="81"/>
                    <a:pt x="135" y="81"/>
                  </a:cubicBezTo>
                  <a:cubicBezTo>
                    <a:pt x="135" y="81"/>
                    <a:pt x="135" y="81"/>
                    <a:pt x="135" y="81"/>
                  </a:cubicBezTo>
                  <a:cubicBezTo>
                    <a:pt x="136" y="81"/>
                    <a:pt x="136" y="81"/>
                    <a:pt x="136" y="81"/>
                  </a:cubicBezTo>
                  <a:cubicBezTo>
                    <a:pt x="137" y="82"/>
                    <a:pt x="137" y="82"/>
                    <a:pt x="137" y="82"/>
                  </a:cubicBezTo>
                  <a:cubicBezTo>
                    <a:pt x="138" y="82"/>
                    <a:pt x="138" y="81"/>
                    <a:pt x="138" y="81"/>
                  </a:cubicBezTo>
                  <a:cubicBezTo>
                    <a:pt x="139" y="81"/>
                    <a:pt x="140" y="80"/>
                    <a:pt x="138" y="80"/>
                  </a:cubicBezTo>
                  <a:cubicBezTo>
                    <a:pt x="139" y="79"/>
                    <a:pt x="141" y="80"/>
                    <a:pt x="143" y="80"/>
                  </a:cubicBezTo>
                  <a:cubicBezTo>
                    <a:pt x="142" y="81"/>
                    <a:pt x="141" y="80"/>
                    <a:pt x="141" y="80"/>
                  </a:cubicBezTo>
                  <a:cubicBezTo>
                    <a:pt x="140" y="81"/>
                    <a:pt x="140" y="80"/>
                    <a:pt x="139" y="81"/>
                  </a:cubicBezTo>
                  <a:cubicBezTo>
                    <a:pt x="138" y="82"/>
                    <a:pt x="139" y="82"/>
                    <a:pt x="140" y="84"/>
                  </a:cubicBezTo>
                  <a:cubicBezTo>
                    <a:pt x="141" y="85"/>
                    <a:pt x="140" y="85"/>
                    <a:pt x="142" y="85"/>
                  </a:cubicBezTo>
                  <a:cubicBezTo>
                    <a:pt x="143" y="85"/>
                    <a:pt x="144" y="85"/>
                    <a:pt x="145" y="85"/>
                  </a:cubicBezTo>
                  <a:cubicBezTo>
                    <a:pt x="146" y="86"/>
                    <a:pt x="147" y="86"/>
                    <a:pt x="148" y="87"/>
                  </a:cubicBezTo>
                  <a:cubicBezTo>
                    <a:pt x="148" y="88"/>
                    <a:pt x="149" y="88"/>
                    <a:pt x="148" y="89"/>
                  </a:cubicBezTo>
                  <a:cubicBezTo>
                    <a:pt x="147" y="90"/>
                    <a:pt x="147" y="91"/>
                    <a:pt x="146" y="91"/>
                  </a:cubicBezTo>
                  <a:cubicBezTo>
                    <a:pt x="144" y="93"/>
                    <a:pt x="142" y="91"/>
                    <a:pt x="140" y="91"/>
                  </a:cubicBezTo>
                  <a:cubicBezTo>
                    <a:pt x="139" y="91"/>
                    <a:pt x="138" y="91"/>
                    <a:pt x="138" y="92"/>
                  </a:cubicBezTo>
                  <a:cubicBezTo>
                    <a:pt x="139" y="94"/>
                    <a:pt x="140" y="94"/>
                    <a:pt x="138" y="96"/>
                  </a:cubicBezTo>
                  <a:cubicBezTo>
                    <a:pt x="136" y="99"/>
                    <a:pt x="141" y="97"/>
                    <a:pt x="142" y="97"/>
                  </a:cubicBezTo>
                  <a:cubicBezTo>
                    <a:pt x="144" y="96"/>
                    <a:pt x="145" y="96"/>
                    <a:pt x="146" y="95"/>
                  </a:cubicBezTo>
                  <a:cubicBezTo>
                    <a:pt x="147" y="95"/>
                    <a:pt x="148" y="95"/>
                    <a:pt x="149" y="94"/>
                  </a:cubicBezTo>
                  <a:cubicBezTo>
                    <a:pt x="150" y="94"/>
                    <a:pt x="150" y="93"/>
                    <a:pt x="150" y="92"/>
                  </a:cubicBezTo>
                  <a:cubicBezTo>
                    <a:pt x="151" y="93"/>
                    <a:pt x="153" y="95"/>
                    <a:pt x="154" y="93"/>
                  </a:cubicBezTo>
                  <a:cubicBezTo>
                    <a:pt x="155" y="92"/>
                    <a:pt x="154" y="92"/>
                    <a:pt x="155" y="91"/>
                  </a:cubicBezTo>
                  <a:cubicBezTo>
                    <a:pt x="157" y="90"/>
                    <a:pt x="157" y="91"/>
                    <a:pt x="158" y="91"/>
                  </a:cubicBezTo>
                  <a:cubicBezTo>
                    <a:pt x="157" y="92"/>
                    <a:pt x="156" y="92"/>
                    <a:pt x="155" y="93"/>
                  </a:cubicBezTo>
                  <a:cubicBezTo>
                    <a:pt x="155" y="93"/>
                    <a:pt x="156" y="93"/>
                    <a:pt x="156" y="93"/>
                  </a:cubicBezTo>
                  <a:cubicBezTo>
                    <a:pt x="156" y="93"/>
                    <a:pt x="155" y="93"/>
                    <a:pt x="155" y="93"/>
                  </a:cubicBezTo>
                  <a:cubicBezTo>
                    <a:pt x="155" y="93"/>
                    <a:pt x="156" y="93"/>
                    <a:pt x="156" y="93"/>
                  </a:cubicBezTo>
                  <a:cubicBezTo>
                    <a:pt x="156" y="93"/>
                    <a:pt x="155" y="93"/>
                    <a:pt x="155" y="94"/>
                  </a:cubicBezTo>
                  <a:cubicBezTo>
                    <a:pt x="155" y="94"/>
                    <a:pt x="158" y="93"/>
                    <a:pt x="158" y="93"/>
                  </a:cubicBezTo>
                  <a:cubicBezTo>
                    <a:pt x="159" y="94"/>
                    <a:pt x="156" y="95"/>
                    <a:pt x="155" y="95"/>
                  </a:cubicBezTo>
                  <a:cubicBezTo>
                    <a:pt x="156" y="96"/>
                    <a:pt x="159" y="97"/>
                    <a:pt x="158" y="95"/>
                  </a:cubicBezTo>
                  <a:cubicBezTo>
                    <a:pt x="159" y="95"/>
                    <a:pt x="160" y="95"/>
                    <a:pt x="159" y="96"/>
                  </a:cubicBezTo>
                  <a:cubicBezTo>
                    <a:pt x="159" y="96"/>
                    <a:pt x="159" y="97"/>
                    <a:pt x="159" y="97"/>
                  </a:cubicBezTo>
                  <a:cubicBezTo>
                    <a:pt x="159" y="98"/>
                    <a:pt x="159" y="98"/>
                    <a:pt x="159" y="98"/>
                  </a:cubicBezTo>
                  <a:cubicBezTo>
                    <a:pt x="160" y="99"/>
                    <a:pt x="160" y="99"/>
                    <a:pt x="161" y="100"/>
                  </a:cubicBezTo>
                  <a:cubicBezTo>
                    <a:pt x="162" y="100"/>
                    <a:pt x="163" y="101"/>
                    <a:pt x="163" y="101"/>
                  </a:cubicBezTo>
                  <a:cubicBezTo>
                    <a:pt x="164" y="101"/>
                    <a:pt x="166" y="101"/>
                    <a:pt x="166" y="100"/>
                  </a:cubicBezTo>
                  <a:cubicBezTo>
                    <a:pt x="167" y="99"/>
                    <a:pt x="161" y="97"/>
                    <a:pt x="165" y="97"/>
                  </a:cubicBezTo>
                  <a:cubicBezTo>
                    <a:pt x="167" y="97"/>
                    <a:pt x="168" y="98"/>
                    <a:pt x="168" y="99"/>
                  </a:cubicBezTo>
                  <a:cubicBezTo>
                    <a:pt x="167" y="101"/>
                    <a:pt x="165" y="103"/>
                    <a:pt x="168" y="104"/>
                  </a:cubicBezTo>
                  <a:cubicBezTo>
                    <a:pt x="168" y="104"/>
                    <a:pt x="170" y="104"/>
                    <a:pt x="169" y="105"/>
                  </a:cubicBezTo>
                  <a:cubicBezTo>
                    <a:pt x="170" y="105"/>
                    <a:pt x="171" y="104"/>
                    <a:pt x="172" y="103"/>
                  </a:cubicBezTo>
                  <a:cubicBezTo>
                    <a:pt x="172" y="103"/>
                    <a:pt x="172" y="103"/>
                    <a:pt x="173" y="103"/>
                  </a:cubicBezTo>
                  <a:cubicBezTo>
                    <a:pt x="173" y="103"/>
                    <a:pt x="173" y="105"/>
                    <a:pt x="173" y="106"/>
                  </a:cubicBezTo>
                  <a:cubicBezTo>
                    <a:pt x="174" y="106"/>
                    <a:pt x="174" y="106"/>
                    <a:pt x="175" y="106"/>
                  </a:cubicBezTo>
                  <a:cubicBezTo>
                    <a:pt x="175" y="106"/>
                    <a:pt x="175" y="105"/>
                    <a:pt x="175" y="106"/>
                  </a:cubicBezTo>
                  <a:cubicBezTo>
                    <a:pt x="176" y="106"/>
                    <a:pt x="175" y="107"/>
                    <a:pt x="176" y="107"/>
                  </a:cubicBezTo>
                  <a:cubicBezTo>
                    <a:pt x="176" y="109"/>
                    <a:pt x="177" y="110"/>
                    <a:pt x="176" y="111"/>
                  </a:cubicBezTo>
                  <a:cubicBezTo>
                    <a:pt x="177" y="111"/>
                    <a:pt x="176" y="112"/>
                    <a:pt x="177" y="112"/>
                  </a:cubicBezTo>
                  <a:cubicBezTo>
                    <a:pt x="177" y="112"/>
                    <a:pt x="178" y="112"/>
                    <a:pt x="178" y="112"/>
                  </a:cubicBezTo>
                  <a:cubicBezTo>
                    <a:pt x="178" y="112"/>
                    <a:pt x="178" y="113"/>
                    <a:pt x="178" y="113"/>
                  </a:cubicBezTo>
                  <a:cubicBezTo>
                    <a:pt x="180" y="114"/>
                    <a:pt x="179" y="114"/>
                    <a:pt x="179" y="115"/>
                  </a:cubicBezTo>
                  <a:cubicBezTo>
                    <a:pt x="178" y="116"/>
                    <a:pt x="180" y="116"/>
                    <a:pt x="180" y="116"/>
                  </a:cubicBezTo>
                  <a:cubicBezTo>
                    <a:pt x="181" y="117"/>
                    <a:pt x="181" y="118"/>
                    <a:pt x="181" y="118"/>
                  </a:cubicBezTo>
                  <a:cubicBezTo>
                    <a:pt x="181" y="119"/>
                    <a:pt x="181" y="119"/>
                    <a:pt x="181" y="119"/>
                  </a:cubicBezTo>
                  <a:cubicBezTo>
                    <a:pt x="181" y="120"/>
                    <a:pt x="181" y="120"/>
                    <a:pt x="182" y="120"/>
                  </a:cubicBezTo>
                  <a:cubicBezTo>
                    <a:pt x="182" y="121"/>
                    <a:pt x="182" y="121"/>
                    <a:pt x="182" y="122"/>
                  </a:cubicBezTo>
                  <a:cubicBezTo>
                    <a:pt x="183" y="122"/>
                    <a:pt x="183" y="122"/>
                    <a:pt x="183" y="122"/>
                  </a:cubicBezTo>
                  <a:cubicBezTo>
                    <a:pt x="183" y="122"/>
                    <a:pt x="183" y="124"/>
                    <a:pt x="183" y="124"/>
                  </a:cubicBezTo>
                  <a:cubicBezTo>
                    <a:pt x="181" y="127"/>
                    <a:pt x="178" y="129"/>
                    <a:pt x="176" y="131"/>
                  </a:cubicBezTo>
                  <a:cubicBezTo>
                    <a:pt x="178" y="132"/>
                    <a:pt x="180" y="132"/>
                    <a:pt x="182" y="132"/>
                  </a:cubicBezTo>
                  <a:cubicBezTo>
                    <a:pt x="184" y="132"/>
                    <a:pt x="186" y="133"/>
                    <a:pt x="188" y="133"/>
                  </a:cubicBezTo>
                  <a:cubicBezTo>
                    <a:pt x="189" y="133"/>
                    <a:pt x="190" y="134"/>
                    <a:pt x="191" y="134"/>
                  </a:cubicBezTo>
                  <a:cubicBezTo>
                    <a:pt x="193" y="133"/>
                    <a:pt x="192" y="131"/>
                    <a:pt x="193" y="131"/>
                  </a:cubicBezTo>
                  <a:cubicBezTo>
                    <a:pt x="193" y="130"/>
                    <a:pt x="194" y="130"/>
                    <a:pt x="194" y="129"/>
                  </a:cubicBezTo>
                  <a:cubicBezTo>
                    <a:pt x="194" y="128"/>
                    <a:pt x="194" y="128"/>
                    <a:pt x="194" y="126"/>
                  </a:cubicBezTo>
                  <a:cubicBezTo>
                    <a:pt x="194" y="127"/>
                    <a:pt x="194" y="127"/>
                    <a:pt x="195" y="127"/>
                  </a:cubicBezTo>
                  <a:cubicBezTo>
                    <a:pt x="196" y="127"/>
                    <a:pt x="196" y="127"/>
                    <a:pt x="197" y="127"/>
                  </a:cubicBezTo>
                  <a:cubicBezTo>
                    <a:pt x="197" y="127"/>
                    <a:pt x="197" y="127"/>
                    <a:pt x="198" y="127"/>
                  </a:cubicBezTo>
                  <a:cubicBezTo>
                    <a:pt x="199" y="128"/>
                    <a:pt x="199" y="128"/>
                    <a:pt x="199" y="129"/>
                  </a:cubicBezTo>
                  <a:cubicBezTo>
                    <a:pt x="199" y="129"/>
                    <a:pt x="199" y="129"/>
                    <a:pt x="199" y="130"/>
                  </a:cubicBezTo>
                  <a:cubicBezTo>
                    <a:pt x="199" y="130"/>
                    <a:pt x="200" y="130"/>
                    <a:pt x="200" y="130"/>
                  </a:cubicBezTo>
                  <a:cubicBezTo>
                    <a:pt x="200" y="130"/>
                    <a:pt x="199" y="130"/>
                    <a:pt x="200" y="130"/>
                  </a:cubicBezTo>
                  <a:cubicBezTo>
                    <a:pt x="200" y="131"/>
                    <a:pt x="200" y="131"/>
                    <a:pt x="200" y="131"/>
                  </a:cubicBezTo>
                  <a:cubicBezTo>
                    <a:pt x="201" y="131"/>
                    <a:pt x="202" y="132"/>
                    <a:pt x="203" y="132"/>
                  </a:cubicBezTo>
                  <a:cubicBezTo>
                    <a:pt x="203" y="132"/>
                    <a:pt x="203" y="132"/>
                    <a:pt x="203" y="132"/>
                  </a:cubicBezTo>
                  <a:cubicBezTo>
                    <a:pt x="204" y="132"/>
                    <a:pt x="206" y="132"/>
                    <a:pt x="208" y="133"/>
                  </a:cubicBezTo>
                  <a:cubicBezTo>
                    <a:pt x="209" y="133"/>
                    <a:pt x="209" y="134"/>
                    <a:pt x="210" y="134"/>
                  </a:cubicBezTo>
                  <a:cubicBezTo>
                    <a:pt x="211" y="134"/>
                    <a:pt x="211" y="134"/>
                    <a:pt x="212" y="135"/>
                  </a:cubicBezTo>
                  <a:cubicBezTo>
                    <a:pt x="212" y="135"/>
                    <a:pt x="212" y="135"/>
                    <a:pt x="212" y="135"/>
                  </a:cubicBezTo>
                  <a:cubicBezTo>
                    <a:pt x="212" y="135"/>
                    <a:pt x="213" y="135"/>
                    <a:pt x="213" y="135"/>
                  </a:cubicBezTo>
                  <a:cubicBezTo>
                    <a:pt x="213" y="135"/>
                    <a:pt x="213" y="134"/>
                    <a:pt x="214" y="134"/>
                  </a:cubicBezTo>
                  <a:cubicBezTo>
                    <a:pt x="214" y="135"/>
                    <a:pt x="212" y="136"/>
                    <a:pt x="212" y="137"/>
                  </a:cubicBezTo>
                  <a:cubicBezTo>
                    <a:pt x="212" y="137"/>
                    <a:pt x="215" y="136"/>
                    <a:pt x="215" y="138"/>
                  </a:cubicBezTo>
                  <a:cubicBezTo>
                    <a:pt x="214" y="138"/>
                    <a:pt x="212" y="139"/>
                    <a:pt x="212" y="139"/>
                  </a:cubicBezTo>
                  <a:cubicBezTo>
                    <a:pt x="211" y="139"/>
                    <a:pt x="211" y="139"/>
                    <a:pt x="211" y="140"/>
                  </a:cubicBezTo>
                  <a:cubicBezTo>
                    <a:pt x="211" y="140"/>
                    <a:pt x="211" y="140"/>
                    <a:pt x="210" y="141"/>
                  </a:cubicBezTo>
                  <a:cubicBezTo>
                    <a:pt x="210" y="141"/>
                    <a:pt x="211" y="141"/>
                    <a:pt x="211" y="141"/>
                  </a:cubicBezTo>
                  <a:cubicBezTo>
                    <a:pt x="210" y="142"/>
                    <a:pt x="208" y="140"/>
                    <a:pt x="207" y="140"/>
                  </a:cubicBezTo>
                  <a:cubicBezTo>
                    <a:pt x="205" y="139"/>
                    <a:pt x="204" y="141"/>
                    <a:pt x="202" y="141"/>
                  </a:cubicBezTo>
                  <a:cubicBezTo>
                    <a:pt x="201" y="140"/>
                    <a:pt x="202" y="140"/>
                    <a:pt x="201" y="140"/>
                  </a:cubicBezTo>
                  <a:cubicBezTo>
                    <a:pt x="201" y="140"/>
                    <a:pt x="200" y="139"/>
                    <a:pt x="200" y="139"/>
                  </a:cubicBezTo>
                  <a:cubicBezTo>
                    <a:pt x="200" y="139"/>
                    <a:pt x="200" y="139"/>
                    <a:pt x="200" y="139"/>
                  </a:cubicBezTo>
                  <a:cubicBezTo>
                    <a:pt x="199" y="139"/>
                    <a:pt x="199" y="140"/>
                    <a:pt x="199" y="140"/>
                  </a:cubicBezTo>
                  <a:cubicBezTo>
                    <a:pt x="199" y="141"/>
                    <a:pt x="199" y="141"/>
                    <a:pt x="198" y="141"/>
                  </a:cubicBezTo>
                  <a:cubicBezTo>
                    <a:pt x="198" y="141"/>
                    <a:pt x="197" y="142"/>
                    <a:pt x="197" y="142"/>
                  </a:cubicBezTo>
                  <a:cubicBezTo>
                    <a:pt x="196" y="143"/>
                    <a:pt x="195" y="144"/>
                    <a:pt x="194" y="145"/>
                  </a:cubicBezTo>
                  <a:cubicBezTo>
                    <a:pt x="194" y="145"/>
                    <a:pt x="195" y="143"/>
                    <a:pt x="195" y="143"/>
                  </a:cubicBezTo>
                  <a:cubicBezTo>
                    <a:pt x="195" y="142"/>
                    <a:pt x="193" y="143"/>
                    <a:pt x="193" y="143"/>
                  </a:cubicBezTo>
                  <a:cubicBezTo>
                    <a:pt x="193" y="143"/>
                    <a:pt x="194" y="142"/>
                    <a:pt x="194" y="141"/>
                  </a:cubicBezTo>
                  <a:cubicBezTo>
                    <a:pt x="194" y="141"/>
                    <a:pt x="194" y="141"/>
                    <a:pt x="194" y="141"/>
                  </a:cubicBezTo>
                  <a:cubicBezTo>
                    <a:pt x="194" y="140"/>
                    <a:pt x="194" y="140"/>
                    <a:pt x="194" y="140"/>
                  </a:cubicBezTo>
                  <a:cubicBezTo>
                    <a:pt x="194" y="140"/>
                    <a:pt x="195" y="139"/>
                    <a:pt x="195" y="139"/>
                  </a:cubicBezTo>
                  <a:cubicBezTo>
                    <a:pt x="194" y="138"/>
                    <a:pt x="194" y="138"/>
                    <a:pt x="194" y="138"/>
                  </a:cubicBezTo>
                  <a:cubicBezTo>
                    <a:pt x="194" y="138"/>
                    <a:pt x="194" y="137"/>
                    <a:pt x="193" y="137"/>
                  </a:cubicBezTo>
                  <a:cubicBezTo>
                    <a:pt x="193" y="137"/>
                    <a:pt x="193" y="136"/>
                    <a:pt x="193" y="136"/>
                  </a:cubicBezTo>
                  <a:cubicBezTo>
                    <a:pt x="192" y="134"/>
                    <a:pt x="189" y="134"/>
                    <a:pt x="188" y="134"/>
                  </a:cubicBezTo>
                  <a:cubicBezTo>
                    <a:pt x="186" y="133"/>
                    <a:pt x="185" y="133"/>
                    <a:pt x="183" y="133"/>
                  </a:cubicBezTo>
                  <a:cubicBezTo>
                    <a:pt x="181" y="133"/>
                    <a:pt x="180" y="133"/>
                    <a:pt x="178" y="133"/>
                  </a:cubicBezTo>
                  <a:cubicBezTo>
                    <a:pt x="176" y="132"/>
                    <a:pt x="175" y="131"/>
                    <a:pt x="173" y="133"/>
                  </a:cubicBezTo>
                  <a:cubicBezTo>
                    <a:pt x="169" y="136"/>
                    <a:pt x="165" y="139"/>
                    <a:pt x="161" y="143"/>
                  </a:cubicBezTo>
                  <a:cubicBezTo>
                    <a:pt x="161" y="144"/>
                    <a:pt x="163" y="144"/>
                    <a:pt x="163" y="145"/>
                  </a:cubicBezTo>
                  <a:cubicBezTo>
                    <a:pt x="165" y="146"/>
                    <a:pt x="166" y="147"/>
                    <a:pt x="167" y="148"/>
                  </a:cubicBezTo>
                  <a:cubicBezTo>
                    <a:pt x="168" y="148"/>
                    <a:pt x="168" y="148"/>
                    <a:pt x="168" y="149"/>
                  </a:cubicBezTo>
                  <a:cubicBezTo>
                    <a:pt x="169" y="149"/>
                    <a:pt x="168" y="149"/>
                    <a:pt x="168" y="150"/>
                  </a:cubicBezTo>
                  <a:cubicBezTo>
                    <a:pt x="168" y="150"/>
                    <a:pt x="169" y="150"/>
                    <a:pt x="169" y="150"/>
                  </a:cubicBezTo>
                  <a:cubicBezTo>
                    <a:pt x="169" y="150"/>
                    <a:pt x="169" y="151"/>
                    <a:pt x="169" y="151"/>
                  </a:cubicBezTo>
                  <a:cubicBezTo>
                    <a:pt x="169" y="151"/>
                    <a:pt x="169" y="151"/>
                    <a:pt x="170" y="152"/>
                  </a:cubicBezTo>
                  <a:cubicBezTo>
                    <a:pt x="170" y="152"/>
                    <a:pt x="170" y="153"/>
                    <a:pt x="170" y="153"/>
                  </a:cubicBezTo>
                  <a:cubicBezTo>
                    <a:pt x="168" y="153"/>
                    <a:pt x="167" y="152"/>
                    <a:pt x="164" y="152"/>
                  </a:cubicBezTo>
                  <a:cubicBezTo>
                    <a:pt x="163" y="152"/>
                    <a:pt x="162" y="154"/>
                    <a:pt x="161" y="155"/>
                  </a:cubicBezTo>
                  <a:cubicBezTo>
                    <a:pt x="159" y="155"/>
                    <a:pt x="159" y="155"/>
                    <a:pt x="158" y="154"/>
                  </a:cubicBezTo>
                  <a:cubicBezTo>
                    <a:pt x="159" y="153"/>
                    <a:pt x="156" y="154"/>
                    <a:pt x="155" y="154"/>
                  </a:cubicBezTo>
                  <a:cubicBezTo>
                    <a:pt x="154" y="155"/>
                    <a:pt x="154" y="154"/>
                    <a:pt x="154" y="155"/>
                  </a:cubicBezTo>
                  <a:cubicBezTo>
                    <a:pt x="154" y="156"/>
                    <a:pt x="154" y="157"/>
                    <a:pt x="153" y="157"/>
                  </a:cubicBezTo>
                  <a:cubicBezTo>
                    <a:pt x="152" y="157"/>
                    <a:pt x="151" y="156"/>
                    <a:pt x="150" y="156"/>
                  </a:cubicBezTo>
                  <a:cubicBezTo>
                    <a:pt x="149" y="156"/>
                    <a:pt x="149" y="156"/>
                    <a:pt x="149" y="156"/>
                  </a:cubicBezTo>
                  <a:cubicBezTo>
                    <a:pt x="149" y="156"/>
                    <a:pt x="149" y="156"/>
                    <a:pt x="149" y="156"/>
                  </a:cubicBezTo>
                  <a:cubicBezTo>
                    <a:pt x="148" y="155"/>
                    <a:pt x="147" y="156"/>
                    <a:pt x="145" y="156"/>
                  </a:cubicBezTo>
                  <a:cubicBezTo>
                    <a:pt x="146" y="157"/>
                    <a:pt x="148" y="158"/>
                    <a:pt x="149" y="158"/>
                  </a:cubicBezTo>
                  <a:cubicBezTo>
                    <a:pt x="150" y="159"/>
                    <a:pt x="150" y="159"/>
                    <a:pt x="151" y="160"/>
                  </a:cubicBezTo>
                  <a:cubicBezTo>
                    <a:pt x="151" y="161"/>
                    <a:pt x="151" y="161"/>
                    <a:pt x="152" y="161"/>
                  </a:cubicBezTo>
                  <a:cubicBezTo>
                    <a:pt x="152" y="161"/>
                    <a:pt x="152" y="161"/>
                    <a:pt x="152" y="161"/>
                  </a:cubicBezTo>
                  <a:cubicBezTo>
                    <a:pt x="152" y="162"/>
                    <a:pt x="150" y="163"/>
                    <a:pt x="149" y="163"/>
                  </a:cubicBezTo>
                  <a:cubicBezTo>
                    <a:pt x="150" y="163"/>
                    <a:pt x="151" y="163"/>
                    <a:pt x="151" y="163"/>
                  </a:cubicBezTo>
                  <a:cubicBezTo>
                    <a:pt x="151" y="164"/>
                    <a:pt x="152" y="165"/>
                    <a:pt x="152" y="165"/>
                  </a:cubicBezTo>
                  <a:cubicBezTo>
                    <a:pt x="151" y="165"/>
                    <a:pt x="151" y="164"/>
                    <a:pt x="150" y="164"/>
                  </a:cubicBezTo>
                  <a:cubicBezTo>
                    <a:pt x="150" y="164"/>
                    <a:pt x="149" y="164"/>
                    <a:pt x="149" y="163"/>
                  </a:cubicBezTo>
                  <a:cubicBezTo>
                    <a:pt x="149" y="163"/>
                    <a:pt x="148" y="162"/>
                    <a:pt x="148" y="162"/>
                  </a:cubicBezTo>
                  <a:cubicBezTo>
                    <a:pt x="148" y="161"/>
                    <a:pt x="150" y="162"/>
                    <a:pt x="151" y="161"/>
                  </a:cubicBezTo>
                  <a:cubicBezTo>
                    <a:pt x="151" y="161"/>
                    <a:pt x="151" y="160"/>
                    <a:pt x="150" y="160"/>
                  </a:cubicBezTo>
                  <a:cubicBezTo>
                    <a:pt x="150" y="159"/>
                    <a:pt x="149" y="159"/>
                    <a:pt x="149" y="159"/>
                  </a:cubicBezTo>
                  <a:cubicBezTo>
                    <a:pt x="148" y="158"/>
                    <a:pt x="148" y="158"/>
                    <a:pt x="147" y="158"/>
                  </a:cubicBezTo>
                  <a:cubicBezTo>
                    <a:pt x="146" y="157"/>
                    <a:pt x="144" y="156"/>
                    <a:pt x="143" y="156"/>
                  </a:cubicBezTo>
                  <a:cubicBezTo>
                    <a:pt x="141" y="155"/>
                    <a:pt x="139" y="155"/>
                    <a:pt x="137" y="154"/>
                  </a:cubicBezTo>
                  <a:cubicBezTo>
                    <a:pt x="136" y="154"/>
                    <a:pt x="134" y="154"/>
                    <a:pt x="133" y="154"/>
                  </a:cubicBezTo>
                  <a:cubicBezTo>
                    <a:pt x="133" y="154"/>
                    <a:pt x="132" y="153"/>
                    <a:pt x="132" y="153"/>
                  </a:cubicBezTo>
                  <a:cubicBezTo>
                    <a:pt x="131" y="154"/>
                    <a:pt x="131" y="156"/>
                    <a:pt x="131" y="157"/>
                  </a:cubicBezTo>
                  <a:cubicBezTo>
                    <a:pt x="130" y="157"/>
                    <a:pt x="131" y="158"/>
                    <a:pt x="131" y="158"/>
                  </a:cubicBezTo>
                  <a:cubicBezTo>
                    <a:pt x="131" y="158"/>
                    <a:pt x="129" y="158"/>
                    <a:pt x="129" y="158"/>
                  </a:cubicBezTo>
                  <a:cubicBezTo>
                    <a:pt x="128" y="159"/>
                    <a:pt x="126" y="159"/>
                    <a:pt x="126" y="160"/>
                  </a:cubicBezTo>
                  <a:cubicBezTo>
                    <a:pt x="124" y="161"/>
                    <a:pt x="122" y="164"/>
                    <a:pt x="121" y="166"/>
                  </a:cubicBezTo>
                  <a:cubicBezTo>
                    <a:pt x="121" y="167"/>
                    <a:pt x="123" y="168"/>
                    <a:pt x="123" y="169"/>
                  </a:cubicBezTo>
                  <a:cubicBezTo>
                    <a:pt x="124" y="169"/>
                    <a:pt x="124" y="170"/>
                    <a:pt x="124" y="170"/>
                  </a:cubicBezTo>
                  <a:cubicBezTo>
                    <a:pt x="124" y="170"/>
                    <a:pt x="124" y="170"/>
                    <a:pt x="124" y="171"/>
                  </a:cubicBezTo>
                  <a:cubicBezTo>
                    <a:pt x="124" y="171"/>
                    <a:pt x="125" y="171"/>
                    <a:pt x="125" y="171"/>
                  </a:cubicBezTo>
                  <a:cubicBezTo>
                    <a:pt x="127" y="172"/>
                    <a:pt x="129" y="173"/>
                    <a:pt x="131" y="173"/>
                  </a:cubicBezTo>
                  <a:cubicBezTo>
                    <a:pt x="132" y="173"/>
                    <a:pt x="133" y="173"/>
                    <a:pt x="135" y="173"/>
                  </a:cubicBezTo>
                  <a:cubicBezTo>
                    <a:pt x="136" y="173"/>
                    <a:pt x="137" y="174"/>
                    <a:pt x="138" y="174"/>
                  </a:cubicBezTo>
                  <a:cubicBezTo>
                    <a:pt x="137" y="174"/>
                    <a:pt x="137" y="173"/>
                    <a:pt x="137" y="173"/>
                  </a:cubicBezTo>
                  <a:cubicBezTo>
                    <a:pt x="138" y="172"/>
                    <a:pt x="140" y="173"/>
                    <a:pt x="141" y="173"/>
                  </a:cubicBezTo>
                  <a:cubicBezTo>
                    <a:pt x="140" y="173"/>
                    <a:pt x="140" y="172"/>
                    <a:pt x="140" y="172"/>
                  </a:cubicBezTo>
                  <a:cubicBezTo>
                    <a:pt x="141" y="172"/>
                    <a:pt x="141" y="173"/>
                    <a:pt x="142" y="173"/>
                  </a:cubicBezTo>
                  <a:cubicBezTo>
                    <a:pt x="143" y="172"/>
                    <a:pt x="141" y="172"/>
                    <a:pt x="141" y="172"/>
                  </a:cubicBezTo>
                  <a:cubicBezTo>
                    <a:pt x="141" y="172"/>
                    <a:pt x="142" y="171"/>
                    <a:pt x="142" y="172"/>
                  </a:cubicBezTo>
                  <a:cubicBezTo>
                    <a:pt x="143" y="172"/>
                    <a:pt x="143" y="171"/>
                    <a:pt x="143" y="171"/>
                  </a:cubicBezTo>
                  <a:cubicBezTo>
                    <a:pt x="145" y="171"/>
                    <a:pt x="146" y="171"/>
                    <a:pt x="147" y="171"/>
                  </a:cubicBezTo>
                  <a:cubicBezTo>
                    <a:pt x="147" y="171"/>
                    <a:pt x="146" y="171"/>
                    <a:pt x="147" y="170"/>
                  </a:cubicBezTo>
                  <a:cubicBezTo>
                    <a:pt x="146" y="170"/>
                    <a:pt x="146" y="170"/>
                    <a:pt x="146" y="169"/>
                  </a:cubicBezTo>
                  <a:cubicBezTo>
                    <a:pt x="147" y="169"/>
                    <a:pt x="147" y="170"/>
                    <a:pt x="148" y="170"/>
                  </a:cubicBezTo>
                  <a:cubicBezTo>
                    <a:pt x="148" y="169"/>
                    <a:pt x="147" y="169"/>
                    <a:pt x="146" y="168"/>
                  </a:cubicBezTo>
                  <a:cubicBezTo>
                    <a:pt x="146" y="168"/>
                    <a:pt x="147" y="168"/>
                    <a:pt x="147" y="168"/>
                  </a:cubicBezTo>
                  <a:cubicBezTo>
                    <a:pt x="146" y="167"/>
                    <a:pt x="147" y="167"/>
                    <a:pt x="148" y="168"/>
                  </a:cubicBezTo>
                  <a:cubicBezTo>
                    <a:pt x="150" y="168"/>
                    <a:pt x="152" y="169"/>
                    <a:pt x="154" y="170"/>
                  </a:cubicBezTo>
                  <a:cubicBezTo>
                    <a:pt x="156" y="170"/>
                    <a:pt x="159" y="172"/>
                    <a:pt x="160" y="170"/>
                  </a:cubicBezTo>
                  <a:cubicBezTo>
                    <a:pt x="159" y="170"/>
                    <a:pt x="158" y="169"/>
                    <a:pt x="159" y="169"/>
                  </a:cubicBezTo>
                  <a:cubicBezTo>
                    <a:pt x="159" y="169"/>
                    <a:pt x="159" y="169"/>
                    <a:pt x="159" y="168"/>
                  </a:cubicBezTo>
                  <a:cubicBezTo>
                    <a:pt x="161" y="169"/>
                    <a:pt x="160" y="168"/>
                    <a:pt x="159" y="167"/>
                  </a:cubicBezTo>
                  <a:cubicBezTo>
                    <a:pt x="157" y="166"/>
                    <a:pt x="156" y="165"/>
                    <a:pt x="155" y="164"/>
                  </a:cubicBezTo>
                  <a:cubicBezTo>
                    <a:pt x="155" y="164"/>
                    <a:pt x="157" y="165"/>
                    <a:pt x="158" y="164"/>
                  </a:cubicBezTo>
                  <a:cubicBezTo>
                    <a:pt x="158" y="164"/>
                    <a:pt x="157" y="163"/>
                    <a:pt x="159" y="163"/>
                  </a:cubicBezTo>
                  <a:cubicBezTo>
                    <a:pt x="158" y="163"/>
                    <a:pt x="158" y="162"/>
                    <a:pt x="159" y="163"/>
                  </a:cubicBezTo>
                  <a:cubicBezTo>
                    <a:pt x="160" y="163"/>
                    <a:pt x="159" y="164"/>
                    <a:pt x="159" y="164"/>
                  </a:cubicBezTo>
                  <a:cubicBezTo>
                    <a:pt x="158" y="166"/>
                    <a:pt x="158" y="165"/>
                    <a:pt x="159" y="166"/>
                  </a:cubicBezTo>
                  <a:cubicBezTo>
                    <a:pt x="160" y="168"/>
                    <a:pt x="161" y="166"/>
                    <a:pt x="162" y="166"/>
                  </a:cubicBezTo>
                  <a:cubicBezTo>
                    <a:pt x="163" y="167"/>
                    <a:pt x="164" y="166"/>
                    <a:pt x="164" y="165"/>
                  </a:cubicBezTo>
                  <a:cubicBezTo>
                    <a:pt x="164" y="166"/>
                    <a:pt x="164" y="167"/>
                    <a:pt x="165" y="168"/>
                  </a:cubicBezTo>
                  <a:cubicBezTo>
                    <a:pt x="164" y="168"/>
                    <a:pt x="162" y="168"/>
                    <a:pt x="164" y="169"/>
                  </a:cubicBezTo>
                  <a:cubicBezTo>
                    <a:pt x="164" y="169"/>
                    <a:pt x="164" y="169"/>
                    <a:pt x="164" y="169"/>
                  </a:cubicBezTo>
                  <a:cubicBezTo>
                    <a:pt x="164" y="169"/>
                    <a:pt x="164" y="169"/>
                    <a:pt x="165" y="170"/>
                  </a:cubicBezTo>
                  <a:cubicBezTo>
                    <a:pt x="165" y="171"/>
                    <a:pt x="164" y="170"/>
                    <a:pt x="163" y="170"/>
                  </a:cubicBezTo>
                  <a:cubicBezTo>
                    <a:pt x="164" y="170"/>
                    <a:pt x="164" y="171"/>
                    <a:pt x="164" y="171"/>
                  </a:cubicBezTo>
                  <a:cubicBezTo>
                    <a:pt x="166" y="171"/>
                    <a:pt x="165" y="171"/>
                    <a:pt x="165" y="170"/>
                  </a:cubicBezTo>
                  <a:cubicBezTo>
                    <a:pt x="166" y="170"/>
                    <a:pt x="166" y="170"/>
                    <a:pt x="166" y="170"/>
                  </a:cubicBezTo>
                  <a:cubicBezTo>
                    <a:pt x="166" y="170"/>
                    <a:pt x="167" y="169"/>
                    <a:pt x="167" y="170"/>
                  </a:cubicBezTo>
                  <a:cubicBezTo>
                    <a:pt x="167" y="169"/>
                    <a:pt x="166" y="168"/>
                    <a:pt x="166" y="168"/>
                  </a:cubicBezTo>
                  <a:cubicBezTo>
                    <a:pt x="167" y="167"/>
                    <a:pt x="168" y="169"/>
                    <a:pt x="169" y="168"/>
                  </a:cubicBezTo>
                  <a:cubicBezTo>
                    <a:pt x="169" y="168"/>
                    <a:pt x="168" y="167"/>
                    <a:pt x="168" y="167"/>
                  </a:cubicBezTo>
                  <a:cubicBezTo>
                    <a:pt x="169" y="166"/>
                    <a:pt x="171" y="167"/>
                    <a:pt x="171" y="168"/>
                  </a:cubicBezTo>
                  <a:cubicBezTo>
                    <a:pt x="171" y="168"/>
                    <a:pt x="170" y="169"/>
                    <a:pt x="171" y="169"/>
                  </a:cubicBezTo>
                  <a:cubicBezTo>
                    <a:pt x="172" y="168"/>
                    <a:pt x="172" y="168"/>
                    <a:pt x="172" y="168"/>
                  </a:cubicBezTo>
                  <a:cubicBezTo>
                    <a:pt x="172" y="167"/>
                    <a:pt x="171" y="167"/>
                    <a:pt x="172" y="167"/>
                  </a:cubicBezTo>
                  <a:cubicBezTo>
                    <a:pt x="173" y="168"/>
                    <a:pt x="173" y="168"/>
                    <a:pt x="172" y="169"/>
                  </a:cubicBezTo>
                  <a:cubicBezTo>
                    <a:pt x="172" y="169"/>
                    <a:pt x="170" y="169"/>
                    <a:pt x="171" y="170"/>
                  </a:cubicBezTo>
                  <a:cubicBezTo>
                    <a:pt x="171" y="170"/>
                    <a:pt x="170" y="170"/>
                    <a:pt x="170" y="171"/>
                  </a:cubicBezTo>
                  <a:cubicBezTo>
                    <a:pt x="170" y="171"/>
                    <a:pt x="171" y="171"/>
                    <a:pt x="171" y="171"/>
                  </a:cubicBezTo>
                  <a:cubicBezTo>
                    <a:pt x="171" y="172"/>
                    <a:pt x="171" y="172"/>
                    <a:pt x="171" y="172"/>
                  </a:cubicBezTo>
                  <a:cubicBezTo>
                    <a:pt x="171" y="172"/>
                    <a:pt x="171" y="173"/>
                    <a:pt x="171" y="173"/>
                  </a:cubicBezTo>
                  <a:cubicBezTo>
                    <a:pt x="172" y="173"/>
                    <a:pt x="172" y="172"/>
                    <a:pt x="172" y="172"/>
                  </a:cubicBezTo>
                  <a:cubicBezTo>
                    <a:pt x="174" y="172"/>
                    <a:pt x="176" y="175"/>
                    <a:pt x="177" y="176"/>
                  </a:cubicBezTo>
                  <a:cubicBezTo>
                    <a:pt x="176" y="176"/>
                    <a:pt x="176" y="176"/>
                    <a:pt x="177" y="177"/>
                  </a:cubicBezTo>
                  <a:cubicBezTo>
                    <a:pt x="178" y="178"/>
                    <a:pt x="178" y="177"/>
                    <a:pt x="179" y="176"/>
                  </a:cubicBezTo>
                  <a:cubicBezTo>
                    <a:pt x="179" y="177"/>
                    <a:pt x="179" y="177"/>
                    <a:pt x="179" y="178"/>
                  </a:cubicBezTo>
                  <a:cubicBezTo>
                    <a:pt x="179" y="178"/>
                    <a:pt x="179" y="178"/>
                    <a:pt x="179" y="179"/>
                  </a:cubicBezTo>
                  <a:cubicBezTo>
                    <a:pt x="179" y="178"/>
                    <a:pt x="179" y="180"/>
                    <a:pt x="179" y="180"/>
                  </a:cubicBezTo>
                  <a:cubicBezTo>
                    <a:pt x="180" y="182"/>
                    <a:pt x="182" y="179"/>
                    <a:pt x="183" y="179"/>
                  </a:cubicBezTo>
                  <a:cubicBezTo>
                    <a:pt x="183" y="179"/>
                    <a:pt x="183" y="179"/>
                    <a:pt x="183" y="178"/>
                  </a:cubicBezTo>
                  <a:cubicBezTo>
                    <a:pt x="183" y="179"/>
                    <a:pt x="183" y="181"/>
                    <a:pt x="183" y="181"/>
                  </a:cubicBezTo>
                  <a:cubicBezTo>
                    <a:pt x="183" y="181"/>
                    <a:pt x="182" y="181"/>
                    <a:pt x="182" y="181"/>
                  </a:cubicBezTo>
                  <a:cubicBezTo>
                    <a:pt x="182" y="181"/>
                    <a:pt x="182" y="182"/>
                    <a:pt x="182" y="183"/>
                  </a:cubicBezTo>
                  <a:cubicBezTo>
                    <a:pt x="183" y="182"/>
                    <a:pt x="183" y="181"/>
                    <a:pt x="183" y="181"/>
                  </a:cubicBezTo>
                  <a:cubicBezTo>
                    <a:pt x="184" y="181"/>
                    <a:pt x="185" y="182"/>
                    <a:pt x="186" y="182"/>
                  </a:cubicBezTo>
                  <a:cubicBezTo>
                    <a:pt x="187" y="182"/>
                    <a:pt x="187" y="181"/>
                    <a:pt x="186" y="181"/>
                  </a:cubicBezTo>
                  <a:cubicBezTo>
                    <a:pt x="187" y="180"/>
                    <a:pt x="189" y="181"/>
                    <a:pt x="190" y="182"/>
                  </a:cubicBezTo>
                  <a:cubicBezTo>
                    <a:pt x="190" y="182"/>
                    <a:pt x="190" y="183"/>
                    <a:pt x="190" y="184"/>
                  </a:cubicBezTo>
                  <a:cubicBezTo>
                    <a:pt x="190" y="184"/>
                    <a:pt x="191" y="183"/>
                    <a:pt x="192" y="183"/>
                  </a:cubicBezTo>
                  <a:cubicBezTo>
                    <a:pt x="192" y="183"/>
                    <a:pt x="193" y="184"/>
                    <a:pt x="193" y="184"/>
                  </a:cubicBezTo>
                  <a:cubicBezTo>
                    <a:pt x="193" y="185"/>
                    <a:pt x="191" y="185"/>
                    <a:pt x="190" y="186"/>
                  </a:cubicBezTo>
                  <a:cubicBezTo>
                    <a:pt x="190" y="186"/>
                    <a:pt x="190" y="186"/>
                    <a:pt x="190" y="187"/>
                  </a:cubicBezTo>
                  <a:cubicBezTo>
                    <a:pt x="189" y="187"/>
                    <a:pt x="188" y="187"/>
                    <a:pt x="187" y="187"/>
                  </a:cubicBezTo>
                  <a:cubicBezTo>
                    <a:pt x="187" y="187"/>
                    <a:pt x="184" y="186"/>
                    <a:pt x="184" y="186"/>
                  </a:cubicBezTo>
                  <a:cubicBezTo>
                    <a:pt x="184" y="187"/>
                    <a:pt x="186" y="188"/>
                    <a:pt x="187" y="189"/>
                  </a:cubicBezTo>
                  <a:cubicBezTo>
                    <a:pt x="188" y="189"/>
                    <a:pt x="188" y="190"/>
                    <a:pt x="189" y="190"/>
                  </a:cubicBezTo>
                  <a:cubicBezTo>
                    <a:pt x="188" y="191"/>
                    <a:pt x="190" y="191"/>
                    <a:pt x="191" y="191"/>
                  </a:cubicBezTo>
                  <a:cubicBezTo>
                    <a:pt x="192" y="192"/>
                    <a:pt x="194" y="192"/>
                    <a:pt x="196" y="192"/>
                  </a:cubicBezTo>
                  <a:cubicBezTo>
                    <a:pt x="196" y="191"/>
                    <a:pt x="196" y="191"/>
                    <a:pt x="196" y="191"/>
                  </a:cubicBezTo>
                  <a:cubicBezTo>
                    <a:pt x="196" y="192"/>
                    <a:pt x="196" y="193"/>
                    <a:pt x="195" y="193"/>
                  </a:cubicBezTo>
                  <a:cubicBezTo>
                    <a:pt x="195" y="193"/>
                    <a:pt x="194" y="193"/>
                    <a:pt x="194" y="194"/>
                  </a:cubicBezTo>
                  <a:cubicBezTo>
                    <a:pt x="194" y="195"/>
                    <a:pt x="207" y="197"/>
                    <a:pt x="208" y="197"/>
                  </a:cubicBezTo>
                  <a:cubicBezTo>
                    <a:pt x="208" y="197"/>
                    <a:pt x="207" y="197"/>
                    <a:pt x="208" y="196"/>
                  </a:cubicBezTo>
                  <a:cubicBezTo>
                    <a:pt x="208" y="196"/>
                    <a:pt x="211" y="197"/>
                    <a:pt x="212" y="197"/>
                  </a:cubicBezTo>
                  <a:cubicBezTo>
                    <a:pt x="211" y="198"/>
                    <a:pt x="211" y="198"/>
                    <a:pt x="211" y="199"/>
                  </a:cubicBezTo>
                  <a:cubicBezTo>
                    <a:pt x="210" y="199"/>
                    <a:pt x="210" y="199"/>
                    <a:pt x="210" y="199"/>
                  </a:cubicBezTo>
                  <a:cubicBezTo>
                    <a:pt x="211" y="201"/>
                    <a:pt x="212" y="200"/>
                    <a:pt x="213" y="200"/>
                  </a:cubicBezTo>
                  <a:cubicBezTo>
                    <a:pt x="213" y="202"/>
                    <a:pt x="213" y="202"/>
                    <a:pt x="215" y="203"/>
                  </a:cubicBezTo>
                  <a:cubicBezTo>
                    <a:pt x="219" y="205"/>
                    <a:pt x="223" y="206"/>
                    <a:pt x="227" y="207"/>
                  </a:cubicBezTo>
                  <a:cubicBezTo>
                    <a:pt x="227" y="206"/>
                    <a:pt x="227" y="206"/>
                    <a:pt x="227" y="206"/>
                  </a:cubicBezTo>
                  <a:cubicBezTo>
                    <a:pt x="227" y="206"/>
                    <a:pt x="227" y="207"/>
                    <a:pt x="228" y="207"/>
                  </a:cubicBezTo>
                  <a:cubicBezTo>
                    <a:pt x="231" y="208"/>
                    <a:pt x="235" y="209"/>
                    <a:pt x="239" y="210"/>
                  </a:cubicBezTo>
                  <a:cubicBezTo>
                    <a:pt x="241" y="211"/>
                    <a:pt x="242" y="211"/>
                    <a:pt x="244" y="212"/>
                  </a:cubicBezTo>
                  <a:cubicBezTo>
                    <a:pt x="245" y="212"/>
                    <a:pt x="246" y="211"/>
                    <a:pt x="247" y="211"/>
                  </a:cubicBezTo>
                  <a:cubicBezTo>
                    <a:pt x="247" y="211"/>
                    <a:pt x="246" y="210"/>
                    <a:pt x="245" y="209"/>
                  </a:cubicBezTo>
                  <a:cubicBezTo>
                    <a:pt x="245" y="209"/>
                    <a:pt x="245" y="208"/>
                    <a:pt x="245" y="208"/>
                  </a:cubicBezTo>
                  <a:cubicBezTo>
                    <a:pt x="245" y="208"/>
                    <a:pt x="246" y="209"/>
                    <a:pt x="246" y="208"/>
                  </a:cubicBezTo>
                  <a:cubicBezTo>
                    <a:pt x="247" y="208"/>
                    <a:pt x="246" y="207"/>
                    <a:pt x="247" y="206"/>
                  </a:cubicBezTo>
                  <a:cubicBezTo>
                    <a:pt x="246" y="205"/>
                    <a:pt x="245" y="206"/>
                    <a:pt x="244" y="205"/>
                  </a:cubicBezTo>
                  <a:cubicBezTo>
                    <a:pt x="244" y="205"/>
                    <a:pt x="245" y="205"/>
                    <a:pt x="245" y="205"/>
                  </a:cubicBezTo>
                  <a:cubicBezTo>
                    <a:pt x="243" y="203"/>
                    <a:pt x="243" y="205"/>
                    <a:pt x="242" y="204"/>
                  </a:cubicBezTo>
                  <a:cubicBezTo>
                    <a:pt x="242" y="204"/>
                    <a:pt x="243" y="204"/>
                    <a:pt x="243" y="203"/>
                  </a:cubicBezTo>
                  <a:cubicBezTo>
                    <a:pt x="243" y="203"/>
                    <a:pt x="242" y="203"/>
                    <a:pt x="242" y="203"/>
                  </a:cubicBezTo>
                  <a:cubicBezTo>
                    <a:pt x="241" y="202"/>
                    <a:pt x="241" y="201"/>
                    <a:pt x="241" y="201"/>
                  </a:cubicBezTo>
                  <a:cubicBezTo>
                    <a:pt x="241" y="200"/>
                    <a:pt x="240" y="200"/>
                    <a:pt x="240" y="200"/>
                  </a:cubicBezTo>
                  <a:cubicBezTo>
                    <a:pt x="239" y="200"/>
                    <a:pt x="239" y="199"/>
                    <a:pt x="239" y="199"/>
                  </a:cubicBezTo>
                  <a:cubicBezTo>
                    <a:pt x="237" y="198"/>
                    <a:pt x="236" y="200"/>
                    <a:pt x="236" y="198"/>
                  </a:cubicBezTo>
                  <a:cubicBezTo>
                    <a:pt x="236" y="197"/>
                    <a:pt x="235" y="197"/>
                    <a:pt x="235" y="197"/>
                  </a:cubicBezTo>
                  <a:cubicBezTo>
                    <a:pt x="234" y="196"/>
                    <a:pt x="234" y="197"/>
                    <a:pt x="234" y="196"/>
                  </a:cubicBezTo>
                  <a:cubicBezTo>
                    <a:pt x="234" y="196"/>
                    <a:pt x="233" y="196"/>
                    <a:pt x="233" y="196"/>
                  </a:cubicBezTo>
                  <a:cubicBezTo>
                    <a:pt x="234" y="196"/>
                    <a:pt x="234" y="195"/>
                    <a:pt x="233" y="194"/>
                  </a:cubicBezTo>
                  <a:cubicBezTo>
                    <a:pt x="233" y="194"/>
                    <a:pt x="232" y="195"/>
                    <a:pt x="232" y="195"/>
                  </a:cubicBezTo>
                  <a:cubicBezTo>
                    <a:pt x="232" y="194"/>
                    <a:pt x="232" y="194"/>
                    <a:pt x="232" y="194"/>
                  </a:cubicBezTo>
                  <a:cubicBezTo>
                    <a:pt x="231" y="194"/>
                    <a:pt x="230" y="195"/>
                    <a:pt x="230" y="195"/>
                  </a:cubicBezTo>
                  <a:cubicBezTo>
                    <a:pt x="230" y="194"/>
                    <a:pt x="231" y="194"/>
                    <a:pt x="231" y="194"/>
                  </a:cubicBezTo>
                  <a:cubicBezTo>
                    <a:pt x="230" y="193"/>
                    <a:pt x="230" y="193"/>
                    <a:pt x="229" y="194"/>
                  </a:cubicBezTo>
                  <a:cubicBezTo>
                    <a:pt x="229" y="194"/>
                    <a:pt x="229" y="194"/>
                    <a:pt x="229" y="194"/>
                  </a:cubicBezTo>
                  <a:cubicBezTo>
                    <a:pt x="229" y="194"/>
                    <a:pt x="228" y="194"/>
                    <a:pt x="229" y="194"/>
                  </a:cubicBezTo>
                  <a:cubicBezTo>
                    <a:pt x="229" y="193"/>
                    <a:pt x="230" y="193"/>
                    <a:pt x="230" y="193"/>
                  </a:cubicBezTo>
                  <a:cubicBezTo>
                    <a:pt x="230" y="192"/>
                    <a:pt x="228" y="192"/>
                    <a:pt x="228" y="192"/>
                  </a:cubicBezTo>
                  <a:cubicBezTo>
                    <a:pt x="227" y="192"/>
                    <a:pt x="227" y="194"/>
                    <a:pt x="226" y="191"/>
                  </a:cubicBezTo>
                  <a:cubicBezTo>
                    <a:pt x="226" y="191"/>
                    <a:pt x="226" y="191"/>
                    <a:pt x="226" y="191"/>
                  </a:cubicBezTo>
                  <a:cubicBezTo>
                    <a:pt x="226" y="191"/>
                    <a:pt x="225" y="191"/>
                    <a:pt x="225" y="191"/>
                  </a:cubicBezTo>
                  <a:cubicBezTo>
                    <a:pt x="224" y="191"/>
                    <a:pt x="224" y="190"/>
                    <a:pt x="223" y="189"/>
                  </a:cubicBezTo>
                  <a:cubicBezTo>
                    <a:pt x="223" y="188"/>
                    <a:pt x="221" y="187"/>
                    <a:pt x="220" y="186"/>
                  </a:cubicBezTo>
                  <a:cubicBezTo>
                    <a:pt x="219" y="185"/>
                    <a:pt x="219" y="185"/>
                    <a:pt x="218" y="184"/>
                  </a:cubicBezTo>
                  <a:cubicBezTo>
                    <a:pt x="218" y="184"/>
                    <a:pt x="217" y="183"/>
                    <a:pt x="217" y="182"/>
                  </a:cubicBezTo>
                  <a:cubicBezTo>
                    <a:pt x="217" y="182"/>
                    <a:pt x="216" y="182"/>
                    <a:pt x="216" y="182"/>
                  </a:cubicBezTo>
                  <a:cubicBezTo>
                    <a:pt x="217" y="181"/>
                    <a:pt x="218" y="181"/>
                    <a:pt x="218" y="182"/>
                  </a:cubicBezTo>
                  <a:cubicBezTo>
                    <a:pt x="219" y="180"/>
                    <a:pt x="220" y="179"/>
                    <a:pt x="221" y="179"/>
                  </a:cubicBezTo>
                  <a:cubicBezTo>
                    <a:pt x="223" y="179"/>
                    <a:pt x="224" y="180"/>
                    <a:pt x="224" y="182"/>
                  </a:cubicBezTo>
                  <a:cubicBezTo>
                    <a:pt x="224" y="182"/>
                    <a:pt x="224" y="183"/>
                    <a:pt x="224" y="183"/>
                  </a:cubicBezTo>
                  <a:cubicBezTo>
                    <a:pt x="224" y="183"/>
                    <a:pt x="224" y="183"/>
                    <a:pt x="224" y="183"/>
                  </a:cubicBezTo>
                  <a:cubicBezTo>
                    <a:pt x="224" y="183"/>
                    <a:pt x="224" y="184"/>
                    <a:pt x="224" y="184"/>
                  </a:cubicBezTo>
                  <a:cubicBezTo>
                    <a:pt x="224" y="184"/>
                    <a:pt x="224" y="184"/>
                    <a:pt x="225" y="184"/>
                  </a:cubicBezTo>
                  <a:cubicBezTo>
                    <a:pt x="225" y="184"/>
                    <a:pt x="226" y="185"/>
                    <a:pt x="226" y="185"/>
                  </a:cubicBezTo>
                  <a:cubicBezTo>
                    <a:pt x="226" y="185"/>
                    <a:pt x="226" y="185"/>
                    <a:pt x="226" y="185"/>
                  </a:cubicBezTo>
                  <a:cubicBezTo>
                    <a:pt x="226" y="185"/>
                    <a:pt x="226" y="185"/>
                    <a:pt x="227" y="185"/>
                  </a:cubicBezTo>
                  <a:cubicBezTo>
                    <a:pt x="227" y="186"/>
                    <a:pt x="228" y="187"/>
                    <a:pt x="228" y="187"/>
                  </a:cubicBezTo>
                  <a:cubicBezTo>
                    <a:pt x="229" y="188"/>
                    <a:pt x="230" y="188"/>
                    <a:pt x="229" y="186"/>
                  </a:cubicBezTo>
                  <a:cubicBezTo>
                    <a:pt x="229" y="185"/>
                    <a:pt x="228" y="185"/>
                    <a:pt x="228" y="184"/>
                  </a:cubicBezTo>
                  <a:cubicBezTo>
                    <a:pt x="228" y="184"/>
                    <a:pt x="227" y="182"/>
                    <a:pt x="227" y="182"/>
                  </a:cubicBezTo>
                  <a:cubicBezTo>
                    <a:pt x="227" y="182"/>
                    <a:pt x="227" y="181"/>
                    <a:pt x="227" y="181"/>
                  </a:cubicBezTo>
                  <a:cubicBezTo>
                    <a:pt x="228" y="182"/>
                    <a:pt x="228" y="183"/>
                    <a:pt x="229" y="183"/>
                  </a:cubicBezTo>
                  <a:cubicBezTo>
                    <a:pt x="229" y="183"/>
                    <a:pt x="229" y="183"/>
                    <a:pt x="230" y="183"/>
                  </a:cubicBezTo>
                  <a:cubicBezTo>
                    <a:pt x="230" y="183"/>
                    <a:pt x="230" y="184"/>
                    <a:pt x="230" y="184"/>
                  </a:cubicBezTo>
                  <a:cubicBezTo>
                    <a:pt x="230" y="185"/>
                    <a:pt x="231" y="185"/>
                    <a:pt x="231" y="186"/>
                  </a:cubicBezTo>
                  <a:cubicBezTo>
                    <a:pt x="231" y="186"/>
                    <a:pt x="232" y="187"/>
                    <a:pt x="233" y="187"/>
                  </a:cubicBezTo>
                  <a:cubicBezTo>
                    <a:pt x="233" y="188"/>
                    <a:pt x="235" y="189"/>
                    <a:pt x="236" y="189"/>
                  </a:cubicBezTo>
                  <a:cubicBezTo>
                    <a:pt x="237" y="189"/>
                    <a:pt x="237" y="189"/>
                    <a:pt x="237" y="189"/>
                  </a:cubicBezTo>
                  <a:cubicBezTo>
                    <a:pt x="237" y="189"/>
                    <a:pt x="237" y="190"/>
                    <a:pt x="237" y="190"/>
                  </a:cubicBezTo>
                  <a:cubicBezTo>
                    <a:pt x="237" y="190"/>
                    <a:pt x="237" y="190"/>
                    <a:pt x="237" y="190"/>
                  </a:cubicBezTo>
                  <a:cubicBezTo>
                    <a:pt x="238" y="191"/>
                    <a:pt x="238" y="192"/>
                    <a:pt x="239" y="190"/>
                  </a:cubicBezTo>
                  <a:cubicBezTo>
                    <a:pt x="239" y="191"/>
                    <a:pt x="239" y="192"/>
                    <a:pt x="239" y="192"/>
                  </a:cubicBezTo>
                  <a:cubicBezTo>
                    <a:pt x="240" y="193"/>
                    <a:pt x="240" y="193"/>
                    <a:pt x="241" y="194"/>
                  </a:cubicBezTo>
                  <a:cubicBezTo>
                    <a:pt x="241" y="193"/>
                    <a:pt x="240" y="193"/>
                    <a:pt x="240" y="192"/>
                  </a:cubicBezTo>
                  <a:cubicBezTo>
                    <a:pt x="242" y="193"/>
                    <a:pt x="240" y="190"/>
                    <a:pt x="239" y="189"/>
                  </a:cubicBezTo>
                  <a:cubicBezTo>
                    <a:pt x="242" y="190"/>
                    <a:pt x="241" y="192"/>
                    <a:pt x="243" y="194"/>
                  </a:cubicBezTo>
                  <a:cubicBezTo>
                    <a:pt x="243" y="194"/>
                    <a:pt x="244" y="194"/>
                    <a:pt x="245" y="194"/>
                  </a:cubicBezTo>
                  <a:cubicBezTo>
                    <a:pt x="245" y="194"/>
                    <a:pt x="245" y="195"/>
                    <a:pt x="245" y="194"/>
                  </a:cubicBezTo>
                  <a:cubicBezTo>
                    <a:pt x="245" y="193"/>
                    <a:pt x="244" y="192"/>
                    <a:pt x="244" y="192"/>
                  </a:cubicBezTo>
                  <a:cubicBezTo>
                    <a:pt x="245" y="192"/>
                    <a:pt x="245" y="192"/>
                    <a:pt x="245" y="193"/>
                  </a:cubicBezTo>
                  <a:cubicBezTo>
                    <a:pt x="245" y="192"/>
                    <a:pt x="246" y="193"/>
                    <a:pt x="246" y="193"/>
                  </a:cubicBezTo>
                  <a:cubicBezTo>
                    <a:pt x="246" y="193"/>
                    <a:pt x="246" y="193"/>
                    <a:pt x="246" y="193"/>
                  </a:cubicBezTo>
                  <a:cubicBezTo>
                    <a:pt x="247" y="193"/>
                    <a:pt x="246" y="194"/>
                    <a:pt x="247" y="194"/>
                  </a:cubicBezTo>
                  <a:cubicBezTo>
                    <a:pt x="247" y="194"/>
                    <a:pt x="248" y="193"/>
                    <a:pt x="248" y="193"/>
                  </a:cubicBezTo>
                  <a:cubicBezTo>
                    <a:pt x="248" y="193"/>
                    <a:pt x="247" y="194"/>
                    <a:pt x="247" y="194"/>
                  </a:cubicBezTo>
                  <a:cubicBezTo>
                    <a:pt x="247" y="195"/>
                    <a:pt x="248" y="195"/>
                    <a:pt x="248" y="195"/>
                  </a:cubicBezTo>
                  <a:cubicBezTo>
                    <a:pt x="249" y="196"/>
                    <a:pt x="249" y="195"/>
                    <a:pt x="250" y="194"/>
                  </a:cubicBezTo>
                  <a:cubicBezTo>
                    <a:pt x="249" y="196"/>
                    <a:pt x="252" y="198"/>
                    <a:pt x="254" y="196"/>
                  </a:cubicBezTo>
                  <a:cubicBezTo>
                    <a:pt x="254" y="196"/>
                    <a:pt x="254" y="196"/>
                    <a:pt x="254" y="196"/>
                  </a:cubicBezTo>
                  <a:cubicBezTo>
                    <a:pt x="253" y="196"/>
                    <a:pt x="253" y="197"/>
                    <a:pt x="254" y="197"/>
                  </a:cubicBezTo>
                  <a:cubicBezTo>
                    <a:pt x="254" y="197"/>
                    <a:pt x="253" y="200"/>
                    <a:pt x="254" y="198"/>
                  </a:cubicBezTo>
                  <a:cubicBezTo>
                    <a:pt x="254" y="199"/>
                    <a:pt x="254" y="200"/>
                    <a:pt x="255" y="201"/>
                  </a:cubicBezTo>
                  <a:cubicBezTo>
                    <a:pt x="256" y="201"/>
                    <a:pt x="257" y="200"/>
                    <a:pt x="258" y="199"/>
                  </a:cubicBezTo>
                  <a:cubicBezTo>
                    <a:pt x="257" y="198"/>
                    <a:pt x="256" y="197"/>
                    <a:pt x="255" y="196"/>
                  </a:cubicBezTo>
                  <a:cubicBezTo>
                    <a:pt x="255" y="195"/>
                    <a:pt x="255" y="194"/>
                    <a:pt x="254" y="194"/>
                  </a:cubicBezTo>
                  <a:cubicBezTo>
                    <a:pt x="255" y="194"/>
                    <a:pt x="255" y="194"/>
                    <a:pt x="256" y="195"/>
                  </a:cubicBezTo>
                  <a:cubicBezTo>
                    <a:pt x="256" y="194"/>
                    <a:pt x="256" y="194"/>
                    <a:pt x="256" y="194"/>
                  </a:cubicBezTo>
                  <a:cubicBezTo>
                    <a:pt x="256" y="195"/>
                    <a:pt x="257" y="195"/>
                    <a:pt x="258" y="195"/>
                  </a:cubicBezTo>
                  <a:cubicBezTo>
                    <a:pt x="259" y="196"/>
                    <a:pt x="260" y="195"/>
                    <a:pt x="261" y="195"/>
                  </a:cubicBezTo>
                  <a:cubicBezTo>
                    <a:pt x="260" y="195"/>
                    <a:pt x="259" y="194"/>
                    <a:pt x="259" y="194"/>
                  </a:cubicBezTo>
                  <a:cubicBezTo>
                    <a:pt x="259" y="193"/>
                    <a:pt x="260" y="192"/>
                    <a:pt x="259" y="192"/>
                  </a:cubicBezTo>
                  <a:cubicBezTo>
                    <a:pt x="259" y="191"/>
                    <a:pt x="258" y="191"/>
                    <a:pt x="257" y="191"/>
                  </a:cubicBezTo>
                  <a:cubicBezTo>
                    <a:pt x="257" y="191"/>
                    <a:pt x="255" y="190"/>
                    <a:pt x="257" y="190"/>
                  </a:cubicBezTo>
                  <a:cubicBezTo>
                    <a:pt x="256" y="190"/>
                    <a:pt x="256" y="190"/>
                    <a:pt x="256" y="189"/>
                  </a:cubicBezTo>
                  <a:cubicBezTo>
                    <a:pt x="256" y="189"/>
                    <a:pt x="257" y="190"/>
                    <a:pt x="257" y="189"/>
                  </a:cubicBezTo>
                  <a:cubicBezTo>
                    <a:pt x="257" y="190"/>
                    <a:pt x="258" y="190"/>
                    <a:pt x="258" y="189"/>
                  </a:cubicBezTo>
                  <a:cubicBezTo>
                    <a:pt x="257" y="189"/>
                    <a:pt x="256" y="187"/>
                    <a:pt x="256" y="187"/>
                  </a:cubicBezTo>
                  <a:cubicBezTo>
                    <a:pt x="256" y="186"/>
                    <a:pt x="257" y="186"/>
                    <a:pt x="256" y="186"/>
                  </a:cubicBezTo>
                  <a:cubicBezTo>
                    <a:pt x="256" y="185"/>
                    <a:pt x="256" y="185"/>
                    <a:pt x="256" y="185"/>
                  </a:cubicBezTo>
                  <a:cubicBezTo>
                    <a:pt x="256" y="184"/>
                    <a:pt x="257" y="184"/>
                    <a:pt x="257" y="184"/>
                  </a:cubicBezTo>
                  <a:cubicBezTo>
                    <a:pt x="257" y="184"/>
                    <a:pt x="257" y="184"/>
                    <a:pt x="256" y="183"/>
                  </a:cubicBezTo>
                  <a:cubicBezTo>
                    <a:pt x="256" y="182"/>
                    <a:pt x="255" y="181"/>
                    <a:pt x="254" y="181"/>
                  </a:cubicBezTo>
                  <a:cubicBezTo>
                    <a:pt x="256" y="180"/>
                    <a:pt x="256" y="182"/>
                    <a:pt x="257" y="183"/>
                  </a:cubicBezTo>
                  <a:cubicBezTo>
                    <a:pt x="257" y="183"/>
                    <a:pt x="257" y="183"/>
                    <a:pt x="258" y="184"/>
                  </a:cubicBezTo>
                  <a:cubicBezTo>
                    <a:pt x="258" y="184"/>
                    <a:pt x="258" y="185"/>
                    <a:pt x="259" y="185"/>
                  </a:cubicBezTo>
                  <a:cubicBezTo>
                    <a:pt x="259" y="186"/>
                    <a:pt x="259" y="189"/>
                    <a:pt x="260" y="189"/>
                  </a:cubicBezTo>
                  <a:cubicBezTo>
                    <a:pt x="261" y="190"/>
                    <a:pt x="262" y="190"/>
                    <a:pt x="262" y="189"/>
                  </a:cubicBezTo>
                  <a:cubicBezTo>
                    <a:pt x="262" y="189"/>
                    <a:pt x="262" y="189"/>
                    <a:pt x="261" y="188"/>
                  </a:cubicBezTo>
                  <a:cubicBezTo>
                    <a:pt x="263" y="189"/>
                    <a:pt x="262" y="186"/>
                    <a:pt x="262" y="185"/>
                  </a:cubicBezTo>
                  <a:cubicBezTo>
                    <a:pt x="262" y="183"/>
                    <a:pt x="262" y="183"/>
                    <a:pt x="260" y="182"/>
                  </a:cubicBezTo>
                  <a:cubicBezTo>
                    <a:pt x="259" y="181"/>
                    <a:pt x="256" y="181"/>
                    <a:pt x="258" y="179"/>
                  </a:cubicBezTo>
                  <a:cubicBezTo>
                    <a:pt x="259" y="179"/>
                    <a:pt x="260" y="178"/>
                    <a:pt x="261" y="178"/>
                  </a:cubicBezTo>
                  <a:cubicBezTo>
                    <a:pt x="260" y="177"/>
                    <a:pt x="259" y="177"/>
                    <a:pt x="258" y="177"/>
                  </a:cubicBezTo>
                  <a:cubicBezTo>
                    <a:pt x="258" y="177"/>
                    <a:pt x="258" y="178"/>
                    <a:pt x="258" y="178"/>
                  </a:cubicBezTo>
                  <a:cubicBezTo>
                    <a:pt x="258" y="178"/>
                    <a:pt x="256" y="177"/>
                    <a:pt x="256" y="177"/>
                  </a:cubicBezTo>
                  <a:cubicBezTo>
                    <a:pt x="256" y="177"/>
                    <a:pt x="255" y="177"/>
                    <a:pt x="255" y="177"/>
                  </a:cubicBezTo>
                  <a:cubicBezTo>
                    <a:pt x="255" y="177"/>
                    <a:pt x="256" y="177"/>
                    <a:pt x="256" y="176"/>
                  </a:cubicBezTo>
                  <a:cubicBezTo>
                    <a:pt x="255" y="176"/>
                    <a:pt x="255" y="175"/>
                    <a:pt x="254" y="175"/>
                  </a:cubicBezTo>
                  <a:cubicBezTo>
                    <a:pt x="254" y="174"/>
                    <a:pt x="254" y="175"/>
                    <a:pt x="253" y="175"/>
                  </a:cubicBezTo>
                  <a:cubicBezTo>
                    <a:pt x="253" y="175"/>
                    <a:pt x="254" y="174"/>
                    <a:pt x="254" y="174"/>
                  </a:cubicBezTo>
                  <a:cubicBezTo>
                    <a:pt x="253" y="173"/>
                    <a:pt x="253" y="174"/>
                    <a:pt x="251" y="173"/>
                  </a:cubicBezTo>
                  <a:cubicBezTo>
                    <a:pt x="252" y="173"/>
                    <a:pt x="252" y="173"/>
                    <a:pt x="253" y="173"/>
                  </a:cubicBezTo>
                  <a:cubicBezTo>
                    <a:pt x="252" y="172"/>
                    <a:pt x="251" y="173"/>
                    <a:pt x="250" y="172"/>
                  </a:cubicBezTo>
                  <a:cubicBezTo>
                    <a:pt x="252" y="172"/>
                    <a:pt x="254" y="173"/>
                    <a:pt x="255" y="172"/>
                  </a:cubicBezTo>
                  <a:cubicBezTo>
                    <a:pt x="255" y="172"/>
                    <a:pt x="255" y="171"/>
                    <a:pt x="255" y="171"/>
                  </a:cubicBezTo>
                  <a:cubicBezTo>
                    <a:pt x="255" y="171"/>
                    <a:pt x="256" y="171"/>
                    <a:pt x="256" y="171"/>
                  </a:cubicBezTo>
                  <a:cubicBezTo>
                    <a:pt x="256" y="169"/>
                    <a:pt x="255" y="170"/>
                    <a:pt x="254" y="169"/>
                  </a:cubicBezTo>
                  <a:cubicBezTo>
                    <a:pt x="254" y="170"/>
                    <a:pt x="254" y="170"/>
                    <a:pt x="254" y="170"/>
                  </a:cubicBezTo>
                  <a:cubicBezTo>
                    <a:pt x="254" y="170"/>
                    <a:pt x="253" y="170"/>
                    <a:pt x="253" y="170"/>
                  </a:cubicBezTo>
                  <a:cubicBezTo>
                    <a:pt x="253" y="170"/>
                    <a:pt x="252" y="169"/>
                    <a:pt x="252" y="169"/>
                  </a:cubicBezTo>
                  <a:cubicBezTo>
                    <a:pt x="251" y="169"/>
                    <a:pt x="250" y="170"/>
                    <a:pt x="250" y="169"/>
                  </a:cubicBezTo>
                  <a:cubicBezTo>
                    <a:pt x="249" y="169"/>
                    <a:pt x="251" y="167"/>
                    <a:pt x="251" y="167"/>
                  </a:cubicBezTo>
                  <a:cubicBezTo>
                    <a:pt x="252" y="165"/>
                    <a:pt x="249" y="165"/>
                    <a:pt x="250" y="166"/>
                  </a:cubicBezTo>
                  <a:cubicBezTo>
                    <a:pt x="249" y="165"/>
                    <a:pt x="250" y="165"/>
                    <a:pt x="250" y="164"/>
                  </a:cubicBezTo>
                  <a:cubicBezTo>
                    <a:pt x="250" y="164"/>
                    <a:pt x="249" y="164"/>
                    <a:pt x="249" y="164"/>
                  </a:cubicBezTo>
                  <a:cubicBezTo>
                    <a:pt x="249" y="164"/>
                    <a:pt x="249" y="163"/>
                    <a:pt x="248" y="163"/>
                  </a:cubicBezTo>
                  <a:cubicBezTo>
                    <a:pt x="248" y="164"/>
                    <a:pt x="248" y="162"/>
                    <a:pt x="247" y="163"/>
                  </a:cubicBezTo>
                  <a:cubicBezTo>
                    <a:pt x="247" y="164"/>
                    <a:pt x="248" y="166"/>
                    <a:pt x="248" y="167"/>
                  </a:cubicBezTo>
                  <a:cubicBezTo>
                    <a:pt x="248" y="166"/>
                    <a:pt x="247" y="166"/>
                    <a:pt x="247" y="165"/>
                  </a:cubicBezTo>
                  <a:cubicBezTo>
                    <a:pt x="247" y="167"/>
                    <a:pt x="246" y="165"/>
                    <a:pt x="246" y="165"/>
                  </a:cubicBezTo>
                  <a:cubicBezTo>
                    <a:pt x="245" y="165"/>
                    <a:pt x="245" y="166"/>
                    <a:pt x="245" y="166"/>
                  </a:cubicBezTo>
                  <a:cubicBezTo>
                    <a:pt x="244" y="167"/>
                    <a:pt x="244" y="165"/>
                    <a:pt x="243" y="165"/>
                  </a:cubicBezTo>
                  <a:cubicBezTo>
                    <a:pt x="244" y="165"/>
                    <a:pt x="245" y="165"/>
                    <a:pt x="245" y="163"/>
                  </a:cubicBezTo>
                  <a:cubicBezTo>
                    <a:pt x="245" y="162"/>
                    <a:pt x="244" y="163"/>
                    <a:pt x="244" y="163"/>
                  </a:cubicBezTo>
                  <a:cubicBezTo>
                    <a:pt x="243" y="163"/>
                    <a:pt x="244" y="162"/>
                    <a:pt x="243" y="162"/>
                  </a:cubicBezTo>
                  <a:cubicBezTo>
                    <a:pt x="243" y="162"/>
                    <a:pt x="243" y="162"/>
                    <a:pt x="243" y="162"/>
                  </a:cubicBezTo>
                  <a:cubicBezTo>
                    <a:pt x="242" y="162"/>
                    <a:pt x="242" y="162"/>
                    <a:pt x="241" y="162"/>
                  </a:cubicBezTo>
                  <a:cubicBezTo>
                    <a:pt x="241" y="161"/>
                    <a:pt x="240" y="160"/>
                    <a:pt x="240" y="160"/>
                  </a:cubicBezTo>
                  <a:cubicBezTo>
                    <a:pt x="240" y="160"/>
                    <a:pt x="240" y="163"/>
                    <a:pt x="240" y="163"/>
                  </a:cubicBezTo>
                  <a:cubicBezTo>
                    <a:pt x="240" y="164"/>
                    <a:pt x="240" y="165"/>
                    <a:pt x="239" y="164"/>
                  </a:cubicBezTo>
                  <a:cubicBezTo>
                    <a:pt x="239" y="163"/>
                    <a:pt x="238" y="161"/>
                    <a:pt x="237" y="160"/>
                  </a:cubicBezTo>
                  <a:cubicBezTo>
                    <a:pt x="238" y="160"/>
                    <a:pt x="240" y="159"/>
                    <a:pt x="239" y="158"/>
                  </a:cubicBezTo>
                  <a:cubicBezTo>
                    <a:pt x="239" y="158"/>
                    <a:pt x="238" y="159"/>
                    <a:pt x="238" y="160"/>
                  </a:cubicBezTo>
                  <a:cubicBezTo>
                    <a:pt x="237" y="160"/>
                    <a:pt x="237" y="159"/>
                    <a:pt x="237" y="159"/>
                  </a:cubicBezTo>
                  <a:cubicBezTo>
                    <a:pt x="236" y="160"/>
                    <a:pt x="236" y="160"/>
                    <a:pt x="236" y="160"/>
                  </a:cubicBezTo>
                  <a:cubicBezTo>
                    <a:pt x="236" y="159"/>
                    <a:pt x="237" y="160"/>
                    <a:pt x="237" y="159"/>
                  </a:cubicBezTo>
                  <a:cubicBezTo>
                    <a:pt x="237" y="157"/>
                    <a:pt x="236" y="158"/>
                    <a:pt x="236" y="157"/>
                  </a:cubicBezTo>
                  <a:cubicBezTo>
                    <a:pt x="236" y="157"/>
                    <a:pt x="235" y="157"/>
                    <a:pt x="235" y="157"/>
                  </a:cubicBezTo>
                  <a:cubicBezTo>
                    <a:pt x="235" y="156"/>
                    <a:pt x="235" y="155"/>
                    <a:pt x="234" y="155"/>
                  </a:cubicBezTo>
                  <a:cubicBezTo>
                    <a:pt x="234" y="155"/>
                    <a:pt x="234" y="155"/>
                    <a:pt x="234" y="155"/>
                  </a:cubicBezTo>
                  <a:cubicBezTo>
                    <a:pt x="235" y="155"/>
                    <a:pt x="236" y="155"/>
                    <a:pt x="236" y="154"/>
                  </a:cubicBezTo>
                  <a:cubicBezTo>
                    <a:pt x="235" y="153"/>
                    <a:pt x="235" y="153"/>
                    <a:pt x="234" y="153"/>
                  </a:cubicBezTo>
                  <a:cubicBezTo>
                    <a:pt x="233" y="153"/>
                    <a:pt x="233" y="154"/>
                    <a:pt x="232" y="153"/>
                  </a:cubicBezTo>
                  <a:cubicBezTo>
                    <a:pt x="232" y="152"/>
                    <a:pt x="232" y="152"/>
                    <a:pt x="232" y="151"/>
                  </a:cubicBezTo>
                  <a:cubicBezTo>
                    <a:pt x="233" y="151"/>
                    <a:pt x="233" y="150"/>
                    <a:pt x="233" y="150"/>
                  </a:cubicBezTo>
                  <a:cubicBezTo>
                    <a:pt x="232" y="149"/>
                    <a:pt x="231" y="150"/>
                    <a:pt x="231" y="150"/>
                  </a:cubicBezTo>
                  <a:cubicBezTo>
                    <a:pt x="230" y="150"/>
                    <a:pt x="230" y="150"/>
                    <a:pt x="229" y="151"/>
                  </a:cubicBezTo>
                  <a:cubicBezTo>
                    <a:pt x="228" y="151"/>
                    <a:pt x="228" y="151"/>
                    <a:pt x="227" y="152"/>
                  </a:cubicBezTo>
                  <a:cubicBezTo>
                    <a:pt x="227" y="152"/>
                    <a:pt x="226" y="152"/>
                    <a:pt x="226" y="153"/>
                  </a:cubicBezTo>
                  <a:cubicBezTo>
                    <a:pt x="226" y="153"/>
                    <a:pt x="226" y="153"/>
                    <a:pt x="226" y="153"/>
                  </a:cubicBezTo>
                  <a:cubicBezTo>
                    <a:pt x="226" y="153"/>
                    <a:pt x="226" y="153"/>
                    <a:pt x="226" y="153"/>
                  </a:cubicBezTo>
                  <a:cubicBezTo>
                    <a:pt x="226" y="151"/>
                    <a:pt x="226" y="150"/>
                    <a:pt x="226" y="148"/>
                  </a:cubicBezTo>
                  <a:cubicBezTo>
                    <a:pt x="226" y="148"/>
                    <a:pt x="225" y="148"/>
                    <a:pt x="224" y="148"/>
                  </a:cubicBezTo>
                  <a:cubicBezTo>
                    <a:pt x="224" y="147"/>
                    <a:pt x="225" y="146"/>
                    <a:pt x="225" y="145"/>
                  </a:cubicBezTo>
                  <a:cubicBezTo>
                    <a:pt x="225" y="145"/>
                    <a:pt x="224" y="146"/>
                    <a:pt x="224" y="146"/>
                  </a:cubicBezTo>
                  <a:cubicBezTo>
                    <a:pt x="223" y="145"/>
                    <a:pt x="223" y="146"/>
                    <a:pt x="223" y="146"/>
                  </a:cubicBezTo>
                  <a:cubicBezTo>
                    <a:pt x="223" y="145"/>
                    <a:pt x="223" y="144"/>
                    <a:pt x="223" y="144"/>
                  </a:cubicBezTo>
                  <a:cubicBezTo>
                    <a:pt x="223" y="144"/>
                    <a:pt x="224" y="145"/>
                    <a:pt x="225" y="145"/>
                  </a:cubicBezTo>
                  <a:cubicBezTo>
                    <a:pt x="226" y="144"/>
                    <a:pt x="226" y="143"/>
                    <a:pt x="225" y="143"/>
                  </a:cubicBezTo>
                  <a:cubicBezTo>
                    <a:pt x="225" y="142"/>
                    <a:pt x="225" y="142"/>
                    <a:pt x="224" y="142"/>
                  </a:cubicBezTo>
                  <a:cubicBezTo>
                    <a:pt x="225" y="142"/>
                    <a:pt x="226" y="142"/>
                    <a:pt x="226" y="143"/>
                  </a:cubicBezTo>
                  <a:cubicBezTo>
                    <a:pt x="226" y="143"/>
                    <a:pt x="226" y="142"/>
                    <a:pt x="226" y="142"/>
                  </a:cubicBezTo>
                  <a:cubicBezTo>
                    <a:pt x="226" y="143"/>
                    <a:pt x="227" y="143"/>
                    <a:pt x="227" y="143"/>
                  </a:cubicBezTo>
                  <a:cubicBezTo>
                    <a:pt x="226" y="143"/>
                    <a:pt x="226" y="143"/>
                    <a:pt x="226" y="143"/>
                  </a:cubicBezTo>
                  <a:cubicBezTo>
                    <a:pt x="226" y="144"/>
                    <a:pt x="226" y="144"/>
                    <a:pt x="226" y="144"/>
                  </a:cubicBezTo>
                  <a:cubicBezTo>
                    <a:pt x="226" y="145"/>
                    <a:pt x="227" y="145"/>
                    <a:pt x="227" y="146"/>
                  </a:cubicBezTo>
                  <a:cubicBezTo>
                    <a:pt x="229" y="147"/>
                    <a:pt x="232" y="145"/>
                    <a:pt x="234" y="146"/>
                  </a:cubicBezTo>
                  <a:cubicBezTo>
                    <a:pt x="234" y="145"/>
                    <a:pt x="234" y="145"/>
                    <a:pt x="233" y="144"/>
                  </a:cubicBezTo>
                  <a:cubicBezTo>
                    <a:pt x="233" y="144"/>
                    <a:pt x="234" y="144"/>
                    <a:pt x="234" y="143"/>
                  </a:cubicBezTo>
                  <a:cubicBezTo>
                    <a:pt x="234" y="142"/>
                    <a:pt x="233" y="142"/>
                    <a:pt x="232" y="142"/>
                  </a:cubicBezTo>
                  <a:cubicBezTo>
                    <a:pt x="232" y="142"/>
                    <a:pt x="232" y="141"/>
                    <a:pt x="231" y="141"/>
                  </a:cubicBezTo>
                  <a:cubicBezTo>
                    <a:pt x="231" y="141"/>
                    <a:pt x="230" y="141"/>
                    <a:pt x="230" y="140"/>
                  </a:cubicBezTo>
                  <a:cubicBezTo>
                    <a:pt x="230" y="140"/>
                    <a:pt x="229" y="140"/>
                    <a:pt x="229" y="140"/>
                  </a:cubicBezTo>
                  <a:cubicBezTo>
                    <a:pt x="229" y="140"/>
                    <a:pt x="229" y="140"/>
                    <a:pt x="229" y="140"/>
                  </a:cubicBezTo>
                  <a:cubicBezTo>
                    <a:pt x="229" y="139"/>
                    <a:pt x="229" y="139"/>
                    <a:pt x="229" y="138"/>
                  </a:cubicBezTo>
                  <a:cubicBezTo>
                    <a:pt x="228" y="137"/>
                    <a:pt x="227" y="136"/>
                    <a:pt x="226" y="136"/>
                  </a:cubicBezTo>
                  <a:cubicBezTo>
                    <a:pt x="228" y="136"/>
                    <a:pt x="229" y="137"/>
                    <a:pt x="230" y="138"/>
                  </a:cubicBezTo>
                  <a:cubicBezTo>
                    <a:pt x="231" y="138"/>
                    <a:pt x="233" y="140"/>
                    <a:pt x="233" y="139"/>
                  </a:cubicBezTo>
                  <a:cubicBezTo>
                    <a:pt x="234" y="139"/>
                    <a:pt x="233" y="138"/>
                    <a:pt x="233" y="137"/>
                  </a:cubicBezTo>
                  <a:cubicBezTo>
                    <a:pt x="233" y="137"/>
                    <a:pt x="234" y="137"/>
                    <a:pt x="235" y="137"/>
                  </a:cubicBezTo>
                  <a:cubicBezTo>
                    <a:pt x="234" y="136"/>
                    <a:pt x="234" y="136"/>
                    <a:pt x="233" y="135"/>
                  </a:cubicBezTo>
                  <a:cubicBezTo>
                    <a:pt x="233" y="135"/>
                    <a:pt x="229" y="135"/>
                    <a:pt x="229" y="134"/>
                  </a:cubicBezTo>
                  <a:cubicBezTo>
                    <a:pt x="229" y="135"/>
                    <a:pt x="231" y="134"/>
                    <a:pt x="231" y="134"/>
                  </a:cubicBezTo>
                  <a:cubicBezTo>
                    <a:pt x="232" y="134"/>
                    <a:pt x="234" y="134"/>
                    <a:pt x="235" y="135"/>
                  </a:cubicBezTo>
                  <a:cubicBezTo>
                    <a:pt x="236" y="135"/>
                    <a:pt x="238" y="135"/>
                    <a:pt x="238" y="134"/>
                  </a:cubicBezTo>
                  <a:cubicBezTo>
                    <a:pt x="237" y="134"/>
                    <a:pt x="236" y="134"/>
                    <a:pt x="236" y="133"/>
                  </a:cubicBezTo>
                  <a:cubicBezTo>
                    <a:pt x="237" y="133"/>
                    <a:pt x="238" y="134"/>
                    <a:pt x="239" y="134"/>
                  </a:cubicBezTo>
                  <a:cubicBezTo>
                    <a:pt x="238" y="135"/>
                    <a:pt x="238" y="135"/>
                    <a:pt x="238" y="137"/>
                  </a:cubicBezTo>
                  <a:cubicBezTo>
                    <a:pt x="239" y="138"/>
                    <a:pt x="240" y="137"/>
                    <a:pt x="242" y="137"/>
                  </a:cubicBezTo>
                  <a:cubicBezTo>
                    <a:pt x="241" y="138"/>
                    <a:pt x="241" y="138"/>
                    <a:pt x="243" y="140"/>
                  </a:cubicBezTo>
                  <a:cubicBezTo>
                    <a:pt x="243" y="140"/>
                    <a:pt x="244" y="140"/>
                    <a:pt x="245" y="139"/>
                  </a:cubicBezTo>
                  <a:cubicBezTo>
                    <a:pt x="245" y="140"/>
                    <a:pt x="244" y="140"/>
                    <a:pt x="244" y="140"/>
                  </a:cubicBezTo>
                  <a:cubicBezTo>
                    <a:pt x="246" y="142"/>
                    <a:pt x="247" y="143"/>
                    <a:pt x="249" y="141"/>
                  </a:cubicBezTo>
                  <a:cubicBezTo>
                    <a:pt x="250" y="141"/>
                    <a:pt x="251" y="140"/>
                    <a:pt x="251" y="139"/>
                  </a:cubicBezTo>
                  <a:cubicBezTo>
                    <a:pt x="251" y="139"/>
                    <a:pt x="251" y="139"/>
                    <a:pt x="251" y="139"/>
                  </a:cubicBezTo>
                  <a:cubicBezTo>
                    <a:pt x="251" y="139"/>
                    <a:pt x="251" y="139"/>
                    <a:pt x="251" y="139"/>
                  </a:cubicBezTo>
                  <a:cubicBezTo>
                    <a:pt x="251" y="139"/>
                    <a:pt x="251" y="139"/>
                    <a:pt x="251" y="139"/>
                  </a:cubicBezTo>
                  <a:cubicBezTo>
                    <a:pt x="252" y="138"/>
                    <a:pt x="252" y="138"/>
                    <a:pt x="252" y="138"/>
                  </a:cubicBezTo>
                  <a:cubicBezTo>
                    <a:pt x="252" y="138"/>
                    <a:pt x="252" y="138"/>
                    <a:pt x="252" y="138"/>
                  </a:cubicBezTo>
                  <a:cubicBezTo>
                    <a:pt x="252" y="138"/>
                    <a:pt x="251" y="139"/>
                    <a:pt x="252" y="138"/>
                  </a:cubicBezTo>
                  <a:cubicBezTo>
                    <a:pt x="252" y="138"/>
                    <a:pt x="252" y="138"/>
                    <a:pt x="252" y="138"/>
                  </a:cubicBezTo>
                  <a:cubicBezTo>
                    <a:pt x="252" y="139"/>
                    <a:pt x="251" y="139"/>
                    <a:pt x="251" y="139"/>
                  </a:cubicBezTo>
                  <a:cubicBezTo>
                    <a:pt x="251" y="139"/>
                    <a:pt x="251" y="139"/>
                    <a:pt x="251" y="139"/>
                  </a:cubicBezTo>
                  <a:cubicBezTo>
                    <a:pt x="251" y="139"/>
                    <a:pt x="250" y="141"/>
                    <a:pt x="250" y="141"/>
                  </a:cubicBezTo>
                  <a:cubicBezTo>
                    <a:pt x="250" y="141"/>
                    <a:pt x="250" y="141"/>
                    <a:pt x="250" y="141"/>
                  </a:cubicBezTo>
                  <a:cubicBezTo>
                    <a:pt x="249" y="142"/>
                    <a:pt x="248" y="143"/>
                    <a:pt x="247" y="144"/>
                  </a:cubicBezTo>
                  <a:cubicBezTo>
                    <a:pt x="249" y="144"/>
                    <a:pt x="252" y="143"/>
                    <a:pt x="254" y="142"/>
                  </a:cubicBezTo>
                  <a:cubicBezTo>
                    <a:pt x="255" y="142"/>
                    <a:pt x="258" y="141"/>
                    <a:pt x="259" y="141"/>
                  </a:cubicBezTo>
                  <a:cubicBezTo>
                    <a:pt x="259" y="140"/>
                    <a:pt x="260" y="140"/>
                    <a:pt x="260" y="139"/>
                  </a:cubicBezTo>
                  <a:cubicBezTo>
                    <a:pt x="261" y="139"/>
                    <a:pt x="262" y="139"/>
                    <a:pt x="262" y="138"/>
                  </a:cubicBezTo>
                  <a:cubicBezTo>
                    <a:pt x="262" y="139"/>
                    <a:pt x="260" y="140"/>
                    <a:pt x="260" y="141"/>
                  </a:cubicBezTo>
                  <a:cubicBezTo>
                    <a:pt x="259" y="141"/>
                    <a:pt x="260" y="142"/>
                    <a:pt x="259" y="142"/>
                  </a:cubicBezTo>
                  <a:cubicBezTo>
                    <a:pt x="259" y="144"/>
                    <a:pt x="258" y="144"/>
                    <a:pt x="260" y="145"/>
                  </a:cubicBezTo>
                  <a:cubicBezTo>
                    <a:pt x="257" y="145"/>
                    <a:pt x="254" y="144"/>
                    <a:pt x="253" y="147"/>
                  </a:cubicBezTo>
                  <a:cubicBezTo>
                    <a:pt x="252" y="147"/>
                    <a:pt x="252" y="148"/>
                    <a:pt x="252" y="148"/>
                  </a:cubicBezTo>
                  <a:cubicBezTo>
                    <a:pt x="252" y="149"/>
                    <a:pt x="253" y="148"/>
                    <a:pt x="253" y="149"/>
                  </a:cubicBezTo>
                  <a:cubicBezTo>
                    <a:pt x="253" y="149"/>
                    <a:pt x="252" y="150"/>
                    <a:pt x="252" y="150"/>
                  </a:cubicBezTo>
                  <a:cubicBezTo>
                    <a:pt x="253" y="150"/>
                    <a:pt x="254" y="150"/>
                    <a:pt x="255" y="150"/>
                  </a:cubicBezTo>
                  <a:cubicBezTo>
                    <a:pt x="257" y="151"/>
                    <a:pt x="254" y="150"/>
                    <a:pt x="254" y="151"/>
                  </a:cubicBezTo>
                  <a:cubicBezTo>
                    <a:pt x="253" y="152"/>
                    <a:pt x="257" y="152"/>
                    <a:pt x="258" y="152"/>
                  </a:cubicBezTo>
                  <a:cubicBezTo>
                    <a:pt x="258" y="152"/>
                    <a:pt x="256" y="152"/>
                    <a:pt x="255" y="153"/>
                  </a:cubicBezTo>
                  <a:cubicBezTo>
                    <a:pt x="255" y="153"/>
                    <a:pt x="256" y="155"/>
                    <a:pt x="256" y="155"/>
                  </a:cubicBezTo>
                  <a:cubicBezTo>
                    <a:pt x="258" y="155"/>
                    <a:pt x="260" y="154"/>
                    <a:pt x="261" y="154"/>
                  </a:cubicBezTo>
                  <a:cubicBezTo>
                    <a:pt x="262" y="154"/>
                    <a:pt x="264" y="153"/>
                    <a:pt x="262" y="154"/>
                  </a:cubicBezTo>
                  <a:cubicBezTo>
                    <a:pt x="261" y="155"/>
                    <a:pt x="259" y="155"/>
                    <a:pt x="258" y="155"/>
                  </a:cubicBezTo>
                  <a:cubicBezTo>
                    <a:pt x="259" y="155"/>
                    <a:pt x="259" y="155"/>
                    <a:pt x="260" y="155"/>
                  </a:cubicBezTo>
                  <a:cubicBezTo>
                    <a:pt x="260" y="156"/>
                    <a:pt x="259" y="156"/>
                    <a:pt x="258" y="156"/>
                  </a:cubicBezTo>
                  <a:cubicBezTo>
                    <a:pt x="258" y="157"/>
                    <a:pt x="259" y="157"/>
                    <a:pt x="260" y="157"/>
                  </a:cubicBezTo>
                  <a:cubicBezTo>
                    <a:pt x="260" y="157"/>
                    <a:pt x="260" y="158"/>
                    <a:pt x="260" y="158"/>
                  </a:cubicBezTo>
                  <a:cubicBezTo>
                    <a:pt x="260" y="158"/>
                    <a:pt x="261" y="158"/>
                    <a:pt x="261" y="159"/>
                  </a:cubicBezTo>
                  <a:cubicBezTo>
                    <a:pt x="261" y="159"/>
                    <a:pt x="261" y="159"/>
                    <a:pt x="261" y="159"/>
                  </a:cubicBezTo>
                  <a:cubicBezTo>
                    <a:pt x="262" y="158"/>
                    <a:pt x="262" y="157"/>
                    <a:pt x="262" y="156"/>
                  </a:cubicBezTo>
                  <a:cubicBezTo>
                    <a:pt x="263" y="155"/>
                    <a:pt x="264" y="155"/>
                    <a:pt x="264" y="154"/>
                  </a:cubicBezTo>
                  <a:cubicBezTo>
                    <a:pt x="264" y="155"/>
                    <a:pt x="264" y="156"/>
                    <a:pt x="264" y="156"/>
                  </a:cubicBezTo>
                  <a:cubicBezTo>
                    <a:pt x="263" y="157"/>
                    <a:pt x="263" y="157"/>
                    <a:pt x="263" y="158"/>
                  </a:cubicBezTo>
                  <a:cubicBezTo>
                    <a:pt x="264" y="159"/>
                    <a:pt x="265" y="158"/>
                    <a:pt x="266" y="158"/>
                  </a:cubicBezTo>
                  <a:cubicBezTo>
                    <a:pt x="266" y="158"/>
                    <a:pt x="265" y="159"/>
                    <a:pt x="264" y="159"/>
                  </a:cubicBezTo>
                  <a:cubicBezTo>
                    <a:pt x="265" y="159"/>
                    <a:pt x="265" y="160"/>
                    <a:pt x="265" y="160"/>
                  </a:cubicBezTo>
                  <a:cubicBezTo>
                    <a:pt x="266" y="160"/>
                    <a:pt x="267" y="160"/>
                    <a:pt x="268" y="160"/>
                  </a:cubicBezTo>
                  <a:cubicBezTo>
                    <a:pt x="268" y="161"/>
                    <a:pt x="270" y="160"/>
                    <a:pt x="271" y="160"/>
                  </a:cubicBezTo>
                  <a:cubicBezTo>
                    <a:pt x="271" y="160"/>
                    <a:pt x="269" y="161"/>
                    <a:pt x="269" y="161"/>
                  </a:cubicBezTo>
                  <a:cubicBezTo>
                    <a:pt x="269" y="162"/>
                    <a:pt x="271" y="161"/>
                    <a:pt x="271" y="161"/>
                  </a:cubicBezTo>
                  <a:cubicBezTo>
                    <a:pt x="271" y="162"/>
                    <a:pt x="271" y="162"/>
                    <a:pt x="271" y="162"/>
                  </a:cubicBezTo>
                  <a:cubicBezTo>
                    <a:pt x="271" y="163"/>
                    <a:pt x="271" y="163"/>
                    <a:pt x="272" y="163"/>
                  </a:cubicBezTo>
                  <a:cubicBezTo>
                    <a:pt x="272" y="161"/>
                    <a:pt x="273" y="159"/>
                    <a:pt x="272" y="158"/>
                  </a:cubicBezTo>
                  <a:cubicBezTo>
                    <a:pt x="273" y="158"/>
                    <a:pt x="274" y="158"/>
                    <a:pt x="274" y="158"/>
                  </a:cubicBezTo>
                  <a:cubicBezTo>
                    <a:pt x="273" y="157"/>
                    <a:pt x="273" y="157"/>
                    <a:pt x="273" y="156"/>
                  </a:cubicBezTo>
                  <a:cubicBezTo>
                    <a:pt x="273" y="156"/>
                    <a:pt x="273" y="156"/>
                    <a:pt x="273" y="156"/>
                  </a:cubicBezTo>
                  <a:cubicBezTo>
                    <a:pt x="273" y="156"/>
                    <a:pt x="273" y="156"/>
                    <a:pt x="273" y="155"/>
                  </a:cubicBezTo>
                  <a:cubicBezTo>
                    <a:pt x="273" y="155"/>
                    <a:pt x="273" y="155"/>
                    <a:pt x="273" y="155"/>
                  </a:cubicBezTo>
                  <a:cubicBezTo>
                    <a:pt x="272" y="154"/>
                    <a:pt x="272" y="154"/>
                    <a:pt x="271" y="153"/>
                  </a:cubicBezTo>
                  <a:cubicBezTo>
                    <a:pt x="272" y="153"/>
                    <a:pt x="273" y="154"/>
                    <a:pt x="274" y="154"/>
                  </a:cubicBezTo>
                  <a:cubicBezTo>
                    <a:pt x="273" y="153"/>
                    <a:pt x="271" y="153"/>
                    <a:pt x="271" y="151"/>
                  </a:cubicBezTo>
                  <a:cubicBezTo>
                    <a:pt x="272" y="152"/>
                    <a:pt x="272" y="152"/>
                    <a:pt x="273" y="152"/>
                  </a:cubicBezTo>
                  <a:cubicBezTo>
                    <a:pt x="274" y="152"/>
                    <a:pt x="274" y="151"/>
                    <a:pt x="273" y="150"/>
                  </a:cubicBezTo>
                  <a:cubicBezTo>
                    <a:pt x="272" y="150"/>
                    <a:pt x="271" y="151"/>
                    <a:pt x="270" y="150"/>
                  </a:cubicBezTo>
                  <a:cubicBezTo>
                    <a:pt x="271" y="150"/>
                    <a:pt x="273" y="149"/>
                    <a:pt x="274" y="150"/>
                  </a:cubicBezTo>
                  <a:cubicBezTo>
                    <a:pt x="273" y="149"/>
                    <a:pt x="272" y="147"/>
                    <a:pt x="272" y="145"/>
                  </a:cubicBezTo>
                  <a:cubicBezTo>
                    <a:pt x="273" y="147"/>
                    <a:pt x="274" y="148"/>
                    <a:pt x="275" y="149"/>
                  </a:cubicBezTo>
                  <a:cubicBezTo>
                    <a:pt x="275" y="150"/>
                    <a:pt x="275" y="151"/>
                    <a:pt x="276" y="150"/>
                  </a:cubicBezTo>
                  <a:cubicBezTo>
                    <a:pt x="277" y="150"/>
                    <a:pt x="277" y="150"/>
                    <a:pt x="278" y="151"/>
                  </a:cubicBezTo>
                  <a:cubicBezTo>
                    <a:pt x="278" y="150"/>
                    <a:pt x="278" y="149"/>
                    <a:pt x="278" y="148"/>
                  </a:cubicBezTo>
                  <a:cubicBezTo>
                    <a:pt x="279" y="149"/>
                    <a:pt x="279" y="150"/>
                    <a:pt x="279" y="151"/>
                  </a:cubicBezTo>
                  <a:cubicBezTo>
                    <a:pt x="280" y="151"/>
                    <a:pt x="280" y="151"/>
                    <a:pt x="281" y="151"/>
                  </a:cubicBezTo>
                  <a:cubicBezTo>
                    <a:pt x="281" y="151"/>
                    <a:pt x="281" y="150"/>
                    <a:pt x="281" y="150"/>
                  </a:cubicBezTo>
                  <a:cubicBezTo>
                    <a:pt x="280" y="149"/>
                    <a:pt x="280" y="149"/>
                    <a:pt x="280" y="149"/>
                  </a:cubicBezTo>
                  <a:cubicBezTo>
                    <a:pt x="280" y="149"/>
                    <a:pt x="279" y="149"/>
                    <a:pt x="279" y="148"/>
                  </a:cubicBezTo>
                  <a:cubicBezTo>
                    <a:pt x="280" y="148"/>
                    <a:pt x="281" y="149"/>
                    <a:pt x="282" y="149"/>
                  </a:cubicBezTo>
                  <a:cubicBezTo>
                    <a:pt x="281" y="147"/>
                    <a:pt x="279" y="147"/>
                    <a:pt x="279" y="146"/>
                  </a:cubicBezTo>
                  <a:cubicBezTo>
                    <a:pt x="280" y="146"/>
                    <a:pt x="280" y="147"/>
                    <a:pt x="282" y="147"/>
                  </a:cubicBezTo>
                  <a:cubicBezTo>
                    <a:pt x="283" y="148"/>
                    <a:pt x="283" y="147"/>
                    <a:pt x="284" y="147"/>
                  </a:cubicBezTo>
                  <a:cubicBezTo>
                    <a:pt x="284" y="147"/>
                    <a:pt x="284" y="146"/>
                    <a:pt x="284" y="146"/>
                  </a:cubicBezTo>
                  <a:cubicBezTo>
                    <a:pt x="284" y="146"/>
                    <a:pt x="283" y="146"/>
                    <a:pt x="283" y="146"/>
                  </a:cubicBezTo>
                  <a:cubicBezTo>
                    <a:pt x="283" y="145"/>
                    <a:pt x="283" y="145"/>
                    <a:pt x="282" y="144"/>
                  </a:cubicBezTo>
                  <a:cubicBezTo>
                    <a:pt x="282" y="144"/>
                    <a:pt x="282" y="144"/>
                    <a:pt x="282" y="144"/>
                  </a:cubicBezTo>
                  <a:cubicBezTo>
                    <a:pt x="281" y="144"/>
                    <a:pt x="280" y="144"/>
                    <a:pt x="279" y="144"/>
                  </a:cubicBezTo>
                  <a:cubicBezTo>
                    <a:pt x="279" y="144"/>
                    <a:pt x="279" y="143"/>
                    <a:pt x="279" y="143"/>
                  </a:cubicBezTo>
                  <a:cubicBezTo>
                    <a:pt x="278" y="143"/>
                    <a:pt x="277" y="142"/>
                    <a:pt x="277" y="142"/>
                  </a:cubicBezTo>
                  <a:cubicBezTo>
                    <a:pt x="278" y="142"/>
                    <a:pt x="278" y="142"/>
                    <a:pt x="279" y="143"/>
                  </a:cubicBezTo>
                  <a:cubicBezTo>
                    <a:pt x="280" y="144"/>
                    <a:pt x="280" y="144"/>
                    <a:pt x="282" y="144"/>
                  </a:cubicBezTo>
                  <a:cubicBezTo>
                    <a:pt x="282" y="144"/>
                    <a:pt x="282" y="144"/>
                    <a:pt x="283" y="144"/>
                  </a:cubicBezTo>
                  <a:cubicBezTo>
                    <a:pt x="283" y="144"/>
                    <a:pt x="284" y="144"/>
                    <a:pt x="284" y="145"/>
                  </a:cubicBezTo>
                  <a:cubicBezTo>
                    <a:pt x="285" y="145"/>
                    <a:pt x="287" y="144"/>
                    <a:pt x="288" y="144"/>
                  </a:cubicBezTo>
                  <a:cubicBezTo>
                    <a:pt x="287" y="144"/>
                    <a:pt x="287" y="144"/>
                    <a:pt x="287" y="143"/>
                  </a:cubicBezTo>
                  <a:cubicBezTo>
                    <a:pt x="286" y="143"/>
                    <a:pt x="286" y="142"/>
                    <a:pt x="285" y="142"/>
                  </a:cubicBezTo>
                  <a:cubicBezTo>
                    <a:pt x="285" y="141"/>
                    <a:pt x="283" y="141"/>
                    <a:pt x="283" y="141"/>
                  </a:cubicBezTo>
                  <a:cubicBezTo>
                    <a:pt x="282" y="141"/>
                    <a:pt x="282" y="141"/>
                    <a:pt x="282" y="141"/>
                  </a:cubicBezTo>
                  <a:cubicBezTo>
                    <a:pt x="281" y="141"/>
                    <a:pt x="281" y="141"/>
                    <a:pt x="280" y="141"/>
                  </a:cubicBezTo>
                  <a:cubicBezTo>
                    <a:pt x="279" y="140"/>
                    <a:pt x="279" y="139"/>
                    <a:pt x="279" y="139"/>
                  </a:cubicBezTo>
                  <a:cubicBezTo>
                    <a:pt x="279" y="139"/>
                    <a:pt x="280" y="140"/>
                    <a:pt x="281" y="140"/>
                  </a:cubicBezTo>
                  <a:cubicBezTo>
                    <a:pt x="281" y="140"/>
                    <a:pt x="283" y="138"/>
                    <a:pt x="282" y="137"/>
                  </a:cubicBezTo>
                  <a:cubicBezTo>
                    <a:pt x="282" y="137"/>
                    <a:pt x="281" y="138"/>
                    <a:pt x="280" y="137"/>
                  </a:cubicBezTo>
                  <a:cubicBezTo>
                    <a:pt x="281" y="136"/>
                    <a:pt x="283" y="138"/>
                    <a:pt x="285" y="138"/>
                  </a:cubicBezTo>
                  <a:cubicBezTo>
                    <a:pt x="285" y="139"/>
                    <a:pt x="285" y="139"/>
                    <a:pt x="285" y="139"/>
                  </a:cubicBezTo>
                  <a:cubicBezTo>
                    <a:pt x="285" y="140"/>
                    <a:pt x="285" y="140"/>
                    <a:pt x="286" y="141"/>
                  </a:cubicBezTo>
                  <a:cubicBezTo>
                    <a:pt x="286" y="141"/>
                    <a:pt x="286" y="142"/>
                    <a:pt x="287" y="142"/>
                  </a:cubicBezTo>
                  <a:cubicBezTo>
                    <a:pt x="288" y="143"/>
                    <a:pt x="288" y="142"/>
                    <a:pt x="289" y="142"/>
                  </a:cubicBezTo>
                  <a:cubicBezTo>
                    <a:pt x="290" y="142"/>
                    <a:pt x="291" y="142"/>
                    <a:pt x="292" y="142"/>
                  </a:cubicBezTo>
                  <a:cubicBezTo>
                    <a:pt x="291" y="141"/>
                    <a:pt x="290" y="140"/>
                    <a:pt x="289" y="139"/>
                  </a:cubicBezTo>
                  <a:cubicBezTo>
                    <a:pt x="289" y="139"/>
                    <a:pt x="290" y="139"/>
                    <a:pt x="290" y="139"/>
                  </a:cubicBezTo>
                  <a:cubicBezTo>
                    <a:pt x="290" y="139"/>
                    <a:pt x="290" y="139"/>
                    <a:pt x="290" y="139"/>
                  </a:cubicBezTo>
                  <a:cubicBezTo>
                    <a:pt x="290" y="139"/>
                    <a:pt x="290" y="139"/>
                    <a:pt x="290" y="139"/>
                  </a:cubicBezTo>
                  <a:cubicBezTo>
                    <a:pt x="292" y="139"/>
                    <a:pt x="292" y="141"/>
                    <a:pt x="293" y="140"/>
                  </a:cubicBezTo>
                  <a:cubicBezTo>
                    <a:pt x="294" y="140"/>
                    <a:pt x="295" y="140"/>
                    <a:pt x="295" y="139"/>
                  </a:cubicBezTo>
                  <a:cubicBezTo>
                    <a:pt x="295" y="139"/>
                    <a:pt x="292" y="135"/>
                    <a:pt x="291" y="135"/>
                  </a:cubicBezTo>
                  <a:cubicBezTo>
                    <a:pt x="290" y="134"/>
                    <a:pt x="290" y="134"/>
                    <a:pt x="288" y="134"/>
                  </a:cubicBezTo>
                  <a:cubicBezTo>
                    <a:pt x="286" y="134"/>
                    <a:pt x="286" y="134"/>
                    <a:pt x="286" y="136"/>
                  </a:cubicBezTo>
                  <a:cubicBezTo>
                    <a:pt x="286" y="136"/>
                    <a:pt x="286" y="135"/>
                    <a:pt x="286" y="135"/>
                  </a:cubicBezTo>
                  <a:cubicBezTo>
                    <a:pt x="285" y="135"/>
                    <a:pt x="285" y="134"/>
                    <a:pt x="285" y="134"/>
                  </a:cubicBezTo>
                  <a:cubicBezTo>
                    <a:pt x="285" y="133"/>
                    <a:pt x="285" y="133"/>
                    <a:pt x="286" y="132"/>
                  </a:cubicBezTo>
                  <a:cubicBezTo>
                    <a:pt x="286" y="130"/>
                    <a:pt x="287" y="128"/>
                    <a:pt x="288" y="127"/>
                  </a:cubicBezTo>
                  <a:cubicBezTo>
                    <a:pt x="287" y="127"/>
                    <a:pt x="285" y="127"/>
                    <a:pt x="285" y="127"/>
                  </a:cubicBezTo>
                  <a:cubicBezTo>
                    <a:pt x="285" y="127"/>
                    <a:pt x="285" y="128"/>
                    <a:pt x="285" y="128"/>
                  </a:cubicBezTo>
                  <a:cubicBezTo>
                    <a:pt x="285" y="128"/>
                    <a:pt x="283" y="128"/>
                    <a:pt x="283" y="129"/>
                  </a:cubicBezTo>
                  <a:cubicBezTo>
                    <a:pt x="283" y="130"/>
                    <a:pt x="285" y="131"/>
                    <a:pt x="284" y="132"/>
                  </a:cubicBezTo>
                  <a:cubicBezTo>
                    <a:pt x="284" y="131"/>
                    <a:pt x="283" y="128"/>
                    <a:pt x="282" y="128"/>
                  </a:cubicBezTo>
                  <a:cubicBezTo>
                    <a:pt x="280" y="128"/>
                    <a:pt x="280" y="129"/>
                    <a:pt x="280" y="130"/>
                  </a:cubicBezTo>
                  <a:cubicBezTo>
                    <a:pt x="280" y="130"/>
                    <a:pt x="280" y="131"/>
                    <a:pt x="280" y="131"/>
                  </a:cubicBezTo>
                  <a:cubicBezTo>
                    <a:pt x="280" y="131"/>
                    <a:pt x="280" y="131"/>
                    <a:pt x="279" y="132"/>
                  </a:cubicBezTo>
                  <a:cubicBezTo>
                    <a:pt x="279" y="132"/>
                    <a:pt x="279" y="133"/>
                    <a:pt x="278" y="133"/>
                  </a:cubicBezTo>
                  <a:cubicBezTo>
                    <a:pt x="279" y="132"/>
                    <a:pt x="279" y="131"/>
                    <a:pt x="279" y="130"/>
                  </a:cubicBezTo>
                  <a:cubicBezTo>
                    <a:pt x="279" y="129"/>
                    <a:pt x="279" y="129"/>
                    <a:pt x="279" y="128"/>
                  </a:cubicBezTo>
                  <a:cubicBezTo>
                    <a:pt x="278" y="128"/>
                    <a:pt x="274" y="128"/>
                    <a:pt x="274" y="129"/>
                  </a:cubicBezTo>
                  <a:cubicBezTo>
                    <a:pt x="274" y="129"/>
                    <a:pt x="274" y="131"/>
                    <a:pt x="274" y="131"/>
                  </a:cubicBezTo>
                  <a:cubicBezTo>
                    <a:pt x="274" y="131"/>
                    <a:pt x="273" y="132"/>
                    <a:pt x="273" y="132"/>
                  </a:cubicBezTo>
                  <a:cubicBezTo>
                    <a:pt x="273" y="131"/>
                    <a:pt x="273" y="130"/>
                    <a:pt x="273" y="129"/>
                  </a:cubicBezTo>
                  <a:cubicBezTo>
                    <a:pt x="272" y="130"/>
                    <a:pt x="271" y="131"/>
                    <a:pt x="269" y="130"/>
                  </a:cubicBezTo>
                  <a:cubicBezTo>
                    <a:pt x="270" y="130"/>
                    <a:pt x="271" y="130"/>
                    <a:pt x="272" y="130"/>
                  </a:cubicBezTo>
                  <a:cubicBezTo>
                    <a:pt x="272" y="130"/>
                    <a:pt x="271" y="129"/>
                    <a:pt x="272" y="129"/>
                  </a:cubicBezTo>
                  <a:cubicBezTo>
                    <a:pt x="273" y="128"/>
                    <a:pt x="274" y="129"/>
                    <a:pt x="275" y="128"/>
                  </a:cubicBezTo>
                  <a:cubicBezTo>
                    <a:pt x="276" y="127"/>
                    <a:pt x="273" y="126"/>
                    <a:pt x="276" y="125"/>
                  </a:cubicBezTo>
                  <a:cubicBezTo>
                    <a:pt x="276" y="124"/>
                    <a:pt x="277" y="124"/>
                    <a:pt x="278" y="123"/>
                  </a:cubicBezTo>
                  <a:cubicBezTo>
                    <a:pt x="278" y="122"/>
                    <a:pt x="276" y="122"/>
                    <a:pt x="276" y="123"/>
                  </a:cubicBezTo>
                  <a:cubicBezTo>
                    <a:pt x="274" y="123"/>
                    <a:pt x="274" y="123"/>
                    <a:pt x="273" y="124"/>
                  </a:cubicBezTo>
                  <a:cubicBezTo>
                    <a:pt x="273" y="125"/>
                    <a:pt x="273" y="125"/>
                    <a:pt x="272" y="126"/>
                  </a:cubicBezTo>
                  <a:cubicBezTo>
                    <a:pt x="271" y="127"/>
                    <a:pt x="270" y="126"/>
                    <a:pt x="270" y="128"/>
                  </a:cubicBezTo>
                  <a:cubicBezTo>
                    <a:pt x="269" y="126"/>
                    <a:pt x="273" y="126"/>
                    <a:pt x="273" y="123"/>
                  </a:cubicBezTo>
                  <a:cubicBezTo>
                    <a:pt x="270" y="123"/>
                    <a:pt x="267" y="124"/>
                    <a:pt x="265" y="124"/>
                  </a:cubicBezTo>
                  <a:cubicBezTo>
                    <a:pt x="264" y="125"/>
                    <a:pt x="262" y="125"/>
                    <a:pt x="262" y="125"/>
                  </a:cubicBezTo>
                  <a:cubicBezTo>
                    <a:pt x="261" y="126"/>
                    <a:pt x="261" y="127"/>
                    <a:pt x="260" y="127"/>
                  </a:cubicBezTo>
                  <a:cubicBezTo>
                    <a:pt x="260" y="125"/>
                    <a:pt x="262" y="125"/>
                    <a:pt x="264" y="124"/>
                  </a:cubicBezTo>
                  <a:cubicBezTo>
                    <a:pt x="265" y="124"/>
                    <a:pt x="267" y="124"/>
                    <a:pt x="268" y="123"/>
                  </a:cubicBezTo>
                  <a:cubicBezTo>
                    <a:pt x="266" y="122"/>
                    <a:pt x="264" y="123"/>
                    <a:pt x="263" y="123"/>
                  </a:cubicBezTo>
                  <a:cubicBezTo>
                    <a:pt x="261" y="123"/>
                    <a:pt x="260" y="124"/>
                    <a:pt x="259" y="124"/>
                  </a:cubicBezTo>
                  <a:cubicBezTo>
                    <a:pt x="261" y="122"/>
                    <a:pt x="263" y="124"/>
                    <a:pt x="265" y="122"/>
                  </a:cubicBezTo>
                  <a:cubicBezTo>
                    <a:pt x="263" y="122"/>
                    <a:pt x="261" y="122"/>
                    <a:pt x="259" y="121"/>
                  </a:cubicBezTo>
                  <a:cubicBezTo>
                    <a:pt x="262" y="121"/>
                    <a:pt x="265" y="122"/>
                    <a:pt x="267" y="122"/>
                  </a:cubicBezTo>
                  <a:cubicBezTo>
                    <a:pt x="268" y="122"/>
                    <a:pt x="268" y="122"/>
                    <a:pt x="268" y="121"/>
                  </a:cubicBezTo>
                  <a:cubicBezTo>
                    <a:pt x="267" y="120"/>
                    <a:pt x="267" y="119"/>
                    <a:pt x="266" y="118"/>
                  </a:cubicBezTo>
                  <a:cubicBezTo>
                    <a:pt x="267" y="118"/>
                    <a:pt x="266" y="116"/>
                    <a:pt x="265" y="116"/>
                  </a:cubicBezTo>
                  <a:cubicBezTo>
                    <a:pt x="263" y="114"/>
                    <a:pt x="262" y="112"/>
                    <a:pt x="260" y="114"/>
                  </a:cubicBezTo>
                  <a:cubicBezTo>
                    <a:pt x="259" y="114"/>
                    <a:pt x="259" y="115"/>
                    <a:pt x="259" y="115"/>
                  </a:cubicBezTo>
                  <a:cubicBezTo>
                    <a:pt x="258" y="115"/>
                    <a:pt x="259" y="115"/>
                    <a:pt x="259" y="115"/>
                  </a:cubicBezTo>
                  <a:cubicBezTo>
                    <a:pt x="258" y="115"/>
                    <a:pt x="259" y="114"/>
                    <a:pt x="258" y="114"/>
                  </a:cubicBezTo>
                  <a:cubicBezTo>
                    <a:pt x="258" y="114"/>
                    <a:pt x="257" y="114"/>
                    <a:pt x="257" y="114"/>
                  </a:cubicBezTo>
                  <a:cubicBezTo>
                    <a:pt x="256" y="115"/>
                    <a:pt x="255" y="115"/>
                    <a:pt x="255" y="116"/>
                  </a:cubicBezTo>
                  <a:cubicBezTo>
                    <a:pt x="255" y="116"/>
                    <a:pt x="255" y="115"/>
                    <a:pt x="256" y="114"/>
                  </a:cubicBezTo>
                  <a:cubicBezTo>
                    <a:pt x="256" y="114"/>
                    <a:pt x="256" y="114"/>
                    <a:pt x="257" y="114"/>
                  </a:cubicBezTo>
                  <a:cubicBezTo>
                    <a:pt x="257" y="113"/>
                    <a:pt x="257" y="113"/>
                    <a:pt x="256" y="112"/>
                  </a:cubicBezTo>
                  <a:cubicBezTo>
                    <a:pt x="257" y="113"/>
                    <a:pt x="258" y="111"/>
                    <a:pt x="257" y="111"/>
                  </a:cubicBezTo>
                  <a:cubicBezTo>
                    <a:pt x="258" y="111"/>
                    <a:pt x="259" y="111"/>
                    <a:pt x="260" y="110"/>
                  </a:cubicBezTo>
                  <a:cubicBezTo>
                    <a:pt x="257" y="110"/>
                    <a:pt x="252" y="110"/>
                    <a:pt x="252" y="113"/>
                  </a:cubicBezTo>
                  <a:cubicBezTo>
                    <a:pt x="251" y="114"/>
                    <a:pt x="252" y="114"/>
                    <a:pt x="253" y="115"/>
                  </a:cubicBezTo>
                  <a:cubicBezTo>
                    <a:pt x="253" y="115"/>
                    <a:pt x="254" y="116"/>
                    <a:pt x="254" y="117"/>
                  </a:cubicBezTo>
                  <a:cubicBezTo>
                    <a:pt x="253" y="116"/>
                    <a:pt x="252" y="115"/>
                    <a:pt x="251" y="114"/>
                  </a:cubicBezTo>
                  <a:cubicBezTo>
                    <a:pt x="251" y="113"/>
                    <a:pt x="251" y="113"/>
                    <a:pt x="252" y="112"/>
                  </a:cubicBezTo>
                  <a:cubicBezTo>
                    <a:pt x="252" y="112"/>
                    <a:pt x="252" y="111"/>
                    <a:pt x="252" y="110"/>
                  </a:cubicBezTo>
                  <a:cubicBezTo>
                    <a:pt x="252" y="110"/>
                    <a:pt x="251" y="110"/>
                    <a:pt x="250" y="111"/>
                  </a:cubicBezTo>
                  <a:cubicBezTo>
                    <a:pt x="249" y="111"/>
                    <a:pt x="249" y="111"/>
                    <a:pt x="249" y="112"/>
                  </a:cubicBezTo>
                  <a:cubicBezTo>
                    <a:pt x="249" y="112"/>
                    <a:pt x="248" y="112"/>
                    <a:pt x="247" y="113"/>
                  </a:cubicBezTo>
                  <a:cubicBezTo>
                    <a:pt x="247" y="113"/>
                    <a:pt x="247" y="114"/>
                    <a:pt x="247" y="115"/>
                  </a:cubicBezTo>
                  <a:cubicBezTo>
                    <a:pt x="247" y="115"/>
                    <a:pt x="247" y="116"/>
                    <a:pt x="247" y="116"/>
                  </a:cubicBezTo>
                  <a:cubicBezTo>
                    <a:pt x="247" y="115"/>
                    <a:pt x="246" y="114"/>
                    <a:pt x="247" y="113"/>
                  </a:cubicBezTo>
                  <a:cubicBezTo>
                    <a:pt x="247" y="113"/>
                    <a:pt x="247" y="112"/>
                    <a:pt x="247" y="112"/>
                  </a:cubicBezTo>
                  <a:cubicBezTo>
                    <a:pt x="247" y="112"/>
                    <a:pt x="247" y="111"/>
                    <a:pt x="247" y="111"/>
                  </a:cubicBezTo>
                  <a:cubicBezTo>
                    <a:pt x="247" y="110"/>
                    <a:pt x="249" y="109"/>
                    <a:pt x="248" y="107"/>
                  </a:cubicBezTo>
                  <a:cubicBezTo>
                    <a:pt x="247" y="109"/>
                    <a:pt x="247" y="109"/>
                    <a:pt x="246" y="110"/>
                  </a:cubicBezTo>
                  <a:cubicBezTo>
                    <a:pt x="245" y="110"/>
                    <a:pt x="244" y="110"/>
                    <a:pt x="244" y="111"/>
                  </a:cubicBezTo>
                  <a:cubicBezTo>
                    <a:pt x="243" y="111"/>
                    <a:pt x="243" y="112"/>
                    <a:pt x="243" y="113"/>
                  </a:cubicBezTo>
                  <a:cubicBezTo>
                    <a:pt x="243" y="113"/>
                    <a:pt x="243" y="114"/>
                    <a:pt x="242" y="113"/>
                  </a:cubicBezTo>
                  <a:cubicBezTo>
                    <a:pt x="241" y="113"/>
                    <a:pt x="240" y="112"/>
                    <a:pt x="239" y="112"/>
                  </a:cubicBezTo>
                  <a:cubicBezTo>
                    <a:pt x="240" y="112"/>
                    <a:pt x="242" y="113"/>
                    <a:pt x="243" y="112"/>
                  </a:cubicBezTo>
                  <a:cubicBezTo>
                    <a:pt x="243" y="112"/>
                    <a:pt x="243" y="111"/>
                    <a:pt x="244" y="110"/>
                  </a:cubicBezTo>
                  <a:cubicBezTo>
                    <a:pt x="244" y="110"/>
                    <a:pt x="246" y="109"/>
                    <a:pt x="244" y="109"/>
                  </a:cubicBezTo>
                  <a:cubicBezTo>
                    <a:pt x="243" y="108"/>
                    <a:pt x="240" y="109"/>
                    <a:pt x="239" y="110"/>
                  </a:cubicBezTo>
                  <a:cubicBezTo>
                    <a:pt x="239" y="109"/>
                    <a:pt x="240" y="108"/>
                    <a:pt x="240" y="108"/>
                  </a:cubicBezTo>
                  <a:cubicBezTo>
                    <a:pt x="239" y="108"/>
                    <a:pt x="237" y="109"/>
                    <a:pt x="237" y="109"/>
                  </a:cubicBezTo>
                  <a:cubicBezTo>
                    <a:pt x="236" y="109"/>
                    <a:pt x="238" y="108"/>
                    <a:pt x="238" y="107"/>
                  </a:cubicBezTo>
                  <a:cubicBezTo>
                    <a:pt x="238" y="107"/>
                    <a:pt x="238" y="107"/>
                    <a:pt x="238" y="107"/>
                  </a:cubicBezTo>
                  <a:cubicBezTo>
                    <a:pt x="238" y="107"/>
                    <a:pt x="238" y="107"/>
                    <a:pt x="238" y="107"/>
                  </a:cubicBezTo>
                  <a:cubicBezTo>
                    <a:pt x="239" y="105"/>
                    <a:pt x="237" y="105"/>
                    <a:pt x="235" y="105"/>
                  </a:cubicBezTo>
                  <a:cubicBezTo>
                    <a:pt x="233" y="105"/>
                    <a:pt x="234" y="106"/>
                    <a:pt x="233" y="107"/>
                  </a:cubicBezTo>
                  <a:cubicBezTo>
                    <a:pt x="233" y="108"/>
                    <a:pt x="232" y="107"/>
                    <a:pt x="231" y="107"/>
                  </a:cubicBezTo>
                  <a:cubicBezTo>
                    <a:pt x="232" y="107"/>
                    <a:pt x="233" y="107"/>
                    <a:pt x="233" y="107"/>
                  </a:cubicBezTo>
                  <a:cubicBezTo>
                    <a:pt x="233" y="106"/>
                    <a:pt x="233" y="106"/>
                    <a:pt x="234" y="105"/>
                  </a:cubicBezTo>
                  <a:cubicBezTo>
                    <a:pt x="234" y="104"/>
                    <a:pt x="235" y="105"/>
                    <a:pt x="236" y="104"/>
                  </a:cubicBezTo>
                  <a:cubicBezTo>
                    <a:pt x="235" y="104"/>
                    <a:pt x="232" y="104"/>
                    <a:pt x="231" y="104"/>
                  </a:cubicBezTo>
                  <a:cubicBezTo>
                    <a:pt x="231" y="105"/>
                    <a:pt x="231" y="105"/>
                    <a:pt x="231" y="105"/>
                  </a:cubicBezTo>
                  <a:cubicBezTo>
                    <a:pt x="231" y="105"/>
                    <a:pt x="230" y="106"/>
                    <a:pt x="230" y="106"/>
                  </a:cubicBezTo>
                  <a:cubicBezTo>
                    <a:pt x="231" y="105"/>
                    <a:pt x="230" y="104"/>
                    <a:pt x="231" y="104"/>
                  </a:cubicBezTo>
                  <a:cubicBezTo>
                    <a:pt x="230" y="104"/>
                    <a:pt x="228" y="104"/>
                    <a:pt x="228" y="105"/>
                  </a:cubicBezTo>
                  <a:cubicBezTo>
                    <a:pt x="228" y="104"/>
                    <a:pt x="229" y="104"/>
                    <a:pt x="231" y="104"/>
                  </a:cubicBezTo>
                  <a:cubicBezTo>
                    <a:pt x="232" y="103"/>
                    <a:pt x="232" y="103"/>
                    <a:pt x="234" y="103"/>
                  </a:cubicBezTo>
                  <a:cubicBezTo>
                    <a:pt x="235" y="103"/>
                    <a:pt x="236" y="104"/>
                    <a:pt x="237" y="103"/>
                  </a:cubicBezTo>
                  <a:cubicBezTo>
                    <a:pt x="238" y="103"/>
                    <a:pt x="237" y="102"/>
                    <a:pt x="239" y="103"/>
                  </a:cubicBezTo>
                  <a:cubicBezTo>
                    <a:pt x="239" y="102"/>
                    <a:pt x="239" y="102"/>
                    <a:pt x="240" y="102"/>
                  </a:cubicBezTo>
                  <a:cubicBezTo>
                    <a:pt x="237" y="102"/>
                    <a:pt x="233" y="102"/>
                    <a:pt x="230" y="103"/>
                  </a:cubicBezTo>
                  <a:cubicBezTo>
                    <a:pt x="230" y="102"/>
                    <a:pt x="230" y="101"/>
                    <a:pt x="230" y="101"/>
                  </a:cubicBezTo>
                  <a:cubicBezTo>
                    <a:pt x="231" y="101"/>
                    <a:pt x="231" y="101"/>
                    <a:pt x="231" y="100"/>
                  </a:cubicBezTo>
                  <a:cubicBezTo>
                    <a:pt x="230" y="101"/>
                    <a:pt x="228" y="102"/>
                    <a:pt x="227" y="103"/>
                  </a:cubicBezTo>
                  <a:cubicBezTo>
                    <a:pt x="227" y="103"/>
                    <a:pt x="227" y="102"/>
                    <a:pt x="227" y="102"/>
                  </a:cubicBezTo>
                  <a:cubicBezTo>
                    <a:pt x="227" y="102"/>
                    <a:pt x="227" y="101"/>
                    <a:pt x="227" y="101"/>
                  </a:cubicBezTo>
                  <a:cubicBezTo>
                    <a:pt x="227" y="101"/>
                    <a:pt x="227" y="101"/>
                    <a:pt x="227" y="100"/>
                  </a:cubicBezTo>
                  <a:cubicBezTo>
                    <a:pt x="227" y="101"/>
                    <a:pt x="227" y="101"/>
                    <a:pt x="227" y="101"/>
                  </a:cubicBezTo>
                  <a:cubicBezTo>
                    <a:pt x="226" y="101"/>
                    <a:pt x="226" y="101"/>
                    <a:pt x="226" y="100"/>
                  </a:cubicBezTo>
                  <a:cubicBezTo>
                    <a:pt x="226" y="101"/>
                    <a:pt x="226" y="101"/>
                    <a:pt x="226" y="101"/>
                  </a:cubicBezTo>
                  <a:cubicBezTo>
                    <a:pt x="226" y="101"/>
                    <a:pt x="226" y="100"/>
                    <a:pt x="225" y="100"/>
                  </a:cubicBezTo>
                  <a:cubicBezTo>
                    <a:pt x="224" y="100"/>
                    <a:pt x="223" y="99"/>
                    <a:pt x="222" y="99"/>
                  </a:cubicBezTo>
                  <a:cubicBezTo>
                    <a:pt x="221" y="100"/>
                    <a:pt x="220" y="100"/>
                    <a:pt x="219" y="100"/>
                  </a:cubicBezTo>
                  <a:cubicBezTo>
                    <a:pt x="219" y="99"/>
                    <a:pt x="220" y="99"/>
                    <a:pt x="220" y="99"/>
                  </a:cubicBezTo>
                  <a:cubicBezTo>
                    <a:pt x="220" y="99"/>
                    <a:pt x="220" y="98"/>
                    <a:pt x="221" y="98"/>
                  </a:cubicBezTo>
                  <a:cubicBezTo>
                    <a:pt x="221" y="98"/>
                    <a:pt x="222" y="99"/>
                    <a:pt x="223" y="99"/>
                  </a:cubicBezTo>
                  <a:cubicBezTo>
                    <a:pt x="224" y="99"/>
                    <a:pt x="224" y="98"/>
                    <a:pt x="225" y="99"/>
                  </a:cubicBezTo>
                  <a:cubicBezTo>
                    <a:pt x="224" y="96"/>
                    <a:pt x="220" y="97"/>
                    <a:pt x="218" y="96"/>
                  </a:cubicBezTo>
                  <a:cubicBezTo>
                    <a:pt x="218" y="96"/>
                    <a:pt x="217" y="97"/>
                    <a:pt x="216" y="97"/>
                  </a:cubicBezTo>
                  <a:cubicBezTo>
                    <a:pt x="216" y="97"/>
                    <a:pt x="217" y="96"/>
                    <a:pt x="216" y="96"/>
                  </a:cubicBezTo>
                  <a:cubicBezTo>
                    <a:pt x="216" y="95"/>
                    <a:pt x="213" y="95"/>
                    <a:pt x="212" y="95"/>
                  </a:cubicBezTo>
                  <a:cubicBezTo>
                    <a:pt x="212" y="95"/>
                    <a:pt x="213" y="95"/>
                    <a:pt x="213" y="95"/>
                  </a:cubicBezTo>
                  <a:cubicBezTo>
                    <a:pt x="213" y="95"/>
                    <a:pt x="212" y="95"/>
                    <a:pt x="212" y="95"/>
                  </a:cubicBezTo>
                  <a:cubicBezTo>
                    <a:pt x="215" y="94"/>
                    <a:pt x="217" y="96"/>
                    <a:pt x="220" y="96"/>
                  </a:cubicBezTo>
                  <a:cubicBezTo>
                    <a:pt x="221" y="96"/>
                    <a:pt x="222" y="95"/>
                    <a:pt x="223" y="95"/>
                  </a:cubicBezTo>
                  <a:cubicBezTo>
                    <a:pt x="224" y="95"/>
                    <a:pt x="225" y="96"/>
                    <a:pt x="226" y="96"/>
                  </a:cubicBezTo>
                  <a:cubicBezTo>
                    <a:pt x="226" y="95"/>
                    <a:pt x="222" y="94"/>
                    <a:pt x="221" y="94"/>
                  </a:cubicBezTo>
                  <a:cubicBezTo>
                    <a:pt x="223" y="94"/>
                    <a:pt x="225" y="94"/>
                    <a:pt x="226" y="95"/>
                  </a:cubicBezTo>
                  <a:cubicBezTo>
                    <a:pt x="226" y="92"/>
                    <a:pt x="222" y="93"/>
                    <a:pt x="221" y="93"/>
                  </a:cubicBezTo>
                  <a:cubicBezTo>
                    <a:pt x="221" y="93"/>
                    <a:pt x="221" y="93"/>
                    <a:pt x="221" y="93"/>
                  </a:cubicBezTo>
                  <a:cubicBezTo>
                    <a:pt x="222" y="92"/>
                    <a:pt x="223" y="92"/>
                    <a:pt x="224" y="92"/>
                  </a:cubicBezTo>
                  <a:cubicBezTo>
                    <a:pt x="225" y="92"/>
                    <a:pt x="226" y="93"/>
                    <a:pt x="226" y="93"/>
                  </a:cubicBezTo>
                  <a:cubicBezTo>
                    <a:pt x="226" y="93"/>
                    <a:pt x="226" y="92"/>
                    <a:pt x="226" y="92"/>
                  </a:cubicBezTo>
                  <a:cubicBezTo>
                    <a:pt x="227" y="92"/>
                    <a:pt x="228" y="92"/>
                    <a:pt x="229" y="92"/>
                  </a:cubicBezTo>
                  <a:cubicBezTo>
                    <a:pt x="229" y="91"/>
                    <a:pt x="227" y="91"/>
                    <a:pt x="226" y="90"/>
                  </a:cubicBezTo>
                  <a:cubicBezTo>
                    <a:pt x="226" y="91"/>
                    <a:pt x="226" y="91"/>
                    <a:pt x="226" y="91"/>
                  </a:cubicBezTo>
                  <a:cubicBezTo>
                    <a:pt x="226" y="91"/>
                    <a:pt x="226" y="90"/>
                    <a:pt x="226" y="90"/>
                  </a:cubicBezTo>
                  <a:cubicBezTo>
                    <a:pt x="226" y="90"/>
                    <a:pt x="225" y="90"/>
                    <a:pt x="224" y="89"/>
                  </a:cubicBezTo>
                  <a:cubicBezTo>
                    <a:pt x="222" y="89"/>
                    <a:pt x="219" y="90"/>
                    <a:pt x="217" y="91"/>
                  </a:cubicBezTo>
                  <a:cubicBezTo>
                    <a:pt x="217" y="90"/>
                    <a:pt x="216" y="90"/>
                    <a:pt x="215" y="90"/>
                  </a:cubicBezTo>
                  <a:cubicBezTo>
                    <a:pt x="216" y="90"/>
                    <a:pt x="218" y="90"/>
                    <a:pt x="219" y="90"/>
                  </a:cubicBezTo>
                  <a:cubicBezTo>
                    <a:pt x="220" y="89"/>
                    <a:pt x="220" y="89"/>
                    <a:pt x="221" y="89"/>
                  </a:cubicBezTo>
                  <a:cubicBezTo>
                    <a:pt x="220" y="88"/>
                    <a:pt x="218" y="89"/>
                    <a:pt x="217" y="88"/>
                  </a:cubicBezTo>
                  <a:cubicBezTo>
                    <a:pt x="218" y="88"/>
                    <a:pt x="220" y="88"/>
                    <a:pt x="222" y="88"/>
                  </a:cubicBezTo>
                  <a:cubicBezTo>
                    <a:pt x="223" y="88"/>
                    <a:pt x="224" y="88"/>
                    <a:pt x="224" y="88"/>
                  </a:cubicBezTo>
                  <a:cubicBezTo>
                    <a:pt x="225" y="88"/>
                    <a:pt x="226" y="89"/>
                    <a:pt x="225" y="88"/>
                  </a:cubicBezTo>
                  <a:cubicBezTo>
                    <a:pt x="224" y="87"/>
                    <a:pt x="224" y="87"/>
                    <a:pt x="224" y="87"/>
                  </a:cubicBezTo>
                  <a:cubicBezTo>
                    <a:pt x="223" y="87"/>
                    <a:pt x="222" y="87"/>
                    <a:pt x="222" y="87"/>
                  </a:cubicBezTo>
                  <a:cubicBezTo>
                    <a:pt x="221" y="87"/>
                    <a:pt x="220" y="87"/>
                    <a:pt x="219" y="87"/>
                  </a:cubicBezTo>
                  <a:cubicBezTo>
                    <a:pt x="218" y="86"/>
                    <a:pt x="217" y="86"/>
                    <a:pt x="216" y="86"/>
                  </a:cubicBezTo>
                  <a:cubicBezTo>
                    <a:pt x="215" y="86"/>
                    <a:pt x="214" y="87"/>
                    <a:pt x="214" y="87"/>
                  </a:cubicBezTo>
                  <a:cubicBezTo>
                    <a:pt x="215" y="85"/>
                    <a:pt x="219" y="86"/>
                    <a:pt x="221" y="87"/>
                  </a:cubicBezTo>
                  <a:cubicBezTo>
                    <a:pt x="223" y="87"/>
                    <a:pt x="225" y="86"/>
                    <a:pt x="226" y="88"/>
                  </a:cubicBezTo>
                  <a:cubicBezTo>
                    <a:pt x="226" y="87"/>
                    <a:pt x="226" y="87"/>
                    <a:pt x="226" y="87"/>
                  </a:cubicBezTo>
                  <a:cubicBezTo>
                    <a:pt x="226" y="87"/>
                    <a:pt x="226" y="87"/>
                    <a:pt x="227" y="88"/>
                  </a:cubicBezTo>
                  <a:cubicBezTo>
                    <a:pt x="227" y="88"/>
                    <a:pt x="228" y="88"/>
                    <a:pt x="229" y="88"/>
                  </a:cubicBezTo>
                  <a:cubicBezTo>
                    <a:pt x="230" y="89"/>
                    <a:pt x="231" y="89"/>
                    <a:pt x="232" y="89"/>
                  </a:cubicBezTo>
                  <a:cubicBezTo>
                    <a:pt x="233" y="89"/>
                    <a:pt x="233" y="89"/>
                    <a:pt x="234" y="89"/>
                  </a:cubicBezTo>
                  <a:cubicBezTo>
                    <a:pt x="234" y="89"/>
                    <a:pt x="234" y="90"/>
                    <a:pt x="235" y="89"/>
                  </a:cubicBezTo>
                  <a:cubicBezTo>
                    <a:pt x="236" y="88"/>
                    <a:pt x="237" y="89"/>
                    <a:pt x="238" y="90"/>
                  </a:cubicBezTo>
                  <a:cubicBezTo>
                    <a:pt x="240" y="90"/>
                    <a:pt x="240" y="88"/>
                    <a:pt x="239" y="87"/>
                  </a:cubicBezTo>
                  <a:cubicBezTo>
                    <a:pt x="239" y="86"/>
                    <a:pt x="238" y="85"/>
                    <a:pt x="237" y="85"/>
                  </a:cubicBezTo>
                  <a:cubicBezTo>
                    <a:pt x="234" y="84"/>
                    <a:pt x="233" y="84"/>
                    <a:pt x="230" y="83"/>
                  </a:cubicBezTo>
                  <a:cubicBezTo>
                    <a:pt x="229" y="83"/>
                    <a:pt x="228" y="84"/>
                    <a:pt x="226" y="84"/>
                  </a:cubicBezTo>
                  <a:cubicBezTo>
                    <a:pt x="226" y="84"/>
                    <a:pt x="226" y="84"/>
                    <a:pt x="226" y="84"/>
                  </a:cubicBezTo>
                  <a:cubicBezTo>
                    <a:pt x="226" y="83"/>
                    <a:pt x="226" y="84"/>
                    <a:pt x="225" y="83"/>
                  </a:cubicBezTo>
                  <a:cubicBezTo>
                    <a:pt x="224" y="83"/>
                    <a:pt x="223" y="83"/>
                    <a:pt x="222" y="82"/>
                  </a:cubicBezTo>
                  <a:cubicBezTo>
                    <a:pt x="220" y="81"/>
                    <a:pt x="219" y="81"/>
                    <a:pt x="217" y="82"/>
                  </a:cubicBezTo>
                  <a:cubicBezTo>
                    <a:pt x="215" y="83"/>
                    <a:pt x="213" y="83"/>
                    <a:pt x="211" y="83"/>
                  </a:cubicBezTo>
                  <a:cubicBezTo>
                    <a:pt x="210" y="82"/>
                    <a:pt x="209" y="82"/>
                    <a:pt x="208" y="82"/>
                  </a:cubicBezTo>
                  <a:cubicBezTo>
                    <a:pt x="207" y="83"/>
                    <a:pt x="206" y="83"/>
                    <a:pt x="206" y="82"/>
                  </a:cubicBezTo>
                  <a:cubicBezTo>
                    <a:pt x="207" y="82"/>
                    <a:pt x="209" y="82"/>
                    <a:pt x="210" y="82"/>
                  </a:cubicBezTo>
                  <a:cubicBezTo>
                    <a:pt x="211" y="82"/>
                    <a:pt x="212" y="82"/>
                    <a:pt x="214" y="82"/>
                  </a:cubicBezTo>
                  <a:cubicBezTo>
                    <a:pt x="216" y="82"/>
                    <a:pt x="218" y="80"/>
                    <a:pt x="220" y="81"/>
                  </a:cubicBezTo>
                  <a:cubicBezTo>
                    <a:pt x="222" y="81"/>
                    <a:pt x="223" y="81"/>
                    <a:pt x="224" y="80"/>
                  </a:cubicBezTo>
                  <a:cubicBezTo>
                    <a:pt x="225" y="79"/>
                    <a:pt x="226" y="79"/>
                    <a:pt x="226" y="78"/>
                  </a:cubicBezTo>
                  <a:cubicBezTo>
                    <a:pt x="226" y="78"/>
                    <a:pt x="226" y="77"/>
                    <a:pt x="226" y="77"/>
                  </a:cubicBezTo>
                  <a:cubicBezTo>
                    <a:pt x="226" y="77"/>
                    <a:pt x="226" y="78"/>
                    <a:pt x="226" y="78"/>
                  </a:cubicBezTo>
                  <a:cubicBezTo>
                    <a:pt x="227" y="78"/>
                    <a:pt x="228" y="78"/>
                    <a:pt x="229" y="78"/>
                  </a:cubicBezTo>
                  <a:cubicBezTo>
                    <a:pt x="230" y="78"/>
                    <a:pt x="231" y="79"/>
                    <a:pt x="233" y="79"/>
                  </a:cubicBezTo>
                  <a:cubicBezTo>
                    <a:pt x="233" y="79"/>
                    <a:pt x="235" y="79"/>
                    <a:pt x="235" y="78"/>
                  </a:cubicBezTo>
                  <a:cubicBezTo>
                    <a:pt x="235" y="78"/>
                    <a:pt x="235" y="77"/>
                    <a:pt x="234" y="76"/>
                  </a:cubicBezTo>
                  <a:cubicBezTo>
                    <a:pt x="234" y="76"/>
                    <a:pt x="235" y="75"/>
                    <a:pt x="234" y="75"/>
                  </a:cubicBezTo>
                  <a:cubicBezTo>
                    <a:pt x="234" y="74"/>
                    <a:pt x="233" y="74"/>
                    <a:pt x="233" y="73"/>
                  </a:cubicBezTo>
                  <a:cubicBezTo>
                    <a:pt x="232" y="73"/>
                    <a:pt x="232" y="72"/>
                    <a:pt x="231" y="72"/>
                  </a:cubicBezTo>
                  <a:cubicBezTo>
                    <a:pt x="230" y="70"/>
                    <a:pt x="228" y="69"/>
                    <a:pt x="226" y="69"/>
                  </a:cubicBezTo>
                  <a:cubicBezTo>
                    <a:pt x="226" y="69"/>
                    <a:pt x="226" y="69"/>
                    <a:pt x="226" y="69"/>
                  </a:cubicBezTo>
                  <a:cubicBezTo>
                    <a:pt x="226" y="69"/>
                    <a:pt x="226" y="69"/>
                    <a:pt x="226" y="68"/>
                  </a:cubicBezTo>
                  <a:cubicBezTo>
                    <a:pt x="225" y="68"/>
                    <a:pt x="224" y="69"/>
                    <a:pt x="224" y="71"/>
                  </a:cubicBezTo>
                  <a:cubicBezTo>
                    <a:pt x="224" y="72"/>
                    <a:pt x="225" y="72"/>
                    <a:pt x="223" y="72"/>
                  </a:cubicBezTo>
                  <a:cubicBezTo>
                    <a:pt x="221" y="73"/>
                    <a:pt x="221" y="74"/>
                    <a:pt x="219" y="74"/>
                  </a:cubicBezTo>
                  <a:cubicBezTo>
                    <a:pt x="218" y="75"/>
                    <a:pt x="216" y="75"/>
                    <a:pt x="215" y="76"/>
                  </a:cubicBezTo>
                  <a:cubicBezTo>
                    <a:pt x="214" y="76"/>
                    <a:pt x="212" y="78"/>
                    <a:pt x="211" y="78"/>
                  </a:cubicBezTo>
                  <a:cubicBezTo>
                    <a:pt x="210" y="78"/>
                    <a:pt x="210" y="77"/>
                    <a:pt x="209" y="77"/>
                  </a:cubicBezTo>
                  <a:cubicBezTo>
                    <a:pt x="208" y="77"/>
                    <a:pt x="208" y="78"/>
                    <a:pt x="207" y="78"/>
                  </a:cubicBezTo>
                  <a:cubicBezTo>
                    <a:pt x="208" y="77"/>
                    <a:pt x="209" y="77"/>
                    <a:pt x="210" y="77"/>
                  </a:cubicBezTo>
                  <a:cubicBezTo>
                    <a:pt x="212" y="77"/>
                    <a:pt x="212" y="77"/>
                    <a:pt x="214" y="76"/>
                  </a:cubicBezTo>
                  <a:cubicBezTo>
                    <a:pt x="215" y="75"/>
                    <a:pt x="219" y="74"/>
                    <a:pt x="219" y="72"/>
                  </a:cubicBezTo>
                  <a:cubicBezTo>
                    <a:pt x="219" y="70"/>
                    <a:pt x="218" y="71"/>
                    <a:pt x="216" y="70"/>
                  </a:cubicBezTo>
                  <a:cubicBezTo>
                    <a:pt x="216" y="70"/>
                    <a:pt x="215" y="70"/>
                    <a:pt x="215" y="70"/>
                  </a:cubicBezTo>
                  <a:cubicBezTo>
                    <a:pt x="214" y="70"/>
                    <a:pt x="214" y="71"/>
                    <a:pt x="213" y="71"/>
                  </a:cubicBezTo>
                  <a:cubicBezTo>
                    <a:pt x="212" y="71"/>
                    <a:pt x="211" y="71"/>
                    <a:pt x="210" y="71"/>
                  </a:cubicBezTo>
                  <a:cubicBezTo>
                    <a:pt x="209" y="72"/>
                    <a:pt x="209" y="72"/>
                    <a:pt x="209" y="73"/>
                  </a:cubicBezTo>
                  <a:cubicBezTo>
                    <a:pt x="209" y="75"/>
                    <a:pt x="208" y="74"/>
                    <a:pt x="206" y="75"/>
                  </a:cubicBezTo>
                  <a:cubicBezTo>
                    <a:pt x="205" y="75"/>
                    <a:pt x="203" y="77"/>
                    <a:pt x="201" y="77"/>
                  </a:cubicBezTo>
                  <a:cubicBezTo>
                    <a:pt x="203" y="75"/>
                    <a:pt x="205" y="74"/>
                    <a:pt x="208" y="74"/>
                  </a:cubicBezTo>
                  <a:cubicBezTo>
                    <a:pt x="207" y="72"/>
                    <a:pt x="205" y="73"/>
                    <a:pt x="204" y="74"/>
                  </a:cubicBezTo>
                  <a:cubicBezTo>
                    <a:pt x="205" y="73"/>
                    <a:pt x="206" y="73"/>
                    <a:pt x="207" y="72"/>
                  </a:cubicBezTo>
                  <a:cubicBezTo>
                    <a:pt x="207" y="72"/>
                    <a:pt x="208" y="71"/>
                    <a:pt x="208" y="71"/>
                  </a:cubicBezTo>
                  <a:cubicBezTo>
                    <a:pt x="209" y="70"/>
                    <a:pt x="210" y="70"/>
                    <a:pt x="211" y="70"/>
                  </a:cubicBezTo>
                  <a:cubicBezTo>
                    <a:pt x="213" y="69"/>
                    <a:pt x="215" y="69"/>
                    <a:pt x="217" y="69"/>
                  </a:cubicBezTo>
                  <a:cubicBezTo>
                    <a:pt x="218" y="68"/>
                    <a:pt x="218" y="68"/>
                    <a:pt x="219" y="68"/>
                  </a:cubicBezTo>
                  <a:cubicBezTo>
                    <a:pt x="219" y="68"/>
                    <a:pt x="220" y="67"/>
                    <a:pt x="220" y="67"/>
                  </a:cubicBezTo>
                  <a:cubicBezTo>
                    <a:pt x="221" y="67"/>
                    <a:pt x="221" y="67"/>
                    <a:pt x="222" y="67"/>
                  </a:cubicBezTo>
                  <a:cubicBezTo>
                    <a:pt x="222" y="66"/>
                    <a:pt x="223" y="64"/>
                    <a:pt x="223" y="64"/>
                  </a:cubicBezTo>
                  <a:cubicBezTo>
                    <a:pt x="222" y="63"/>
                    <a:pt x="220" y="63"/>
                    <a:pt x="219" y="62"/>
                  </a:cubicBezTo>
                  <a:cubicBezTo>
                    <a:pt x="218" y="62"/>
                    <a:pt x="217" y="61"/>
                    <a:pt x="216" y="61"/>
                  </a:cubicBezTo>
                  <a:cubicBezTo>
                    <a:pt x="215" y="61"/>
                    <a:pt x="214" y="60"/>
                    <a:pt x="213" y="60"/>
                  </a:cubicBezTo>
                  <a:cubicBezTo>
                    <a:pt x="211" y="59"/>
                    <a:pt x="210" y="60"/>
                    <a:pt x="208" y="61"/>
                  </a:cubicBezTo>
                  <a:cubicBezTo>
                    <a:pt x="207" y="62"/>
                    <a:pt x="206" y="63"/>
                    <a:pt x="204" y="63"/>
                  </a:cubicBezTo>
                  <a:cubicBezTo>
                    <a:pt x="204" y="63"/>
                    <a:pt x="203" y="63"/>
                    <a:pt x="202" y="63"/>
                  </a:cubicBezTo>
                  <a:cubicBezTo>
                    <a:pt x="202" y="63"/>
                    <a:pt x="203" y="64"/>
                    <a:pt x="203" y="65"/>
                  </a:cubicBezTo>
                  <a:cubicBezTo>
                    <a:pt x="202" y="64"/>
                    <a:pt x="201" y="63"/>
                    <a:pt x="201" y="63"/>
                  </a:cubicBezTo>
                  <a:cubicBezTo>
                    <a:pt x="202" y="62"/>
                    <a:pt x="203" y="62"/>
                    <a:pt x="204" y="62"/>
                  </a:cubicBezTo>
                  <a:cubicBezTo>
                    <a:pt x="204" y="62"/>
                    <a:pt x="205" y="62"/>
                    <a:pt x="205" y="61"/>
                  </a:cubicBezTo>
                  <a:cubicBezTo>
                    <a:pt x="206" y="61"/>
                    <a:pt x="207" y="60"/>
                    <a:pt x="207" y="59"/>
                  </a:cubicBezTo>
                  <a:cubicBezTo>
                    <a:pt x="208" y="58"/>
                    <a:pt x="207" y="58"/>
                    <a:pt x="206" y="58"/>
                  </a:cubicBezTo>
                  <a:cubicBezTo>
                    <a:pt x="204" y="59"/>
                    <a:pt x="202" y="60"/>
                    <a:pt x="200" y="61"/>
                  </a:cubicBezTo>
                  <a:cubicBezTo>
                    <a:pt x="199" y="61"/>
                    <a:pt x="199" y="61"/>
                    <a:pt x="198" y="62"/>
                  </a:cubicBezTo>
                  <a:cubicBezTo>
                    <a:pt x="197" y="62"/>
                    <a:pt x="196" y="62"/>
                    <a:pt x="196" y="63"/>
                  </a:cubicBezTo>
                  <a:cubicBezTo>
                    <a:pt x="195" y="65"/>
                    <a:pt x="194" y="67"/>
                    <a:pt x="194" y="69"/>
                  </a:cubicBezTo>
                  <a:cubicBezTo>
                    <a:pt x="193" y="70"/>
                    <a:pt x="193" y="71"/>
                    <a:pt x="192" y="71"/>
                  </a:cubicBezTo>
                  <a:cubicBezTo>
                    <a:pt x="192" y="69"/>
                    <a:pt x="193" y="68"/>
                    <a:pt x="194" y="66"/>
                  </a:cubicBezTo>
                  <a:cubicBezTo>
                    <a:pt x="194" y="65"/>
                    <a:pt x="194" y="65"/>
                    <a:pt x="194" y="64"/>
                  </a:cubicBezTo>
                  <a:cubicBezTo>
                    <a:pt x="193" y="64"/>
                    <a:pt x="192" y="64"/>
                    <a:pt x="191" y="64"/>
                  </a:cubicBezTo>
                  <a:cubicBezTo>
                    <a:pt x="192" y="63"/>
                    <a:pt x="190" y="64"/>
                    <a:pt x="189" y="64"/>
                  </a:cubicBezTo>
                  <a:cubicBezTo>
                    <a:pt x="189" y="64"/>
                    <a:pt x="190" y="64"/>
                    <a:pt x="190" y="64"/>
                  </a:cubicBezTo>
                  <a:cubicBezTo>
                    <a:pt x="190" y="63"/>
                    <a:pt x="189" y="63"/>
                    <a:pt x="190" y="63"/>
                  </a:cubicBezTo>
                  <a:cubicBezTo>
                    <a:pt x="191" y="63"/>
                    <a:pt x="192" y="63"/>
                    <a:pt x="193" y="63"/>
                  </a:cubicBezTo>
                  <a:cubicBezTo>
                    <a:pt x="194" y="63"/>
                    <a:pt x="195" y="62"/>
                    <a:pt x="196" y="61"/>
                  </a:cubicBezTo>
                  <a:cubicBezTo>
                    <a:pt x="198" y="61"/>
                    <a:pt x="198" y="60"/>
                    <a:pt x="199" y="59"/>
                  </a:cubicBezTo>
                  <a:cubicBezTo>
                    <a:pt x="200" y="57"/>
                    <a:pt x="201" y="57"/>
                    <a:pt x="200" y="55"/>
                  </a:cubicBezTo>
                  <a:cubicBezTo>
                    <a:pt x="200" y="55"/>
                    <a:pt x="199" y="53"/>
                    <a:pt x="198" y="53"/>
                  </a:cubicBezTo>
                  <a:cubicBezTo>
                    <a:pt x="197" y="53"/>
                    <a:pt x="195" y="55"/>
                    <a:pt x="194" y="55"/>
                  </a:cubicBezTo>
                  <a:cubicBezTo>
                    <a:pt x="194" y="56"/>
                    <a:pt x="194" y="58"/>
                    <a:pt x="193" y="58"/>
                  </a:cubicBezTo>
                  <a:cubicBezTo>
                    <a:pt x="192" y="58"/>
                    <a:pt x="192" y="58"/>
                    <a:pt x="191" y="58"/>
                  </a:cubicBezTo>
                  <a:cubicBezTo>
                    <a:pt x="189" y="58"/>
                    <a:pt x="187" y="59"/>
                    <a:pt x="185" y="60"/>
                  </a:cubicBezTo>
                  <a:cubicBezTo>
                    <a:pt x="184" y="60"/>
                    <a:pt x="183" y="60"/>
                    <a:pt x="182" y="61"/>
                  </a:cubicBezTo>
                  <a:cubicBezTo>
                    <a:pt x="182" y="61"/>
                    <a:pt x="182" y="61"/>
                    <a:pt x="182" y="60"/>
                  </a:cubicBezTo>
                  <a:cubicBezTo>
                    <a:pt x="182" y="59"/>
                    <a:pt x="185" y="59"/>
                    <a:pt x="183" y="58"/>
                  </a:cubicBezTo>
                  <a:cubicBezTo>
                    <a:pt x="182" y="57"/>
                    <a:pt x="179" y="59"/>
                    <a:pt x="178" y="59"/>
                  </a:cubicBezTo>
                  <a:cubicBezTo>
                    <a:pt x="179" y="59"/>
                    <a:pt x="180" y="59"/>
                    <a:pt x="181" y="58"/>
                  </a:cubicBezTo>
                  <a:cubicBezTo>
                    <a:pt x="183" y="57"/>
                    <a:pt x="183" y="56"/>
                    <a:pt x="184" y="55"/>
                  </a:cubicBezTo>
                  <a:cubicBezTo>
                    <a:pt x="185" y="54"/>
                    <a:pt x="186" y="53"/>
                    <a:pt x="188" y="54"/>
                  </a:cubicBezTo>
                  <a:cubicBezTo>
                    <a:pt x="189" y="54"/>
                    <a:pt x="190" y="55"/>
                    <a:pt x="191" y="54"/>
                  </a:cubicBezTo>
                  <a:cubicBezTo>
                    <a:pt x="192" y="54"/>
                    <a:pt x="192" y="52"/>
                    <a:pt x="193" y="52"/>
                  </a:cubicBezTo>
                  <a:cubicBezTo>
                    <a:pt x="194" y="51"/>
                    <a:pt x="194" y="51"/>
                    <a:pt x="194" y="51"/>
                  </a:cubicBezTo>
                  <a:cubicBezTo>
                    <a:pt x="194" y="50"/>
                    <a:pt x="193" y="49"/>
                    <a:pt x="193" y="49"/>
                  </a:cubicBezTo>
                  <a:cubicBezTo>
                    <a:pt x="192" y="47"/>
                    <a:pt x="190" y="46"/>
                    <a:pt x="188" y="46"/>
                  </a:cubicBezTo>
                  <a:cubicBezTo>
                    <a:pt x="187" y="45"/>
                    <a:pt x="186" y="45"/>
                    <a:pt x="185" y="45"/>
                  </a:cubicBezTo>
                  <a:cubicBezTo>
                    <a:pt x="184" y="44"/>
                    <a:pt x="183" y="44"/>
                    <a:pt x="182" y="44"/>
                  </a:cubicBezTo>
                  <a:cubicBezTo>
                    <a:pt x="181" y="44"/>
                    <a:pt x="180" y="43"/>
                    <a:pt x="180" y="43"/>
                  </a:cubicBezTo>
                  <a:cubicBezTo>
                    <a:pt x="179" y="44"/>
                    <a:pt x="177" y="45"/>
                    <a:pt x="177" y="46"/>
                  </a:cubicBezTo>
                  <a:cubicBezTo>
                    <a:pt x="178" y="48"/>
                    <a:pt x="177" y="47"/>
                    <a:pt x="176" y="48"/>
                  </a:cubicBezTo>
                  <a:close/>
                  <a:moveTo>
                    <a:pt x="34" y="56"/>
                  </a:moveTo>
                  <a:cubicBezTo>
                    <a:pt x="35" y="56"/>
                    <a:pt x="35" y="56"/>
                    <a:pt x="35" y="56"/>
                  </a:cubicBezTo>
                  <a:cubicBezTo>
                    <a:pt x="35" y="56"/>
                    <a:pt x="35" y="56"/>
                    <a:pt x="34" y="56"/>
                  </a:cubicBezTo>
                  <a:close/>
                  <a:moveTo>
                    <a:pt x="38" y="56"/>
                  </a:moveTo>
                  <a:cubicBezTo>
                    <a:pt x="38" y="56"/>
                    <a:pt x="38" y="56"/>
                    <a:pt x="38" y="56"/>
                  </a:cubicBezTo>
                  <a:cubicBezTo>
                    <a:pt x="38" y="56"/>
                    <a:pt x="38" y="56"/>
                    <a:pt x="38" y="56"/>
                  </a:cubicBezTo>
                  <a:close/>
                  <a:moveTo>
                    <a:pt x="46" y="52"/>
                  </a:moveTo>
                  <a:cubicBezTo>
                    <a:pt x="46" y="52"/>
                    <a:pt x="46" y="52"/>
                    <a:pt x="47" y="52"/>
                  </a:cubicBezTo>
                  <a:cubicBezTo>
                    <a:pt x="46" y="52"/>
                    <a:pt x="46" y="52"/>
                    <a:pt x="46" y="52"/>
                  </a:cubicBezTo>
                  <a:close/>
                  <a:moveTo>
                    <a:pt x="49" y="52"/>
                  </a:moveTo>
                  <a:cubicBezTo>
                    <a:pt x="49" y="52"/>
                    <a:pt x="49" y="52"/>
                    <a:pt x="49" y="52"/>
                  </a:cubicBezTo>
                  <a:cubicBezTo>
                    <a:pt x="49" y="52"/>
                    <a:pt x="49" y="52"/>
                    <a:pt x="49" y="52"/>
                  </a:cubicBezTo>
                  <a:close/>
                  <a:moveTo>
                    <a:pt x="49" y="18"/>
                  </a:moveTo>
                  <a:cubicBezTo>
                    <a:pt x="49" y="18"/>
                    <a:pt x="49" y="18"/>
                    <a:pt x="49" y="18"/>
                  </a:cubicBezTo>
                  <a:cubicBezTo>
                    <a:pt x="49" y="18"/>
                    <a:pt x="49" y="18"/>
                    <a:pt x="49" y="18"/>
                  </a:cubicBezTo>
                  <a:close/>
                  <a:moveTo>
                    <a:pt x="50" y="18"/>
                  </a:moveTo>
                  <a:cubicBezTo>
                    <a:pt x="50" y="18"/>
                    <a:pt x="50" y="18"/>
                    <a:pt x="50" y="18"/>
                  </a:cubicBezTo>
                  <a:cubicBezTo>
                    <a:pt x="50" y="18"/>
                    <a:pt x="50" y="18"/>
                    <a:pt x="50" y="18"/>
                  </a:cubicBezTo>
                  <a:close/>
                  <a:moveTo>
                    <a:pt x="50" y="47"/>
                  </a:moveTo>
                  <a:cubicBezTo>
                    <a:pt x="50" y="47"/>
                    <a:pt x="51" y="47"/>
                    <a:pt x="51" y="47"/>
                  </a:cubicBezTo>
                  <a:cubicBezTo>
                    <a:pt x="51" y="47"/>
                    <a:pt x="50" y="47"/>
                    <a:pt x="50" y="47"/>
                  </a:cubicBezTo>
                  <a:close/>
                  <a:moveTo>
                    <a:pt x="52" y="29"/>
                  </a:moveTo>
                  <a:cubicBezTo>
                    <a:pt x="53" y="29"/>
                    <a:pt x="53" y="29"/>
                    <a:pt x="53" y="29"/>
                  </a:cubicBezTo>
                  <a:cubicBezTo>
                    <a:pt x="53" y="29"/>
                    <a:pt x="53" y="29"/>
                    <a:pt x="52" y="29"/>
                  </a:cubicBezTo>
                  <a:close/>
                  <a:moveTo>
                    <a:pt x="53" y="53"/>
                  </a:moveTo>
                  <a:cubicBezTo>
                    <a:pt x="53" y="53"/>
                    <a:pt x="53" y="53"/>
                    <a:pt x="53" y="53"/>
                  </a:cubicBezTo>
                  <a:cubicBezTo>
                    <a:pt x="53" y="53"/>
                    <a:pt x="53" y="53"/>
                    <a:pt x="53" y="53"/>
                  </a:cubicBezTo>
                  <a:close/>
                  <a:moveTo>
                    <a:pt x="286" y="139"/>
                  </a:moveTo>
                  <a:cubicBezTo>
                    <a:pt x="286" y="139"/>
                    <a:pt x="286" y="139"/>
                    <a:pt x="286" y="139"/>
                  </a:cubicBezTo>
                  <a:cubicBezTo>
                    <a:pt x="287" y="139"/>
                    <a:pt x="287" y="139"/>
                    <a:pt x="287" y="139"/>
                  </a:cubicBezTo>
                  <a:cubicBezTo>
                    <a:pt x="287" y="139"/>
                    <a:pt x="286" y="140"/>
                    <a:pt x="286" y="139"/>
                  </a:cubicBezTo>
                  <a:close/>
                  <a:moveTo>
                    <a:pt x="229" y="108"/>
                  </a:moveTo>
                  <a:cubicBezTo>
                    <a:pt x="229" y="107"/>
                    <a:pt x="228" y="107"/>
                    <a:pt x="228" y="107"/>
                  </a:cubicBezTo>
                  <a:cubicBezTo>
                    <a:pt x="228" y="107"/>
                    <a:pt x="229" y="107"/>
                    <a:pt x="229" y="108"/>
                  </a:cubicBezTo>
                  <a:close/>
                  <a:moveTo>
                    <a:pt x="228" y="107"/>
                  </a:moveTo>
                  <a:cubicBezTo>
                    <a:pt x="228" y="107"/>
                    <a:pt x="228" y="107"/>
                    <a:pt x="228" y="106"/>
                  </a:cubicBezTo>
                  <a:cubicBezTo>
                    <a:pt x="228" y="107"/>
                    <a:pt x="228" y="107"/>
                    <a:pt x="228" y="10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24" name="Freeform 2076">
              <a:extLst>
                <a:ext uri="{FF2B5EF4-FFF2-40B4-BE49-F238E27FC236}">
                  <a16:creationId xmlns:a16="http://schemas.microsoft.com/office/drawing/2014/main" id="{D4ACAB9D-C15B-4649-B677-4B3F6E7C7475}"/>
                </a:ext>
              </a:extLst>
            </p:cNvPr>
            <p:cNvSpPr>
              <a:spLocks/>
            </p:cNvSpPr>
            <p:nvPr/>
          </p:nvSpPr>
          <p:spPr bwMode="auto">
            <a:xfrm>
              <a:off x="1906" y="876"/>
              <a:ext cx="0" cy="3"/>
            </a:xfrm>
            <a:custGeom>
              <a:avLst/>
              <a:gdLst>
                <a:gd name="T0" fmla="*/ 0 h 1"/>
                <a:gd name="T1" fmla="*/ 0 h 1"/>
                <a:gd name="T2" fmla="*/ 1 h 1"/>
                <a:gd name="T3" fmla="*/ 1 h 1"/>
                <a:gd name="T4" fmla="*/ 0 h 1"/>
                <a:gd name="T5" fmla="*/ 0 h 1"/>
              </a:gdLst>
              <a:ahLst/>
              <a:cxnLst>
                <a:cxn ang="0">
                  <a:pos x="0" y="T0"/>
                </a:cxn>
                <a:cxn ang="0">
                  <a:pos x="0" y="T1"/>
                </a:cxn>
                <a:cxn ang="0">
                  <a:pos x="0" y="T2"/>
                </a:cxn>
                <a:cxn ang="0">
                  <a:pos x="0" y="T3"/>
                </a:cxn>
                <a:cxn ang="0">
                  <a:pos x="0" y="T4"/>
                </a:cxn>
                <a:cxn ang="0">
                  <a:pos x="0" y="T5"/>
                </a:cxn>
              </a:cxnLst>
              <a:rect l="0" t="0" r="r" b="b"/>
              <a:pathLst>
                <a:path h="1">
                  <a:moveTo>
                    <a:pt x="0" y="0"/>
                  </a:moveTo>
                  <a:cubicBezTo>
                    <a:pt x="0" y="0"/>
                    <a:pt x="0" y="0"/>
                    <a:pt x="0" y="0"/>
                  </a:cubicBezTo>
                  <a:cubicBezTo>
                    <a:pt x="0" y="0"/>
                    <a:pt x="0" y="1"/>
                    <a:pt x="0" y="1"/>
                  </a:cubicBezTo>
                  <a:cubicBezTo>
                    <a:pt x="0" y="1"/>
                    <a:pt x="0" y="1"/>
                    <a:pt x="0" y="1"/>
                  </a:cubicBezTo>
                  <a:cubicBezTo>
                    <a:pt x="0" y="1"/>
                    <a:pt x="0" y="1"/>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25" name="Freeform 2077">
              <a:extLst>
                <a:ext uri="{FF2B5EF4-FFF2-40B4-BE49-F238E27FC236}">
                  <a16:creationId xmlns:a16="http://schemas.microsoft.com/office/drawing/2014/main" id="{E1A5EFB4-BF01-4022-86D9-21E10D6AD428}"/>
                </a:ext>
              </a:extLst>
            </p:cNvPr>
            <p:cNvSpPr>
              <a:spLocks/>
            </p:cNvSpPr>
            <p:nvPr/>
          </p:nvSpPr>
          <p:spPr bwMode="auto">
            <a:xfrm>
              <a:off x="1128" y="751"/>
              <a:ext cx="5" cy="7"/>
            </a:xfrm>
            <a:custGeom>
              <a:avLst/>
              <a:gdLst>
                <a:gd name="T0" fmla="*/ 2 w 2"/>
                <a:gd name="T1" fmla="*/ 3 h 3"/>
                <a:gd name="T2" fmla="*/ 2 w 2"/>
                <a:gd name="T3" fmla="*/ 2 h 3"/>
                <a:gd name="T4" fmla="*/ 2 w 2"/>
                <a:gd name="T5" fmla="*/ 1 h 3"/>
                <a:gd name="T6" fmla="*/ 2 w 2"/>
                <a:gd name="T7" fmla="*/ 0 h 3"/>
                <a:gd name="T8" fmla="*/ 1 w 2"/>
                <a:gd name="T9" fmla="*/ 0 h 3"/>
                <a:gd name="T10" fmla="*/ 0 w 2"/>
                <a:gd name="T11" fmla="*/ 0 h 3"/>
                <a:gd name="T12" fmla="*/ 0 w 2"/>
                <a:gd name="T13" fmla="*/ 1 h 3"/>
                <a:gd name="T14" fmla="*/ 2 w 2"/>
                <a:gd name="T15" fmla="*/ 3 h 3"/>
                <a:gd name="T16" fmla="*/ 2 w 2"/>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3">
                  <a:moveTo>
                    <a:pt x="2" y="3"/>
                  </a:moveTo>
                  <a:cubicBezTo>
                    <a:pt x="2" y="2"/>
                    <a:pt x="2" y="2"/>
                    <a:pt x="2" y="2"/>
                  </a:cubicBezTo>
                  <a:cubicBezTo>
                    <a:pt x="2" y="2"/>
                    <a:pt x="2" y="1"/>
                    <a:pt x="2" y="1"/>
                  </a:cubicBezTo>
                  <a:cubicBezTo>
                    <a:pt x="2" y="1"/>
                    <a:pt x="2" y="0"/>
                    <a:pt x="2" y="0"/>
                  </a:cubicBezTo>
                  <a:cubicBezTo>
                    <a:pt x="2" y="0"/>
                    <a:pt x="1" y="0"/>
                    <a:pt x="1" y="0"/>
                  </a:cubicBezTo>
                  <a:cubicBezTo>
                    <a:pt x="1" y="0"/>
                    <a:pt x="1" y="0"/>
                    <a:pt x="0" y="0"/>
                  </a:cubicBezTo>
                  <a:cubicBezTo>
                    <a:pt x="0" y="0"/>
                    <a:pt x="0" y="1"/>
                    <a:pt x="0" y="1"/>
                  </a:cubicBezTo>
                  <a:cubicBezTo>
                    <a:pt x="0" y="2"/>
                    <a:pt x="2" y="3"/>
                    <a:pt x="2" y="3"/>
                  </a:cubicBezTo>
                  <a:cubicBezTo>
                    <a:pt x="2" y="3"/>
                    <a:pt x="2" y="3"/>
                    <a:pt x="2"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26" name="Freeform 2078">
              <a:extLst>
                <a:ext uri="{FF2B5EF4-FFF2-40B4-BE49-F238E27FC236}">
                  <a16:creationId xmlns:a16="http://schemas.microsoft.com/office/drawing/2014/main" id="{AA1F35E2-F4A6-412E-9892-0DB1CA3D4BE1}"/>
                </a:ext>
              </a:extLst>
            </p:cNvPr>
            <p:cNvSpPr>
              <a:spLocks/>
            </p:cNvSpPr>
            <p:nvPr/>
          </p:nvSpPr>
          <p:spPr bwMode="auto">
            <a:xfrm>
              <a:off x="1537" y="1581"/>
              <a:ext cx="40" cy="15"/>
            </a:xfrm>
            <a:custGeom>
              <a:avLst/>
              <a:gdLst>
                <a:gd name="T0" fmla="*/ 0 w 17"/>
                <a:gd name="T1" fmla="*/ 1 h 6"/>
                <a:gd name="T2" fmla="*/ 1 w 17"/>
                <a:gd name="T3" fmla="*/ 1 h 6"/>
                <a:gd name="T4" fmla="*/ 3 w 17"/>
                <a:gd name="T5" fmla="*/ 2 h 6"/>
                <a:gd name="T6" fmla="*/ 8 w 17"/>
                <a:gd name="T7" fmla="*/ 3 h 6"/>
                <a:gd name="T8" fmla="*/ 11 w 17"/>
                <a:gd name="T9" fmla="*/ 5 h 6"/>
                <a:gd name="T10" fmla="*/ 13 w 17"/>
                <a:gd name="T11" fmla="*/ 5 h 6"/>
                <a:gd name="T12" fmla="*/ 15 w 17"/>
                <a:gd name="T13" fmla="*/ 4 h 6"/>
                <a:gd name="T14" fmla="*/ 13 w 17"/>
                <a:gd name="T15" fmla="*/ 5 h 6"/>
                <a:gd name="T16" fmla="*/ 13 w 17"/>
                <a:gd name="T17" fmla="*/ 5 h 6"/>
                <a:gd name="T18" fmla="*/ 14 w 17"/>
                <a:gd name="T19" fmla="*/ 5 h 6"/>
                <a:gd name="T20" fmla="*/ 14 w 17"/>
                <a:gd name="T21" fmla="*/ 6 h 6"/>
                <a:gd name="T22" fmla="*/ 16 w 17"/>
                <a:gd name="T23" fmla="*/ 4 h 6"/>
                <a:gd name="T24" fmla="*/ 17 w 17"/>
                <a:gd name="T25" fmla="*/ 2 h 6"/>
                <a:gd name="T26" fmla="*/ 16 w 17"/>
                <a:gd name="T27" fmla="*/ 1 h 6"/>
                <a:gd name="T28" fmla="*/ 15 w 17"/>
                <a:gd name="T29" fmla="*/ 3 h 6"/>
                <a:gd name="T30" fmla="*/ 15 w 17"/>
                <a:gd name="T31" fmla="*/ 2 h 6"/>
                <a:gd name="T32" fmla="*/ 13 w 17"/>
                <a:gd name="T33" fmla="*/ 0 h 6"/>
                <a:gd name="T34" fmla="*/ 13 w 17"/>
                <a:gd name="T35" fmla="*/ 0 h 6"/>
                <a:gd name="T36" fmla="*/ 11 w 17"/>
                <a:gd name="T37" fmla="*/ 0 h 6"/>
                <a:gd name="T38" fmla="*/ 11 w 17"/>
                <a:gd name="T39" fmla="*/ 0 h 6"/>
                <a:gd name="T40" fmla="*/ 9 w 17"/>
                <a:gd name="T41" fmla="*/ 0 h 6"/>
                <a:gd name="T42" fmla="*/ 8 w 17"/>
                <a:gd name="T43" fmla="*/ 0 h 6"/>
                <a:gd name="T44" fmla="*/ 7 w 17"/>
                <a:gd name="T45" fmla="*/ 1 h 6"/>
                <a:gd name="T46" fmla="*/ 6 w 17"/>
                <a:gd name="T47" fmla="*/ 1 h 6"/>
                <a:gd name="T48" fmla="*/ 5 w 17"/>
                <a:gd name="T49" fmla="*/ 1 h 6"/>
                <a:gd name="T50" fmla="*/ 5 w 17"/>
                <a:gd name="T51" fmla="*/ 1 h 6"/>
                <a:gd name="T52" fmla="*/ 5 w 17"/>
                <a:gd name="T53" fmla="*/ 1 h 6"/>
                <a:gd name="T54" fmla="*/ 5 w 17"/>
                <a:gd name="T55" fmla="*/ 1 h 6"/>
                <a:gd name="T56" fmla="*/ 3 w 17"/>
                <a:gd name="T57" fmla="*/ 0 h 6"/>
                <a:gd name="T58" fmla="*/ 3 w 17"/>
                <a:gd name="T59" fmla="*/ 0 h 6"/>
                <a:gd name="T60" fmla="*/ 0 w 17"/>
                <a:gd name="T61" fmla="*/ 1 h 6"/>
                <a:gd name="T62" fmla="*/ 0 w 17"/>
                <a:gd name="T63" fmla="*/ 1 h 6"/>
                <a:gd name="T64" fmla="*/ 0 w 17"/>
                <a:gd name="T65"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 h="6">
                  <a:moveTo>
                    <a:pt x="0" y="1"/>
                  </a:moveTo>
                  <a:cubicBezTo>
                    <a:pt x="0" y="1"/>
                    <a:pt x="1" y="1"/>
                    <a:pt x="1" y="1"/>
                  </a:cubicBezTo>
                  <a:cubicBezTo>
                    <a:pt x="2" y="1"/>
                    <a:pt x="2" y="2"/>
                    <a:pt x="3" y="2"/>
                  </a:cubicBezTo>
                  <a:cubicBezTo>
                    <a:pt x="5" y="2"/>
                    <a:pt x="6" y="3"/>
                    <a:pt x="8" y="3"/>
                  </a:cubicBezTo>
                  <a:cubicBezTo>
                    <a:pt x="9" y="4"/>
                    <a:pt x="10" y="4"/>
                    <a:pt x="11" y="5"/>
                  </a:cubicBezTo>
                  <a:cubicBezTo>
                    <a:pt x="12" y="5"/>
                    <a:pt x="12" y="5"/>
                    <a:pt x="13" y="5"/>
                  </a:cubicBezTo>
                  <a:cubicBezTo>
                    <a:pt x="14" y="4"/>
                    <a:pt x="14" y="4"/>
                    <a:pt x="15" y="4"/>
                  </a:cubicBezTo>
                  <a:cubicBezTo>
                    <a:pt x="15" y="4"/>
                    <a:pt x="14" y="5"/>
                    <a:pt x="13" y="5"/>
                  </a:cubicBezTo>
                  <a:cubicBezTo>
                    <a:pt x="13" y="5"/>
                    <a:pt x="13" y="5"/>
                    <a:pt x="13" y="5"/>
                  </a:cubicBezTo>
                  <a:cubicBezTo>
                    <a:pt x="14" y="5"/>
                    <a:pt x="14" y="5"/>
                    <a:pt x="14" y="5"/>
                  </a:cubicBezTo>
                  <a:cubicBezTo>
                    <a:pt x="14" y="6"/>
                    <a:pt x="14" y="6"/>
                    <a:pt x="14" y="6"/>
                  </a:cubicBezTo>
                  <a:cubicBezTo>
                    <a:pt x="15" y="5"/>
                    <a:pt x="15" y="4"/>
                    <a:pt x="16" y="4"/>
                  </a:cubicBezTo>
                  <a:cubicBezTo>
                    <a:pt x="16" y="3"/>
                    <a:pt x="17" y="3"/>
                    <a:pt x="17" y="2"/>
                  </a:cubicBezTo>
                  <a:cubicBezTo>
                    <a:pt x="16" y="2"/>
                    <a:pt x="17" y="0"/>
                    <a:pt x="16" y="1"/>
                  </a:cubicBezTo>
                  <a:cubicBezTo>
                    <a:pt x="15" y="1"/>
                    <a:pt x="15" y="2"/>
                    <a:pt x="15" y="3"/>
                  </a:cubicBezTo>
                  <a:cubicBezTo>
                    <a:pt x="15" y="3"/>
                    <a:pt x="15" y="2"/>
                    <a:pt x="15" y="2"/>
                  </a:cubicBezTo>
                  <a:cubicBezTo>
                    <a:pt x="14" y="1"/>
                    <a:pt x="14" y="0"/>
                    <a:pt x="13" y="0"/>
                  </a:cubicBezTo>
                  <a:cubicBezTo>
                    <a:pt x="13" y="0"/>
                    <a:pt x="13" y="0"/>
                    <a:pt x="13" y="0"/>
                  </a:cubicBezTo>
                  <a:cubicBezTo>
                    <a:pt x="12" y="0"/>
                    <a:pt x="12" y="0"/>
                    <a:pt x="11" y="0"/>
                  </a:cubicBezTo>
                  <a:cubicBezTo>
                    <a:pt x="11" y="0"/>
                    <a:pt x="11" y="0"/>
                    <a:pt x="11" y="0"/>
                  </a:cubicBezTo>
                  <a:cubicBezTo>
                    <a:pt x="10" y="0"/>
                    <a:pt x="10" y="0"/>
                    <a:pt x="9" y="0"/>
                  </a:cubicBezTo>
                  <a:cubicBezTo>
                    <a:pt x="9" y="0"/>
                    <a:pt x="8" y="0"/>
                    <a:pt x="8" y="0"/>
                  </a:cubicBezTo>
                  <a:cubicBezTo>
                    <a:pt x="7" y="0"/>
                    <a:pt x="7" y="1"/>
                    <a:pt x="7" y="1"/>
                  </a:cubicBezTo>
                  <a:cubicBezTo>
                    <a:pt x="6" y="1"/>
                    <a:pt x="6" y="1"/>
                    <a:pt x="6" y="1"/>
                  </a:cubicBezTo>
                  <a:cubicBezTo>
                    <a:pt x="5" y="1"/>
                    <a:pt x="5" y="1"/>
                    <a:pt x="5" y="1"/>
                  </a:cubicBezTo>
                  <a:cubicBezTo>
                    <a:pt x="5" y="1"/>
                    <a:pt x="5" y="1"/>
                    <a:pt x="5" y="1"/>
                  </a:cubicBezTo>
                  <a:cubicBezTo>
                    <a:pt x="5" y="1"/>
                    <a:pt x="5" y="1"/>
                    <a:pt x="5" y="1"/>
                  </a:cubicBezTo>
                  <a:cubicBezTo>
                    <a:pt x="5" y="1"/>
                    <a:pt x="5" y="1"/>
                    <a:pt x="5" y="1"/>
                  </a:cubicBezTo>
                  <a:cubicBezTo>
                    <a:pt x="4" y="0"/>
                    <a:pt x="5" y="0"/>
                    <a:pt x="3" y="0"/>
                  </a:cubicBezTo>
                  <a:cubicBezTo>
                    <a:pt x="3" y="0"/>
                    <a:pt x="3" y="0"/>
                    <a:pt x="3" y="0"/>
                  </a:cubicBezTo>
                  <a:cubicBezTo>
                    <a:pt x="2" y="0"/>
                    <a:pt x="0" y="1"/>
                    <a:pt x="0" y="1"/>
                  </a:cubicBezTo>
                  <a:cubicBezTo>
                    <a:pt x="0" y="1"/>
                    <a:pt x="0" y="1"/>
                    <a:pt x="0" y="1"/>
                  </a:cubicBezTo>
                  <a:cubicBezTo>
                    <a:pt x="0" y="1"/>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27" name="Freeform 2079">
              <a:extLst>
                <a:ext uri="{FF2B5EF4-FFF2-40B4-BE49-F238E27FC236}">
                  <a16:creationId xmlns:a16="http://schemas.microsoft.com/office/drawing/2014/main" id="{CA51B292-3948-4053-989E-C56648354B31}"/>
                </a:ext>
              </a:extLst>
            </p:cNvPr>
            <p:cNvSpPr>
              <a:spLocks/>
            </p:cNvSpPr>
            <p:nvPr/>
          </p:nvSpPr>
          <p:spPr bwMode="auto">
            <a:xfrm>
              <a:off x="1982" y="1089"/>
              <a:ext cx="11" cy="7"/>
            </a:xfrm>
            <a:custGeom>
              <a:avLst/>
              <a:gdLst>
                <a:gd name="T0" fmla="*/ 5 w 5"/>
                <a:gd name="T1" fmla="*/ 2 h 3"/>
                <a:gd name="T2" fmla="*/ 2 w 5"/>
                <a:gd name="T3" fmla="*/ 1 h 3"/>
                <a:gd name="T4" fmla="*/ 1 w 5"/>
                <a:gd name="T5" fmla="*/ 0 h 3"/>
                <a:gd name="T6" fmla="*/ 1 w 5"/>
                <a:gd name="T7" fmla="*/ 0 h 3"/>
                <a:gd name="T8" fmla="*/ 0 w 5"/>
                <a:gd name="T9" fmla="*/ 0 h 3"/>
                <a:gd name="T10" fmla="*/ 1 w 5"/>
                <a:gd name="T11" fmla="*/ 1 h 3"/>
                <a:gd name="T12" fmla="*/ 1 w 5"/>
                <a:gd name="T13" fmla="*/ 1 h 3"/>
                <a:gd name="T14" fmla="*/ 1 w 5"/>
                <a:gd name="T15" fmla="*/ 2 h 3"/>
                <a:gd name="T16" fmla="*/ 2 w 5"/>
                <a:gd name="T17" fmla="*/ 2 h 3"/>
                <a:gd name="T18" fmla="*/ 4 w 5"/>
                <a:gd name="T19" fmla="*/ 3 h 3"/>
                <a:gd name="T20" fmla="*/ 5 w 5"/>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3">
                  <a:moveTo>
                    <a:pt x="5" y="2"/>
                  </a:moveTo>
                  <a:cubicBezTo>
                    <a:pt x="4" y="1"/>
                    <a:pt x="3" y="1"/>
                    <a:pt x="2" y="1"/>
                  </a:cubicBezTo>
                  <a:cubicBezTo>
                    <a:pt x="1" y="1"/>
                    <a:pt x="1" y="1"/>
                    <a:pt x="1" y="0"/>
                  </a:cubicBezTo>
                  <a:cubicBezTo>
                    <a:pt x="1" y="0"/>
                    <a:pt x="1" y="0"/>
                    <a:pt x="1" y="0"/>
                  </a:cubicBezTo>
                  <a:cubicBezTo>
                    <a:pt x="1" y="0"/>
                    <a:pt x="0" y="0"/>
                    <a:pt x="0" y="0"/>
                  </a:cubicBezTo>
                  <a:cubicBezTo>
                    <a:pt x="0" y="1"/>
                    <a:pt x="1" y="1"/>
                    <a:pt x="1" y="1"/>
                  </a:cubicBezTo>
                  <a:cubicBezTo>
                    <a:pt x="1" y="1"/>
                    <a:pt x="1" y="1"/>
                    <a:pt x="1" y="1"/>
                  </a:cubicBezTo>
                  <a:cubicBezTo>
                    <a:pt x="1" y="2"/>
                    <a:pt x="1" y="2"/>
                    <a:pt x="1" y="2"/>
                  </a:cubicBezTo>
                  <a:cubicBezTo>
                    <a:pt x="2" y="2"/>
                    <a:pt x="2" y="2"/>
                    <a:pt x="2" y="2"/>
                  </a:cubicBezTo>
                  <a:cubicBezTo>
                    <a:pt x="2" y="2"/>
                    <a:pt x="3" y="2"/>
                    <a:pt x="4" y="3"/>
                  </a:cubicBezTo>
                  <a:cubicBezTo>
                    <a:pt x="4" y="2"/>
                    <a:pt x="5" y="2"/>
                    <a:pt x="5"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28" name="Freeform 2080">
              <a:extLst>
                <a:ext uri="{FF2B5EF4-FFF2-40B4-BE49-F238E27FC236}">
                  <a16:creationId xmlns:a16="http://schemas.microsoft.com/office/drawing/2014/main" id="{C36F5DBD-ECE1-44C9-9EE1-0E279FFE69E9}"/>
                </a:ext>
              </a:extLst>
            </p:cNvPr>
            <p:cNvSpPr>
              <a:spLocks/>
            </p:cNvSpPr>
            <p:nvPr/>
          </p:nvSpPr>
          <p:spPr bwMode="auto">
            <a:xfrm>
              <a:off x="1116" y="682"/>
              <a:ext cx="14" cy="12"/>
            </a:xfrm>
            <a:custGeom>
              <a:avLst/>
              <a:gdLst>
                <a:gd name="T0" fmla="*/ 1 w 6"/>
                <a:gd name="T1" fmla="*/ 3 h 5"/>
                <a:gd name="T2" fmla="*/ 3 w 6"/>
                <a:gd name="T3" fmla="*/ 4 h 5"/>
                <a:gd name="T4" fmla="*/ 5 w 6"/>
                <a:gd name="T5" fmla="*/ 5 h 5"/>
                <a:gd name="T6" fmla="*/ 5 w 6"/>
                <a:gd name="T7" fmla="*/ 3 h 5"/>
                <a:gd name="T8" fmla="*/ 3 w 6"/>
                <a:gd name="T9" fmla="*/ 1 h 5"/>
                <a:gd name="T10" fmla="*/ 1 w 6"/>
                <a:gd name="T11" fmla="*/ 1 h 5"/>
                <a:gd name="T12" fmla="*/ 0 w 6"/>
                <a:gd name="T13" fmla="*/ 0 h 5"/>
                <a:gd name="T14" fmla="*/ 0 w 6"/>
                <a:gd name="T15" fmla="*/ 2 h 5"/>
                <a:gd name="T16" fmla="*/ 1 w 6"/>
                <a:gd name="T17" fmla="*/ 3 h 5"/>
                <a:gd name="T18" fmla="*/ 1 w 6"/>
                <a:gd name="T1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1" y="3"/>
                  </a:moveTo>
                  <a:cubicBezTo>
                    <a:pt x="2" y="3"/>
                    <a:pt x="2" y="4"/>
                    <a:pt x="3" y="4"/>
                  </a:cubicBezTo>
                  <a:cubicBezTo>
                    <a:pt x="4" y="4"/>
                    <a:pt x="5" y="5"/>
                    <a:pt x="5" y="5"/>
                  </a:cubicBezTo>
                  <a:cubicBezTo>
                    <a:pt x="6" y="4"/>
                    <a:pt x="6" y="3"/>
                    <a:pt x="5" y="3"/>
                  </a:cubicBezTo>
                  <a:cubicBezTo>
                    <a:pt x="5" y="2"/>
                    <a:pt x="4" y="1"/>
                    <a:pt x="3" y="1"/>
                  </a:cubicBezTo>
                  <a:cubicBezTo>
                    <a:pt x="2" y="1"/>
                    <a:pt x="2" y="1"/>
                    <a:pt x="1" y="1"/>
                  </a:cubicBezTo>
                  <a:cubicBezTo>
                    <a:pt x="1" y="1"/>
                    <a:pt x="1" y="1"/>
                    <a:pt x="0" y="0"/>
                  </a:cubicBezTo>
                  <a:cubicBezTo>
                    <a:pt x="0" y="1"/>
                    <a:pt x="0" y="2"/>
                    <a:pt x="0" y="2"/>
                  </a:cubicBezTo>
                  <a:cubicBezTo>
                    <a:pt x="0" y="2"/>
                    <a:pt x="1" y="3"/>
                    <a:pt x="1" y="3"/>
                  </a:cubicBezTo>
                  <a:cubicBezTo>
                    <a:pt x="1" y="3"/>
                    <a:pt x="1" y="3"/>
                    <a:pt x="1"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29" name="Freeform 2081">
              <a:extLst>
                <a:ext uri="{FF2B5EF4-FFF2-40B4-BE49-F238E27FC236}">
                  <a16:creationId xmlns:a16="http://schemas.microsoft.com/office/drawing/2014/main" id="{36FF53B6-90C4-4E07-958C-F0C8E384BAFD}"/>
                </a:ext>
              </a:extLst>
            </p:cNvPr>
            <p:cNvSpPr>
              <a:spLocks/>
            </p:cNvSpPr>
            <p:nvPr/>
          </p:nvSpPr>
          <p:spPr bwMode="auto">
            <a:xfrm>
              <a:off x="937" y="810"/>
              <a:ext cx="4" cy="10"/>
            </a:xfrm>
            <a:custGeom>
              <a:avLst/>
              <a:gdLst>
                <a:gd name="T0" fmla="*/ 1 w 2"/>
                <a:gd name="T1" fmla="*/ 4 h 4"/>
                <a:gd name="T2" fmla="*/ 1 w 2"/>
                <a:gd name="T3" fmla="*/ 4 h 4"/>
                <a:gd name="T4" fmla="*/ 1 w 2"/>
                <a:gd name="T5" fmla="*/ 4 h 4"/>
                <a:gd name="T6" fmla="*/ 2 w 2"/>
                <a:gd name="T7" fmla="*/ 2 h 4"/>
                <a:gd name="T8" fmla="*/ 2 w 2"/>
                <a:gd name="T9" fmla="*/ 2 h 4"/>
                <a:gd name="T10" fmla="*/ 2 w 2"/>
                <a:gd name="T11" fmla="*/ 1 h 4"/>
                <a:gd name="T12" fmla="*/ 2 w 2"/>
                <a:gd name="T13" fmla="*/ 1 h 4"/>
                <a:gd name="T14" fmla="*/ 2 w 2"/>
                <a:gd name="T15" fmla="*/ 1 h 4"/>
                <a:gd name="T16" fmla="*/ 2 w 2"/>
                <a:gd name="T17" fmla="*/ 1 h 4"/>
                <a:gd name="T18" fmla="*/ 1 w 2"/>
                <a:gd name="T19" fmla="*/ 1 h 4"/>
                <a:gd name="T20" fmla="*/ 1 w 2"/>
                <a:gd name="T21" fmla="*/ 1 h 4"/>
                <a:gd name="T22" fmla="*/ 0 w 2"/>
                <a:gd name="T23" fmla="*/ 1 h 4"/>
                <a:gd name="T24" fmla="*/ 0 w 2"/>
                <a:gd name="T25" fmla="*/ 1 h 4"/>
                <a:gd name="T26" fmla="*/ 0 w 2"/>
                <a:gd name="T27" fmla="*/ 3 h 4"/>
                <a:gd name="T28" fmla="*/ 0 w 2"/>
                <a:gd name="T29" fmla="*/ 3 h 4"/>
                <a:gd name="T30" fmla="*/ 1 w 2"/>
                <a:gd name="T3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 h="4">
                  <a:moveTo>
                    <a:pt x="1" y="4"/>
                  </a:moveTo>
                  <a:cubicBezTo>
                    <a:pt x="1" y="4"/>
                    <a:pt x="1" y="4"/>
                    <a:pt x="1" y="4"/>
                  </a:cubicBezTo>
                  <a:cubicBezTo>
                    <a:pt x="1" y="4"/>
                    <a:pt x="1" y="4"/>
                    <a:pt x="1" y="4"/>
                  </a:cubicBezTo>
                  <a:cubicBezTo>
                    <a:pt x="2" y="4"/>
                    <a:pt x="2" y="3"/>
                    <a:pt x="2" y="2"/>
                  </a:cubicBezTo>
                  <a:cubicBezTo>
                    <a:pt x="2" y="2"/>
                    <a:pt x="2" y="2"/>
                    <a:pt x="2" y="2"/>
                  </a:cubicBezTo>
                  <a:cubicBezTo>
                    <a:pt x="2" y="2"/>
                    <a:pt x="2" y="1"/>
                    <a:pt x="2" y="1"/>
                  </a:cubicBezTo>
                  <a:cubicBezTo>
                    <a:pt x="2" y="1"/>
                    <a:pt x="2" y="1"/>
                    <a:pt x="2" y="1"/>
                  </a:cubicBezTo>
                  <a:cubicBezTo>
                    <a:pt x="2" y="1"/>
                    <a:pt x="2" y="1"/>
                    <a:pt x="2" y="1"/>
                  </a:cubicBezTo>
                  <a:cubicBezTo>
                    <a:pt x="2" y="1"/>
                    <a:pt x="2" y="1"/>
                    <a:pt x="2" y="1"/>
                  </a:cubicBezTo>
                  <a:cubicBezTo>
                    <a:pt x="2" y="0"/>
                    <a:pt x="1" y="0"/>
                    <a:pt x="1" y="1"/>
                  </a:cubicBezTo>
                  <a:cubicBezTo>
                    <a:pt x="1" y="1"/>
                    <a:pt x="1" y="1"/>
                    <a:pt x="1" y="1"/>
                  </a:cubicBezTo>
                  <a:cubicBezTo>
                    <a:pt x="1" y="1"/>
                    <a:pt x="0" y="1"/>
                    <a:pt x="0" y="1"/>
                  </a:cubicBezTo>
                  <a:cubicBezTo>
                    <a:pt x="0" y="1"/>
                    <a:pt x="0" y="1"/>
                    <a:pt x="0" y="1"/>
                  </a:cubicBezTo>
                  <a:cubicBezTo>
                    <a:pt x="0" y="1"/>
                    <a:pt x="0" y="2"/>
                    <a:pt x="0" y="3"/>
                  </a:cubicBezTo>
                  <a:cubicBezTo>
                    <a:pt x="0" y="3"/>
                    <a:pt x="0" y="3"/>
                    <a:pt x="0" y="3"/>
                  </a:cubicBezTo>
                  <a:cubicBezTo>
                    <a:pt x="0" y="3"/>
                    <a:pt x="1" y="4"/>
                    <a:pt x="1"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30" name="Freeform 2082">
              <a:extLst>
                <a:ext uri="{FF2B5EF4-FFF2-40B4-BE49-F238E27FC236}">
                  <a16:creationId xmlns:a16="http://schemas.microsoft.com/office/drawing/2014/main" id="{2C3C0320-0E2D-4824-82A7-DDE5DDBFD8D7}"/>
                </a:ext>
              </a:extLst>
            </p:cNvPr>
            <p:cNvSpPr>
              <a:spLocks/>
            </p:cNvSpPr>
            <p:nvPr/>
          </p:nvSpPr>
          <p:spPr bwMode="auto">
            <a:xfrm>
              <a:off x="1447" y="784"/>
              <a:ext cx="17" cy="26"/>
            </a:xfrm>
            <a:custGeom>
              <a:avLst/>
              <a:gdLst>
                <a:gd name="T0" fmla="*/ 1 w 7"/>
                <a:gd name="T1" fmla="*/ 7 h 11"/>
                <a:gd name="T2" fmla="*/ 1 w 7"/>
                <a:gd name="T3" fmla="*/ 7 h 11"/>
                <a:gd name="T4" fmla="*/ 1 w 7"/>
                <a:gd name="T5" fmla="*/ 8 h 11"/>
                <a:gd name="T6" fmla="*/ 1 w 7"/>
                <a:gd name="T7" fmla="*/ 8 h 11"/>
                <a:gd name="T8" fmla="*/ 2 w 7"/>
                <a:gd name="T9" fmla="*/ 9 h 11"/>
                <a:gd name="T10" fmla="*/ 2 w 7"/>
                <a:gd name="T11" fmla="*/ 10 h 11"/>
                <a:gd name="T12" fmla="*/ 3 w 7"/>
                <a:gd name="T13" fmla="*/ 10 h 11"/>
                <a:gd name="T14" fmla="*/ 6 w 7"/>
                <a:gd name="T15" fmla="*/ 9 h 11"/>
                <a:gd name="T16" fmla="*/ 6 w 7"/>
                <a:gd name="T17" fmla="*/ 3 h 11"/>
                <a:gd name="T18" fmla="*/ 6 w 7"/>
                <a:gd name="T19" fmla="*/ 3 h 11"/>
                <a:gd name="T20" fmla="*/ 6 w 7"/>
                <a:gd name="T21" fmla="*/ 3 h 11"/>
                <a:gd name="T22" fmla="*/ 5 w 7"/>
                <a:gd name="T23" fmla="*/ 1 h 11"/>
                <a:gd name="T24" fmla="*/ 4 w 7"/>
                <a:gd name="T25" fmla="*/ 0 h 11"/>
                <a:gd name="T26" fmla="*/ 2 w 7"/>
                <a:gd name="T27" fmla="*/ 2 h 11"/>
                <a:gd name="T28" fmla="*/ 1 w 7"/>
                <a:gd name="T29" fmla="*/ 4 h 11"/>
                <a:gd name="T30" fmla="*/ 0 w 7"/>
                <a:gd name="T31" fmla="*/ 4 h 11"/>
                <a:gd name="T32" fmla="*/ 1 w 7"/>
                <a:gd name="T33" fmla="*/ 5 h 11"/>
                <a:gd name="T34" fmla="*/ 2 w 7"/>
                <a:gd name="T35" fmla="*/ 6 h 11"/>
                <a:gd name="T36" fmla="*/ 1 w 7"/>
                <a:gd name="T3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1">
                  <a:moveTo>
                    <a:pt x="1" y="7"/>
                  </a:moveTo>
                  <a:cubicBezTo>
                    <a:pt x="1" y="7"/>
                    <a:pt x="1" y="7"/>
                    <a:pt x="1" y="7"/>
                  </a:cubicBezTo>
                  <a:cubicBezTo>
                    <a:pt x="1" y="8"/>
                    <a:pt x="1" y="8"/>
                    <a:pt x="1" y="8"/>
                  </a:cubicBezTo>
                  <a:cubicBezTo>
                    <a:pt x="1" y="8"/>
                    <a:pt x="1" y="8"/>
                    <a:pt x="1" y="8"/>
                  </a:cubicBezTo>
                  <a:cubicBezTo>
                    <a:pt x="1" y="8"/>
                    <a:pt x="1" y="9"/>
                    <a:pt x="2" y="9"/>
                  </a:cubicBezTo>
                  <a:cubicBezTo>
                    <a:pt x="2" y="9"/>
                    <a:pt x="2" y="9"/>
                    <a:pt x="2" y="10"/>
                  </a:cubicBezTo>
                  <a:cubicBezTo>
                    <a:pt x="3" y="10"/>
                    <a:pt x="3" y="10"/>
                    <a:pt x="3" y="10"/>
                  </a:cubicBezTo>
                  <a:cubicBezTo>
                    <a:pt x="5" y="11"/>
                    <a:pt x="6" y="10"/>
                    <a:pt x="6" y="9"/>
                  </a:cubicBezTo>
                  <a:cubicBezTo>
                    <a:pt x="7" y="7"/>
                    <a:pt x="6" y="4"/>
                    <a:pt x="6" y="3"/>
                  </a:cubicBezTo>
                  <a:cubicBezTo>
                    <a:pt x="6" y="3"/>
                    <a:pt x="6" y="3"/>
                    <a:pt x="6" y="3"/>
                  </a:cubicBezTo>
                  <a:cubicBezTo>
                    <a:pt x="6" y="3"/>
                    <a:pt x="6" y="3"/>
                    <a:pt x="6" y="3"/>
                  </a:cubicBezTo>
                  <a:cubicBezTo>
                    <a:pt x="6" y="2"/>
                    <a:pt x="6" y="2"/>
                    <a:pt x="5" y="1"/>
                  </a:cubicBezTo>
                  <a:cubicBezTo>
                    <a:pt x="5" y="1"/>
                    <a:pt x="4" y="0"/>
                    <a:pt x="4" y="0"/>
                  </a:cubicBezTo>
                  <a:cubicBezTo>
                    <a:pt x="3" y="0"/>
                    <a:pt x="2" y="1"/>
                    <a:pt x="2" y="2"/>
                  </a:cubicBezTo>
                  <a:cubicBezTo>
                    <a:pt x="2" y="2"/>
                    <a:pt x="1" y="3"/>
                    <a:pt x="1" y="4"/>
                  </a:cubicBezTo>
                  <a:cubicBezTo>
                    <a:pt x="1" y="4"/>
                    <a:pt x="0" y="4"/>
                    <a:pt x="0" y="4"/>
                  </a:cubicBezTo>
                  <a:cubicBezTo>
                    <a:pt x="0" y="5"/>
                    <a:pt x="1" y="5"/>
                    <a:pt x="1" y="5"/>
                  </a:cubicBezTo>
                  <a:cubicBezTo>
                    <a:pt x="2" y="6"/>
                    <a:pt x="2" y="6"/>
                    <a:pt x="2" y="6"/>
                  </a:cubicBezTo>
                  <a:cubicBezTo>
                    <a:pt x="1" y="7"/>
                    <a:pt x="1" y="7"/>
                    <a:pt x="1" y="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31" name="Freeform 2083">
              <a:extLst>
                <a:ext uri="{FF2B5EF4-FFF2-40B4-BE49-F238E27FC236}">
                  <a16:creationId xmlns:a16="http://schemas.microsoft.com/office/drawing/2014/main" id="{9B0A1B31-2A08-4C48-AF04-BC2AAEA193EE}"/>
                </a:ext>
              </a:extLst>
            </p:cNvPr>
            <p:cNvSpPr>
              <a:spLocks/>
            </p:cNvSpPr>
            <p:nvPr/>
          </p:nvSpPr>
          <p:spPr bwMode="auto">
            <a:xfrm>
              <a:off x="1074" y="339"/>
              <a:ext cx="38" cy="12"/>
            </a:xfrm>
            <a:custGeom>
              <a:avLst/>
              <a:gdLst>
                <a:gd name="T0" fmla="*/ 1 w 16"/>
                <a:gd name="T1" fmla="*/ 1 h 5"/>
                <a:gd name="T2" fmla="*/ 0 w 16"/>
                <a:gd name="T3" fmla="*/ 2 h 5"/>
                <a:gd name="T4" fmla="*/ 0 w 16"/>
                <a:gd name="T5" fmla="*/ 3 h 5"/>
                <a:gd name="T6" fmla="*/ 4 w 16"/>
                <a:gd name="T7" fmla="*/ 5 h 5"/>
                <a:gd name="T8" fmla="*/ 9 w 16"/>
                <a:gd name="T9" fmla="*/ 4 h 5"/>
                <a:gd name="T10" fmla="*/ 16 w 16"/>
                <a:gd name="T11" fmla="*/ 3 h 5"/>
                <a:gd name="T12" fmla="*/ 15 w 16"/>
                <a:gd name="T13" fmla="*/ 3 h 5"/>
                <a:gd name="T14" fmla="*/ 14 w 16"/>
                <a:gd name="T15" fmla="*/ 2 h 5"/>
                <a:gd name="T16" fmla="*/ 14 w 16"/>
                <a:gd name="T17" fmla="*/ 2 h 5"/>
                <a:gd name="T18" fmla="*/ 11 w 16"/>
                <a:gd name="T19" fmla="*/ 1 h 5"/>
                <a:gd name="T20" fmla="*/ 10 w 16"/>
                <a:gd name="T21" fmla="*/ 1 h 5"/>
                <a:gd name="T22" fmla="*/ 8 w 16"/>
                <a:gd name="T23" fmla="*/ 0 h 5"/>
                <a:gd name="T24" fmla="*/ 7 w 16"/>
                <a:gd name="T25" fmla="*/ 0 h 5"/>
                <a:gd name="T26" fmla="*/ 7 w 16"/>
                <a:gd name="T27" fmla="*/ 0 h 5"/>
                <a:gd name="T28" fmla="*/ 6 w 16"/>
                <a:gd name="T29" fmla="*/ 1 h 5"/>
                <a:gd name="T30" fmla="*/ 5 w 16"/>
                <a:gd name="T31" fmla="*/ 1 h 5"/>
                <a:gd name="T32" fmla="*/ 5 w 16"/>
                <a:gd name="T33" fmla="*/ 1 h 5"/>
                <a:gd name="T34" fmla="*/ 1 w 16"/>
                <a:gd name="T3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 h="5">
                  <a:moveTo>
                    <a:pt x="1" y="1"/>
                  </a:moveTo>
                  <a:cubicBezTo>
                    <a:pt x="1" y="2"/>
                    <a:pt x="1" y="2"/>
                    <a:pt x="0" y="2"/>
                  </a:cubicBezTo>
                  <a:cubicBezTo>
                    <a:pt x="0" y="2"/>
                    <a:pt x="0" y="3"/>
                    <a:pt x="0" y="3"/>
                  </a:cubicBezTo>
                  <a:cubicBezTo>
                    <a:pt x="1" y="4"/>
                    <a:pt x="3" y="5"/>
                    <a:pt x="4" y="5"/>
                  </a:cubicBezTo>
                  <a:cubicBezTo>
                    <a:pt x="6" y="5"/>
                    <a:pt x="8" y="5"/>
                    <a:pt x="9" y="4"/>
                  </a:cubicBezTo>
                  <a:cubicBezTo>
                    <a:pt x="11" y="3"/>
                    <a:pt x="14" y="4"/>
                    <a:pt x="16" y="3"/>
                  </a:cubicBezTo>
                  <a:cubicBezTo>
                    <a:pt x="16" y="3"/>
                    <a:pt x="15" y="3"/>
                    <a:pt x="15" y="3"/>
                  </a:cubicBezTo>
                  <a:cubicBezTo>
                    <a:pt x="15" y="2"/>
                    <a:pt x="15" y="2"/>
                    <a:pt x="14" y="2"/>
                  </a:cubicBezTo>
                  <a:cubicBezTo>
                    <a:pt x="14" y="2"/>
                    <a:pt x="14" y="2"/>
                    <a:pt x="14" y="2"/>
                  </a:cubicBezTo>
                  <a:cubicBezTo>
                    <a:pt x="13" y="2"/>
                    <a:pt x="12" y="1"/>
                    <a:pt x="11" y="1"/>
                  </a:cubicBezTo>
                  <a:cubicBezTo>
                    <a:pt x="11" y="1"/>
                    <a:pt x="10" y="1"/>
                    <a:pt x="10" y="1"/>
                  </a:cubicBezTo>
                  <a:cubicBezTo>
                    <a:pt x="9" y="1"/>
                    <a:pt x="9" y="0"/>
                    <a:pt x="8" y="0"/>
                  </a:cubicBezTo>
                  <a:cubicBezTo>
                    <a:pt x="8" y="0"/>
                    <a:pt x="8" y="0"/>
                    <a:pt x="7" y="0"/>
                  </a:cubicBezTo>
                  <a:cubicBezTo>
                    <a:pt x="7" y="0"/>
                    <a:pt x="7" y="0"/>
                    <a:pt x="7" y="0"/>
                  </a:cubicBezTo>
                  <a:cubicBezTo>
                    <a:pt x="6" y="1"/>
                    <a:pt x="6" y="0"/>
                    <a:pt x="6" y="1"/>
                  </a:cubicBezTo>
                  <a:cubicBezTo>
                    <a:pt x="5" y="1"/>
                    <a:pt x="5" y="1"/>
                    <a:pt x="5" y="1"/>
                  </a:cubicBezTo>
                  <a:cubicBezTo>
                    <a:pt x="5" y="1"/>
                    <a:pt x="5" y="1"/>
                    <a:pt x="5" y="1"/>
                  </a:cubicBezTo>
                  <a:cubicBezTo>
                    <a:pt x="4" y="1"/>
                    <a:pt x="2" y="1"/>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32" name="Freeform 2084">
              <a:extLst>
                <a:ext uri="{FF2B5EF4-FFF2-40B4-BE49-F238E27FC236}">
                  <a16:creationId xmlns:a16="http://schemas.microsoft.com/office/drawing/2014/main" id="{ED15C081-827A-4A45-9853-D4899DBEC139}"/>
                </a:ext>
              </a:extLst>
            </p:cNvPr>
            <p:cNvSpPr>
              <a:spLocks/>
            </p:cNvSpPr>
            <p:nvPr/>
          </p:nvSpPr>
          <p:spPr bwMode="auto">
            <a:xfrm>
              <a:off x="1648" y="1078"/>
              <a:ext cx="12" cy="4"/>
            </a:xfrm>
            <a:custGeom>
              <a:avLst/>
              <a:gdLst>
                <a:gd name="T0" fmla="*/ 5 w 5"/>
                <a:gd name="T1" fmla="*/ 0 h 2"/>
                <a:gd name="T2" fmla="*/ 4 w 5"/>
                <a:gd name="T3" fmla="*/ 0 h 2"/>
                <a:gd name="T4" fmla="*/ 1 w 5"/>
                <a:gd name="T5" fmla="*/ 1 h 2"/>
                <a:gd name="T6" fmla="*/ 1 w 5"/>
                <a:gd name="T7" fmla="*/ 1 h 2"/>
                <a:gd name="T8" fmla="*/ 0 w 5"/>
                <a:gd name="T9" fmla="*/ 2 h 2"/>
                <a:gd name="T10" fmla="*/ 5 w 5"/>
                <a:gd name="T11" fmla="*/ 0 h 2"/>
              </a:gdLst>
              <a:ahLst/>
              <a:cxnLst>
                <a:cxn ang="0">
                  <a:pos x="T0" y="T1"/>
                </a:cxn>
                <a:cxn ang="0">
                  <a:pos x="T2" y="T3"/>
                </a:cxn>
                <a:cxn ang="0">
                  <a:pos x="T4" y="T5"/>
                </a:cxn>
                <a:cxn ang="0">
                  <a:pos x="T6" y="T7"/>
                </a:cxn>
                <a:cxn ang="0">
                  <a:pos x="T8" y="T9"/>
                </a:cxn>
                <a:cxn ang="0">
                  <a:pos x="T10" y="T11"/>
                </a:cxn>
              </a:cxnLst>
              <a:rect l="0" t="0" r="r" b="b"/>
              <a:pathLst>
                <a:path w="5" h="2">
                  <a:moveTo>
                    <a:pt x="5" y="0"/>
                  </a:moveTo>
                  <a:cubicBezTo>
                    <a:pt x="4" y="0"/>
                    <a:pt x="4" y="0"/>
                    <a:pt x="4" y="0"/>
                  </a:cubicBezTo>
                  <a:cubicBezTo>
                    <a:pt x="3" y="1"/>
                    <a:pt x="2" y="1"/>
                    <a:pt x="1" y="1"/>
                  </a:cubicBezTo>
                  <a:cubicBezTo>
                    <a:pt x="1" y="1"/>
                    <a:pt x="1" y="1"/>
                    <a:pt x="1" y="1"/>
                  </a:cubicBezTo>
                  <a:cubicBezTo>
                    <a:pt x="0" y="1"/>
                    <a:pt x="0" y="1"/>
                    <a:pt x="0" y="2"/>
                  </a:cubicBezTo>
                  <a:cubicBezTo>
                    <a:pt x="1" y="2"/>
                    <a:pt x="4" y="1"/>
                    <a:pt x="5"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33" name="Freeform 2085">
              <a:extLst>
                <a:ext uri="{FF2B5EF4-FFF2-40B4-BE49-F238E27FC236}">
                  <a16:creationId xmlns:a16="http://schemas.microsoft.com/office/drawing/2014/main" id="{3D02ED8E-0445-4AF0-ADFF-E2F1289DE14C}"/>
                </a:ext>
              </a:extLst>
            </p:cNvPr>
            <p:cNvSpPr>
              <a:spLocks/>
            </p:cNvSpPr>
            <p:nvPr/>
          </p:nvSpPr>
          <p:spPr bwMode="auto">
            <a:xfrm>
              <a:off x="1204" y="571"/>
              <a:ext cx="14" cy="12"/>
            </a:xfrm>
            <a:custGeom>
              <a:avLst/>
              <a:gdLst>
                <a:gd name="T0" fmla="*/ 1 w 6"/>
                <a:gd name="T1" fmla="*/ 0 h 5"/>
                <a:gd name="T2" fmla="*/ 0 w 6"/>
                <a:gd name="T3" fmla="*/ 1 h 5"/>
                <a:gd name="T4" fmla="*/ 0 w 6"/>
                <a:gd name="T5" fmla="*/ 1 h 5"/>
                <a:gd name="T6" fmla="*/ 0 w 6"/>
                <a:gd name="T7" fmla="*/ 1 h 5"/>
                <a:gd name="T8" fmla="*/ 0 w 6"/>
                <a:gd name="T9" fmla="*/ 1 h 5"/>
                <a:gd name="T10" fmla="*/ 0 w 6"/>
                <a:gd name="T11" fmla="*/ 3 h 5"/>
                <a:gd name="T12" fmla="*/ 1 w 6"/>
                <a:gd name="T13" fmla="*/ 5 h 5"/>
                <a:gd name="T14" fmla="*/ 4 w 6"/>
                <a:gd name="T15" fmla="*/ 5 h 5"/>
                <a:gd name="T16" fmla="*/ 5 w 6"/>
                <a:gd name="T17" fmla="*/ 3 h 5"/>
                <a:gd name="T18" fmla="*/ 5 w 6"/>
                <a:gd name="T19" fmla="*/ 2 h 5"/>
                <a:gd name="T20" fmla="*/ 5 w 6"/>
                <a:gd name="T21" fmla="*/ 1 h 5"/>
                <a:gd name="T22" fmla="*/ 3 w 6"/>
                <a:gd name="T23" fmla="*/ 0 h 5"/>
                <a:gd name="T24" fmla="*/ 2 w 6"/>
                <a:gd name="T25" fmla="*/ 0 h 5"/>
                <a:gd name="T26" fmla="*/ 1 w 6"/>
                <a:gd name="T27" fmla="*/ 0 h 5"/>
                <a:gd name="T28" fmla="*/ 1 w 6"/>
                <a:gd name="T2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5">
                  <a:moveTo>
                    <a:pt x="1" y="0"/>
                  </a:moveTo>
                  <a:cubicBezTo>
                    <a:pt x="1" y="1"/>
                    <a:pt x="0" y="1"/>
                    <a:pt x="0" y="1"/>
                  </a:cubicBezTo>
                  <a:cubicBezTo>
                    <a:pt x="0" y="1"/>
                    <a:pt x="0" y="1"/>
                    <a:pt x="0" y="1"/>
                  </a:cubicBezTo>
                  <a:cubicBezTo>
                    <a:pt x="0" y="1"/>
                    <a:pt x="0" y="1"/>
                    <a:pt x="0" y="1"/>
                  </a:cubicBezTo>
                  <a:cubicBezTo>
                    <a:pt x="0" y="1"/>
                    <a:pt x="0" y="1"/>
                    <a:pt x="0" y="1"/>
                  </a:cubicBezTo>
                  <a:cubicBezTo>
                    <a:pt x="0" y="2"/>
                    <a:pt x="0" y="2"/>
                    <a:pt x="0" y="3"/>
                  </a:cubicBezTo>
                  <a:cubicBezTo>
                    <a:pt x="0" y="4"/>
                    <a:pt x="1" y="4"/>
                    <a:pt x="1" y="5"/>
                  </a:cubicBezTo>
                  <a:cubicBezTo>
                    <a:pt x="2" y="5"/>
                    <a:pt x="4" y="5"/>
                    <a:pt x="4" y="5"/>
                  </a:cubicBezTo>
                  <a:cubicBezTo>
                    <a:pt x="5" y="4"/>
                    <a:pt x="5" y="4"/>
                    <a:pt x="5" y="3"/>
                  </a:cubicBezTo>
                  <a:cubicBezTo>
                    <a:pt x="6" y="3"/>
                    <a:pt x="6" y="2"/>
                    <a:pt x="5" y="2"/>
                  </a:cubicBezTo>
                  <a:cubicBezTo>
                    <a:pt x="5" y="2"/>
                    <a:pt x="5" y="1"/>
                    <a:pt x="5" y="1"/>
                  </a:cubicBezTo>
                  <a:cubicBezTo>
                    <a:pt x="4" y="1"/>
                    <a:pt x="4" y="0"/>
                    <a:pt x="3" y="0"/>
                  </a:cubicBezTo>
                  <a:cubicBezTo>
                    <a:pt x="3" y="0"/>
                    <a:pt x="3" y="0"/>
                    <a:pt x="2" y="0"/>
                  </a:cubicBezTo>
                  <a:cubicBezTo>
                    <a:pt x="2" y="0"/>
                    <a:pt x="1" y="0"/>
                    <a:pt x="1" y="0"/>
                  </a:cubicBezTo>
                  <a:cubicBezTo>
                    <a:pt x="1" y="0"/>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34" name="Freeform 2086">
              <a:extLst>
                <a:ext uri="{FF2B5EF4-FFF2-40B4-BE49-F238E27FC236}">
                  <a16:creationId xmlns:a16="http://schemas.microsoft.com/office/drawing/2014/main" id="{7636D3A0-185E-4E56-A9B5-E856AE9005AD}"/>
                </a:ext>
              </a:extLst>
            </p:cNvPr>
            <p:cNvSpPr>
              <a:spLocks/>
            </p:cNvSpPr>
            <p:nvPr/>
          </p:nvSpPr>
          <p:spPr bwMode="auto">
            <a:xfrm>
              <a:off x="1405" y="1520"/>
              <a:ext cx="26" cy="17"/>
            </a:xfrm>
            <a:custGeom>
              <a:avLst/>
              <a:gdLst>
                <a:gd name="T0" fmla="*/ 4 w 11"/>
                <a:gd name="T1" fmla="*/ 6 h 7"/>
                <a:gd name="T2" fmla="*/ 4 w 11"/>
                <a:gd name="T3" fmla="*/ 7 h 7"/>
                <a:gd name="T4" fmla="*/ 8 w 11"/>
                <a:gd name="T5" fmla="*/ 3 h 7"/>
                <a:gd name="T6" fmla="*/ 11 w 11"/>
                <a:gd name="T7" fmla="*/ 2 h 7"/>
                <a:gd name="T8" fmla="*/ 4 w 11"/>
                <a:gd name="T9" fmla="*/ 2 h 7"/>
                <a:gd name="T10" fmla="*/ 4 w 11"/>
                <a:gd name="T11" fmla="*/ 6 h 7"/>
              </a:gdLst>
              <a:ahLst/>
              <a:cxnLst>
                <a:cxn ang="0">
                  <a:pos x="T0" y="T1"/>
                </a:cxn>
                <a:cxn ang="0">
                  <a:pos x="T2" y="T3"/>
                </a:cxn>
                <a:cxn ang="0">
                  <a:pos x="T4" y="T5"/>
                </a:cxn>
                <a:cxn ang="0">
                  <a:pos x="T6" y="T7"/>
                </a:cxn>
                <a:cxn ang="0">
                  <a:pos x="T8" y="T9"/>
                </a:cxn>
                <a:cxn ang="0">
                  <a:pos x="T10" y="T11"/>
                </a:cxn>
              </a:cxnLst>
              <a:rect l="0" t="0" r="r" b="b"/>
              <a:pathLst>
                <a:path w="11" h="7">
                  <a:moveTo>
                    <a:pt x="4" y="6"/>
                  </a:moveTo>
                  <a:cubicBezTo>
                    <a:pt x="3" y="6"/>
                    <a:pt x="3" y="7"/>
                    <a:pt x="4" y="7"/>
                  </a:cubicBezTo>
                  <a:cubicBezTo>
                    <a:pt x="5" y="6"/>
                    <a:pt x="7" y="4"/>
                    <a:pt x="8" y="3"/>
                  </a:cubicBezTo>
                  <a:cubicBezTo>
                    <a:pt x="9" y="1"/>
                    <a:pt x="10" y="2"/>
                    <a:pt x="11" y="2"/>
                  </a:cubicBezTo>
                  <a:cubicBezTo>
                    <a:pt x="9" y="0"/>
                    <a:pt x="6" y="1"/>
                    <a:pt x="4" y="2"/>
                  </a:cubicBezTo>
                  <a:cubicBezTo>
                    <a:pt x="2" y="3"/>
                    <a:pt x="0" y="5"/>
                    <a:pt x="4" y="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35" name="Freeform 2087">
              <a:extLst>
                <a:ext uri="{FF2B5EF4-FFF2-40B4-BE49-F238E27FC236}">
                  <a16:creationId xmlns:a16="http://schemas.microsoft.com/office/drawing/2014/main" id="{2137CC61-3AE0-46D0-B68D-41F80D760C84}"/>
                </a:ext>
              </a:extLst>
            </p:cNvPr>
            <p:cNvSpPr>
              <a:spLocks/>
            </p:cNvSpPr>
            <p:nvPr/>
          </p:nvSpPr>
          <p:spPr bwMode="auto">
            <a:xfrm>
              <a:off x="686" y="1936"/>
              <a:ext cx="5" cy="7"/>
            </a:xfrm>
            <a:custGeom>
              <a:avLst/>
              <a:gdLst>
                <a:gd name="T0" fmla="*/ 0 w 2"/>
                <a:gd name="T1" fmla="*/ 0 h 3"/>
                <a:gd name="T2" fmla="*/ 2 w 2"/>
                <a:gd name="T3" fmla="*/ 2 h 3"/>
                <a:gd name="T4" fmla="*/ 0 w 2"/>
                <a:gd name="T5" fmla="*/ 0 h 3"/>
              </a:gdLst>
              <a:ahLst/>
              <a:cxnLst>
                <a:cxn ang="0">
                  <a:pos x="T0" y="T1"/>
                </a:cxn>
                <a:cxn ang="0">
                  <a:pos x="T2" y="T3"/>
                </a:cxn>
                <a:cxn ang="0">
                  <a:pos x="T4" y="T5"/>
                </a:cxn>
              </a:cxnLst>
              <a:rect l="0" t="0" r="r" b="b"/>
              <a:pathLst>
                <a:path w="2" h="3">
                  <a:moveTo>
                    <a:pt x="0" y="0"/>
                  </a:moveTo>
                  <a:cubicBezTo>
                    <a:pt x="0" y="1"/>
                    <a:pt x="1" y="3"/>
                    <a:pt x="2" y="2"/>
                  </a:cubicBezTo>
                  <a:cubicBezTo>
                    <a:pt x="1" y="1"/>
                    <a:pt x="1"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36" name="Freeform 2088">
              <a:extLst>
                <a:ext uri="{FF2B5EF4-FFF2-40B4-BE49-F238E27FC236}">
                  <a16:creationId xmlns:a16="http://schemas.microsoft.com/office/drawing/2014/main" id="{3C31A52A-947F-4370-9D76-9D24AEC1BE87}"/>
                </a:ext>
              </a:extLst>
            </p:cNvPr>
            <p:cNvSpPr>
              <a:spLocks/>
            </p:cNvSpPr>
            <p:nvPr/>
          </p:nvSpPr>
          <p:spPr bwMode="auto">
            <a:xfrm>
              <a:off x="1700" y="1884"/>
              <a:ext cx="7" cy="10"/>
            </a:xfrm>
            <a:custGeom>
              <a:avLst/>
              <a:gdLst>
                <a:gd name="T0" fmla="*/ 1 w 3"/>
                <a:gd name="T1" fmla="*/ 2 h 4"/>
                <a:gd name="T2" fmla="*/ 1 w 3"/>
                <a:gd name="T3" fmla="*/ 3 h 4"/>
                <a:gd name="T4" fmla="*/ 0 w 3"/>
                <a:gd name="T5" fmla="*/ 4 h 4"/>
                <a:gd name="T6" fmla="*/ 3 w 3"/>
                <a:gd name="T7" fmla="*/ 0 h 4"/>
                <a:gd name="T8" fmla="*/ 2 w 3"/>
                <a:gd name="T9" fmla="*/ 1 h 4"/>
                <a:gd name="T10" fmla="*/ 2 w 3"/>
                <a:gd name="T11" fmla="*/ 1 h 4"/>
                <a:gd name="T12" fmla="*/ 1 w 3"/>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1" y="2"/>
                  </a:moveTo>
                  <a:cubicBezTo>
                    <a:pt x="1" y="2"/>
                    <a:pt x="1" y="2"/>
                    <a:pt x="1" y="3"/>
                  </a:cubicBezTo>
                  <a:cubicBezTo>
                    <a:pt x="1" y="3"/>
                    <a:pt x="0" y="3"/>
                    <a:pt x="0" y="4"/>
                  </a:cubicBezTo>
                  <a:cubicBezTo>
                    <a:pt x="1" y="3"/>
                    <a:pt x="2" y="1"/>
                    <a:pt x="3" y="0"/>
                  </a:cubicBezTo>
                  <a:cubicBezTo>
                    <a:pt x="3" y="0"/>
                    <a:pt x="3" y="1"/>
                    <a:pt x="2" y="1"/>
                  </a:cubicBezTo>
                  <a:cubicBezTo>
                    <a:pt x="2" y="1"/>
                    <a:pt x="2" y="1"/>
                    <a:pt x="2" y="1"/>
                  </a:cubicBezTo>
                  <a:cubicBezTo>
                    <a:pt x="2" y="1"/>
                    <a:pt x="2" y="2"/>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37" name="Freeform 2089">
              <a:extLst>
                <a:ext uri="{FF2B5EF4-FFF2-40B4-BE49-F238E27FC236}">
                  <a16:creationId xmlns:a16="http://schemas.microsoft.com/office/drawing/2014/main" id="{C57CCED8-A153-4379-95F3-9E46F70F6891}"/>
                </a:ext>
              </a:extLst>
            </p:cNvPr>
            <p:cNvSpPr>
              <a:spLocks/>
            </p:cNvSpPr>
            <p:nvPr/>
          </p:nvSpPr>
          <p:spPr bwMode="auto">
            <a:xfrm>
              <a:off x="1719" y="1872"/>
              <a:ext cx="7" cy="5"/>
            </a:xfrm>
            <a:custGeom>
              <a:avLst/>
              <a:gdLst>
                <a:gd name="T0" fmla="*/ 2 w 3"/>
                <a:gd name="T1" fmla="*/ 0 h 2"/>
                <a:gd name="T2" fmla="*/ 0 w 3"/>
                <a:gd name="T3" fmla="*/ 2 h 2"/>
                <a:gd name="T4" fmla="*/ 2 w 3"/>
                <a:gd name="T5" fmla="*/ 0 h 2"/>
              </a:gdLst>
              <a:ahLst/>
              <a:cxnLst>
                <a:cxn ang="0">
                  <a:pos x="T0" y="T1"/>
                </a:cxn>
                <a:cxn ang="0">
                  <a:pos x="T2" y="T3"/>
                </a:cxn>
                <a:cxn ang="0">
                  <a:pos x="T4" y="T5"/>
                </a:cxn>
              </a:cxnLst>
              <a:rect l="0" t="0" r="r" b="b"/>
              <a:pathLst>
                <a:path w="3" h="2">
                  <a:moveTo>
                    <a:pt x="2" y="0"/>
                  </a:moveTo>
                  <a:cubicBezTo>
                    <a:pt x="2" y="1"/>
                    <a:pt x="1" y="1"/>
                    <a:pt x="0" y="2"/>
                  </a:cubicBezTo>
                  <a:cubicBezTo>
                    <a:pt x="1" y="2"/>
                    <a:pt x="3" y="2"/>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38" name="Freeform 2090">
              <a:extLst>
                <a:ext uri="{FF2B5EF4-FFF2-40B4-BE49-F238E27FC236}">
                  <a16:creationId xmlns:a16="http://schemas.microsoft.com/office/drawing/2014/main" id="{DEBB329E-FDF0-47F8-A38D-0BD6BD5C118C}"/>
                </a:ext>
              </a:extLst>
            </p:cNvPr>
            <p:cNvSpPr>
              <a:spLocks/>
            </p:cNvSpPr>
            <p:nvPr/>
          </p:nvSpPr>
          <p:spPr bwMode="auto">
            <a:xfrm>
              <a:off x="1674" y="973"/>
              <a:ext cx="3" cy="0"/>
            </a:xfrm>
            <a:custGeom>
              <a:avLst/>
              <a:gdLst>
                <a:gd name="T0" fmla="*/ 1 w 1"/>
                <a:gd name="T1" fmla="*/ 0 w 1"/>
                <a:gd name="T2" fmla="*/ 0 w 1"/>
                <a:gd name="T3" fmla="*/ 0 w 1"/>
                <a:gd name="T4" fmla="*/ 0 w 1"/>
                <a:gd name="T5" fmla="*/ 1 w 1"/>
                <a:gd name="T6" fmla="*/ 1 w 1"/>
                <a:gd name="T7" fmla="*/ 1 w 1"/>
                <a:gd name="T8" fmla="*/ 1 w 1"/>
                <a:gd name="T9" fmla="*/ 1 w 1"/>
                <a:gd name="T10"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1">
                  <a:moveTo>
                    <a:pt x="1" y="0"/>
                  </a:moveTo>
                  <a:cubicBezTo>
                    <a:pt x="1" y="0"/>
                    <a:pt x="0" y="0"/>
                    <a:pt x="0" y="0"/>
                  </a:cubicBezTo>
                  <a:cubicBezTo>
                    <a:pt x="0" y="0"/>
                    <a:pt x="0" y="0"/>
                    <a:pt x="0" y="0"/>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39" name="Freeform 2091">
              <a:extLst>
                <a:ext uri="{FF2B5EF4-FFF2-40B4-BE49-F238E27FC236}">
                  <a16:creationId xmlns:a16="http://schemas.microsoft.com/office/drawing/2014/main" id="{5FE1C74D-C746-4800-859A-ED854CA8D920}"/>
                </a:ext>
              </a:extLst>
            </p:cNvPr>
            <p:cNvSpPr>
              <a:spLocks/>
            </p:cNvSpPr>
            <p:nvPr/>
          </p:nvSpPr>
          <p:spPr bwMode="auto">
            <a:xfrm>
              <a:off x="650" y="91"/>
              <a:ext cx="3" cy="9"/>
            </a:xfrm>
            <a:custGeom>
              <a:avLst/>
              <a:gdLst>
                <a:gd name="T0" fmla="*/ 0 w 1"/>
                <a:gd name="T1" fmla="*/ 0 h 4"/>
                <a:gd name="T2" fmla="*/ 0 w 1"/>
                <a:gd name="T3" fmla="*/ 4 h 4"/>
                <a:gd name="T4" fmla="*/ 0 w 1"/>
                <a:gd name="T5" fmla="*/ 0 h 4"/>
              </a:gdLst>
              <a:ahLst/>
              <a:cxnLst>
                <a:cxn ang="0">
                  <a:pos x="T0" y="T1"/>
                </a:cxn>
                <a:cxn ang="0">
                  <a:pos x="T2" y="T3"/>
                </a:cxn>
                <a:cxn ang="0">
                  <a:pos x="T4" y="T5"/>
                </a:cxn>
              </a:cxnLst>
              <a:rect l="0" t="0" r="r" b="b"/>
              <a:pathLst>
                <a:path w="1" h="4">
                  <a:moveTo>
                    <a:pt x="0" y="0"/>
                  </a:moveTo>
                  <a:cubicBezTo>
                    <a:pt x="0" y="1"/>
                    <a:pt x="0" y="3"/>
                    <a:pt x="0" y="4"/>
                  </a:cubicBezTo>
                  <a:cubicBezTo>
                    <a:pt x="0" y="3"/>
                    <a:pt x="1"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40" name="Freeform 2092">
              <a:extLst>
                <a:ext uri="{FF2B5EF4-FFF2-40B4-BE49-F238E27FC236}">
                  <a16:creationId xmlns:a16="http://schemas.microsoft.com/office/drawing/2014/main" id="{DFCB1126-CA1A-47BD-9A7E-8E0DF88D5494}"/>
                </a:ext>
              </a:extLst>
            </p:cNvPr>
            <p:cNvSpPr>
              <a:spLocks/>
            </p:cNvSpPr>
            <p:nvPr/>
          </p:nvSpPr>
          <p:spPr bwMode="auto">
            <a:xfrm>
              <a:off x="376" y="86"/>
              <a:ext cx="5" cy="5"/>
            </a:xfrm>
            <a:custGeom>
              <a:avLst/>
              <a:gdLst>
                <a:gd name="T0" fmla="*/ 1 w 2"/>
                <a:gd name="T1" fmla="*/ 1 h 2"/>
                <a:gd name="T2" fmla="*/ 0 w 2"/>
                <a:gd name="T3" fmla="*/ 2 h 2"/>
                <a:gd name="T4" fmla="*/ 1 w 2"/>
                <a:gd name="T5" fmla="*/ 1 h 2"/>
              </a:gdLst>
              <a:ahLst/>
              <a:cxnLst>
                <a:cxn ang="0">
                  <a:pos x="T0" y="T1"/>
                </a:cxn>
                <a:cxn ang="0">
                  <a:pos x="T2" y="T3"/>
                </a:cxn>
                <a:cxn ang="0">
                  <a:pos x="T4" y="T5"/>
                </a:cxn>
              </a:cxnLst>
              <a:rect l="0" t="0" r="r" b="b"/>
              <a:pathLst>
                <a:path w="2" h="2">
                  <a:moveTo>
                    <a:pt x="1" y="1"/>
                  </a:moveTo>
                  <a:cubicBezTo>
                    <a:pt x="1" y="1"/>
                    <a:pt x="0" y="2"/>
                    <a:pt x="0" y="2"/>
                  </a:cubicBezTo>
                  <a:cubicBezTo>
                    <a:pt x="0" y="2"/>
                    <a:pt x="2" y="0"/>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41" name="Freeform 2093">
              <a:extLst>
                <a:ext uri="{FF2B5EF4-FFF2-40B4-BE49-F238E27FC236}">
                  <a16:creationId xmlns:a16="http://schemas.microsoft.com/office/drawing/2014/main" id="{5D2981F6-A3CA-42DA-B2F9-D94EE24E5BDF}"/>
                </a:ext>
              </a:extLst>
            </p:cNvPr>
            <p:cNvSpPr>
              <a:spLocks/>
            </p:cNvSpPr>
            <p:nvPr/>
          </p:nvSpPr>
          <p:spPr bwMode="auto">
            <a:xfrm>
              <a:off x="1173" y="649"/>
              <a:ext cx="17" cy="22"/>
            </a:xfrm>
            <a:custGeom>
              <a:avLst/>
              <a:gdLst>
                <a:gd name="T0" fmla="*/ 6 w 7"/>
                <a:gd name="T1" fmla="*/ 2 h 9"/>
                <a:gd name="T2" fmla="*/ 5 w 7"/>
                <a:gd name="T3" fmla="*/ 2 h 9"/>
                <a:gd name="T4" fmla="*/ 4 w 7"/>
                <a:gd name="T5" fmla="*/ 0 h 9"/>
                <a:gd name="T6" fmla="*/ 1 w 7"/>
                <a:gd name="T7" fmla="*/ 6 h 9"/>
                <a:gd name="T8" fmla="*/ 3 w 7"/>
                <a:gd name="T9" fmla="*/ 8 h 9"/>
                <a:gd name="T10" fmla="*/ 5 w 7"/>
                <a:gd name="T11" fmla="*/ 9 h 9"/>
                <a:gd name="T12" fmla="*/ 5 w 7"/>
                <a:gd name="T13" fmla="*/ 8 h 9"/>
                <a:gd name="T14" fmla="*/ 4 w 7"/>
                <a:gd name="T15" fmla="*/ 8 h 9"/>
                <a:gd name="T16" fmla="*/ 5 w 7"/>
                <a:gd name="T17" fmla="*/ 7 h 9"/>
                <a:gd name="T18" fmla="*/ 5 w 7"/>
                <a:gd name="T19" fmla="*/ 6 h 9"/>
                <a:gd name="T20" fmla="*/ 6 w 7"/>
                <a:gd name="T21" fmla="*/ 5 h 9"/>
                <a:gd name="T22" fmla="*/ 6 w 7"/>
                <a:gd name="T23" fmla="*/ 6 h 9"/>
                <a:gd name="T24" fmla="*/ 5 w 7"/>
                <a:gd name="T25" fmla="*/ 5 h 9"/>
                <a:gd name="T26" fmla="*/ 4 w 7"/>
                <a:gd name="T27" fmla="*/ 6 h 9"/>
                <a:gd name="T28" fmla="*/ 3 w 7"/>
                <a:gd name="T29" fmla="*/ 7 h 9"/>
                <a:gd name="T30" fmla="*/ 2 w 7"/>
                <a:gd name="T31" fmla="*/ 5 h 9"/>
                <a:gd name="T32" fmla="*/ 2 w 7"/>
                <a:gd name="T33" fmla="*/ 4 h 9"/>
                <a:gd name="T34" fmla="*/ 6 w 7"/>
                <a:gd name="T35"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9">
                  <a:moveTo>
                    <a:pt x="6" y="2"/>
                  </a:moveTo>
                  <a:cubicBezTo>
                    <a:pt x="6" y="1"/>
                    <a:pt x="5" y="2"/>
                    <a:pt x="5" y="2"/>
                  </a:cubicBezTo>
                  <a:cubicBezTo>
                    <a:pt x="4" y="1"/>
                    <a:pt x="5" y="1"/>
                    <a:pt x="4" y="0"/>
                  </a:cubicBezTo>
                  <a:cubicBezTo>
                    <a:pt x="3" y="2"/>
                    <a:pt x="2" y="4"/>
                    <a:pt x="1" y="6"/>
                  </a:cubicBezTo>
                  <a:cubicBezTo>
                    <a:pt x="0" y="7"/>
                    <a:pt x="2" y="8"/>
                    <a:pt x="3" y="8"/>
                  </a:cubicBezTo>
                  <a:cubicBezTo>
                    <a:pt x="4" y="9"/>
                    <a:pt x="4" y="9"/>
                    <a:pt x="5" y="9"/>
                  </a:cubicBezTo>
                  <a:cubicBezTo>
                    <a:pt x="5" y="9"/>
                    <a:pt x="5" y="9"/>
                    <a:pt x="5" y="8"/>
                  </a:cubicBezTo>
                  <a:cubicBezTo>
                    <a:pt x="5" y="8"/>
                    <a:pt x="4" y="8"/>
                    <a:pt x="4" y="8"/>
                  </a:cubicBezTo>
                  <a:cubicBezTo>
                    <a:pt x="4" y="8"/>
                    <a:pt x="5" y="7"/>
                    <a:pt x="5" y="7"/>
                  </a:cubicBezTo>
                  <a:cubicBezTo>
                    <a:pt x="4" y="6"/>
                    <a:pt x="4" y="7"/>
                    <a:pt x="5" y="6"/>
                  </a:cubicBezTo>
                  <a:cubicBezTo>
                    <a:pt x="5" y="6"/>
                    <a:pt x="7" y="5"/>
                    <a:pt x="6" y="5"/>
                  </a:cubicBezTo>
                  <a:cubicBezTo>
                    <a:pt x="6" y="5"/>
                    <a:pt x="6" y="6"/>
                    <a:pt x="6" y="6"/>
                  </a:cubicBezTo>
                  <a:cubicBezTo>
                    <a:pt x="5" y="6"/>
                    <a:pt x="5" y="5"/>
                    <a:pt x="5" y="5"/>
                  </a:cubicBezTo>
                  <a:cubicBezTo>
                    <a:pt x="5" y="6"/>
                    <a:pt x="4" y="6"/>
                    <a:pt x="4" y="6"/>
                  </a:cubicBezTo>
                  <a:cubicBezTo>
                    <a:pt x="3" y="7"/>
                    <a:pt x="3" y="7"/>
                    <a:pt x="3" y="7"/>
                  </a:cubicBezTo>
                  <a:cubicBezTo>
                    <a:pt x="1" y="6"/>
                    <a:pt x="2" y="6"/>
                    <a:pt x="2" y="5"/>
                  </a:cubicBezTo>
                  <a:cubicBezTo>
                    <a:pt x="2" y="5"/>
                    <a:pt x="2" y="4"/>
                    <a:pt x="2" y="4"/>
                  </a:cubicBezTo>
                  <a:cubicBezTo>
                    <a:pt x="3" y="3"/>
                    <a:pt x="5" y="3"/>
                    <a:pt x="6"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42" name="Freeform 2094">
              <a:extLst>
                <a:ext uri="{FF2B5EF4-FFF2-40B4-BE49-F238E27FC236}">
                  <a16:creationId xmlns:a16="http://schemas.microsoft.com/office/drawing/2014/main" id="{C581DC0B-6D8D-4B51-9037-9FB282AC94C2}"/>
                </a:ext>
              </a:extLst>
            </p:cNvPr>
            <p:cNvSpPr>
              <a:spLocks/>
            </p:cNvSpPr>
            <p:nvPr/>
          </p:nvSpPr>
          <p:spPr bwMode="auto">
            <a:xfrm>
              <a:off x="1833" y="841"/>
              <a:ext cx="2" cy="0"/>
            </a:xfrm>
            <a:custGeom>
              <a:avLst/>
              <a:gdLst>
                <a:gd name="T0" fmla="*/ 1 w 1"/>
                <a:gd name="T1" fmla="*/ 1 w 1"/>
                <a:gd name="T2" fmla="*/ 0 w 1"/>
                <a:gd name="T3" fmla="*/ 0 w 1"/>
                <a:gd name="T4" fmla="*/ 0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cubicBezTo>
                    <a:pt x="1" y="0"/>
                    <a:pt x="1" y="0"/>
                    <a:pt x="1" y="0"/>
                  </a:cubicBezTo>
                  <a:cubicBezTo>
                    <a:pt x="0" y="0"/>
                    <a:pt x="0" y="0"/>
                    <a:pt x="0" y="0"/>
                  </a:cubicBezTo>
                  <a:cubicBezTo>
                    <a:pt x="0" y="0"/>
                    <a:pt x="0" y="0"/>
                    <a:pt x="0" y="0"/>
                  </a:cubicBezTo>
                  <a:cubicBezTo>
                    <a:pt x="0" y="0"/>
                    <a:pt x="0" y="0"/>
                    <a:pt x="0" y="0"/>
                  </a:cubicBezTo>
                  <a:cubicBezTo>
                    <a:pt x="0" y="0"/>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43" name="Freeform 2095">
              <a:extLst>
                <a:ext uri="{FF2B5EF4-FFF2-40B4-BE49-F238E27FC236}">
                  <a16:creationId xmlns:a16="http://schemas.microsoft.com/office/drawing/2014/main" id="{AE00EAB3-1476-4E40-B335-30057C9F6DB4}"/>
                </a:ext>
              </a:extLst>
            </p:cNvPr>
            <p:cNvSpPr>
              <a:spLocks/>
            </p:cNvSpPr>
            <p:nvPr/>
          </p:nvSpPr>
          <p:spPr bwMode="auto">
            <a:xfrm>
              <a:off x="528" y="183"/>
              <a:ext cx="184" cy="92"/>
            </a:xfrm>
            <a:custGeom>
              <a:avLst/>
              <a:gdLst>
                <a:gd name="T0" fmla="*/ 3 w 78"/>
                <a:gd name="T1" fmla="*/ 19 h 39"/>
                <a:gd name="T2" fmla="*/ 6 w 78"/>
                <a:gd name="T3" fmla="*/ 18 h 39"/>
                <a:gd name="T4" fmla="*/ 7 w 78"/>
                <a:gd name="T5" fmla="*/ 16 h 39"/>
                <a:gd name="T6" fmla="*/ 15 w 78"/>
                <a:gd name="T7" fmla="*/ 17 h 39"/>
                <a:gd name="T8" fmla="*/ 22 w 78"/>
                <a:gd name="T9" fmla="*/ 16 h 39"/>
                <a:gd name="T10" fmla="*/ 28 w 78"/>
                <a:gd name="T11" fmla="*/ 15 h 39"/>
                <a:gd name="T12" fmla="*/ 35 w 78"/>
                <a:gd name="T13" fmla="*/ 20 h 39"/>
                <a:gd name="T14" fmla="*/ 24 w 78"/>
                <a:gd name="T15" fmla="*/ 20 h 39"/>
                <a:gd name="T16" fmla="*/ 27 w 78"/>
                <a:gd name="T17" fmla="*/ 26 h 39"/>
                <a:gd name="T18" fmla="*/ 22 w 78"/>
                <a:gd name="T19" fmla="*/ 28 h 39"/>
                <a:gd name="T20" fmla="*/ 22 w 78"/>
                <a:gd name="T21" fmla="*/ 32 h 39"/>
                <a:gd name="T22" fmla="*/ 26 w 78"/>
                <a:gd name="T23" fmla="*/ 36 h 39"/>
                <a:gd name="T24" fmla="*/ 33 w 78"/>
                <a:gd name="T25" fmla="*/ 36 h 39"/>
                <a:gd name="T26" fmla="*/ 36 w 78"/>
                <a:gd name="T27" fmla="*/ 32 h 39"/>
                <a:gd name="T28" fmla="*/ 37 w 78"/>
                <a:gd name="T29" fmla="*/ 29 h 39"/>
                <a:gd name="T30" fmla="*/ 45 w 78"/>
                <a:gd name="T31" fmla="*/ 26 h 39"/>
                <a:gd name="T32" fmla="*/ 48 w 78"/>
                <a:gd name="T33" fmla="*/ 29 h 39"/>
                <a:gd name="T34" fmla="*/ 44 w 78"/>
                <a:gd name="T35" fmla="*/ 33 h 39"/>
                <a:gd name="T36" fmla="*/ 41 w 78"/>
                <a:gd name="T37" fmla="*/ 36 h 39"/>
                <a:gd name="T38" fmla="*/ 37 w 78"/>
                <a:gd name="T39" fmla="*/ 37 h 39"/>
                <a:gd name="T40" fmla="*/ 46 w 78"/>
                <a:gd name="T41" fmla="*/ 35 h 39"/>
                <a:gd name="T42" fmla="*/ 52 w 78"/>
                <a:gd name="T43" fmla="*/ 32 h 39"/>
                <a:gd name="T44" fmla="*/ 57 w 78"/>
                <a:gd name="T45" fmla="*/ 30 h 39"/>
                <a:gd name="T46" fmla="*/ 54 w 78"/>
                <a:gd name="T47" fmla="*/ 27 h 39"/>
                <a:gd name="T48" fmla="*/ 54 w 78"/>
                <a:gd name="T49" fmla="*/ 25 h 39"/>
                <a:gd name="T50" fmla="*/ 56 w 78"/>
                <a:gd name="T51" fmla="*/ 23 h 39"/>
                <a:gd name="T52" fmla="*/ 63 w 78"/>
                <a:gd name="T53" fmla="*/ 23 h 39"/>
                <a:gd name="T54" fmla="*/ 66 w 78"/>
                <a:gd name="T55" fmla="*/ 25 h 39"/>
                <a:gd name="T56" fmla="*/ 68 w 78"/>
                <a:gd name="T57" fmla="*/ 25 h 39"/>
                <a:gd name="T58" fmla="*/ 70 w 78"/>
                <a:gd name="T59" fmla="*/ 25 h 39"/>
                <a:gd name="T60" fmla="*/ 72 w 78"/>
                <a:gd name="T61" fmla="*/ 24 h 39"/>
                <a:gd name="T62" fmla="*/ 74 w 78"/>
                <a:gd name="T63" fmla="*/ 24 h 39"/>
                <a:gd name="T64" fmla="*/ 71 w 78"/>
                <a:gd name="T65" fmla="*/ 22 h 39"/>
                <a:gd name="T66" fmla="*/ 71 w 78"/>
                <a:gd name="T67" fmla="*/ 20 h 39"/>
                <a:gd name="T68" fmla="*/ 73 w 78"/>
                <a:gd name="T69" fmla="*/ 18 h 39"/>
                <a:gd name="T70" fmla="*/ 76 w 78"/>
                <a:gd name="T71" fmla="*/ 15 h 39"/>
                <a:gd name="T72" fmla="*/ 74 w 78"/>
                <a:gd name="T73" fmla="*/ 12 h 39"/>
                <a:gd name="T74" fmla="*/ 75 w 78"/>
                <a:gd name="T75" fmla="*/ 9 h 39"/>
                <a:gd name="T76" fmla="*/ 70 w 78"/>
                <a:gd name="T77" fmla="*/ 12 h 39"/>
                <a:gd name="T78" fmla="*/ 68 w 78"/>
                <a:gd name="T79" fmla="*/ 13 h 39"/>
                <a:gd name="T80" fmla="*/ 57 w 78"/>
                <a:gd name="T81" fmla="*/ 13 h 39"/>
                <a:gd name="T82" fmla="*/ 55 w 78"/>
                <a:gd name="T83" fmla="*/ 14 h 39"/>
                <a:gd name="T84" fmla="*/ 54 w 78"/>
                <a:gd name="T85" fmla="*/ 13 h 39"/>
                <a:gd name="T86" fmla="*/ 50 w 78"/>
                <a:gd name="T87" fmla="*/ 13 h 39"/>
                <a:gd name="T88" fmla="*/ 50 w 78"/>
                <a:gd name="T89" fmla="*/ 11 h 39"/>
                <a:gd name="T90" fmla="*/ 52 w 78"/>
                <a:gd name="T91" fmla="*/ 8 h 39"/>
                <a:gd name="T92" fmla="*/ 55 w 78"/>
                <a:gd name="T93" fmla="*/ 7 h 39"/>
                <a:gd name="T94" fmla="*/ 59 w 78"/>
                <a:gd name="T95" fmla="*/ 5 h 39"/>
                <a:gd name="T96" fmla="*/ 52 w 78"/>
                <a:gd name="T97" fmla="*/ 1 h 39"/>
                <a:gd name="T98" fmla="*/ 50 w 78"/>
                <a:gd name="T99" fmla="*/ 2 h 39"/>
                <a:gd name="T100" fmla="*/ 42 w 78"/>
                <a:gd name="T101" fmla="*/ 5 h 39"/>
                <a:gd name="T102" fmla="*/ 38 w 78"/>
                <a:gd name="T103" fmla="*/ 6 h 39"/>
                <a:gd name="T104" fmla="*/ 37 w 78"/>
                <a:gd name="T105" fmla="*/ 7 h 39"/>
                <a:gd name="T106" fmla="*/ 31 w 78"/>
                <a:gd name="T107" fmla="*/ 9 h 39"/>
                <a:gd name="T108" fmla="*/ 29 w 78"/>
                <a:gd name="T109" fmla="*/ 9 h 39"/>
                <a:gd name="T110" fmla="*/ 26 w 78"/>
                <a:gd name="T111" fmla="*/ 9 h 39"/>
                <a:gd name="T112" fmla="*/ 22 w 78"/>
                <a:gd name="T113" fmla="*/ 11 h 39"/>
                <a:gd name="T114" fmla="*/ 20 w 78"/>
                <a:gd name="T115" fmla="*/ 10 h 39"/>
                <a:gd name="T116" fmla="*/ 13 w 78"/>
                <a:gd name="T117" fmla="*/ 12 h 39"/>
                <a:gd name="T118" fmla="*/ 9 w 78"/>
                <a:gd name="T119" fmla="*/ 13 h 39"/>
                <a:gd name="T120" fmla="*/ 4 w 78"/>
                <a:gd name="T121" fmla="*/ 14 h 39"/>
                <a:gd name="T122" fmla="*/ 2 w 78"/>
                <a:gd name="T123" fmla="*/ 14 h 39"/>
                <a:gd name="T124" fmla="*/ 2 w 78"/>
                <a:gd name="T125" fmla="*/ 1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8" h="39">
                  <a:moveTo>
                    <a:pt x="2" y="20"/>
                  </a:moveTo>
                  <a:cubicBezTo>
                    <a:pt x="3" y="21"/>
                    <a:pt x="3" y="20"/>
                    <a:pt x="3" y="19"/>
                  </a:cubicBezTo>
                  <a:cubicBezTo>
                    <a:pt x="4" y="18"/>
                    <a:pt x="4" y="19"/>
                    <a:pt x="4" y="18"/>
                  </a:cubicBezTo>
                  <a:cubicBezTo>
                    <a:pt x="5" y="18"/>
                    <a:pt x="5" y="19"/>
                    <a:pt x="6" y="18"/>
                  </a:cubicBezTo>
                  <a:cubicBezTo>
                    <a:pt x="6" y="17"/>
                    <a:pt x="5" y="17"/>
                    <a:pt x="5" y="17"/>
                  </a:cubicBezTo>
                  <a:cubicBezTo>
                    <a:pt x="5" y="16"/>
                    <a:pt x="6" y="16"/>
                    <a:pt x="7" y="16"/>
                  </a:cubicBezTo>
                  <a:cubicBezTo>
                    <a:pt x="8" y="16"/>
                    <a:pt x="9" y="16"/>
                    <a:pt x="10" y="16"/>
                  </a:cubicBezTo>
                  <a:cubicBezTo>
                    <a:pt x="12" y="17"/>
                    <a:pt x="14" y="17"/>
                    <a:pt x="15" y="17"/>
                  </a:cubicBezTo>
                  <a:cubicBezTo>
                    <a:pt x="16" y="17"/>
                    <a:pt x="17" y="16"/>
                    <a:pt x="18" y="16"/>
                  </a:cubicBezTo>
                  <a:cubicBezTo>
                    <a:pt x="19" y="16"/>
                    <a:pt x="22" y="17"/>
                    <a:pt x="22" y="16"/>
                  </a:cubicBezTo>
                  <a:cubicBezTo>
                    <a:pt x="22" y="15"/>
                    <a:pt x="20" y="15"/>
                    <a:pt x="22" y="15"/>
                  </a:cubicBezTo>
                  <a:cubicBezTo>
                    <a:pt x="24" y="14"/>
                    <a:pt x="26" y="15"/>
                    <a:pt x="28" y="15"/>
                  </a:cubicBezTo>
                  <a:cubicBezTo>
                    <a:pt x="32" y="15"/>
                    <a:pt x="35" y="16"/>
                    <a:pt x="38" y="17"/>
                  </a:cubicBezTo>
                  <a:cubicBezTo>
                    <a:pt x="42" y="19"/>
                    <a:pt x="37" y="20"/>
                    <a:pt x="35" y="20"/>
                  </a:cubicBezTo>
                  <a:cubicBezTo>
                    <a:pt x="33" y="20"/>
                    <a:pt x="32" y="19"/>
                    <a:pt x="30" y="19"/>
                  </a:cubicBezTo>
                  <a:cubicBezTo>
                    <a:pt x="28" y="19"/>
                    <a:pt x="26" y="19"/>
                    <a:pt x="24" y="20"/>
                  </a:cubicBezTo>
                  <a:cubicBezTo>
                    <a:pt x="25" y="21"/>
                    <a:pt x="29" y="23"/>
                    <a:pt x="29" y="24"/>
                  </a:cubicBezTo>
                  <a:cubicBezTo>
                    <a:pt x="29" y="25"/>
                    <a:pt x="27" y="25"/>
                    <a:pt x="27" y="26"/>
                  </a:cubicBezTo>
                  <a:cubicBezTo>
                    <a:pt x="26" y="26"/>
                    <a:pt x="25" y="26"/>
                    <a:pt x="24" y="26"/>
                  </a:cubicBezTo>
                  <a:cubicBezTo>
                    <a:pt x="23" y="27"/>
                    <a:pt x="24" y="28"/>
                    <a:pt x="22" y="28"/>
                  </a:cubicBezTo>
                  <a:cubicBezTo>
                    <a:pt x="23" y="29"/>
                    <a:pt x="25" y="29"/>
                    <a:pt x="24" y="31"/>
                  </a:cubicBezTo>
                  <a:cubicBezTo>
                    <a:pt x="23" y="31"/>
                    <a:pt x="22" y="32"/>
                    <a:pt x="22" y="32"/>
                  </a:cubicBezTo>
                  <a:cubicBezTo>
                    <a:pt x="21" y="32"/>
                    <a:pt x="16" y="32"/>
                    <a:pt x="16" y="33"/>
                  </a:cubicBezTo>
                  <a:cubicBezTo>
                    <a:pt x="17" y="35"/>
                    <a:pt x="25" y="35"/>
                    <a:pt x="26" y="36"/>
                  </a:cubicBezTo>
                  <a:cubicBezTo>
                    <a:pt x="27" y="36"/>
                    <a:pt x="28" y="35"/>
                    <a:pt x="29" y="36"/>
                  </a:cubicBezTo>
                  <a:cubicBezTo>
                    <a:pt x="31" y="37"/>
                    <a:pt x="31" y="37"/>
                    <a:pt x="33" y="36"/>
                  </a:cubicBezTo>
                  <a:cubicBezTo>
                    <a:pt x="34" y="35"/>
                    <a:pt x="36" y="34"/>
                    <a:pt x="36" y="33"/>
                  </a:cubicBezTo>
                  <a:cubicBezTo>
                    <a:pt x="36" y="32"/>
                    <a:pt x="36" y="32"/>
                    <a:pt x="36" y="32"/>
                  </a:cubicBezTo>
                  <a:cubicBezTo>
                    <a:pt x="36" y="31"/>
                    <a:pt x="36" y="31"/>
                    <a:pt x="37" y="31"/>
                  </a:cubicBezTo>
                  <a:cubicBezTo>
                    <a:pt x="37" y="30"/>
                    <a:pt x="36" y="30"/>
                    <a:pt x="37" y="29"/>
                  </a:cubicBezTo>
                  <a:cubicBezTo>
                    <a:pt x="38" y="29"/>
                    <a:pt x="39" y="28"/>
                    <a:pt x="40" y="28"/>
                  </a:cubicBezTo>
                  <a:cubicBezTo>
                    <a:pt x="41" y="27"/>
                    <a:pt x="43" y="26"/>
                    <a:pt x="45" y="26"/>
                  </a:cubicBezTo>
                  <a:cubicBezTo>
                    <a:pt x="46" y="26"/>
                    <a:pt x="48" y="26"/>
                    <a:pt x="48" y="27"/>
                  </a:cubicBezTo>
                  <a:cubicBezTo>
                    <a:pt x="48" y="27"/>
                    <a:pt x="49" y="28"/>
                    <a:pt x="48" y="29"/>
                  </a:cubicBezTo>
                  <a:cubicBezTo>
                    <a:pt x="48" y="30"/>
                    <a:pt x="47" y="31"/>
                    <a:pt x="46" y="31"/>
                  </a:cubicBezTo>
                  <a:cubicBezTo>
                    <a:pt x="46" y="32"/>
                    <a:pt x="45" y="32"/>
                    <a:pt x="44" y="33"/>
                  </a:cubicBezTo>
                  <a:cubicBezTo>
                    <a:pt x="44" y="33"/>
                    <a:pt x="42" y="34"/>
                    <a:pt x="42" y="34"/>
                  </a:cubicBezTo>
                  <a:cubicBezTo>
                    <a:pt x="42" y="35"/>
                    <a:pt x="43" y="35"/>
                    <a:pt x="41" y="36"/>
                  </a:cubicBezTo>
                  <a:cubicBezTo>
                    <a:pt x="41" y="36"/>
                    <a:pt x="39" y="36"/>
                    <a:pt x="39" y="36"/>
                  </a:cubicBezTo>
                  <a:cubicBezTo>
                    <a:pt x="38" y="36"/>
                    <a:pt x="37" y="36"/>
                    <a:pt x="37" y="37"/>
                  </a:cubicBezTo>
                  <a:cubicBezTo>
                    <a:pt x="36" y="38"/>
                    <a:pt x="38" y="39"/>
                    <a:pt x="39" y="39"/>
                  </a:cubicBezTo>
                  <a:cubicBezTo>
                    <a:pt x="41" y="39"/>
                    <a:pt x="45" y="36"/>
                    <a:pt x="46" y="35"/>
                  </a:cubicBezTo>
                  <a:cubicBezTo>
                    <a:pt x="48" y="34"/>
                    <a:pt x="50" y="33"/>
                    <a:pt x="52" y="31"/>
                  </a:cubicBezTo>
                  <a:cubicBezTo>
                    <a:pt x="52" y="31"/>
                    <a:pt x="52" y="32"/>
                    <a:pt x="52" y="32"/>
                  </a:cubicBezTo>
                  <a:cubicBezTo>
                    <a:pt x="52" y="30"/>
                    <a:pt x="54" y="30"/>
                    <a:pt x="55" y="30"/>
                  </a:cubicBezTo>
                  <a:cubicBezTo>
                    <a:pt x="55" y="30"/>
                    <a:pt x="56" y="30"/>
                    <a:pt x="57" y="30"/>
                  </a:cubicBezTo>
                  <a:cubicBezTo>
                    <a:pt x="57" y="29"/>
                    <a:pt x="56" y="28"/>
                    <a:pt x="55" y="28"/>
                  </a:cubicBezTo>
                  <a:cubicBezTo>
                    <a:pt x="55" y="28"/>
                    <a:pt x="54" y="28"/>
                    <a:pt x="54" y="27"/>
                  </a:cubicBezTo>
                  <a:cubicBezTo>
                    <a:pt x="53" y="27"/>
                    <a:pt x="52" y="26"/>
                    <a:pt x="51" y="26"/>
                  </a:cubicBezTo>
                  <a:cubicBezTo>
                    <a:pt x="52" y="25"/>
                    <a:pt x="53" y="26"/>
                    <a:pt x="54" y="25"/>
                  </a:cubicBezTo>
                  <a:cubicBezTo>
                    <a:pt x="54" y="24"/>
                    <a:pt x="56" y="24"/>
                    <a:pt x="56" y="24"/>
                  </a:cubicBezTo>
                  <a:cubicBezTo>
                    <a:pt x="55" y="24"/>
                    <a:pt x="54" y="23"/>
                    <a:pt x="56" y="23"/>
                  </a:cubicBezTo>
                  <a:cubicBezTo>
                    <a:pt x="57" y="22"/>
                    <a:pt x="58" y="23"/>
                    <a:pt x="58" y="23"/>
                  </a:cubicBezTo>
                  <a:cubicBezTo>
                    <a:pt x="60" y="23"/>
                    <a:pt x="62" y="22"/>
                    <a:pt x="63" y="23"/>
                  </a:cubicBezTo>
                  <a:cubicBezTo>
                    <a:pt x="64" y="23"/>
                    <a:pt x="65" y="23"/>
                    <a:pt x="65" y="24"/>
                  </a:cubicBezTo>
                  <a:cubicBezTo>
                    <a:pt x="65" y="24"/>
                    <a:pt x="66" y="25"/>
                    <a:pt x="66" y="25"/>
                  </a:cubicBezTo>
                  <a:cubicBezTo>
                    <a:pt x="66" y="25"/>
                    <a:pt x="67" y="25"/>
                    <a:pt x="67" y="25"/>
                  </a:cubicBezTo>
                  <a:cubicBezTo>
                    <a:pt x="68" y="25"/>
                    <a:pt x="67" y="25"/>
                    <a:pt x="68" y="25"/>
                  </a:cubicBezTo>
                  <a:cubicBezTo>
                    <a:pt x="68" y="24"/>
                    <a:pt x="68" y="24"/>
                    <a:pt x="69" y="24"/>
                  </a:cubicBezTo>
                  <a:cubicBezTo>
                    <a:pt x="69" y="24"/>
                    <a:pt x="69" y="25"/>
                    <a:pt x="70" y="25"/>
                  </a:cubicBezTo>
                  <a:cubicBezTo>
                    <a:pt x="70" y="25"/>
                    <a:pt x="71" y="24"/>
                    <a:pt x="71" y="24"/>
                  </a:cubicBezTo>
                  <a:cubicBezTo>
                    <a:pt x="71" y="24"/>
                    <a:pt x="72" y="25"/>
                    <a:pt x="72" y="24"/>
                  </a:cubicBezTo>
                  <a:cubicBezTo>
                    <a:pt x="73" y="24"/>
                    <a:pt x="73" y="24"/>
                    <a:pt x="73" y="24"/>
                  </a:cubicBezTo>
                  <a:cubicBezTo>
                    <a:pt x="73" y="24"/>
                    <a:pt x="74" y="24"/>
                    <a:pt x="74" y="24"/>
                  </a:cubicBezTo>
                  <a:cubicBezTo>
                    <a:pt x="75" y="23"/>
                    <a:pt x="75" y="22"/>
                    <a:pt x="74" y="22"/>
                  </a:cubicBezTo>
                  <a:cubicBezTo>
                    <a:pt x="74" y="21"/>
                    <a:pt x="72" y="23"/>
                    <a:pt x="71" y="22"/>
                  </a:cubicBezTo>
                  <a:cubicBezTo>
                    <a:pt x="70" y="22"/>
                    <a:pt x="70" y="22"/>
                    <a:pt x="71" y="21"/>
                  </a:cubicBezTo>
                  <a:cubicBezTo>
                    <a:pt x="71" y="21"/>
                    <a:pt x="71" y="21"/>
                    <a:pt x="71" y="20"/>
                  </a:cubicBezTo>
                  <a:cubicBezTo>
                    <a:pt x="71" y="20"/>
                    <a:pt x="71" y="20"/>
                    <a:pt x="71" y="20"/>
                  </a:cubicBezTo>
                  <a:cubicBezTo>
                    <a:pt x="71" y="19"/>
                    <a:pt x="72" y="19"/>
                    <a:pt x="73" y="18"/>
                  </a:cubicBezTo>
                  <a:cubicBezTo>
                    <a:pt x="74" y="18"/>
                    <a:pt x="75" y="19"/>
                    <a:pt x="75" y="18"/>
                  </a:cubicBezTo>
                  <a:cubicBezTo>
                    <a:pt x="75" y="16"/>
                    <a:pt x="76" y="16"/>
                    <a:pt x="76" y="15"/>
                  </a:cubicBezTo>
                  <a:cubicBezTo>
                    <a:pt x="77" y="13"/>
                    <a:pt x="77" y="12"/>
                    <a:pt x="78" y="12"/>
                  </a:cubicBezTo>
                  <a:cubicBezTo>
                    <a:pt x="77" y="11"/>
                    <a:pt x="75" y="12"/>
                    <a:pt x="74" y="12"/>
                  </a:cubicBezTo>
                  <a:cubicBezTo>
                    <a:pt x="74" y="11"/>
                    <a:pt x="74" y="11"/>
                    <a:pt x="75" y="10"/>
                  </a:cubicBezTo>
                  <a:cubicBezTo>
                    <a:pt x="75" y="10"/>
                    <a:pt x="75" y="9"/>
                    <a:pt x="75" y="9"/>
                  </a:cubicBezTo>
                  <a:cubicBezTo>
                    <a:pt x="76" y="9"/>
                    <a:pt x="77" y="9"/>
                    <a:pt x="76" y="8"/>
                  </a:cubicBezTo>
                  <a:cubicBezTo>
                    <a:pt x="73" y="8"/>
                    <a:pt x="72" y="9"/>
                    <a:pt x="70" y="12"/>
                  </a:cubicBezTo>
                  <a:cubicBezTo>
                    <a:pt x="70" y="11"/>
                    <a:pt x="71" y="11"/>
                    <a:pt x="71" y="11"/>
                  </a:cubicBezTo>
                  <a:cubicBezTo>
                    <a:pt x="70" y="12"/>
                    <a:pt x="69" y="13"/>
                    <a:pt x="68" y="13"/>
                  </a:cubicBezTo>
                  <a:cubicBezTo>
                    <a:pt x="67" y="13"/>
                    <a:pt x="65" y="14"/>
                    <a:pt x="64" y="14"/>
                  </a:cubicBezTo>
                  <a:cubicBezTo>
                    <a:pt x="62" y="14"/>
                    <a:pt x="59" y="13"/>
                    <a:pt x="57" y="13"/>
                  </a:cubicBezTo>
                  <a:cubicBezTo>
                    <a:pt x="57" y="14"/>
                    <a:pt x="57" y="14"/>
                    <a:pt x="57" y="14"/>
                  </a:cubicBezTo>
                  <a:cubicBezTo>
                    <a:pt x="56" y="14"/>
                    <a:pt x="55" y="14"/>
                    <a:pt x="55" y="14"/>
                  </a:cubicBezTo>
                  <a:cubicBezTo>
                    <a:pt x="55" y="13"/>
                    <a:pt x="56" y="13"/>
                    <a:pt x="56" y="13"/>
                  </a:cubicBezTo>
                  <a:cubicBezTo>
                    <a:pt x="55" y="12"/>
                    <a:pt x="55" y="13"/>
                    <a:pt x="54" y="13"/>
                  </a:cubicBezTo>
                  <a:cubicBezTo>
                    <a:pt x="53" y="14"/>
                    <a:pt x="53" y="13"/>
                    <a:pt x="52" y="13"/>
                  </a:cubicBezTo>
                  <a:cubicBezTo>
                    <a:pt x="51" y="12"/>
                    <a:pt x="51" y="13"/>
                    <a:pt x="50" y="13"/>
                  </a:cubicBezTo>
                  <a:cubicBezTo>
                    <a:pt x="49" y="13"/>
                    <a:pt x="48" y="12"/>
                    <a:pt x="48" y="13"/>
                  </a:cubicBezTo>
                  <a:cubicBezTo>
                    <a:pt x="48" y="12"/>
                    <a:pt x="49" y="12"/>
                    <a:pt x="50" y="11"/>
                  </a:cubicBezTo>
                  <a:cubicBezTo>
                    <a:pt x="47" y="11"/>
                    <a:pt x="49" y="10"/>
                    <a:pt x="50" y="10"/>
                  </a:cubicBezTo>
                  <a:cubicBezTo>
                    <a:pt x="51" y="10"/>
                    <a:pt x="51" y="9"/>
                    <a:pt x="52" y="8"/>
                  </a:cubicBezTo>
                  <a:cubicBezTo>
                    <a:pt x="52" y="8"/>
                    <a:pt x="53" y="8"/>
                    <a:pt x="53" y="8"/>
                  </a:cubicBezTo>
                  <a:cubicBezTo>
                    <a:pt x="54" y="7"/>
                    <a:pt x="55" y="7"/>
                    <a:pt x="55" y="7"/>
                  </a:cubicBezTo>
                  <a:cubicBezTo>
                    <a:pt x="56" y="7"/>
                    <a:pt x="57" y="7"/>
                    <a:pt x="57" y="7"/>
                  </a:cubicBezTo>
                  <a:cubicBezTo>
                    <a:pt x="58" y="6"/>
                    <a:pt x="58" y="6"/>
                    <a:pt x="59" y="5"/>
                  </a:cubicBezTo>
                  <a:cubicBezTo>
                    <a:pt x="60" y="5"/>
                    <a:pt x="62" y="5"/>
                    <a:pt x="63" y="4"/>
                  </a:cubicBezTo>
                  <a:cubicBezTo>
                    <a:pt x="61" y="4"/>
                    <a:pt x="52" y="2"/>
                    <a:pt x="52" y="1"/>
                  </a:cubicBezTo>
                  <a:cubicBezTo>
                    <a:pt x="52" y="1"/>
                    <a:pt x="52" y="1"/>
                    <a:pt x="52" y="0"/>
                  </a:cubicBezTo>
                  <a:cubicBezTo>
                    <a:pt x="52" y="2"/>
                    <a:pt x="52" y="2"/>
                    <a:pt x="50" y="2"/>
                  </a:cubicBezTo>
                  <a:cubicBezTo>
                    <a:pt x="49" y="3"/>
                    <a:pt x="49" y="3"/>
                    <a:pt x="48" y="3"/>
                  </a:cubicBezTo>
                  <a:cubicBezTo>
                    <a:pt x="46" y="3"/>
                    <a:pt x="44" y="5"/>
                    <a:pt x="42" y="5"/>
                  </a:cubicBezTo>
                  <a:cubicBezTo>
                    <a:pt x="40" y="5"/>
                    <a:pt x="40" y="4"/>
                    <a:pt x="39" y="5"/>
                  </a:cubicBezTo>
                  <a:cubicBezTo>
                    <a:pt x="39" y="6"/>
                    <a:pt x="38" y="6"/>
                    <a:pt x="38" y="6"/>
                  </a:cubicBezTo>
                  <a:cubicBezTo>
                    <a:pt x="38" y="6"/>
                    <a:pt x="37" y="6"/>
                    <a:pt x="37" y="6"/>
                  </a:cubicBezTo>
                  <a:cubicBezTo>
                    <a:pt x="37" y="6"/>
                    <a:pt x="37" y="7"/>
                    <a:pt x="37" y="7"/>
                  </a:cubicBezTo>
                  <a:cubicBezTo>
                    <a:pt x="36" y="7"/>
                    <a:pt x="35" y="7"/>
                    <a:pt x="34" y="8"/>
                  </a:cubicBezTo>
                  <a:cubicBezTo>
                    <a:pt x="33" y="8"/>
                    <a:pt x="32" y="8"/>
                    <a:pt x="31" y="9"/>
                  </a:cubicBezTo>
                  <a:cubicBezTo>
                    <a:pt x="31" y="9"/>
                    <a:pt x="30" y="9"/>
                    <a:pt x="30" y="9"/>
                  </a:cubicBezTo>
                  <a:cubicBezTo>
                    <a:pt x="30" y="9"/>
                    <a:pt x="29" y="9"/>
                    <a:pt x="29" y="9"/>
                  </a:cubicBezTo>
                  <a:cubicBezTo>
                    <a:pt x="28" y="9"/>
                    <a:pt x="28" y="9"/>
                    <a:pt x="27" y="9"/>
                  </a:cubicBezTo>
                  <a:cubicBezTo>
                    <a:pt x="27" y="9"/>
                    <a:pt x="27" y="10"/>
                    <a:pt x="26" y="9"/>
                  </a:cubicBezTo>
                  <a:cubicBezTo>
                    <a:pt x="26" y="11"/>
                    <a:pt x="24" y="9"/>
                    <a:pt x="22" y="10"/>
                  </a:cubicBezTo>
                  <a:cubicBezTo>
                    <a:pt x="22" y="10"/>
                    <a:pt x="22" y="11"/>
                    <a:pt x="22" y="11"/>
                  </a:cubicBezTo>
                  <a:cubicBezTo>
                    <a:pt x="22" y="11"/>
                    <a:pt x="22" y="11"/>
                    <a:pt x="21" y="11"/>
                  </a:cubicBezTo>
                  <a:cubicBezTo>
                    <a:pt x="20" y="11"/>
                    <a:pt x="20" y="11"/>
                    <a:pt x="20" y="10"/>
                  </a:cubicBezTo>
                  <a:cubicBezTo>
                    <a:pt x="19" y="12"/>
                    <a:pt x="17" y="12"/>
                    <a:pt x="16" y="12"/>
                  </a:cubicBezTo>
                  <a:cubicBezTo>
                    <a:pt x="15" y="12"/>
                    <a:pt x="14" y="12"/>
                    <a:pt x="13" y="12"/>
                  </a:cubicBezTo>
                  <a:cubicBezTo>
                    <a:pt x="13" y="13"/>
                    <a:pt x="12" y="14"/>
                    <a:pt x="12" y="14"/>
                  </a:cubicBezTo>
                  <a:cubicBezTo>
                    <a:pt x="10" y="14"/>
                    <a:pt x="10" y="13"/>
                    <a:pt x="9" y="13"/>
                  </a:cubicBezTo>
                  <a:cubicBezTo>
                    <a:pt x="8" y="13"/>
                    <a:pt x="8" y="14"/>
                    <a:pt x="7" y="15"/>
                  </a:cubicBezTo>
                  <a:cubicBezTo>
                    <a:pt x="6" y="15"/>
                    <a:pt x="5" y="14"/>
                    <a:pt x="4" y="14"/>
                  </a:cubicBezTo>
                  <a:cubicBezTo>
                    <a:pt x="4" y="14"/>
                    <a:pt x="3" y="15"/>
                    <a:pt x="3" y="15"/>
                  </a:cubicBezTo>
                  <a:cubicBezTo>
                    <a:pt x="2" y="15"/>
                    <a:pt x="2" y="14"/>
                    <a:pt x="2" y="14"/>
                  </a:cubicBezTo>
                  <a:cubicBezTo>
                    <a:pt x="1" y="14"/>
                    <a:pt x="0" y="15"/>
                    <a:pt x="0" y="16"/>
                  </a:cubicBezTo>
                  <a:cubicBezTo>
                    <a:pt x="0" y="17"/>
                    <a:pt x="1" y="18"/>
                    <a:pt x="2" y="19"/>
                  </a:cubicBezTo>
                  <a:cubicBezTo>
                    <a:pt x="2" y="19"/>
                    <a:pt x="2" y="20"/>
                    <a:pt x="2" y="2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44" name="Freeform 2096">
              <a:extLst>
                <a:ext uri="{FF2B5EF4-FFF2-40B4-BE49-F238E27FC236}">
                  <a16:creationId xmlns:a16="http://schemas.microsoft.com/office/drawing/2014/main" id="{C51DD20A-B559-4F7C-A2D0-B234BC65147D}"/>
                </a:ext>
              </a:extLst>
            </p:cNvPr>
            <p:cNvSpPr>
              <a:spLocks/>
            </p:cNvSpPr>
            <p:nvPr/>
          </p:nvSpPr>
          <p:spPr bwMode="auto">
            <a:xfrm>
              <a:off x="1608" y="2843"/>
              <a:ext cx="14" cy="14"/>
            </a:xfrm>
            <a:custGeom>
              <a:avLst/>
              <a:gdLst>
                <a:gd name="T0" fmla="*/ 4 w 6"/>
                <a:gd name="T1" fmla="*/ 0 h 6"/>
                <a:gd name="T2" fmla="*/ 1 w 6"/>
                <a:gd name="T3" fmla="*/ 2 h 6"/>
                <a:gd name="T4" fmla="*/ 4 w 6"/>
                <a:gd name="T5" fmla="*/ 0 h 6"/>
              </a:gdLst>
              <a:ahLst/>
              <a:cxnLst>
                <a:cxn ang="0">
                  <a:pos x="T0" y="T1"/>
                </a:cxn>
                <a:cxn ang="0">
                  <a:pos x="T2" y="T3"/>
                </a:cxn>
                <a:cxn ang="0">
                  <a:pos x="T4" y="T5"/>
                </a:cxn>
              </a:cxnLst>
              <a:rect l="0" t="0" r="r" b="b"/>
              <a:pathLst>
                <a:path w="6" h="6">
                  <a:moveTo>
                    <a:pt x="4" y="0"/>
                  </a:moveTo>
                  <a:cubicBezTo>
                    <a:pt x="2" y="0"/>
                    <a:pt x="1" y="0"/>
                    <a:pt x="1" y="2"/>
                  </a:cubicBezTo>
                  <a:cubicBezTo>
                    <a:pt x="0" y="6"/>
                    <a:pt x="6" y="1"/>
                    <a:pt x="4"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45" name="Freeform 2097">
              <a:extLst>
                <a:ext uri="{FF2B5EF4-FFF2-40B4-BE49-F238E27FC236}">
                  <a16:creationId xmlns:a16="http://schemas.microsoft.com/office/drawing/2014/main" id="{644E4CC4-5E1B-44C1-92E1-2691021D4876}"/>
                </a:ext>
              </a:extLst>
            </p:cNvPr>
            <p:cNvSpPr>
              <a:spLocks/>
            </p:cNvSpPr>
            <p:nvPr/>
          </p:nvSpPr>
          <p:spPr bwMode="auto">
            <a:xfrm>
              <a:off x="2793" y="1771"/>
              <a:ext cx="2" cy="4"/>
            </a:xfrm>
            <a:custGeom>
              <a:avLst/>
              <a:gdLst>
                <a:gd name="T0" fmla="*/ 1 w 1"/>
                <a:gd name="T1" fmla="*/ 2 h 2"/>
                <a:gd name="T2" fmla="*/ 1 w 1"/>
                <a:gd name="T3" fmla="*/ 0 h 2"/>
                <a:gd name="T4" fmla="*/ 1 w 1"/>
                <a:gd name="T5" fmla="*/ 2 h 2"/>
              </a:gdLst>
              <a:ahLst/>
              <a:cxnLst>
                <a:cxn ang="0">
                  <a:pos x="T0" y="T1"/>
                </a:cxn>
                <a:cxn ang="0">
                  <a:pos x="T2" y="T3"/>
                </a:cxn>
                <a:cxn ang="0">
                  <a:pos x="T4" y="T5"/>
                </a:cxn>
              </a:cxnLst>
              <a:rect l="0" t="0" r="r" b="b"/>
              <a:pathLst>
                <a:path w="1" h="2">
                  <a:moveTo>
                    <a:pt x="1" y="2"/>
                  </a:moveTo>
                  <a:cubicBezTo>
                    <a:pt x="1" y="1"/>
                    <a:pt x="1" y="0"/>
                    <a:pt x="1" y="0"/>
                  </a:cubicBezTo>
                  <a:cubicBezTo>
                    <a:pt x="0" y="0"/>
                    <a:pt x="0" y="1"/>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46" name="Freeform 2098">
              <a:extLst>
                <a:ext uri="{FF2B5EF4-FFF2-40B4-BE49-F238E27FC236}">
                  <a16:creationId xmlns:a16="http://schemas.microsoft.com/office/drawing/2014/main" id="{8FB5A8D1-1C4E-4515-8DDD-B3F4391E0BA4}"/>
                </a:ext>
              </a:extLst>
            </p:cNvPr>
            <p:cNvSpPr>
              <a:spLocks/>
            </p:cNvSpPr>
            <p:nvPr/>
          </p:nvSpPr>
          <p:spPr bwMode="auto">
            <a:xfrm>
              <a:off x="2859" y="1797"/>
              <a:ext cx="14" cy="5"/>
            </a:xfrm>
            <a:custGeom>
              <a:avLst/>
              <a:gdLst>
                <a:gd name="T0" fmla="*/ 2 w 6"/>
                <a:gd name="T1" fmla="*/ 2 h 2"/>
                <a:gd name="T2" fmla="*/ 6 w 6"/>
                <a:gd name="T3" fmla="*/ 2 h 2"/>
                <a:gd name="T4" fmla="*/ 2 w 6"/>
                <a:gd name="T5" fmla="*/ 0 h 2"/>
                <a:gd name="T6" fmla="*/ 2 w 6"/>
                <a:gd name="T7" fmla="*/ 2 h 2"/>
              </a:gdLst>
              <a:ahLst/>
              <a:cxnLst>
                <a:cxn ang="0">
                  <a:pos x="T0" y="T1"/>
                </a:cxn>
                <a:cxn ang="0">
                  <a:pos x="T2" y="T3"/>
                </a:cxn>
                <a:cxn ang="0">
                  <a:pos x="T4" y="T5"/>
                </a:cxn>
                <a:cxn ang="0">
                  <a:pos x="T6" y="T7"/>
                </a:cxn>
              </a:cxnLst>
              <a:rect l="0" t="0" r="r" b="b"/>
              <a:pathLst>
                <a:path w="6" h="2">
                  <a:moveTo>
                    <a:pt x="2" y="2"/>
                  </a:moveTo>
                  <a:cubicBezTo>
                    <a:pt x="3" y="2"/>
                    <a:pt x="4" y="2"/>
                    <a:pt x="6" y="2"/>
                  </a:cubicBezTo>
                  <a:cubicBezTo>
                    <a:pt x="5" y="1"/>
                    <a:pt x="3" y="1"/>
                    <a:pt x="2" y="0"/>
                  </a:cubicBezTo>
                  <a:cubicBezTo>
                    <a:pt x="0" y="0"/>
                    <a:pt x="0" y="1"/>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47" name="Freeform 2099">
              <a:extLst>
                <a:ext uri="{FF2B5EF4-FFF2-40B4-BE49-F238E27FC236}">
                  <a16:creationId xmlns:a16="http://schemas.microsoft.com/office/drawing/2014/main" id="{7B360E73-76AD-462B-81FA-82B3954A53DD}"/>
                </a:ext>
              </a:extLst>
            </p:cNvPr>
            <p:cNvSpPr>
              <a:spLocks/>
            </p:cNvSpPr>
            <p:nvPr/>
          </p:nvSpPr>
          <p:spPr bwMode="auto">
            <a:xfrm>
              <a:off x="2885" y="1790"/>
              <a:ext cx="12" cy="4"/>
            </a:xfrm>
            <a:custGeom>
              <a:avLst/>
              <a:gdLst>
                <a:gd name="T0" fmla="*/ 3 w 5"/>
                <a:gd name="T1" fmla="*/ 0 h 2"/>
                <a:gd name="T2" fmla="*/ 1 w 5"/>
                <a:gd name="T3" fmla="*/ 1 h 2"/>
                <a:gd name="T4" fmla="*/ 4 w 5"/>
                <a:gd name="T5" fmla="*/ 2 h 2"/>
                <a:gd name="T6" fmla="*/ 3 w 5"/>
                <a:gd name="T7" fmla="*/ 0 h 2"/>
              </a:gdLst>
              <a:ahLst/>
              <a:cxnLst>
                <a:cxn ang="0">
                  <a:pos x="T0" y="T1"/>
                </a:cxn>
                <a:cxn ang="0">
                  <a:pos x="T2" y="T3"/>
                </a:cxn>
                <a:cxn ang="0">
                  <a:pos x="T4" y="T5"/>
                </a:cxn>
                <a:cxn ang="0">
                  <a:pos x="T6" y="T7"/>
                </a:cxn>
              </a:cxnLst>
              <a:rect l="0" t="0" r="r" b="b"/>
              <a:pathLst>
                <a:path w="5" h="2">
                  <a:moveTo>
                    <a:pt x="3" y="0"/>
                  </a:moveTo>
                  <a:cubicBezTo>
                    <a:pt x="3" y="0"/>
                    <a:pt x="2" y="0"/>
                    <a:pt x="1" y="1"/>
                  </a:cubicBezTo>
                  <a:cubicBezTo>
                    <a:pt x="0" y="2"/>
                    <a:pt x="4" y="2"/>
                    <a:pt x="4" y="2"/>
                  </a:cubicBezTo>
                  <a:cubicBezTo>
                    <a:pt x="4" y="1"/>
                    <a:pt x="5" y="1"/>
                    <a:pt x="3"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48" name="Freeform 2100">
              <a:extLst>
                <a:ext uri="{FF2B5EF4-FFF2-40B4-BE49-F238E27FC236}">
                  <a16:creationId xmlns:a16="http://schemas.microsoft.com/office/drawing/2014/main" id="{545B2067-D5AD-4577-952F-DC9100166EBC}"/>
                </a:ext>
              </a:extLst>
            </p:cNvPr>
            <p:cNvSpPr>
              <a:spLocks/>
            </p:cNvSpPr>
            <p:nvPr/>
          </p:nvSpPr>
          <p:spPr bwMode="auto">
            <a:xfrm>
              <a:off x="2925" y="1813"/>
              <a:ext cx="16" cy="7"/>
            </a:xfrm>
            <a:custGeom>
              <a:avLst/>
              <a:gdLst>
                <a:gd name="T0" fmla="*/ 7 w 7"/>
                <a:gd name="T1" fmla="*/ 2 h 3"/>
                <a:gd name="T2" fmla="*/ 5 w 7"/>
                <a:gd name="T3" fmla="*/ 1 h 3"/>
                <a:gd name="T4" fmla="*/ 2 w 7"/>
                <a:gd name="T5" fmla="*/ 2 h 3"/>
                <a:gd name="T6" fmla="*/ 0 w 7"/>
                <a:gd name="T7" fmla="*/ 1 h 3"/>
                <a:gd name="T8" fmla="*/ 4 w 7"/>
                <a:gd name="T9" fmla="*/ 3 h 3"/>
                <a:gd name="T10" fmla="*/ 7 w 7"/>
                <a:gd name="T11" fmla="*/ 2 h 3"/>
              </a:gdLst>
              <a:ahLst/>
              <a:cxnLst>
                <a:cxn ang="0">
                  <a:pos x="T0" y="T1"/>
                </a:cxn>
                <a:cxn ang="0">
                  <a:pos x="T2" y="T3"/>
                </a:cxn>
                <a:cxn ang="0">
                  <a:pos x="T4" y="T5"/>
                </a:cxn>
                <a:cxn ang="0">
                  <a:pos x="T6" y="T7"/>
                </a:cxn>
                <a:cxn ang="0">
                  <a:pos x="T8" y="T9"/>
                </a:cxn>
                <a:cxn ang="0">
                  <a:pos x="T10" y="T11"/>
                </a:cxn>
              </a:cxnLst>
              <a:rect l="0" t="0" r="r" b="b"/>
              <a:pathLst>
                <a:path w="7" h="3">
                  <a:moveTo>
                    <a:pt x="7" y="2"/>
                  </a:moveTo>
                  <a:cubicBezTo>
                    <a:pt x="7" y="1"/>
                    <a:pt x="5" y="1"/>
                    <a:pt x="5" y="1"/>
                  </a:cubicBezTo>
                  <a:cubicBezTo>
                    <a:pt x="4" y="1"/>
                    <a:pt x="3" y="2"/>
                    <a:pt x="2" y="2"/>
                  </a:cubicBezTo>
                  <a:cubicBezTo>
                    <a:pt x="1" y="1"/>
                    <a:pt x="1" y="0"/>
                    <a:pt x="0" y="1"/>
                  </a:cubicBezTo>
                  <a:cubicBezTo>
                    <a:pt x="1" y="2"/>
                    <a:pt x="3" y="3"/>
                    <a:pt x="4" y="3"/>
                  </a:cubicBezTo>
                  <a:cubicBezTo>
                    <a:pt x="5" y="3"/>
                    <a:pt x="7" y="2"/>
                    <a:pt x="7"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49" name="Freeform 2101">
              <a:extLst>
                <a:ext uri="{FF2B5EF4-FFF2-40B4-BE49-F238E27FC236}">
                  <a16:creationId xmlns:a16="http://schemas.microsoft.com/office/drawing/2014/main" id="{9D1B0051-C110-4BB7-B559-8CD384F47E4C}"/>
                </a:ext>
              </a:extLst>
            </p:cNvPr>
            <p:cNvSpPr>
              <a:spLocks/>
            </p:cNvSpPr>
            <p:nvPr/>
          </p:nvSpPr>
          <p:spPr bwMode="auto">
            <a:xfrm>
              <a:off x="2941" y="1842"/>
              <a:ext cx="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50" name="Freeform 2102">
              <a:extLst>
                <a:ext uri="{FF2B5EF4-FFF2-40B4-BE49-F238E27FC236}">
                  <a16:creationId xmlns:a16="http://schemas.microsoft.com/office/drawing/2014/main" id="{628F8A56-C61C-4668-B15C-4EDF3C53D695}"/>
                </a:ext>
              </a:extLst>
            </p:cNvPr>
            <p:cNvSpPr>
              <a:spLocks/>
            </p:cNvSpPr>
            <p:nvPr/>
          </p:nvSpPr>
          <p:spPr bwMode="auto">
            <a:xfrm>
              <a:off x="2934" y="2358"/>
              <a:ext cx="15" cy="7"/>
            </a:xfrm>
            <a:custGeom>
              <a:avLst/>
              <a:gdLst>
                <a:gd name="T0" fmla="*/ 4 w 6"/>
                <a:gd name="T1" fmla="*/ 0 h 3"/>
                <a:gd name="T2" fmla="*/ 2 w 6"/>
                <a:gd name="T3" fmla="*/ 0 h 3"/>
                <a:gd name="T4" fmla="*/ 2 w 6"/>
                <a:gd name="T5" fmla="*/ 3 h 3"/>
                <a:gd name="T6" fmla="*/ 4 w 6"/>
                <a:gd name="T7" fmla="*/ 0 h 3"/>
              </a:gdLst>
              <a:ahLst/>
              <a:cxnLst>
                <a:cxn ang="0">
                  <a:pos x="T0" y="T1"/>
                </a:cxn>
                <a:cxn ang="0">
                  <a:pos x="T2" y="T3"/>
                </a:cxn>
                <a:cxn ang="0">
                  <a:pos x="T4" y="T5"/>
                </a:cxn>
                <a:cxn ang="0">
                  <a:pos x="T6" y="T7"/>
                </a:cxn>
              </a:cxnLst>
              <a:rect l="0" t="0" r="r" b="b"/>
              <a:pathLst>
                <a:path w="6" h="3">
                  <a:moveTo>
                    <a:pt x="4" y="0"/>
                  </a:moveTo>
                  <a:cubicBezTo>
                    <a:pt x="3" y="0"/>
                    <a:pt x="3" y="0"/>
                    <a:pt x="2" y="0"/>
                  </a:cubicBezTo>
                  <a:cubicBezTo>
                    <a:pt x="0" y="1"/>
                    <a:pt x="1" y="1"/>
                    <a:pt x="2" y="3"/>
                  </a:cubicBezTo>
                  <a:cubicBezTo>
                    <a:pt x="2" y="3"/>
                    <a:pt x="6" y="1"/>
                    <a:pt x="4"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51" name="Freeform 2103">
              <a:extLst>
                <a:ext uri="{FF2B5EF4-FFF2-40B4-BE49-F238E27FC236}">
                  <a16:creationId xmlns:a16="http://schemas.microsoft.com/office/drawing/2014/main" id="{FDC50064-4CF5-46AC-90A4-57F666031548}"/>
                </a:ext>
              </a:extLst>
            </p:cNvPr>
            <p:cNvSpPr>
              <a:spLocks/>
            </p:cNvSpPr>
            <p:nvPr/>
          </p:nvSpPr>
          <p:spPr bwMode="auto">
            <a:xfrm>
              <a:off x="2941" y="2365"/>
              <a:ext cx="5" cy="2"/>
            </a:xfrm>
            <a:custGeom>
              <a:avLst/>
              <a:gdLst>
                <a:gd name="T0" fmla="*/ 2 w 2"/>
                <a:gd name="T1" fmla="*/ 1 h 1"/>
                <a:gd name="T2" fmla="*/ 2 w 2"/>
                <a:gd name="T3" fmla="*/ 0 h 1"/>
                <a:gd name="T4" fmla="*/ 2 w 2"/>
                <a:gd name="T5" fmla="*/ 1 h 1"/>
              </a:gdLst>
              <a:ahLst/>
              <a:cxnLst>
                <a:cxn ang="0">
                  <a:pos x="T0" y="T1"/>
                </a:cxn>
                <a:cxn ang="0">
                  <a:pos x="T2" y="T3"/>
                </a:cxn>
                <a:cxn ang="0">
                  <a:pos x="T4" y="T5"/>
                </a:cxn>
              </a:cxnLst>
              <a:rect l="0" t="0" r="r" b="b"/>
              <a:pathLst>
                <a:path w="2" h="1">
                  <a:moveTo>
                    <a:pt x="2" y="1"/>
                  </a:moveTo>
                  <a:cubicBezTo>
                    <a:pt x="2" y="1"/>
                    <a:pt x="2" y="0"/>
                    <a:pt x="2" y="0"/>
                  </a:cubicBezTo>
                  <a:cubicBezTo>
                    <a:pt x="1" y="0"/>
                    <a:pt x="0"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52" name="Freeform 2104">
              <a:extLst>
                <a:ext uri="{FF2B5EF4-FFF2-40B4-BE49-F238E27FC236}">
                  <a16:creationId xmlns:a16="http://schemas.microsoft.com/office/drawing/2014/main" id="{1E5673CA-89EC-410F-8F26-45610950424A}"/>
                </a:ext>
              </a:extLst>
            </p:cNvPr>
            <p:cNvSpPr>
              <a:spLocks/>
            </p:cNvSpPr>
            <p:nvPr/>
          </p:nvSpPr>
          <p:spPr bwMode="auto">
            <a:xfrm>
              <a:off x="2956" y="2369"/>
              <a:ext cx="12" cy="7"/>
            </a:xfrm>
            <a:custGeom>
              <a:avLst/>
              <a:gdLst>
                <a:gd name="T0" fmla="*/ 2 w 5"/>
                <a:gd name="T1" fmla="*/ 3 h 3"/>
                <a:gd name="T2" fmla="*/ 5 w 5"/>
                <a:gd name="T3" fmla="*/ 1 h 3"/>
                <a:gd name="T4" fmla="*/ 3 w 5"/>
                <a:gd name="T5" fmla="*/ 1 h 3"/>
                <a:gd name="T6" fmla="*/ 2 w 5"/>
                <a:gd name="T7" fmla="*/ 3 h 3"/>
              </a:gdLst>
              <a:ahLst/>
              <a:cxnLst>
                <a:cxn ang="0">
                  <a:pos x="T0" y="T1"/>
                </a:cxn>
                <a:cxn ang="0">
                  <a:pos x="T2" y="T3"/>
                </a:cxn>
                <a:cxn ang="0">
                  <a:pos x="T4" y="T5"/>
                </a:cxn>
                <a:cxn ang="0">
                  <a:pos x="T6" y="T7"/>
                </a:cxn>
              </a:cxnLst>
              <a:rect l="0" t="0" r="r" b="b"/>
              <a:pathLst>
                <a:path w="5" h="3">
                  <a:moveTo>
                    <a:pt x="2" y="3"/>
                  </a:moveTo>
                  <a:cubicBezTo>
                    <a:pt x="3" y="2"/>
                    <a:pt x="5" y="2"/>
                    <a:pt x="5" y="1"/>
                  </a:cubicBezTo>
                  <a:cubicBezTo>
                    <a:pt x="5" y="1"/>
                    <a:pt x="4" y="1"/>
                    <a:pt x="3" y="1"/>
                  </a:cubicBezTo>
                  <a:cubicBezTo>
                    <a:pt x="0" y="0"/>
                    <a:pt x="2" y="1"/>
                    <a:pt x="2"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53" name="Freeform 2105">
              <a:extLst>
                <a:ext uri="{FF2B5EF4-FFF2-40B4-BE49-F238E27FC236}">
                  <a16:creationId xmlns:a16="http://schemas.microsoft.com/office/drawing/2014/main" id="{01715CF5-A2D2-4F9C-B460-8AA31A72E068}"/>
                </a:ext>
              </a:extLst>
            </p:cNvPr>
            <p:cNvSpPr>
              <a:spLocks/>
            </p:cNvSpPr>
            <p:nvPr/>
          </p:nvSpPr>
          <p:spPr bwMode="auto">
            <a:xfrm>
              <a:off x="2986" y="2405"/>
              <a:ext cx="3" cy="5"/>
            </a:xfrm>
            <a:custGeom>
              <a:avLst/>
              <a:gdLst>
                <a:gd name="T0" fmla="*/ 1 w 1"/>
                <a:gd name="T1" fmla="*/ 2 h 2"/>
                <a:gd name="T2" fmla="*/ 1 w 1"/>
                <a:gd name="T3" fmla="*/ 0 h 2"/>
                <a:gd name="T4" fmla="*/ 1 w 1"/>
                <a:gd name="T5" fmla="*/ 2 h 2"/>
              </a:gdLst>
              <a:ahLst/>
              <a:cxnLst>
                <a:cxn ang="0">
                  <a:pos x="T0" y="T1"/>
                </a:cxn>
                <a:cxn ang="0">
                  <a:pos x="T2" y="T3"/>
                </a:cxn>
                <a:cxn ang="0">
                  <a:pos x="T4" y="T5"/>
                </a:cxn>
              </a:cxnLst>
              <a:rect l="0" t="0" r="r" b="b"/>
              <a:pathLst>
                <a:path w="1" h="2">
                  <a:moveTo>
                    <a:pt x="1" y="2"/>
                  </a:moveTo>
                  <a:cubicBezTo>
                    <a:pt x="1" y="1"/>
                    <a:pt x="1" y="0"/>
                    <a:pt x="1" y="0"/>
                  </a:cubicBezTo>
                  <a:cubicBezTo>
                    <a:pt x="0" y="0"/>
                    <a:pt x="0" y="2"/>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54" name="Freeform 2106">
              <a:extLst>
                <a:ext uri="{FF2B5EF4-FFF2-40B4-BE49-F238E27FC236}">
                  <a16:creationId xmlns:a16="http://schemas.microsoft.com/office/drawing/2014/main" id="{E2B5BFCF-CFB9-47EB-9E36-6C8A970309B3}"/>
                </a:ext>
              </a:extLst>
            </p:cNvPr>
            <p:cNvSpPr>
              <a:spLocks/>
            </p:cNvSpPr>
            <p:nvPr/>
          </p:nvSpPr>
          <p:spPr bwMode="auto">
            <a:xfrm>
              <a:off x="2972" y="2405"/>
              <a:ext cx="12" cy="9"/>
            </a:xfrm>
            <a:custGeom>
              <a:avLst/>
              <a:gdLst>
                <a:gd name="T0" fmla="*/ 1 w 5"/>
                <a:gd name="T1" fmla="*/ 0 h 4"/>
                <a:gd name="T2" fmla="*/ 4 w 5"/>
                <a:gd name="T3" fmla="*/ 4 h 4"/>
                <a:gd name="T4" fmla="*/ 1 w 5"/>
                <a:gd name="T5" fmla="*/ 0 h 4"/>
              </a:gdLst>
              <a:ahLst/>
              <a:cxnLst>
                <a:cxn ang="0">
                  <a:pos x="T0" y="T1"/>
                </a:cxn>
                <a:cxn ang="0">
                  <a:pos x="T2" y="T3"/>
                </a:cxn>
                <a:cxn ang="0">
                  <a:pos x="T4" y="T5"/>
                </a:cxn>
              </a:cxnLst>
              <a:rect l="0" t="0" r="r" b="b"/>
              <a:pathLst>
                <a:path w="5" h="4">
                  <a:moveTo>
                    <a:pt x="1" y="0"/>
                  </a:moveTo>
                  <a:cubicBezTo>
                    <a:pt x="1" y="2"/>
                    <a:pt x="0" y="4"/>
                    <a:pt x="4" y="4"/>
                  </a:cubicBezTo>
                  <a:cubicBezTo>
                    <a:pt x="5" y="2"/>
                    <a:pt x="3" y="1"/>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55" name="Freeform 2107">
              <a:extLst>
                <a:ext uri="{FF2B5EF4-FFF2-40B4-BE49-F238E27FC236}">
                  <a16:creationId xmlns:a16="http://schemas.microsoft.com/office/drawing/2014/main" id="{7BF5CE55-E7A9-4E86-ABBB-4C27F1E4A508}"/>
                </a:ext>
              </a:extLst>
            </p:cNvPr>
            <p:cNvSpPr>
              <a:spLocks/>
            </p:cNvSpPr>
            <p:nvPr/>
          </p:nvSpPr>
          <p:spPr bwMode="auto">
            <a:xfrm>
              <a:off x="2956" y="2412"/>
              <a:ext cx="4" cy="5"/>
            </a:xfrm>
            <a:custGeom>
              <a:avLst/>
              <a:gdLst>
                <a:gd name="T0" fmla="*/ 2 w 2"/>
                <a:gd name="T1" fmla="*/ 2 h 2"/>
                <a:gd name="T2" fmla="*/ 2 w 2"/>
                <a:gd name="T3" fmla="*/ 0 h 2"/>
                <a:gd name="T4" fmla="*/ 2 w 2"/>
                <a:gd name="T5" fmla="*/ 2 h 2"/>
              </a:gdLst>
              <a:ahLst/>
              <a:cxnLst>
                <a:cxn ang="0">
                  <a:pos x="T0" y="T1"/>
                </a:cxn>
                <a:cxn ang="0">
                  <a:pos x="T2" y="T3"/>
                </a:cxn>
                <a:cxn ang="0">
                  <a:pos x="T4" y="T5"/>
                </a:cxn>
              </a:cxnLst>
              <a:rect l="0" t="0" r="r" b="b"/>
              <a:pathLst>
                <a:path w="2" h="2">
                  <a:moveTo>
                    <a:pt x="2" y="2"/>
                  </a:moveTo>
                  <a:cubicBezTo>
                    <a:pt x="2" y="1"/>
                    <a:pt x="2" y="0"/>
                    <a:pt x="2" y="0"/>
                  </a:cubicBezTo>
                  <a:cubicBezTo>
                    <a:pt x="0" y="0"/>
                    <a:pt x="0" y="1"/>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56" name="Freeform 2108">
              <a:extLst>
                <a:ext uri="{FF2B5EF4-FFF2-40B4-BE49-F238E27FC236}">
                  <a16:creationId xmlns:a16="http://schemas.microsoft.com/office/drawing/2014/main" id="{1354A70D-9ACF-4A01-9916-985424ED9926}"/>
                </a:ext>
              </a:extLst>
            </p:cNvPr>
            <p:cNvSpPr>
              <a:spLocks/>
            </p:cNvSpPr>
            <p:nvPr/>
          </p:nvSpPr>
          <p:spPr bwMode="auto">
            <a:xfrm>
              <a:off x="1438" y="201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57" name="Freeform 2109">
              <a:extLst>
                <a:ext uri="{FF2B5EF4-FFF2-40B4-BE49-F238E27FC236}">
                  <a16:creationId xmlns:a16="http://schemas.microsoft.com/office/drawing/2014/main" id="{D0AE015F-1BA6-4FB1-9F8E-2CB55F1CEA72}"/>
                </a:ext>
              </a:extLst>
            </p:cNvPr>
            <p:cNvSpPr>
              <a:spLocks/>
            </p:cNvSpPr>
            <p:nvPr/>
          </p:nvSpPr>
          <p:spPr bwMode="auto">
            <a:xfrm>
              <a:off x="3651" y="1416"/>
              <a:ext cx="2"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cubicBezTo>
                    <a:pt x="1" y="0"/>
                    <a:pt x="1" y="0"/>
                    <a:pt x="0" y="0"/>
                  </a:cubicBezTo>
                  <a:cubicBezTo>
                    <a:pt x="1" y="0"/>
                    <a:pt x="1" y="0"/>
                    <a:pt x="1" y="0"/>
                  </a:cubicBezTo>
                  <a:cubicBezTo>
                    <a:pt x="1" y="0"/>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58" name="Freeform 2110">
              <a:extLst>
                <a:ext uri="{FF2B5EF4-FFF2-40B4-BE49-F238E27FC236}">
                  <a16:creationId xmlns:a16="http://schemas.microsoft.com/office/drawing/2014/main" id="{8CB1714B-EC48-4AC1-B78F-64863B7DC279}"/>
                </a:ext>
              </a:extLst>
            </p:cNvPr>
            <p:cNvSpPr>
              <a:spLocks/>
            </p:cNvSpPr>
            <p:nvPr/>
          </p:nvSpPr>
          <p:spPr bwMode="auto">
            <a:xfrm>
              <a:off x="6918" y="1870"/>
              <a:ext cx="12" cy="14"/>
            </a:xfrm>
            <a:custGeom>
              <a:avLst/>
              <a:gdLst>
                <a:gd name="T0" fmla="*/ 2 w 5"/>
                <a:gd name="T1" fmla="*/ 5 h 6"/>
                <a:gd name="T2" fmla="*/ 2 w 5"/>
                <a:gd name="T3" fmla="*/ 6 h 6"/>
                <a:gd name="T4" fmla="*/ 5 w 5"/>
                <a:gd name="T5" fmla="*/ 4 h 6"/>
                <a:gd name="T6" fmla="*/ 5 w 5"/>
                <a:gd name="T7" fmla="*/ 3 h 6"/>
                <a:gd name="T8" fmla="*/ 2 w 5"/>
                <a:gd name="T9" fmla="*/ 0 h 6"/>
                <a:gd name="T10" fmla="*/ 0 w 5"/>
                <a:gd name="T11" fmla="*/ 3 h 6"/>
                <a:gd name="T12" fmla="*/ 2 w 5"/>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2" y="5"/>
                  </a:moveTo>
                  <a:cubicBezTo>
                    <a:pt x="2" y="5"/>
                    <a:pt x="2" y="6"/>
                    <a:pt x="2" y="6"/>
                  </a:cubicBezTo>
                  <a:cubicBezTo>
                    <a:pt x="3" y="6"/>
                    <a:pt x="4" y="5"/>
                    <a:pt x="5" y="4"/>
                  </a:cubicBezTo>
                  <a:cubicBezTo>
                    <a:pt x="5" y="4"/>
                    <a:pt x="5" y="3"/>
                    <a:pt x="5" y="3"/>
                  </a:cubicBezTo>
                  <a:cubicBezTo>
                    <a:pt x="5" y="1"/>
                    <a:pt x="4" y="0"/>
                    <a:pt x="2" y="0"/>
                  </a:cubicBezTo>
                  <a:cubicBezTo>
                    <a:pt x="1" y="0"/>
                    <a:pt x="0" y="1"/>
                    <a:pt x="0" y="3"/>
                  </a:cubicBezTo>
                  <a:cubicBezTo>
                    <a:pt x="0" y="4"/>
                    <a:pt x="0" y="5"/>
                    <a:pt x="2"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59" name="Freeform 2111">
              <a:extLst>
                <a:ext uri="{FF2B5EF4-FFF2-40B4-BE49-F238E27FC236}">
                  <a16:creationId xmlns:a16="http://schemas.microsoft.com/office/drawing/2014/main" id="{9A451A44-B4CE-456E-9398-72D864124DC6}"/>
                </a:ext>
              </a:extLst>
            </p:cNvPr>
            <p:cNvSpPr>
              <a:spLocks/>
            </p:cNvSpPr>
            <p:nvPr/>
          </p:nvSpPr>
          <p:spPr bwMode="auto">
            <a:xfrm>
              <a:off x="3994" y="168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60" name="Freeform 2112">
              <a:extLst>
                <a:ext uri="{FF2B5EF4-FFF2-40B4-BE49-F238E27FC236}">
                  <a16:creationId xmlns:a16="http://schemas.microsoft.com/office/drawing/2014/main" id="{4E3F9173-35F5-4B76-910D-AB6A95050FA0}"/>
                </a:ext>
              </a:extLst>
            </p:cNvPr>
            <p:cNvSpPr>
              <a:spLocks/>
            </p:cNvSpPr>
            <p:nvPr/>
          </p:nvSpPr>
          <p:spPr bwMode="auto">
            <a:xfrm>
              <a:off x="3975" y="1671"/>
              <a:ext cx="2" cy="3"/>
            </a:xfrm>
            <a:custGeom>
              <a:avLst/>
              <a:gdLst>
                <a:gd name="T0" fmla="*/ 0 w 1"/>
                <a:gd name="T1" fmla="*/ 1 h 1"/>
                <a:gd name="T2" fmla="*/ 1 w 1"/>
                <a:gd name="T3" fmla="*/ 1 h 1"/>
                <a:gd name="T4" fmla="*/ 0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0" y="1"/>
                    <a:pt x="1" y="1"/>
                    <a:pt x="1" y="1"/>
                  </a:cubicBezTo>
                  <a:cubicBezTo>
                    <a:pt x="1" y="1"/>
                    <a:pt x="0" y="1"/>
                    <a:pt x="0" y="0"/>
                  </a:cubicBezTo>
                  <a:cubicBezTo>
                    <a:pt x="0" y="1"/>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61" name="Freeform 2113">
              <a:extLst>
                <a:ext uri="{FF2B5EF4-FFF2-40B4-BE49-F238E27FC236}">
                  <a16:creationId xmlns:a16="http://schemas.microsoft.com/office/drawing/2014/main" id="{1589F881-2415-4E82-91A3-390AE542F116}"/>
                </a:ext>
              </a:extLst>
            </p:cNvPr>
            <p:cNvSpPr>
              <a:spLocks/>
            </p:cNvSpPr>
            <p:nvPr/>
          </p:nvSpPr>
          <p:spPr bwMode="auto">
            <a:xfrm>
              <a:off x="4972" y="1581"/>
              <a:ext cx="0" cy="3"/>
            </a:xfrm>
            <a:custGeom>
              <a:avLst/>
              <a:gdLst>
                <a:gd name="T0" fmla="*/ 0 h 1"/>
                <a:gd name="T1" fmla="*/ 0 h 1"/>
                <a:gd name="T2" fmla="*/ 1 h 1"/>
                <a:gd name="T3" fmla="*/ 1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62" name="Freeform 2114">
              <a:extLst>
                <a:ext uri="{FF2B5EF4-FFF2-40B4-BE49-F238E27FC236}">
                  <a16:creationId xmlns:a16="http://schemas.microsoft.com/office/drawing/2014/main" id="{4F12A714-6486-4CCC-87CD-3A533962CF91}"/>
                </a:ext>
              </a:extLst>
            </p:cNvPr>
            <p:cNvSpPr>
              <a:spLocks/>
            </p:cNvSpPr>
            <p:nvPr/>
          </p:nvSpPr>
          <p:spPr bwMode="auto">
            <a:xfrm>
              <a:off x="4731" y="155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63" name="Freeform 2115">
              <a:extLst>
                <a:ext uri="{FF2B5EF4-FFF2-40B4-BE49-F238E27FC236}">
                  <a16:creationId xmlns:a16="http://schemas.microsoft.com/office/drawing/2014/main" id="{AE284728-585E-49CA-8EF8-715AE640AECD}"/>
                </a:ext>
              </a:extLst>
            </p:cNvPr>
            <p:cNvSpPr>
              <a:spLocks/>
            </p:cNvSpPr>
            <p:nvPr/>
          </p:nvSpPr>
          <p:spPr bwMode="auto">
            <a:xfrm>
              <a:off x="4781" y="2523"/>
              <a:ext cx="2"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64" name="Rectangle 2116">
              <a:extLst>
                <a:ext uri="{FF2B5EF4-FFF2-40B4-BE49-F238E27FC236}">
                  <a16:creationId xmlns:a16="http://schemas.microsoft.com/office/drawing/2014/main" id="{7A9E8C92-C632-47F1-B117-233C9288C6E7}"/>
                </a:ext>
              </a:extLst>
            </p:cNvPr>
            <p:cNvSpPr>
              <a:spLocks noChangeArrowheads="1"/>
            </p:cNvSpPr>
            <p:nvPr/>
          </p:nvSpPr>
          <p:spPr bwMode="auto">
            <a:xfrm>
              <a:off x="4783" y="2523"/>
              <a:ext cx="1" cy="1"/>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65" name="Rectangle 2117">
              <a:extLst>
                <a:ext uri="{FF2B5EF4-FFF2-40B4-BE49-F238E27FC236}">
                  <a16:creationId xmlns:a16="http://schemas.microsoft.com/office/drawing/2014/main" id="{48A49277-D6E6-478F-9EB0-A0471E66D7ED}"/>
                </a:ext>
              </a:extLst>
            </p:cNvPr>
            <p:cNvSpPr>
              <a:spLocks noChangeArrowheads="1"/>
            </p:cNvSpPr>
            <p:nvPr/>
          </p:nvSpPr>
          <p:spPr bwMode="auto">
            <a:xfrm>
              <a:off x="7897" y="3179"/>
              <a:ext cx="1" cy="1"/>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66" name="Freeform 2118">
              <a:extLst>
                <a:ext uri="{FF2B5EF4-FFF2-40B4-BE49-F238E27FC236}">
                  <a16:creationId xmlns:a16="http://schemas.microsoft.com/office/drawing/2014/main" id="{970C6171-480D-475E-B974-D08200D5C3B1}"/>
                </a:ext>
              </a:extLst>
            </p:cNvPr>
            <p:cNvSpPr>
              <a:spLocks/>
            </p:cNvSpPr>
            <p:nvPr/>
          </p:nvSpPr>
          <p:spPr bwMode="auto">
            <a:xfrm>
              <a:off x="5918" y="2511"/>
              <a:ext cx="5" cy="5"/>
            </a:xfrm>
            <a:custGeom>
              <a:avLst/>
              <a:gdLst>
                <a:gd name="T0" fmla="*/ 0 w 2"/>
                <a:gd name="T1" fmla="*/ 0 h 2"/>
                <a:gd name="T2" fmla="*/ 0 w 2"/>
                <a:gd name="T3" fmla="*/ 0 h 2"/>
                <a:gd name="T4" fmla="*/ 2 w 2"/>
                <a:gd name="T5" fmla="*/ 2 h 2"/>
                <a:gd name="T6" fmla="*/ 1 w 2"/>
                <a:gd name="T7" fmla="*/ 0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cubicBezTo>
                    <a:pt x="0" y="0"/>
                    <a:pt x="0" y="0"/>
                    <a:pt x="0" y="0"/>
                  </a:cubicBezTo>
                  <a:cubicBezTo>
                    <a:pt x="0" y="1"/>
                    <a:pt x="2" y="2"/>
                    <a:pt x="2" y="2"/>
                  </a:cubicBezTo>
                  <a:cubicBezTo>
                    <a:pt x="2" y="2"/>
                    <a:pt x="1" y="0"/>
                    <a:pt x="1" y="0"/>
                  </a:cubicBezTo>
                  <a:cubicBezTo>
                    <a:pt x="1" y="0"/>
                    <a:pt x="1"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67" name="Freeform 2119">
              <a:extLst>
                <a:ext uri="{FF2B5EF4-FFF2-40B4-BE49-F238E27FC236}">
                  <a16:creationId xmlns:a16="http://schemas.microsoft.com/office/drawing/2014/main" id="{55ADF97E-6A43-4F95-B878-91F5017CC678}"/>
                </a:ext>
              </a:extLst>
            </p:cNvPr>
            <p:cNvSpPr>
              <a:spLocks/>
            </p:cNvSpPr>
            <p:nvPr/>
          </p:nvSpPr>
          <p:spPr bwMode="auto">
            <a:xfrm>
              <a:off x="7022" y="3039"/>
              <a:ext cx="0" cy="2"/>
            </a:xfrm>
            <a:custGeom>
              <a:avLst/>
              <a:gdLst>
                <a:gd name="T0" fmla="*/ 0 h 1"/>
                <a:gd name="T1" fmla="*/ 0 h 1"/>
              </a:gdLst>
              <a:ahLst/>
              <a:cxnLst>
                <a:cxn ang="0">
                  <a:pos x="0" y="T0"/>
                </a:cxn>
                <a:cxn ang="0">
                  <a:pos x="0" y="T1"/>
                </a:cxn>
              </a:cxnLst>
              <a:rect l="0" t="0" r="r" b="b"/>
              <a:pathLst>
                <a:path h="1">
                  <a:moveTo>
                    <a:pt x="0" y="0"/>
                  </a:moveTo>
                  <a:cubicBezTo>
                    <a:pt x="0" y="0"/>
                    <a:pt x="0"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68" name="Rectangle 2120">
              <a:extLst>
                <a:ext uri="{FF2B5EF4-FFF2-40B4-BE49-F238E27FC236}">
                  <a16:creationId xmlns:a16="http://schemas.microsoft.com/office/drawing/2014/main" id="{E6B5D6DA-40C3-4C18-BC89-0872CD09260F}"/>
                </a:ext>
              </a:extLst>
            </p:cNvPr>
            <p:cNvSpPr>
              <a:spLocks noChangeArrowheads="1"/>
            </p:cNvSpPr>
            <p:nvPr/>
          </p:nvSpPr>
          <p:spPr bwMode="auto">
            <a:xfrm>
              <a:off x="7020" y="3025"/>
              <a:ext cx="1" cy="1"/>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69" name="Freeform 2121">
              <a:extLst>
                <a:ext uri="{FF2B5EF4-FFF2-40B4-BE49-F238E27FC236}">
                  <a16:creationId xmlns:a16="http://schemas.microsoft.com/office/drawing/2014/main" id="{B57B7A41-9045-46AE-A641-7F7396A04C9C}"/>
                </a:ext>
              </a:extLst>
            </p:cNvPr>
            <p:cNvSpPr>
              <a:spLocks/>
            </p:cNvSpPr>
            <p:nvPr/>
          </p:nvSpPr>
          <p:spPr bwMode="auto">
            <a:xfrm>
              <a:off x="7003" y="3034"/>
              <a:ext cx="0" cy="3"/>
            </a:xfrm>
            <a:custGeom>
              <a:avLst/>
              <a:gdLst>
                <a:gd name="T0" fmla="*/ 1 h 1"/>
                <a:gd name="T1" fmla="*/ 1 h 1"/>
              </a:gdLst>
              <a:ahLst/>
              <a:cxnLst>
                <a:cxn ang="0">
                  <a:pos x="0" y="T0"/>
                </a:cxn>
                <a:cxn ang="0">
                  <a:pos x="0" y="T1"/>
                </a:cxn>
              </a:cxnLst>
              <a:rect l="0" t="0" r="r" b="b"/>
              <a:pathLst>
                <a:path h="1">
                  <a:moveTo>
                    <a:pt x="0" y="1"/>
                  </a:moveTo>
                  <a:cubicBezTo>
                    <a:pt x="0" y="0"/>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70" name="Freeform 2122">
              <a:extLst>
                <a:ext uri="{FF2B5EF4-FFF2-40B4-BE49-F238E27FC236}">
                  <a16:creationId xmlns:a16="http://schemas.microsoft.com/office/drawing/2014/main" id="{2AC8DE58-6ABB-4B7D-8091-17673D0749B7}"/>
                </a:ext>
              </a:extLst>
            </p:cNvPr>
            <p:cNvSpPr>
              <a:spLocks/>
            </p:cNvSpPr>
            <p:nvPr/>
          </p:nvSpPr>
          <p:spPr bwMode="auto">
            <a:xfrm>
              <a:off x="5275" y="2473"/>
              <a:ext cx="7" cy="8"/>
            </a:xfrm>
            <a:custGeom>
              <a:avLst/>
              <a:gdLst>
                <a:gd name="T0" fmla="*/ 0 w 3"/>
                <a:gd name="T1" fmla="*/ 3 h 3"/>
                <a:gd name="T2" fmla="*/ 3 w 3"/>
                <a:gd name="T3" fmla="*/ 0 h 3"/>
                <a:gd name="T4" fmla="*/ 0 w 3"/>
                <a:gd name="T5" fmla="*/ 0 h 3"/>
                <a:gd name="T6" fmla="*/ 0 w 3"/>
                <a:gd name="T7" fmla="*/ 3 h 3"/>
              </a:gdLst>
              <a:ahLst/>
              <a:cxnLst>
                <a:cxn ang="0">
                  <a:pos x="T0" y="T1"/>
                </a:cxn>
                <a:cxn ang="0">
                  <a:pos x="T2" y="T3"/>
                </a:cxn>
                <a:cxn ang="0">
                  <a:pos x="T4" y="T5"/>
                </a:cxn>
                <a:cxn ang="0">
                  <a:pos x="T6" y="T7"/>
                </a:cxn>
              </a:cxnLst>
              <a:rect l="0" t="0" r="r" b="b"/>
              <a:pathLst>
                <a:path w="3" h="3">
                  <a:moveTo>
                    <a:pt x="0" y="3"/>
                  </a:moveTo>
                  <a:cubicBezTo>
                    <a:pt x="3" y="0"/>
                    <a:pt x="3" y="0"/>
                    <a:pt x="3" y="0"/>
                  </a:cubicBezTo>
                  <a:cubicBezTo>
                    <a:pt x="2" y="0"/>
                    <a:pt x="1" y="0"/>
                    <a:pt x="0" y="0"/>
                  </a:cubicBezTo>
                  <a:cubicBezTo>
                    <a:pt x="0" y="1"/>
                    <a:pt x="0" y="2"/>
                    <a:pt x="0"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71" name="Freeform 2123">
              <a:extLst>
                <a:ext uri="{FF2B5EF4-FFF2-40B4-BE49-F238E27FC236}">
                  <a16:creationId xmlns:a16="http://schemas.microsoft.com/office/drawing/2014/main" id="{F0F5986A-5919-4F3E-8A55-FDEE77ECDB2E}"/>
                </a:ext>
              </a:extLst>
            </p:cNvPr>
            <p:cNvSpPr>
              <a:spLocks/>
            </p:cNvSpPr>
            <p:nvPr/>
          </p:nvSpPr>
          <p:spPr bwMode="auto">
            <a:xfrm>
              <a:off x="5793" y="2284"/>
              <a:ext cx="2" cy="7"/>
            </a:xfrm>
            <a:custGeom>
              <a:avLst/>
              <a:gdLst>
                <a:gd name="T0" fmla="*/ 1 w 1"/>
                <a:gd name="T1" fmla="*/ 2 h 3"/>
                <a:gd name="T2" fmla="*/ 0 w 1"/>
                <a:gd name="T3" fmla="*/ 0 h 3"/>
                <a:gd name="T4" fmla="*/ 1 w 1"/>
                <a:gd name="T5" fmla="*/ 2 h 3"/>
                <a:gd name="T6" fmla="*/ 1 w 1"/>
                <a:gd name="T7" fmla="*/ 3 h 3"/>
                <a:gd name="T8" fmla="*/ 1 w 1"/>
                <a:gd name="T9" fmla="*/ 2 h 3"/>
              </a:gdLst>
              <a:ahLst/>
              <a:cxnLst>
                <a:cxn ang="0">
                  <a:pos x="T0" y="T1"/>
                </a:cxn>
                <a:cxn ang="0">
                  <a:pos x="T2" y="T3"/>
                </a:cxn>
                <a:cxn ang="0">
                  <a:pos x="T4" y="T5"/>
                </a:cxn>
                <a:cxn ang="0">
                  <a:pos x="T6" y="T7"/>
                </a:cxn>
                <a:cxn ang="0">
                  <a:pos x="T8" y="T9"/>
                </a:cxn>
              </a:cxnLst>
              <a:rect l="0" t="0" r="r" b="b"/>
              <a:pathLst>
                <a:path w="1" h="3">
                  <a:moveTo>
                    <a:pt x="1" y="2"/>
                  </a:moveTo>
                  <a:cubicBezTo>
                    <a:pt x="1" y="1"/>
                    <a:pt x="0" y="1"/>
                    <a:pt x="0" y="0"/>
                  </a:cubicBezTo>
                  <a:cubicBezTo>
                    <a:pt x="0" y="1"/>
                    <a:pt x="0" y="2"/>
                    <a:pt x="1" y="2"/>
                  </a:cubicBezTo>
                  <a:cubicBezTo>
                    <a:pt x="1" y="2"/>
                    <a:pt x="1" y="3"/>
                    <a:pt x="1" y="3"/>
                  </a:cubicBezTo>
                  <a:cubicBezTo>
                    <a:pt x="1" y="3"/>
                    <a:pt x="1" y="2"/>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72" name="Freeform 2124">
              <a:extLst>
                <a:ext uri="{FF2B5EF4-FFF2-40B4-BE49-F238E27FC236}">
                  <a16:creationId xmlns:a16="http://schemas.microsoft.com/office/drawing/2014/main" id="{F1A028D9-072C-410C-BEB2-52E3A4008A1B}"/>
                </a:ext>
              </a:extLst>
            </p:cNvPr>
            <p:cNvSpPr>
              <a:spLocks/>
            </p:cNvSpPr>
            <p:nvPr/>
          </p:nvSpPr>
          <p:spPr bwMode="auto">
            <a:xfrm>
              <a:off x="5471" y="252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73" name="Freeform 2125">
              <a:extLst>
                <a:ext uri="{FF2B5EF4-FFF2-40B4-BE49-F238E27FC236}">
                  <a16:creationId xmlns:a16="http://schemas.microsoft.com/office/drawing/2014/main" id="{A6E54052-280F-4D13-A51F-1A8D0BCF41D5}"/>
                </a:ext>
              </a:extLst>
            </p:cNvPr>
            <p:cNvSpPr>
              <a:spLocks/>
            </p:cNvSpPr>
            <p:nvPr/>
          </p:nvSpPr>
          <p:spPr bwMode="auto">
            <a:xfrm>
              <a:off x="7178" y="2566"/>
              <a:ext cx="3" cy="0"/>
            </a:xfrm>
            <a:custGeom>
              <a:avLst/>
              <a:gdLst>
                <a:gd name="T0" fmla="*/ 0 w 1"/>
                <a:gd name="T1" fmla="*/ 0 w 1"/>
              </a:gdLst>
              <a:ahLst/>
              <a:cxnLst>
                <a:cxn ang="0">
                  <a:pos x="T0" y="0"/>
                </a:cxn>
                <a:cxn ang="0">
                  <a:pos x="T1" y="0"/>
                </a:cxn>
              </a:cxnLst>
              <a:rect l="0" t="0" r="r" b="b"/>
              <a:pathLst>
                <a:path w="1">
                  <a:moveTo>
                    <a:pt x="0" y="0"/>
                  </a:moveTo>
                  <a:cubicBezTo>
                    <a:pt x="0" y="0"/>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74" name="Freeform 2126">
              <a:extLst>
                <a:ext uri="{FF2B5EF4-FFF2-40B4-BE49-F238E27FC236}">
                  <a16:creationId xmlns:a16="http://schemas.microsoft.com/office/drawing/2014/main" id="{95978AFC-EE8D-45E4-AD86-55C69A5BA5DA}"/>
                </a:ext>
              </a:extLst>
            </p:cNvPr>
            <p:cNvSpPr>
              <a:spLocks/>
            </p:cNvSpPr>
            <p:nvPr/>
          </p:nvSpPr>
          <p:spPr bwMode="auto">
            <a:xfrm>
              <a:off x="7209" y="2596"/>
              <a:ext cx="0" cy="3"/>
            </a:xfrm>
            <a:custGeom>
              <a:avLst/>
              <a:gdLst>
                <a:gd name="T0" fmla="*/ 0 h 1"/>
                <a:gd name="T1" fmla="*/ 0 h 1"/>
              </a:gdLst>
              <a:ahLst/>
              <a:cxnLst>
                <a:cxn ang="0">
                  <a:pos x="0" y="T0"/>
                </a:cxn>
                <a:cxn ang="0">
                  <a:pos x="0" y="T1"/>
                </a:cxn>
              </a:cxnLst>
              <a:rect l="0" t="0" r="r" b="b"/>
              <a:pathLst>
                <a:path h="1">
                  <a:moveTo>
                    <a:pt x="0" y="0"/>
                  </a:moveTo>
                  <a:cubicBezTo>
                    <a:pt x="0" y="0"/>
                    <a:pt x="0"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75" name="Rectangle 2127">
              <a:extLst>
                <a:ext uri="{FF2B5EF4-FFF2-40B4-BE49-F238E27FC236}">
                  <a16:creationId xmlns:a16="http://schemas.microsoft.com/office/drawing/2014/main" id="{7F63FDFD-DFA3-4CEB-AAD4-1988156D16F7}"/>
                </a:ext>
              </a:extLst>
            </p:cNvPr>
            <p:cNvSpPr>
              <a:spLocks noChangeArrowheads="1"/>
            </p:cNvSpPr>
            <p:nvPr/>
          </p:nvSpPr>
          <p:spPr bwMode="auto">
            <a:xfrm>
              <a:off x="7211" y="2599"/>
              <a:ext cx="1" cy="1"/>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76" name="Rectangle 2128">
              <a:extLst>
                <a:ext uri="{FF2B5EF4-FFF2-40B4-BE49-F238E27FC236}">
                  <a16:creationId xmlns:a16="http://schemas.microsoft.com/office/drawing/2014/main" id="{D26358EE-8630-4BF1-A4F1-263E7C4646B4}"/>
                </a:ext>
              </a:extLst>
            </p:cNvPr>
            <p:cNvSpPr>
              <a:spLocks noChangeArrowheads="1"/>
            </p:cNvSpPr>
            <p:nvPr/>
          </p:nvSpPr>
          <p:spPr bwMode="auto">
            <a:xfrm>
              <a:off x="7216" y="2604"/>
              <a:ext cx="1" cy="1"/>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77" name="Freeform 2129">
              <a:extLst>
                <a:ext uri="{FF2B5EF4-FFF2-40B4-BE49-F238E27FC236}">
                  <a16:creationId xmlns:a16="http://schemas.microsoft.com/office/drawing/2014/main" id="{72FEDBFF-A869-4973-BE4E-EBF25C1E11CD}"/>
                </a:ext>
              </a:extLst>
            </p:cNvPr>
            <p:cNvSpPr>
              <a:spLocks/>
            </p:cNvSpPr>
            <p:nvPr/>
          </p:nvSpPr>
          <p:spPr bwMode="auto">
            <a:xfrm>
              <a:off x="7987" y="3919"/>
              <a:ext cx="2" cy="5"/>
            </a:xfrm>
            <a:custGeom>
              <a:avLst/>
              <a:gdLst>
                <a:gd name="T0" fmla="*/ 0 w 1"/>
                <a:gd name="T1" fmla="*/ 1 h 2"/>
                <a:gd name="T2" fmla="*/ 0 w 1"/>
                <a:gd name="T3" fmla="*/ 2 h 2"/>
                <a:gd name="T4" fmla="*/ 0 w 1"/>
                <a:gd name="T5" fmla="*/ 1 h 2"/>
              </a:gdLst>
              <a:ahLst/>
              <a:cxnLst>
                <a:cxn ang="0">
                  <a:pos x="T0" y="T1"/>
                </a:cxn>
                <a:cxn ang="0">
                  <a:pos x="T2" y="T3"/>
                </a:cxn>
                <a:cxn ang="0">
                  <a:pos x="T4" y="T5"/>
                </a:cxn>
              </a:cxnLst>
              <a:rect l="0" t="0" r="r" b="b"/>
              <a:pathLst>
                <a:path w="1" h="2">
                  <a:moveTo>
                    <a:pt x="0" y="1"/>
                  </a:moveTo>
                  <a:cubicBezTo>
                    <a:pt x="0" y="1"/>
                    <a:pt x="0" y="2"/>
                    <a:pt x="0" y="2"/>
                  </a:cubicBezTo>
                  <a:cubicBezTo>
                    <a:pt x="1" y="2"/>
                    <a:pt x="1"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78" name="Freeform 2130">
              <a:extLst>
                <a:ext uri="{FF2B5EF4-FFF2-40B4-BE49-F238E27FC236}">
                  <a16:creationId xmlns:a16="http://schemas.microsoft.com/office/drawing/2014/main" id="{8618657D-B4A0-4D57-9AE2-6B245F9B1D9F}"/>
                </a:ext>
              </a:extLst>
            </p:cNvPr>
            <p:cNvSpPr>
              <a:spLocks/>
            </p:cNvSpPr>
            <p:nvPr/>
          </p:nvSpPr>
          <p:spPr bwMode="auto">
            <a:xfrm>
              <a:off x="7970" y="3905"/>
              <a:ext cx="17" cy="14"/>
            </a:xfrm>
            <a:custGeom>
              <a:avLst/>
              <a:gdLst>
                <a:gd name="T0" fmla="*/ 5 w 7"/>
                <a:gd name="T1" fmla="*/ 1 h 6"/>
                <a:gd name="T2" fmla="*/ 7 w 7"/>
                <a:gd name="T3" fmla="*/ 1 h 6"/>
                <a:gd name="T4" fmla="*/ 5 w 7"/>
                <a:gd name="T5" fmla="*/ 1 h 6"/>
                <a:gd name="T6" fmla="*/ 3 w 7"/>
                <a:gd name="T7" fmla="*/ 0 h 6"/>
                <a:gd name="T8" fmla="*/ 2 w 7"/>
                <a:gd name="T9" fmla="*/ 1 h 6"/>
                <a:gd name="T10" fmla="*/ 0 w 7"/>
                <a:gd name="T11" fmla="*/ 2 h 6"/>
                <a:gd name="T12" fmla="*/ 2 w 7"/>
                <a:gd name="T13" fmla="*/ 2 h 6"/>
                <a:gd name="T14" fmla="*/ 3 w 7"/>
                <a:gd name="T15" fmla="*/ 2 h 6"/>
                <a:gd name="T16" fmla="*/ 3 w 7"/>
                <a:gd name="T17" fmla="*/ 2 h 6"/>
                <a:gd name="T18" fmla="*/ 3 w 7"/>
                <a:gd name="T19" fmla="*/ 4 h 6"/>
                <a:gd name="T20" fmla="*/ 4 w 7"/>
                <a:gd name="T21" fmla="*/ 5 h 6"/>
                <a:gd name="T22" fmla="*/ 6 w 7"/>
                <a:gd name="T23" fmla="*/ 5 h 6"/>
                <a:gd name="T24" fmla="*/ 5 w 7"/>
                <a:gd name="T25" fmla="*/ 4 h 6"/>
                <a:gd name="T26" fmla="*/ 5 w 7"/>
                <a:gd name="T27" fmla="*/ 2 h 6"/>
                <a:gd name="T28" fmla="*/ 5 w 7"/>
                <a:gd name="T29" fmla="*/ 2 h 6"/>
                <a:gd name="T30" fmla="*/ 4 w 7"/>
                <a:gd name="T31" fmla="*/ 1 h 6"/>
                <a:gd name="T32" fmla="*/ 4 w 7"/>
                <a:gd name="T33" fmla="*/ 1 h 6"/>
                <a:gd name="T34" fmla="*/ 5 w 7"/>
                <a:gd name="T35"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6">
                  <a:moveTo>
                    <a:pt x="5" y="1"/>
                  </a:moveTo>
                  <a:cubicBezTo>
                    <a:pt x="6" y="1"/>
                    <a:pt x="7" y="2"/>
                    <a:pt x="7" y="1"/>
                  </a:cubicBezTo>
                  <a:cubicBezTo>
                    <a:pt x="6" y="1"/>
                    <a:pt x="5" y="1"/>
                    <a:pt x="5" y="1"/>
                  </a:cubicBezTo>
                  <a:cubicBezTo>
                    <a:pt x="4" y="1"/>
                    <a:pt x="4" y="0"/>
                    <a:pt x="3" y="0"/>
                  </a:cubicBezTo>
                  <a:cubicBezTo>
                    <a:pt x="3" y="0"/>
                    <a:pt x="3" y="1"/>
                    <a:pt x="2" y="1"/>
                  </a:cubicBezTo>
                  <a:cubicBezTo>
                    <a:pt x="1" y="1"/>
                    <a:pt x="1" y="1"/>
                    <a:pt x="0" y="2"/>
                  </a:cubicBezTo>
                  <a:cubicBezTo>
                    <a:pt x="1" y="2"/>
                    <a:pt x="1" y="2"/>
                    <a:pt x="2" y="2"/>
                  </a:cubicBezTo>
                  <a:cubicBezTo>
                    <a:pt x="2" y="2"/>
                    <a:pt x="2" y="1"/>
                    <a:pt x="3" y="2"/>
                  </a:cubicBezTo>
                  <a:cubicBezTo>
                    <a:pt x="3" y="2"/>
                    <a:pt x="3" y="2"/>
                    <a:pt x="3" y="2"/>
                  </a:cubicBezTo>
                  <a:cubicBezTo>
                    <a:pt x="3" y="2"/>
                    <a:pt x="3" y="3"/>
                    <a:pt x="3" y="4"/>
                  </a:cubicBezTo>
                  <a:cubicBezTo>
                    <a:pt x="3" y="6"/>
                    <a:pt x="3" y="6"/>
                    <a:pt x="4" y="5"/>
                  </a:cubicBezTo>
                  <a:cubicBezTo>
                    <a:pt x="4" y="5"/>
                    <a:pt x="5" y="5"/>
                    <a:pt x="6" y="5"/>
                  </a:cubicBezTo>
                  <a:cubicBezTo>
                    <a:pt x="6" y="5"/>
                    <a:pt x="6" y="4"/>
                    <a:pt x="5" y="4"/>
                  </a:cubicBezTo>
                  <a:cubicBezTo>
                    <a:pt x="4" y="3"/>
                    <a:pt x="3" y="2"/>
                    <a:pt x="5" y="2"/>
                  </a:cubicBezTo>
                  <a:cubicBezTo>
                    <a:pt x="5" y="2"/>
                    <a:pt x="5" y="2"/>
                    <a:pt x="5" y="2"/>
                  </a:cubicBezTo>
                  <a:cubicBezTo>
                    <a:pt x="4" y="2"/>
                    <a:pt x="4" y="2"/>
                    <a:pt x="4" y="1"/>
                  </a:cubicBezTo>
                  <a:cubicBezTo>
                    <a:pt x="4" y="1"/>
                    <a:pt x="4" y="1"/>
                    <a:pt x="4" y="1"/>
                  </a:cubicBezTo>
                  <a:cubicBezTo>
                    <a:pt x="4" y="1"/>
                    <a:pt x="5" y="1"/>
                    <a:pt x="5"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79" name="Freeform 2131">
              <a:extLst>
                <a:ext uri="{FF2B5EF4-FFF2-40B4-BE49-F238E27FC236}">
                  <a16:creationId xmlns:a16="http://schemas.microsoft.com/office/drawing/2014/main" id="{0366902F-1653-4E64-B1E0-AC7AA9143680}"/>
                </a:ext>
              </a:extLst>
            </p:cNvPr>
            <p:cNvSpPr>
              <a:spLocks/>
            </p:cNvSpPr>
            <p:nvPr/>
          </p:nvSpPr>
          <p:spPr bwMode="auto">
            <a:xfrm>
              <a:off x="7918" y="3195"/>
              <a:ext cx="3" cy="2"/>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1"/>
                    <a:pt x="1" y="1"/>
                    <a:pt x="0" y="0"/>
                  </a:cubicBezTo>
                  <a:cubicBezTo>
                    <a:pt x="1" y="1"/>
                    <a:pt x="1" y="1"/>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80" name="Freeform 2132">
              <a:extLst>
                <a:ext uri="{FF2B5EF4-FFF2-40B4-BE49-F238E27FC236}">
                  <a16:creationId xmlns:a16="http://schemas.microsoft.com/office/drawing/2014/main" id="{B1E8731E-2A7A-4FEB-8990-0683BFF421A3}"/>
                </a:ext>
              </a:extLst>
            </p:cNvPr>
            <p:cNvSpPr>
              <a:spLocks/>
            </p:cNvSpPr>
            <p:nvPr/>
          </p:nvSpPr>
          <p:spPr bwMode="auto">
            <a:xfrm>
              <a:off x="7892" y="3186"/>
              <a:ext cx="7" cy="4"/>
            </a:xfrm>
            <a:custGeom>
              <a:avLst/>
              <a:gdLst>
                <a:gd name="T0" fmla="*/ 2 w 3"/>
                <a:gd name="T1" fmla="*/ 0 h 2"/>
                <a:gd name="T2" fmla="*/ 1 w 3"/>
                <a:gd name="T3" fmla="*/ 1 h 2"/>
                <a:gd name="T4" fmla="*/ 1 w 3"/>
                <a:gd name="T5" fmla="*/ 0 h 2"/>
                <a:gd name="T6" fmla="*/ 0 w 3"/>
                <a:gd name="T7" fmla="*/ 2 h 2"/>
                <a:gd name="T8" fmla="*/ 1 w 3"/>
                <a:gd name="T9" fmla="*/ 2 h 2"/>
                <a:gd name="T10" fmla="*/ 1 w 3"/>
                <a:gd name="T11" fmla="*/ 2 h 2"/>
                <a:gd name="T12" fmla="*/ 3 w 3"/>
                <a:gd name="T13" fmla="*/ 0 h 2"/>
                <a:gd name="T14" fmla="*/ 2 w 3"/>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2" y="0"/>
                  </a:moveTo>
                  <a:cubicBezTo>
                    <a:pt x="2" y="0"/>
                    <a:pt x="1" y="1"/>
                    <a:pt x="1" y="1"/>
                  </a:cubicBezTo>
                  <a:cubicBezTo>
                    <a:pt x="1" y="1"/>
                    <a:pt x="1" y="1"/>
                    <a:pt x="1" y="0"/>
                  </a:cubicBezTo>
                  <a:cubicBezTo>
                    <a:pt x="1" y="1"/>
                    <a:pt x="1" y="2"/>
                    <a:pt x="0" y="2"/>
                  </a:cubicBezTo>
                  <a:cubicBezTo>
                    <a:pt x="1" y="2"/>
                    <a:pt x="1" y="2"/>
                    <a:pt x="1" y="2"/>
                  </a:cubicBezTo>
                  <a:cubicBezTo>
                    <a:pt x="1" y="2"/>
                    <a:pt x="1" y="2"/>
                    <a:pt x="1" y="2"/>
                  </a:cubicBezTo>
                  <a:cubicBezTo>
                    <a:pt x="2" y="2"/>
                    <a:pt x="3" y="1"/>
                    <a:pt x="3" y="0"/>
                  </a:cubicBezTo>
                  <a:cubicBezTo>
                    <a:pt x="3" y="0"/>
                    <a:pt x="2" y="0"/>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81" name="Freeform 2133">
              <a:extLst>
                <a:ext uri="{FF2B5EF4-FFF2-40B4-BE49-F238E27FC236}">
                  <a16:creationId xmlns:a16="http://schemas.microsoft.com/office/drawing/2014/main" id="{E2B2FE1D-81AF-44E6-8DFE-FC4E20388AA9}"/>
                </a:ext>
              </a:extLst>
            </p:cNvPr>
            <p:cNvSpPr>
              <a:spLocks/>
            </p:cNvSpPr>
            <p:nvPr/>
          </p:nvSpPr>
          <p:spPr bwMode="auto">
            <a:xfrm>
              <a:off x="7554" y="3037"/>
              <a:ext cx="7" cy="2"/>
            </a:xfrm>
            <a:custGeom>
              <a:avLst/>
              <a:gdLst>
                <a:gd name="T0" fmla="*/ 0 w 3"/>
                <a:gd name="T1" fmla="*/ 1 h 1"/>
                <a:gd name="T2" fmla="*/ 1 w 3"/>
                <a:gd name="T3" fmla="*/ 1 h 1"/>
                <a:gd name="T4" fmla="*/ 1 w 3"/>
                <a:gd name="T5" fmla="*/ 1 h 1"/>
                <a:gd name="T6" fmla="*/ 3 w 3"/>
                <a:gd name="T7" fmla="*/ 0 h 1"/>
                <a:gd name="T8" fmla="*/ 3 w 3"/>
                <a:gd name="T9" fmla="*/ 0 h 1"/>
                <a:gd name="T10" fmla="*/ 1 w 3"/>
                <a:gd name="T11" fmla="*/ 0 h 1"/>
                <a:gd name="T12" fmla="*/ 0 w 3"/>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3" h="1">
                  <a:moveTo>
                    <a:pt x="0" y="1"/>
                  </a:moveTo>
                  <a:cubicBezTo>
                    <a:pt x="1" y="1"/>
                    <a:pt x="1" y="0"/>
                    <a:pt x="1" y="1"/>
                  </a:cubicBezTo>
                  <a:cubicBezTo>
                    <a:pt x="1" y="1"/>
                    <a:pt x="1" y="1"/>
                    <a:pt x="1" y="1"/>
                  </a:cubicBezTo>
                  <a:cubicBezTo>
                    <a:pt x="2" y="1"/>
                    <a:pt x="2" y="1"/>
                    <a:pt x="3" y="0"/>
                  </a:cubicBezTo>
                  <a:cubicBezTo>
                    <a:pt x="3" y="0"/>
                    <a:pt x="3" y="0"/>
                    <a:pt x="3" y="0"/>
                  </a:cubicBezTo>
                  <a:cubicBezTo>
                    <a:pt x="2" y="0"/>
                    <a:pt x="1" y="0"/>
                    <a:pt x="1" y="0"/>
                  </a:cubicBezTo>
                  <a:cubicBezTo>
                    <a:pt x="0" y="0"/>
                    <a:pt x="0"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82" name="Freeform 2134">
              <a:extLst>
                <a:ext uri="{FF2B5EF4-FFF2-40B4-BE49-F238E27FC236}">
                  <a16:creationId xmlns:a16="http://schemas.microsoft.com/office/drawing/2014/main" id="{C006E2F3-1DF2-43BE-9E1F-CEC38094E1CF}"/>
                </a:ext>
              </a:extLst>
            </p:cNvPr>
            <p:cNvSpPr>
              <a:spLocks/>
            </p:cNvSpPr>
            <p:nvPr/>
          </p:nvSpPr>
          <p:spPr bwMode="auto">
            <a:xfrm>
              <a:off x="7578" y="3058"/>
              <a:ext cx="5" cy="5"/>
            </a:xfrm>
            <a:custGeom>
              <a:avLst/>
              <a:gdLst>
                <a:gd name="T0" fmla="*/ 2 w 2"/>
                <a:gd name="T1" fmla="*/ 1 h 2"/>
                <a:gd name="T2" fmla="*/ 0 w 2"/>
                <a:gd name="T3" fmla="*/ 0 h 2"/>
                <a:gd name="T4" fmla="*/ 0 w 2"/>
                <a:gd name="T5" fmla="*/ 0 h 2"/>
                <a:gd name="T6" fmla="*/ 0 w 2"/>
                <a:gd name="T7" fmla="*/ 0 h 2"/>
                <a:gd name="T8" fmla="*/ 0 w 2"/>
                <a:gd name="T9" fmla="*/ 2 h 2"/>
                <a:gd name="T10" fmla="*/ 2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2" y="1"/>
                  </a:moveTo>
                  <a:cubicBezTo>
                    <a:pt x="1" y="1"/>
                    <a:pt x="1" y="0"/>
                    <a:pt x="0" y="0"/>
                  </a:cubicBezTo>
                  <a:cubicBezTo>
                    <a:pt x="0" y="0"/>
                    <a:pt x="0" y="0"/>
                    <a:pt x="0" y="0"/>
                  </a:cubicBezTo>
                  <a:cubicBezTo>
                    <a:pt x="0" y="0"/>
                    <a:pt x="0" y="0"/>
                    <a:pt x="0" y="0"/>
                  </a:cubicBezTo>
                  <a:cubicBezTo>
                    <a:pt x="0" y="1"/>
                    <a:pt x="0" y="1"/>
                    <a:pt x="0" y="2"/>
                  </a:cubicBezTo>
                  <a:cubicBezTo>
                    <a:pt x="1" y="2"/>
                    <a:pt x="1" y="2"/>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83" name="Freeform 2135">
              <a:extLst>
                <a:ext uri="{FF2B5EF4-FFF2-40B4-BE49-F238E27FC236}">
                  <a16:creationId xmlns:a16="http://schemas.microsoft.com/office/drawing/2014/main" id="{99B456B2-27F5-4980-B4A8-13E9D3C19BAC}"/>
                </a:ext>
              </a:extLst>
            </p:cNvPr>
            <p:cNvSpPr>
              <a:spLocks/>
            </p:cNvSpPr>
            <p:nvPr/>
          </p:nvSpPr>
          <p:spPr bwMode="auto">
            <a:xfrm>
              <a:off x="8143" y="1238"/>
              <a:ext cx="7" cy="3"/>
            </a:xfrm>
            <a:custGeom>
              <a:avLst/>
              <a:gdLst>
                <a:gd name="T0" fmla="*/ 2 w 3"/>
                <a:gd name="T1" fmla="*/ 1 h 1"/>
                <a:gd name="T2" fmla="*/ 3 w 3"/>
                <a:gd name="T3" fmla="*/ 1 h 1"/>
                <a:gd name="T4" fmla="*/ 0 w 3"/>
                <a:gd name="T5" fmla="*/ 0 h 1"/>
                <a:gd name="T6" fmla="*/ 2 w 3"/>
                <a:gd name="T7" fmla="*/ 1 h 1"/>
              </a:gdLst>
              <a:ahLst/>
              <a:cxnLst>
                <a:cxn ang="0">
                  <a:pos x="T0" y="T1"/>
                </a:cxn>
                <a:cxn ang="0">
                  <a:pos x="T2" y="T3"/>
                </a:cxn>
                <a:cxn ang="0">
                  <a:pos x="T4" y="T5"/>
                </a:cxn>
                <a:cxn ang="0">
                  <a:pos x="T6" y="T7"/>
                </a:cxn>
              </a:cxnLst>
              <a:rect l="0" t="0" r="r" b="b"/>
              <a:pathLst>
                <a:path w="3" h="1">
                  <a:moveTo>
                    <a:pt x="2" y="1"/>
                  </a:moveTo>
                  <a:cubicBezTo>
                    <a:pt x="2" y="1"/>
                    <a:pt x="2" y="1"/>
                    <a:pt x="3" y="1"/>
                  </a:cubicBezTo>
                  <a:cubicBezTo>
                    <a:pt x="2" y="0"/>
                    <a:pt x="1" y="0"/>
                    <a:pt x="0" y="0"/>
                  </a:cubicBezTo>
                  <a:cubicBezTo>
                    <a:pt x="0" y="1"/>
                    <a:pt x="1"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84" name="Freeform 2136">
              <a:extLst>
                <a:ext uri="{FF2B5EF4-FFF2-40B4-BE49-F238E27FC236}">
                  <a16:creationId xmlns:a16="http://schemas.microsoft.com/office/drawing/2014/main" id="{621CA370-0EB8-472A-B371-1CFB2CCA31B0}"/>
                </a:ext>
              </a:extLst>
            </p:cNvPr>
            <p:cNvSpPr>
              <a:spLocks/>
            </p:cNvSpPr>
            <p:nvPr/>
          </p:nvSpPr>
          <p:spPr bwMode="auto">
            <a:xfrm>
              <a:off x="8093" y="978"/>
              <a:ext cx="76" cy="33"/>
            </a:xfrm>
            <a:custGeom>
              <a:avLst/>
              <a:gdLst>
                <a:gd name="T0" fmla="*/ 32 w 32"/>
                <a:gd name="T1" fmla="*/ 8 h 14"/>
                <a:gd name="T2" fmla="*/ 20 w 32"/>
                <a:gd name="T3" fmla="*/ 4 h 14"/>
                <a:gd name="T4" fmla="*/ 14 w 32"/>
                <a:gd name="T5" fmla="*/ 2 h 14"/>
                <a:gd name="T6" fmla="*/ 9 w 32"/>
                <a:gd name="T7" fmla="*/ 4 h 14"/>
                <a:gd name="T8" fmla="*/ 4 w 32"/>
                <a:gd name="T9" fmla="*/ 3 h 14"/>
                <a:gd name="T10" fmla="*/ 1 w 32"/>
                <a:gd name="T11" fmla="*/ 0 h 14"/>
                <a:gd name="T12" fmla="*/ 0 w 32"/>
                <a:gd name="T13" fmla="*/ 3 h 14"/>
                <a:gd name="T14" fmla="*/ 0 w 32"/>
                <a:gd name="T15" fmla="*/ 4 h 14"/>
                <a:gd name="T16" fmla="*/ 0 w 32"/>
                <a:gd name="T17" fmla="*/ 6 h 14"/>
                <a:gd name="T18" fmla="*/ 5 w 32"/>
                <a:gd name="T19" fmla="*/ 7 h 14"/>
                <a:gd name="T20" fmla="*/ 15 w 32"/>
                <a:gd name="T21" fmla="*/ 8 h 14"/>
                <a:gd name="T22" fmla="*/ 8 w 32"/>
                <a:gd name="T23" fmla="*/ 6 h 14"/>
                <a:gd name="T24" fmla="*/ 10 w 32"/>
                <a:gd name="T25" fmla="*/ 6 h 14"/>
                <a:gd name="T26" fmla="*/ 14 w 32"/>
                <a:gd name="T27" fmla="*/ 8 h 14"/>
                <a:gd name="T28" fmla="*/ 16 w 32"/>
                <a:gd name="T29" fmla="*/ 10 h 14"/>
                <a:gd name="T30" fmla="*/ 20 w 32"/>
                <a:gd name="T31" fmla="*/ 11 h 14"/>
                <a:gd name="T32" fmla="*/ 19 w 32"/>
                <a:gd name="T33" fmla="*/ 11 h 14"/>
                <a:gd name="T34" fmla="*/ 21 w 32"/>
                <a:gd name="T35" fmla="*/ 13 h 14"/>
                <a:gd name="T36" fmla="*/ 21 w 32"/>
                <a:gd name="T37" fmla="*/ 13 h 14"/>
                <a:gd name="T38" fmla="*/ 23 w 32"/>
                <a:gd name="T39" fmla="*/ 13 h 14"/>
                <a:gd name="T40" fmla="*/ 27 w 32"/>
                <a:gd name="T41" fmla="*/ 10 h 14"/>
                <a:gd name="T42" fmla="*/ 32 w 32"/>
                <a:gd name="T43"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14">
                  <a:moveTo>
                    <a:pt x="32" y="8"/>
                  </a:moveTo>
                  <a:cubicBezTo>
                    <a:pt x="28" y="7"/>
                    <a:pt x="24" y="5"/>
                    <a:pt x="20" y="4"/>
                  </a:cubicBezTo>
                  <a:cubicBezTo>
                    <a:pt x="18" y="3"/>
                    <a:pt x="16" y="2"/>
                    <a:pt x="14" y="2"/>
                  </a:cubicBezTo>
                  <a:cubicBezTo>
                    <a:pt x="12" y="3"/>
                    <a:pt x="10" y="4"/>
                    <a:pt x="9" y="4"/>
                  </a:cubicBezTo>
                  <a:cubicBezTo>
                    <a:pt x="7" y="4"/>
                    <a:pt x="5" y="3"/>
                    <a:pt x="4" y="3"/>
                  </a:cubicBezTo>
                  <a:cubicBezTo>
                    <a:pt x="3" y="3"/>
                    <a:pt x="1" y="1"/>
                    <a:pt x="1" y="0"/>
                  </a:cubicBezTo>
                  <a:cubicBezTo>
                    <a:pt x="1" y="2"/>
                    <a:pt x="1" y="2"/>
                    <a:pt x="0" y="3"/>
                  </a:cubicBezTo>
                  <a:cubicBezTo>
                    <a:pt x="0" y="3"/>
                    <a:pt x="0" y="3"/>
                    <a:pt x="0" y="4"/>
                  </a:cubicBezTo>
                  <a:cubicBezTo>
                    <a:pt x="0" y="4"/>
                    <a:pt x="0" y="6"/>
                    <a:pt x="0" y="6"/>
                  </a:cubicBezTo>
                  <a:cubicBezTo>
                    <a:pt x="1" y="8"/>
                    <a:pt x="4" y="7"/>
                    <a:pt x="5" y="7"/>
                  </a:cubicBezTo>
                  <a:cubicBezTo>
                    <a:pt x="8" y="6"/>
                    <a:pt x="12" y="7"/>
                    <a:pt x="15" y="8"/>
                  </a:cubicBezTo>
                  <a:cubicBezTo>
                    <a:pt x="13" y="7"/>
                    <a:pt x="10" y="6"/>
                    <a:pt x="8" y="6"/>
                  </a:cubicBezTo>
                  <a:cubicBezTo>
                    <a:pt x="8" y="6"/>
                    <a:pt x="9" y="6"/>
                    <a:pt x="10" y="6"/>
                  </a:cubicBezTo>
                  <a:cubicBezTo>
                    <a:pt x="11" y="6"/>
                    <a:pt x="13" y="7"/>
                    <a:pt x="14" y="8"/>
                  </a:cubicBezTo>
                  <a:cubicBezTo>
                    <a:pt x="15" y="8"/>
                    <a:pt x="18" y="9"/>
                    <a:pt x="16" y="10"/>
                  </a:cubicBezTo>
                  <a:cubicBezTo>
                    <a:pt x="17" y="10"/>
                    <a:pt x="19" y="10"/>
                    <a:pt x="20" y="11"/>
                  </a:cubicBezTo>
                  <a:cubicBezTo>
                    <a:pt x="20" y="11"/>
                    <a:pt x="19" y="11"/>
                    <a:pt x="19" y="11"/>
                  </a:cubicBezTo>
                  <a:cubicBezTo>
                    <a:pt x="20" y="11"/>
                    <a:pt x="21" y="12"/>
                    <a:pt x="21" y="13"/>
                  </a:cubicBezTo>
                  <a:cubicBezTo>
                    <a:pt x="21" y="13"/>
                    <a:pt x="21" y="13"/>
                    <a:pt x="21" y="13"/>
                  </a:cubicBezTo>
                  <a:cubicBezTo>
                    <a:pt x="22" y="14"/>
                    <a:pt x="22" y="14"/>
                    <a:pt x="23" y="13"/>
                  </a:cubicBezTo>
                  <a:cubicBezTo>
                    <a:pt x="24" y="12"/>
                    <a:pt x="25" y="10"/>
                    <a:pt x="27" y="10"/>
                  </a:cubicBezTo>
                  <a:cubicBezTo>
                    <a:pt x="30" y="11"/>
                    <a:pt x="30" y="11"/>
                    <a:pt x="32" y="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85" name="Freeform 2137">
              <a:extLst>
                <a:ext uri="{FF2B5EF4-FFF2-40B4-BE49-F238E27FC236}">
                  <a16:creationId xmlns:a16="http://schemas.microsoft.com/office/drawing/2014/main" id="{190078F7-6C05-45B5-B601-2D356169133B}"/>
                </a:ext>
              </a:extLst>
            </p:cNvPr>
            <p:cNvSpPr>
              <a:spLocks/>
            </p:cNvSpPr>
            <p:nvPr/>
          </p:nvSpPr>
          <p:spPr bwMode="auto">
            <a:xfrm>
              <a:off x="8136" y="1361"/>
              <a:ext cx="12" cy="8"/>
            </a:xfrm>
            <a:custGeom>
              <a:avLst/>
              <a:gdLst>
                <a:gd name="T0" fmla="*/ 0 w 5"/>
                <a:gd name="T1" fmla="*/ 2 h 3"/>
                <a:gd name="T2" fmla="*/ 3 w 5"/>
                <a:gd name="T3" fmla="*/ 3 h 3"/>
                <a:gd name="T4" fmla="*/ 0 w 5"/>
                <a:gd name="T5" fmla="*/ 2 h 3"/>
              </a:gdLst>
              <a:ahLst/>
              <a:cxnLst>
                <a:cxn ang="0">
                  <a:pos x="T0" y="T1"/>
                </a:cxn>
                <a:cxn ang="0">
                  <a:pos x="T2" y="T3"/>
                </a:cxn>
                <a:cxn ang="0">
                  <a:pos x="T4" y="T5"/>
                </a:cxn>
              </a:cxnLst>
              <a:rect l="0" t="0" r="r" b="b"/>
              <a:pathLst>
                <a:path w="5" h="3">
                  <a:moveTo>
                    <a:pt x="0" y="2"/>
                  </a:moveTo>
                  <a:cubicBezTo>
                    <a:pt x="1" y="2"/>
                    <a:pt x="2" y="2"/>
                    <a:pt x="3" y="3"/>
                  </a:cubicBezTo>
                  <a:cubicBezTo>
                    <a:pt x="5" y="0"/>
                    <a:pt x="1"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86" name="Freeform 2138">
              <a:extLst>
                <a:ext uri="{FF2B5EF4-FFF2-40B4-BE49-F238E27FC236}">
                  <a16:creationId xmlns:a16="http://schemas.microsoft.com/office/drawing/2014/main" id="{03FDAD94-6E8C-466A-ADA8-18ABAD3E2ED2}"/>
                </a:ext>
              </a:extLst>
            </p:cNvPr>
            <p:cNvSpPr>
              <a:spLocks/>
            </p:cNvSpPr>
            <p:nvPr/>
          </p:nvSpPr>
          <p:spPr bwMode="auto">
            <a:xfrm>
              <a:off x="7989" y="1395"/>
              <a:ext cx="5" cy="2"/>
            </a:xfrm>
            <a:custGeom>
              <a:avLst/>
              <a:gdLst>
                <a:gd name="T0" fmla="*/ 0 w 2"/>
                <a:gd name="T1" fmla="*/ 1 h 1"/>
                <a:gd name="T2" fmla="*/ 2 w 2"/>
                <a:gd name="T3" fmla="*/ 1 h 1"/>
                <a:gd name="T4" fmla="*/ 0 w 2"/>
                <a:gd name="T5" fmla="*/ 1 h 1"/>
              </a:gdLst>
              <a:ahLst/>
              <a:cxnLst>
                <a:cxn ang="0">
                  <a:pos x="T0" y="T1"/>
                </a:cxn>
                <a:cxn ang="0">
                  <a:pos x="T2" y="T3"/>
                </a:cxn>
                <a:cxn ang="0">
                  <a:pos x="T4" y="T5"/>
                </a:cxn>
              </a:cxnLst>
              <a:rect l="0" t="0" r="r" b="b"/>
              <a:pathLst>
                <a:path w="2" h="1">
                  <a:moveTo>
                    <a:pt x="0" y="1"/>
                  </a:moveTo>
                  <a:cubicBezTo>
                    <a:pt x="1" y="1"/>
                    <a:pt x="1" y="1"/>
                    <a:pt x="2" y="1"/>
                  </a:cubicBezTo>
                  <a:cubicBezTo>
                    <a:pt x="1" y="1"/>
                    <a:pt x="1"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87" name="Freeform 2139">
              <a:extLst>
                <a:ext uri="{FF2B5EF4-FFF2-40B4-BE49-F238E27FC236}">
                  <a16:creationId xmlns:a16="http://schemas.microsoft.com/office/drawing/2014/main" id="{4DE2B01A-A0FB-4CD7-9BF9-BFC22AA941AE}"/>
                </a:ext>
              </a:extLst>
            </p:cNvPr>
            <p:cNvSpPr>
              <a:spLocks/>
            </p:cNvSpPr>
            <p:nvPr/>
          </p:nvSpPr>
          <p:spPr bwMode="auto">
            <a:xfrm>
              <a:off x="8041" y="1387"/>
              <a:ext cx="24" cy="5"/>
            </a:xfrm>
            <a:custGeom>
              <a:avLst/>
              <a:gdLst>
                <a:gd name="T0" fmla="*/ 1 w 10"/>
                <a:gd name="T1" fmla="*/ 1 h 2"/>
                <a:gd name="T2" fmla="*/ 0 w 10"/>
                <a:gd name="T3" fmla="*/ 1 h 2"/>
                <a:gd name="T4" fmla="*/ 6 w 10"/>
                <a:gd name="T5" fmla="*/ 2 h 2"/>
                <a:gd name="T6" fmla="*/ 7 w 10"/>
                <a:gd name="T7" fmla="*/ 1 h 2"/>
                <a:gd name="T8" fmla="*/ 10 w 10"/>
                <a:gd name="T9" fmla="*/ 1 h 2"/>
                <a:gd name="T10" fmla="*/ 4 w 10"/>
                <a:gd name="T11" fmla="*/ 1 h 2"/>
                <a:gd name="T12" fmla="*/ 1 w 10"/>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0" h="2">
                  <a:moveTo>
                    <a:pt x="1" y="1"/>
                  </a:moveTo>
                  <a:cubicBezTo>
                    <a:pt x="0" y="1"/>
                    <a:pt x="0" y="1"/>
                    <a:pt x="0" y="1"/>
                  </a:cubicBezTo>
                  <a:cubicBezTo>
                    <a:pt x="1" y="1"/>
                    <a:pt x="4" y="2"/>
                    <a:pt x="6" y="2"/>
                  </a:cubicBezTo>
                  <a:cubicBezTo>
                    <a:pt x="6" y="2"/>
                    <a:pt x="7" y="2"/>
                    <a:pt x="7" y="1"/>
                  </a:cubicBezTo>
                  <a:cubicBezTo>
                    <a:pt x="8" y="1"/>
                    <a:pt x="9" y="1"/>
                    <a:pt x="10" y="1"/>
                  </a:cubicBezTo>
                  <a:cubicBezTo>
                    <a:pt x="8" y="1"/>
                    <a:pt x="6" y="1"/>
                    <a:pt x="4" y="1"/>
                  </a:cubicBezTo>
                  <a:cubicBezTo>
                    <a:pt x="5" y="0"/>
                    <a:pt x="1" y="2"/>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88" name="Freeform 2140">
              <a:extLst>
                <a:ext uri="{FF2B5EF4-FFF2-40B4-BE49-F238E27FC236}">
                  <a16:creationId xmlns:a16="http://schemas.microsoft.com/office/drawing/2014/main" id="{C331B00F-35B3-4FEC-A07C-FD80BCD1C830}"/>
                </a:ext>
              </a:extLst>
            </p:cNvPr>
            <p:cNvSpPr>
              <a:spLocks/>
            </p:cNvSpPr>
            <p:nvPr/>
          </p:nvSpPr>
          <p:spPr bwMode="auto">
            <a:xfrm>
              <a:off x="8008" y="1380"/>
              <a:ext cx="33" cy="12"/>
            </a:xfrm>
            <a:custGeom>
              <a:avLst/>
              <a:gdLst>
                <a:gd name="T0" fmla="*/ 14 w 14"/>
                <a:gd name="T1" fmla="*/ 1 h 5"/>
                <a:gd name="T2" fmla="*/ 12 w 14"/>
                <a:gd name="T3" fmla="*/ 0 h 5"/>
                <a:gd name="T4" fmla="*/ 11 w 14"/>
                <a:gd name="T5" fmla="*/ 2 h 5"/>
                <a:gd name="T6" fmla="*/ 8 w 14"/>
                <a:gd name="T7" fmla="*/ 3 h 5"/>
                <a:gd name="T8" fmla="*/ 6 w 14"/>
                <a:gd name="T9" fmla="*/ 4 h 5"/>
                <a:gd name="T10" fmla="*/ 6 w 14"/>
                <a:gd name="T11" fmla="*/ 4 h 5"/>
                <a:gd name="T12" fmla="*/ 5 w 14"/>
                <a:gd name="T13" fmla="*/ 4 h 5"/>
                <a:gd name="T14" fmla="*/ 4 w 14"/>
                <a:gd name="T15" fmla="*/ 4 h 5"/>
                <a:gd name="T16" fmla="*/ 3 w 14"/>
                <a:gd name="T17" fmla="*/ 5 h 5"/>
                <a:gd name="T18" fmla="*/ 0 w 14"/>
                <a:gd name="T19" fmla="*/ 5 h 5"/>
                <a:gd name="T20" fmla="*/ 7 w 14"/>
                <a:gd name="T21" fmla="*/ 5 h 5"/>
                <a:gd name="T22" fmla="*/ 11 w 14"/>
                <a:gd name="T23" fmla="*/ 4 h 5"/>
                <a:gd name="T24" fmla="*/ 12 w 14"/>
                <a:gd name="T25" fmla="*/ 4 h 5"/>
                <a:gd name="T26" fmla="*/ 13 w 14"/>
                <a:gd name="T27" fmla="*/ 4 h 5"/>
                <a:gd name="T28" fmla="*/ 12 w 14"/>
                <a:gd name="T29" fmla="*/ 2 h 5"/>
                <a:gd name="T30" fmla="*/ 14 w 14"/>
                <a:gd name="T3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5">
                  <a:moveTo>
                    <a:pt x="14" y="1"/>
                  </a:moveTo>
                  <a:cubicBezTo>
                    <a:pt x="14" y="0"/>
                    <a:pt x="13" y="0"/>
                    <a:pt x="12" y="0"/>
                  </a:cubicBezTo>
                  <a:cubicBezTo>
                    <a:pt x="12" y="0"/>
                    <a:pt x="12" y="1"/>
                    <a:pt x="11" y="2"/>
                  </a:cubicBezTo>
                  <a:cubicBezTo>
                    <a:pt x="10" y="3"/>
                    <a:pt x="9" y="3"/>
                    <a:pt x="8" y="3"/>
                  </a:cubicBezTo>
                  <a:cubicBezTo>
                    <a:pt x="8" y="4"/>
                    <a:pt x="7" y="4"/>
                    <a:pt x="6" y="4"/>
                  </a:cubicBezTo>
                  <a:cubicBezTo>
                    <a:pt x="6" y="4"/>
                    <a:pt x="6" y="4"/>
                    <a:pt x="6" y="4"/>
                  </a:cubicBezTo>
                  <a:cubicBezTo>
                    <a:pt x="5" y="4"/>
                    <a:pt x="5" y="4"/>
                    <a:pt x="5" y="4"/>
                  </a:cubicBezTo>
                  <a:cubicBezTo>
                    <a:pt x="5" y="4"/>
                    <a:pt x="4" y="4"/>
                    <a:pt x="4" y="4"/>
                  </a:cubicBezTo>
                  <a:cubicBezTo>
                    <a:pt x="4" y="5"/>
                    <a:pt x="3" y="4"/>
                    <a:pt x="3" y="5"/>
                  </a:cubicBezTo>
                  <a:cubicBezTo>
                    <a:pt x="2" y="5"/>
                    <a:pt x="2" y="5"/>
                    <a:pt x="0" y="5"/>
                  </a:cubicBezTo>
                  <a:cubicBezTo>
                    <a:pt x="3" y="5"/>
                    <a:pt x="5" y="5"/>
                    <a:pt x="7" y="5"/>
                  </a:cubicBezTo>
                  <a:cubicBezTo>
                    <a:pt x="9" y="5"/>
                    <a:pt x="10" y="4"/>
                    <a:pt x="11" y="4"/>
                  </a:cubicBezTo>
                  <a:cubicBezTo>
                    <a:pt x="11" y="4"/>
                    <a:pt x="11" y="4"/>
                    <a:pt x="12" y="4"/>
                  </a:cubicBezTo>
                  <a:cubicBezTo>
                    <a:pt x="12" y="3"/>
                    <a:pt x="13" y="4"/>
                    <a:pt x="13" y="4"/>
                  </a:cubicBezTo>
                  <a:cubicBezTo>
                    <a:pt x="13" y="3"/>
                    <a:pt x="12" y="2"/>
                    <a:pt x="12" y="2"/>
                  </a:cubicBezTo>
                  <a:cubicBezTo>
                    <a:pt x="12" y="2"/>
                    <a:pt x="14" y="2"/>
                    <a:pt x="14"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89" name="Freeform 2141">
              <a:extLst>
                <a:ext uri="{FF2B5EF4-FFF2-40B4-BE49-F238E27FC236}">
                  <a16:creationId xmlns:a16="http://schemas.microsoft.com/office/drawing/2014/main" id="{74092587-9990-4EFC-A5F7-FF415F7D347C}"/>
                </a:ext>
              </a:extLst>
            </p:cNvPr>
            <p:cNvSpPr>
              <a:spLocks/>
            </p:cNvSpPr>
            <p:nvPr/>
          </p:nvSpPr>
          <p:spPr bwMode="auto">
            <a:xfrm>
              <a:off x="7987" y="1397"/>
              <a:ext cx="5" cy="2"/>
            </a:xfrm>
            <a:custGeom>
              <a:avLst/>
              <a:gdLst>
                <a:gd name="T0" fmla="*/ 1 w 2"/>
                <a:gd name="T1" fmla="*/ 1 h 1"/>
                <a:gd name="T2" fmla="*/ 2 w 2"/>
                <a:gd name="T3" fmla="*/ 1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2" y="1"/>
                    <a:pt x="2" y="1"/>
                  </a:cubicBezTo>
                  <a:cubicBezTo>
                    <a:pt x="1" y="0"/>
                    <a:pt x="1" y="0"/>
                    <a:pt x="0" y="0"/>
                  </a:cubicBezTo>
                  <a:cubicBezTo>
                    <a:pt x="0" y="0"/>
                    <a:pt x="1" y="1"/>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90" name="Freeform 2142">
              <a:extLst>
                <a:ext uri="{FF2B5EF4-FFF2-40B4-BE49-F238E27FC236}">
                  <a16:creationId xmlns:a16="http://schemas.microsoft.com/office/drawing/2014/main" id="{B032BF9B-6E2D-4446-A8BF-9E3955172B6F}"/>
                </a:ext>
              </a:extLst>
            </p:cNvPr>
            <p:cNvSpPr>
              <a:spLocks/>
            </p:cNvSpPr>
            <p:nvPr/>
          </p:nvSpPr>
          <p:spPr bwMode="auto">
            <a:xfrm>
              <a:off x="8129" y="1217"/>
              <a:ext cx="4" cy="5"/>
            </a:xfrm>
            <a:custGeom>
              <a:avLst/>
              <a:gdLst>
                <a:gd name="T0" fmla="*/ 1 w 2"/>
                <a:gd name="T1" fmla="*/ 2 h 2"/>
                <a:gd name="T2" fmla="*/ 2 w 2"/>
                <a:gd name="T3" fmla="*/ 0 h 2"/>
                <a:gd name="T4" fmla="*/ 0 w 2"/>
                <a:gd name="T5" fmla="*/ 1 h 2"/>
                <a:gd name="T6" fmla="*/ 1 w 2"/>
                <a:gd name="T7" fmla="*/ 2 h 2"/>
              </a:gdLst>
              <a:ahLst/>
              <a:cxnLst>
                <a:cxn ang="0">
                  <a:pos x="T0" y="T1"/>
                </a:cxn>
                <a:cxn ang="0">
                  <a:pos x="T2" y="T3"/>
                </a:cxn>
                <a:cxn ang="0">
                  <a:pos x="T4" y="T5"/>
                </a:cxn>
                <a:cxn ang="0">
                  <a:pos x="T6" y="T7"/>
                </a:cxn>
              </a:cxnLst>
              <a:rect l="0" t="0" r="r" b="b"/>
              <a:pathLst>
                <a:path w="2" h="2">
                  <a:moveTo>
                    <a:pt x="1" y="2"/>
                  </a:moveTo>
                  <a:cubicBezTo>
                    <a:pt x="2" y="1"/>
                    <a:pt x="2" y="1"/>
                    <a:pt x="2" y="0"/>
                  </a:cubicBezTo>
                  <a:cubicBezTo>
                    <a:pt x="1" y="0"/>
                    <a:pt x="1" y="1"/>
                    <a:pt x="0" y="1"/>
                  </a:cubicBezTo>
                  <a:cubicBezTo>
                    <a:pt x="0" y="1"/>
                    <a:pt x="0" y="2"/>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91" name="Freeform 2143">
              <a:extLst>
                <a:ext uri="{FF2B5EF4-FFF2-40B4-BE49-F238E27FC236}">
                  <a16:creationId xmlns:a16="http://schemas.microsoft.com/office/drawing/2014/main" id="{FBAC8C20-E221-43BD-B554-38758C8E74FE}"/>
                </a:ext>
              </a:extLst>
            </p:cNvPr>
            <p:cNvSpPr>
              <a:spLocks/>
            </p:cNvSpPr>
            <p:nvPr/>
          </p:nvSpPr>
          <p:spPr bwMode="auto">
            <a:xfrm>
              <a:off x="7982" y="1397"/>
              <a:ext cx="5" cy="5"/>
            </a:xfrm>
            <a:custGeom>
              <a:avLst/>
              <a:gdLst>
                <a:gd name="T0" fmla="*/ 1 w 2"/>
                <a:gd name="T1" fmla="*/ 2 h 2"/>
                <a:gd name="T2" fmla="*/ 1 w 2"/>
                <a:gd name="T3" fmla="*/ 1 h 2"/>
                <a:gd name="T4" fmla="*/ 1 w 2"/>
                <a:gd name="T5" fmla="*/ 0 h 2"/>
                <a:gd name="T6" fmla="*/ 1 w 2"/>
                <a:gd name="T7" fmla="*/ 2 h 2"/>
              </a:gdLst>
              <a:ahLst/>
              <a:cxnLst>
                <a:cxn ang="0">
                  <a:pos x="T0" y="T1"/>
                </a:cxn>
                <a:cxn ang="0">
                  <a:pos x="T2" y="T3"/>
                </a:cxn>
                <a:cxn ang="0">
                  <a:pos x="T4" y="T5"/>
                </a:cxn>
                <a:cxn ang="0">
                  <a:pos x="T6" y="T7"/>
                </a:cxn>
              </a:cxnLst>
              <a:rect l="0" t="0" r="r" b="b"/>
              <a:pathLst>
                <a:path w="2" h="2">
                  <a:moveTo>
                    <a:pt x="1" y="2"/>
                  </a:moveTo>
                  <a:cubicBezTo>
                    <a:pt x="1" y="2"/>
                    <a:pt x="2" y="1"/>
                    <a:pt x="1" y="1"/>
                  </a:cubicBezTo>
                  <a:cubicBezTo>
                    <a:pt x="1" y="0"/>
                    <a:pt x="1" y="0"/>
                    <a:pt x="1" y="0"/>
                  </a:cubicBezTo>
                  <a:cubicBezTo>
                    <a:pt x="0" y="0"/>
                    <a:pt x="0" y="1"/>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92" name="Freeform 2144">
              <a:extLst>
                <a:ext uri="{FF2B5EF4-FFF2-40B4-BE49-F238E27FC236}">
                  <a16:creationId xmlns:a16="http://schemas.microsoft.com/office/drawing/2014/main" id="{58F3DA88-56D6-4384-833B-573534AD1321}"/>
                </a:ext>
              </a:extLst>
            </p:cNvPr>
            <p:cNvSpPr>
              <a:spLocks/>
            </p:cNvSpPr>
            <p:nvPr/>
          </p:nvSpPr>
          <p:spPr bwMode="auto">
            <a:xfrm>
              <a:off x="7970" y="1395"/>
              <a:ext cx="15" cy="11"/>
            </a:xfrm>
            <a:custGeom>
              <a:avLst/>
              <a:gdLst>
                <a:gd name="T0" fmla="*/ 0 w 6"/>
                <a:gd name="T1" fmla="*/ 5 h 5"/>
                <a:gd name="T2" fmla="*/ 1 w 6"/>
                <a:gd name="T3" fmla="*/ 3 h 5"/>
                <a:gd name="T4" fmla="*/ 2 w 6"/>
                <a:gd name="T5" fmla="*/ 4 h 5"/>
                <a:gd name="T6" fmla="*/ 2 w 6"/>
                <a:gd name="T7" fmla="*/ 4 h 5"/>
                <a:gd name="T8" fmla="*/ 4 w 6"/>
                <a:gd name="T9" fmla="*/ 3 h 5"/>
                <a:gd name="T10" fmla="*/ 4 w 6"/>
                <a:gd name="T11" fmla="*/ 3 h 5"/>
                <a:gd name="T12" fmla="*/ 5 w 6"/>
                <a:gd name="T13" fmla="*/ 3 h 5"/>
                <a:gd name="T14" fmla="*/ 3 w 6"/>
                <a:gd name="T15" fmla="*/ 1 h 5"/>
                <a:gd name="T16" fmla="*/ 3 w 6"/>
                <a:gd name="T17" fmla="*/ 0 h 5"/>
                <a:gd name="T18" fmla="*/ 2 w 6"/>
                <a:gd name="T19" fmla="*/ 0 h 5"/>
                <a:gd name="T20" fmla="*/ 2 w 6"/>
                <a:gd name="T21" fmla="*/ 2 h 5"/>
                <a:gd name="T22" fmla="*/ 0 w 6"/>
                <a:gd name="T23" fmla="*/ 2 h 5"/>
                <a:gd name="T24" fmla="*/ 0 w 6"/>
                <a:gd name="T2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5">
                  <a:moveTo>
                    <a:pt x="0" y="5"/>
                  </a:moveTo>
                  <a:cubicBezTo>
                    <a:pt x="0" y="4"/>
                    <a:pt x="0" y="4"/>
                    <a:pt x="1" y="3"/>
                  </a:cubicBezTo>
                  <a:cubicBezTo>
                    <a:pt x="1" y="4"/>
                    <a:pt x="1" y="4"/>
                    <a:pt x="2" y="4"/>
                  </a:cubicBezTo>
                  <a:cubicBezTo>
                    <a:pt x="3" y="4"/>
                    <a:pt x="2" y="4"/>
                    <a:pt x="2" y="4"/>
                  </a:cubicBezTo>
                  <a:cubicBezTo>
                    <a:pt x="3" y="3"/>
                    <a:pt x="3" y="4"/>
                    <a:pt x="4" y="3"/>
                  </a:cubicBezTo>
                  <a:cubicBezTo>
                    <a:pt x="4" y="3"/>
                    <a:pt x="4" y="3"/>
                    <a:pt x="4" y="3"/>
                  </a:cubicBezTo>
                  <a:cubicBezTo>
                    <a:pt x="4" y="3"/>
                    <a:pt x="5" y="3"/>
                    <a:pt x="5" y="3"/>
                  </a:cubicBezTo>
                  <a:cubicBezTo>
                    <a:pt x="6" y="2"/>
                    <a:pt x="4" y="1"/>
                    <a:pt x="3" y="1"/>
                  </a:cubicBezTo>
                  <a:cubicBezTo>
                    <a:pt x="3" y="0"/>
                    <a:pt x="4" y="0"/>
                    <a:pt x="3" y="0"/>
                  </a:cubicBezTo>
                  <a:cubicBezTo>
                    <a:pt x="3" y="0"/>
                    <a:pt x="2" y="0"/>
                    <a:pt x="2" y="0"/>
                  </a:cubicBezTo>
                  <a:cubicBezTo>
                    <a:pt x="1" y="0"/>
                    <a:pt x="2" y="2"/>
                    <a:pt x="2" y="2"/>
                  </a:cubicBezTo>
                  <a:cubicBezTo>
                    <a:pt x="2" y="2"/>
                    <a:pt x="1" y="2"/>
                    <a:pt x="0" y="2"/>
                  </a:cubicBezTo>
                  <a:cubicBezTo>
                    <a:pt x="0" y="2"/>
                    <a:pt x="0" y="4"/>
                    <a:pt x="0"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93" name="Freeform 2145">
              <a:extLst>
                <a:ext uri="{FF2B5EF4-FFF2-40B4-BE49-F238E27FC236}">
                  <a16:creationId xmlns:a16="http://schemas.microsoft.com/office/drawing/2014/main" id="{A5652DF6-3129-4C29-935B-E303E21C87A5}"/>
                </a:ext>
              </a:extLst>
            </p:cNvPr>
            <p:cNvSpPr>
              <a:spLocks/>
            </p:cNvSpPr>
            <p:nvPr/>
          </p:nvSpPr>
          <p:spPr bwMode="auto">
            <a:xfrm>
              <a:off x="8143" y="1359"/>
              <a:ext cx="2" cy="2"/>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1"/>
                    <a:pt x="0" y="1"/>
                    <a:pt x="0" y="1"/>
                  </a:cubicBezTo>
                  <a:cubicBezTo>
                    <a:pt x="0" y="1"/>
                    <a:pt x="1" y="1"/>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94" name="Freeform 2146">
              <a:extLst>
                <a:ext uri="{FF2B5EF4-FFF2-40B4-BE49-F238E27FC236}">
                  <a16:creationId xmlns:a16="http://schemas.microsoft.com/office/drawing/2014/main" id="{007F15F6-B8B3-439A-8674-C2C3970FFA57}"/>
                </a:ext>
              </a:extLst>
            </p:cNvPr>
            <p:cNvSpPr>
              <a:spLocks/>
            </p:cNvSpPr>
            <p:nvPr/>
          </p:nvSpPr>
          <p:spPr bwMode="auto">
            <a:xfrm>
              <a:off x="8162" y="1343"/>
              <a:ext cx="24" cy="21"/>
            </a:xfrm>
            <a:custGeom>
              <a:avLst/>
              <a:gdLst>
                <a:gd name="T0" fmla="*/ 6 w 10"/>
                <a:gd name="T1" fmla="*/ 4 h 9"/>
                <a:gd name="T2" fmla="*/ 4 w 10"/>
                <a:gd name="T3" fmla="*/ 4 h 9"/>
                <a:gd name="T4" fmla="*/ 2 w 10"/>
                <a:gd name="T5" fmla="*/ 5 h 9"/>
                <a:gd name="T6" fmla="*/ 2 w 10"/>
                <a:gd name="T7" fmla="*/ 7 h 9"/>
                <a:gd name="T8" fmla="*/ 1 w 10"/>
                <a:gd name="T9" fmla="*/ 8 h 9"/>
                <a:gd name="T10" fmla="*/ 1 w 10"/>
                <a:gd name="T11" fmla="*/ 8 h 9"/>
                <a:gd name="T12" fmla="*/ 0 w 10"/>
                <a:gd name="T13" fmla="*/ 9 h 9"/>
                <a:gd name="T14" fmla="*/ 10 w 10"/>
                <a:gd name="T15" fmla="*/ 2 h 9"/>
                <a:gd name="T16" fmla="*/ 10 w 10"/>
                <a:gd name="T17" fmla="*/ 0 h 9"/>
                <a:gd name="T18" fmla="*/ 6 w 10"/>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9">
                  <a:moveTo>
                    <a:pt x="6" y="4"/>
                  </a:moveTo>
                  <a:cubicBezTo>
                    <a:pt x="6" y="4"/>
                    <a:pt x="4" y="4"/>
                    <a:pt x="4" y="4"/>
                  </a:cubicBezTo>
                  <a:cubicBezTo>
                    <a:pt x="3" y="4"/>
                    <a:pt x="2" y="5"/>
                    <a:pt x="2" y="5"/>
                  </a:cubicBezTo>
                  <a:cubicBezTo>
                    <a:pt x="2" y="6"/>
                    <a:pt x="2" y="6"/>
                    <a:pt x="2" y="7"/>
                  </a:cubicBezTo>
                  <a:cubicBezTo>
                    <a:pt x="2" y="7"/>
                    <a:pt x="1" y="7"/>
                    <a:pt x="1" y="8"/>
                  </a:cubicBezTo>
                  <a:cubicBezTo>
                    <a:pt x="1" y="8"/>
                    <a:pt x="1" y="8"/>
                    <a:pt x="1" y="8"/>
                  </a:cubicBezTo>
                  <a:cubicBezTo>
                    <a:pt x="1" y="9"/>
                    <a:pt x="0" y="8"/>
                    <a:pt x="0" y="9"/>
                  </a:cubicBezTo>
                  <a:cubicBezTo>
                    <a:pt x="3" y="7"/>
                    <a:pt x="7" y="4"/>
                    <a:pt x="10" y="2"/>
                  </a:cubicBezTo>
                  <a:cubicBezTo>
                    <a:pt x="10" y="1"/>
                    <a:pt x="10" y="1"/>
                    <a:pt x="10" y="0"/>
                  </a:cubicBezTo>
                  <a:cubicBezTo>
                    <a:pt x="7" y="0"/>
                    <a:pt x="5" y="1"/>
                    <a:pt x="6"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95" name="Freeform 2147">
              <a:extLst>
                <a:ext uri="{FF2B5EF4-FFF2-40B4-BE49-F238E27FC236}">
                  <a16:creationId xmlns:a16="http://schemas.microsoft.com/office/drawing/2014/main" id="{C6A48794-0FEC-4D68-A138-358CA41BB4FD}"/>
                </a:ext>
              </a:extLst>
            </p:cNvPr>
            <p:cNvSpPr>
              <a:spLocks/>
            </p:cNvSpPr>
            <p:nvPr/>
          </p:nvSpPr>
          <p:spPr bwMode="auto">
            <a:xfrm>
              <a:off x="8183" y="902"/>
              <a:ext cx="3" cy="5"/>
            </a:xfrm>
            <a:custGeom>
              <a:avLst/>
              <a:gdLst>
                <a:gd name="T0" fmla="*/ 1 w 1"/>
                <a:gd name="T1" fmla="*/ 0 h 2"/>
                <a:gd name="T2" fmla="*/ 1 w 1"/>
                <a:gd name="T3" fmla="*/ 2 h 2"/>
                <a:gd name="T4" fmla="*/ 1 w 1"/>
                <a:gd name="T5" fmla="*/ 2 h 2"/>
                <a:gd name="T6" fmla="*/ 1 w 1"/>
                <a:gd name="T7" fmla="*/ 0 h 2"/>
              </a:gdLst>
              <a:ahLst/>
              <a:cxnLst>
                <a:cxn ang="0">
                  <a:pos x="T0" y="T1"/>
                </a:cxn>
                <a:cxn ang="0">
                  <a:pos x="T2" y="T3"/>
                </a:cxn>
                <a:cxn ang="0">
                  <a:pos x="T4" y="T5"/>
                </a:cxn>
                <a:cxn ang="0">
                  <a:pos x="T6" y="T7"/>
                </a:cxn>
              </a:cxnLst>
              <a:rect l="0" t="0" r="r" b="b"/>
              <a:pathLst>
                <a:path w="1" h="2">
                  <a:moveTo>
                    <a:pt x="1" y="0"/>
                  </a:moveTo>
                  <a:cubicBezTo>
                    <a:pt x="0" y="1"/>
                    <a:pt x="0" y="1"/>
                    <a:pt x="1" y="2"/>
                  </a:cubicBezTo>
                  <a:cubicBezTo>
                    <a:pt x="1" y="2"/>
                    <a:pt x="1" y="2"/>
                    <a:pt x="1" y="2"/>
                  </a:cubicBezTo>
                  <a:cubicBezTo>
                    <a:pt x="0" y="2"/>
                    <a:pt x="1" y="1"/>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96" name="Freeform 2148">
              <a:extLst>
                <a:ext uri="{FF2B5EF4-FFF2-40B4-BE49-F238E27FC236}">
                  <a16:creationId xmlns:a16="http://schemas.microsoft.com/office/drawing/2014/main" id="{2260A97F-40A9-4BA4-82ED-5D2A5166AA76}"/>
                </a:ext>
              </a:extLst>
            </p:cNvPr>
            <p:cNvSpPr>
              <a:spLocks/>
            </p:cNvSpPr>
            <p:nvPr/>
          </p:nvSpPr>
          <p:spPr bwMode="auto">
            <a:xfrm>
              <a:off x="7715" y="1359"/>
              <a:ext cx="21" cy="10"/>
            </a:xfrm>
            <a:custGeom>
              <a:avLst/>
              <a:gdLst>
                <a:gd name="T0" fmla="*/ 4 w 9"/>
                <a:gd name="T1" fmla="*/ 1 h 4"/>
                <a:gd name="T2" fmla="*/ 0 w 9"/>
                <a:gd name="T3" fmla="*/ 2 h 4"/>
                <a:gd name="T4" fmla="*/ 4 w 9"/>
                <a:gd name="T5" fmla="*/ 4 h 4"/>
                <a:gd name="T6" fmla="*/ 6 w 9"/>
                <a:gd name="T7" fmla="*/ 3 h 4"/>
                <a:gd name="T8" fmla="*/ 6 w 9"/>
                <a:gd name="T9" fmla="*/ 4 h 4"/>
                <a:gd name="T10" fmla="*/ 8 w 9"/>
                <a:gd name="T11" fmla="*/ 3 h 4"/>
                <a:gd name="T12" fmla="*/ 9 w 9"/>
                <a:gd name="T13" fmla="*/ 3 h 4"/>
                <a:gd name="T14" fmla="*/ 6 w 9"/>
                <a:gd name="T15" fmla="*/ 1 h 4"/>
                <a:gd name="T16" fmla="*/ 4 w 9"/>
                <a:gd name="T1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4">
                  <a:moveTo>
                    <a:pt x="4" y="1"/>
                  </a:moveTo>
                  <a:cubicBezTo>
                    <a:pt x="2" y="0"/>
                    <a:pt x="1" y="1"/>
                    <a:pt x="0" y="2"/>
                  </a:cubicBezTo>
                  <a:cubicBezTo>
                    <a:pt x="1" y="3"/>
                    <a:pt x="3" y="3"/>
                    <a:pt x="4" y="4"/>
                  </a:cubicBezTo>
                  <a:cubicBezTo>
                    <a:pt x="5" y="4"/>
                    <a:pt x="5" y="3"/>
                    <a:pt x="6" y="3"/>
                  </a:cubicBezTo>
                  <a:cubicBezTo>
                    <a:pt x="6" y="3"/>
                    <a:pt x="6" y="4"/>
                    <a:pt x="6" y="4"/>
                  </a:cubicBezTo>
                  <a:cubicBezTo>
                    <a:pt x="7" y="3"/>
                    <a:pt x="7" y="3"/>
                    <a:pt x="8" y="3"/>
                  </a:cubicBezTo>
                  <a:cubicBezTo>
                    <a:pt x="8" y="3"/>
                    <a:pt x="9" y="3"/>
                    <a:pt x="9" y="3"/>
                  </a:cubicBezTo>
                  <a:cubicBezTo>
                    <a:pt x="9" y="2"/>
                    <a:pt x="7" y="1"/>
                    <a:pt x="6" y="1"/>
                  </a:cubicBezTo>
                  <a:cubicBezTo>
                    <a:pt x="8" y="1"/>
                    <a:pt x="4" y="1"/>
                    <a:pt x="4"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97" name="Freeform 2149">
              <a:extLst>
                <a:ext uri="{FF2B5EF4-FFF2-40B4-BE49-F238E27FC236}">
                  <a16:creationId xmlns:a16="http://schemas.microsoft.com/office/drawing/2014/main" id="{5E51ECCB-01D8-48C8-9705-0644B57D2756}"/>
                </a:ext>
              </a:extLst>
            </p:cNvPr>
            <p:cNvSpPr>
              <a:spLocks/>
            </p:cNvSpPr>
            <p:nvPr/>
          </p:nvSpPr>
          <p:spPr bwMode="auto">
            <a:xfrm>
              <a:off x="7826" y="1390"/>
              <a:ext cx="14" cy="9"/>
            </a:xfrm>
            <a:custGeom>
              <a:avLst/>
              <a:gdLst>
                <a:gd name="T0" fmla="*/ 6 w 6"/>
                <a:gd name="T1" fmla="*/ 0 h 4"/>
                <a:gd name="T2" fmla="*/ 2 w 6"/>
                <a:gd name="T3" fmla="*/ 4 h 4"/>
                <a:gd name="T4" fmla="*/ 5 w 6"/>
                <a:gd name="T5" fmla="*/ 2 h 4"/>
                <a:gd name="T6" fmla="*/ 5 w 6"/>
                <a:gd name="T7" fmla="*/ 1 h 4"/>
                <a:gd name="T8" fmla="*/ 6 w 6"/>
                <a:gd name="T9" fmla="*/ 0 h 4"/>
              </a:gdLst>
              <a:ahLst/>
              <a:cxnLst>
                <a:cxn ang="0">
                  <a:pos x="T0" y="T1"/>
                </a:cxn>
                <a:cxn ang="0">
                  <a:pos x="T2" y="T3"/>
                </a:cxn>
                <a:cxn ang="0">
                  <a:pos x="T4" y="T5"/>
                </a:cxn>
                <a:cxn ang="0">
                  <a:pos x="T6" y="T7"/>
                </a:cxn>
                <a:cxn ang="0">
                  <a:pos x="T8" y="T9"/>
                </a:cxn>
              </a:cxnLst>
              <a:rect l="0" t="0" r="r" b="b"/>
              <a:pathLst>
                <a:path w="6" h="4">
                  <a:moveTo>
                    <a:pt x="6" y="0"/>
                  </a:moveTo>
                  <a:cubicBezTo>
                    <a:pt x="5" y="1"/>
                    <a:pt x="0" y="2"/>
                    <a:pt x="2" y="4"/>
                  </a:cubicBezTo>
                  <a:cubicBezTo>
                    <a:pt x="3" y="1"/>
                    <a:pt x="4" y="3"/>
                    <a:pt x="5" y="2"/>
                  </a:cubicBezTo>
                  <a:cubicBezTo>
                    <a:pt x="5" y="2"/>
                    <a:pt x="5" y="2"/>
                    <a:pt x="5" y="1"/>
                  </a:cubicBezTo>
                  <a:cubicBezTo>
                    <a:pt x="5" y="1"/>
                    <a:pt x="6" y="0"/>
                    <a:pt x="6"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98" name="Freeform 2150">
              <a:extLst>
                <a:ext uri="{FF2B5EF4-FFF2-40B4-BE49-F238E27FC236}">
                  <a16:creationId xmlns:a16="http://schemas.microsoft.com/office/drawing/2014/main" id="{7CBC41FA-5659-43EB-A72D-7D148023E820}"/>
                </a:ext>
              </a:extLst>
            </p:cNvPr>
            <p:cNvSpPr>
              <a:spLocks/>
            </p:cNvSpPr>
            <p:nvPr/>
          </p:nvSpPr>
          <p:spPr bwMode="auto">
            <a:xfrm>
              <a:off x="7736" y="1376"/>
              <a:ext cx="10" cy="7"/>
            </a:xfrm>
            <a:custGeom>
              <a:avLst/>
              <a:gdLst>
                <a:gd name="T0" fmla="*/ 3 w 4"/>
                <a:gd name="T1" fmla="*/ 3 h 3"/>
                <a:gd name="T2" fmla="*/ 4 w 4"/>
                <a:gd name="T3" fmla="*/ 0 h 3"/>
                <a:gd name="T4" fmla="*/ 1 w 4"/>
                <a:gd name="T5" fmla="*/ 1 h 3"/>
                <a:gd name="T6" fmla="*/ 0 w 4"/>
                <a:gd name="T7" fmla="*/ 2 h 3"/>
                <a:gd name="T8" fmla="*/ 3 w 4"/>
                <a:gd name="T9" fmla="*/ 3 h 3"/>
              </a:gdLst>
              <a:ahLst/>
              <a:cxnLst>
                <a:cxn ang="0">
                  <a:pos x="T0" y="T1"/>
                </a:cxn>
                <a:cxn ang="0">
                  <a:pos x="T2" y="T3"/>
                </a:cxn>
                <a:cxn ang="0">
                  <a:pos x="T4" y="T5"/>
                </a:cxn>
                <a:cxn ang="0">
                  <a:pos x="T6" y="T7"/>
                </a:cxn>
                <a:cxn ang="0">
                  <a:pos x="T8" y="T9"/>
                </a:cxn>
              </a:cxnLst>
              <a:rect l="0" t="0" r="r" b="b"/>
              <a:pathLst>
                <a:path w="4" h="3">
                  <a:moveTo>
                    <a:pt x="3" y="3"/>
                  </a:moveTo>
                  <a:cubicBezTo>
                    <a:pt x="3" y="2"/>
                    <a:pt x="3" y="1"/>
                    <a:pt x="4" y="0"/>
                  </a:cubicBezTo>
                  <a:cubicBezTo>
                    <a:pt x="2" y="0"/>
                    <a:pt x="3" y="1"/>
                    <a:pt x="1" y="1"/>
                  </a:cubicBezTo>
                  <a:cubicBezTo>
                    <a:pt x="1" y="1"/>
                    <a:pt x="0" y="1"/>
                    <a:pt x="0" y="2"/>
                  </a:cubicBezTo>
                  <a:cubicBezTo>
                    <a:pt x="1" y="2"/>
                    <a:pt x="2" y="2"/>
                    <a:pt x="3"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99" name="Freeform 2151">
              <a:extLst>
                <a:ext uri="{FF2B5EF4-FFF2-40B4-BE49-F238E27FC236}">
                  <a16:creationId xmlns:a16="http://schemas.microsoft.com/office/drawing/2014/main" id="{07989D2F-D8E1-4BAB-ACBA-E5DF04BC91DE}"/>
                </a:ext>
              </a:extLst>
            </p:cNvPr>
            <p:cNvSpPr>
              <a:spLocks/>
            </p:cNvSpPr>
            <p:nvPr/>
          </p:nvSpPr>
          <p:spPr bwMode="auto">
            <a:xfrm>
              <a:off x="7989" y="1390"/>
              <a:ext cx="5" cy="5"/>
            </a:xfrm>
            <a:custGeom>
              <a:avLst/>
              <a:gdLst>
                <a:gd name="T0" fmla="*/ 0 w 2"/>
                <a:gd name="T1" fmla="*/ 0 h 2"/>
                <a:gd name="T2" fmla="*/ 1 w 2"/>
                <a:gd name="T3" fmla="*/ 2 h 2"/>
                <a:gd name="T4" fmla="*/ 0 w 2"/>
                <a:gd name="T5" fmla="*/ 0 h 2"/>
              </a:gdLst>
              <a:ahLst/>
              <a:cxnLst>
                <a:cxn ang="0">
                  <a:pos x="T0" y="T1"/>
                </a:cxn>
                <a:cxn ang="0">
                  <a:pos x="T2" y="T3"/>
                </a:cxn>
                <a:cxn ang="0">
                  <a:pos x="T4" y="T5"/>
                </a:cxn>
              </a:cxnLst>
              <a:rect l="0" t="0" r="r" b="b"/>
              <a:pathLst>
                <a:path w="2" h="2">
                  <a:moveTo>
                    <a:pt x="0" y="0"/>
                  </a:moveTo>
                  <a:cubicBezTo>
                    <a:pt x="0" y="1"/>
                    <a:pt x="0" y="1"/>
                    <a:pt x="1" y="2"/>
                  </a:cubicBezTo>
                  <a:cubicBezTo>
                    <a:pt x="2" y="1"/>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00" name="Freeform 2152">
              <a:extLst>
                <a:ext uri="{FF2B5EF4-FFF2-40B4-BE49-F238E27FC236}">
                  <a16:creationId xmlns:a16="http://schemas.microsoft.com/office/drawing/2014/main" id="{950DBC42-D6F8-4972-8BF6-82EDC5812777}"/>
                </a:ext>
              </a:extLst>
            </p:cNvPr>
            <p:cNvSpPr>
              <a:spLocks/>
            </p:cNvSpPr>
            <p:nvPr/>
          </p:nvSpPr>
          <p:spPr bwMode="auto">
            <a:xfrm>
              <a:off x="8119" y="1371"/>
              <a:ext cx="5" cy="5"/>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1"/>
                    <a:pt x="1" y="1"/>
                    <a:pt x="0" y="1"/>
                  </a:cubicBezTo>
                  <a:cubicBezTo>
                    <a:pt x="1" y="2"/>
                    <a:pt x="2" y="1"/>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01" name="Freeform 2153">
              <a:extLst>
                <a:ext uri="{FF2B5EF4-FFF2-40B4-BE49-F238E27FC236}">
                  <a16:creationId xmlns:a16="http://schemas.microsoft.com/office/drawing/2014/main" id="{27D109AA-CADC-4DA6-B10C-51320822FCC4}"/>
                </a:ext>
              </a:extLst>
            </p:cNvPr>
            <p:cNvSpPr>
              <a:spLocks/>
            </p:cNvSpPr>
            <p:nvPr/>
          </p:nvSpPr>
          <p:spPr bwMode="auto">
            <a:xfrm>
              <a:off x="7883" y="1392"/>
              <a:ext cx="7" cy="5"/>
            </a:xfrm>
            <a:custGeom>
              <a:avLst/>
              <a:gdLst>
                <a:gd name="T0" fmla="*/ 2 w 3"/>
                <a:gd name="T1" fmla="*/ 2 h 2"/>
                <a:gd name="T2" fmla="*/ 2 w 3"/>
                <a:gd name="T3" fmla="*/ 0 h 2"/>
                <a:gd name="T4" fmla="*/ 0 w 3"/>
                <a:gd name="T5" fmla="*/ 1 h 2"/>
                <a:gd name="T6" fmla="*/ 2 w 3"/>
                <a:gd name="T7" fmla="*/ 2 h 2"/>
              </a:gdLst>
              <a:ahLst/>
              <a:cxnLst>
                <a:cxn ang="0">
                  <a:pos x="T0" y="T1"/>
                </a:cxn>
                <a:cxn ang="0">
                  <a:pos x="T2" y="T3"/>
                </a:cxn>
                <a:cxn ang="0">
                  <a:pos x="T4" y="T5"/>
                </a:cxn>
                <a:cxn ang="0">
                  <a:pos x="T6" y="T7"/>
                </a:cxn>
              </a:cxnLst>
              <a:rect l="0" t="0" r="r" b="b"/>
              <a:pathLst>
                <a:path w="3" h="2">
                  <a:moveTo>
                    <a:pt x="2" y="2"/>
                  </a:moveTo>
                  <a:cubicBezTo>
                    <a:pt x="3" y="2"/>
                    <a:pt x="3" y="1"/>
                    <a:pt x="2" y="0"/>
                  </a:cubicBezTo>
                  <a:cubicBezTo>
                    <a:pt x="2" y="0"/>
                    <a:pt x="1" y="0"/>
                    <a:pt x="0" y="1"/>
                  </a:cubicBezTo>
                  <a:cubicBezTo>
                    <a:pt x="1" y="1"/>
                    <a:pt x="1" y="2"/>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02" name="Freeform 2154">
              <a:extLst>
                <a:ext uri="{FF2B5EF4-FFF2-40B4-BE49-F238E27FC236}">
                  <a16:creationId xmlns:a16="http://schemas.microsoft.com/office/drawing/2014/main" id="{EE4C7D49-B225-4812-91FE-502F00A1D892}"/>
                </a:ext>
              </a:extLst>
            </p:cNvPr>
            <p:cNvSpPr>
              <a:spLocks/>
            </p:cNvSpPr>
            <p:nvPr/>
          </p:nvSpPr>
          <p:spPr bwMode="auto">
            <a:xfrm>
              <a:off x="8074" y="1378"/>
              <a:ext cx="7" cy="7"/>
            </a:xfrm>
            <a:custGeom>
              <a:avLst/>
              <a:gdLst>
                <a:gd name="T0" fmla="*/ 1 w 3"/>
                <a:gd name="T1" fmla="*/ 3 h 3"/>
                <a:gd name="T2" fmla="*/ 3 w 3"/>
                <a:gd name="T3" fmla="*/ 2 h 3"/>
                <a:gd name="T4" fmla="*/ 1 w 3"/>
                <a:gd name="T5" fmla="*/ 3 h 3"/>
              </a:gdLst>
              <a:ahLst/>
              <a:cxnLst>
                <a:cxn ang="0">
                  <a:pos x="T0" y="T1"/>
                </a:cxn>
                <a:cxn ang="0">
                  <a:pos x="T2" y="T3"/>
                </a:cxn>
                <a:cxn ang="0">
                  <a:pos x="T4" y="T5"/>
                </a:cxn>
              </a:cxnLst>
              <a:rect l="0" t="0" r="r" b="b"/>
              <a:pathLst>
                <a:path w="3" h="3">
                  <a:moveTo>
                    <a:pt x="1" y="3"/>
                  </a:moveTo>
                  <a:cubicBezTo>
                    <a:pt x="1" y="3"/>
                    <a:pt x="3" y="2"/>
                    <a:pt x="3" y="2"/>
                  </a:cubicBezTo>
                  <a:cubicBezTo>
                    <a:pt x="2" y="0"/>
                    <a:pt x="0" y="1"/>
                    <a:pt x="1"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03" name="Freeform 2155">
              <a:extLst>
                <a:ext uri="{FF2B5EF4-FFF2-40B4-BE49-F238E27FC236}">
                  <a16:creationId xmlns:a16="http://schemas.microsoft.com/office/drawing/2014/main" id="{3B065B98-CC70-4117-9C8E-257BD94FFEAF}"/>
                </a:ext>
              </a:extLst>
            </p:cNvPr>
            <p:cNvSpPr>
              <a:spLocks/>
            </p:cNvSpPr>
            <p:nvPr/>
          </p:nvSpPr>
          <p:spPr bwMode="auto">
            <a:xfrm>
              <a:off x="8074" y="1104"/>
              <a:ext cx="7" cy="4"/>
            </a:xfrm>
            <a:custGeom>
              <a:avLst/>
              <a:gdLst>
                <a:gd name="T0" fmla="*/ 0 w 3"/>
                <a:gd name="T1" fmla="*/ 1 h 2"/>
                <a:gd name="T2" fmla="*/ 3 w 3"/>
                <a:gd name="T3" fmla="*/ 2 h 2"/>
                <a:gd name="T4" fmla="*/ 0 w 3"/>
                <a:gd name="T5" fmla="*/ 1 h 2"/>
              </a:gdLst>
              <a:ahLst/>
              <a:cxnLst>
                <a:cxn ang="0">
                  <a:pos x="T0" y="T1"/>
                </a:cxn>
                <a:cxn ang="0">
                  <a:pos x="T2" y="T3"/>
                </a:cxn>
                <a:cxn ang="0">
                  <a:pos x="T4" y="T5"/>
                </a:cxn>
              </a:cxnLst>
              <a:rect l="0" t="0" r="r" b="b"/>
              <a:pathLst>
                <a:path w="3" h="2">
                  <a:moveTo>
                    <a:pt x="0" y="1"/>
                  </a:moveTo>
                  <a:cubicBezTo>
                    <a:pt x="1" y="1"/>
                    <a:pt x="2" y="2"/>
                    <a:pt x="3" y="2"/>
                  </a:cubicBezTo>
                  <a:cubicBezTo>
                    <a:pt x="2" y="0"/>
                    <a:pt x="2"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04" name="Freeform 2156">
              <a:extLst>
                <a:ext uri="{FF2B5EF4-FFF2-40B4-BE49-F238E27FC236}">
                  <a16:creationId xmlns:a16="http://schemas.microsoft.com/office/drawing/2014/main" id="{897AC6A5-1A92-46C4-BA01-F57C78A65F69}"/>
                </a:ext>
              </a:extLst>
            </p:cNvPr>
            <p:cNvSpPr>
              <a:spLocks/>
            </p:cNvSpPr>
            <p:nvPr/>
          </p:nvSpPr>
          <p:spPr bwMode="auto">
            <a:xfrm>
              <a:off x="8065" y="1099"/>
              <a:ext cx="5" cy="5"/>
            </a:xfrm>
            <a:custGeom>
              <a:avLst/>
              <a:gdLst>
                <a:gd name="T0" fmla="*/ 1 w 2"/>
                <a:gd name="T1" fmla="*/ 1 h 2"/>
                <a:gd name="T2" fmla="*/ 0 w 2"/>
                <a:gd name="T3" fmla="*/ 0 h 2"/>
                <a:gd name="T4" fmla="*/ 0 w 2"/>
                <a:gd name="T5" fmla="*/ 0 h 2"/>
                <a:gd name="T6" fmla="*/ 2 w 2"/>
                <a:gd name="T7" fmla="*/ 2 h 2"/>
                <a:gd name="T8" fmla="*/ 1 w 2"/>
                <a:gd name="T9" fmla="*/ 1 h 2"/>
              </a:gdLst>
              <a:ahLst/>
              <a:cxnLst>
                <a:cxn ang="0">
                  <a:pos x="T0" y="T1"/>
                </a:cxn>
                <a:cxn ang="0">
                  <a:pos x="T2" y="T3"/>
                </a:cxn>
                <a:cxn ang="0">
                  <a:pos x="T4" y="T5"/>
                </a:cxn>
                <a:cxn ang="0">
                  <a:pos x="T6" y="T7"/>
                </a:cxn>
                <a:cxn ang="0">
                  <a:pos x="T8" y="T9"/>
                </a:cxn>
              </a:cxnLst>
              <a:rect l="0" t="0" r="r" b="b"/>
              <a:pathLst>
                <a:path w="2" h="2">
                  <a:moveTo>
                    <a:pt x="1" y="1"/>
                  </a:moveTo>
                  <a:cubicBezTo>
                    <a:pt x="0" y="0"/>
                    <a:pt x="1" y="0"/>
                    <a:pt x="0" y="0"/>
                  </a:cubicBezTo>
                  <a:cubicBezTo>
                    <a:pt x="0" y="0"/>
                    <a:pt x="0" y="0"/>
                    <a:pt x="0" y="0"/>
                  </a:cubicBezTo>
                  <a:cubicBezTo>
                    <a:pt x="1" y="1"/>
                    <a:pt x="1" y="1"/>
                    <a:pt x="2" y="2"/>
                  </a:cubicBezTo>
                  <a:cubicBezTo>
                    <a:pt x="2" y="2"/>
                    <a:pt x="1" y="1"/>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05" name="Freeform 2157">
              <a:extLst>
                <a:ext uri="{FF2B5EF4-FFF2-40B4-BE49-F238E27FC236}">
                  <a16:creationId xmlns:a16="http://schemas.microsoft.com/office/drawing/2014/main" id="{1CBB8764-A812-4B9D-ABD5-0A39DB920FBD}"/>
                </a:ext>
              </a:extLst>
            </p:cNvPr>
            <p:cNvSpPr>
              <a:spLocks/>
            </p:cNvSpPr>
            <p:nvPr/>
          </p:nvSpPr>
          <p:spPr bwMode="auto">
            <a:xfrm>
              <a:off x="7956" y="1397"/>
              <a:ext cx="12" cy="7"/>
            </a:xfrm>
            <a:custGeom>
              <a:avLst/>
              <a:gdLst>
                <a:gd name="T0" fmla="*/ 1 w 5"/>
                <a:gd name="T1" fmla="*/ 2 h 3"/>
                <a:gd name="T2" fmla="*/ 3 w 5"/>
                <a:gd name="T3" fmla="*/ 2 h 3"/>
                <a:gd name="T4" fmla="*/ 4 w 5"/>
                <a:gd name="T5" fmla="*/ 1 h 3"/>
                <a:gd name="T6" fmla="*/ 5 w 5"/>
                <a:gd name="T7" fmla="*/ 0 h 3"/>
                <a:gd name="T8" fmla="*/ 0 w 5"/>
                <a:gd name="T9" fmla="*/ 2 h 3"/>
                <a:gd name="T10" fmla="*/ 1 w 5"/>
                <a:gd name="T11" fmla="*/ 2 h 3"/>
              </a:gdLst>
              <a:ahLst/>
              <a:cxnLst>
                <a:cxn ang="0">
                  <a:pos x="T0" y="T1"/>
                </a:cxn>
                <a:cxn ang="0">
                  <a:pos x="T2" y="T3"/>
                </a:cxn>
                <a:cxn ang="0">
                  <a:pos x="T4" y="T5"/>
                </a:cxn>
                <a:cxn ang="0">
                  <a:pos x="T6" y="T7"/>
                </a:cxn>
                <a:cxn ang="0">
                  <a:pos x="T8" y="T9"/>
                </a:cxn>
                <a:cxn ang="0">
                  <a:pos x="T10" y="T11"/>
                </a:cxn>
              </a:cxnLst>
              <a:rect l="0" t="0" r="r" b="b"/>
              <a:pathLst>
                <a:path w="5" h="3">
                  <a:moveTo>
                    <a:pt x="1" y="2"/>
                  </a:moveTo>
                  <a:cubicBezTo>
                    <a:pt x="2" y="2"/>
                    <a:pt x="2" y="3"/>
                    <a:pt x="3" y="2"/>
                  </a:cubicBezTo>
                  <a:cubicBezTo>
                    <a:pt x="4" y="2"/>
                    <a:pt x="3" y="2"/>
                    <a:pt x="4" y="1"/>
                  </a:cubicBezTo>
                  <a:cubicBezTo>
                    <a:pt x="4" y="1"/>
                    <a:pt x="4" y="0"/>
                    <a:pt x="5" y="0"/>
                  </a:cubicBezTo>
                  <a:cubicBezTo>
                    <a:pt x="3" y="1"/>
                    <a:pt x="1" y="2"/>
                    <a:pt x="0" y="2"/>
                  </a:cubicBezTo>
                  <a:cubicBezTo>
                    <a:pt x="0" y="2"/>
                    <a:pt x="1" y="2"/>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06" name="Freeform 2158">
              <a:extLst>
                <a:ext uri="{FF2B5EF4-FFF2-40B4-BE49-F238E27FC236}">
                  <a16:creationId xmlns:a16="http://schemas.microsoft.com/office/drawing/2014/main" id="{89FE7D94-031E-4206-A95D-D249D5F592B4}"/>
                </a:ext>
              </a:extLst>
            </p:cNvPr>
            <p:cNvSpPr>
              <a:spLocks/>
            </p:cNvSpPr>
            <p:nvPr/>
          </p:nvSpPr>
          <p:spPr bwMode="auto">
            <a:xfrm>
              <a:off x="7937" y="1395"/>
              <a:ext cx="17" cy="11"/>
            </a:xfrm>
            <a:custGeom>
              <a:avLst/>
              <a:gdLst>
                <a:gd name="T0" fmla="*/ 4 w 7"/>
                <a:gd name="T1" fmla="*/ 1 h 5"/>
                <a:gd name="T2" fmla="*/ 3 w 7"/>
                <a:gd name="T3" fmla="*/ 0 h 5"/>
                <a:gd name="T4" fmla="*/ 1 w 7"/>
                <a:gd name="T5" fmla="*/ 1 h 5"/>
                <a:gd name="T6" fmla="*/ 4 w 7"/>
                <a:gd name="T7" fmla="*/ 5 h 5"/>
                <a:gd name="T8" fmla="*/ 5 w 7"/>
                <a:gd name="T9" fmla="*/ 3 h 5"/>
                <a:gd name="T10" fmla="*/ 5 w 7"/>
                <a:gd name="T11" fmla="*/ 2 h 5"/>
                <a:gd name="T12" fmla="*/ 7 w 7"/>
                <a:gd name="T13" fmla="*/ 1 h 5"/>
                <a:gd name="T14" fmla="*/ 4 w 7"/>
                <a:gd name="T15" fmla="*/ 1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4" y="1"/>
                  </a:moveTo>
                  <a:cubicBezTo>
                    <a:pt x="4" y="1"/>
                    <a:pt x="4" y="1"/>
                    <a:pt x="3" y="0"/>
                  </a:cubicBezTo>
                  <a:cubicBezTo>
                    <a:pt x="3" y="0"/>
                    <a:pt x="1" y="0"/>
                    <a:pt x="1" y="1"/>
                  </a:cubicBezTo>
                  <a:cubicBezTo>
                    <a:pt x="0" y="1"/>
                    <a:pt x="3" y="4"/>
                    <a:pt x="4" y="5"/>
                  </a:cubicBezTo>
                  <a:cubicBezTo>
                    <a:pt x="4" y="4"/>
                    <a:pt x="5" y="4"/>
                    <a:pt x="5" y="3"/>
                  </a:cubicBezTo>
                  <a:cubicBezTo>
                    <a:pt x="5" y="3"/>
                    <a:pt x="5" y="2"/>
                    <a:pt x="5" y="2"/>
                  </a:cubicBezTo>
                  <a:cubicBezTo>
                    <a:pt x="5" y="2"/>
                    <a:pt x="6" y="2"/>
                    <a:pt x="7" y="1"/>
                  </a:cubicBezTo>
                  <a:cubicBezTo>
                    <a:pt x="6" y="1"/>
                    <a:pt x="5" y="2"/>
                    <a:pt x="4"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07" name="Freeform 2159">
              <a:extLst>
                <a:ext uri="{FF2B5EF4-FFF2-40B4-BE49-F238E27FC236}">
                  <a16:creationId xmlns:a16="http://schemas.microsoft.com/office/drawing/2014/main" id="{799301C5-55E2-4F4F-9948-690C64692493}"/>
                </a:ext>
              </a:extLst>
            </p:cNvPr>
            <p:cNvSpPr>
              <a:spLocks/>
            </p:cNvSpPr>
            <p:nvPr/>
          </p:nvSpPr>
          <p:spPr bwMode="auto">
            <a:xfrm>
              <a:off x="7864" y="1404"/>
              <a:ext cx="19" cy="9"/>
            </a:xfrm>
            <a:custGeom>
              <a:avLst/>
              <a:gdLst>
                <a:gd name="T0" fmla="*/ 8 w 8"/>
                <a:gd name="T1" fmla="*/ 4 h 4"/>
                <a:gd name="T2" fmla="*/ 4 w 8"/>
                <a:gd name="T3" fmla="*/ 2 h 4"/>
                <a:gd name="T4" fmla="*/ 3 w 8"/>
                <a:gd name="T5" fmla="*/ 1 h 4"/>
                <a:gd name="T6" fmla="*/ 0 w 8"/>
                <a:gd name="T7" fmla="*/ 0 h 4"/>
                <a:gd name="T8" fmla="*/ 6 w 8"/>
                <a:gd name="T9" fmla="*/ 4 h 4"/>
                <a:gd name="T10" fmla="*/ 8 w 8"/>
                <a:gd name="T11" fmla="*/ 4 h 4"/>
              </a:gdLst>
              <a:ahLst/>
              <a:cxnLst>
                <a:cxn ang="0">
                  <a:pos x="T0" y="T1"/>
                </a:cxn>
                <a:cxn ang="0">
                  <a:pos x="T2" y="T3"/>
                </a:cxn>
                <a:cxn ang="0">
                  <a:pos x="T4" y="T5"/>
                </a:cxn>
                <a:cxn ang="0">
                  <a:pos x="T6" y="T7"/>
                </a:cxn>
                <a:cxn ang="0">
                  <a:pos x="T8" y="T9"/>
                </a:cxn>
                <a:cxn ang="0">
                  <a:pos x="T10" y="T11"/>
                </a:cxn>
              </a:cxnLst>
              <a:rect l="0" t="0" r="r" b="b"/>
              <a:pathLst>
                <a:path w="8" h="4">
                  <a:moveTo>
                    <a:pt x="8" y="4"/>
                  </a:moveTo>
                  <a:cubicBezTo>
                    <a:pt x="7" y="3"/>
                    <a:pt x="5" y="3"/>
                    <a:pt x="4" y="2"/>
                  </a:cubicBezTo>
                  <a:cubicBezTo>
                    <a:pt x="4" y="2"/>
                    <a:pt x="3" y="1"/>
                    <a:pt x="3" y="1"/>
                  </a:cubicBezTo>
                  <a:cubicBezTo>
                    <a:pt x="2" y="0"/>
                    <a:pt x="1" y="0"/>
                    <a:pt x="0" y="0"/>
                  </a:cubicBezTo>
                  <a:cubicBezTo>
                    <a:pt x="2" y="2"/>
                    <a:pt x="4" y="3"/>
                    <a:pt x="6" y="4"/>
                  </a:cubicBezTo>
                  <a:cubicBezTo>
                    <a:pt x="7" y="4"/>
                    <a:pt x="7" y="4"/>
                    <a:pt x="8"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08" name="Freeform 2160">
              <a:extLst>
                <a:ext uri="{FF2B5EF4-FFF2-40B4-BE49-F238E27FC236}">
                  <a16:creationId xmlns:a16="http://schemas.microsoft.com/office/drawing/2014/main" id="{D367A5BB-0A55-40F0-ADBB-2E8EC58332DC}"/>
                </a:ext>
              </a:extLst>
            </p:cNvPr>
            <p:cNvSpPr>
              <a:spLocks/>
            </p:cNvSpPr>
            <p:nvPr/>
          </p:nvSpPr>
          <p:spPr bwMode="auto">
            <a:xfrm>
              <a:off x="4310" y="1570"/>
              <a:ext cx="12" cy="4"/>
            </a:xfrm>
            <a:custGeom>
              <a:avLst/>
              <a:gdLst>
                <a:gd name="T0" fmla="*/ 5 w 5"/>
                <a:gd name="T1" fmla="*/ 2 h 2"/>
                <a:gd name="T2" fmla="*/ 0 w 5"/>
                <a:gd name="T3" fmla="*/ 0 h 2"/>
                <a:gd name="T4" fmla="*/ 5 w 5"/>
                <a:gd name="T5" fmla="*/ 2 h 2"/>
              </a:gdLst>
              <a:ahLst/>
              <a:cxnLst>
                <a:cxn ang="0">
                  <a:pos x="T0" y="T1"/>
                </a:cxn>
                <a:cxn ang="0">
                  <a:pos x="T2" y="T3"/>
                </a:cxn>
                <a:cxn ang="0">
                  <a:pos x="T4" y="T5"/>
                </a:cxn>
              </a:cxnLst>
              <a:rect l="0" t="0" r="r" b="b"/>
              <a:pathLst>
                <a:path w="5" h="2">
                  <a:moveTo>
                    <a:pt x="5" y="2"/>
                  </a:moveTo>
                  <a:cubicBezTo>
                    <a:pt x="4" y="1"/>
                    <a:pt x="2" y="1"/>
                    <a:pt x="0" y="0"/>
                  </a:cubicBezTo>
                  <a:cubicBezTo>
                    <a:pt x="0" y="2"/>
                    <a:pt x="4" y="2"/>
                    <a:pt x="5"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09" name="Freeform 2161">
              <a:extLst>
                <a:ext uri="{FF2B5EF4-FFF2-40B4-BE49-F238E27FC236}">
                  <a16:creationId xmlns:a16="http://schemas.microsoft.com/office/drawing/2014/main" id="{BC7EAB36-50BC-48F5-8837-397BCF614F51}"/>
                </a:ext>
              </a:extLst>
            </p:cNvPr>
            <p:cNvSpPr>
              <a:spLocks/>
            </p:cNvSpPr>
            <p:nvPr/>
          </p:nvSpPr>
          <p:spPr bwMode="auto">
            <a:xfrm>
              <a:off x="3521" y="1092"/>
              <a:ext cx="4" cy="12"/>
            </a:xfrm>
            <a:custGeom>
              <a:avLst/>
              <a:gdLst>
                <a:gd name="T0" fmla="*/ 2 w 2"/>
                <a:gd name="T1" fmla="*/ 1 h 5"/>
                <a:gd name="T2" fmla="*/ 0 w 2"/>
                <a:gd name="T3" fmla="*/ 2 h 5"/>
                <a:gd name="T4" fmla="*/ 1 w 2"/>
                <a:gd name="T5" fmla="*/ 5 h 5"/>
                <a:gd name="T6" fmla="*/ 2 w 2"/>
                <a:gd name="T7" fmla="*/ 1 h 5"/>
              </a:gdLst>
              <a:ahLst/>
              <a:cxnLst>
                <a:cxn ang="0">
                  <a:pos x="T0" y="T1"/>
                </a:cxn>
                <a:cxn ang="0">
                  <a:pos x="T2" y="T3"/>
                </a:cxn>
                <a:cxn ang="0">
                  <a:pos x="T4" y="T5"/>
                </a:cxn>
                <a:cxn ang="0">
                  <a:pos x="T6" y="T7"/>
                </a:cxn>
              </a:cxnLst>
              <a:rect l="0" t="0" r="r" b="b"/>
              <a:pathLst>
                <a:path w="2" h="5">
                  <a:moveTo>
                    <a:pt x="2" y="1"/>
                  </a:moveTo>
                  <a:cubicBezTo>
                    <a:pt x="0" y="0"/>
                    <a:pt x="1" y="1"/>
                    <a:pt x="0" y="2"/>
                  </a:cubicBezTo>
                  <a:cubicBezTo>
                    <a:pt x="0" y="3"/>
                    <a:pt x="0" y="3"/>
                    <a:pt x="1" y="5"/>
                  </a:cubicBezTo>
                  <a:cubicBezTo>
                    <a:pt x="1" y="3"/>
                    <a:pt x="1" y="2"/>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10" name="Freeform 2162">
              <a:extLst>
                <a:ext uri="{FF2B5EF4-FFF2-40B4-BE49-F238E27FC236}">
                  <a16:creationId xmlns:a16="http://schemas.microsoft.com/office/drawing/2014/main" id="{1D93B03C-EC3E-44B2-8698-E83E4110090C}"/>
                </a:ext>
              </a:extLst>
            </p:cNvPr>
            <p:cNvSpPr>
              <a:spLocks/>
            </p:cNvSpPr>
            <p:nvPr/>
          </p:nvSpPr>
          <p:spPr bwMode="auto">
            <a:xfrm>
              <a:off x="3509" y="1096"/>
              <a:ext cx="14" cy="29"/>
            </a:xfrm>
            <a:custGeom>
              <a:avLst/>
              <a:gdLst>
                <a:gd name="T0" fmla="*/ 3 w 6"/>
                <a:gd name="T1" fmla="*/ 5 h 12"/>
                <a:gd name="T2" fmla="*/ 2 w 6"/>
                <a:gd name="T3" fmla="*/ 5 h 12"/>
                <a:gd name="T4" fmla="*/ 0 w 6"/>
                <a:gd name="T5" fmla="*/ 6 h 12"/>
                <a:gd name="T6" fmla="*/ 2 w 6"/>
                <a:gd name="T7" fmla="*/ 6 h 12"/>
                <a:gd name="T8" fmla="*/ 2 w 6"/>
                <a:gd name="T9" fmla="*/ 7 h 12"/>
                <a:gd name="T10" fmla="*/ 4 w 6"/>
                <a:gd name="T11" fmla="*/ 6 h 12"/>
                <a:gd name="T12" fmla="*/ 4 w 6"/>
                <a:gd name="T13" fmla="*/ 9 h 12"/>
                <a:gd name="T14" fmla="*/ 4 w 6"/>
                <a:gd name="T15" fmla="*/ 12 h 12"/>
                <a:gd name="T16" fmla="*/ 6 w 6"/>
                <a:gd name="T17" fmla="*/ 3 h 12"/>
                <a:gd name="T18" fmla="*/ 5 w 6"/>
                <a:gd name="T19" fmla="*/ 4 h 12"/>
                <a:gd name="T20" fmla="*/ 4 w 6"/>
                <a:gd name="T21" fmla="*/ 1 h 12"/>
                <a:gd name="T22" fmla="*/ 2 w 6"/>
                <a:gd name="T23" fmla="*/ 1 h 12"/>
                <a:gd name="T24" fmla="*/ 3 w 6"/>
                <a:gd name="T25" fmla="*/ 2 h 12"/>
                <a:gd name="T26" fmla="*/ 1 w 6"/>
                <a:gd name="T27" fmla="*/ 3 h 12"/>
                <a:gd name="T28" fmla="*/ 2 w 6"/>
                <a:gd name="T29" fmla="*/ 3 h 12"/>
                <a:gd name="T30" fmla="*/ 4 w 6"/>
                <a:gd name="T31" fmla="*/ 5 h 12"/>
                <a:gd name="T32" fmla="*/ 3 w 6"/>
                <a:gd name="T33"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12">
                  <a:moveTo>
                    <a:pt x="3" y="5"/>
                  </a:moveTo>
                  <a:cubicBezTo>
                    <a:pt x="3" y="5"/>
                    <a:pt x="3" y="5"/>
                    <a:pt x="2" y="5"/>
                  </a:cubicBezTo>
                  <a:cubicBezTo>
                    <a:pt x="1" y="5"/>
                    <a:pt x="1" y="5"/>
                    <a:pt x="0" y="6"/>
                  </a:cubicBezTo>
                  <a:cubicBezTo>
                    <a:pt x="0" y="7"/>
                    <a:pt x="1" y="7"/>
                    <a:pt x="2" y="6"/>
                  </a:cubicBezTo>
                  <a:cubicBezTo>
                    <a:pt x="1" y="7"/>
                    <a:pt x="1" y="7"/>
                    <a:pt x="2" y="7"/>
                  </a:cubicBezTo>
                  <a:cubicBezTo>
                    <a:pt x="3" y="7"/>
                    <a:pt x="2" y="6"/>
                    <a:pt x="4" y="6"/>
                  </a:cubicBezTo>
                  <a:cubicBezTo>
                    <a:pt x="3" y="7"/>
                    <a:pt x="4" y="8"/>
                    <a:pt x="4" y="9"/>
                  </a:cubicBezTo>
                  <a:cubicBezTo>
                    <a:pt x="4" y="10"/>
                    <a:pt x="2" y="11"/>
                    <a:pt x="4" y="12"/>
                  </a:cubicBezTo>
                  <a:cubicBezTo>
                    <a:pt x="5" y="9"/>
                    <a:pt x="6" y="6"/>
                    <a:pt x="6" y="3"/>
                  </a:cubicBezTo>
                  <a:cubicBezTo>
                    <a:pt x="6" y="3"/>
                    <a:pt x="6" y="4"/>
                    <a:pt x="5" y="4"/>
                  </a:cubicBezTo>
                  <a:cubicBezTo>
                    <a:pt x="5" y="3"/>
                    <a:pt x="4" y="2"/>
                    <a:pt x="4" y="1"/>
                  </a:cubicBezTo>
                  <a:cubicBezTo>
                    <a:pt x="4" y="0"/>
                    <a:pt x="3" y="0"/>
                    <a:pt x="2" y="1"/>
                  </a:cubicBezTo>
                  <a:cubicBezTo>
                    <a:pt x="2" y="1"/>
                    <a:pt x="3" y="2"/>
                    <a:pt x="3" y="2"/>
                  </a:cubicBezTo>
                  <a:cubicBezTo>
                    <a:pt x="2" y="2"/>
                    <a:pt x="0" y="1"/>
                    <a:pt x="1" y="3"/>
                  </a:cubicBezTo>
                  <a:cubicBezTo>
                    <a:pt x="1" y="3"/>
                    <a:pt x="2" y="3"/>
                    <a:pt x="2" y="3"/>
                  </a:cubicBezTo>
                  <a:cubicBezTo>
                    <a:pt x="2" y="4"/>
                    <a:pt x="3" y="4"/>
                    <a:pt x="4" y="5"/>
                  </a:cubicBezTo>
                  <a:cubicBezTo>
                    <a:pt x="3" y="4"/>
                    <a:pt x="4" y="5"/>
                    <a:pt x="3" y="5"/>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11" name="Freeform 2163">
              <a:extLst>
                <a:ext uri="{FF2B5EF4-FFF2-40B4-BE49-F238E27FC236}">
                  <a16:creationId xmlns:a16="http://schemas.microsoft.com/office/drawing/2014/main" id="{D798F49B-D59A-4D3A-B835-83E4BFF41A40}"/>
                </a:ext>
              </a:extLst>
            </p:cNvPr>
            <p:cNvSpPr>
              <a:spLocks/>
            </p:cNvSpPr>
            <p:nvPr/>
          </p:nvSpPr>
          <p:spPr bwMode="auto">
            <a:xfrm>
              <a:off x="3417" y="1269"/>
              <a:ext cx="9" cy="10"/>
            </a:xfrm>
            <a:custGeom>
              <a:avLst/>
              <a:gdLst>
                <a:gd name="T0" fmla="*/ 4 w 4"/>
                <a:gd name="T1" fmla="*/ 2 h 4"/>
                <a:gd name="T2" fmla="*/ 3 w 4"/>
                <a:gd name="T3" fmla="*/ 1 h 4"/>
                <a:gd name="T4" fmla="*/ 2 w 4"/>
                <a:gd name="T5" fmla="*/ 0 h 4"/>
                <a:gd name="T6" fmla="*/ 3 w 4"/>
                <a:gd name="T7" fmla="*/ 4 h 4"/>
                <a:gd name="T8" fmla="*/ 4 w 4"/>
                <a:gd name="T9" fmla="*/ 2 h 4"/>
              </a:gdLst>
              <a:ahLst/>
              <a:cxnLst>
                <a:cxn ang="0">
                  <a:pos x="T0" y="T1"/>
                </a:cxn>
                <a:cxn ang="0">
                  <a:pos x="T2" y="T3"/>
                </a:cxn>
                <a:cxn ang="0">
                  <a:pos x="T4" y="T5"/>
                </a:cxn>
                <a:cxn ang="0">
                  <a:pos x="T6" y="T7"/>
                </a:cxn>
                <a:cxn ang="0">
                  <a:pos x="T8" y="T9"/>
                </a:cxn>
              </a:cxnLst>
              <a:rect l="0" t="0" r="r" b="b"/>
              <a:pathLst>
                <a:path w="4" h="4">
                  <a:moveTo>
                    <a:pt x="4" y="2"/>
                  </a:moveTo>
                  <a:cubicBezTo>
                    <a:pt x="4" y="2"/>
                    <a:pt x="3" y="1"/>
                    <a:pt x="3" y="1"/>
                  </a:cubicBezTo>
                  <a:cubicBezTo>
                    <a:pt x="3" y="1"/>
                    <a:pt x="3" y="0"/>
                    <a:pt x="2" y="0"/>
                  </a:cubicBezTo>
                  <a:cubicBezTo>
                    <a:pt x="0" y="0"/>
                    <a:pt x="3" y="4"/>
                    <a:pt x="3" y="4"/>
                  </a:cubicBezTo>
                  <a:cubicBezTo>
                    <a:pt x="4" y="4"/>
                    <a:pt x="4" y="3"/>
                    <a:pt x="4"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12" name="Freeform 2164">
              <a:extLst>
                <a:ext uri="{FF2B5EF4-FFF2-40B4-BE49-F238E27FC236}">
                  <a16:creationId xmlns:a16="http://schemas.microsoft.com/office/drawing/2014/main" id="{373C1355-AF8A-4B2A-8B79-3C88FD41D031}"/>
                </a:ext>
              </a:extLst>
            </p:cNvPr>
            <p:cNvSpPr>
              <a:spLocks/>
            </p:cNvSpPr>
            <p:nvPr/>
          </p:nvSpPr>
          <p:spPr bwMode="auto">
            <a:xfrm>
              <a:off x="3384" y="1203"/>
              <a:ext cx="28" cy="21"/>
            </a:xfrm>
            <a:custGeom>
              <a:avLst/>
              <a:gdLst>
                <a:gd name="T0" fmla="*/ 7 w 12"/>
                <a:gd name="T1" fmla="*/ 1 h 9"/>
                <a:gd name="T2" fmla="*/ 6 w 12"/>
                <a:gd name="T3" fmla="*/ 0 h 9"/>
                <a:gd name="T4" fmla="*/ 5 w 12"/>
                <a:gd name="T5" fmla="*/ 2 h 9"/>
                <a:gd name="T6" fmla="*/ 2 w 12"/>
                <a:gd name="T7" fmla="*/ 1 h 9"/>
                <a:gd name="T8" fmla="*/ 2 w 12"/>
                <a:gd name="T9" fmla="*/ 3 h 9"/>
                <a:gd name="T10" fmla="*/ 1 w 12"/>
                <a:gd name="T11" fmla="*/ 2 h 9"/>
                <a:gd name="T12" fmla="*/ 2 w 12"/>
                <a:gd name="T13" fmla="*/ 4 h 9"/>
                <a:gd name="T14" fmla="*/ 5 w 12"/>
                <a:gd name="T15" fmla="*/ 5 h 9"/>
                <a:gd name="T16" fmla="*/ 4 w 12"/>
                <a:gd name="T17" fmla="*/ 5 h 9"/>
                <a:gd name="T18" fmla="*/ 8 w 12"/>
                <a:gd name="T19" fmla="*/ 6 h 9"/>
                <a:gd name="T20" fmla="*/ 10 w 12"/>
                <a:gd name="T21" fmla="*/ 7 h 9"/>
                <a:gd name="T22" fmla="*/ 8 w 12"/>
                <a:gd name="T23" fmla="*/ 9 h 9"/>
                <a:gd name="T24" fmla="*/ 10 w 12"/>
                <a:gd name="T25" fmla="*/ 8 h 9"/>
                <a:gd name="T26" fmla="*/ 11 w 12"/>
                <a:gd name="T27" fmla="*/ 7 h 9"/>
                <a:gd name="T28" fmla="*/ 12 w 12"/>
                <a:gd name="T29" fmla="*/ 6 h 9"/>
                <a:gd name="T30" fmla="*/ 9 w 12"/>
                <a:gd name="T31" fmla="*/ 6 h 9"/>
                <a:gd name="T32" fmla="*/ 8 w 12"/>
                <a:gd name="T33" fmla="*/ 6 h 9"/>
                <a:gd name="T34" fmla="*/ 8 w 12"/>
                <a:gd name="T35" fmla="*/ 5 h 9"/>
                <a:gd name="T36" fmla="*/ 7 w 12"/>
                <a:gd name="T37" fmla="*/ 5 h 9"/>
                <a:gd name="T38" fmla="*/ 7 w 12"/>
                <a:gd name="T39" fmla="*/ 4 h 9"/>
                <a:gd name="T40" fmla="*/ 7 w 12"/>
                <a:gd name="T41"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9">
                  <a:moveTo>
                    <a:pt x="7" y="1"/>
                  </a:moveTo>
                  <a:cubicBezTo>
                    <a:pt x="7" y="1"/>
                    <a:pt x="6" y="0"/>
                    <a:pt x="6" y="0"/>
                  </a:cubicBezTo>
                  <a:cubicBezTo>
                    <a:pt x="5" y="0"/>
                    <a:pt x="4" y="1"/>
                    <a:pt x="5" y="2"/>
                  </a:cubicBezTo>
                  <a:cubicBezTo>
                    <a:pt x="4" y="3"/>
                    <a:pt x="3" y="1"/>
                    <a:pt x="2" y="1"/>
                  </a:cubicBezTo>
                  <a:cubicBezTo>
                    <a:pt x="2" y="2"/>
                    <a:pt x="2" y="2"/>
                    <a:pt x="2" y="3"/>
                  </a:cubicBezTo>
                  <a:cubicBezTo>
                    <a:pt x="2" y="3"/>
                    <a:pt x="2" y="2"/>
                    <a:pt x="1" y="2"/>
                  </a:cubicBezTo>
                  <a:cubicBezTo>
                    <a:pt x="0" y="3"/>
                    <a:pt x="2" y="3"/>
                    <a:pt x="2" y="4"/>
                  </a:cubicBezTo>
                  <a:cubicBezTo>
                    <a:pt x="3" y="4"/>
                    <a:pt x="4" y="4"/>
                    <a:pt x="5" y="5"/>
                  </a:cubicBezTo>
                  <a:cubicBezTo>
                    <a:pt x="4" y="5"/>
                    <a:pt x="4" y="5"/>
                    <a:pt x="4" y="5"/>
                  </a:cubicBezTo>
                  <a:cubicBezTo>
                    <a:pt x="4" y="6"/>
                    <a:pt x="9" y="8"/>
                    <a:pt x="8" y="6"/>
                  </a:cubicBezTo>
                  <a:cubicBezTo>
                    <a:pt x="9" y="7"/>
                    <a:pt x="9" y="7"/>
                    <a:pt x="10" y="7"/>
                  </a:cubicBezTo>
                  <a:cubicBezTo>
                    <a:pt x="10" y="8"/>
                    <a:pt x="9" y="9"/>
                    <a:pt x="8" y="9"/>
                  </a:cubicBezTo>
                  <a:cubicBezTo>
                    <a:pt x="9" y="9"/>
                    <a:pt x="10" y="9"/>
                    <a:pt x="10" y="8"/>
                  </a:cubicBezTo>
                  <a:cubicBezTo>
                    <a:pt x="10" y="8"/>
                    <a:pt x="11" y="7"/>
                    <a:pt x="11" y="7"/>
                  </a:cubicBezTo>
                  <a:cubicBezTo>
                    <a:pt x="11" y="7"/>
                    <a:pt x="12" y="7"/>
                    <a:pt x="12" y="6"/>
                  </a:cubicBezTo>
                  <a:cubicBezTo>
                    <a:pt x="11" y="6"/>
                    <a:pt x="10" y="6"/>
                    <a:pt x="9" y="6"/>
                  </a:cubicBezTo>
                  <a:cubicBezTo>
                    <a:pt x="9" y="6"/>
                    <a:pt x="8" y="6"/>
                    <a:pt x="8" y="6"/>
                  </a:cubicBezTo>
                  <a:cubicBezTo>
                    <a:pt x="8" y="6"/>
                    <a:pt x="8" y="5"/>
                    <a:pt x="8" y="5"/>
                  </a:cubicBezTo>
                  <a:cubicBezTo>
                    <a:pt x="8" y="5"/>
                    <a:pt x="7" y="5"/>
                    <a:pt x="7" y="5"/>
                  </a:cubicBezTo>
                  <a:cubicBezTo>
                    <a:pt x="7" y="5"/>
                    <a:pt x="8" y="4"/>
                    <a:pt x="7" y="4"/>
                  </a:cubicBezTo>
                  <a:cubicBezTo>
                    <a:pt x="7" y="3"/>
                    <a:pt x="7" y="2"/>
                    <a:pt x="7"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13" name="Freeform 2165">
              <a:extLst>
                <a:ext uri="{FF2B5EF4-FFF2-40B4-BE49-F238E27FC236}">
                  <a16:creationId xmlns:a16="http://schemas.microsoft.com/office/drawing/2014/main" id="{5B223D20-7779-4F9D-9284-33E718B6EA95}"/>
                </a:ext>
              </a:extLst>
            </p:cNvPr>
            <p:cNvSpPr>
              <a:spLocks/>
            </p:cNvSpPr>
            <p:nvPr/>
          </p:nvSpPr>
          <p:spPr bwMode="auto">
            <a:xfrm>
              <a:off x="3511" y="1432"/>
              <a:ext cx="12" cy="8"/>
            </a:xfrm>
            <a:custGeom>
              <a:avLst/>
              <a:gdLst>
                <a:gd name="T0" fmla="*/ 0 w 5"/>
                <a:gd name="T1" fmla="*/ 1 h 3"/>
                <a:gd name="T2" fmla="*/ 3 w 5"/>
                <a:gd name="T3" fmla="*/ 3 h 3"/>
                <a:gd name="T4" fmla="*/ 5 w 5"/>
                <a:gd name="T5" fmla="*/ 1 h 3"/>
                <a:gd name="T6" fmla="*/ 0 w 5"/>
                <a:gd name="T7" fmla="*/ 1 h 3"/>
              </a:gdLst>
              <a:ahLst/>
              <a:cxnLst>
                <a:cxn ang="0">
                  <a:pos x="T0" y="T1"/>
                </a:cxn>
                <a:cxn ang="0">
                  <a:pos x="T2" y="T3"/>
                </a:cxn>
                <a:cxn ang="0">
                  <a:pos x="T4" y="T5"/>
                </a:cxn>
                <a:cxn ang="0">
                  <a:pos x="T6" y="T7"/>
                </a:cxn>
              </a:cxnLst>
              <a:rect l="0" t="0" r="r" b="b"/>
              <a:pathLst>
                <a:path w="5" h="3">
                  <a:moveTo>
                    <a:pt x="0" y="1"/>
                  </a:moveTo>
                  <a:cubicBezTo>
                    <a:pt x="1" y="2"/>
                    <a:pt x="2" y="2"/>
                    <a:pt x="3" y="3"/>
                  </a:cubicBezTo>
                  <a:cubicBezTo>
                    <a:pt x="4" y="3"/>
                    <a:pt x="4" y="1"/>
                    <a:pt x="5" y="1"/>
                  </a:cubicBezTo>
                  <a:cubicBezTo>
                    <a:pt x="3" y="0"/>
                    <a:pt x="1"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14" name="Freeform 2166">
              <a:extLst>
                <a:ext uri="{FF2B5EF4-FFF2-40B4-BE49-F238E27FC236}">
                  <a16:creationId xmlns:a16="http://schemas.microsoft.com/office/drawing/2014/main" id="{FFDC4411-274E-4CEB-ACBE-B2CD518A03D5}"/>
                </a:ext>
              </a:extLst>
            </p:cNvPr>
            <p:cNvSpPr>
              <a:spLocks/>
            </p:cNvSpPr>
            <p:nvPr/>
          </p:nvSpPr>
          <p:spPr bwMode="auto">
            <a:xfrm>
              <a:off x="3377" y="1193"/>
              <a:ext cx="11" cy="8"/>
            </a:xfrm>
            <a:custGeom>
              <a:avLst/>
              <a:gdLst>
                <a:gd name="T0" fmla="*/ 3 w 5"/>
                <a:gd name="T1" fmla="*/ 1 h 3"/>
                <a:gd name="T2" fmla="*/ 1 w 5"/>
                <a:gd name="T3" fmla="*/ 2 h 3"/>
                <a:gd name="T4" fmla="*/ 0 w 5"/>
                <a:gd name="T5" fmla="*/ 1 h 3"/>
                <a:gd name="T6" fmla="*/ 2 w 5"/>
                <a:gd name="T7" fmla="*/ 3 h 3"/>
                <a:gd name="T8" fmla="*/ 3 w 5"/>
                <a:gd name="T9" fmla="*/ 1 h 3"/>
              </a:gdLst>
              <a:ahLst/>
              <a:cxnLst>
                <a:cxn ang="0">
                  <a:pos x="T0" y="T1"/>
                </a:cxn>
                <a:cxn ang="0">
                  <a:pos x="T2" y="T3"/>
                </a:cxn>
                <a:cxn ang="0">
                  <a:pos x="T4" y="T5"/>
                </a:cxn>
                <a:cxn ang="0">
                  <a:pos x="T6" y="T7"/>
                </a:cxn>
                <a:cxn ang="0">
                  <a:pos x="T8" y="T9"/>
                </a:cxn>
              </a:cxnLst>
              <a:rect l="0" t="0" r="r" b="b"/>
              <a:pathLst>
                <a:path w="5" h="3">
                  <a:moveTo>
                    <a:pt x="3" y="1"/>
                  </a:moveTo>
                  <a:cubicBezTo>
                    <a:pt x="2" y="0"/>
                    <a:pt x="2" y="1"/>
                    <a:pt x="1" y="2"/>
                  </a:cubicBezTo>
                  <a:cubicBezTo>
                    <a:pt x="1" y="2"/>
                    <a:pt x="0" y="2"/>
                    <a:pt x="0" y="1"/>
                  </a:cubicBezTo>
                  <a:cubicBezTo>
                    <a:pt x="0" y="2"/>
                    <a:pt x="1" y="3"/>
                    <a:pt x="2" y="3"/>
                  </a:cubicBezTo>
                  <a:cubicBezTo>
                    <a:pt x="3" y="3"/>
                    <a:pt x="5" y="2"/>
                    <a:pt x="3"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15" name="Freeform 2167">
              <a:extLst>
                <a:ext uri="{FF2B5EF4-FFF2-40B4-BE49-F238E27FC236}">
                  <a16:creationId xmlns:a16="http://schemas.microsoft.com/office/drawing/2014/main" id="{D932A575-1EC5-4AAC-B6D1-504B1B3FF6FC}"/>
                </a:ext>
              </a:extLst>
            </p:cNvPr>
            <p:cNvSpPr>
              <a:spLocks/>
            </p:cNvSpPr>
            <p:nvPr/>
          </p:nvSpPr>
          <p:spPr bwMode="auto">
            <a:xfrm>
              <a:off x="3377" y="1175"/>
              <a:ext cx="23" cy="21"/>
            </a:xfrm>
            <a:custGeom>
              <a:avLst/>
              <a:gdLst>
                <a:gd name="T0" fmla="*/ 4 w 10"/>
                <a:gd name="T1" fmla="*/ 2 h 9"/>
                <a:gd name="T2" fmla="*/ 2 w 10"/>
                <a:gd name="T3" fmla="*/ 4 h 9"/>
                <a:gd name="T4" fmla="*/ 1 w 10"/>
                <a:gd name="T5" fmla="*/ 4 h 9"/>
                <a:gd name="T6" fmla="*/ 0 w 10"/>
                <a:gd name="T7" fmla="*/ 7 h 9"/>
                <a:gd name="T8" fmla="*/ 3 w 10"/>
                <a:gd name="T9" fmla="*/ 9 h 9"/>
                <a:gd name="T10" fmla="*/ 5 w 10"/>
                <a:gd name="T11" fmla="*/ 9 h 9"/>
                <a:gd name="T12" fmla="*/ 5 w 10"/>
                <a:gd name="T13" fmla="*/ 7 h 9"/>
                <a:gd name="T14" fmla="*/ 6 w 10"/>
                <a:gd name="T15" fmla="*/ 8 h 9"/>
                <a:gd name="T16" fmla="*/ 8 w 10"/>
                <a:gd name="T17" fmla="*/ 7 h 9"/>
                <a:gd name="T18" fmla="*/ 5 w 10"/>
                <a:gd name="T19" fmla="*/ 6 h 9"/>
                <a:gd name="T20" fmla="*/ 8 w 10"/>
                <a:gd name="T21" fmla="*/ 4 h 9"/>
                <a:gd name="T22" fmla="*/ 10 w 10"/>
                <a:gd name="T23" fmla="*/ 4 h 9"/>
                <a:gd name="T24" fmla="*/ 10 w 10"/>
                <a:gd name="T25" fmla="*/ 1 h 9"/>
                <a:gd name="T26" fmla="*/ 8 w 10"/>
                <a:gd name="T27" fmla="*/ 0 h 9"/>
                <a:gd name="T28" fmla="*/ 5 w 10"/>
                <a:gd name="T29" fmla="*/ 2 h 9"/>
                <a:gd name="T30" fmla="*/ 4 w 10"/>
                <a:gd name="T31"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9">
                  <a:moveTo>
                    <a:pt x="4" y="2"/>
                  </a:moveTo>
                  <a:cubicBezTo>
                    <a:pt x="3" y="3"/>
                    <a:pt x="3" y="4"/>
                    <a:pt x="2" y="4"/>
                  </a:cubicBezTo>
                  <a:cubicBezTo>
                    <a:pt x="2" y="4"/>
                    <a:pt x="2" y="3"/>
                    <a:pt x="1" y="4"/>
                  </a:cubicBezTo>
                  <a:cubicBezTo>
                    <a:pt x="0" y="4"/>
                    <a:pt x="1" y="6"/>
                    <a:pt x="0" y="7"/>
                  </a:cubicBezTo>
                  <a:cubicBezTo>
                    <a:pt x="1" y="8"/>
                    <a:pt x="2" y="8"/>
                    <a:pt x="3" y="9"/>
                  </a:cubicBezTo>
                  <a:cubicBezTo>
                    <a:pt x="4" y="9"/>
                    <a:pt x="4" y="9"/>
                    <a:pt x="5" y="9"/>
                  </a:cubicBezTo>
                  <a:cubicBezTo>
                    <a:pt x="4" y="8"/>
                    <a:pt x="3" y="7"/>
                    <a:pt x="5" y="7"/>
                  </a:cubicBezTo>
                  <a:cubicBezTo>
                    <a:pt x="6" y="6"/>
                    <a:pt x="5" y="7"/>
                    <a:pt x="6" y="8"/>
                  </a:cubicBezTo>
                  <a:cubicBezTo>
                    <a:pt x="6" y="9"/>
                    <a:pt x="8" y="7"/>
                    <a:pt x="8" y="7"/>
                  </a:cubicBezTo>
                  <a:cubicBezTo>
                    <a:pt x="7" y="6"/>
                    <a:pt x="6" y="6"/>
                    <a:pt x="5" y="6"/>
                  </a:cubicBezTo>
                  <a:cubicBezTo>
                    <a:pt x="6" y="5"/>
                    <a:pt x="8" y="5"/>
                    <a:pt x="8" y="4"/>
                  </a:cubicBezTo>
                  <a:cubicBezTo>
                    <a:pt x="8" y="4"/>
                    <a:pt x="9" y="5"/>
                    <a:pt x="10" y="4"/>
                  </a:cubicBezTo>
                  <a:cubicBezTo>
                    <a:pt x="10" y="3"/>
                    <a:pt x="10" y="2"/>
                    <a:pt x="10" y="1"/>
                  </a:cubicBezTo>
                  <a:cubicBezTo>
                    <a:pt x="10" y="1"/>
                    <a:pt x="10" y="0"/>
                    <a:pt x="8" y="0"/>
                  </a:cubicBezTo>
                  <a:cubicBezTo>
                    <a:pt x="7" y="0"/>
                    <a:pt x="6" y="1"/>
                    <a:pt x="5" y="2"/>
                  </a:cubicBezTo>
                  <a:cubicBezTo>
                    <a:pt x="5" y="2"/>
                    <a:pt x="5" y="2"/>
                    <a:pt x="4" y="2"/>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16" name="Freeform 2168">
              <a:extLst>
                <a:ext uri="{FF2B5EF4-FFF2-40B4-BE49-F238E27FC236}">
                  <a16:creationId xmlns:a16="http://schemas.microsoft.com/office/drawing/2014/main" id="{DB999A66-C6C9-4CB1-8355-6935ED698714}"/>
                </a:ext>
              </a:extLst>
            </p:cNvPr>
            <p:cNvSpPr>
              <a:spLocks/>
            </p:cNvSpPr>
            <p:nvPr/>
          </p:nvSpPr>
          <p:spPr bwMode="auto">
            <a:xfrm>
              <a:off x="3388" y="1222"/>
              <a:ext cx="12" cy="7"/>
            </a:xfrm>
            <a:custGeom>
              <a:avLst/>
              <a:gdLst>
                <a:gd name="T0" fmla="*/ 3 w 5"/>
                <a:gd name="T1" fmla="*/ 3 h 3"/>
                <a:gd name="T2" fmla="*/ 3 w 5"/>
                <a:gd name="T3" fmla="*/ 3 h 3"/>
              </a:gdLst>
              <a:ahLst/>
              <a:cxnLst>
                <a:cxn ang="0">
                  <a:pos x="T0" y="T1"/>
                </a:cxn>
                <a:cxn ang="0">
                  <a:pos x="T2" y="T3"/>
                </a:cxn>
              </a:cxnLst>
              <a:rect l="0" t="0" r="r" b="b"/>
              <a:pathLst>
                <a:path w="5" h="3">
                  <a:moveTo>
                    <a:pt x="3" y="3"/>
                  </a:moveTo>
                  <a:cubicBezTo>
                    <a:pt x="5" y="1"/>
                    <a:pt x="0" y="0"/>
                    <a:pt x="3"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17" name="Freeform 2169">
              <a:extLst>
                <a:ext uri="{FF2B5EF4-FFF2-40B4-BE49-F238E27FC236}">
                  <a16:creationId xmlns:a16="http://schemas.microsoft.com/office/drawing/2014/main" id="{E88C78FE-E5EF-4D66-9C52-AC99E30851E1}"/>
                </a:ext>
              </a:extLst>
            </p:cNvPr>
            <p:cNvSpPr>
              <a:spLocks/>
            </p:cNvSpPr>
            <p:nvPr/>
          </p:nvSpPr>
          <p:spPr bwMode="auto">
            <a:xfrm>
              <a:off x="3393" y="1238"/>
              <a:ext cx="21" cy="12"/>
            </a:xfrm>
            <a:custGeom>
              <a:avLst/>
              <a:gdLst>
                <a:gd name="T0" fmla="*/ 3 w 9"/>
                <a:gd name="T1" fmla="*/ 4 h 5"/>
                <a:gd name="T2" fmla="*/ 2 w 9"/>
                <a:gd name="T3" fmla="*/ 5 h 5"/>
                <a:gd name="T4" fmla="*/ 5 w 9"/>
                <a:gd name="T5" fmla="*/ 4 h 5"/>
                <a:gd name="T6" fmla="*/ 6 w 9"/>
                <a:gd name="T7" fmla="*/ 4 h 5"/>
                <a:gd name="T8" fmla="*/ 7 w 9"/>
                <a:gd name="T9" fmla="*/ 5 h 5"/>
                <a:gd name="T10" fmla="*/ 8 w 9"/>
                <a:gd name="T11" fmla="*/ 4 h 5"/>
                <a:gd name="T12" fmla="*/ 6 w 9"/>
                <a:gd name="T13" fmla="*/ 2 h 5"/>
                <a:gd name="T14" fmla="*/ 4 w 9"/>
                <a:gd name="T15" fmla="*/ 0 h 5"/>
                <a:gd name="T16" fmla="*/ 3 w 9"/>
                <a:gd name="T17" fmla="*/ 0 h 5"/>
                <a:gd name="T18" fmla="*/ 2 w 9"/>
                <a:gd name="T19" fmla="*/ 0 h 5"/>
                <a:gd name="T20" fmla="*/ 2 w 9"/>
                <a:gd name="T21" fmla="*/ 2 h 5"/>
                <a:gd name="T22" fmla="*/ 5 w 9"/>
                <a:gd name="T23" fmla="*/ 2 h 5"/>
                <a:gd name="T24" fmla="*/ 3 w 9"/>
                <a:gd name="T2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5">
                  <a:moveTo>
                    <a:pt x="3" y="4"/>
                  </a:moveTo>
                  <a:cubicBezTo>
                    <a:pt x="2" y="4"/>
                    <a:pt x="0" y="4"/>
                    <a:pt x="2" y="5"/>
                  </a:cubicBezTo>
                  <a:cubicBezTo>
                    <a:pt x="3" y="5"/>
                    <a:pt x="4" y="5"/>
                    <a:pt x="5" y="4"/>
                  </a:cubicBezTo>
                  <a:cubicBezTo>
                    <a:pt x="6" y="4"/>
                    <a:pt x="6" y="4"/>
                    <a:pt x="6" y="4"/>
                  </a:cubicBezTo>
                  <a:cubicBezTo>
                    <a:pt x="6" y="4"/>
                    <a:pt x="6" y="5"/>
                    <a:pt x="7" y="5"/>
                  </a:cubicBezTo>
                  <a:cubicBezTo>
                    <a:pt x="7" y="5"/>
                    <a:pt x="7" y="4"/>
                    <a:pt x="8" y="4"/>
                  </a:cubicBezTo>
                  <a:cubicBezTo>
                    <a:pt x="9" y="3"/>
                    <a:pt x="7" y="2"/>
                    <a:pt x="6" y="2"/>
                  </a:cubicBezTo>
                  <a:cubicBezTo>
                    <a:pt x="5" y="1"/>
                    <a:pt x="5" y="0"/>
                    <a:pt x="4" y="0"/>
                  </a:cubicBezTo>
                  <a:cubicBezTo>
                    <a:pt x="4" y="0"/>
                    <a:pt x="3" y="0"/>
                    <a:pt x="3" y="0"/>
                  </a:cubicBezTo>
                  <a:cubicBezTo>
                    <a:pt x="3" y="0"/>
                    <a:pt x="2" y="0"/>
                    <a:pt x="2" y="0"/>
                  </a:cubicBezTo>
                  <a:cubicBezTo>
                    <a:pt x="1" y="1"/>
                    <a:pt x="2" y="1"/>
                    <a:pt x="2" y="2"/>
                  </a:cubicBezTo>
                  <a:cubicBezTo>
                    <a:pt x="3" y="2"/>
                    <a:pt x="4" y="2"/>
                    <a:pt x="5" y="2"/>
                  </a:cubicBezTo>
                  <a:cubicBezTo>
                    <a:pt x="5" y="3"/>
                    <a:pt x="5" y="4"/>
                    <a:pt x="3"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18" name="Freeform 2170">
              <a:extLst>
                <a:ext uri="{FF2B5EF4-FFF2-40B4-BE49-F238E27FC236}">
                  <a16:creationId xmlns:a16="http://schemas.microsoft.com/office/drawing/2014/main" id="{23ECA184-2BC1-4EF1-B426-0239F41E0988}"/>
                </a:ext>
              </a:extLst>
            </p:cNvPr>
            <p:cNvSpPr>
              <a:spLocks/>
            </p:cNvSpPr>
            <p:nvPr/>
          </p:nvSpPr>
          <p:spPr bwMode="auto">
            <a:xfrm>
              <a:off x="3367" y="1203"/>
              <a:ext cx="12" cy="5"/>
            </a:xfrm>
            <a:custGeom>
              <a:avLst/>
              <a:gdLst>
                <a:gd name="T0" fmla="*/ 2 w 5"/>
                <a:gd name="T1" fmla="*/ 2 h 2"/>
                <a:gd name="T2" fmla="*/ 3 w 5"/>
                <a:gd name="T3" fmla="*/ 2 h 2"/>
                <a:gd name="T4" fmla="*/ 5 w 5"/>
                <a:gd name="T5" fmla="*/ 1 h 2"/>
                <a:gd name="T6" fmla="*/ 0 w 5"/>
                <a:gd name="T7" fmla="*/ 0 h 2"/>
                <a:gd name="T8" fmla="*/ 2 w 5"/>
                <a:gd name="T9" fmla="*/ 2 h 2"/>
              </a:gdLst>
              <a:ahLst/>
              <a:cxnLst>
                <a:cxn ang="0">
                  <a:pos x="T0" y="T1"/>
                </a:cxn>
                <a:cxn ang="0">
                  <a:pos x="T2" y="T3"/>
                </a:cxn>
                <a:cxn ang="0">
                  <a:pos x="T4" y="T5"/>
                </a:cxn>
                <a:cxn ang="0">
                  <a:pos x="T6" y="T7"/>
                </a:cxn>
                <a:cxn ang="0">
                  <a:pos x="T8" y="T9"/>
                </a:cxn>
              </a:cxnLst>
              <a:rect l="0" t="0" r="r" b="b"/>
              <a:pathLst>
                <a:path w="5" h="2">
                  <a:moveTo>
                    <a:pt x="2" y="2"/>
                  </a:moveTo>
                  <a:cubicBezTo>
                    <a:pt x="2" y="2"/>
                    <a:pt x="2" y="2"/>
                    <a:pt x="3" y="2"/>
                  </a:cubicBezTo>
                  <a:cubicBezTo>
                    <a:pt x="4" y="2"/>
                    <a:pt x="4" y="1"/>
                    <a:pt x="5" y="1"/>
                  </a:cubicBezTo>
                  <a:cubicBezTo>
                    <a:pt x="3" y="0"/>
                    <a:pt x="2" y="0"/>
                    <a:pt x="0" y="0"/>
                  </a:cubicBezTo>
                  <a:cubicBezTo>
                    <a:pt x="0" y="1"/>
                    <a:pt x="1" y="2"/>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19" name="Freeform 2171">
              <a:extLst>
                <a:ext uri="{FF2B5EF4-FFF2-40B4-BE49-F238E27FC236}">
                  <a16:creationId xmlns:a16="http://schemas.microsoft.com/office/drawing/2014/main" id="{5ABED0FF-445A-4ACB-9E1B-86767A0AD15F}"/>
                </a:ext>
              </a:extLst>
            </p:cNvPr>
            <p:cNvSpPr>
              <a:spLocks/>
            </p:cNvSpPr>
            <p:nvPr/>
          </p:nvSpPr>
          <p:spPr bwMode="auto">
            <a:xfrm>
              <a:off x="3525" y="1089"/>
              <a:ext cx="8" cy="7"/>
            </a:xfrm>
            <a:custGeom>
              <a:avLst/>
              <a:gdLst>
                <a:gd name="T0" fmla="*/ 1 w 3"/>
                <a:gd name="T1" fmla="*/ 3 h 3"/>
                <a:gd name="T2" fmla="*/ 1 w 3"/>
                <a:gd name="T3" fmla="*/ 0 h 3"/>
                <a:gd name="T4" fmla="*/ 0 w 3"/>
                <a:gd name="T5" fmla="*/ 1 h 3"/>
                <a:gd name="T6" fmla="*/ 1 w 3"/>
                <a:gd name="T7" fmla="*/ 3 h 3"/>
              </a:gdLst>
              <a:ahLst/>
              <a:cxnLst>
                <a:cxn ang="0">
                  <a:pos x="T0" y="T1"/>
                </a:cxn>
                <a:cxn ang="0">
                  <a:pos x="T2" y="T3"/>
                </a:cxn>
                <a:cxn ang="0">
                  <a:pos x="T4" y="T5"/>
                </a:cxn>
                <a:cxn ang="0">
                  <a:pos x="T6" y="T7"/>
                </a:cxn>
              </a:cxnLst>
              <a:rect l="0" t="0" r="r" b="b"/>
              <a:pathLst>
                <a:path w="3" h="3">
                  <a:moveTo>
                    <a:pt x="1" y="3"/>
                  </a:moveTo>
                  <a:cubicBezTo>
                    <a:pt x="2" y="2"/>
                    <a:pt x="3" y="0"/>
                    <a:pt x="1" y="0"/>
                  </a:cubicBezTo>
                  <a:cubicBezTo>
                    <a:pt x="1" y="0"/>
                    <a:pt x="1" y="0"/>
                    <a:pt x="0" y="1"/>
                  </a:cubicBezTo>
                  <a:cubicBezTo>
                    <a:pt x="0" y="2"/>
                    <a:pt x="0" y="3"/>
                    <a:pt x="1"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20" name="Freeform 2172">
              <a:extLst>
                <a:ext uri="{FF2B5EF4-FFF2-40B4-BE49-F238E27FC236}">
                  <a16:creationId xmlns:a16="http://schemas.microsoft.com/office/drawing/2014/main" id="{EA0CE184-9A3B-4338-B6D9-970833821043}"/>
                </a:ext>
              </a:extLst>
            </p:cNvPr>
            <p:cNvSpPr>
              <a:spLocks/>
            </p:cNvSpPr>
            <p:nvPr/>
          </p:nvSpPr>
          <p:spPr bwMode="auto">
            <a:xfrm>
              <a:off x="3466" y="1158"/>
              <a:ext cx="5" cy="5"/>
            </a:xfrm>
            <a:custGeom>
              <a:avLst/>
              <a:gdLst>
                <a:gd name="T0" fmla="*/ 2 w 2"/>
                <a:gd name="T1" fmla="*/ 2 h 2"/>
                <a:gd name="T2" fmla="*/ 1 w 2"/>
                <a:gd name="T3" fmla="*/ 0 h 2"/>
                <a:gd name="T4" fmla="*/ 0 w 2"/>
                <a:gd name="T5" fmla="*/ 0 h 2"/>
                <a:gd name="T6" fmla="*/ 2 w 2"/>
                <a:gd name="T7" fmla="*/ 2 h 2"/>
              </a:gdLst>
              <a:ahLst/>
              <a:cxnLst>
                <a:cxn ang="0">
                  <a:pos x="T0" y="T1"/>
                </a:cxn>
                <a:cxn ang="0">
                  <a:pos x="T2" y="T3"/>
                </a:cxn>
                <a:cxn ang="0">
                  <a:pos x="T4" y="T5"/>
                </a:cxn>
                <a:cxn ang="0">
                  <a:pos x="T6" y="T7"/>
                </a:cxn>
              </a:cxnLst>
              <a:rect l="0" t="0" r="r" b="b"/>
              <a:pathLst>
                <a:path w="2" h="2">
                  <a:moveTo>
                    <a:pt x="2" y="2"/>
                  </a:moveTo>
                  <a:cubicBezTo>
                    <a:pt x="2" y="1"/>
                    <a:pt x="2" y="1"/>
                    <a:pt x="1" y="0"/>
                  </a:cubicBezTo>
                  <a:cubicBezTo>
                    <a:pt x="1" y="0"/>
                    <a:pt x="1" y="0"/>
                    <a:pt x="0" y="0"/>
                  </a:cubicBezTo>
                  <a:cubicBezTo>
                    <a:pt x="1" y="1"/>
                    <a:pt x="1" y="2"/>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21" name="Freeform 2173">
              <a:extLst>
                <a:ext uri="{FF2B5EF4-FFF2-40B4-BE49-F238E27FC236}">
                  <a16:creationId xmlns:a16="http://schemas.microsoft.com/office/drawing/2014/main" id="{D4027567-06AD-4DD3-97BB-5E44B0D03F84}"/>
                </a:ext>
              </a:extLst>
            </p:cNvPr>
            <p:cNvSpPr>
              <a:spLocks/>
            </p:cNvSpPr>
            <p:nvPr/>
          </p:nvSpPr>
          <p:spPr bwMode="auto">
            <a:xfrm>
              <a:off x="3398" y="1167"/>
              <a:ext cx="194" cy="291"/>
            </a:xfrm>
            <a:custGeom>
              <a:avLst/>
              <a:gdLst>
                <a:gd name="T0" fmla="*/ 7 w 82"/>
                <a:gd name="T1" fmla="*/ 19 h 123"/>
                <a:gd name="T2" fmla="*/ 9 w 82"/>
                <a:gd name="T3" fmla="*/ 23 h 123"/>
                <a:gd name="T4" fmla="*/ 4 w 82"/>
                <a:gd name="T5" fmla="*/ 28 h 123"/>
                <a:gd name="T6" fmla="*/ 6 w 82"/>
                <a:gd name="T7" fmla="*/ 32 h 123"/>
                <a:gd name="T8" fmla="*/ 9 w 82"/>
                <a:gd name="T9" fmla="*/ 31 h 123"/>
                <a:gd name="T10" fmla="*/ 8 w 82"/>
                <a:gd name="T11" fmla="*/ 33 h 123"/>
                <a:gd name="T12" fmla="*/ 6 w 82"/>
                <a:gd name="T13" fmla="*/ 40 h 123"/>
                <a:gd name="T14" fmla="*/ 7 w 82"/>
                <a:gd name="T15" fmla="*/ 42 h 123"/>
                <a:gd name="T16" fmla="*/ 5 w 82"/>
                <a:gd name="T17" fmla="*/ 48 h 123"/>
                <a:gd name="T18" fmla="*/ 8 w 82"/>
                <a:gd name="T19" fmla="*/ 44 h 123"/>
                <a:gd name="T20" fmla="*/ 8 w 82"/>
                <a:gd name="T21" fmla="*/ 40 h 123"/>
                <a:gd name="T22" fmla="*/ 12 w 82"/>
                <a:gd name="T23" fmla="*/ 37 h 123"/>
                <a:gd name="T24" fmla="*/ 12 w 82"/>
                <a:gd name="T25" fmla="*/ 40 h 123"/>
                <a:gd name="T26" fmla="*/ 15 w 82"/>
                <a:gd name="T27" fmla="*/ 36 h 123"/>
                <a:gd name="T28" fmla="*/ 15 w 82"/>
                <a:gd name="T29" fmla="*/ 43 h 123"/>
                <a:gd name="T30" fmla="*/ 11 w 82"/>
                <a:gd name="T31" fmla="*/ 54 h 123"/>
                <a:gd name="T32" fmla="*/ 14 w 82"/>
                <a:gd name="T33" fmla="*/ 56 h 123"/>
                <a:gd name="T34" fmla="*/ 22 w 82"/>
                <a:gd name="T35" fmla="*/ 57 h 123"/>
                <a:gd name="T36" fmla="*/ 30 w 82"/>
                <a:gd name="T37" fmla="*/ 55 h 123"/>
                <a:gd name="T38" fmla="*/ 27 w 82"/>
                <a:gd name="T39" fmla="*/ 61 h 123"/>
                <a:gd name="T40" fmla="*/ 32 w 82"/>
                <a:gd name="T41" fmla="*/ 66 h 123"/>
                <a:gd name="T42" fmla="*/ 34 w 82"/>
                <a:gd name="T43" fmla="*/ 71 h 123"/>
                <a:gd name="T44" fmla="*/ 33 w 82"/>
                <a:gd name="T45" fmla="*/ 76 h 123"/>
                <a:gd name="T46" fmla="*/ 25 w 82"/>
                <a:gd name="T47" fmla="*/ 77 h 123"/>
                <a:gd name="T48" fmla="*/ 21 w 82"/>
                <a:gd name="T49" fmla="*/ 77 h 123"/>
                <a:gd name="T50" fmla="*/ 20 w 82"/>
                <a:gd name="T51" fmla="*/ 79 h 123"/>
                <a:gd name="T52" fmla="*/ 22 w 82"/>
                <a:gd name="T53" fmla="*/ 83 h 123"/>
                <a:gd name="T54" fmla="*/ 17 w 82"/>
                <a:gd name="T55" fmla="*/ 93 h 123"/>
                <a:gd name="T56" fmla="*/ 11 w 82"/>
                <a:gd name="T57" fmla="*/ 100 h 123"/>
                <a:gd name="T58" fmla="*/ 16 w 82"/>
                <a:gd name="T59" fmla="*/ 99 h 123"/>
                <a:gd name="T60" fmla="*/ 25 w 82"/>
                <a:gd name="T61" fmla="*/ 102 h 123"/>
                <a:gd name="T62" fmla="*/ 33 w 82"/>
                <a:gd name="T63" fmla="*/ 105 h 123"/>
                <a:gd name="T64" fmla="*/ 14 w 82"/>
                <a:gd name="T65" fmla="*/ 115 h 123"/>
                <a:gd name="T66" fmla="*/ 12 w 82"/>
                <a:gd name="T67" fmla="*/ 120 h 123"/>
                <a:gd name="T68" fmla="*/ 22 w 82"/>
                <a:gd name="T69" fmla="*/ 118 h 123"/>
                <a:gd name="T70" fmla="*/ 29 w 82"/>
                <a:gd name="T71" fmla="*/ 113 h 123"/>
                <a:gd name="T72" fmla="*/ 44 w 82"/>
                <a:gd name="T73" fmla="*/ 114 h 123"/>
                <a:gd name="T74" fmla="*/ 49 w 82"/>
                <a:gd name="T75" fmla="*/ 110 h 123"/>
                <a:gd name="T76" fmla="*/ 67 w 82"/>
                <a:gd name="T77" fmla="*/ 112 h 123"/>
                <a:gd name="T78" fmla="*/ 78 w 82"/>
                <a:gd name="T79" fmla="*/ 104 h 123"/>
                <a:gd name="T80" fmla="*/ 72 w 82"/>
                <a:gd name="T81" fmla="*/ 102 h 123"/>
                <a:gd name="T82" fmla="*/ 74 w 82"/>
                <a:gd name="T83" fmla="*/ 98 h 123"/>
                <a:gd name="T84" fmla="*/ 76 w 82"/>
                <a:gd name="T85" fmla="*/ 95 h 123"/>
                <a:gd name="T86" fmla="*/ 82 w 82"/>
                <a:gd name="T87" fmla="*/ 88 h 123"/>
                <a:gd name="T88" fmla="*/ 67 w 82"/>
                <a:gd name="T89" fmla="*/ 84 h 123"/>
                <a:gd name="T90" fmla="*/ 67 w 82"/>
                <a:gd name="T91" fmla="*/ 80 h 123"/>
                <a:gd name="T92" fmla="*/ 62 w 82"/>
                <a:gd name="T93" fmla="*/ 72 h 123"/>
                <a:gd name="T94" fmla="*/ 59 w 82"/>
                <a:gd name="T95" fmla="*/ 62 h 123"/>
                <a:gd name="T96" fmla="*/ 48 w 82"/>
                <a:gd name="T97" fmla="*/ 48 h 123"/>
                <a:gd name="T98" fmla="*/ 33 w 82"/>
                <a:gd name="T99" fmla="*/ 37 h 123"/>
                <a:gd name="T100" fmla="*/ 41 w 82"/>
                <a:gd name="T101" fmla="*/ 27 h 123"/>
                <a:gd name="T102" fmla="*/ 45 w 82"/>
                <a:gd name="T103" fmla="*/ 18 h 123"/>
                <a:gd name="T104" fmla="*/ 23 w 82"/>
                <a:gd name="T105" fmla="*/ 16 h 123"/>
                <a:gd name="T106" fmla="*/ 23 w 82"/>
                <a:gd name="T107" fmla="*/ 15 h 123"/>
                <a:gd name="T108" fmla="*/ 27 w 82"/>
                <a:gd name="T109" fmla="*/ 8 h 123"/>
                <a:gd name="T110" fmla="*/ 30 w 82"/>
                <a:gd name="T111" fmla="*/ 0 h 123"/>
                <a:gd name="T112" fmla="*/ 18 w 82"/>
                <a:gd name="T113" fmla="*/ 3 h 123"/>
                <a:gd name="T114" fmla="*/ 15 w 82"/>
                <a:gd name="T115" fmla="*/ 1 h 123"/>
                <a:gd name="T116" fmla="*/ 11 w 82"/>
                <a:gd name="T117" fmla="*/ 6 h 123"/>
                <a:gd name="T118" fmla="*/ 8 w 82"/>
                <a:gd name="T119" fmla="*/ 9 h 123"/>
                <a:gd name="T120" fmla="*/ 10 w 82"/>
                <a:gd name="T121" fmla="*/ 12 h 123"/>
                <a:gd name="T122" fmla="*/ 6 w 82"/>
                <a:gd name="T123" fmla="*/ 13 h 123"/>
                <a:gd name="T124" fmla="*/ 4 w 82"/>
                <a:gd name="T125" fmla="*/ 1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 h="123">
                  <a:moveTo>
                    <a:pt x="7" y="19"/>
                  </a:moveTo>
                  <a:cubicBezTo>
                    <a:pt x="7" y="19"/>
                    <a:pt x="7" y="19"/>
                    <a:pt x="7" y="19"/>
                  </a:cubicBezTo>
                  <a:cubicBezTo>
                    <a:pt x="7" y="19"/>
                    <a:pt x="7" y="19"/>
                    <a:pt x="7" y="19"/>
                  </a:cubicBezTo>
                  <a:cubicBezTo>
                    <a:pt x="7" y="19"/>
                    <a:pt x="7" y="19"/>
                    <a:pt x="7" y="19"/>
                  </a:cubicBezTo>
                  <a:cubicBezTo>
                    <a:pt x="6" y="20"/>
                    <a:pt x="6" y="20"/>
                    <a:pt x="5" y="20"/>
                  </a:cubicBezTo>
                  <a:cubicBezTo>
                    <a:pt x="7" y="21"/>
                    <a:pt x="7" y="21"/>
                    <a:pt x="8" y="20"/>
                  </a:cubicBezTo>
                  <a:cubicBezTo>
                    <a:pt x="8" y="21"/>
                    <a:pt x="6" y="21"/>
                    <a:pt x="6" y="22"/>
                  </a:cubicBezTo>
                  <a:cubicBezTo>
                    <a:pt x="6" y="23"/>
                    <a:pt x="8" y="23"/>
                    <a:pt x="9" y="23"/>
                  </a:cubicBezTo>
                  <a:cubicBezTo>
                    <a:pt x="7" y="24"/>
                    <a:pt x="7" y="23"/>
                    <a:pt x="6" y="23"/>
                  </a:cubicBezTo>
                  <a:cubicBezTo>
                    <a:pt x="4" y="23"/>
                    <a:pt x="6" y="25"/>
                    <a:pt x="7" y="25"/>
                  </a:cubicBezTo>
                  <a:cubicBezTo>
                    <a:pt x="6" y="26"/>
                    <a:pt x="5" y="24"/>
                    <a:pt x="4" y="25"/>
                  </a:cubicBezTo>
                  <a:cubicBezTo>
                    <a:pt x="3" y="25"/>
                    <a:pt x="4" y="27"/>
                    <a:pt x="4" y="28"/>
                  </a:cubicBezTo>
                  <a:cubicBezTo>
                    <a:pt x="4" y="28"/>
                    <a:pt x="4" y="28"/>
                    <a:pt x="4" y="28"/>
                  </a:cubicBezTo>
                  <a:cubicBezTo>
                    <a:pt x="3" y="28"/>
                    <a:pt x="1" y="28"/>
                    <a:pt x="0" y="29"/>
                  </a:cubicBezTo>
                  <a:cubicBezTo>
                    <a:pt x="1" y="30"/>
                    <a:pt x="3" y="31"/>
                    <a:pt x="4" y="31"/>
                  </a:cubicBezTo>
                  <a:cubicBezTo>
                    <a:pt x="5" y="32"/>
                    <a:pt x="5" y="32"/>
                    <a:pt x="6" y="32"/>
                  </a:cubicBezTo>
                  <a:cubicBezTo>
                    <a:pt x="8" y="31"/>
                    <a:pt x="10" y="29"/>
                    <a:pt x="12" y="27"/>
                  </a:cubicBezTo>
                  <a:cubicBezTo>
                    <a:pt x="12" y="28"/>
                    <a:pt x="12" y="29"/>
                    <a:pt x="13" y="29"/>
                  </a:cubicBezTo>
                  <a:cubicBezTo>
                    <a:pt x="12" y="29"/>
                    <a:pt x="11" y="30"/>
                    <a:pt x="10" y="30"/>
                  </a:cubicBezTo>
                  <a:cubicBezTo>
                    <a:pt x="9" y="30"/>
                    <a:pt x="9" y="31"/>
                    <a:pt x="9" y="31"/>
                  </a:cubicBezTo>
                  <a:cubicBezTo>
                    <a:pt x="9" y="31"/>
                    <a:pt x="10" y="31"/>
                    <a:pt x="10" y="31"/>
                  </a:cubicBezTo>
                  <a:cubicBezTo>
                    <a:pt x="9" y="32"/>
                    <a:pt x="8" y="31"/>
                    <a:pt x="8" y="32"/>
                  </a:cubicBezTo>
                  <a:cubicBezTo>
                    <a:pt x="10" y="33"/>
                    <a:pt x="10" y="33"/>
                    <a:pt x="12" y="32"/>
                  </a:cubicBezTo>
                  <a:cubicBezTo>
                    <a:pt x="10" y="34"/>
                    <a:pt x="10" y="32"/>
                    <a:pt x="8" y="33"/>
                  </a:cubicBezTo>
                  <a:cubicBezTo>
                    <a:pt x="8" y="33"/>
                    <a:pt x="6" y="35"/>
                    <a:pt x="7" y="36"/>
                  </a:cubicBezTo>
                  <a:cubicBezTo>
                    <a:pt x="7" y="36"/>
                    <a:pt x="7" y="37"/>
                    <a:pt x="7" y="37"/>
                  </a:cubicBezTo>
                  <a:cubicBezTo>
                    <a:pt x="7" y="37"/>
                    <a:pt x="7" y="37"/>
                    <a:pt x="7" y="37"/>
                  </a:cubicBezTo>
                  <a:cubicBezTo>
                    <a:pt x="7" y="38"/>
                    <a:pt x="6" y="39"/>
                    <a:pt x="6" y="40"/>
                  </a:cubicBezTo>
                  <a:cubicBezTo>
                    <a:pt x="6" y="40"/>
                    <a:pt x="6" y="39"/>
                    <a:pt x="7" y="39"/>
                  </a:cubicBezTo>
                  <a:cubicBezTo>
                    <a:pt x="7" y="39"/>
                    <a:pt x="6" y="40"/>
                    <a:pt x="6" y="41"/>
                  </a:cubicBezTo>
                  <a:cubicBezTo>
                    <a:pt x="6" y="41"/>
                    <a:pt x="7" y="41"/>
                    <a:pt x="7" y="40"/>
                  </a:cubicBezTo>
                  <a:cubicBezTo>
                    <a:pt x="6" y="41"/>
                    <a:pt x="5" y="42"/>
                    <a:pt x="7" y="42"/>
                  </a:cubicBezTo>
                  <a:cubicBezTo>
                    <a:pt x="7" y="42"/>
                    <a:pt x="8" y="42"/>
                    <a:pt x="8" y="42"/>
                  </a:cubicBezTo>
                  <a:cubicBezTo>
                    <a:pt x="7" y="43"/>
                    <a:pt x="6" y="43"/>
                    <a:pt x="6" y="45"/>
                  </a:cubicBezTo>
                  <a:cubicBezTo>
                    <a:pt x="6" y="46"/>
                    <a:pt x="6" y="46"/>
                    <a:pt x="5" y="47"/>
                  </a:cubicBezTo>
                  <a:cubicBezTo>
                    <a:pt x="5" y="47"/>
                    <a:pt x="5" y="48"/>
                    <a:pt x="5" y="48"/>
                  </a:cubicBezTo>
                  <a:cubicBezTo>
                    <a:pt x="5" y="49"/>
                    <a:pt x="7" y="49"/>
                    <a:pt x="7" y="49"/>
                  </a:cubicBezTo>
                  <a:cubicBezTo>
                    <a:pt x="8" y="48"/>
                    <a:pt x="7" y="48"/>
                    <a:pt x="7" y="47"/>
                  </a:cubicBezTo>
                  <a:cubicBezTo>
                    <a:pt x="7" y="47"/>
                    <a:pt x="8" y="46"/>
                    <a:pt x="8" y="45"/>
                  </a:cubicBezTo>
                  <a:cubicBezTo>
                    <a:pt x="8" y="45"/>
                    <a:pt x="8" y="45"/>
                    <a:pt x="8" y="44"/>
                  </a:cubicBezTo>
                  <a:cubicBezTo>
                    <a:pt x="8" y="44"/>
                    <a:pt x="8" y="43"/>
                    <a:pt x="9" y="43"/>
                  </a:cubicBezTo>
                  <a:cubicBezTo>
                    <a:pt x="9" y="43"/>
                    <a:pt x="10" y="43"/>
                    <a:pt x="10" y="42"/>
                  </a:cubicBezTo>
                  <a:cubicBezTo>
                    <a:pt x="10" y="42"/>
                    <a:pt x="9" y="41"/>
                    <a:pt x="9" y="41"/>
                  </a:cubicBezTo>
                  <a:cubicBezTo>
                    <a:pt x="9" y="41"/>
                    <a:pt x="8" y="40"/>
                    <a:pt x="8" y="40"/>
                  </a:cubicBezTo>
                  <a:cubicBezTo>
                    <a:pt x="8" y="39"/>
                    <a:pt x="9" y="40"/>
                    <a:pt x="9" y="39"/>
                  </a:cubicBezTo>
                  <a:cubicBezTo>
                    <a:pt x="10" y="39"/>
                    <a:pt x="10" y="38"/>
                    <a:pt x="11" y="37"/>
                  </a:cubicBezTo>
                  <a:cubicBezTo>
                    <a:pt x="11" y="37"/>
                    <a:pt x="12" y="36"/>
                    <a:pt x="13" y="36"/>
                  </a:cubicBezTo>
                  <a:cubicBezTo>
                    <a:pt x="12" y="36"/>
                    <a:pt x="12" y="37"/>
                    <a:pt x="12" y="37"/>
                  </a:cubicBezTo>
                  <a:cubicBezTo>
                    <a:pt x="11" y="37"/>
                    <a:pt x="11" y="37"/>
                    <a:pt x="11" y="38"/>
                  </a:cubicBezTo>
                  <a:cubicBezTo>
                    <a:pt x="10" y="39"/>
                    <a:pt x="9" y="40"/>
                    <a:pt x="10" y="41"/>
                  </a:cubicBezTo>
                  <a:cubicBezTo>
                    <a:pt x="11" y="41"/>
                    <a:pt x="11" y="40"/>
                    <a:pt x="11" y="40"/>
                  </a:cubicBezTo>
                  <a:cubicBezTo>
                    <a:pt x="11" y="41"/>
                    <a:pt x="12" y="41"/>
                    <a:pt x="12" y="40"/>
                  </a:cubicBezTo>
                  <a:cubicBezTo>
                    <a:pt x="13" y="41"/>
                    <a:pt x="13" y="42"/>
                    <a:pt x="14" y="40"/>
                  </a:cubicBezTo>
                  <a:cubicBezTo>
                    <a:pt x="14" y="39"/>
                    <a:pt x="14" y="38"/>
                    <a:pt x="14" y="37"/>
                  </a:cubicBezTo>
                  <a:cubicBezTo>
                    <a:pt x="14" y="37"/>
                    <a:pt x="14" y="37"/>
                    <a:pt x="14" y="38"/>
                  </a:cubicBezTo>
                  <a:cubicBezTo>
                    <a:pt x="15" y="37"/>
                    <a:pt x="15" y="37"/>
                    <a:pt x="15" y="36"/>
                  </a:cubicBezTo>
                  <a:cubicBezTo>
                    <a:pt x="16" y="38"/>
                    <a:pt x="15" y="39"/>
                    <a:pt x="17" y="40"/>
                  </a:cubicBezTo>
                  <a:cubicBezTo>
                    <a:pt x="17" y="40"/>
                    <a:pt x="18" y="40"/>
                    <a:pt x="18" y="40"/>
                  </a:cubicBezTo>
                  <a:cubicBezTo>
                    <a:pt x="17" y="40"/>
                    <a:pt x="16" y="40"/>
                    <a:pt x="15" y="40"/>
                  </a:cubicBezTo>
                  <a:cubicBezTo>
                    <a:pt x="13" y="40"/>
                    <a:pt x="14" y="42"/>
                    <a:pt x="15" y="43"/>
                  </a:cubicBezTo>
                  <a:cubicBezTo>
                    <a:pt x="15" y="45"/>
                    <a:pt x="15" y="44"/>
                    <a:pt x="16" y="45"/>
                  </a:cubicBezTo>
                  <a:cubicBezTo>
                    <a:pt x="18" y="47"/>
                    <a:pt x="15" y="50"/>
                    <a:pt x="14" y="51"/>
                  </a:cubicBezTo>
                  <a:cubicBezTo>
                    <a:pt x="13" y="52"/>
                    <a:pt x="13" y="53"/>
                    <a:pt x="12" y="54"/>
                  </a:cubicBezTo>
                  <a:cubicBezTo>
                    <a:pt x="12" y="54"/>
                    <a:pt x="11" y="54"/>
                    <a:pt x="11" y="54"/>
                  </a:cubicBezTo>
                  <a:cubicBezTo>
                    <a:pt x="11" y="55"/>
                    <a:pt x="12" y="56"/>
                    <a:pt x="12" y="56"/>
                  </a:cubicBezTo>
                  <a:cubicBezTo>
                    <a:pt x="12" y="56"/>
                    <a:pt x="13" y="57"/>
                    <a:pt x="13" y="57"/>
                  </a:cubicBezTo>
                  <a:cubicBezTo>
                    <a:pt x="13" y="58"/>
                    <a:pt x="13" y="59"/>
                    <a:pt x="14" y="59"/>
                  </a:cubicBezTo>
                  <a:cubicBezTo>
                    <a:pt x="14" y="58"/>
                    <a:pt x="13" y="56"/>
                    <a:pt x="14" y="56"/>
                  </a:cubicBezTo>
                  <a:cubicBezTo>
                    <a:pt x="15" y="55"/>
                    <a:pt x="17" y="57"/>
                    <a:pt x="18" y="58"/>
                  </a:cubicBezTo>
                  <a:cubicBezTo>
                    <a:pt x="18" y="58"/>
                    <a:pt x="19" y="58"/>
                    <a:pt x="19" y="58"/>
                  </a:cubicBezTo>
                  <a:cubicBezTo>
                    <a:pt x="20" y="56"/>
                    <a:pt x="19" y="56"/>
                    <a:pt x="19" y="56"/>
                  </a:cubicBezTo>
                  <a:cubicBezTo>
                    <a:pt x="18" y="54"/>
                    <a:pt x="21" y="56"/>
                    <a:pt x="22" y="57"/>
                  </a:cubicBezTo>
                  <a:cubicBezTo>
                    <a:pt x="24" y="57"/>
                    <a:pt x="25" y="56"/>
                    <a:pt x="26" y="55"/>
                  </a:cubicBezTo>
                  <a:cubicBezTo>
                    <a:pt x="27" y="54"/>
                    <a:pt x="27" y="54"/>
                    <a:pt x="28" y="54"/>
                  </a:cubicBezTo>
                  <a:cubicBezTo>
                    <a:pt x="30" y="54"/>
                    <a:pt x="31" y="54"/>
                    <a:pt x="33" y="54"/>
                  </a:cubicBezTo>
                  <a:cubicBezTo>
                    <a:pt x="32" y="54"/>
                    <a:pt x="30" y="54"/>
                    <a:pt x="30" y="55"/>
                  </a:cubicBezTo>
                  <a:cubicBezTo>
                    <a:pt x="30" y="55"/>
                    <a:pt x="30" y="55"/>
                    <a:pt x="30" y="55"/>
                  </a:cubicBezTo>
                  <a:cubicBezTo>
                    <a:pt x="29" y="56"/>
                    <a:pt x="29" y="57"/>
                    <a:pt x="28" y="57"/>
                  </a:cubicBezTo>
                  <a:cubicBezTo>
                    <a:pt x="28" y="58"/>
                    <a:pt x="27" y="59"/>
                    <a:pt x="27" y="60"/>
                  </a:cubicBezTo>
                  <a:cubicBezTo>
                    <a:pt x="27" y="60"/>
                    <a:pt x="27" y="60"/>
                    <a:pt x="27" y="61"/>
                  </a:cubicBezTo>
                  <a:cubicBezTo>
                    <a:pt x="27" y="61"/>
                    <a:pt x="29" y="63"/>
                    <a:pt x="29" y="64"/>
                  </a:cubicBezTo>
                  <a:cubicBezTo>
                    <a:pt x="29" y="64"/>
                    <a:pt x="29" y="64"/>
                    <a:pt x="30" y="65"/>
                  </a:cubicBezTo>
                  <a:cubicBezTo>
                    <a:pt x="30" y="65"/>
                    <a:pt x="31" y="66"/>
                    <a:pt x="31" y="66"/>
                  </a:cubicBezTo>
                  <a:cubicBezTo>
                    <a:pt x="32" y="66"/>
                    <a:pt x="32" y="67"/>
                    <a:pt x="32" y="66"/>
                  </a:cubicBezTo>
                  <a:cubicBezTo>
                    <a:pt x="33" y="64"/>
                    <a:pt x="33" y="65"/>
                    <a:pt x="35" y="65"/>
                  </a:cubicBezTo>
                  <a:cubicBezTo>
                    <a:pt x="34" y="66"/>
                    <a:pt x="34" y="67"/>
                    <a:pt x="33" y="68"/>
                  </a:cubicBezTo>
                  <a:cubicBezTo>
                    <a:pt x="33" y="68"/>
                    <a:pt x="33" y="69"/>
                    <a:pt x="33" y="69"/>
                  </a:cubicBezTo>
                  <a:cubicBezTo>
                    <a:pt x="33" y="70"/>
                    <a:pt x="33" y="71"/>
                    <a:pt x="34" y="71"/>
                  </a:cubicBezTo>
                  <a:cubicBezTo>
                    <a:pt x="34" y="72"/>
                    <a:pt x="33" y="72"/>
                    <a:pt x="33" y="73"/>
                  </a:cubicBezTo>
                  <a:cubicBezTo>
                    <a:pt x="33" y="73"/>
                    <a:pt x="32" y="73"/>
                    <a:pt x="32" y="74"/>
                  </a:cubicBezTo>
                  <a:cubicBezTo>
                    <a:pt x="32" y="75"/>
                    <a:pt x="35" y="76"/>
                    <a:pt x="35" y="77"/>
                  </a:cubicBezTo>
                  <a:cubicBezTo>
                    <a:pt x="33" y="78"/>
                    <a:pt x="34" y="76"/>
                    <a:pt x="33" y="76"/>
                  </a:cubicBezTo>
                  <a:cubicBezTo>
                    <a:pt x="33" y="76"/>
                    <a:pt x="31" y="76"/>
                    <a:pt x="31" y="76"/>
                  </a:cubicBezTo>
                  <a:cubicBezTo>
                    <a:pt x="31" y="76"/>
                    <a:pt x="32" y="78"/>
                    <a:pt x="32" y="78"/>
                  </a:cubicBezTo>
                  <a:cubicBezTo>
                    <a:pt x="31" y="78"/>
                    <a:pt x="30" y="78"/>
                    <a:pt x="28" y="78"/>
                  </a:cubicBezTo>
                  <a:cubicBezTo>
                    <a:pt x="27" y="77"/>
                    <a:pt x="25" y="77"/>
                    <a:pt x="25" y="77"/>
                  </a:cubicBezTo>
                  <a:cubicBezTo>
                    <a:pt x="24" y="77"/>
                    <a:pt x="24" y="78"/>
                    <a:pt x="23" y="78"/>
                  </a:cubicBezTo>
                  <a:cubicBezTo>
                    <a:pt x="23" y="78"/>
                    <a:pt x="22" y="78"/>
                    <a:pt x="21" y="79"/>
                  </a:cubicBezTo>
                  <a:cubicBezTo>
                    <a:pt x="22" y="78"/>
                    <a:pt x="22" y="78"/>
                    <a:pt x="23" y="77"/>
                  </a:cubicBezTo>
                  <a:cubicBezTo>
                    <a:pt x="22" y="77"/>
                    <a:pt x="21" y="77"/>
                    <a:pt x="21" y="77"/>
                  </a:cubicBezTo>
                  <a:cubicBezTo>
                    <a:pt x="20" y="76"/>
                    <a:pt x="20" y="76"/>
                    <a:pt x="20" y="76"/>
                  </a:cubicBezTo>
                  <a:cubicBezTo>
                    <a:pt x="19" y="75"/>
                    <a:pt x="18" y="76"/>
                    <a:pt x="17" y="76"/>
                  </a:cubicBezTo>
                  <a:cubicBezTo>
                    <a:pt x="18" y="77"/>
                    <a:pt x="19" y="79"/>
                    <a:pt x="19" y="80"/>
                  </a:cubicBezTo>
                  <a:cubicBezTo>
                    <a:pt x="20" y="80"/>
                    <a:pt x="20" y="79"/>
                    <a:pt x="20" y="79"/>
                  </a:cubicBezTo>
                  <a:cubicBezTo>
                    <a:pt x="20" y="80"/>
                    <a:pt x="19" y="81"/>
                    <a:pt x="19" y="81"/>
                  </a:cubicBezTo>
                  <a:cubicBezTo>
                    <a:pt x="19" y="83"/>
                    <a:pt x="16" y="83"/>
                    <a:pt x="15" y="84"/>
                  </a:cubicBezTo>
                  <a:cubicBezTo>
                    <a:pt x="17" y="85"/>
                    <a:pt x="18" y="84"/>
                    <a:pt x="19" y="83"/>
                  </a:cubicBezTo>
                  <a:cubicBezTo>
                    <a:pt x="20" y="83"/>
                    <a:pt x="21" y="83"/>
                    <a:pt x="22" y="83"/>
                  </a:cubicBezTo>
                  <a:cubicBezTo>
                    <a:pt x="22" y="84"/>
                    <a:pt x="21" y="84"/>
                    <a:pt x="22" y="86"/>
                  </a:cubicBezTo>
                  <a:cubicBezTo>
                    <a:pt x="22" y="87"/>
                    <a:pt x="22" y="87"/>
                    <a:pt x="24" y="88"/>
                  </a:cubicBezTo>
                  <a:cubicBezTo>
                    <a:pt x="23" y="89"/>
                    <a:pt x="22" y="91"/>
                    <a:pt x="21" y="92"/>
                  </a:cubicBezTo>
                  <a:cubicBezTo>
                    <a:pt x="20" y="93"/>
                    <a:pt x="18" y="93"/>
                    <a:pt x="17" y="93"/>
                  </a:cubicBezTo>
                  <a:cubicBezTo>
                    <a:pt x="15" y="95"/>
                    <a:pt x="12" y="96"/>
                    <a:pt x="10" y="97"/>
                  </a:cubicBezTo>
                  <a:cubicBezTo>
                    <a:pt x="10" y="97"/>
                    <a:pt x="11" y="98"/>
                    <a:pt x="12" y="98"/>
                  </a:cubicBezTo>
                  <a:cubicBezTo>
                    <a:pt x="11" y="99"/>
                    <a:pt x="11" y="99"/>
                    <a:pt x="10" y="99"/>
                  </a:cubicBezTo>
                  <a:cubicBezTo>
                    <a:pt x="11" y="99"/>
                    <a:pt x="11" y="99"/>
                    <a:pt x="11" y="100"/>
                  </a:cubicBezTo>
                  <a:cubicBezTo>
                    <a:pt x="12" y="99"/>
                    <a:pt x="13" y="99"/>
                    <a:pt x="14" y="98"/>
                  </a:cubicBezTo>
                  <a:cubicBezTo>
                    <a:pt x="14" y="100"/>
                    <a:pt x="13" y="100"/>
                    <a:pt x="12" y="100"/>
                  </a:cubicBezTo>
                  <a:cubicBezTo>
                    <a:pt x="13" y="100"/>
                    <a:pt x="12" y="101"/>
                    <a:pt x="13" y="100"/>
                  </a:cubicBezTo>
                  <a:cubicBezTo>
                    <a:pt x="14" y="100"/>
                    <a:pt x="15" y="99"/>
                    <a:pt x="16" y="99"/>
                  </a:cubicBezTo>
                  <a:cubicBezTo>
                    <a:pt x="17" y="99"/>
                    <a:pt x="18" y="99"/>
                    <a:pt x="19" y="99"/>
                  </a:cubicBezTo>
                  <a:cubicBezTo>
                    <a:pt x="18" y="98"/>
                    <a:pt x="22" y="100"/>
                    <a:pt x="22" y="100"/>
                  </a:cubicBezTo>
                  <a:cubicBezTo>
                    <a:pt x="21" y="100"/>
                    <a:pt x="20" y="100"/>
                    <a:pt x="20" y="101"/>
                  </a:cubicBezTo>
                  <a:cubicBezTo>
                    <a:pt x="22" y="102"/>
                    <a:pt x="24" y="102"/>
                    <a:pt x="25" y="102"/>
                  </a:cubicBezTo>
                  <a:cubicBezTo>
                    <a:pt x="26" y="102"/>
                    <a:pt x="27" y="102"/>
                    <a:pt x="27" y="103"/>
                  </a:cubicBezTo>
                  <a:cubicBezTo>
                    <a:pt x="28" y="103"/>
                    <a:pt x="28" y="103"/>
                    <a:pt x="29" y="103"/>
                  </a:cubicBezTo>
                  <a:cubicBezTo>
                    <a:pt x="32" y="102"/>
                    <a:pt x="35" y="101"/>
                    <a:pt x="38" y="100"/>
                  </a:cubicBezTo>
                  <a:cubicBezTo>
                    <a:pt x="36" y="101"/>
                    <a:pt x="35" y="103"/>
                    <a:pt x="33" y="105"/>
                  </a:cubicBezTo>
                  <a:cubicBezTo>
                    <a:pt x="32" y="106"/>
                    <a:pt x="34" y="106"/>
                    <a:pt x="32" y="106"/>
                  </a:cubicBezTo>
                  <a:cubicBezTo>
                    <a:pt x="29" y="106"/>
                    <a:pt x="25" y="105"/>
                    <a:pt x="22" y="106"/>
                  </a:cubicBezTo>
                  <a:cubicBezTo>
                    <a:pt x="20" y="106"/>
                    <a:pt x="17" y="109"/>
                    <a:pt x="17" y="111"/>
                  </a:cubicBezTo>
                  <a:cubicBezTo>
                    <a:pt x="17" y="113"/>
                    <a:pt x="15" y="114"/>
                    <a:pt x="14" y="115"/>
                  </a:cubicBezTo>
                  <a:cubicBezTo>
                    <a:pt x="11" y="115"/>
                    <a:pt x="8" y="120"/>
                    <a:pt x="5" y="121"/>
                  </a:cubicBezTo>
                  <a:cubicBezTo>
                    <a:pt x="7" y="121"/>
                    <a:pt x="9" y="121"/>
                    <a:pt x="10" y="122"/>
                  </a:cubicBezTo>
                  <a:cubicBezTo>
                    <a:pt x="10" y="122"/>
                    <a:pt x="10" y="123"/>
                    <a:pt x="11" y="123"/>
                  </a:cubicBezTo>
                  <a:cubicBezTo>
                    <a:pt x="11" y="122"/>
                    <a:pt x="12" y="121"/>
                    <a:pt x="12" y="120"/>
                  </a:cubicBezTo>
                  <a:cubicBezTo>
                    <a:pt x="14" y="119"/>
                    <a:pt x="16" y="119"/>
                    <a:pt x="18" y="118"/>
                  </a:cubicBezTo>
                  <a:cubicBezTo>
                    <a:pt x="19" y="118"/>
                    <a:pt x="20" y="118"/>
                    <a:pt x="21" y="118"/>
                  </a:cubicBezTo>
                  <a:cubicBezTo>
                    <a:pt x="21" y="117"/>
                    <a:pt x="21" y="117"/>
                    <a:pt x="21" y="116"/>
                  </a:cubicBezTo>
                  <a:cubicBezTo>
                    <a:pt x="21" y="117"/>
                    <a:pt x="22" y="118"/>
                    <a:pt x="22" y="118"/>
                  </a:cubicBezTo>
                  <a:cubicBezTo>
                    <a:pt x="23" y="118"/>
                    <a:pt x="23" y="118"/>
                    <a:pt x="23" y="118"/>
                  </a:cubicBezTo>
                  <a:cubicBezTo>
                    <a:pt x="24" y="118"/>
                    <a:pt x="25" y="119"/>
                    <a:pt x="25" y="119"/>
                  </a:cubicBezTo>
                  <a:cubicBezTo>
                    <a:pt x="27" y="120"/>
                    <a:pt x="28" y="117"/>
                    <a:pt x="28" y="115"/>
                  </a:cubicBezTo>
                  <a:cubicBezTo>
                    <a:pt x="28" y="115"/>
                    <a:pt x="29" y="114"/>
                    <a:pt x="29" y="113"/>
                  </a:cubicBezTo>
                  <a:cubicBezTo>
                    <a:pt x="31" y="113"/>
                    <a:pt x="35" y="112"/>
                    <a:pt x="38" y="114"/>
                  </a:cubicBezTo>
                  <a:cubicBezTo>
                    <a:pt x="38" y="114"/>
                    <a:pt x="39" y="115"/>
                    <a:pt x="39" y="115"/>
                  </a:cubicBezTo>
                  <a:cubicBezTo>
                    <a:pt x="40" y="115"/>
                    <a:pt x="40" y="114"/>
                    <a:pt x="41" y="114"/>
                  </a:cubicBezTo>
                  <a:cubicBezTo>
                    <a:pt x="41" y="114"/>
                    <a:pt x="43" y="114"/>
                    <a:pt x="44" y="114"/>
                  </a:cubicBezTo>
                  <a:cubicBezTo>
                    <a:pt x="44" y="113"/>
                    <a:pt x="43" y="113"/>
                    <a:pt x="43" y="113"/>
                  </a:cubicBezTo>
                  <a:cubicBezTo>
                    <a:pt x="43" y="112"/>
                    <a:pt x="44" y="112"/>
                    <a:pt x="45" y="112"/>
                  </a:cubicBezTo>
                  <a:cubicBezTo>
                    <a:pt x="47" y="112"/>
                    <a:pt x="48" y="112"/>
                    <a:pt x="50" y="110"/>
                  </a:cubicBezTo>
                  <a:cubicBezTo>
                    <a:pt x="49" y="110"/>
                    <a:pt x="49" y="110"/>
                    <a:pt x="49" y="110"/>
                  </a:cubicBezTo>
                  <a:cubicBezTo>
                    <a:pt x="50" y="110"/>
                    <a:pt x="52" y="111"/>
                    <a:pt x="53" y="111"/>
                  </a:cubicBezTo>
                  <a:cubicBezTo>
                    <a:pt x="54" y="111"/>
                    <a:pt x="55" y="111"/>
                    <a:pt x="56" y="112"/>
                  </a:cubicBezTo>
                  <a:cubicBezTo>
                    <a:pt x="56" y="113"/>
                    <a:pt x="61" y="111"/>
                    <a:pt x="63" y="111"/>
                  </a:cubicBezTo>
                  <a:cubicBezTo>
                    <a:pt x="64" y="112"/>
                    <a:pt x="66" y="112"/>
                    <a:pt x="67" y="112"/>
                  </a:cubicBezTo>
                  <a:cubicBezTo>
                    <a:pt x="69" y="112"/>
                    <a:pt x="72" y="110"/>
                    <a:pt x="74" y="109"/>
                  </a:cubicBezTo>
                  <a:cubicBezTo>
                    <a:pt x="75" y="109"/>
                    <a:pt x="77" y="108"/>
                    <a:pt x="78" y="107"/>
                  </a:cubicBezTo>
                  <a:cubicBezTo>
                    <a:pt x="78" y="106"/>
                    <a:pt x="78" y="106"/>
                    <a:pt x="78" y="105"/>
                  </a:cubicBezTo>
                  <a:cubicBezTo>
                    <a:pt x="78" y="105"/>
                    <a:pt x="78" y="104"/>
                    <a:pt x="78" y="104"/>
                  </a:cubicBezTo>
                  <a:cubicBezTo>
                    <a:pt x="78" y="103"/>
                    <a:pt x="79" y="104"/>
                    <a:pt x="77" y="103"/>
                  </a:cubicBezTo>
                  <a:cubicBezTo>
                    <a:pt x="74" y="103"/>
                    <a:pt x="71" y="103"/>
                    <a:pt x="68" y="103"/>
                  </a:cubicBezTo>
                  <a:cubicBezTo>
                    <a:pt x="69" y="102"/>
                    <a:pt x="70" y="102"/>
                    <a:pt x="71" y="102"/>
                  </a:cubicBezTo>
                  <a:cubicBezTo>
                    <a:pt x="71" y="102"/>
                    <a:pt x="72" y="102"/>
                    <a:pt x="72" y="102"/>
                  </a:cubicBezTo>
                  <a:cubicBezTo>
                    <a:pt x="72" y="102"/>
                    <a:pt x="73" y="101"/>
                    <a:pt x="73" y="101"/>
                  </a:cubicBezTo>
                  <a:cubicBezTo>
                    <a:pt x="74" y="100"/>
                    <a:pt x="73" y="99"/>
                    <a:pt x="72" y="99"/>
                  </a:cubicBezTo>
                  <a:cubicBezTo>
                    <a:pt x="72" y="99"/>
                    <a:pt x="72" y="100"/>
                    <a:pt x="71" y="99"/>
                  </a:cubicBezTo>
                  <a:cubicBezTo>
                    <a:pt x="72" y="99"/>
                    <a:pt x="74" y="98"/>
                    <a:pt x="74" y="98"/>
                  </a:cubicBezTo>
                  <a:cubicBezTo>
                    <a:pt x="75" y="98"/>
                    <a:pt x="75" y="98"/>
                    <a:pt x="75" y="98"/>
                  </a:cubicBezTo>
                  <a:cubicBezTo>
                    <a:pt x="77" y="98"/>
                    <a:pt x="76" y="97"/>
                    <a:pt x="75" y="96"/>
                  </a:cubicBezTo>
                  <a:cubicBezTo>
                    <a:pt x="75" y="96"/>
                    <a:pt x="76" y="96"/>
                    <a:pt x="77" y="96"/>
                  </a:cubicBezTo>
                  <a:cubicBezTo>
                    <a:pt x="76" y="96"/>
                    <a:pt x="76" y="95"/>
                    <a:pt x="76" y="95"/>
                  </a:cubicBezTo>
                  <a:cubicBezTo>
                    <a:pt x="76" y="95"/>
                    <a:pt x="77" y="96"/>
                    <a:pt x="77" y="96"/>
                  </a:cubicBezTo>
                  <a:cubicBezTo>
                    <a:pt x="78" y="96"/>
                    <a:pt x="78" y="96"/>
                    <a:pt x="79" y="95"/>
                  </a:cubicBezTo>
                  <a:cubicBezTo>
                    <a:pt x="79" y="95"/>
                    <a:pt x="80" y="95"/>
                    <a:pt x="80" y="94"/>
                  </a:cubicBezTo>
                  <a:cubicBezTo>
                    <a:pt x="81" y="93"/>
                    <a:pt x="82" y="90"/>
                    <a:pt x="82" y="88"/>
                  </a:cubicBezTo>
                  <a:cubicBezTo>
                    <a:pt x="82" y="86"/>
                    <a:pt x="80" y="84"/>
                    <a:pt x="78" y="83"/>
                  </a:cubicBezTo>
                  <a:cubicBezTo>
                    <a:pt x="77" y="82"/>
                    <a:pt x="73" y="82"/>
                    <a:pt x="71" y="82"/>
                  </a:cubicBezTo>
                  <a:cubicBezTo>
                    <a:pt x="70" y="82"/>
                    <a:pt x="70" y="82"/>
                    <a:pt x="69" y="83"/>
                  </a:cubicBezTo>
                  <a:cubicBezTo>
                    <a:pt x="68" y="83"/>
                    <a:pt x="68" y="84"/>
                    <a:pt x="67" y="84"/>
                  </a:cubicBezTo>
                  <a:cubicBezTo>
                    <a:pt x="67" y="84"/>
                    <a:pt x="66" y="84"/>
                    <a:pt x="65" y="83"/>
                  </a:cubicBezTo>
                  <a:cubicBezTo>
                    <a:pt x="65" y="83"/>
                    <a:pt x="65" y="83"/>
                    <a:pt x="64" y="83"/>
                  </a:cubicBezTo>
                  <a:cubicBezTo>
                    <a:pt x="64" y="83"/>
                    <a:pt x="65" y="82"/>
                    <a:pt x="65" y="82"/>
                  </a:cubicBezTo>
                  <a:cubicBezTo>
                    <a:pt x="66" y="81"/>
                    <a:pt x="66" y="81"/>
                    <a:pt x="67" y="80"/>
                  </a:cubicBezTo>
                  <a:cubicBezTo>
                    <a:pt x="69" y="78"/>
                    <a:pt x="64" y="75"/>
                    <a:pt x="62" y="73"/>
                  </a:cubicBezTo>
                  <a:cubicBezTo>
                    <a:pt x="62" y="73"/>
                    <a:pt x="61" y="72"/>
                    <a:pt x="60" y="72"/>
                  </a:cubicBezTo>
                  <a:cubicBezTo>
                    <a:pt x="59" y="72"/>
                    <a:pt x="59" y="73"/>
                    <a:pt x="58" y="72"/>
                  </a:cubicBezTo>
                  <a:cubicBezTo>
                    <a:pt x="59" y="72"/>
                    <a:pt x="61" y="71"/>
                    <a:pt x="62" y="72"/>
                  </a:cubicBezTo>
                  <a:cubicBezTo>
                    <a:pt x="62" y="72"/>
                    <a:pt x="62" y="73"/>
                    <a:pt x="63" y="73"/>
                  </a:cubicBezTo>
                  <a:cubicBezTo>
                    <a:pt x="64" y="73"/>
                    <a:pt x="64" y="72"/>
                    <a:pt x="65" y="73"/>
                  </a:cubicBezTo>
                  <a:cubicBezTo>
                    <a:pt x="64" y="71"/>
                    <a:pt x="63" y="68"/>
                    <a:pt x="62" y="66"/>
                  </a:cubicBezTo>
                  <a:cubicBezTo>
                    <a:pt x="61" y="64"/>
                    <a:pt x="60" y="63"/>
                    <a:pt x="59" y="62"/>
                  </a:cubicBezTo>
                  <a:cubicBezTo>
                    <a:pt x="58" y="62"/>
                    <a:pt x="57" y="60"/>
                    <a:pt x="56" y="60"/>
                  </a:cubicBezTo>
                  <a:cubicBezTo>
                    <a:pt x="54" y="59"/>
                    <a:pt x="53" y="58"/>
                    <a:pt x="51" y="58"/>
                  </a:cubicBezTo>
                  <a:cubicBezTo>
                    <a:pt x="51" y="57"/>
                    <a:pt x="50" y="55"/>
                    <a:pt x="50" y="54"/>
                  </a:cubicBezTo>
                  <a:cubicBezTo>
                    <a:pt x="49" y="52"/>
                    <a:pt x="48" y="50"/>
                    <a:pt x="48" y="48"/>
                  </a:cubicBezTo>
                  <a:cubicBezTo>
                    <a:pt x="47" y="44"/>
                    <a:pt x="44" y="43"/>
                    <a:pt x="42" y="41"/>
                  </a:cubicBezTo>
                  <a:cubicBezTo>
                    <a:pt x="37" y="38"/>
                    <a:pt x="31" y="40"/>
                    <a:pt x="26" y="38"/>
                  </a:cubicBezTo>
                  <a:cubicBezTo>
                    <a:pt x="27" y="38"/>
                    <a:pt x="28" y="39"/>
                    <a:pt x="30" y="39"/>
                  </a:cubicBezTo>
                  <a:cubicBezTo>
                    <a:pt x="31" y="39"/>
                    <a:pt x="32" y="38"/>
                    <a:pt x="33" y="37"/>
                  </a:cubicBezTo>
                  <a:cubicBezTo>
                    <a:pt x="34" y="36"/>
                    <a:pt x="34" y="37"/>
                    <a:pt x="35" y="37"/>
                  </a:cubicBezTo>
                  <a:cubicBezTo>
                    <a:pt x="38" y="36"/>
                    <a:pt x="36" y="33"/>
                    <a:pt x="35" y="33"/>
                  </a:cubicBezTo>
                  <a:cubicBezTo>
                    <a:pt x="37" y="32"/>
                    <a:pt x="38" y="30"/>
                    <a:pt x="39" y="29"/>
                  </a:cubicBezTo>
                  <a:cubicBezTo>
                    <a:pt x="39" y="28"/>
                    <a:pt x="40" y="28"/>
                    <a:pt x="41" y="27"/>
                  </a:cubicBezTo>
                  <a:cubicBezTo>
                    <a:pt x="41" y="26"/>
                    <a:pt x="41" y="26"/>
                    <a:pt x="42" y="25"/>
                  </a:cubicBezTo>
                  <a:cubicBezTo>
                    <a:pt x="42" y="24"/>
                    <a:pt x="43" y="24"/>
                    <a:pt x="43" y="23"/>
                  </a:cubicBezTo>
                  <a:cubicBezTo>
                    <a:pt x="43" y="22"/>
                    <a:pt x="43" y="21"/>
                    <a:pt x="44" y="20"/>
                  </a:cubicBezTo>
                  <a:cubicBezTo>
                    <a:pt x="44" y="20"/>
                    <a:pt x="45" y="19"/>
                    <a:pt x="45" y="18"/>
                  </a:cubicBezTo>
                  <a:cubicBezTo>
                    <a:pt x="46" y="18"/>
                    <a:pt x="46" y="16"/>
                    <a:pt x="45" y="16"/>
                  </a:cubicBezTo>
                  <a:cubicBezTo>
                    <a:pt x="41" y="15"/>
                    <a:pt x="38" y="15"/>
                    <a:pt x="34" y="15"/>
                  </a:cubicBezTo>
                  <a:cubicBezTo>
                    <a:pt x="31" y="14"/>
                    <a:pt x="29" y="14"/>
                    <a:pt x="27" y="15"/>
                  </a:cubicBezTo>
                  <a:cubicBezTo>
                    <a:pt x="25" y="16"/>
                    <a:pt x="24" y="16"/>
                    <a:pt x="23" y="16"/>
                  </a:cubicBezTo>
                  <a:cubicBezTo>
                    <a:pt x="22" y="16"/>
                    <a:pt x="22" y="18"/>
                    <a:pt x="21" y="18"/>
                  </a:cubicBezTo>
                  <a:cubicBezTo>
                    <a:pt x="20" y="18"/>
                    <a:pt x="21" y="15"/>
                    <a:pt x="21" y="15"/>
                  </a:cubicBezTo>
                  <a:cubicBezTo>
                    <a:pt x="22" y="15"/>
                    <a:pt x="22" y="14"/>
                    <a:pt x="23" y="14"/>
                  </a:cubicBezTo>
                  <a:cubicBezTo>
                    <a:pt x="23" y="14"/>
                    <a:pt x="23" y="15"/>
                    <a:pt x="23" y="15"/>
                  </a:cubicBezTo>
                  <a:cubicBezTo>
                    <a:pt x="23" y="14"/>
                    <a:pt x="24" y="14"/>
                    <a:pt x="24" y="13"/>
                  </a:cubicBezTo>
                  <a:cubicBezTo>
                    <a:pt x="24" y="12"/>
                    <a:pt x="20" y="13"/>
                    <a:pt x="19" y="12"/>
                  </a:cubicBezTo>
                  <a:cubicBezTo>
                    <a:pt x="20" y="12"/>
                    <a:pt x="24" y="13"/>
                    <a:pt x="22" y="11"/>
                  </a:cubicBezTo>
                  <a:cubicBezTo>
                    <a:pt x="22" y="11"/>
                    <a:pt x="26" y="9"/>
                    <a:pt x="27" y="8"/>
                  </a:cubicBezTo>
                  <a:cubicBezTo>
                    <a:pt x="28" y="7"/>
                    <a:pt x="29" y="6"/>
                    <a:pt x="30" y="6"/>
                  </a:cubicBezTo>
                  <a:cubicBezTo>
                    <a:pt x="32" y="4"/>
                    <a:pt x="32" y="3"/>
                    <a:pt x="33" y="0"/>
                  </a:cubicBezTo>
                  <a:cubicBezTo>
                    <a:pt x="32" y="0"/>
                    <a:pt x="31" y="0"/>
                    <a:pt x="31" y="0"/>
                  </a:cubicBezTo>
                  <a:cubicBezTo>
                    <a:pt x="30" y="0"/>
                    <a:pt x="29" y="0"/>
                    <a:pt x="30" y="0"/>
                  </a:cubicBezTo>
                  <a:cubicBezTo>
                    <a:pt x="29" y="0"/>
                    <a:pt x="29" y="1"/>
                    <a:pt x="28" y="1"/>
                  </a:cubicBezTo>
                  <a:cubicBezTo>
                    <a:pt x="28" y="1"/>
                    <a:pt x="28" y="1"/>
                    <a:pt x="27" y="1"/>
                  </a:cubicBezTo>
                  <a:cubicBezTo>
                    <a:pt x="26" y="1"/>
                    <a:pt x="23" y="3"/>
                    <a:pt x="23" y="1"/>
                  </a:cubicBezTo>
                  <a:cubicBezTo>
                    <a:pt x="22" y="3"/>
                    <a:pt x="19" y="2"/>
                    <a:pt x="18" y="3"/>
                  </a:cubicBezTo>
                  <a:cubicBezTo>
                    <a:pt x="18" y="3"/>
                    <a:pt x="19" y="2"/>
                    <a:pt x="18" y="2"/>
                  </a:cubicBezTo>
                  <a:cubicBezTo>
                    <a:pt x="17" y="1"/>
                    <a:pt x="16" y="3"/>
                    <a:pt x="15" y="3"/>
                  </a:cubicBezTo>
                  <a:cubicBezTo>
                    <a:pt x="16" y="3"/>
                    <a:pt x="16" y="2"/>
                    <a:pt x="16" y="2"/>
                  </a:cubicBezTo>
                  <a:cubicBezTo>
                    <a:pt x="16" y="1"/>
                    <a:pt x="15" y="1"/>
                    <a:pt x="15" y="1"/>
                  </a:cubicBezTo>
                  <a:cubicBezTo>
                    <a:pt x="15" y="1"/>
                    <a:pt x="14" y="1"/>
                    <a:pt x="14" y="1"/>
                  </a:cubicBezTo>
                  <a:cubicBezTo>
                    <a:pt x="12" y="1"/>
                    <a:pt x="12" y="2"/>
                    <a:pt x="11" y="4"/>
                  </a:cubicBezTo>
                  <a:cubicBezTo>
                    <a:pt x="11" y="5"/>
                    <a:pt x="12" y="6"/>
                    <a:pt x="13" y="6"/>
                  </a:cubicBezTo>
                  <a:cubicBezTo>
                    <a:pt x="13" y="6"/>
                    <a:pt x="12" y="6"/>
                    <a:pt x="11" y="6"/>
                  </a:cubicBezTo>
                  <a:cubicBezTo>
                    <a:pt x="10" y="6"/>
                    <a:pt x="10" y="7"/>
                    <a:pt x="9" y="6"/>
                  </a:cubicBezTo>
                  <a:cubicBezTo>
                    <a:pt x="9" y="7"/>
                    <a:pt x="10" y="8"/>
                    <a:pt x="10" y="8"/>
                  </a:cubicBezTo>
                  <a:cubicBezTo>
                    <a:pt x="10" y="8"/>
                    <a:pt x="10" y="9"/>
                    <a:pt x="9" y="9"/>
                  </a:cubicBezTo>
                  <a:cubicBezTo>
                    <a:pt x="9" y="9"/>
                    <a:pt x="8" y="8"/>
                    <a:pt x="8" y="9"/>
                  </a:cubicBezTo>
                  <a:cubicBezTo>
                    <a:pt x="8" y="9"/>
                    <a:pt x="10" y="10"/>
                    <a:pt x="10" y="10"/>
                  </a:cubicBezTo>
                  <a:cubicBezTo>
                    <a:pt x="11" y="11"/>
                    <a:pt x="12" y="11"/>
                    <a:pt x="12" y="12"/>
                  </a:cubicBezTo>
                  <a:cubicBezTo>
                    <a:pt x="11" y="12"/>
                    <a:pt x="10" y="11"/>
                    <a:pt x="9" y="11"/>
                  </a:cubicBezTo>
                  <a:cubicBezTo>
                    <a:pt x="9" y="12"/>
                    <a:pt x="10" y="12"/>
                    <a:pt x="10" y="12"/>
                  </a:cubicBezTo>
                  <a:cubicBezTo>
                    <a:pt x="10" y="12"/>
                    <a:pt x="9" y="11"/>
                    <a:pt x="9" y="11"/>
                  </a:cubicBezTo>
                  <a:cubicBezTo>
                    <a:pt x="8" y="11"/>
                    <a:pt x="8" y="12"/>
                    <a:pt x="8" y="12"/>
                  </a:cubicBezTo>
                  <a:cubicBezTo>
                    <a:pt x="7" y="12"/>
                    <a:pt x="7" y="11"/>
                    <a:pt x="7" y="11"/>
                  </a:cubicBezTo>
                  <a:cubicBezTo>
                    <a:pt x="6" y="11"/>
                    <a:pt x="6" y="12"/>
                    <a:pt x="6" y="13"/>
                  </a:cubicBezTo>
                  <a:cubicBezTo>
                    <a:pt x="6" y="12"/>
                    <a:pt x="5" y="11"/>
                    <a:pt x="5" y="12"/>
                  </a:cubicBezTo>
                  <a:cubicBezTo>
                    <a:pt x="4" y="13"/>
                    <a:pt x="7" y="17"/>
                    <a:pt x="8" y="17"/>
                  </a:cubicBezTo>
                  <a:cubicBezTo>
                    <a:pt x="6" y="17"/>
                    <a:pt x="6" y="17"/>
                    <a:pt x="5" y="17"/>
                  </a:cubicBezTo>
                  <a:cubicBezTo>
                    <a:pt x="5" y="17"/>
                    <a:pt x="4" y="16"/>
                    <a:pt x="4" y="17"/>
                  </a:cubicBezTo>
                  <a:cubicBezTo>
                    <a:pt x="4" y="19"/>
                    <a:pt x="6" y="19"/>
                    <a:pt x="7" y="19"/>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22" name="Freeform 2174">
              <a:extLst>
                <a:ext uri="{FF2B5EF4-FFF2-40B4-BE49-F238E27FC236}">
                  <a16:creationId xmlns:a16="http://schemas.microsoft.com/office/drawing/2014/main" id="{A755E82F-4296-4D38-AB62-32FF596ACD6D}"/>
                </a:ext>
              </a:extLst>
            </p:cNvPr>
            <p:cNvSpPr>
              <a:spLocks/>
            </p:cNvSpPr>
            <p:nvPr/>
          </p:nvSpPr>
          <p:spPr bwMode="auto">
            <a:xfrm>
              <a:off x="3369" y="1210"/>
              <a:ext cx="8" cy="12"/>
            </a:xfrm>
            <a:custGeom>
              <a:avLst/>
              <a:gdLst>
                <a:gd name="T0" fmla="*/ 0 w 3"/>
                <a:gd name="T1" fmla="*/ 1 h 5"/>
                <a:gd name="T2" fmla="*/ 2 w 3"/>
                <a:gd name="T3" fmla="*/ 2 h 5"/>
                <a:gd name="T4" fmla="*/ 0 w 3"/>
                <a:gd name="T5" fmla="*/ 2 h 5"/>
                <a:gd name="T6" fmla="*/ 2 w 3"/>
                <a:gd name="T7" fmla="*/ 5 h 5"/>
                <a:gd name="T8" fmla="*/ 1 w 3"/>
                <a:gd name="T9" fmla="*/ 4 h 5"/>
                <a:gd name="T10" fmla="*/ 1 w 3"/>
                <a:gd name="T11" fmla="*/ 3 h 5"/>
                <a:gd name="T12" fmla="*/ 0 w 3"/>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0" y="1"/>
                  </a:moveTo>
                  <a:cubicBezTo>
                    <a:pt x="1" y="1"/>
                    <a:pt x="2" y="2"/>
                    <a:pt x="2" y="2"/>
                  </a:cubicBezTo>
                  <a:cubicBezTo>
                    <a:pt x="1" y="1"/>
                    <a:pt x="0" y="0"/>
                    <a:pt x="0" y="2"/>
                  </a:cubicBezTo>
                  <a:cubicBezTo>
                    <a:pt x="0" y="4"/>
                    <a:pt x="0" y="5"/>
                    <a:pt x="2" y="5"/>
                  </a:cubicBezTo>
                  <a:cubicBezTo>
                    <a:pt x="1" y="5"/>
                    <a:pt x="1" y="5"/>
                    <a:pt x="1" y="4"/>
                  </a:cubicBezTo>
                  <a:cubicBezTo>
                    <a:pt x="1" y="3"/>
                    <a:pt x="1" y="3"/>
                    <a:pt x="1" y="3"/>
                  </a:cubicBezTo>
                  <a:cubicBezTo>
                    <a:pt x="3" y="2"/>
                    <a:pt x="2" y="3"/>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23" name="Freeform 2175">
              <a:extLst>
                <a:ext uri="{FF2B5EF4-FFF2-40B4-BE49-F238E27FC236}">
                  <a16:creationId xmlns:a16="http://schemas.microsoft.com/office/drawing/2014/main" id="{E8CE7284-FF91-48B3-B830-932E41BC83E3}"/>
                </a:ext>
              </a:extLst>
            </p:cNvPr>
            <p:cNvSpPr>
              <a:spLocks/>
            </p:cNvSpPr>
            <p:nvPr/>
          </p:nvSpPr>
          <p:spPr bwMode="auto">
            <a:xfrm>
              <a:off x="3388" y="1236"/>
              <a:ext cx="5" cy="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1" y="1"/>
                    <a:pt x="0" y="2"/>
                    <a:pt x="0" y="2"/>
                  </a:cubicBezTo>
                  <a:cubicBezTo>
                    <a:pt x="1" y="2"/>
                    <a:pt x="2" y="1"/>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24" name="Freeform 2176">
              <a:extLst>
                <a:ext uri="{FF2B5EF4-FFF2-40B4-BE49-F238E27FC236}">
                  <a16:creationId xmlns:a16="http://schemas.microsoft.com/office/drawing/2014/main" id="{08BAA6C7-0B0B-45BD-8303-D4D3B7F40B1C}"/>
                </a:ext>
              </a:extLst>
            </p:cNvPr>
            <p:cNvSpPr>
              <a:spLocks/>
            </p:cNvSpPr>
            <p:nvPr/>
          </p:nvSpPr>
          <p:spPr bwMode="auto">
            <a:xfrm>
              <a:off x="3369" y="1208"/>
              <a:ext cx="8" cy="4"/>
            </a:xfrm>
            <a:custGeom>
              <a:avLst/>
              <a:gdLst>
                <a:gd name="T0" fmla="*/ 1 w 3"/>
                <a:gd name="T1" fmla="*/ 2 h 2"/>
                <a:gd name="T2" fmla="*/ 0 w 3"/>
                <a:gd name="T3" fmla="*/ 1 h 2"/>
                <a:gd name="T4" fmla="*/ 1 w 3"/>
                <a:gd name="T5" fmla="*/ 2 h 2"/>
              </a:gdLst>
              <a:ahLst/>
              <a:cxnLst>
                <a:cxn ang="0">
                  <a:pos x="T0" y="T1"/>
                </a:cxn>
                <a:cxn ang="0">
                  <a:pos x="T2" y="T3"/>
                </a:cxn>
                <a:cxn ang="0">
                  <a:pos x="T4" y="T5"/>
                </a:cxn>
              </a:cxnLst>
              <a:rect l="0" t="0" r="r" b="b"/>
              <a:pathLst>
                <a:path w="3" h="2">
                  <a:moveTo>
                    <a:pt x="1" y="2"/>
                  </a:moveTo>
                  <a:cubicBezTo>
                    <a:pt x="3" y="1"/>
                    <a:pt x="1" y="0"/>
                    <a:pt x="0" y="1"/>
                  </a:cubicBezTo>
                  <a:cubicBezTo>
                    <a:pt x="1" y="1"/>
                    <a:pt x="1" y="2"/>
                    <a:pt x="1" y="2"/>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25" name="Freeform 2177">
              <a:extLst>
                <a:ext uri="{FF2B5EF4-FFF2-40B4-BE49-F238E27FC236}">
                  <a16:creationId xmlns:a16="http://schemas.microsoft.com/office/drawing/2014/main" id="{AE84E304-2FDC-48D7-81DE-067975A3E9F9}"/>
                </a:ext>
              </a:extLst>
            </p:cNvPr>
            <p:cNvSpPr>
              <a:spLocks/>
            </p:cNvSpPr>
            <p:nvPr/>
          </p:nvSpPr>
          <p:spPr bwMode="auto">
            <a:xfrm>
              <a:off x="3367" y="1227"/>
              <a:ext cx="2" cy="2"/>
            </a:xfrm>
            <a:custGeom>
              <a:avLst/>
              <a:gdLst>
                <a:gd name="T0" fmla="*/ 0 w 1"/>
                <a:gd name="T1" fmla="*/ 1 h 1"/>
                <a:gd name="T2" fmla="*/ 1 w 1"/>
                <a:gd name="T3" fmla="*/ 0 h 1"/>
                <a:gd name="T4" fmla="*/ 0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1" y="0"/>
                    <a:pt x="1" y="0"/>
                    <a:pt x="1" y="0"/>
                  </a:cubicBezTo>
                  <a:cubicBezTo>
                    <a:pt x="1" y="0"/>
                    <a:pt x="1" y="0"/>
                    <a:pt x="0" y="0"/>
                  </a:cubicBezTo>
                  <a:cubicBezTo>
                    <a:pt x="0" y="0"/>
                    <a:pt x="0"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26" name="Freeform 2178">
              <a:extLst>
                <a:ext uri="{FF2B5EF4-FFF2-40B4-BE49-F238E27FC236}">
                  <a16:creationId xmlns:a16="http://schemas.microsoft.com/office/drawing/2014/main" id="{6AE9F881-5E6A-41D1-9E3B-48495C328688}"/>
                </a:ext>
              </a:extLst>
            </p:cNvPr>
            <p:cNvSpPr>
              <a:spLocks/>
            </p:cNvSpPr>
            <p:nvPr/>
          </p:nvSpPr>
          <p:spPr bwMode="auto">
            <a:xfrm>
              <a:off x="3381" y="1243"/>
              <a:ext cx="5" cy="3"/>
            </a:xfrm>
            <a:custGeom>
              <a:avLst/>
              <a:gdLst>
                <a:gd name="T0" fmla="*/ 0 w 2"/>
                <a:gd name="T1" fmla="*/ 1 h 1"/>
                <a:gd name="T2" fmla="*/ 2 w 2"/>
                <a:gd name="T3" fmla="*/ 0 h 1"/>
                <a:gd name="T4" fmla="*/ 0 w 2"/>
                <a:gd name="T5" fmla="*/ 1 h 1"/>
              </a:gdLst>
              <a:ahLst/>
              <a:cxnLst>
                <a:cxn ang="0">
                  <a:pos x="T0" y="T1"/>
                </a:cxn>
                <a:cxn ang="0">
                  <a:pos x="T2" y="T3"/>
                </a:cxn>
                <a:cxn ang="0">
                  <a:pos x="T4" y="T5"/>
                </a:cxn>
              </a:cxnLst>
              <a:rect l="0" t="0" r="r" b="b"/>
              <a:pathLst>
                <a:path w="2" h="1">
                  <a:moveTo>
                    <a:pt x="0" y="1"/>
                  </a:moveTo>
                  <a:cubicBezTo>
                    <a:pt x="1" y="0"/>
                    <a:pt x="2" y="0"/>
                    <a:pt x="2" y="0"/>
                  </a:cubicBezTo>
                  <a:cubicBezTo>
                    <a:pt x="1" y="0"/>
                    <a:pt x="1"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27" name="Freeform 2179">
              <a:extLst>
                <a:ext uri="{FF2B5EF4-FFF2-40B4-BE49-F238E27FC236}">
                  <a16:creationId xmlns:a16="http://schemas.microsoft.com/office/drawing/2014/main" id="{7C7A250D-D67F-4635-A678-C74C2A42E24D}"/>
                </a:ext>
              </a:extLst>
            </p:cNvPr>
            <p:cNvSpPr>
              <a:spLocks/>
            </p:cNvSpPr>
            <p:nvPr/>
          </p:nvSpPr>
          <p:spPr bwMode="auto">
            <a:xfrm>
              <a:off x="3466" y="1151"/>
              <a:ext cx="22" cy="9"/>
            </a:xfrm>
            <a:custGeom>
              <a:avLst/>
              <a:gdLst>
                <a:gd name="T0" fmla="*/ 6 w 9"/>
                <a:gd name="T1" fmla="*/ 4 h 4"/>
                <a:gd name="T2" fmla="*/ 5 w 9"/>
                <a:gd name="T3" fmla="*/ 2 h 4"/>
                <a:gd name="T4" fmla="*/ 3 w 9"/>
                <a:gd name="T5" fmla="*/ 2 h 4"/>
                <a:gd name="T6" fmla="*/ 4 w 9"/>
                <a:gd name="T7" fmla="*/ 0 h 4"/>
                <a:gd name="T8" fmla="*/ 2 w 9"/>
                <a:gd name="T9" fmla="*/ 0 h 4"/>
                <a:gd name="T10" fmla="*/ 1 w 9"/>
                <a:gd name="T11" fmla="*/ 2 h 4"/>
                <a:gd name="T12" fmla="*/ 6 w 9"/>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 h="4">
                  <a:moveTo>
                    <a:pt x="6" y="4"/>
                  </a:moveTo>
                  <a:cubicBezTo>
                    <a:pt x="9" y="3"/>
                    <a:pt x="6" y="3"/>
                    <a:pt x="5" y="2"/>
                  </a:cubicBezTo>
                  <a:cubicBezTo>
                    <a:pt x="5" y="2"/>
                    <a:pt x="4" y="3"/>
                    <a:pt x="3" y="2"/>
                  </a:cubicBezTo>
                  <a:cubicBezTo>
                    <a:pt x="4" y="1"/>
                    <a:pt x="5" y="1"/>
                    <a:pt x="4" y="0"/>
                  </a:cubicBezTo>
                  <a:cubicBezTo>
                    <a:pt x="3" y="0"/>
                    <a:pt x="2" y="0"/>
                    <a:pt x="2" y="0"/>
                  </a:cubicBezTo>
                  <a:cubicBezTo>
                    <a:pt x="1" y="0"/>
                    <a:pt x="0" y="1"/>
                    <a:pt x="1" y="2"/>
                  </a:cubicBezTo>
                  <a:cubicBezTo>
                    <a:pt x="1" y="4"/>
                    <a:pt x="5" y="4"/>
                    <a:pt x="6"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28" name="Freeform 2180">
              <a:extLst>
                <a:ext uri="{FF2B5EF4-FFF2-40B4-BE49-F238E27FC236}">
                  <a16:creationId xmlns:a16="http://schemas.microsoft.com/office/drawing/2014/main" id="{E0EC04D3-94D1-4BA3-8F57-DC44ADD057DA}"/>
                </a:ext>
              </a:extLst>
            </p:cNvPr>
            <p:cNvSpPr>
              <a:spLocks/>
            </p:cNvSpPr>
            <p:nvPr/>
          </p:nvSpPr>
          <p:spPr bwMode="auto">
            <a:xfrm>
              <a:off x="3403" y="1255"/>
              <a:ext cx="9" cy="12"/>
            </a:xfrm>
            <a:custGeom>
              <a:avLst/>
              <a:gdLst>
                <a:gd name="T0" fmla="*/ 3 w 4"/>
                <a:gd name="T1" fmla="*/ 1 h 5"/>
                <a:gd name="T2" fmla="*/ 4 w 4"/>
                <a:gd name="T3" fmla="*/ 0 h 5"/>
                <a:gd name="T4" fmla="*/ 2 w 4"/>
                <a:gd name="T5" fmla="*/ 1 h 5"/>
                <a:gd name="T6" fmla="*/ 1 w 4"/>
                <a:gd name="T7" fmla="*/ 5 h 5"/>
                <a:gd name="T8" fmla="*/ 3 w 4"/>
                <a:gd name="T9" fmla="*/ 1 h 5"/>
              </a:gdLst>
              <a:ahLst/>
              <a:cxnLst>
                <a:cxn ang="0">
                  <a:pos x="T0" y="T1"/>
                </a:cxn>
                <a:cxn ang="0">
                  <a:pos x="T2" y="T3"/>
                </a:cxn>
                <a:cxn ang="0">
                  <a:pos x="T4" y="T5"/>
                </a:cxn>
                <a:cxn ang="0">
                  <a:pos x="T6" y="T7"/>
                </a:cxn>
                <a:cxn ang="0">
                  <a:pos x="T8" y="T9"/>
                </a:cxn>
              </a:cxnLst>
              <a:rect l="0" t="0" r="r" b="b"/>
              <a:pathLst>
                <a:path w="4" h="5">
                  <a:moveTo>
                    <a:pt x="3" y="1"/>
                  </a:moveTo>
                  <a:cubicBezTo>
                    <a:pt x="3" y="1"/>
                    <a:pt x="4" y="1"/>
                    <a:pt x="4" y="0"/>
                  </a:cubicBezTo>
                  <a:cubicBezTo>
                    <a:pt x="4" y="0"/>
                    <a:pt x="2" y="1"/>
                    <a:pt x="2" y="1"/>
                  </a:cubicBezTo>
                  <a:cubicBezTo>
                    <a:pt x="0" y="3"/>
                    <a:pt x="0" y="4"/>
                    <a:pt x="1" y="5"/>
                  </a:cubicBezTo>
                  <a:cubicBezTo>
                    <a:pt x="2" y="4"/>
                    <a:pt x="3" y="3"/>
                    <a:pt x="3"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29" name="Freeform 2181">
              <a:extLst>
                <a:ext uri="{FF2B5EF4-FFF2-40B4-BE49-F238E27FC236}">
                  <a16:creationId xmlns:a16="http://schemas.microsoft.com/office/drawing/2014/main" id="{BACF7B60-930F-40C2-B252-996A20DBB132}"/>
                </a:ext>
              </a:extLst>
            </p:cNvPr>
            <p:cNvSpPr>
              <a:spLocks/>
            </p:cNvSpPr>
            <p:nvPr/>
          </p:nvSpPr>
          <p:spPr bwMode="auto">
            <a:xfrm>
              <a:off x="3391" y="1262"/>
              <a:ext cx="12" cy="12"/>
            </a:xfrm>
            <a:custGeom>
              <a:avLst/>
              <a:gdLst>
                <a:gd name="T0" fmla="*/ 5 w 5"/>
                <a:gd name="T1" fmla="*/ 3 h 5"/>
                <a:gd name="T2" fmla="*/ 4 w 5"/>
                <a:gd name="T3" fmla="*/ 0 h 5"/>
                <a:gd name="T4" fmla="*/ 2 w 5"/>
                <a:gd name="T5" fmla="*/ 2 h 5"/>
                <a:gd name="T6" fmla="*/ 2 w 5"/>
                <a:gd name="T7" fmla="*/ 1 h 5"/>
                <a:gd name="T8" fmla="*/ 1 w 5"/>
                <a:gd name="T9" fmla="*/ 2 h 5"/>
                <a:gd name="T10" fmla="*/ 3 w 5"/>
                <a:gd name="T11" fmla="*/ 2 h 5"/>
                <a:gd name="T12" fmla="*/ 3 w 5"/>
                <a:gd name="T13" fmla="*/ 5 h 5"/>
                <a:gd name="T14" fmla="*/ 5 w 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5" y="3"/>
                  </a:moveTo>
                  <a:cubicBezTo>
                    <a:pt x="5" y="2"/>
                    <a:pt x="4" y="1"/>
                    <a:pt x="4" y="0"/>
                  </a:cubicBezTo>
                  <a:cubicBezTo>
                    <a:pt x="4" y="0"/>
                    <a:pt x="3" y="1"/>
                    <a:pt x="2" y="2"/>
                  </a:cubicBezTo>
                  <a:cubicBezTo>
                    <a:pt x="2" y="1"/>
                    <a:pt x="2" y="1"/>
                    <a:pt x="2" y="1"/>
                  </a:cubicBezTo>
                  <a:cubicBezTo>
                    <a:pt x="2" y="1"/>
                    <a:pt x="0" y="1"/>
                    <a:pt x="1" y="2"/>
                  </a:cubicBezTo>
                  <a:cubicBezTo>
                    <a:pt x="1" y="3"/>
                    <a:pt x="2" y="2"/>
                    <a:pt x="3" y="2"/>
                  </a:cubicBezTo>
                  <a:cubicBezTo>
                    <a:pt x="3" y="3"/>
                    <a:pt x="3" y="5"/>
                    <a:pt x="3" y="5"/>
                  </a:cubicBezTo>
                  <a:cubicBezTo>
                    <a:pt x="4" y="4"/>
                    <a:pt x="5" y="5"/>
                    <a:pt x="5"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30" name="Freeform 2182">
              <a:extLst>
                <a:ext uri="{FF2B5EF4-FFF2-40B4-BE49-F238E27FC236}">
                  <a16:creationId xmlns:a16="http://schemas.microsoft.com/office/drawing/2014/main" id="{8973D983-A0E0-4AC4-B886-148AE3054494}"/>
                </a:ext>
              </a:extLst>
            </p:cNvPr>
            <p:cNvSpPr>
              <a:spLocks/>
            </p:cNvSpPr>
            <p:nvPr/>
          </p:nvSpPr>
          <p:spPr bwMode="auto">
            <a:xfrm>
              <a:off x="4828" y="1783"/>
              <a:ext cx="3" cy="9"/>
            </a:xfrm>
            <a:custGeom>
              <a:avLst/>
              <a:gdLst>
                <a:gd name="T0" fmla="*/ 1 w 1"/>
                <a:gd name="T1" fmla="*/ 0 h 4"/>
                <a:gd name="T2" fmla="*/ 1 w 1"/>
                <a:gd name="T3" fmla="*/ 4 h 4"/>
                <a:gd name="T4" fmla="*/ 1 w 1"/>
                <a:gd name="T5" fmla="*/ 0 h 4"/>
              </a:gdLst>
              <a:ahLst/>
              <a:cxnLst>
                <a:cxn ang="0">
                  <a:pos x="T0" y="T1"/>
                </a:cxn>
                <a:cxn ang="0">
                  <a:pos x="T2" y="T3"/>
                </a:cxn>
                <a:cxn ang="0">
                  <a:pos x="T4" y="T5"/>
                </a:cxn>
              </a:cxnLst>
              <a:rect l="0" t="0" r="r" b="b"/>
              <a:pathLst>
                <a:path w="1" h="4">
                  <a:moveTo>
                    <a:pt x="1" y="0"/>
                  </a:moveTo>
                  <a:cubicBezTo>
                    <a:pt x="0" y="1"/>
                    <a:pt x="1" y="3"/>
                    <a:pt x="1" y="4"/>
                  </a:cubicBezTo>
                  <a:cubicBezTo>
                    <a:pt x="1" y="2"/>
                    <a:pt x="1" y="1"/>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31" name="Freeform 2183">
              <a:extLst>
                <a:ext uri="{FF2B5EF4-FFF2-40B4-BE49-F238E27FC236}">
                  <a16:creationId xmlns:a16="http://schemas.microsoft.com/office/drawing/2014/main" id="{6DAA8253-27F7-4CCB-A640-5D87DB91893C}"/>
                </a:ext>
              </a:extLst>
            </p:cNvPr>
            <p:cNvSpPr>
              <a:spLocks/>
            </p:cNvSpPr>
            <p:nvPr/>
          </p:nvSpPr>
          <p:spPr bwMode="auto">
            <a:xfrm>
              <a:off x="4169" y="1752"/>
              <a:ext cx="9" cy="2"/>
            </a:xfrm>
            <a:custGeom>
              <a:avLst/>
              <a:gdLst>
                <a:gd name="T0" fmla="*/ 4 w 4"/>
                <a:gd name="T1" fmla="*/ 0 h 1"/>
                <a:gd name="T2" fmla="*/ 0 w 4"/>
                <a:gd name="T3" fmla="*/ 0 h 1"/>
                <a:gd name="T4" fmla="*/ 4 w 4"/>
                <a:gd name="T5" fmla="*/ 0 h 1"/>
              </a:gdLst>
              <a:ahLst/>
              <a:cxnLst>
                <a:cxn ang="0">
                  <a:pos x="T0" y="T1"/>
                </a:cxn>
                <a:cxn ang="0">
                  <a:pos x="T2" y="T3"/>
                </a:cxn>
                <a:cxn ang="0">
                  <a:pos x="T4" y="T5"/>
                </a:cxn>
              </a:cxnLst>
              <a:rect l="0" t="0" r="r" b="b"/>
              <a:pathLst>
                <a:path w="4" h="1">
                  <a:moveTo>
                    <a:pt x="4" y="0"/>
                  </a:moveTo>
                  <a:cubicBezTo>
                    <a:pt x="2" y="0"/>
                    <a:pt x="1" y="0"/>
                    <a:pt x="0" y="0"/>
                  </a:cubicBezTo>
                  <a:cubicBezTo>
                    <a:pt x="1" y="1"/>
                    <a:pt x="3" y="1"/>
                    <a:pt x="4"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32" name="Freeform 2184">
              <a:extLst>
                <a:ext uri="{FF2B5EF4-FFF2-40B4-BE49-F238E27FC236}">
                  <a16:creationId xmlns:a16="http://schemas.microsoft.com/office/drawing/2014/main" id="{2F11AFE3-53D7-49B1-BF9D-A1705BD4B891}"/>
                </a:ext>
              </a:extLst>
            </p:cNvPr>
            <p:cNvSpPr>
              <a:spLocks/>
            </p:cNvSpPr>
            <p:nvPr/>
          </p:nvSpPr>
          <p:spPr bwMode="auto">
            <a:xfrm>
              <a:off x="3819" y="1901"/>
              <a:ext cx="2" cy="5"/>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33" name="Freeform 2185">
              <a:extLst>
                <a:ext uri="{FF2B5EF4-FFF2-40B4-BE49-F238E27FC236}">
                  <a16:creationId xmlns:a16="http://schemas.microsoft.com/office/drawing/2014/main" id="{FCFD2A48-FD6F-482B-8B8C-C4DEAC08D3C1}"/>
                </a:ext>
              </a:extLst>
            </p:cNvPr>
            <p:cNvSpPr>
              <a:spLocks/>
            </p:cNvSpPr>
            <p:nvPr/>
          </p:nvSpPr>
          <p:spPr bwMode="auto">
            <a:xfrm>
              <a:off x="3987" y="1193"/>
              <a:ext cx="23" cy="36"/>
            </a:xfrm>
            <a:custGeom>
              <a:avLst/>
              <a:gdLst>
                <a:gd name="T0" fmla="*/ 10 w 10"/>
                <a:gd name="T1" fmla="*/ 2 h 15"/>
                <a:gd name="T2" fmla="*/ 7 w 10"/>
                <a:gd name="T3" fmla="*/ 1 h 15"/>
                <a:gd name="T4" fmla="*/ 5 w 10"/>
                <a:gd name="T5" fmla="*/ 1 h 15"/>
                <a:gd name="T6" fmla="*/ 4 w 10"/>
                <a:gd name="T7" fmla="*/ 2 h 15"/>
                <a:gd name="T8" fmla="*/ 2 w 10"/>
                <a:gd name="T9" fmla="*/ 4 h 15"/>
                <a:gd name="T10" fmla="*/ 0 w 10"/>
                <a:gd name="T11" fmla="*/ 5 h 15"/>
                <a:gd name="T12" fmla="*/ 0 w 10"/>
                <a:gd name="T13" fmla="*/ 10 h 15"/>
                <a:gd name="T14" fmla="*/ 0 w 10"/>
                <a:gd name="T15" fmla="*/ 15 h 15"/>
                <a:gd name="T16" fmla="*/ 3 w 10"/>
                <a:gd name="T17" fmla="*/ 14 h 15"/>
                <a:gd name="T18" fmla="*/ 4 w 10"/>
                <a:gd name="T19" fmla="*/ 11 h 15"/>
                <a:gd name="T20" fmla="*/ 6 w 10"/>
                <a:gd name="T21" fmla="*/ 10 h 15"/>
                <a:gd name="T22" fmla="*/ 6 w 10"/>
                <a:gd name="T23" fmla="*/ 9 h 15"/>
                <a:gd name="T24" fmla="*/ 8 w 10"/>
                <a:gd name="T25" fmla="*/ 8 h 15"/>
                <a:gd name="T26" fmla="*/ 7 w 10"/>
                <a:gd name="T27" fmla="*/ 6 h 15"/>
                <a:gd name="T28" fmla="*/ 7 w 10"/>
                <a:gd name="T29" fmla="*/ 5 h 15"/>
                <a:gd name="T30" fmla="*/ 7 w 10"/>
                <a:gd name="T31" fmla="*/ 4 h 15"/>
                <a:gd name="T32" fmla="*/ 7 w 10"/>
                <a:gd name="T33" fmla="*/ 3 h 15"/>
                <a:gd name="T34" fmla="*/ 7 w 10"/>
                <a:gd name="T35" fmla="*/ 3 h 15"/>
                <a:gd name="T36" fmla="*/ 7 w 10"/>
                <a:gd name="T37" fmla="*/ 3 h 15"/>
                <a:gd name="T38" fmla="*/ 7 w 10"/>
                <a:gd name="T39" fmla="*/ 3 h 15"/>
                <a:gd name="T40" fmla="*/ 8 w 10"/>
                <a:gd name="T41" fmla="*/ 3 h 15"/>
                <a:gd name="T42" fmla="*/ 9 w 10"/>
                <a:gd name="T43" fmla="*/ 2 h 15"/>
                <a:gd name="T44" fmla="*/ 10 w 10"/>
                <a:gd name="T45"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 h="15">
                  <a:moveTo>
                    <a:pt x="10" y="2"/>
                  </a:moveTo>
                  <a:cubicBezTo>
                    <a:pt x="10" y="0"/>
                    <a:pt x="8" y="0"/>
                    <a:pt x="7" y="1"/>
                  </a:cubicBezTo>
                  <a:cubicBezTo>
                    <a:pt x="7" y="0"/>
                    <a:pt x="6" y="0"/>
                    <a:pt x="5" y="1"/>
                  </a:cubicBezTo>
                  <a:cubicBezTo>
                    <a:pt x="5" y="1"/>
                    <a:pt x="4" y="1"/>
                    <a:pt x="4" y="2"/>
                  </a:cubicBezTo>
                  <a:cubicBezTo>
                    <a:pt x="3" y="2"/>
                    <a:pt x="3" y="3"/>
                    <a:pt x="2" y="4"/>
                  </a:cubicBezTo>
                  <a:cubicBezTo>
                    <a:pt x="2" y="5"/>
                    <a:pt x="1" y="5"/>
                    <a:pt x="0" y="5"/>
                  </a:cubicBezTo>
                  <a:cubicBezTo>
                    <a:pt x="0" y="6"/>
                    <a:pt x="0" y="9"/>
                    <a:pt x="0" y="10"/>
                  </a:cubicBezTo>
                  <a:cubicBezTo>
                    <a:pt x="0" y="12"/>
                    <a:pt x="1" y="13"/>
                    <a:pt x="0" y="15"/>
                  </a:cubicBezTo>
                  <a:cubicBezTo>
                    <a:pt x="1" y="15"/>
                    <a:pt x="2" y="14"/>
                    <a:pt x="3" y="14"/>
                  </a:cubicBezTo>
                  <a:cubicBezTo>
                    <a:pt x="3" y="12"/>
                    <a:pt x="3" y="12"/>
                    <a:pt x="4" y="11"/>
                  </a:cubicBezTo>
                  <a:cubicBezTo>
                    <a:pt x="4" y="11"/>
                    <a:pt x="6" y="11"/>
                    <a:pt x="6" y="10"/>
                  </a:cubicBezTo>
                  <a:cubicBezTo>
                    <a:pt x="6" y="10"/>
                    <a:pt x="6" y="9"/>
                    <a:pt x="6" y="9"/>
                  </a:cubicBezTo>
                  <a:cubicBezTo>
                    <a:pt x="7" y="8"/>
                    <a:pt x="8" y="8"/>
                    <a:pt x="8" y="8"/>
                  </a:cubicBezTo>
                  <a:cubicBezTo>
                    <a:pt x="9" y="7"/>
                    <a:pt x="7" y="7"/>
                    <a:pt x="7" y="6"/>
                  </a:cubicBezTo>
                  <a:cubicBezTo>
                    <a:pt x="7" y="6"/>
                    <a:pt x="7" y="6"/>
                    <a:pt x="7" y="5"/>
                  </a:cubicBezTo>
                  <a:cubicBezTo>
                    <a:pt x="7" y="5"/>
                    <a:pt x="7" y="5"/>
                    <a:pt x="7" y="4"/>
                  </a:cubicBezTo>
                  <a:cubicBezTo>
                    <a:pt x="7" y="4"/>
                    <a:pt x="7" y="3"/>
                    <a:pt x="7" y="3"/>
                  </a:cubicBezTo>
                  <a:cubicBezTo>
                    <a:pt x="7" y="3"/>
                    <a:pt x="7" y="3"/>
                    <a:pt x="7" y="3"/>
                  </a:cubicBezTo>
                  <a:cubicBezTo>
                    <a:pt x="7" y="3"/>
                    <a:pt x="7" y="3"/>
                    <a:pt x="7" y="3"/>
                  </a:cubicBezTo>
                  <a:cubicBezTo>
                    <a:pt x="7" y="3"/>
                    <a:pt x="7" y="3"/>
                    <a:pt x="7" y="3"/>
                  </a:cubicBezTo>
                  <a:cubicBezTo>
                    <a:pt x="7" y="3"/>
                    <a:pt x="7" y="3"/>
                    <a:pt x="8" y="3"/>
                  </a:cubicBezTo>
                  <a:cubicBezTo>
                    <a:pt x="8" y="3"/>
                    <a:pt x="9" y="3"/>
                    <a:pt x="9" y="2"/>
                  </a:cubicBezTo>
                  <a:cubicBezTo>
                    <a:pt x="9" y="2"/>
                    <a:pt x="9" y="1"/>
                    <a:pt x="1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grpSp>
      <p:grpSp>
        <p:nvGrpSpPr>
          <p:cNvPr id="107" name="Group 2387">
            <a:extLst>
              <a:ext uri="{FF2B5EF4-FFF2-40B4-BE49-F238E27FC236}">
                <a16:creationId xmlns:a16="http://schemas.microsoft.com/office/drawing/2014/main" id="{E395092B-AF66-4729-9C3D-5250488D906F}"/>
              </a:ext>
            </a:extLst>
          </p:cNvPr>
          <p:cNvGrpSpPr>
            <a:grpSpLocks/>
          </p:cNvGrpSpPr>
          <p:nvPr/>
        </p:nvGrpSpPr>
        <p:grpSpPr bwMode="auto">
          <a:xfrm>
            <a:off x="3144744" y="2236607"/>
            <a:ext cx="2336568" cy="2354791"/>
            <a:chOff x="3154" y="212"/>
            <a:chExt cx="4715" cy="3967"/>
          </a:xfrm>
          <a:solidFill>
            <a:schemeClr val="tx1">
              <a:lumMod val="40000"/>
              <a:lumOff val="60000"/>
            </a:schemeClr>
          </a:solidFill>
        </p:grpSpPr>
        <p:sp>
          <p:nvSpPr>
            <p:cNvPr id="934" name="Freeform 2187">
              <a:extLst>
                <a:ext uri="{FF2B5EF4-FFF2-40B4-BE49-F238E27FC236}">
                  <a16:creationId xmlns:a16="http://schemas.microsoft.com/office/drawing/2014/main" id="{5D55B7D5-9569-4B97-9799-3A74E7E9C027}"/>
                </a:ext>
              </a:extLst>
            </p:cNvPr>
            <p:cNvSpPr>
              <a:spLocks/>
            </p:cNvSpPr>
            <p:nvPr/>
          </p:nvSpPr>
          <p:spPr bwMode="auto">
            <a:xfrm>
              <a:off x="3826" y="1179"/>
              <a:ext cx="12" cy="10"/>
            </a:xfrm>
            <a:custGeom>
              <a:avLst/>
              <a:gdLst>
                <a:gd name="T0" fmla="*/ 4 w 5"/>
                <a:gd name="T1" fmla="*/ 2 h 4"/>
                <a:gd name="T2" fmla="*/ 1 w 5"/>
                <a:gd name="T3" fmla="*/ 2 h 4"/>
                <a:gd name="T4" fmla="*/ 0 w 5"/>
                <a:gd name="T5" fmla="*/ 3 h 4"/>
                <a:gd name="T6" fmla="*/ 4 w 5"/>
                <a:gd name="T7" fmla="*/ 2 h 4"/>
              </a:gdLst>
              <a:ahLst/>
              <a:cxnLst>
                <a:cxn ang="0">
                  <a:pos x="T0" y="T1"/>
                </a:cxn>
                <a:cxn ang="0">
                  <a:pos x="T2" y="T3"/>
                </a:cxn>
                <a:cxn ang="0">
                  <a:pos x="T4" y="T5"/>
                </a:cxn>
                <a:cxn ang="0">
                  <a:pos x="T6" y="T7"/>
                </a:cxn>
              </a:cxnLst>
              <a:rect l="0" t="0" r="r" b="b"/>
              <a:pathLst>
                <a:path w="5" h="4">
                  <a:moveTo>
                    <a:pt x="4" y="2"/>
                  </a:moveTo>
                  <a:cubicBezTo>
                    <a:pt x="3" y="0"/>
                    <a:pt x="2" y="2"/>
                    <a:pt x="1" y="2"/>
                  </a:cubicBezTo>
                  <a:cubicBezTo>
                    <a:pt x="0" y="2"/>
                    <a:pt x="0" y="3"/>
                    <a:pt x="0" y="3"/>
                  </a:cubicBezTo>
                  <a:cubicBezTo>
                    <a:pt x="1" y="3"/>
                    <a:pt x="5" y="4"/>
                    <a:pt x="4"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35" name="Freeform 2188">
              <a:extLst>
                <a:ext uri="{FF2B5EF4-FFF2-40B4-BE49-F238E27FC236}">
                  <a16:creationId xmlns:a16="http://schemas.microsoft.com/office/drawing/2014/main" id="{6CD2E95D-9A60-4E56-AFC2-F7F83AB954AC}"/>
                </a:ext>
              </a:extLst>
            </p:cNvPr>
            <p:cNvSpPr>
              <a:spLocks/>
            </p:cNvSpPr>
            <p:nvPr/>
          </p:nvSpPr>
          <p:spPr bwMode="auto">
            <a:xfrm>
              <a:off x="3826" y="1189"/>
              <a:ext cx="9" cy="4"/>
            </a:xfrm>
            <a:custGeom>
              <a:avLst/>
              <a:gdLst>
                <a:gd name="T0" fmla="*/ 2 w 4"/>
                <a:gd name="T1" fmla="*/ 1 h 2"/>
                <a:gd name="T2" fmla="*/ 2 w 4"/>
                <a:gd name="T3" fmla="*/ 0 h 2"/>
                <a:gd name="T4" fmla="*/ 2 w 4"/>
                <a:gd name="T5" fmla="*/ 1 h 2"/>
              </a:gdLst>
              <a:ahLst/>
              <a:cxnLst>
                <a:cxn ang="0">
                  <a:pos x="T0" y="T1"/>
                </a:cxn>
                <a:cxn ang="0">
                  <a:pos x="T2" y="T3"/>
                </a:cxn>
                <a:cxn ang="0">
                  <a:pos x="T4" y="T5"/>
                </a:cxn>
              </a:cxnLst>
              <a:rect l="0" t="0" r="r" b="b"/>
              <a:pathLst>
                <a:path w="4" h="2">
                  <a:moveTo>
                    <a:pt x="2" y="1"/>
                  </a:moveTo>
                  <a:cubicBezTo>
                    <a:pt x="4" y="0"/>
                    <a:pt x="3" y="0"/>
                    <a:pt x="2" y="0"/>
                  </a:cubicBezTo>
                  <a:cubicBezTo>
                    <a:pt x="0" y="0"/>
                    <a:pt x="1" y="2"/>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36" name="Freeform 2189">
              <a:extLst>
                <a:ext uri="{FF2B5EF4-FFF2-40B4-BE49-F238E27FC236}">
                  <a16:creationId xmlns:a16="http://schemas.microsoft.com/office/drawing/2014/main" id="{5F10655B-F39D-4BD8-9023-3FB99D6C7B9E}"/>
                </a:ext>
              </a:extLst>
            </p:cNvPr>
            <p:cNvSpPr>
              <a:spLocks/>
            </p:cNvSpPr>
            <p:nvPr/>
          </p:nvSpPr>
          <p:spPr bwMode="auto">
            <a:xfrm>
              <a:off x="3944" y="1212"/>
              <a:ext cx="19" cy="41"/>
            </a:xfrm>
            <a:custGeom>
              <a:avLst/>
              <a:gdLst>
                <a:gd name="T0" fmla="*/ 2 w 8"/>
                <a:gd name="T1" fmla="*/ 15 h 17"/>
                <a:gd name="T2" fmla="*/ 3 w 8"/>
                <a:gd name="T3" fmla="*/ 14 h 17"/>
                <a:gd name="T4" fmla="*/ 5 w 8"/>
                <a:gd name="T5" fmla="*/ 7 h 17"/>
                <a:gd name="T6" fmla="*/ 8 w 8"/>
                <a:gd name="T7" fmla="*/ 1 h 17"/>
                <a:gd name="T8" fmla="*/ 6 w 8"/>
                <a:gd name="T9" fmla="*/ 2 h 17"/>
                <a:gd name="T10" fmla="*/ 5 w 8"/>
                <a:gd name="T11" fmla="*/ 6 h 17"/>
                <a:gd name="T12" fmla="*/ 3 w 8"/>
                <a:gd name="T13" fmla="*/ 7 h 17"/>
                <a:gd name="T14" fmla="*/ 2 w 8"/>
                <a:gd name="T15" fmla="*/ 10 h 17"/>
                <a:gd name="T16" fmla="*/ 0 w 8"/>
                <a:gd name="T17" fmla="*/ 14 h 17"/>
                <a:gd name="T18" fmla="*/ 2 w 8"/>
                <a:gd name="T19"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7">
                  <a:moveTo>
                    <a:pt x="2" y="15"/>
                  </a:moveTo>
                  <a:cubicBezTo>
                    <a:pt x="2" y="15"/>
                    <a:pt x="3" y="14"/>
                    <a:pt x="3" y="14"/>
                  </a:cubicBezTo>
                  <a:cubicBezTo>
                    <a:pt x="4" y="11"/>
                    <a:pt x="5" y="9"/>
                    <a:pt x="5" y="7"/>
                  </a:cubicBezTo>
                  <a:cubicBezTo>
                    <a:pt x="6" y="6"/>
                    <a:pt x="8" y="1"/>
                    <a:pt x="8" y="1"/>
                  </a:cubicBezTo>
                  <a:cubicBezTo>
                    <a:pt x="7" y="0"/>
                    <a:pt x="6" y="2"/>
                    <a:pt x="6" y="2"/>
                  </a:cubicBezTo>
                  <a:cubicBezTo>
                    <a:pt x="6" y="3"/>
                    <a:pt x="5" y="4"/>
                    <a:pt x="5" y="6"/>
                  </a:cubicBezTo>
                  <a:cubicBezTo>
                    <a:pt x="4" y="6"/>
                    <a:pt x="4" y="7"/>
                    <a:pt x="3" y="7"/>
                  </a:cubicBezTo>
                  <a:cubicBezTo>
                    <a:pt x="3" y="8"/>
                    <a:pt x="2" y="9"/>
                    <a:pt x="2" y="10"/>
                  </a:cubicBezTo>
                  <a:cubicBezTo>
                    <a:pt x="1" y="11"/>
                    <a:pt x="1" y="12"/>
                    <a:pt x="0" y="14"/>
                  </a:cubicBezTo>
                  <a:cubicBezTo>
                    <a:pt x="1" y="15"/>
                    <a:pt x="1" y="17"/>
                    <a:pt x="2" y="1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37" name="Freeform 2190">
              <a:extLst>
                <a:ext uri="{FF2B5EF4-FFF2-40B4-BE49-F238E27FC236}">
                  <a16:creationId xmlns:a16="http://schemas.microsoft.com/office/drawing/2014/main" id="{BD449B1F-622E-4A2A-A12C-808BB97845AE}"/>
                </a:ext>
              </a:extLst>
            </p:cNvPr>
            <p:cNvSpPr>
              <a:spLocks/>
            </p:cNvSpPr>
            <p:nvPr/>
          </p:nvSpPr>
          <p:spPr bwMode="auto">
            <a:xfrm>
              <a:off x="4183" y="304"/>
              <a:ext cx="19" cy="9"/>
            </a:xfrm>
            <a:custGeom>
              <a:avLst/>
              <a:gdLst>
                <a:gd name="T0" fmla="*/ 3 w 8"/>
                <a:gd name="T1" fmla="*/ 0 h 4"/>
                <a:gd name="T2" fmla="*/ 5 w 8"/>
                <a:gd name="T3" fmla="*/ 4 h 4"/>
                <a:gd name="T4" fmla="*/ 7 w 8"/>
                <a:gd name="T5" fmla="*/ 4 h 4"/>
                <a:gd name="T6" fmla="*/ 8 w 8"/>
                <a:gd name="T7" fmla="*/ 3 h 4"/>
                <a:gd name="T8" fmla="*/ 5 w 8"/>
                <a:gd name="T9" fmla="*/ 1 h 4"/>
                <a:gd name="T10" fmla="*/ 3 w 8"/>
                <a:gd name="T11" fmla="*/ 0 h 4"/>
              </a:gdLst>
              <a:ahLst/>
              <a:cxnLst>
                <a:cxn ang="0">
                  <a:pos x="T0" y="T1"/>
                </a:cxn>
                <a:cxn ang="0">
                  <a:pos x="T2" y="T3"/>
                </a:cxn>
                <a:cxn ang="0">
                  <a:pos x="T4" y="T5"/>
                </a:cxn>
                <a:cxn ang="0">
                  <a:pos x="T6" y="T7"/>
                </a:cxn>
                <a:cxn ang="0">
                  <a:pos x="T8" y="T9"/>
                </a:cxn>
                <a:cxn ang="0">
                  <a:pos x="T10" y="T11"/>
                </a:cxn>
              </a:cxnLst>
              <a:rect l="0" t="0" r="r" b="b"/>
              <a:pathLst>
                <a:path w="8" h="4">
                  <a:moveTo>
                    <a:pt x="3" y="0"/>
                  </a:moveTo>
                  <a:cubicBezTo>
                    <a:pt x="0" y="0"/>
                    <a:pt x="4" y="4"/>
                    <a:pt x="5" y="4"/>
                  </a:cubicBezTo>
                  <a:cubicBezTo>
                    <a:pt x="6" y="4"/>
                    <a:pt x="6" y="4"/>
                    <a:pt x="7" y="4"/>
                  </a:cubicBezTo>
                  <a:cubicBezTo>
                    <a:pt x="7" y="4"/>
                    <a:pt x="7" y="3"/>
                    <a:pt x="8" y="3"/>
                  </a:cubicBezTo>
                  <a:cubicBezTo>
                    <a:pt x="7" y="2"/>
                    <a:pt x="6" y="2"/>
                    <a:pt x="5" y="1"/>
                  </a:cubicBezTo>
                  <a:cubicBezTo>
                    <a:pt x="4" y="1"/>
                    <a:pt x="4" y="0"/>
                    <a:pt x="3"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38" name="Freeform 2191">
              <a:extLst>
                <a:ext uri="{FF2B5EF4-FFF2-40B4-BE49-F238E27FC236}">
                  <a16:creationId xmlns:a16="http://schemas.microsoft.com/office/drawing/2014/main" id="{AB40BE09-B02F-45C0-8786-D3552224E111}"/>
                </a:ext>
              </a:extLst>
            </p:cNvPr>
            <p:cNvSpPr>
              <a:spLocks/>
            </p:cNvSpPr>
            <p:nvPr/>
          </p:nvSpPr>
          <p:spPr bwMode="auto">
            <a:xfrm>
              <a:off x="4001" y="522"/>
              <a:ext cx="14" cy="7"/>
            </a:xfrm>
            <a:custGeom>
              <a:avLst/>
              <a:gdLst>
                <a:gd name="T0" fmla="*/ 3 w 6"/>
                <a:gd name="T1" fmla="*/ 3 h 3"/>
                <a:gd name="T2" fmla="*/ 5 w 6"/>
                <a:gd name="T3" fmla="*/ 1 h 3"/>
                <a:gd name="T4" fmla="*/ 3 w 6"/>
                <a:gd name="T5" fmla="*/ 0 h 3"/>
                <a:gd name="T6" fmla="*/ 1 w 6"/>
                <a:gd name="T7" fmla="*/ 0 h 3"/>
                <a:gd name="T8" fmla="*/ 3 w 6"/>
                <a:gd name="T9" fmla="*/ 3 h 3"/>
              </a:gdLst>
              <a:ahLst/>
              <a:cxnLst>
                <a:cxn ang="0">
                  <a:pos x="T0" y="T1"/>
                </a:cxn>
                <a:cxn ang="0">
                  <a:pos x="T2" y="T3"/>
                </a:cxn>
                <a:cxn ang="0">
                  <a:pos x="T4" y="T5"/>
                </a:cxn>
                <a:cxn ang="0">
                  <a:pos x="T6" y="T7"/>
                </a:cxn>
                <a:cxn ang="0">
                  <a:pos x="T8" y="T9"/>
                </a:cxn>
              </a:cxnLst>
              <a:rect l="0" t="0" r="r" b="b"/>
              <a:pathLst>
                <a:path w="6" h="3">
                  <a:moveTo>
                    <a:pt x="3" y="3"/>
                  </a:moveTo>
                  <a:cubicBezTo>
                    <a:pt x="4" y="3"/>
                    <a:pt x="5" y="2"/>
                    <a:pt x="5" y="1"/>
                  </a:cubicBezTo>
                  <a:cubicBezTo>
                    <a:pt x="6" y="0"/>
                    <a:pt x="4" y="0"/>
                    <a:pt x="3" y="0"/>
                  </a:cubicBezTo>
                  <a:cubicBezTo>
                    <a:pt x="2" y="0"/>
                    <a:pt x="2" y="0"/>
                    <a:pt x="1" y="0"/>
                  </a:cubicBezTo>
                  <a:cubicBezTo>
                    <a:pt x="0" y="0"/>
                    <a:pt x="3" y="3"/>
                    <a:pt x="3"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39" name="Freeform 2192">
              <a:extLst>
                <a:ext uri="{FF2B5EF4-FFF2-40B4-BE49-F238E27FC236}">
                  <a16:creationId xmlns:a16="http://schemas.microsoft.com/office/drawing/2014/main" id="{7DBA481F-241C-4FE0-8D47-1BE75CC8C6E5}"/>
                </a:ext>
              </a:extLst>
            </p:cNvPr>
            <p:cNvSpPr>
              <a:spLocks/>
            </p:cNvSpPr>
            <p:nvPr/>
          </p:nvSpPr>
          <p:spPr bwMode="auto">
            <a:xfrm>
              <a:off x="3807" y="238"/>
              <a:ext cx="262" cy="184"/>
            </a:xfrm>
            <a:custGeom>
              <a:avLst/>
              <a:gdLst>
                <a:gd name="T0" fmla="*/ 9 w 111"/>
                <a:gd name="T1" fmla="*/ 17 h 78"/>
                <a:gd name="T2" fmla="*/ 12 w 111"/>
                <a:gd name="T3" fmla="*/ 21 h 78"/>
                <a:gd name="T4" fmla="*/ 11 w 111"/>
                <a:gd name="T5" fmla="*/ 25 h 78"/>
                <a:gd name="T6" fmla="*/ 8 w 111"/>
                <a:gd name="T7" fmla="*/ 30 h 78"/>
                <a:gd name="T8" fmla="*/ 23 w 111"/>
                <a:gd name="T9" fmla="*/ 34 h 78"/>
                <a:gd name="T10" fmla="*/ 30 w 111"/>
                <a:gd name="T11" fmla="*/ 42 h 78"/>
                <a:gd name="T12" fmla="*/ 35 w 111"/>
                <a:gd name="T13" fmla="*/ 40 h 78"/>
                <a:gd name="T14" fmla="*/ 37 w 111"/>
                <a:gd name="T15" fmla="*/ 36 h 78"/>
                <a:gd name="T16" fmla="*/ 42 w 111"/>
                <a:gd name="T17" fmla="*/ 33 h 78"/>
                <a:gd name="T18" fmla="*/ 46 w 111"/>
                <a:gd name="T19" fmla="*/ 28 h 78"/>
                <a:gd name="T20" fmla="*/ 53 w 111"/>
                <a:gd name="T21" fmla="*/ 36 h 78"/>
                <a:gd name="T22" fmla="*/ 58 w 111"/>
                <a:gd name="T23" fmla="*/ 32 h 78"/>
                <a:gd name="T24" fmla="*/ 59 w 111"/>
                <a:gd name="T25" fmla="*/ 37 h 78"/>
                <a:gd name="T26" fmla="*/ 49 w 111"/>
                <a:gd name="T27" fmla="*/ 42 h 78"/>
                <a:gd name="T28" fmla="*/ 30 w 111"/>
                <a:gd name="T29" fmla="*/ 45 h 78"/>
                <a:gd name="T30" fmla="*/ 33 w 111"/>
                <a:gd name="T31" fmla="*/ 52 h 78"/>
                <a:gd name="T32" fmla="*/ 46 w 111"/>
                <a:gd name="T33" fmla="*/ 50 h 78"/>
                <a:gd name="T34" fmla="*/ 60 w 111"/>
                <a:gd name="T35" fmla="*/ 50 h 78"/>
                <a:gd name="T36" fmla="*/ 65 w 111"/>
                <a:gd name="T37" fmla="*/ 51 h 78"/>
                <a:gd name="T38" fmla="*/ 46 w 111"/>
                <a:gd name="T39" fmla="*/ 53 h 78"/>
                <a:gd name="T40" fmla="*/ 56 w 111"/>
                <a:gd name="T41" fmla="*/ 58 h 78"/>
                <a:gd name="T42" fmla="*/ 46 w 111"/>
                <a:gd name="T43" fmla="*/ 57 h 78"/>
                <a:gd name="T44" fmla="*/ 38 w 111"/>
                <a:gd name="T45" fmla="*/ 57 h 78"/>
                <a:gd name="T46" fmla="*/ 40 w 111"/>
                <a:gd name="T47" fmla="*/ 65 h 78"/>
                <a:gd name="T48" fmla="*/ 52 w 111"/>
                <a:gd name="T49" fmla="*/ 67 h 78"/>
                <a:gd name="T50" fmla="*/ 57 w 111"/>
                <a:gd name="T51" fmla="*/ 69 h 78"/>
                <a:gd name="T52" fmla="*/ 54 w 111"/>
                <a:gd name="T53" fmla="*/ 73 h 78"/>
                <a:gd name="T54" fmla="*/ 64 w 111"/>
                <a:gd name="T55" fmla="*/ 76 h 78"/>
                <a:gd name="T56" fmla="*/ 65 w 111"/>
                <a:gd name="T57" fmla="*/ 71 h 78"/>
                <a:gd name="T58" fmla="*/ 69 w 111"/>
                <a:gd name="T59" fmla="*/ 63 h 78"/>
                <a:gd name="T60" fmla="*/ 76 w 111"/>
                <a:gd name="T61" fmla="*/ 58 h 78"/>
                <a:gd name="T62" fmla="*/ 85 w 111"/>
                <a:gd name="T63" fmla="*/ 43 h 78"/>
                <a:gd name="T64" fmla="*/ 89 w 111"/>
                <a:gd name="T65" fmla="*/ 35 h 78"/>
                <a:gd name="T66" fmla="*/ 96 w 111"/>
                <a:gd name="T67" fmla="*/ 32 h 78"/>
                <a:gd name="T68" fmla="*/ 103 w 111"/>
                <a:gd name="T69" fmla="*/ 31 h 78"/>
                <a:gd name="T70" fmla="*/ 109 w 111"/>
                <a:gd name="T71" fmla="*/ 30 h 78"/>
                <a:gd name="T72" fmla="*/ 94 w 111"/>
                <a:gd name="T73" fmla="*/ 24 h 78"/>
                <a:gd name="T74" fmla="*/ 84 w 111"/>
                <a:gd name="T75" fmla="*/ 21 h 78"/>
                <a:gd name="T76" fmla="*/ 79 w 111"/>
                <a:gd name="T77" fmla="*/ 12 h 78"/>
                <a:gd name="T78" fmla="*/ 72 w 111"/>
                <a:gd name="T79" fmla="*/ 14 h 78"/>
                <a:gd name="T80" fmla="*/ 64 w 111"/>
                <a:gd name="T81" fmla="*/ 5 h 78"/>
                <a:gd name="T82" fmla="*/ 56 w 111"/>
                <a:gd name="T83" fmla="*/ 2 h 78"/>
                <a:gd name="T84" fmla="*/ 53 w 111"/>
                <a:gd name="T85" fmla="*/ 8 h 78"/>
                <a:gd name="T86" fmla="*/ 58 w 111"/>
                <a:gd name="T87" fmla="*/ 19 h 78"/>
                <a:gd name="T88" fmla="*/ 57 w 111"/>
                <a:gd name="T89" fmla="*/ 24 h 78"/>
                <a:gd name="T90" fmla="*/ 53 w 111"/>
                <a:gd name="T91" fmla="*/ 20 h 78"/>
                <a:gd name="T92" fmla="*/ 49 w 111"/>
                <a:gd name="T93" fmla="*/ 13 h 78"/>
                <a:gd name="T94" fmla="*/ 42 w 111"/>
                <a:gd name="T95" fmla="*/ 6 h 78"/>
                <a:gd name="T96" fmla="*/ 36 w 111"/>
                <a:gd name="T97" fmla="*/ 15 h 78"/>
                <a:gd name="T98" fmla="*/ 30 w 111"/>
                <a:gd name="T99" fmla="*/ 13 h 78"/>
                <a:gd name="T100" fmla="*/ 18 w 111"/>
                <a:gd name="T101" fmla="*/ 11 h 78"/>
                <a:gd name="T102" fmla="*/ 34 w 111"/>
                <a:gd name="T103" fmla="*/ 7 h 78"/>
                <a:gd name="T104" fmla="*/ 19 w 111"/>
                <a:gd name="T105" fmla="*/ 7 h 78"/>
                <a:gd name="T106" fmla="*/ 14 w 111"/>
                <a:gd name="T107" fmla="*/ 9 h 78"/>
                <a:gd name="T108" fmla="*/ 5 w 111"/>
                <a:gd name="T109" fmla="*/ 6 h 78"/>
                <a:gd name="T110" fmla="*/ 4 w 111"/>
                <a:gd name="T111" fmla="*/ 1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1" h="78">
                  <a:moveTo>
                    <a:pt x="5" y="20"/>
                  </a:moveTo>
                  <a:cubicBezTo>
                    <a:pt x="5" y="21"/>
                    <a:pt x="5" y="21"/>
                    <a:pt x="6" y="21"/>
                  </a:cubicBezTo>
                  <a:cubicBezTo>
                    <a:pt x="7" y="22"/>
                    <a:pt x="11" y="21"/>
                    <a:pt x="10" y="19"/>
                  </a:cubicBezTo>
                  <a:cubicBezTo>
                    <a:pt x="10" y="19"/>
                    <a:pt x="9" y="18"/>
                    <a:pt x="9" y="17"/>
                  </a:cubicBezTo>
                  <a:cubicBezTo>
                    <a:pt x="10" y="16"/>
                    <a:pt x="12" y="18"/>
                    <a:pt x="12" y="18"/>
                  </a:cubicBezTo>
                  <a:cubicBezTo>
                    <a:pt x="11" y="17"/>
                    <a:pt x="12" y="18"/>
                    <a:pt x="13" y="17"/>
                  </a:cubicBezTo>
                  <a:cubicBezTo>
                    <a:pt x="14" y="17"/>
                    <a:pt x="15" y="17"/>
                    <a:pt x="14" y="19"/>
                  </a:cubicBezTo>
                  <a:cubicBezTo>
                    <a:pt x="13" y="20"/>
                    <a:pt x="13" y="20"/>
                    <a:pt x="12" y="21"/>
                  </a:cubicBezTo>
                  <a:cubicBezTo>
                    <a:pt x="12" y="21"/>
                    <a:pt x="11" y="22"/>
                    <a:pt x="11" y="22"/>
                  </a:cubicBezTo>
                  <a:cubicBezTo>
                    <a:pt x="11" y="23"/>
                    <a:pt x="13" y="24"/>
                    <a:pt x="14" y="24"/>
                  </a:cubicBezTo>
                  <a:cubicBezTo>
                    <a:pt x="15" y="24"/>
                    <a:pt x="18" y="24"/>
                    <a:pt x="17" y="25"/>
                  </a:cubicBezTo>
                  <a:cubicBezTo>
                    <a:pt x="15" y="27"/>
                    <a:pt x="13" y="26"/>
                    <a:pt x="11" y="25"/>
                  </a:cubicBezTo>
                  <a:cubicBezTo>
                    <a:pt x="10" y="25"/>
                    <a:pt x="7" y="24"/>
                    <a:pt x="5" y="24"/>
                  </a:cubicBezTo>
                  <a:cubicBezTo>
                    <a:pt x="4" y="24"/>
                    <a:pt x="4" y="24"/>
                    <a:pt x="5" y="25"/>
                  </a:cubicBezTo>
                  <a:cubicBezTo>
                    <a:pt x="6" y="26"/>
                    <a:pt x="7" y="27"/>
                    <a:pt x="8" y="28"/>
                  </a:cubicBezTo>
                  <a:cubicBezTo>
                    <a:pt x="8" y="29"/>
                    <a:pt x="7" y="29"/>
                    <a:pt x="8" y="30"/>
                  </a:cubicBezTo>
                  <a:cubicBezTo>
                    <a:pt x="9" y="30"/>
                    <a:pt x="10" y="31"/>
                    <a:pt x="11" y="31"/>
                  </a:cubicBezTo>
                  <a:cubicBezTo>
                    <a:pt x="13" y="32"/>
                    <a:pt x="15" y="33"/>
                    <a:pt x="17" y="34"/>
                  </a:cubicBezTo>
                  <a:cubicBezTo>
                    <a:pt x="18" y="34"/>
                    <a:pt x="19" y="35"/>
                    <a:pt x="20" y="35"/>
                  </a:cubicBezTo>
                  <a:cubicBezTo>
                    <a:pt x="21" y="35"/>
                    <a:pt x="22" y="34"/>
                    <a:pt x="23" y="34"/>
                  </a:cubicBezTo>
                  <a:cubicBezTo>
                    <a:pt x="21" y="36"/>
                    <a:pt x="18" y="35"/>
                    <a:pt x="15" y="36"/>
                  </a:cubicBezTo>
                  <a:cubicBezTo>
                    <a:pt x="16" y="38"/>
                    <a:pt x="18" y="39"/>
                    <a:pt x="19" y="40"/>
                  </a:cubicBezTo>
                  <a:cubicBezTo>
                    <a:pt x="21" y="42"/>
                    <a:pt x="21" y="42"/>
                    <a:pt x="24" y="42"/>
                  </a:cubicBezTo>
                  <a:cubicBezTo>
                    <a:pt x="25" y="42"/>
                    <a:pt x="28" y="43"/>
                    <a:pt x="30" y="42"/>
                  </a:cubicBezTo>
                  <a:cubicBezTo>
                    <a:pt x="31" y="42"/>
                    <a:pt x="30" y="42"/>
                    <a:pt x="29" y="41"/>
                  </a:cubicBezTo>
                  <a:cubicBezTo>
                    <a:pt x="30" y="40"/>
                    <a:pt x="31" y="41"/>
                    <a:pt x="31" y="41"/>
                  </a:cubicBezTo>
                  <a:cubicBezTo>
                    <a:pt x="32" y="41"/>
                    <a:pt x="32" y="40"/>
                    <a:pt x="32" y="40"/>
                  </a:cubicBezTo>
                  <a:cubicBezTo>
                    <a:pt x="33" y="40"/>
                    <a:pt x="34" y="41"/>
                    <a:pt x="35" y="40"/>
                  </a:cubicBezTo>
                  <a:cubicBezTo>
                    <a:pt x="36" y="39"/>
                    <a:pt x="34" y="39"/>
                    <a:pt x="35" y="38"/>
                  </a:cubicBezTo>
                  <a:cubicBezTo>
                    <a:pt x="35" y="38"/>
                    <a:pt x="37" y="38"/>
                    <a:pt x="38" y="38"/>
                  </a:cubicBezTo>
                  <a:cubicBezTo>
                    <a:pt x="39" y="38"/>
                    <a:pt x="40" y="38"/>
                    <a:pt x="40" y="37"/>
                  </a:cubicBezTo>
                  <a:cubicBezTo>
                    <a:pt x="39" y="36"/>
                    <a:pt x="37" y="37"/>
                    <a:pt x="37" y="36"/>
                  </a:cubicBezTo>
                  <a:cubicBezTo>
                    <a:pt x="35" y="35"/>
                    <a:pt x="39" y="35"/>
                    <a:pt x="38" y="34"/>
                  </a:cubicBezTo>
                  <a:cubicBezTo>
                    <a:pt x="38" y="33"/>
                    <a:pt x="38" y="32"/>
                    <a:pt x="37" y="32"/>
                  </a:cubicBezTo>
                  <a:cubicBezTo>
                    <a:pt x="38" y="31"/>
                    <a:pt x="39" y="30"/>
                    <a:pt x="40" y="30"/>
                  </a:cubicBezTo>
                  <a:cubicBezTo>
                    <a:pt x="41" y="30"/>
                    <a:pt x="41" y="33"/>
                    <a:pt x="42" y="33"/>
                  </a:cubicBezTo>
                  <a:cubicBezTo>
                    <a:pt x="43" y="33"/>
                    <a:pt x="43" y="32"/>
                    <a:pt x="44" y="32"/>
                  </a:cubicBezTo>
                  <a:cubicBezTo>
                    <a:pt x="44" y="32"/>
                    <a:pt x="45" y="32"/>
                    <a:pt x="45" y="32"/>
                  </a:cubicBezTo>
                  <a:cubicBezTo>
                    <a:pt x="46" y="32"/>
                    <a:pt x="45" y="31"/>
                    <a:pt x="45" y="31"/>
                  </a:cubicBezTo>
                  <a:cubicBezTo>
                    <a:pt x="45" y="30"/>
                    <a:pt x="45" y="28"/>
                    <a:pt x="46" y="28"/>
                  </a:cubicBezTo>
                  <a:cubicBezTo>
                    <a:pt x="48" y="27"/>
                    <a:pt x="48" y="31"/>
                    <a:pt x="48" y="32"/>
                  </a:cubicBezTo>
                  <a:cubicBezTo>
                    <a:pt x="47" y="34"/>
                    <a:pt x="45" y="35"/>
                    <a:pt x="47" y="36"/>
                  </a:cubicBezTo>
                  <a:cubicBezTo>
                    <a:pt x="48" y="37"/>
                    <a:pt x="49" y="36"/>
                    <a:pt x="50" y="36"/>
                  </a:cubicBezTo>
                  <a:cubicBezTo>
                    <a:pt x="51" y="36"/>
                    <a:pt x="53" y="36"/>
                    <a:pt x="53" y="36"/>
                  </a:cubicBezTo>
                  <a:cubicBezTo>
                    <a:pt x="54" y="35"/>
                    <a:pt x="54" y="35"/>
                    <a:pt x="55" y="34"/>
                  </a:cubicBezTo>
                  <a:cubicBezTo>
                    <a:pt x="55" y="34"/>
                    <a:pt x="56" y="34"/>
                    <a:pt x="56" y="34"/>
                  </a:cubicBezTo>
                  <a:cubicBezTo>
                    <a:pt x="57" y="34"/>
                    <a:pt x="57" y="33"/>
                    <a:pt x="57" y="32"/>
                  </a:cubicBezTo>
                  <a:cubicBezTo>
                    <a:pt x="57" y="32"/>
                    <a:pt x="58" y="32"/>
                    <a:pt x="58" y="32"/>
                  </a:cubicBezTo>
                  <a:cubicBezTo>
                    <a:pt x="58" y="31"/>
                    <a:pt x="58" y="30"/>
                    <a:pt x="59" y="31"/>
                  </a:cubicBezTo>
                  <a:cubicBezTo>
                    <a:pt x="60" y="31"/>
                    <a:pt x="61" y="32"/>
                    <a:pt x="62" y="31"/>
                  </a:cubicBezTo>
                  <a:cubicBezTo>
                    <a:pt x="61" y="33"/>
                    <a:pt x="58" y="35"/>
                    <a:pt x="57" y="37"/>
                  </a:cubicBezTo>
                  <a:cubicBezTo>
                    <a:pt x="58" y="37"/>
                    <a:pt x="59" y="37"/>
                    <a:pt x="59" y="37"/>
                  </a:cubicBezTo>
                  <a:cubicBezTo>
                    <a:pt x="60" y="37"/>
                    <a:pt x="61" y="38"/>
                    <a:pt x="62" y="38"/>
                  </a:cubicBezTo>
                  <a:cubicBezTo>
                    <a:pt x="59" y="38"/>
                    <a:pt x="57" y="38"/>
                    <a:pt x="54" y="39"/>
                  </a:cubicBezTo>
                  <a:cubicBezTo>
                    <a:pt x="53" y="39"/>
                    <a:pt x="52" y="39"/>
                    <a:pt x="51" y="39"/>
                  </a:cubicBezTo>
                  <a:cubicBezTo>
                    <a:pt x="50" y="41"/>
                    <a:pt x="51" y="41"/>
                    <a:pt x="49" y="42"/>
                  </a:cubicBezTo>
                  <a:cubicBezTo>
                    <a:pt x="48" y="42"/>
                    <a:pt x="46" y="43"/>
                    <a:pt x="44" y="43"/>
                  </a:cubicBezTo>
                  <a:cubicBezTo>
                    <a:pt x="41" y="44"/>
                    <a:pt x="38" y="45"/>
                    <a:pt x="35" y="46"/>
                  </a:cubicBezTo>
                  <a:cubicBezTo>
                    <a:pt x="34" y="47"/>
                    <a:pt x="32" y="45"/>
                    <a:pt x="31" y="45"/>
                  </a:cubicBezTo>
                  <a:cubicBezTo>
                    <a:pt x="31" y="44"/>
                    <a:pt x="30" y="45"/>
                    <a:pt x="30" y="45"/>
                  </a:cubicBezTo>
                  <a:cubicBezTo>
                    <a:pt x="28" y="45"/>
                    <a:pt x="28" y="45"/>
                    <a:pt x="28" y="47"/>
                  </a:cubicBezTo>
                  <a:cubicBezTo>
                    <a:pt x="28" y="48"/>
                    <a:pt x="28" y="49"/>
                    <a:pt x="29" y="50"/>
                  </a:cubicBezTo>
                  <a:cubicBezTo>
                    <a:pt x="29" y="52"/>
                    <a:pt x="29" y="52"/>
                    <a:pt x="31" y="52"/>
                  </a:cubicBezTo>
                  <a:cubicBezTo>
                    <a:pt x="32" y="52"/>
                    <a:pt x="32" y="52"/>
                    <a:pt x="33" y="52"/>
                  </a:cubicBezTo>
                  <a:cubicBezTo>
                    <a:pt x="34" y="51"/>
                    <a:pt x="39" y="52"/>
                    <a:pt x="39" y="51"/>
                  </a:cubicBezTo>
                  <a:cubicBezTo>
                    <a:pt x="39" y="51"/>
                    <a:pt x="39" y="52"/>
                    <a:pt x="39" y="52"/>
                  </a:cubicBezTo>
                  <a:cubicBezTo>
                    <a:pt x="41" y="51"/>
                    <a:pt x="42" y="51"/>
                    <a:pt x="43" y="51"/>
                  </a:cubicBezTo>
                  <a:cubicBezTo>
                    <a:pt x="44" y="51"/>
                    <a:pt x="45" y="50"/>
                    <a:pt x="46" y="50"/>
                  </a:cubicBezTo>
                  <a:cubicBezTo>
                    <a:pt x="47" y="49"/>
                    <a:pt x="48" y="49"/>
                    <a:pt x="49" y="49"/>
                  </a:cubicBezTo>
                  <a:cubicBezTo>
                    <a:pt x="50" y="49"/>
                    <a:pt x="50" y="50"/>
                    <a:pt x="51" y="50"/>
                  </a:cubicBezTo>
                  <a:cubicBezTo>
                    <a:pt x="53" y="50"/>
                    <a:pt x="56" y="50"/>
                    <a:pt x="58" y="50"/>
                  </a:cubicBezTo>
                  <a:cubicBezTo>
                    <a:pt x="59" y="50"/>
                    <a:pt x="59" y="50"/>
                    <a:pt x="60" y="50"/>
                  </a:cubicBezTo>
                  <a:cubicBezTo>
                    <a:pt x="61" y="50"/>
                    <a:pt x="60" y="49"/>
                    <a:pt x="61" y="49"/>
                  </a:cubicBezTo>
                  <a:cubicBezTo>
                    <a:pt x="62" y="48"/>
                    <a:pt x="63" y="48"/>
                    <a:pt x="64" y="48"/>
                  </a:cubicBezTo>
                  <a:cubicBezTo>
                    <a:pt x="63" y="48"/>
                    <a:pt x="63" y="49"/>
                    <a:pt x="62" y="49"/>
                  </a:cubicBezTo>
                  <a:cubicBezTo>
                    <a:pt x="62" y="51"/>
                    <a:pt x="64" y="51"/>
                    <a:pt x="65" y="51"/>
                  </a:cubicBezTo>
                  <a:cubicBezTo>
                    <a:pt x="64" y="51"/>
                    <a:pt x="63" y="51"/>
                    <a:pt x="62" y="51"/>
                  </a:cubicBezTo>
                  <a:cubicBezTo>
                    <a:pt x="61" y="51"/>
                    <a:pt x="59" y="51"/>
                    <a:pt x="58" y="51"/>
                  </a:cubicBezTo>
                  <a:cubicBezTo>
                    <a:pt x="56" y="51"/>
                    <a:pt x="54" y="52"/>
                    <a:pt x="52" y="52"/>
                  </a:cubicBezTo>
                  <a:cubicBezTo>
                    <a:pt x="50" y="52"/>
                    <a:pt x="48" y="52"/>
                    <a:pt x="46" y="53"/>
                  </a:cubicBezTo>
                  <a:cubicBezTo>
                    <a:pt x="44" y="53"/>
                    <a:pt x="42" y="53"/>
                    <a:pt x="40" y="54"/>
                  </a:cubicBezTo>
                  <a:cubicBezTo>
                    <a:pt x="42" y="56"/>
                    <a:pt x="47" y="55"/>
                    <a:pt x="49" y="56"/>
                  </a:cubicBezTo>
                  <a:cubicBezTo>
                    <a:pt x="51" y="56"/>
                    <a:pt x="52" y="56"/>
                    <a:pt x="53" y="57"/>
                  </a:cubicBezTo>
                  <a:cubicBezTo>
                    <a:pt x="54" y="57"/>
                    <a:pt x="55" y="58"/>
                    <a:pt x="56" y="58"/>
                  </a:cubicBezTo>
                  <a:cubicBezTo>
                    <a:pt x="56" y="58"/>
                    <a:pt x="55" y="59"/>
                    <a:pt x="55" y="59"/>
                  </a:cubicBezTo>
                  <a:cubicBezTo>
                    <a:pt x="54" y="59"/>
                    <a:pt x="53" y="57"/>
                    <a:pt x="52" y="57"/>
                  </a:cubicBezTo>
                  <a:cubicBezTo>
                    <a:pt x="51" y="57"/>
                    <a:pt x="50" y="57"/>
                    <a:pt x="49" y="57"/>
                  </a:cubicBezTo>
                  <a:cubicBezTo>
                    <a:pt x="48" y="57"/>
                    <a:pt x="47" y="57"/>
                    <a:pt x="46" y="57"/>
                  </a:cubicBezTo>
                  <a:cubicBezTo>
                    <a:pt x="45" y="56"/>
                    <a:pt x="44" y="56"/>
                    <a:pt x="43" y="56"/>
                  </a:cubicBezTo>
                  <a:cubicBezTo>
                    <a:pt x="42" y="56"/>
                    <a:pt x="42" y="56"/>
                    <a:pt x="41" y="56"/>
                  </a:cubicBezTo>
                  <a:cubicBezTo>
                    <a:pt x="40" y="56"/>
                    <a:pt x="40" y="57"/>
                    <a:pt x="40" y="57"/>
                  </a:cubicBezTo>
                  <a:cubicBezTo>
                    <a:pt x="40" y="58"/>
                    <a:pt x="38" y="58"/>
                    <a:pt x="38" y="57"/>
                  </a:cubicBezTo>
                  <a:cubicBezTo>
                    <a:pt x="38" y="55"/>
                    <a:pt x="34" y="56"/>
                    <a:pt x="32" y="56"/>
                  </a:cubicBezTo>
                  <a:cubicBezTo>
                    <a:pt x="32" y="57"/>
                    <a:pt x="31" y="57"/>
                    <a:pt x="32" y="58"/>
                  </a:cubicBezTo>
                  <a:cubicBezTo>
                    <a:pt x="32" y="59"/>
                    <a:pt x="33" y="60"/>
                    <a:pt x="34" y="61"/>
                  </a:cubicBezTo>
                  <a:cubicBezTo>
                    <a:pt x="35" y="64"/>
                    <a:pt x="37" y="64"/>
                    <a:pt x="40" y="65"/>
                  </a:cubicBezTo>
                  <a:cubicBezTo>
                    <a:pt x="41" y="65"/>
                    <a:pt x="43" y="65"/>
                    <a:pt x="44" y="66"/>
                  </a:cubicBezTo>
                  <a:cubicBezTo>
                    <a:pt x="46" y="67"/>
                    <a:pt x="47" y="68"/>
                    <a:pt x="49" y="68"/>
                  </a:cubicBezTo>
                  <a:cubicBezTo>
                    <a:pt x="50" y="68"/>
                    <a:pt x="51" y="68"/>
                    <a:pt x="52" y="68"/>
                  </a:cubicBezTo>
                  <a:cubicBezTo>
                    <a:pt x="53" y="68"/>
                    <a:pt x="52" y="67"/>
                    <a:pt x="52" y="67"/>
                  </a:cubicBezTo>
                  <a:cubicBezTo>
                    <a:pt x="52" y="67"/>
                    <a:pt x="53" y="67"/>
                    <a:pt x="53" y="67"/>
                  </a:cubicBezTo>
                  <a:cubicBezTo>
                    <a:pt x="54" y="67"/>
                    <a:pt x="55" y="68"/>
                    <a:pt x="56" y="68"/>
                  </a:cubicBezTo>
                  <a:cubicBezTo>
                    <a:pt x="57" y="68"/>
                    <a:pt x="58" y="68"/>
                    <a:pt x="59" y="68"/>
                  </a:cubicBezTo>
                  <a:cubicBezTo>
                    <a:pt x="58" y="69"/>
                    <a:pt x="57" y="68"/>
                    <a:pt x="57" y="69"/>
                  </a:cubicBezTo>
                  <a:cubicBezTo>
                    <a:pt x="56" y="69"/>
                    <a:pt x="56" y="70"/>
                    <a:pt x="56" y="69"/>
                  </a:cubicBezTo>
                  <a:cubicBezTo>
                    <a:pt x="56" y="68"/>
                    <a:pt x="54" y="69"/>
                    <a:pt x="53" y="69"/>
                  </a:cubicBezTo>
                  <a:cubicBezTo>
                    <a:pt x="52" y="69"/>
                    <a:pt x="49" y="69"/>
                    <a:pt x="48" y="71"/>
                  </a:cubicBezTo>
                  <a:cubicBezTo>
                    <a:pt x="50" y="72"/>
                    <a:pt x="52" y="72"/>
                    <a:pt x="54" y="73"/>
                  </a:cubicBezTo>
                  <a:cubicBezTo>
                    <a:pt x="54" y="74"/>
                    <a:pt x="56" y="74"/>
                    <a:pt x="56" y="75"/>
                  </a:cubicBezTo>
                  <a:cubicBezTo>
                    <a:pt x="57" y="75"/>
                    <a:pt x="56" y="77"/>
                    <a:pt x="57" y="77"/>
                  </a:cubicBezTo>
                  <a:cubicBezTo>
                    <a:pt x="59" y="76"/>
                    <a:pt x="59" y="78"/>
                    <a:pt x="62" y="77"/>
                  </a:cubicBezTo>
                  <a:cubicBezTo>
                    <a:pt x="63" y="77"/>
                    <a:pt x="63" y="77"/>
                    <a:pt x="64" y="76"/>
                  </a:cubicBezTo>
                  <a:cubicBezTo>
                    <a:pt x="64" y="76"/>
                    <a:pt x="65" y="75"/>
                    <a:pt x="66" y="75"/>
                  </a:cubicBezTo>
                  <a:cubicBezTo>
                    <a:pt x="66" y="74"/>
                    <a:pt x="64" y="74"/>
                    <a:pt x="64" y="73"/>
                  </a:cubicBezTo>
                  <a:cubicBezTo>
                    <a:pt x="63" y="73"/>
                    <a:pt x="63" y="73"/>
                    <a:pt x="64" y="72"/>
                  </a:cubicBezTo>
                  <a:cubicBezTo>
                    <a:pt x="64" y="72"/>
                    <a:pt x="64" y="72"/>
                    <a:pt x="65" y="71"/>
                  </a:cubicBezTo>
                  <a:cubicBezTo>
                    <a:pt x="65" y="70"/>
                    <a:pt x="66" y="70"/>
                    <a:pt x="67" y="69"/>
                  </a:cubicBezTo>
                  <a:cubicBezTo>
                    <a:pt x="67" y="68"/>
                    <a:pt x="66" y="68"/>
                    <a:pt x="65" y="67"/>
                  </a:cubicBezTo>
                  <a:cubicBezTo>
                    <a:pt x="67" y="67"/>
                    <a:pt x="67" y="68"/>
                    <a:pt x="68" y="66"/>
                  </a:cubicBezTo>
                  <a:cubicBezTo>
                    <a:pt x="68" y="65"/>
                    <a:pt x="68" y="64"/>
                    <a:pt x="69" y="63"/>
                  </a:cubicBezTo>
                  <a:cubicBezTo>
                    <a:pt x="69" y="63"/>
                    <a:pt x="69" y="62"/>
                    <a:pt x="69" y="61"/>
                  </a:cubicBezTo>
                  <a:cubicBezTo>
                    <a:pt x="70" y="60"/>
                    <a:pt x="71" y="59"/>
                    <a:pt x="71" y="58"/>
                  </a:cubicBezTo>
                  <a:cubicBezTo>
                    <a:pt x="72" y="57"/>
                    <a:pt x="73" y="57"/>
                    <a:pt x="74" y="57"/>
                  </a:cubicBezTo>
                  <a:cubicBezTo>
                    <a:pt x="75" y="57"/>
                    <a:pt x="76" y="58"/>
                    <a:pt x="76" y="58"/>
                  </a:cubicBezTo>
                  <a:cubicBezTo>
                    <a:pt x="77" y="57"/>
                    <a:pt x="78" y="55"/>
                    <a:pt x="78" y="54"/>
                  </a:cubicBezTo>
                  <a:cubicBezTo>
                    <a:pt x="78" y="53"/>
                    <a:pt x="79" y="51"/>
                    <a:pt x="79" y="50"/>
                  </a:cubicBezTo>
                  <a:cubicBezTo>
                    <a:pt x="79" y="49"/>
                    <a:pt x="79" y="45"/>
                    <a:pt x="80" y="45"/>
                  </a:cubicBezTo>
                  <a:cubicBezTo>
                    <a:pt x="82" y="46"/>
                    <a:pt x="86" y="46"/>
                    <a:pt x="85" y="43"/>
                  </a:cubicBezTo>
                  <a:cubicBezTo>
                    <a:pt x="85" y="42"/>
                    <a:pt x="84" y="40"/>
                    <a:pt x="84" y="39"/>
                  </a:cubicBezTo>
                  <a:cubicBezTo>
                    <a:pt x="85" y="39"/>
                    <a:pt x="85" y="39"/>
                    <a:pt x="85" y="38"/>
                  </a:cubicBezTo>
                  <a:cubicBezTo>
                    <a:pt x="85" y="36"/>
                    <a:pt x="84" y="36"/>
                    <a:pt x="86" y="36"/>
                  </a:cubicBezTo>
                  <a:cubicBezTo>
                    <a:pt x="87" y="36"/>
                    <a:pt x="88" y="36"/>
                    <a:pt x="89" y="35"/>
                  </a:cubicBezTo>
                  <a:cubicBezTo>
                    <a:pt x="90" y="35"/>
                    <a:pt x="90" y="35"/>
                    <a:pt x="91" y="35"/>
                  </a:cubicBezTo>
                  <a:cubicBezTo>
                    <a:pt x="92" y="35"/>
                    <a:pt x="92" y="34"/>
                    <a:pt x="92" y="33"/>
                  </a:cubicBezTo>
                  <a:cubicBezTo>
                    <a:pt x="93" y="32"/>
                    <a:pt x="94" y="33"/>
                    <a:pt x="95" y="33"/>
                  </a:cubicBezTo>
                  <a:cubicBezTo>
                    <a:pt x="95" y="33"/>
                    <a:pt x="96" y="32"/>
                    <a:pt x="96" y="32"/>
                  </a:cubicBezTo>
                  <a:cubicBezTo>
                    <a:pt x="96" y="32"/>
                    <a:pt x="97" y="32"/>
                    <a:pt x="98" y="32"/>
                  </a:cubicBezTo>
                  <a:cubicBezTo>
                    <a:pt x="99" y="32"/>
                    <a:pt x="100" y="33"/>
                    <a:pt x="101" y="32"/>
                  </a:cubicBezTo>
                  <a:cubicBezTo>
                    <a:pt x="101" y="32"/>
                    <a:pt x="101" y="31"/>
                    <a:pt x="102" y="31"/>
                  </a:cubicBezTo>
                  <a:cubicBezTo>
                    <a:pt x="102" y="31"/>
                    <a:pt x="103" y="31"/>
                    <a:pt x="103" y="31"/>
                  </a:cubicBezTo>
                  <a:cubicBezTo>
                    <a:pt x="104" y="31"/>
                    <a:pt x="105" y="32"/>
                    <a:pt x="106" y="32"/>
                  </a:cubicBezTo>
                  <a:cubicBezTo>
                    <a:pt x="107" y="32"/>
                    <a:pt x="107" y="32"/>
                    <a:pt x="107" y="31"/>
                  </a:cubicBezTo>
                  <a:cubicBezTo>
                    <a:pt x="108" y="31"/>
                    <a:pt x="108" y="32"/>
                    <a:pt x="109" y="32"/>
                  </a:cubicBezTo>
                  <a:cubicBezTo>
                    <a:pt x="109" y="31"/>
                    <a:pt x="109" y="31"/>
                    <a:pt x="109" y="30"/>
                  </a:cubicBezTo>
                  <a:cubicBezTo>
                    <a:pt x="110" y="30"/>
                    <a:pt x="111" y="30"/>
                    <a:pt x="111" y="29"/>
                  </a:cubicBezTo>
                  <a:cubicBezTo>
                    <a:pt x="111" y="28"/>
                    <a:pt x="103" y="26"/>
                    <a:pt x="102" y="26"/>
                  </a:cubicBezTo>
                  <a:cubicBezTo>
                    <a:pt x="100" y="26"/>
                    <a:pt x="99" y="25"/>
                    <a:pt x="97" y="24"/>
                  </a:cubicBezTo>
                  <a:cubicBezTo>
                    <a:pt x="96" y="24"/>
                    <a:pt x="95" y="24"/>
                    <a:pt x="94" y="24"/>
                  </a:cubicBezTo>
                  <a:cubicBezTo>
                    <a:pt x="93" y="23"/>
                    <a:pt x="93" y="21"/>
                    <a:pt x="92" y="21"/>
                  </a:cubicBezTo>
                  <a:cubicBezTo>
                    <a:pt x="90" y="20"/>
                    <a:pt x="89" y="20"/>
                    <a:pt x="87" y="20"/>
                  </a:cubicBezTo>
                  <a:cubicBezTo>
                    <a:pt x="87" y="20"/>
                    <a:pt x="87" y="21"/>
                    <a:pt x="86" y="21"/>
                  </a:cubicBezTo>
                  <a:cubicBezTo>
                    <a:pt x="86" y="21"/>
                    <a:pt x="85" y="21"/>
                    <a:pt x="84" y="21"/>
                  </a:cubicBezTo>
                  <a:cubicBezTo>
                    <a:pt x="83" y="20"/>
                    <a:pt x="83" y="17"/>
                    <a:pt x="83" y="16"/>
                  </a:cubicBezTo>
                  <a:cubicBezTo>
                    <a:pt x="83" y="15"/>
                    <a:pt x="83" y="15"/>
                    <a:pt x="83" y="14"/>
                  </a:cubicBezTo>
                  <a:cubicBezTo>
                    <a:pt x="83" y="14"/>
                    <a:pt x="83" y="13"/>
                    <a:pt x="82" y="13"/>
                  </a:cubicBezTo>
                  <a:cubicBezTo>
                    <a:pt x="81" y="12"/>
                    <a:pt x="80" y="12"/>
                    <a:pt x="79" y="12"/>
                  </a:cubicBezTo>
                  <a:cubicBezTo>
                    <a:pt x="78" y="11"/>
                    <a:pt x="76" y="11"/>
                    <a:pt x="75" y="11"/>
                  </a:cubicBezTo>
                  <a:cubicBezTo>
                    <a:pt x="74" y="12"/>
                    <a:pt x="74" y="13"/>
                    <a:pt x="74" y="14"/>
                  </a:cubicBezTo>
                  <a:cubicBezTo>
                    <a:pt x="74" y="14"/>
                    <a:pt x="71" y="16"/>
                    <a:pt x="71" y="16"/>
                  </a:cubicBezTo>
                  <a:cubicBezTo>
                    <a:pt x="70" y="15"/>
                    <a:pt x="72" y="15"/>
                    <a:pt x="72" y="14"/>
                  </a:cubicBezTo>
                  <a:cubicBezTo>
                    <a:pt x="72" y="13"/>
                    <a:pt x="72" y="13"/>
                    <a:pt x="72" y="12"/>
                  </a:cubicBezTo>
                  <a:cubicBezTo>
                    <a:pt x="72" y="11"/>
                    <a:pt x="72" y="10"/>
                    <a:pt x="73" y="9"/>
                  </a:cubicBezTo>
                  <a:cubicBezTo>
                    <a:pt x="73" y="9"/>
                    <a:pt x="76" y="8"/>
                    <a:pt x="75" y="7"/>
                  </a:cubicBezTo>
                  <a:cubicBezTo>
                    <a:pt x="71" y="6"/>
                    <a:pt x="68" y="6"/>
                    <a:pt x="64" y="5"/>
                  </a:cubicBezTo>
                  <a:cubicBezTo>
                    <a:pt x="64" y="5"/>
                    <a:pt x="62" y="4"/>
                    <a:pt x="62" y="4"/>
                  </a:cubicBezTo>
                  <a:cubicBezTo>
                    <a:pt x="61" y="3"/>
                    <a:pt x="60" y="2"/>
                    <a:pt x="59" y="0"/>
                  </a:cubicBezTo>
                  <a:cubicBezTo>
                    <a:pt x="57" y="1"/>
                    <a:pt x="55" y="1"/>
                    <a:pt x="53" y="1"/>
                  </a:cubicBezTo>
                  <a:cubicBezTo>
                    <a:pt x="54" y="1"/>
                    <a:pt x="56" y="1"/>
                    <a:pt x="56" y="2"/>
                  </a:cubicBezTo>
                  <a:cubicBezTo>
                    <a:pt x="57" y="2"/>
                    <a:pt x="57" y="3"/>
                    <a:pt x="57" y="4"/>
                  </a:cubicBezTo>
                  <a:cubicBezTo>
                    <a:pt x="57" y="4"/>
                    <a:pt x="57" y="4"/>
                    <a:pt x="57" y="4"/>
                  </a:cubicBezTo>
                  <a:cubicBezTo>
                    <a:pt x="57" y="5"/>
                    <a:pt x="54" y="3"/>
                    <a:pt x="53" y="4"/>
                  </a:cubicBezTo>
                  <a:cubicBezTo>
                    <a:pt x="52" y="5"/>
                    <a:pt x="53" y="7"/>
                    <a:pt x="53" y="8"/>
                  </a:cubicBezTo>
                  <a:cubicBezTo>
                    <a:pt x="53" y="9"/>
                    <a:pt x="54" y="10"/>
                    <a:pt x="55" y="11"/>
                  </a:cubicBezTo>
                  <a:cubicBezTo>
                    <a:pt x="55" y="12"/>
                    <a:pt x="55" y="13"/>
                    <a:pt x="55" y="14"/>
                  </a:cubicBezTo>
                  <a:cubicBezTo>
                    <a:pt x="56" y="16"/>
                    <a:pt x="56" y="17"/>
                    <a:pt x="56" y="17"/>
                  </a:cubicBezTo>
                  <a:cubicBezTo>
                    <a:pt x="57" y="18"/>
                    <a:pt x="57" y="18"/>
                    <a:pt x="58" y="19"/>
                  </a:cubicBezTo>
                  <a:cubicBezTo>
                    <a:pt x="58" y="19"/>
                    <a:pt x="58" y="20"/>
                    <a:pt x="58" y="20"/>
                  </a:cubicBezTo>
                  <a:cubicBezTo>
                    <a:pt x="58" y="22"/>
                    <a:pt x="59" y="22"/>
                    <a:pt x="60" y="23"/>
                  </a:cubicBezTo>
                  <a:cubicBezTo>
                    <a:pt x="60" y="24"/>
                    <a:pt x="61" y="25"/>
                    <a:pt x="61" y="26"/>
                  </a:cubicBezTo>
                  <a:cubicBezTo>
                    <a:pt x="60" y="26"/>
                    <a:pt x="58" y="25"/>
                    <a:pt x="57" y="24"/>
                  </a:cubicBezTo>
                  <a:cubicBezTo>
                    <a:pt x="57" y="24"/>
                    <a:pt x="58" y="23"/>
                    <a:pt x="57" y="23"/>
                  </a:cubicBezTo>
                  <a:cubicBezTo>
                    <a:pt x="57" y="22"/>
                    <a:pt x="57" y="22"/>
                    <a:pt x="56" y="22"/>
                  </a:cubicBezTo>
                  <a:cubicBezTo>
                    <a:pt x="56" y="21"/>
                    <a:pt x="55" y="20"/>
                    <a:pt x="54" y="20"/>
                  </a:cubicBezTo>
                  <a:cubicBezTo>
                    <a:pt x="53" y="20"/>
                    <a:pt x="52" y="22"/>
                    <a:pt x="53" y="20"/>
                  </a:cubicBezTo>
                  <a:cubicBezTo>
                    <a:pt x="54" y="19"/>
                    <a:pt x="54" y="19"/>
                    <a:pt x="53" y="18"/>
                  </a:cubicBezTo>
                  <a:cubicBezTo>
                    <a:pt x="53" y="18"/>
                    <a:pt x="52" y="17"/>
                    <a:pt x="52" y="17"/>
                  </a:cubicBezTo>
                  <a:cubicBezTo>
                    <a:pt x="51" y="17"/>
                    <a:pt x="51" y="16"/>
                    <a:pt x="50" y="15"/>
                  </a:cubicBezTo>
                  <a:cubicBezTo>
                    <a:pt x="50" y="14"/>
                    <a:pt x="50" y="14"/>
                    <a:pt x="49" y="13"/>
                  </a:cubicBezTo>
                  <a:cubicBezTo>
                    <a:pt x="49" y="13"/>
                    <a:pt x="49" y="12"/>
                    <a:pt x="49" y="12"/>
                  </a:cubicBezTo>
                  <a:cubicBezTo>
                    <a:pt x="48" y="11"/>
                    <a:pt x="49" y="10"/>
                    <a:pt x="48" y="10"/>
                  </a:cubicBezTo>
                  <a:cubicBezTo>
                    <a:pt x="48" y="10"/>
                    <a:pt x="47" y="10"/>
                    <a:pt x="47" y="9"/>
                  </a:cubicBezTo>
                  <a:cubicBezTo>
                    <a:pt x="45" y="8"/>
                    <a:pt x="44" y="6"/>
                    <a:pt x="42" y="6"/>
                  </a:cubicBezTo>
                  <a:cubicBezTo>
                    <a:pt x="40" y="5"/>
                    <a:pt x="40" y="7"/>
                    <a:pt x="38" y="8"/>
                  </a:cubicBezTo>
                  <a:cubicBezTo>
                    <a:pt x="38" y="9"/>
                    <a:pt x="36" y="9"/>
                    <a:pt x="37" y="10"/>
                  </a:cubicBezTo>
                  <a:cubicBezTo>
                    <a:pt x="36" y="10"/>
                    <a:pt x="35" y="10"/>
                    <a:pt x="34" y="11"/>
                  </a:cubicBezTo>
                  <a:cubicBezTo>
                    <a:pt x="34" y="12"/>
                    <a:pt x="35" y="14"/>
                    <a:pt x="36" y="15"/>
                  </a:cubicBezTo>
                  <a:cubicBezTo>
                    <a:pt x="36" y="16"/>
                    <a:pt x="37" y="16"/>
                    <a:pt x="36" y="17"/>
                  </a:cubicBezTo>
                  <a:cubicBezTo>
                    <a:pt x="35" y="18"/>
                    <a:pt x="35" y="18"/>
                    <a:pt x="34" y="18"/>
                  </a:cubicBezTo>
                  <a:cubicBezTo>
                    <a:pt x="33" y="18"/>
                    <a:pt x="34" y="15"/>
                    <a:pt x="33" y="15"/>
                  </a:cubicBezTo>
                  <a:cubicBezTo>
                    <a:pt x="32" y="14"/>
                    <a:pt x="31" y="13"/>
                    <a:pt x="30" y="13"/>
                  </a:cubicBezTo>
                  <a:cubicBezTo>
                    <a:pt x="29" y="13"/>
                    <a:pt x="28" y="14"/>
                    <a:pt x="27" y="13"/>
                  </a:cubicBezTo>
                  <a:cubicBezTo>
                    <a:pt x="26" y="12"/>
                    <a:pt x="30" y="12"/>
                    <a:pt x="29" y="11"/>
                  </a:cubicBezTo>
                  <a:cubicBezTo>
                    <a:pt x="29" y="10"/>
                    <a:pt x="26" y="10"/>
                    <a:pt x="25" y="11"/>
                  </a:cubicBezTo>
                  <a:cubicBezTo>
                    <a:pt x="23" y="11"/>
                    <a:pt x="19" y="12"/>
                    <a:pt x="18" y="11"/>
                  </a:cubicBezTo>
                  <a:cubicBezTo>
                    <a:pt x="19" y="11"/>
                    <a:pt x="21" y="10"/>
                    <a:pt x="22" y="10"/>
                  </a:cubicBezTo>
                  <a:cubicBezTo>
                    <a:pt x="23" y="9"/>
                    <a:pt x="24" y="9"/>
                    <a:pt x="24" y="8"/>
                  </a:cubicBezTo>
                  <a:cubicBezTo>
                    <a:pt x="25" y="8"/>
                    <a:pt x="27" y="8"/>
                    <a:pt x="28" y="8"/>
                  </a:cubicBezTo>
                  <a:cubicBezTo>
                    <a:pt x="30" y="8"/>
                    <a:pt x="33" y="9"/>
                    <a:pt x="34" y="7"/>
                  </a:cubicBezTo>
                  <a:cubicBezTo>
                    <a:pt x="36" y="3"/>
                    <a:pt x="30" y="4"/>
                    <a:pt x="28" y="4"/>
                  </a:cubicBezTo>
                  <a:cubicBezTo>
                    <a:pt x="27" y="5"/>
                    <a:pt x="26" y="5"/>
                    <a:pt x="25" y="5"/>
                  </a:cubicBezTo>
                  <a:cubicBezTo>
                    <a:pt x="24" y="5"/>
                    <a:pt x="23" y="6"/>
                    <a:pt x="22" y="6"/>
                  </a:cubicBezTo>
                  <a:cubicBezTo>
                    <a:pt x="22" y="6"/>
                    <a:pt x="19" y="7"/>
                    <a:pt x="19" y="7"/>
                  </a:cubicBezTo>
                  <a:cubicBezTo>
                    <a:pt x="18" y="6"/>
                    <a:pt x="19" y="6"/>
                    <a:pt x="18" y="5"/>
                  </a:cubicBezTo>
                  <a:cubicBezTo>
                    <a:pt x="18" y="5"/>
                    <a:pt x="17" y="5"/>
                    <a:pt x="17" y="5"/>
                  </a:cubicBezTo>
                  <a:cubicBezTo>
                    <a:pt x="16" y="5"/>
                    <a:pt x="16" y="5"/>
                    <a:pt x="15" y="6"/>
                  </a:cubicBezTo>
                  <a:cubicBezTo>
                    <a:pt x="15" y="6"/>
                    <a:pt x="15" y="9"/>
                    <a:pt x="14" y="9"/>
                  </a:cubicBezTo>
                  <a:cubicBezTo>
                    <a:pt x="14" y="8"/>
                    <a:pt x="13" y="6"/>
                    <a:pt x="13" y="6"/>
                  </a:cubicBezTo>
                  <a:cubicBezTo>
                    <a:pt x="13" y="5"/>
                    <a:pt x="11" y="5"/>
                    <a:pt x="10" y="5"/>
                  </a:cubicBezTo>
                  <a:cubicBezTo>
                    <a:pt x="9" y="5"/>
                    <a:pt x="8" y="6"/>
                    <a:pt x="7" y="6"/>
                  </a:cubicBezTo>
                  <a:cubicBezTo>
                    <a:pt x="7" y="6"/>
                    <a:pt x="6" y="6"/>
                    <a:pt x="5" y="6"/>
                  </a:cubicBezTo>
                  <a:cubicBezTo>
                    <a:pt x="5" y="7"/>
                    <a:pt x="6" y="9"/>
                    <a:pt x="5" y="9"/>
                  </a:cubicBezTo>
                  <a:cubicBezTo>
                    <a:pt x="5" y="10"/>
                    <a:pt x="4" y="9"/>
                    <a:pt x="3" y="9"/>
                  </a:cubicBezTo>
                  <a:cubicBezTo>
                    <a:pt x="3" y="9"/>
                    <a:pt x="2" y="10"/>
                    <a:pt x="2" y="10"/>
                  </a:cubicBezTo>
                  <a:cubicBezTo>
                    <a:pt x="3" y="11"/>
                    <a:pt x="4" y="11"/>
                    <a:pt x="4" y="11"/>
                  </a:cubicBezTo>
                  <a:cubicBezTo>
                    <a:pt x="4" y="11"/>
                    <a:pt x="1" y="11"/>
                    <a:pt x="0" y="11"/>
                  </a:cubicBezTo>
                  <a:cubicBezTo>
                    <a:pt x="0" y="12"/>
                    <a:pt x="1" y="15"/>
                    <a:pt x="2" y="16"/>
                  </a:cubicBezTo>
                  <a:cubicBezTo>
                    <a:pt x="3" y="17"/>
                    <a:pt x="4" y="18"/>
                    <a:pt x="5" y="2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40" name="Freeform 2193">
              <a:extLst>
                <a:ext uri="{FF2B5EF4-FFF2-40B4-BE49-F238E27FC236}">
                  <a16:creationId xmlns:a16="http://schemas.microsoft.com/office/drawing/2014/main" id="{D6A9DE0F-5259-4B4A-8315-D2CA9DC2A90B}"/>
                </a:ext>
              </a:extLst>
            </p:cNvPr>
            <p:cNvSpPr>
              <a:spLocks/>
            </p:cNvSpPr>
            <p:nvPr/>
          </p:nvSpPr>
          <p:spPr bwMode="auto">
            <a:xfrm>
              <a:off x="4048" y="335"/>
              <a:ext cx="102" cy="52"/>
            </a:xfrm>
            <a:custGeom>
              <a:avLst/>
              <a:gdLst>
                <a:gd name="T0" fmla="*/ 43 w 43"/>
                <a:gd name="T1" fmla="*/ 11 h 22"/>
                <a:gd name="T2" fmla="*/ 38 w 43"/>
                <a:gd name="T3" fmla="*/ 8 h 22"/>
                <a:gd name="T4" fmla="*/ 37 w 43"/>
                <a:gd name="T5" fmla="*/ 7 h 22"/>
                <a:gd name="T6" fmla="*/ 36 w 43"/>
                <a:gd name="T7" fmla="*/ 8 h 22"/>
                <a:gd name="T8" fmla="*/ 35 w 43"/>
                <a:gd name="T9" fmla="*/ 8 h 22"/>
                <a:gd name="T10" fmla="*/ 32 w 43"/>
                <a:gd name="T11" fmla="*/ 9 h 22"/>
                <a:gd name="T12" fmla="*/ 29 w 43"/>
                <a:gd name="T13" fmla="*/ 7 h 22"/>
                <a:gd name="T14" fmla="*/ 26 w 43"/>
                <a:gd name="T15" fmla="*/ 6 h 22"/>
                <a:gd name="T16" fmla="*/ 28 w 43"/>
                <a:gd name="T17" fmla="*/ 3 h 22"/>
                <a:gd name="T18" fmla="*/ 28 w 43"/>
                <a:gd name="T19" fmla="*/ 1 h 22"/>
                <a:gd name="T20" fmla="*/ 25 w 43"/>
                <a:gd name="T21" fmla="*/ 0 h 22"/>
                <a:gd name="T22" fmla="*/ 19 w 43"/>
                <a:gd name="T23" fmla="*/ 0 h 22"/>
                <a:gd name="T24" fmla="*/ 17 w 43"/>
                <a:gd name="T25" fmla="*/ 1 h 22"/>
                <a:gd name="T26" fmla="*/ 15 w 43"/>
                <a:gd name="T27" fmla="*/ 1 h 22"/>
                <a:gd name="T28" fmla="*/ 12 w 43"/>
                <a:gd name="T29" fmla="*/ 1 h 22"/>
                <a:gd name="T30" fmla="*/ 6 w 43"/>
                <a:gd name="T31" fmla="*/ 2 h 22"/>
                <a:gd name="T32" fmla="*/ 3 w 43"/>
                <a:gd name="T33" fmla="*/ 4 h 22"/>
                <a:gd name="T34" fmla="*/ 6 w 43"/>
                <a:gd name="T35" fmla="*/ 6 h 22"/>
                <a:gd name="T36" fmla="*/ 10 w 43"/>
                <a:gd name="T37" fmla="*/ 7 h 22"/>
                <a:gd name="T38" fmla="*/ 9 w 43"/>
                <a:gd name="T39" fmla="*/ 8 h 22"/>
                <a:gd name="T40" fmla="*/ 8 w 43"/>
                <a:gd name="T41" fmla="*/ 10 h 22"/>
                <a:gd name="T42" fmla="*/ 6 w 43"/>
                <a:gd name="T43" fmla="*/ 12 h 22"/>
                <a:gd name="T44" fmla="*/ 4 w 43"/>
                <a:gd name="T45" fmla="*/ 14 h 22"/>
                <a:gd name="T46" fmla="*/ 2 w 43"/>
                <a:gd name="T47" fmla="*/ 17 h 22"/>
                <a:gd name="T48" fmla="*/ 10 w 43"/>
                <a:gd name="T49" fmla="*/ 16 h 22"/>
                <a:gd name="T50" fmla="*/ 21 w 43"/>
                <a:gd name="T51" fmla="*/ 15 h 22"/>
                <a:gd name="T52" fmla="*/ 20 w 43"/>
                <a:gd name="T53" fmla="*/ 17 h 22"/>
                <a:gd name="T54" fmla="*/ 19 w 43"/>
                <a:gd name="T55" fmla="*/ 20 h 22"/>
                <a:gd name="T56" fmla="*/ 22 w 43"/>
                <a:gd name="T57" fmla="*/ 21 h 22"/>
                <a:gd name="T58" fmla="*/ 23 w 43"/>
                <a:gd name="T59" fmla="*/ 20 h 22"/>
                <a:gd name="T60" fmla="*/ 27 w 43"/>
                <a:gd name="T61" fmla="*/ 19 h 22"/>
                <a:gd name="T62" fmla="*/ 29 w 43"/>
                <a:gd name="T63" fmla="*/ 18 h 22"/>
                <a:gd name="T64" fmla="*/ 32 w 43"/>
                <a:gd name="T65" fmla="*/ 17 h 22"/>
                <a:gd name="T66" fmla="*/ 35 w 43"/>
                <a:gd name="T67" fmla="*/ 14 h 22"/>
                <a:gd name="T68" fmla="*/ 43 w 43"/>
                <a:gd name="T69"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22">
                  <a:moveTo>
                    <a:pt x="43" y="11"/>
                  </a:moveTo>
                  <a:cubicBezTo>
                    <a:pt x="41" y="10"/>
                    <a:pt x="39" y="9"/>
                    <a:pt x="38" y="8"/>
                  </a:cubicBezTo>
                  <a:cubicBezTo>
                    <a:pt x="37" y="8"/>
                    <a:pt x="37" y="8"/>
                    <a:pt x="37" y="7"/>
                  </a:cubicBezTo>
                  <a:cubicBezTo>
                    <a:pt x="37" y="7"/>
                    <a:pt x="36" y="8"/>
                    <a:pt x="36" y="8"/>
                  </a:cubicBezTo>
                  <a:cubicBezTo>
                    <a:pt x="36" y="8"/>
                    <a:pt x="35" y="8"/>
                    <a:pt x="35" y="8"/>
                  </a:cubicBezTo>
                  <a:cubicBezTo>
                    <a:pt x="34" y="8"/>
                    <a:pt x="33" y="9"/>
                    <a:pt x="32" y="9"/>
                  </a:cubicBezTo>
                  <a:cubicBezTo>
                    <a:pt x="31" y="9"/>
                    <a:pt x="30" y="8"/>
                    <a:pt x="29" y="7"/>
                  </a:cubicBezTo>
                  <a:cubicBezTo>
                    <a:pt x="29" y="7"/>
                    <a:pt x="26" y="6"/>
                    <a:pt x="26" y="6"/>
                  </a:cubicBezTo>
                  <a:cubicBezTo>
                    <a:pt x="26" y="6"/>
                    <a:pt x="27" y="4"/>
                    <a:pt x="28" y="3"/>
                  </a:cubicBezTo>
                  <a:cubicBezTo>
                    <a:pt x="28" y="2"/>
                    <a:pt x="28" y="2"/>
                    <a:pt x="28" y="1"/>
                  </a:cubicBezTo>
                  <a:cubicBezTo>
                    <a:pt x="27" y="1"/>
                    <a:pt x="26" y="0"/>
                    <a:pt x="25" y="0"/>
                  </a:cubicBezTo>
                  <a:cubicBezTo>
                    <a:pt x="23" y="0"/>
                    <a:pt x="21" y="0"/>
                    <a:pt x="19" y="0"/>
                  </a:cubicBezTo>
                  <a:cubicBezTo>
                    <a:pt x="18" y="1"/>
                    <a:pt x="18" y="1"/>
                    <a:pt x="17" y="1"/>
                  </a:cubicBezTo>
                  <a:cubicBezTo>
                    <a:pt x="17" y="1"/>
                    <a:pt x="16" y="1"/>
                    <a:pt x="15" y="1"/>
                  </a:cubicBezTo>
                  <a:cubicBezTo>
                    <a:pt x="14" y="1"/>
                    <a:pt x="13" y="1"/>
                    <a:pt x="12" y="1"/>
                  </a:cubicBezTo>
                  <a:cubicBezTo>
                    <a:pt x="10" y="1"/>
                    <a:pt x="8" y="1"/>
                    <a:pt x="6" y="2"/>
                  </a:cubicBezTo>
                  <a:cubicBezTo>
                    <a:pt x="5" y="2"/>
                    <a:pt x="0" y="3"/>
                    <a:pt x="3" y="4"/>
                  </a:cubicBezTo>
                  <a:cubicBezTo>
                    <a:pt x="4" y="5"/>
                    <a:pt x="5" y="5"/>
                    <a:pt x="6" y="6"/>
                  </a:cubicBezTo>
                  <a:cubicBezTo>
                    <a:pt x="7" y="6"/>
                    <a:pt x="9" y="6"/>
                    <a:pt x="10" y="7"/>
                  </a:cubicBezTo>
                  <a:cubicBezTo>
                    <a:pt x="9" y="7"/>
                    <a:pt x="9" y="8"/>
                    <a:pt x="9" y="8"/>
                  </a:cubicBezTo>
                  <a:cubicBezTo>
                    <a:pt x="9" y="9"/>
                    <a:pt x="8" y="9"/>
                    <a:pt x="8" y="10"/>
                  </a:cubicBezTo>
                  <a:cubicBezTo>
                    <a:pt x="7" y="10"/>
                    <a:pt x="6" y="11"/>
                    <a:pt x="6" y="12"/>
                  </a:cubicBezTo>
                  <a:cubicBezTo>
                    <a:pt x="5" y="14"/>
                    <a:pt x="5" y="14"/>
                    <a:pt x="4" y="14"/>
                  </a:cubicBezTo>
                  <a:cubicBezTo>
                    <a:pt x="2" y="15"/>
                    <a:pt x="2" y="15"/>
                    <a:pt x="2" y="17"/>
                  </a:cubicBezTo>
                  <a:cubicBezTo>
                    <a:pt x="4" y="17"/>
                    <a:pt x="7" y="17"/>
                    <a:pt x="10" y="16"/>
                  </a:cubicBezTo>
                  <a:cubicBezTo>
                    <a:pt x="14" y="16"/>
                    <a:pt x="17" y="16"/>
                    <a:pt x="21" y="15"/>
                  </a:cubicBezTo>
                  <a:cubicBezTo>
                    <a:pt x="22" y="15"/>
                    <a:pt x="20" y="17"/>
                    <a:pt x="20" y="17"/>
                  </a:cubicBezTo>
                  <a:cubicBezTo>
                    <a:pt x="18" y="18"/>
                    <a:pt x="17" y="18"/>
                    <a:pt x="19" y="20"/>
                  </a:cubicBezTo>
                  <a:cubicBezTo>
                    <a:pt x="20" y="20"/>
                    <a:pt x="21" y="22"/>
                    <a:pt x="22" y="21"/>
                  </a:cubicBezTo>
                  <a:cubicBezTo>
                    <a:pt x="23" y="21"/>
                    <a:pt x="22" y="20"/>
                    <a:pt x="23" y="20"/>
                  </a:cubicBezTo>
                  <a:cubicBezTo>
                    <a:pt x="24" y="19"/>
                    <a:pt x="25" y="19"/>
                    <a:pt x="27" y="19"/>
                  </a:cubicBezTo>
                  <a:cubicBezTo>
                    <a:pt x="28" y="19"/>
                    <a:pt x="28" y="19"/>
                    <a:pt x="29" y="18"/>
                  </a:cubicBezTo>
                  <a:cubicBezTo>
                    <a:pt x="30" y="18"/>
                    <a:pt x="31" y="18"/>
                    <a:pt x="32" y="17"/>
                  </a:cubicBezTo>
                  <a:cubicBezTo>
                    <a:pt x="33" y="16"/>
                    <a:pt x="33" y="15"/>
                    <a:pt x="35" y="14"/>
                  </a:cubicBezTo>
                  <a:cubicBezTo>
                    <a:pt x="38" y="13"/>
                    <a:pt x="41" y="12"/>
                    <a:pt x="43" y="1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41" name="Freeform 2194">
              <a:extLst>
                <a:ext uri="{FF2B5EF4-FFF2-40B4-BE49-F238E27FC236}">
                  <a16:creationId xmlns:a16="http://schemas.microsoft.com/office/drawing/2014/main" id="{39FE829F-4B72-4BDE-9B21-05DF15A2421E}"/>
                </a:ext>
              </a:extLst>
            </p:cNvPr>
            <p:cNvSpPr>
              <a:spLocks/>
            </p:cNvSpPr>
            <p:nvPr/>
          </p:nvSpPr>
          <p:spPr bwMode="auto">
            <a:xfrm>
              <a:off x="3977" y="212"/>
              <a:ext cx="229" cy="75"/>
            </a:xfrm>
            <a:custGeom>
              <a:avLst/>
              <a:gdLst>
                <a:gd name="T0" fmla="*/ 11 w 97"/>
                <a:gd name="T1" fmla="*/ 12 h 32"/>
                <a:gd name="T2" fmla="*/ 9 w 97"/>
                <a:gd name="T3" fmla="*/ 12 h 32"/>
                <a:gd name="T4" fmla="*/ 8 w 97"/>
                <a:gd name="T5" fmla="*/ 13 h 32"/>
                <a:gd name="T6" fmla="*/ 9 w 97"/>
                <a:gd name="T7" fmla="*/ 16 h 32"/>
                <a:gd name="T8" fmla="*/ 13 w 97"/>
                <a:gd name="T9" fmla="*/ 18 h 32"/>
                <a:gd name="T10" fmla="*/ 26 w 97"/>
                <a:gd name="T11" fmla="*/ 17 h 32"/>
                <a:gd name="T12" fmla="*/ 46 w 97"/>
                <a:gd name="T13" fmla="*/ 17 h 32"/>
                <a:gd name="T14" fmla="*/ 42 w 97"/>
                <a:gd name="T15" fmla="*/ 18 h 32"/>
                <a:gd name="T16" fmla="*/ 41 w 97"/>
                <a:gd name="T17" fmla="*/ 19 h 32"/>
                <a:gd name="T18" fmla="*/ 31 w 97"/>
                <a:gd name="T19" fmla="*/ 19 h 32"/>
                <a:gd name="T20" fmla="*/ 30 w 97"/>
                <a:gd name="T21" fmla="*/ 22 h 32"/>
                <a:gd name="T22" fmla="*/ 32 w 97"/>
                <a:gd name="T23" fmla="*/ 27 h 32"/>
                <a:gd name="T24" fmla="*/ 41 w 97"/>
                <a:gd name="T25" fmla="*/ 27 h 32"/>
                <a:gd name="T26" fmla="*/ 53 w 97"/>
                <a:gd name="T27" fmla="*/ 27 h 32"/>
                <a:gd name="T28" fmla="*/ 67 w 97"/>
                <a:gd name="T29" fmla="*/ 29 h 32"/>
                <a:gd name="T30" fmla="*/ 69 w 97"/>
                <a:gd name="T31" fmla="*/ 28 h 32"/>
                <a:gd name="T32" fmla="*/ 79 w 97"/>
                <a:gd name="T33" fmla="*/ 26 h 32"/>
                <a:gd name="T34" fmla="*/ 84 w 97"/>
                <a:gd name="T35" fmla="*/ 24 h 32"/>
                <a:gd name="T36" fmla="*/ 85 w 97"/>
                <a:gd name="T37" fmla="*/ 20 h 32"/>
                <a:gd name="T38" fmla="*/ 95 w 97"/>
                <a:gd name="T39" fmla="*/ 16 h 32"/>
                <a:gd name="T40" fmla="*/ 96 w 97"/>
                <a:gd name="T41" fmla="*/ 13 h 32"/>
                <a:gd name="T42" fmla="*/ 75 w 97"/>
                <a:gd name="T43" fmla="*/ 5 h 32"/>
                <a:gd name="T44" fmla="*/ 66 w 97"/>
                <a:gd name="T45" fmla="*/ 4 h 32"/>
                <a:gd name="T46" fmla="*/ 62 w 97"/>
                <a:gd name="T47" fmla="*/ 5 h 32"/>
                <a:gd name="T48" fmla="*/ 55 w 97"/>
                <a:gd name="T49" fmla="*/ 9 h 32"/>
                <a:gd name="T50" fmla="*/ 56 w 97"/>
                <a:gd name="T51" fmla="*/ 6 h 32"/>
                <a:gd name="T52" fmla="*/ 54 w 97"/>
                <a:gd name="T53" fmla="*/ 2 h 32"/>
                <a:gd name="T54" fmla="*/ 47 w 97"/>
                <a:gd name="T55" fmla="*/ 2 h 32"/>
                <a:gd name="T56" fmla="*/ 49 w 97"/>
                <a:gd name="T57" fmla="*/ 5 h 32"/>
                <a:gd name="T58" fmla="*/ 48 w 97"/>
                <a:gd name="T59" fmla="*/ 7 h 32"/>
                <a:gd name="T60" fmla="*/ 46 w 97"/>
                <a:gd name="T61" fmla="*/ 12 h 32"/>
                <a:gd name="T62" fmla="*/ 39 w 97"/>
                <a:gd name="T63" fmla="*/ 9 h 32"/>
                <a:gd name="T64" fmla="*/ 33 w 97"/>
                <a:gd name="T65" fmla="*/ 7 h 32"/>
                <a:gd name="T66" fmla="*/ 26 w 97"/>
                <a:gd name="T67" fmla="*/ 3 h 32"/>
                <a:gd name="T68" fmla="*/ 17 w 97"/>
                <a:gd name="T69" fmla="*/ 2 h 32"/>
                <a:gd name="T70" fmla="*/ 21 w 97"/>
                <a:gd name="T71" fmla="*/ 4 h 32"/>
                <a:gd name="T72" fmla="*/ 19 w 97"/>
                <a:gd name="T73" fmla="*/ 7 h 32"/>
                <a:gd name="T74" fmla="*/ 12 w 97"/>
                <a:gd name="T75" fmla="*/ 4 h 32"/>
                <a:gd name="T76" fmla="*/ 14 w 97"/>
                <a:gd name="T77" fmla="*/ 7 h 32"/>
                <a:gd name="T78" fmla="*/ 12 w 97"/>
                <a:gd name="T79"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7" h="32">
                  <a:moveTo>
                    <a:pt x="12" y="11"/>
                  </a:moveTo>
                  <a:cubicBezTo>
                    <a:pt x="12" y="11"/>
                    <a:pt x="11" y="12"/>
                    <a:pt x="11" y="12"/>
                  </a:cubicBezTo>
                  <a:cubicBezTo>
                    <a:pt x="10" y="12"/>
                    <a:pt x="11" y="12"/>
                    <a:pt x="11" y="12"/>
                  </a:cubicBezTo>
                  <a:cubicBezTo>
                    <a:pt x="10" y="13"/>
                    <a:pt x="10" y="13"/>
                    <a:pt x="9" y="12"/>
                  </a:cubicBezTo>
                  <a:cubicBezTo>
                    <a:pt x="9" y="12"/>
                    <a:pt x="9" y="12"/>
                    <a:pt x="9" y="12"/>
                  </a:cubicBezTo>
                  <a:cubicBezTo>
                    <a:pt x="10" y="13"/>
                    <a:pt x="8" y="13"/>
                    <a:pt x="8" y="13"/>
                  </a:cubicBezTo>
                  <a:cubicBezTo>
                    <a:pt x="8" y="14"/>
                    <a:pt x="8" y="13"/>
                    <a:pt x="8" y="14"/>
                  </a:cubicBezTo>
                  <a:cubicBezTo>
                    <a:pt x="8" y="15"/>
                    <a:pt x="9" y="15"/>
                    <a:pt x="9" y="16"/>
                  </a:cubicBezTo>
                  <a:cubicBezTo>
                    <a:pt x="9" y="16"/>
                    <a:pt x="10" y="19"/>
                    <a:pt x="11" y="19"/>
                  </a:cubicBezTo>
                  <a:cubicBezTo>
                    <a:pt x="11" y="18"/>
                    <a:pt x="12" y="18"/>
                    <a:pt x="13" y="18"/>
                  </a:cubicBezTo>
                  <a:cubicBezTo>
                    <a:pt x="15" y="19"/>
                    <a:pt x="18" y="19"/>
                    <a:pt x="20" y="18"/>
                  </a:cubicBezTo>
                  <a:cubicBezTo>
                    <a:pt x="22" y="18"/>
                    <a:pt x="24" y="17"/>
                    <a:pt x="26" y="17"/>
                  </a:cubicBezTo>
                  <a:cubicBezTo>
                    <a:pt x="29" y="16"/>
                    <a:pt x="32" y="17"/>
                    <a:pt x="35" y="17"/>
                  </a:cubicBezTo>
                  <a:cubicBezTo>
                    <a:pt x="39" y="17"/>
                    <a:pt x="42" y="17"/>
                    <a:pt x="46" y="17"/>
                  </a:cubicBezTo>
                  <a:cubicBezTo>
                    <a:pt x="48" y="17"/>
                    <a:pt x="45" y="17"/>
                    <a:pt x="45" y="18"/>
                  </a:cubicBezTo>
                  <a:cubicBezTo>
                    <a:pt x="44" y="18"/>
                    <a:pt x="43" y="18"/>
                    <a:pt x="42" y="18"/>
                  </a:cubicBezTo>
                  <a:cubicBezTo>
                    <a:pt x="42" y="18"/>
                    <a:pt x="42" y="19"/>
                    <a:pt x="42" y="19"/>
                  </a:cubicBezTo>
                  <a:cubicBezTo>
                    <a:pt x="41" y="19"/>
                    <a:pt x="41" y="19"/>
                    <a:pt x="41" y="19"/>
                  </a:cubicBezTo>
                  <a:cubicBezTo>
                    <a:pt x="40" y="19"/>
                    <a:pt x="39" y="19"/>
                    <a:pt x="39" y="19"/>
                  </a:cubicBezTo>
                  <a:cubicBezTo>
                    <a:pt x="36" y="19"/>
                    <a:pt x="33" y="19"/>
                    <a:pt x="31" y="19"/>
                  </a:cubicBezTo>
                  <a:cubicBezTo>
                    <a:pt x="32" y="20"/>
                    <a:pt x="34" y="21"/>
                    <a:pt x="35" y="22"/>
                  </a:cubicBezTo>
                  <a:cubicBezTo>
                    <a:pt x="34" y="23"/>
                    <a:pt x="31" y="22"/>
                    <a:pt x="30" y="22"/>
                  </a:cubicBezTo>
                  <a:cubicBezTo>
                    <a:pt x="27" y="22"/>
                    <a:pt x="25" y="20"/>
                    <a:pt x="23" y="20"/>
                  </a:cubicBezTo>
                  <a:cubicBezTo>
                    <a:pt x="24" y="24"/>
                    <a:pt x="28" y="26"/>
                    <a:pt x="32" y="27"/>
                  </a:cubicBezTo>
                  <a:cubicBezTo>
                    <a:pt x="34" y="27"/>
                    <a:pt x="36" y="26"/>
                    <a:pt x="37" y="26"/>
                  </a:cubicBezTo>
                  <a:cubicBezTo>
                    <a:pt x="39" y="26"/>
                    <a:pt x="40" y="27"/>
                    <a:pt x="41" y="27"/>
                  </a:cubicBezTo>
                  <a:cubicBezTo>
                    <a:pt x="42" y="26"/>
                    <a:pt x="43" y="26"/>
                    <a:pt x="43" y="26"/>
                  </a:cubicBezTo>
                  <a:cubicBezTo>
                    <a:pt x="47" y="25"/>
                    <a:pt x="50" y="26"/>
                    <a:pt x="53" y="27"/>
                  </a:cubicBezTo>
                  <a:cubicBezTo>
                    <a:pt x="57" y="28"/>
                    <a:pt x="60" y="32"/>
                    <a:pt x="65" y="31"/>
                  </a:cubicBezTo>
                  <a:cubicBezTo>
                    <a:pt x="66" y="30"/>
                    <a:pt x="66" y="30"/>
                    <a:pt x="67" y="29"/>
                  </a:cubicBezTo>
                  <a:cubicBezTo>
                    <a:pt x="67" y="28"/>
                    <a:pt x="67" y="28"/>
                    <a:pt x="68" y="28"/>
                  </a:cubicBezTo>
                  <a:cubicBezTo>
                    <a:pt x="68" y="28"/>
                    <a:pt x="69" y="28"/>
                    <a:pt x="69" y="28"/>
                  </a:cubicBezTo>
                  <a:cubicBezTo>
                    <a:pt x="72" y="27"/>
                    <a:pt x="74" y="28"/>
                    <a:pt x="76" y="27"/>
                  </a:cubicBezTo>
                  <a:cubicBezTo>
                    <a:pt x="77" y="27"/>
                    <a:pt x="78" y="27"/>
                    <a:pt x="79" y="26"/>
                  </a:cubicBezTo>
                  <a:cubicBezTo>
                    <a:pt x="80" y="26"/>
                    <a:pt x="81" y="26"/>
                    <a:pt x="82" y="26"/>
                  </a:cubicBezTo>
                  <a:cubicBezTo>
                    <a:pt x="83" y="25"/>
                    <a:pt x="82" y="24"/>
                    <a:pt x="84" y="24"/>
                  </a:cubicBezTo>
                  <a:cubicBezTo>
                    <a:pt x="85" y="23"/>
                    <a:pt x="83" y="22"/>
                    <a:pt x="83" y="21"/>
                  </a:cubicBezTo>
                  <a:cubicBezTo>
                    <a:pt x="83" y="21"/>
                    <a:pt x="84" y="21"/>
                    <a:pt x="85" y="20"/>
                  </a:cubicBezTo>
                  <a:cubicBezTo>
                    <a:pt x="86" y="20"/>
                    <a:pt x="88" y="19"/>
                    <a:pt x="90" y="18"/>
                  </a:cubicBezTo>
                  <a:cubicBezTo>
                    <a:pt x="91" y="17"/>
                    <a:pt x="93" y="16"/>
                    <a:pt x="95" y="16"/>
                  </a:cubicBezTo>
                  <a:cubicBezTo>
                    <a:pt x="96" y="16"/>
                    <a:pt x="97" y="15"/>
                    <a:pt x="97" y="14"/>
                  </a:cubicBezTo>
                  <a:cubicBezTo>
                    <a:pt x="97" y="13"/>
                    <a:pt x="96" y="13"/>
                    <a:pt x="96" y="13"/>
                  </a:cubicBezTo>
                  <a:cubicBezTo>
                    <a:pt x="96" y="12"/>
                    <a:pt x="97" y="10"/>
                    <a:pt x="97" y="10"/>
                  </a:cubicBezTo>
                  <a:cubicBezTo>
                    <a:pt x="90" y="8"/>
                    <a:pt x="83" y="7"/>
                    <a:pt x="75" y="5"/>
                  </a:cubicBezTo>
                  <a:cubicBezTo>
                    <a:pt x="73" y="5"/>
                    <a:pt x="70" y="4"/>
                    <a:pt x="67" y="3"/>
                  </a:cubicBezTo>
                  <a:cubicBezTo>
                    <a:pt x="67" y="3"/>
                    <a:pt x="65" y="3"/>
                    <a:pt x="66" y="4"/>
                  </a:cubicBezTo>
                  <a:cubicBezTo>
                    <a:pt x="66" y="4"/>
                    <a:pt x="67" y="4"/>
                    <a:pt x="68" y="5"/>
                  </a:cubicBezTo>
                  <a:cubicBezTo>
                    <a:pt x="66" y="5"/>
                    <a:pt x="64" y="5"/>
                    <a:pt x="62" y="5"/>
                  </a:cubicBezTo>
                  <a:cubicBezTo>
                    <a:pt x="62" y="5"/>
                    <a:pt x="61" y="6"/>
                    <a:pt x="62" y="6"/>
                  </a:cubicBezTo>
                  <a:cubicBezTo>
                    <a:pt x="60" y="7"/>
                    <a:pt x="57" y="10"/>
                    <a:pt x="55" y="9"/>
                  </a:cubicBezTo>
                  <a:cubicBezTo>
                    <a:pt x="53" y="9"/>
                    <a:pt x="54" y="6"/>
                    <a:pt x="55" y="6"/>
                  </a:cubicBezTo>
                  <a:cubicBezTo>
                    <a:pt x="55" y="6"/>
                    <a:pt x="56" y="6"/>
                    <a:pt x="56" y="6"/>
                  </a:cubicBezTo>
                  <a:cubicBezTo>
                    <a:pt x="57" y="6"/>
                    <a:pt x="57" y="4"/>
                    <a:pt x="57" y="4"/>
                  </a:cubicBezTo>
                  <a:cubicBezTo>
                    <a:pt x="57" y="4"/>
                    <a:pt x="55" y="3"/>
                    <a:pt x="54" y="2"/>
                  </a:cubicBezTo>
                  <a:cubicBezTo>
                    <a:pt x="53" y="2"/>
                    <a:pt x="52" y="1"/>
                    <a:pt x="51" y="0"/>
                  </a:cubicBezTo>
                  <a:cubicBezTo>
                    <a:pt x="53" y="3"/>
                    <a:pt x="49" y="1"/>
                    <a:pt x="47" y="2"/>
                  </a:cubicBezTo>
                  <a:cubicBezTo>
                    <a:pt x="47" y="3"/>
                    <a:pt x="47" y="4"/>
                    <a:pt x="47" y="4"/>
                  </a:cubicBezTo>
                  <a:cubicBezTo>
                    <a:pt x="48" y="5"/>
                    <a:pt x="49" y="4"/>
                    <a:pt x="49" y="5"/>
                  </a:cubicBezTo>
                  <a:cubicBezTo>
                    <a:pt x="50" y="6"/>
                    <a:pt x="48" y="5"/>
                    <a:pt x="48" y="6"/>
                  </a:cubicBezTo>
                  <a:cubicBezTo>
                    <a:pt x="48" y="6"/>
                    <a:pt x="48" y="7"/>
                    <a:pt x="48" y="7"/>
                  </a:cubicBezTo>
                  <a:cubicBezTo>
                    <a:pt x="48" y="7"/>
                    <a:pt x="48" y="8"/>
                    <a:pt x="48" y="8"/>
                  </a:cubicBezTo>
                  <a:cubicBezTo>
                    <a:pt x="47" y="10"/>
                    <a:pt x="48" y="11"/>
                    <a:pt x="46" y="12"/>
                  </a:cubicBezTo>
                  <a:cubicBezTo>
                    <a:pt x="45" y="11"/>
                    <a:pt x="46" y="11"/>
                    <a:pt x="45" y="11"/>
                  </a:cubicBezTo>
                  <a:cubicBezTo>
                    <a:pt x="44" y="9"/>
                    <a:pt x="41" y="10"/>
                    <a:pt x="39" y="9"/>
                  </a:cubicBezTo>
                  <a:cubicBezTo>
                    <a:pt x="40" y="9"/>
                    <a:pt x="40" y="9"/>
                    <a:pt x="40" y="8"/>
                  </a:cubicBezTo>
                  <a:cubicBezTo>
                    <a:pt x="38" y="8"/>
                    <a:pt x="35" y="8"/>
                    <a:pt x="33" y="7"/>
                  </a:cubicBezTo>
                  <a:cubicBezTo>
                    <a:pt x="31" y="7"/>
                    <a:pt x="31" y="6"/>
                    <a:pt x="30" y="5"/>
                  </a:cubicBezTo>
                  <a:cubicBezTo>
                    <a:pt x="28" y="4"/>
                    <a:pt x="27" y="4"/>
                    <a:pt x="26" y="3"/>
                  </a:cubicBezTo>
                  <a:cubicBezTo>
                    <a:pt x="23" y="3"/>
                    <a:pt x="21" y="1"/>
                    <a:pt x="19" y="0"/>
                  </a:cubicBezTo>
                  <a:cubicBezTo>
                    <a:pt x="19" y="1"/>
                    <a:pt x="16" y="2"/>
                    <a:pt x="17" y="2"/>
                  </a:cubicBezTo>
                  <a:cubicBezTo>
                    <a:pt x="19" y="3"/>
                    <a:pt x="21" y="3"/>
                    <a:pt x="22" y="3"/>
                  </a:cubicBezTo>
                  <a:cubicBezTo>
                    <a:pt x="21" y="4"/>
                    <a:pt x="21" y="4"/>
                    <a:pt x="21" y="4"/>
                  </a:cubicBezTo>
                  <a:cubicBezTo>
                    <a:pt x="21" y="4"/>
                    <a:pt x="21" y="4"/>
                    <a:pt x="21" y="4"/>
                  </a:cubicBezTo>
                  <a:cubicBezTo>
                    <a:pt x="20" y="5"/>
                    <a:pt x="20" y="6"/>
                    <a:pt x="19" y="7"/>
                  </a:cubicBezTo>
                  <a:cubicBezTo>
                    <a:pt x="18" y="7"/>
                    <a:pt x="15" y="5"/>
                    <a:pt x="14" y="5"/>
                  </a:cubicBezTo>
                  <a:cubicBezTo>
                    <a:pt x="14" y="4"/>
                    <a:pt x="12" y="4"/>
                    <a:pt x="12" y="4"/>
                  </a:cubicBezTo>
                  <a:cubicBezTo>
                    <a:pt x="12" y="5"/>
                    <a:pt x="13" y="5"/>
                    <a:pt x="13" y="5"/>
                  </a:cubicBezTo>
                  <a:cubicBezTo>
                    <a:pt x="14" y="6"/>
                    <a:pt x="14" y="6"/>
                    <a:pt x="14" y="7"/>
                  </a:cubicBezTo>
                  <a:cubicBezTo>
                    <a:pt x="10" y="8"/>
                    <a:pt x="5" y="8"/>
                    <a:pt x="0" y="9"/>
                  </a:cubicBezTo>
                  <a:cubicBezTo>
                    <a:pt x="4" y="10"/>
                    <a:pt x="8" y="10"/>
                    <a:pt x="12" y="1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42" name="Freeform 2195">
              <a:extLst>
                <a:ext uri="{FF2B5EF4-FFF2-40B4-BE49-F238E27FC236}">
                  <a16:creationId xmlns:a16="http://schemas.microsoft.com/office/drawing/2014/main" id="{4CA278C5-B90D-441A-B5A1-C1232FE2290A}"/>
                </a:ext>
              </a:extLst>
            </p:cNvPr>
            <p:cNvSpPr>
              <a:spLocks/>
            </p:cNvSpPr>
            <p:nvPr/>
          </p:nvSpPr>
          <p:spPr bwMode="auto">
            <a:xfrm>
              <a:off x="4315" y="228"/>
              <a:ext cx="45" cy="7"/>
            </a:xfrm>
            <a:custGeom>
              <a:avLst/>
              <a:gdLst>
                <a:gd name="T0" fmla="*/ 15 w 19"/>
                <a:gd name="T1" fmla="*/ 1 h 3"/>
                <a:gd name="T2" fmla="*/ 19 w 19"/>
                <a:gd name="T3" fmla="*/ 0 h 3"/>
                <a:gd name="T4" fmla="*/ 0 w 19"/>
                <a:gd name="T5" fmla="*/ 3 h 3"/>
                <a:gd name="T6" fmla="*/ 10 w 19"/>
                <a:gd name="T7" fmla="*/ 2 h 3"/>
                <a:gd name="T8" fmla="*/ 15 w 19"/>
                <a:gd name="T9" fmla="*/ 1 h 3"/>
              </a:gdLst>
              <a:ahLst/>
              <a:cxnLst>
                <a:cxn ang="0">
                  <a:pos x="T0" y="T1"/>
                </a:cxn>
                <a:cxn ang="0">
                  <a:pos x="T2" y="T3"/>
                </a:cxn>
                <a:cxn ang="0">
                  <a:pos x="T4" y="T5"/>
                </a:cxn>
                <a:cxn ang="0">
                  <a:pos x="T6" y="T7"/>
                </a:cxn>
                <a:cxn ang="0">
                  <a:pos x="T8" y="T9"/>
                </a:cxn>
              </a:cxnLst>
              <a:rect l="0" t="0" r="r" b="b"/>
              <a:pathLst>
                <a:path w="19" h="3">
                  <a:moveTo>
                    <a:pt x="15" y="1"/>
                  </a:moveTo>
                  <a:cubicBezTo>
                    <a:pt x="16" y="1"/>
                    <a:pt x="18" y="1"/>
                    <a:pt x="19" y="0"/>
                  </a:cubicBezTo>
                  <a:cubicBezTo>
                    <a:pt x="13" y="1"/>
                    <a:pt x="6" y="2"/>
                    <a:pt x="0" y="3"/>
                  </a:cubicBezTo>
                  <a:cubicBezTo>
                    <a:pt x="3" y="3"/>
                    <a:pt x="7" y="3"/>
                    <a:pt x="10" y="2"/>
                  </a:cubicBezTo>
                  <a:cubicBezTo>
                    <a:pt x="12" y="2"/>
                    <a:pt x="13" y="1"/>
                    <a:pt x="15"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43" name="Freeform 2196">
              <a:extLst>
                <a:ext uri="{FF2B5EF4-FFF2-40B4-BE49-F238E27FC236}">
                  <a16:creationId xmlns:a16="http://schemas.microsoft.com/office/drawing/2014/main" id="{99AB5378-7CA1-444D-91ED-C383FCEF0554}"/>
                </a:ext>
              </a:extLst>
            </p:cNvPr>
            <p:cNvSpPr>
              <a:spLocks/>
            </p:cNvSpPr>
            <p:nvPr/>
          </p:nvSpPr>
          <p:spPr bwMode="auto">
            <a:xfrm>
              <a:off x="4223" y="297"/>
              <a:ext cx="43" cy="7"/>
            </a:xfrm>
            <a:custGeom>
              <a:avLst/>
              <a:gdLst>
                <a:gd name="T0" fmla="*/ 6 w 18"/>
                <a:gd name="T1" fmla="*/ 2 h 3"/>
                <a:gd name="T2" fmla="*/ 10 w 18"/>
                <a:gd name="T3" fmla="*/ 1 h 3"/>
                <a:gd name="T4" fmla="*/ 14 w 18"/>
                <a:gd name="T5" fmla="*/ 2 h 3"/>
                <a:gd name="T6" fmla="*/ 18 w 18"/>
                <a:gd name="T7" fmla="*/ 1 h 3"/>
                <a:gd name="T8" fmla="*/ 8 w 18"/>
                <a:gd name="T9" fmla="*/ 0 h 3"/>
                <a:gd name="T10" fmla="*/ 0 w 18"/>
                <a:gd name="T11" fmla="*/ 2 h 3"/>
                <a:gd name="T12" fmla="*/ 2 w 18"/>
                <a:gd name="T13" fmla="*/ 3 h 3"/>
                <a:gd name="T14" fmla="*/ 6 w 18"/>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3">
                  <a:moveTo>
                    <a:pt x="6" y="2"/>
                  </a:moveTo>
                  <a:cubicBezTo>
                    <a:pt x="7" y="2"/>
                    <a:pt x="9" y="1"/>
                    <a:pt x="10" y="1"/>
                  </a:cubicBezTo>
                  <a:cubicBezTo>
                    <a:pt x="11" y="2"/>
                    <a:pt x="13" y="3"/>
                    <a:pt x="14" y="2"/>
                  </a:cubicBezTo>
                  <a:cubicBezTo>
                    <a:pt x="15" y="2"/>
                    <a:pt x="17" y="2"/>
                    <a:pt x="18" y="1"/>
                  </a:cubicBezTo>
                  <a:cubicBezTo>
                    <a:pt x="15" y="1"/>
                    <a:pt x="11" y="0"/>
                    <a:pt x="8" y="0"/>
                  </a:cubicBezTo>
                  <a:cubicBezTo>
                    <a:pt x="5" y="0"/>
                    <a:pt x="3" y="2"/>
                    <a:pt x="0" y="2"/>
                  </a:cubicBezTo>
                  <a:cubicBezTo>
                    <a:pt x="0" y="3"/>
                    <a:pt x="1" y="3"/>
                    <a:pt x="2" y="3"/>
                  </a:cubicBezTo>
                  <a:cubicBezTo>
                    <a:pt x="3" y="3"/>
                    <a:pt x="5" y="1"/>
                    <a:pt x="6"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44" name="Freeform 2197">
              <a:extLst>
                <a:ext uri="{FF2B5EF4-FFF2-40B4-BE49-F238E27FC236}">
                  <a16:creationId xmlns:a16="http://schemas.microsoft.com/office/drawing/2014/main" id="{2E04BC6D-4AC4-4BA2-8B05-07A66DC5EE7C}"/>
                </a:ext>
              </a:extLst>
            </p:cNvPr>
            <p:cNvSpPr>
              <a:spLocks/>
            </p:cNvSpPr>
            <p:nvPr/>
          </p:nvSpPr>
          <p:spPr bwMode="auto">
            <a:xfrm>
              <a:off x="4152" y="417"/>
              <a:ext cx="9" cy="10"/>
            </a:xfrm>
            <a:custGeom>
              <a:avLst/>
              <a:gdLst>
                <a:gd name="T0" fmla="*/ 0 w 4"/>
                <a:gd name="T1" fmla="*/ 4 h 4"/>
                <a:gd name="T2" fmla="*/ 4 w 4"/>
                <a:gd name="T3" fmla="*/ 0 h 4"/>
                <a:gd name="T4" fmla="*/ 0 w 4"/>
                <a:gd name="T5" fmla="*/ 4 h 4"/>
              </a:gdLst>
              <a:ahLst/>
              <a:cxnLst>
                <a:cxn ang="0">
                  <a:pos x="T0" y="T1"/>
                </a:cxn>
                <a:cxn ang="0">
                  <a:pos x="T2" y="T3"/>
                </a:cxn>
                <a:cxn ang="0">
                  <a:pos x="T4" y="T5"/>
                </a:cxn>
              </a:cxnLst>
              <a:rect l="0" t="0" r="r" b="b"/>
              <a:pathLst>
                <a:path w="4" h="4">
                  <a:moveTo>
                    <a:pt x="0" y="4"/>
                  </a:moveTo>
                  <a:cubicBezTo>
                    <a:pt x="1" y="3"/>
                    <a:pt x="3" y="2"/>
                    <a:pt x="4" y="0"/>
                  </a:cubicBezTo>
                  <a:cubicBezTo>
                    <a:pt x="3" y="1"/>
                    <a:pt x="1" y="3"/>
                    <a:pt x="0"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45" name="Freeform 2198">
              <a:extLst>
                <a:ext uri="{FF2B5EF4-FFF2-40B4-BE49-F238E27FC236}">
                  <a16:creationId xmlns:a16="http://schemas.microsoft.com/office/drawing/2014/main" id="{DE7BCC67-D0A9-439B-BC55-E986AB2EF320}"/>
                </a:ext>
              </a:extLst>
            </p:cNvPr>
            <p:cNvSpPr>
              <a:spLocks/>
            </p:cNvSpPr>
            <p:nvPr/>
          </p:nvSpPr>
          <p:spPr bwMode="auto">
            <a:xfrm>
              <a:off x="4034" y="316"/>
              <a:ext cx="52" cy="21"/>
            </a:xfrm>
            <a:custGeom>
              <a:avLst/>
              <a:gdLst>
                <a:gd name="T0" fmla="*/ 11 w 22"/>
                <a:gd name="T1" fmla="*/ 9 h 9"/>
                <a:gd name="T2" fmla="*/ 13 w 22"/>
                <a:gd name="T3" fmla="*/ 8 h 9"/>
                <a:gd name="T4" fmla="*/ 20 w 22"/>
                <a:gd name="T5" fmla="*/ 8 h 9"/>
                <a:gd name="T6" fmla="*/ 22 w 22"/>
                <a:gd name="T7" fmla="*/ 6 h 9"/>
                <a:gd name="T8" fmla="*/ 22 w 22"/>
                <a:gd name="T9" fmla="*/ 4 h 9"/>
                <a:gd name="T10" fmla="*/ 22 w 22"/>
                <a:gd name="T11" fmla="*/ 3 h 9"/>
                <a:gd name="T12" fmla="*/ 21 w 22"/>
                <a:gd name="T13" fmla="*/ 2 h 9"/>
                <a:gd name="T14" fmla="*/ 20 w 22"/>
                <a:gd name="T15" fmla="*/ 0 h 9"/>
                <a:gd name="T16" fmla="*/ 19 w 22"/>
                <a:gd name="T17" fmla="*/ 1 h 9"/>
                <a:gd name="T18" fmla="*/ 18 w 22"/>
                <a:gd name="T19" fmla="*/ 1 h 9"/>
                <a:gd name="T20" fmla="*/ 16 w 22"/>
                <a:gd name="T21" fmla="*/ 0 h 9"/>
                <a:gd name="T22" fmla="*/ 15 w 22"/>
                <a:gd name="T23" fmla="*/ 1 h 9"/>
                <a:gd name="T24" fmla="*/ 12 w 22"/>
                <a:gd name="T25" fmla="*/ 0 h 9"/>
                <a:gd name="T26" fmla="*/ 10 w 22"/>
                <a:gd name="T27" fmla="*/ 1 h 9"/>
                <a:gd name="T28" fmla="*/ 7 w 22"/>
                <a:gd name="T29" fmla="*/ 1 h 9"/>
                <a:gd name="T30" fmla="*/ 0 w 22"/>
                <a:gd name="T31" fmla="*/ 3 h 9"/>
                <a:gd name="T32" fmla="*/ 6 w 22"/>
                <a:gd name="T33" fmla="*/ 6 h 9"/>
                <a:gd name="T34" fmla="*/ 7 w 22"/>
                <a:gd name="T35" fmla="*/ 7 h 9"/>
                <a:gd name="T36" fmla="*/ 6 w 22"/>
                <a:gd name="T37" fmla="*/ 9 h 9"/>
                <a:gd name="T38" fmla="*/ 11 w 22"/>
                <a:gd name="T3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9">
                  <a:moveTo>
                    <a:pt x="11" y="9"/>
                  </a:moveTo>
                  <a:cubicBezTo>
                    <a:pt x="12" y="9"/>
                    <a:pt x="12" y="8"/>
                    <a:pt x="13" y="8"/>
                  </a:cubicBezTo>
                  <a:cubicBezTo>
                    <a:pt x="15" y="8"/>
                    <a:pt x="18" y="8"/>
                    <a:pt x="20" y="8"/>
                  </a:cubicBezTo>
                  <a:cubicBezTo>
                    <a:pt x="21" y="8"/>
                    <a:pt x="22" y="7"/>
                    <a:pt x="22" y="6"/>
                  </a:cubicBezTo>
                  <a:cubicBezTo>
                    <a:pt x="22" y="6"/>
                    <a:pt x="22" y="5"/>
                    <a:pt x="22" y="4"/>
                  </a:cubicBezTo>
                  <a:cubicBezTo>
                    <a:pt x="22" y="4"/>
                    <a:pt x="22" y="3"/>
                    <a:pt x="22" y="3"/>
                  </a:cubicBezTo>
                  <a:cubicBezTo>
                    <a:pt x="22" y="2"/>
                    <a:pt x="21" y="2"/>
                    <a:pt x="21" y="2"/>
                  </a:cubicBezTo>
                  <a:cubicBezTo>
                    <a:pt x="21" y="2"/>
                    <a:pt x="21" y="1"/>
                    <a:pt x="20" y="0"/>
                  </a:cubicBezTo>
                  <a:cubicBezTo>
                    <a:pt x="20" y="0"/>
                    <a:pt x="20" y="1"/>
                    <a:pt x="19" y="1"/>
                  </a:cubicBezTo>
                  <a:cubicBezTo>
                    <a:pt x="19" y="1"/>
                    <a:pt x="18" y="1"/>
                    <a:pt x="18" y="1"/>
                  </a:cubicBezTo>
                  <a:cubicBezTo>
                    <a:pt x="17" y="0"/>
                    <a:pt x="17" y="0"/>
                    <a:pt x="16" y="0"/>
                  </a:cubicBezTo>
                  <a:cubicBezTo>
                    <a:pt x="16" y="0"/>
                    <a:pt x="15" y="1"/>
                    <a:pt x="15" y="1"/>
                  </a:cubicBezTo>
                  <a:cubicBezTo>
                    <a:pt x="14" y="1"/>
                    <a:pt x="13" y="0"/>
                    <a:pt x="12" y="0"/>
                  </a:cubicBezTo>
                  <a:cubicBezTo>
                    <a:pt x="10" y="0"/>
                    <a:pt x="11" y="0"/>
                    <a:pt x="10" y="1"/>
                  </a:cubicBezTo>
                  <a:cubicBezTo>
                    <a:pt x="9" y="1"/>
                    <a:pt x="8" y="1"/>
                    <a:pt x="7" y="1"/>
                  </a:cubicBezTo>
                  <a:cubicBezTo>
                    <a:pt x="5" y="2"/>
                    <a:pt x="2" y="2"/>
                    <a:pt x="0" y="3"/>
                  </a:cubicBezTo>
                  <a:cubicBezTo>
                    <a:pt x="2" y="3"/>
                    <a:pt x="5" y="4"/>
                    <a:pt x="6" y="6"/>
                  </a:cubicBezTo>
                  <a:cubicBezTo>
                    <a:pt x="6" y="6"/>
                    <a:pt x="7" y="7"/>
                    <a:pt x="7" y="7"/>
                  </a:cubicBezTo>
                  <a:cubicBezTo>
                    <a:pt x="7" y="8"/>
                    <a:pt x="6" y="9"/>
                    <a:pt x="6" y="9"/>
                  </a:cubicBezTo>
                  <a:cubicBezTo>
                    <a:pt x="7" y="8"/>
                    <a:pt x="9" y="9"/>
                    <a:pt x="11" y="9"/>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46" name="Freeform 2199">
              <a:extLst>
                <a:ext uri="{FF2B5EF4-FFF2-40B4-BE49-F238E27FC236}">
                  <a16:creationId xmlns:a16="http://schemas.microsoft.com/office/drawing/2014/main" id="{D22BA230-D2A0-428A-9BF8-60A4A51C0076}"/>
                </a:ext>
              </a:extLst>
            </p:cNvPr>
            <p:cNvSpPr>
              <a:spLocks/>
            </p:cNvSpPr>
            <p:nvPr/>
          </p:nvSpPr>
          <p:spPr bwMode="auto">
            <a:xfrm>
              <a:off x="3641" y="1754"/>
              <a:ext cx="12" cy="7"/>
            </a:xfrm>
            <a:custGeom>
              <a:avLst/>
              <a:gdLst>
                <a:gd name="T0" fmla="*/ 3 w 5"/>
                <a:gd name="T1" fmla="*/ 0 h 3"/>
                <a:gd name="T2" fmla="*/ 0 w 5"/>
                <a:gd name="T3" fmla="*/ 0 h 3"/>
                <a:gd name="T4" fmla="*/ 5 w 5"/>
                <a:gd name="T5" fmla="*/ 3 h 3"/>
                <a:gd name="T6" fmla="*/ 3 w 5"/>
                <a:gd name="T7" fmla="*/ 0 h 3"/>
              </a:gdLst>
              <a:ahLst/>
              <a:cxnLst>
                <a:cxn ang="0">
                  <a:pos x="T0" y="T1"/>
                </a:cxn>
                <a:cxn ang="0">
                  <a:pos x="T2" y="T3"/>
                </a:cxn>
                <a:cxn ang="0">
                  <a:pos x="T4" y="T5"/>
                </a:cxn>
                <a:cxn ang="0">
                  <a:pos x="T6" y="T7"/>
                </a:cxn>
              </a:cxnLst>
              <a:rect l="0" t="0" r="r" b="b"/>
              <a:pathLst>
                <a:path w="5" h="3">
                  <a:moveTo>
                    <a:pt x="3" y="0"/>
                  </a:moveTo>
                  <a:cubicBezTo>
                    <a:pt x="3" y="0"/>
                    <a:pt x="0" y="0"/>
                    <a:pt x="0" y="0"/>
                  </a:cubicBezTo>
                  <a:cubicBezTo>
                    <a:pt x="1" y="2"/>
                    <a:pt x="3" y="2"/>
                    <a:pt x="5" y="3"/>
                  </a:cubicBezTo>
                  <a:cubicBezTo>
                    <a:pt x="5" y="2"/>
                    <a:pt x="4" y="0"/>
                    <a:pt x="3"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47" name="Freeform 2200">
              <a:extLst>
                <a:ext uri="{FF2B5EF4-FFF2-40B4-BE49-F238E27FC236}">
                  <a16:creationId xmlns:a16="http://schemas.microsoft.com/office/drawing/2014/main" id="{1E84A40B-AE32-4E59-BA9B-096F2CC65C10}"/>
                </a:ext>
              </a:extLst>
            </p:cNvPr>
            <p:cNvSpPr>
              <a:spLocks/>
            </p:cNvSpPr>
            <p:nvPr/>
          </p:nvSpPr>
          <p:spPr bwMode="auto">
            <a:xfrm>
              <a:off x="3577" y="1780"/>
              <a:ext cx="12" cy="10"/>
            </a:xfrm>
            <a:custGeom>
              <a:avLst/>
              <a:gdLst>
                <a:gd name="T0" fmla="*/ 2 w 5"/>
                <a:gd name="T1" fmla="*/ 1 h 4"/>
                <a:gd name="T2" fmla="*/ 2 w 5"/>
                <a:gd name="T3" fmla="*/ 4 h 4"/>
                <a:gd name="T4" fmla="*/ 4 w 5"/>
                <a:gd name="T5" fmla="*/ 1 h 4"/>
                <a:gd name="T6" fmla="*/ 2 w 5"/>
                <a:gd name="T7" fmla="*/ 1 h 4"/>
              </a:gdLst>
              <a:ahLst/>
              <a:cxnLst>
                <a:cxn ang="0">
                  <a:pos x="T0" y="T1"/>
                </a:cxn>
                <a:cxn ang="0">
                  <a:pos x="T2" y="T3"/>
                </a:cxn>
                <a:cxn ang="0">
                  <a:pos x="T4" y="T5"/>
                </a:cxn>
                <a:cxn ang="0">
                  <a:pos x="T6" y="T7"/>
                </a:cxn>
              </a:cxnLst>
              <a:rect l="0" t="0" r="r" b="b"/>
              <a:pathLst>
                <a:path w="5" h="4">
                  <a:moveTo>
                    <a:pt x="2" y="1"/>
                  </a:moveTo>
                  <a:cubicBezTo>
                    <a:pt x="0" y="2"/>
                    <a:pt x="1" y="2"/>
                    <a:pt x="2" y="4"/>
                  </a:cubicBezTo>
                  <a:cubicBezTo>
                    <a:pt x="2" y="3"/>
                    <a:pt x="5" y="2"/>
                    <a:pt x="4" y="1"/>
                  </a:cubicBezTo>
                  <a:cubicBezTo>
                    <a:pt x="4" y="0"/>
                    <a:pt x="3" y="1"/>
                    <a:pt x="2" y="1"/>
                  </a:cubicBezTo>
                  <a:close/>
                </a:path>
              </a:pathLst>
            </a:custGeom>
            <a:solidFill>
              <a:srgbClr val="00A5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48" name="Freeform 2201">
              <a:extLst>
                <a:ext uri="{FF2B5EF4-FFF2-40B4-BE49-F238E27FC236}">
                  <a16:creationId xmlns:a16="http://schemas.microsoft.com/office/drawing/2014/main" id="{48425BD0-23E9-4765-84B0-AB52EE473D28}"/>
                </a:ext>
              </a:extLst>
            </p:cNvPr>
            <p:cNvSpPr>
              <a:spLocks/>
            </p:cNvSpPr>
            <p:nvPr/>
          </p:nvSpPr>
          <p:spPr bwMode="auto">
            <a:xfrm>
              <a:off x="3606" y="1757"/>
              <a:ext cx="28" cy="18"/>
            </a:xfrm>
            <a:custGeom>
              <a:avLst/>
              <a:gdLst>
                <a:gd name="T0" fmla="*/ 9 w 12"/>
                <a:gd name="T1" fmla="*/ 1 h 8"/>
                <a:gd name="T2" fmla="*/ 9 w 12"/>
                <a:gd name="T3" fmla="*/ 0 h 8"/>
                <a:gd name="T4" fmla="*/ 0 w 12"/>
                <a:gd name="T5" fmla="*/ 5 h 8"/>
                <a:gd name="T6" fmla="*/ 2 w 12"/>
                <a:gd name="T7" fmla="*/ 5 h 8"/>
                <a:gd name="T8" fmla="*/ 3 w 12"/>
                <a:gd name="T9" fmla="*/ 6 h 8"/>
                <a:gd name="T10" fmla="*/ 4 w 12"/>
                <a:gd name="T11" fmla="*/ 7 h 8"/>
                <a:gd name="T12" fmla="*/ 7 w 12"/>
                <a:gd name="T13" fmla="*/ 8 h 8"/>
                <a:gd name="T14" fmla="*/ 9 w 12"/>
                <a:gd name="T15" fmla="*/ 7 h 8"/>
                <a:gd name="T16" fmla="*/ 11 w 12"/>
                <a:gd name="T17" fmla="*/ 3 h 8"/>
                <a:gd name="T18" fmla="*/ 9 w 12"/>
                <a:gd name="T1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8">
                  <a:moveTo>
                    <a:pt x="9" y="1"/>
                  </a:moveTo>
                  <a:cubicBezTo>
                    <a:pt x="7" y="2"/>
                    <a:pt x="8" y="1"/>
                    <a:pt x="9" y="0"/>
                  </a:cubicBezTo>
                  <a:cubicBezTo>
                    <a:pt x="6" y="0"/>
                    <a:pt x="3" y="3"/>
                    <a:pt x="0" y="5"/>
                  </a:cubicBezTo>
                  <a:cubicBezTo>
                    <a:pt x="1" y="5"/>
                    <a:pt x="1" y="6"/>
                    <a:pt x="2" y="5"/>
                  </a:cubicBezTo>
                  <a:cubicBezTo>
                    <a:pt x="3" y="5"/>
                    <a:pt x="3" y="5"/>
                    <a:pt x="3" y="6"/>
                  </a:cubicBezTo>
                  <a:cubicBezTo>
                    <a:pt x="4" y="6"/>
                    <a:pt x="4" y="7"/>
                    <a:pt x="4" y="7"/>
                  </a:cubicBezTo>
                  <a:cubicBezTo>
                    <a:pt x="5" y="8"/>
                    <a:pt x="6" y="8"/>
                    <a:pt x="7" y="8"/>
                  </a:cubicBezTo>
                  <a:cubicBezTo>
                    <a:pt x="8" y="8"/>
                    <a:pt x="8" y="8"/>
                    <a:pt x="9" y="7"/>
                  </a:cubicBezTo>
                  <a:cubicBezTo>
                    <a:pt x="10" y="6"/>
                    <a:pt x="12" y="4"/>
                    <a:pt x="11" y="3"/>
                  </a:cubicBezTo>
                  <a:cubicBezTo>
                    <a:pt x="11" y="2"/>
                    <a:pt x="6" y="3"/>
                    <a:pt x="9" y="1"/>
                  </a:cubicBezTo>
                  <a:close/>
                </a:path>
              </a:pathLst>
            </a:custGeom>
            <a:solidFill>
              <a:srgbClr val="00A5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49" name="Freeform 2202">
              <a:extLst>
                <a:ext uri="{FF2B5EF4-FFF2-40B4-BE49-F238E27FC236}">
                  <a16:creationId xmlns:a16="http://schemas.microsoft.com/office/drawing/2014/main" id="{29054B13-D513-496F-81FA-BA112B2A6BCD}"/>
                </a:ext>
              </a:extLst>
            </p:cNvPr>
            <p:cNvSpPr>
              <a:spLocks/>
            </p:cNvSpPr>
            <p:nvPr/>
          </p:nvSpPr>
          <p:spPr bwMode="auto">
            <a:xfrm>
              <a:off x="4627" y="2563"/>
              <a:ext cx="12" cy="5"/>
            </a:xfrm>
            <a:custGeom>
              <a:avLst/>
              <a:gdLst>
                <a:gd name="T0" fmla="*/ 0 w 5"/>
                <a:gd name="T1" fmla="*/ 0 h 2"/>
                <a:gd name="T2" fmla="*/ 5 w 5"/>
                <a:gd name="T3" fmla="*/ 2 h 2"/>
                <a:gd name="T4" fmla="*/ 0 w 5"/>
                <a:gd name="T5" fmla="*/ 0 h 2"/>
                <a:gd name="T6" fmla="*/ 0 w 5"/>
                <a:gd name="T7" fmla="*/ 0 h 2"/>
              </a:gdLst>
              <a:ahLst/>
              <a:cxnLst>
                <a:cxn ang="0">
                  <a:pos x="T0" y="T1"/>
                </a:cxn>
                <a:cxn ang="0">
                  <a:pos x="T2" y="T3"/>
                </a:cxn>
                <a:cxn ang="0">
                  <a:pos x="T4" y="T5"/>
                </a:cxn>
                <a:cxn ang="0">
                  <a:pos x="T6" y="T7"/>
                </a:cxn>
              </a:cxnLst>
              <a:rect l="0" t="0" r="r" b="b"/>
              <a:pathLst>
                <a:path w="5" h="2">
                  <a:moveTo>
                    <a:pt x="0" y="0"/>
                  </a:moveTo>
                  <a:cubicBezTo>
                    <a:pt x="2" y="1"/>
                    <a:pt x="3" y="2"/>
                    <a:pt x="5" y="2"/>
                  </a:cubicBezTo>
                  <a:cubicBezTo>
                    <a:pt x="4" y="2"/>
                    <a:pt x="2" y="1"/>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50" name="Freeform 2203">
              <a:extLst>
                <a:ext uri="{FF2B5EF4-FFF2-40B4-BE49-F238E27FC236}">
                  <a16:creationId xmlns:a16="http://schemas.microsoft.com/office/drawing/2014/main" id="{17FA8C93-93B0-4F8A-A246-387BCC95EE9F}"/>
                </a:ext>
              </a:extLst>
            </p:cNvPr>
            <p:cNvSpPr>
              <a:spLocks/>
            </p:cNvSpPr>
            <p:nvPr/>
          </p:nvSpPr>
          <p:spPr bwMode="auto">
            <a:xfrm>
              <a:off x="6053" y="2743"/>
              <a:ext cx="7" cy="3"/>
            </a:xfrm>
            <a:custGeom>
              <a:avLst/>
              <a:gdLst>
                <a:gd name="T0" fmla="*/ 0 w 3"/>
                <a:gd name="T1" fmla="*/ 1 h 1"/>
                <a:gd name="T2" fmla="*/ 3 w 3"/>
                <a:gd name="T3" fmla="*/ 0 h 1"/>
                <a:gd name="T4" fmla="*/ 2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1"/>
                    <a:pt x="2" y="0"/>
                    <a:pt x="3" y="0"/>
                  </a:cubicBezTo>
                  <a:cubicBezTo>
                    <a:pt x="3" y="0"/>
                    <a:pt x="2" y="0"/>
                    <a:pt x="2" y="0"/>
                  </a:cubicBezTo>
                  <a:cubicBezTo>
                    <a:pt x="1" y="0"/>
                    <a:pt x="0"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51" name="Freeform 2204">
              <a:extLst>
                <a:ext uri="{FF2B5EF4-FFF2-40B4-BE49-F238E27FC236}">
                  <a16:creationId xmlns:a16="http://schemas.microsoft.com/office/drawing/2014/main" id="{9EB72F08-F632-408C-ACFC-23F1A7EFAEE9}"/>
                </a:ext>
              </a:extLst>
            </p:cNvPr>
            <p:cNvSpPr>
              <a:spLocks/>
            </p:cNvSpPr>
            <p:nvPr/>
          </p:nvSpPr>
          <p:spPr bwMode="auto">
            <a:xfrm>
              <a:off x="4887" y="2887"/>
              <a:ext cx="3" cy="5"/>
            </a:xfrm>
            <a:custGeom>
              <a:avLst/>
              <a:gdLst>
                <a:gd name="T0" fmla="*/ 0 w 1"/>
                <a:gd name="T1" fmla="*/ 0 h 2"/>
                <a:gd name="T2" fmla="*/ 1 w 1"/>
                <a:gd name="T3" fmla="*/ 2 h 2"/>
                <a:gd name="T4" fmla="*/ 1 w 1"/>
                <a:gd name="T5" fmla="*/ 2 h 2"/>
                <a:gd name="T6" fmla="*/ 1 w 1"/>
                <a:gd name="T7" fmla="*/ 2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1"/>
                    <a:pt x="0" y="1"/>
                    <a:pt x="1" y="2"/>
                  </a:cubicBezTo>
                  <a:cubicBezTo>
                    <a:pt x="1" y="2"/>
                    <a:pt x="1" y="2"/>
                    <a:pt x="1" y="2"/>
                  </a:cubicBezTo>
                  <a:cubicBezTo>
                    <a:pt x="1" y="2"/>
                    <a:pt x="1" y="2"/>
                    <a:pt x="1" y="2"/>
                  </a:cubicBezTo>
                  <a:cubicBezTo>
                    <a:pt x="1" y="1"/>
                    <a:pt x="0"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52" name="Freeform 2205">
              <a:extLst>
                <a:ext uri="{FF2B5EF4-FFF2-40B4-BE49-F238E27FC236}">
                  <a16:creationId xmlns:a16="http://schemas.microsoft.com/office/drawing/2014/main" id="{10353BC0-E5E1-4A5E-80F2-955E5F5B9E08}"/>
                </a:ext>
              </a:extLst>
            </p:cNvPr>
            <p:cNvSpPr>
              <a:spLocks/>
            </p:cNvSpPr>
            <p:nvPr/>
          </p:nvSpPr>
          <p:spPr bwMode="auto">
            <a:xfrm>
              <a:off x="4559" y="2362"/>
              <a:ext cx="4" cy="7"/>
            </a:xfrm>
            <a:custGeom>
              <a:avLst/>
              <a:gdLst>
                <a:gd name="T0" fmla="*/ 0 w 2"/>
                <a:gd name="T1" fmla="*/ 2 h 3"/>
                <a:gd name="T2" fmla="*/ 2 w 2"/>
                <a:gd name="T3" fmla="*/ 3 h 3"/>
                <a:gd name="T4" fmla="*/ 1 w 2"/>
                <a:gd name="T5" fmla="*/ 0 h 3"/>
                <a:gd name="T6" fmla="*/ 0 w 2"/>
                <a:gd name="T7" fmla="*/ 2 h 3"/>
              </a:gdLst>
              <a:ahLst/>
              <a:cxnLst>
                <a:cxn ang="0">
                  <a:pos x="T0" y="T1"/>
                </a:cxn>
                <a:cxn ang="0">
                  <a:pos x="T2" y="T3"/>
                </a:cxn>
                <a:cxn ang="0">
                  <a:pos x="T4" y="T5"/>
                </a:cxn>
                <a:cxn ang="0">
                  <a:pos x="T6" y="T7"/>
                </a:cxn>
              </a:cxnLst>
              <a:rect l="0" t="0" r="r" b="b"/>
              <a:pathLst>
                <a:path w="2" h="3">
                  <a:moveTo>
                    <a:pt x="0" y="2"/>
                  </a:moveTo>
                  <a:cubicBezTo>
                    <a:pt x="1" y="2"/>
                    <a:pt x="1" y="3"/>
                    <a:pt x="2" y="3"/>
                  </a:cubicBezTo>
                  <a:cubicBezTo>
                    <a:pt x="1" y="2"/>
                    <a:pt x="1" y="1"/>
                    <a:pt x="1" y="0"/>
                  </a:cubicBezTo>
                  <a:cubicBezTo>
                    <a:pt x="1" y="1"/>
                    <a:pt x="0"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53" name="Freeform 2206">
              <a:extLst>
                <a:ext uri="{FF2B5EF4-FFF2-40B4-BE49-F238E27FC236}">
                  <a16:creationId xmlns:a16="http://schemas.microsoft.com/office/drawing/2014/main" id="{084F421B-D179-404A-AB7F-656C58D9A5B9}"/>
                </a:ext>
              </a:extLst>
            </p:cNvPr>
            <p:cNvSpPr>
              <a:spLocks/>
            </p:cNvSpPr>
            <p:nvPr/>
          </p:nvSpPr>
          <p:spPr bwMode="auto">
            <a:xfrm>
              <a:off x="4563" y="2365"/>
              <a:ext cx="5" cy="9"/>
            </a:xfrm>
            <a:custGeom>
              <a:avLst/>
              <a:gdLst>
                <a:gd name="T0" fmla="*/ 0 w 2"/>
                <a:gd name="T1" fmla="*/ 2 h 4"/>
                <a:gd name="T2" fmla="*/ 2 w 2"/>
                <a:gd name="T3" fmla="*/ 4 h 4"/>
                <a:gd name="T4" fmla="*/ 0 w 2"/>
                <a:gd name="T5" fmla="*/ 2 h 4"/>
              </a:gdLst>
              <a:ahLst/>
              <a:cxnLst>
                <a:cxn ang="0">
                  <a:pos x="T0" y="T1"/>
                </a:cxn>
                <a:cxn ang="0">
                  <a:pos x="T2" y="T3"/>
                </a:cxn>
                <a:cxn ang="0">
                  <a:pos x="T4" y="T5"/>
                </a:cxn>
              </a:cxnLst>
              <a:rect l="0" t="0" r="r" b="b"/>
              <a:pathLst>
                <a:path w="2" h="4">
                  <a:moveTo>
                    <a:pt x="0" y="2"/>
                  </a:moveTo>
                  <a:cubicBezTo>
                    <a:pt x="0" y="3"/>
                    <a:pt x="1" y="3"/>
                    <a:pt x="2" y="4"/>
                  </a:cubicBezTo>
                  <a:cubicBezTo>
                    <a:pt x="1" y="2"/>
                    <a:pt x="1" y="0"/>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54" name="Freeform 2207">
              <a:extLst>
                <a:ext uri="{FF2B5EF4-FFF2-40B4-BE49-F238E27FC236}">
                  <a16:creationId xmlns:a16="http://schemas.microsoft.com/office/drawing/2014/main" id="{B296E7C6-EDB5-4A09-A7AE-D0B06772CBB9}"/>
                </a:ext>
              </a:extLst>
            </p:cNvPr>
            <p:cNvSpPr>
              <a:spLocks/>
            </p:cNvSpPr>
            <p:nvPr/>
          </p:nvSpPr>
          <p:spPr bwMode="auto">
            <a:xfrm>
              <a:off x="4556" y="2365"/>
              <a:ext cx="3" cy="2"/>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55" name="Freeform 2208">
              <a:extLst>
                <a:ext uri="{FF2B5EF4-FFF2-40B4-BE49-F238E27FC236}">
                  <a16:creationId xmlns:a16="http://schemas.microsoft.com/office/drawing/2014/main" id="{7DFE741C-2A91-42C5-BA2C-1B2EFFF9324C}"/>
                </a:ext>
              </a:extLst>
            </p:cNvPr>
            <p:cNvSpPr>
              <a:spLocks/>
            </p:cNvSpPr>
            <p:nvPr/>
          </p:nvSpPr>
          <p:spPr bwMode="auto">
            <a:xfrm>
              <a:off x="4559" y="2367"/>
              <a:ext cx="4" cy="2"/>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1" y="1"/>
                    <a:pt x="0" y="0"/>
                  </a:cubicBezTo>
                  <a:cubicBezTo>
                    <a:pt x="1" y="1"/>
                    <a:pt x="1"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56" name="Freeform 2209">
              <a:extLst>
                <a:ext uri="{FF2B5EF4-FFF2-40B4-BE49-F238E27FC236}">
                  <a16:creationId xmlns:a16="http://schemas.microsoft.com/office/drawing/2014/main" id="{D9741154-4D2D-4069-9A59-AA7A633BA492}"/>
                </a:ext>
              </a:extLst>
            </p:cNvPr>
            <p:cNvSpPr>
              <a:spLocks/>
            </p:cNvSpPr>
            <p:nvPr/>
          </p:nvSpPr>
          <p:spPr bwMode="auto">
            <a:xfrm>
              <a:off x="6538" y="2530"/>
              <a:ext cx="21" cy="14"/>
            </a:xfrm>
            <a:custGeom>
              <a:avLst/>
              <a:gdLst>
                <a:gd name="T0" fmla="*/ 3 w 9"/>
                <a:gd name="T1" fmla="*/ 2 h 6"/>
                <a:gd name="T2" fmla="*/ 0 w 9"/>
                <a:gd name="T3" fmla="*/ 4 h 6"/>
                <a:gd name="T4" fmla="*/ 1 w 9"/>
                <a:gd name="T5" fmla="*/ 5 h 6"/>
                <a:gd name="T6" fmla="*/ 3 w 9"/>
                <a:gd name="T7" fmla="*/ 6 h 6"/>
                <a:gd name="T8" fmla="*/ 8 w 9"/>
                <a:gd name="T9" fmla="*/ 5 h 6"/>
                <a:gd name="T10" fmla="*/ 8 w 9"/>
                <a:gd name="T11" fmla="*/ 4 h 6"/>
                <a:gd name="T12" fmla="*/ 8 w 9"/>
                <a:gd name="T13" fmla="*/ 4 h 6"/>
                <a:gd name="T14" fmla="*/ 8 w 9"/>
                <a:gd name="T15" fmla="*/ 3 h 6"/>
                <a:gd name="T16" fmla="*/ 8 w 9"/>
                <a:gd name="T17" fmla="*/ 1 h 6"/>
                <a:gd name="T18" fmla="*/ 5 w 9"/>
                <a:gd name="T19" fmla="*/ 0 h 6"/>
                <a:gd name="T20" fmla="*/ 3 w 9"/>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6">
                  <a:moveTo>
                    <a:pt x="3" y="2"/>
                  </a:moveTo>
                  <a:cubicBezTo>
                    <a:pt x="2" y="3"/>
                    <a:pt x="0" y="3"/>
                    <a:pt x="0" y="4"/>
                  </a:cubicBezTo>
                  <a:cubicBezTo>
                    <a:pt x="0" y="4"/>
                    <a:pt x="1" y="6"/>
                    <a:pt x="1" y="5"/>
                  </a:cubicBezTo>
                  <a:cubicBezTo>
                    <a:pt x="1" y="6"/>
                    <a:pt x="2" y="6"/>
                    <a:pt x="3" y="6"/>
                  </a:cubicBezTo>
                  <a:cubicBezTo>
                    <a:pt x="4" y="6"/>
                    <a:pt x="7" y="6"/>
                    <a:pt x="8" y="5"/>
                  </a:cubicBezTo>
                  <a:cubicBezTo>
                    <a:pt x="9" y="4"/>
                    <a:pt x="8" y="4"/>
                    <a:pt x="8" y="4"/>
                  </a:cubicBezTo>
                  <a:cubicBezTo>
                    <a:pt x="8" y="4"/>
                    <a:pt x="8" y="4"/>
                    <a:pt x="8" y="4"/>
                  </a:cubicBezTo>
                  <a:cubicBezTo>
                    <a:pt x="8" y="4"/>
                    <a:pt x="8" y="3"/>
                    <a:pt x="8" y="3"/>
                  </a:cubicBezTo>
                  <a:cubicBezTo>
                    <a:pt x="8" y="3"/>
                    <a:pt x="8" y="2"/>
                    <a:pt x="8" y="1"/>
                  </a:cubicBezTo>
                  <a:cubicBezTo>
                    <a:pt x="8" y="1"/>
                    <a:pt x="6" y="0"/>
                    <a:pt x="5" y="0"/>
                  </a:cubicBezTo>
                  <a:cubicBezTo>
                    <a:pt x="4" y="0"/>
                    <a:pt x="4" y="1"/>
                    <a:pt x="3"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57" name="Freeform 2210">
              <a:extLst>
                <a:ext uri="{FF2B5EF4-FFF2-40B4-BE49-F238E27FC236}">
                  <a16:creationId xmlns:a16="http://schemas.microsoft.com/office/drawing/2014/main" id="{4073AEBC-276B-48BD-9455-03BE2A332F9C}"/>
                </a:ext>
              </a:extLst>
            </p:cNvPr>
            <p:cNvSpPr>
              <a:spLocks/>
            </p:cNvSpPr>
            <p:nvPr/>
          </p:nvSpPr>
          <p:spPr bwMode="auto">
            <a:xfrm>
              <a:off x="6549" y="2471"/>
              <a:ext cx="34" cy="38"/>
            </a:xfrm>
            <a:custGeom>
              <a:avLst/>
              <a:gdLst>
                <a:gd name="T0" fmla="*/ 4 w 14"/>
                <a:gd name="T1" fmla="*/ 5 h 16"/>
                <a:gd name="T2" fmla="*/ 8 w 14"/>
                <a:gd name="T3" fmla="*/ 9 h 16"/>
                <a:gd name="T4" fmla="*/ 8 w 14"/>
                <a:gd name="T5" fmla="*/ 10 h 16"/>
                <a:gd name="T6" fmla="*/ 8 w 14"/>
                <a:gd name="T7" fmla="*/ 13 h 16"/>
                <a:gd name="T8" fmla="*/ 10 w 14"/>
                <a:gd name="T9" fmla="*/ 16 h 16"/>
                <a:gd name="T10" fmla="*/ 11 w 14"/>
                <a:gd name="T11" fmla="*/ 15 h 16"/>
                <a:gd name="T12" fmla="*/ 13 w 14"/>
                <a:gd name="T13" fmla="*/ 16 h 16"/>
                <a:gd name="T14" fmla="*/ 14 w 14"/>
                <a:gd name="T15" fmla="*/ 15 h 16"/>
                <a:gd name="T16" fmla="*/ 13 w 14"/>
                <a:gd name="T17" fmla="*/ 15 h 16"/>
                <a:gd name="T18" fmla="*/ 14 w 14"/>
                <a:gd name="T19" fmla="*/ 13 h 16"/>
                <a:gd name="T20" fmla="*/ 13 w 14"/>
                <a:gd name="T21" fmla="*/ 8 h 16"/>
                <a:gd name="T22" fmla="*/ 13 w 14"/>
                <a:gd name="T23" fmla="*/ 4 h 16"/>
                <a:gd name="T24" fmla="*/ 13 w 14"/>
                <a:gd name="T25" fmla="*/ 4 h 16"/>
                <a:gd name="T26" fmla="*/ 12 w 14"/>
                <a:gd name="T27" fmla="*/ 4 h 16"/>
                <a:gd name="T28" fmla="*/ 11 w 14"/>
                <a:gd name="T29" fmla="*/ 2 h 16"/>
                <a:gd name="T30" fmla="*/ 11 w 14"/>
                <a:gd name="T31" fmla="*/ 2 h 16"/>
                <a:gd name="T32" fmla="*/ 10 w 14"/>
                <a:gd name="T33" fmla="*/ 0 h 16"/>
                <a:gd name="T34" fmla="*/ 6 w 14"/>
                <a:gd name="T35" fmla="*/ 0 h 16"/>
                <a:gd name="T36" fmla="*/ 0 w 14"/>
                <a:gd name="T37" fmla="*/ 0 h 16"/>
                <a:gd name="T38" fmla="*/ 4 w 14"/>
                <a:gd name="T39"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16">
                  <a:moveTo>
                    <a:pt x="4" y="5"/>
                  </a:moveTo>
                  <a:cubicBezTo>
                    <a:pt x="5" y="6"/>
                    <a:pt x="7" y="8"/>
                    <a:pt x="8" y="9"/>
                  </a:cubicBezTo>
                  <a:cubicBezTo>
                    <a:pt x="7" y="9"/>
                    <a:pt x="8" y="10"/>
                    <a:pt x="8" y="10"/>
                  </a:cubicBezTo>
                  <a:cubicBezTo>
                    <a:pt x="7" y="11"/>
                    <a:pt x="7" y="12"/>
                    <a:pt x="8" y="13"/>
                  </a:cubicBezTo>
                  <a:cubicBezTo>
                    <a:pt x="9" y="14"/>
                    <a:pt x="9" y="15"/>
                    <a:pt x="10" y="16"/>
                  </a:cubicBezTo>
                  <a:cubicBezTo>
                    <a:pt x="10" y="16"/>
                    <a:pt x="11" y="15"/>
                    <a:pt x="11" y="15"/>
                  </a:cubicBezTo>
                  <a:cubicBezTo>
                    <a:pt x="12" y="15"/>
                    <a:pt x="13" y="15"/>
                    <a:pt x="13" y="16"/>
                  </a:cubicBezTo>
                  <a:cubicBezTo>
                    <a:pt x="13" y="14"/>
                    <a:pt x="13" y="16"/>
                    <a:pt x="14" y="15"/>
                  </a:cubicBezTo>
                  <a:cubicBezTo>
                    <a:pt x="14" y="15"/>
                    <a:pt x="14" y="15"/>
                    <a:pt x="13" y="15"/>
                  </a:cubicBezTo>
                  <a:cubicBezTo>
                    <a:pt x="13" y="14"/>
                    <a:pt x="14" y="14"/>
                    <a:pt x="14" y="13"/>
                  </a:cubicBezTo>
                  <a:cubicBezTo>
                    <a:pt x="14" y="12"/>
                    <a:pt x="14" y="10"/>
                    <a:pt x="13" y="8"/>
                  </a:cubicBezTo>
                  <a:cubicBezTo>
                    <a:pt x="13" y="8"/>
                    <a:pt x="12" y="5"/>
                    <a:pt x="13" y="4"/>
                  </a:cubicBezTo>
                  <a:cubicBezTo>
                    <a:pt x="13" y="4"/>
                    <a:pt x="13" y="4"/>
                    <a:pt x="13" y="4"/>
                  </a:cubicBezTo>
                  <a:cubicBezTo>
                    <a:pt x="13" y="4"/>
                    <a:pt x="12" y="4"/>
                    <a:pt x="12" y="4"/>
                  </a:cubicBezTo>
                  <a:cubicBezTo>
                    <a:pt x="10" y="3"/>
                    <a:pt x="11" y="3"/>
                    <a:pt x="11" y="2"/>
                  </a:cubicBezTo>
                  <a:cubicBezTo>
                    <a:pt x="11" y="2"/>
                    <a:pt x="11" y="2"/>
                    <a:pt x="11" y="2"/>
                  </a:cubicBezTo>
                  <a:cubicBezTo>
                    <a:pt x="11" y="2"/>
                    <a:pt x="10" y="1"/>
                    <a:pt x="10" y="0"/>
                  </a:cubicBezTo>
                  <a:cubicBezTo>
                    <a:pt x="9" y="0"/>
                    <a:pt x="7" y="0"/>
                    <a:pt x="6" y="0"/>
                  </a:cubicBezTo>
                  <a:cubicBezTo>
                    <a:pt x="4" y="0"/>
                    <a:pt x="2" y="0"/>
                    <a:pt x="0" y="0"/>
                  </a:cubicBezTo>
                  <a:cubicBezTo>
                    <a:pt x="1" y="3"/>
                    <a:pt x="1" y="4"/>
                    <a:pt x="4"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58" name="Freeform 2211">
              <a:extLst>
                <a:ext uri="{FF2B5EF4-FFF2-40B4-BE49-F238E27FC236}">
                  <a16:creationId xmlns:a16="http://schemas.microsoft.com/office/drawing/2014/main" id="{7189F7EC-F39A-40F2-AE58-BC598370852B}"/>
                </a:ext>
              </a:extLst>
            </p:cNvPr>
            <p:cNvSpPr>
              <a:spLocks/>
            </p:cNvSpPr>
            <p:nvPr/>
          </p:nvSpPr>
          <p:spPr bwMode="auto">
            <a:xfrm>
              <a:off x="6549" y="2497"/>
              <a:ext cx="24" cy="36"/>
            </a:xfrm>
            <a:custGeom>
              <a:avLst/>
              <a:gdLst>
                <a:gd name="T0" fmla="*/ 1 w 10"/>
                <a:gd name="T1" fmla="*/ 3 h 15"/>
                <a:gd name="T2" fmla="*/ 1 w 10"/>
                <a:gd name="T3" fmla="*/ 5 h 15"/>
                <a:gd name="T4" fmla="*/ 2 w 10"/>
                <a:gd name="T5" fmla="*/ 6 h 15"/>
                <a:gd name="T6" fmla="*/ 4 w 10"/>
                <a:gd name="T7" fmla="*/ 6 h 15"/>
                <a:gd name="T8" fmla="*/ 5 w 10"/>
                <a:gd name="T9" fmla="*/ 14 h 15"/>
                <a:gd name="T10" fmla="*/ 8 w 10"/>
                <a:gd name="T11" fmla="*/ 15 h 15"/>
                <a:gd name="T12" fmla="*/ 8 w 10"/>
                <a:gd name="T13" fmla="*/ 12 h 15"/>
                <a:gd name="T14" fmla="*/ 9 w 10"/>
                <a:gd name="T15" fmla="*/ 14 h 15"/>
                <a:gd name="T16" fmla="*/ 10 w 10"/>
                <a:gd name="T17" fmla="*/ 12 h 15"/>
                <a:gd name="T18" fmla="*/ 9 w 10"/>
                <a:gd name="T19" fmla="*/ 9 h 15"/>
                <a:gd name="T20" fmla="*/ 7 w 10"/>
                <a:gd name="T21" fmla="*/ 2 h 15"/>
                <a:gd name="T22" fmla="*/ 3 w 10"/>
                <a:gd name="T23" fmla="*/ 2 h 15"/>
                <a:gd name="T24" fmla="*/ 0 w 10"/>
                <a:gd name="T25" fmla="*/ 0 h 15"/>
                <a:gd name="T26" fmla="*/ 1 w 10"/>
                <a:gd name="T27" fmla="*/ 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15">
                  <a:moveTo>
                    <a:pt x="1" y="3"/>
                  </a:moveTo>
                  <a:cubicBezTo>
                    <a:pt x="1" y="3"/>
                    <a:pt x="1" y="4"/>
                    <a:pt x="1" y="5"/>
                  </a:cubicBezTo>
                  <a:cubicBezTo>
                    <a:pt x="1" y="5"/>
                    <a:pt x="1" y="7"/>
                    <a:pt x="2" y="6"/>
                  </a:cubicBezTo>
                  <a:cubicBezTo>
                    <a:pt x="2" y="8"/>
                    <a:pt x="3" y="5"/>
                    <a:pt x="4" y="6"/>
                  </a:cubicBezTo>
                  <a:cubicBezTo>
                    <a:pt x="6" y="6"/>
                    <a:pt x="5" y="13"/>
                    <a:pt x="5" y="14"/>
                  </a:cubicBezTo>
                  <a:cubicBezTo>
                    <a:pt x="6" y="15"/>
                    <a:pt x="7" y="15"/>
                    <a:pt x="8" y="15"/>
                  </a:cubicBezTo>
                  <a:cubicBezTo>
                    <a:pt x="8" y="14"/>
                    <a:pt x="7" y="13"/>
                    <a:pt x="8" y="12"/>
                  </a:cubicBezTo>
                  <a:cubicBezTo>
                    <a:pt x="8" y="13"/>
                    <a:pt x="9" y="13"/>
                    <a:pt x="9" y="14"/>
                  </a:cubicBezTo>
                  <a:cubicBezTo>
                    <a:pt x="10" y="14"/>
                    <a:pt x="10" y="13"/>
                    <a:pt x="10" y="12"/>
                  </a:cubicBezTo>
                  <a:cubicBezTo>
                    <a:pt x="10" y="12"/>
                    <a:pt x="10" y="10"/>
                    <a:pt x="9" y="9"/>
                  </a:cubicBezTo>
                  <a:cubicBezTo>
                    <a:pt x="7" y="7"/>
                    <a:pt x="8" y="4"/>
                    <a:pt x="7" y="2"/>
                  </a:cubicBezTo>
                  <a:cubicBezTo>
                    <a:pt x="6" y="2"/>
                    <a:pt x="4" y="3"/>
                    <a:pt x="3" y="2"/>
                  </a:cubicBezTo>
                  <a:cubicBezTo>
                    <a:pt x="2" y="2"/>
                    <a:pt x="1" y="1"/>
                    <a:pt x="0" y="0"/>
                  </a:cubicBezTo>
                  <a:cubicBezTo>
                    <a:pt x="1" y="1"/>
                    <a:pt x="1" y="2"/>
                    <a:pt x="1"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59" name="Freeform 2212">
              <a:extLst>
                <a:ext uri="{FF2B5EF4-FFF2-40B4-BE49-F238E27FC236}">
                  <a16:creationId xmlns:a16="http://schemas.microsoft.com/office/drawing/2014/main" id="{051580CF-6B63-4528-A6B1-76E13F6554F1}"/>
                </a:ext>
              </a:extLst>
            </p:cNvPr>
            <p:cNvSpPr>
              <a:spLocks/>
            </p:cNvSpPr>
            <p:nvPr/>
          </p:nvSpPr>
          <p:spPr bwMode="auto">
            <a:xfrm>
              <a:off x="6436" y="2322"/>
              <a:ext cx="111" cy="149"/>
            </a:xfrm>
            <a:custGeom>
              <a:avLst/>
              <a:gdLst>
                <a:gd name="T0" fmla="*/ 4 w 47"/>
                <a:gd name="T1" fmla="*/ 31 h 63"/>
                <a:gd name="T2" fmla="*/ 8 w 47"/>
                <a:gd name="T3" fmla="*/ 40 h 63"/>
                <a:gd name="T4" fmla="*/ 8 w 47"/>
                <a:gd name="T5" fmla="*/ 43 h 63"/>
                <a:gd name="T6" fmla="*/ 10 w 47"/>
                <a:gd name="T7" fmla="*/ 40 h 63"/>
                <a:gd name="T8" fmla="*/ 15 w 47"/>
                <a:gd name="T9" fmla="*/ 40 h 63"/>
                <a:gd name="T10" fmla="*/ 15 w 47"/>
                <a:gd name="T11" fmla="*/ 45 h 63"/>
                <a:gd name="T12" fmla="*/ 11 w 47"/>
                <a:gd name="T13" fmla="*/ 46 h 63"/>
                <a:gd name="T14" fmla="*/ 14 w 47"/>
                <a:gd name="T15" fmla="*/ 51 h 63"/>
                <a:gd name="T16" fmla="*/ 16 w 47"/>
                <a:gd name="T17" fmla="*/ 52 h 63"/>
                <a:gd name="T18" fmla="*/ 20 w 47"/>
                <a:gd name="T19" fmla="*/ 50 h 63"/>
                <a:gd name="T20" fmla="*/ 26 w 47"/>
                <a:gd name="T21" fmla="*/ 51 h 63"/>
                <a:gd name="T22" fmla="*/ 31 w 47"/>
                <a:gd name="T23" fmla="*/ 57 h 63"/>
                <a:gd name="T24" fmla="*/ 29 w 47"/>
                <a:gd name="T25" fmla="*/ 49 h 63"/>
                <a:gd name="T26" fmla="*/ 37 w 47"/>
                <a:gd name="T27" fmla="*/ 55 h 63"/>
                <a:gd name="T28" fmla="*/ 41 w 47"/>
                <a:gd name="T29" fmla="*/ 59 h 63"/>
                <a:gd name="T30" fmla="*/ 44 w 47"/>
                <a:gd name="T31" fmla="*/ 59 h 63"/>
                <a:gd name="T32" fmla="*/ 45 w 47"/>
                <a:gd name="T33" fmla="*/ 60 h 63"/>
                <a:gd name="T34" fmla="*/ 46 w 47"/>
                <a:gd name="T35" fmla="*/ 63 h 63"/>
                <a:gd name="T36" fmla="*/ 45 w 47"/>
                <a:gd name="T37" fmla="*/ 58 h 63"/>
                <a:gd name="T38" fmla="*/ 44 w 47"/>
                <a:gd name="T39" fmla="*/ 56 h 63"/>
                <a:gd name="T40" fmla="*/ 43 w 47"/>
                <a:gd name="T41" fmla="*/ 52 h 63"/>
                <a:gd name="T42" fmla="*/ 39 w 47"/>
                <a:gd name="T43" fmla="*/ 48 h 63"/>
                <a:gd name="T44" fmla="*/ 39 w 47"/>
                <a:gd name="T45" fmla="*/ 49 h 63"/>
                <a:gd name="T46" fmla="*/ 36 w 47"/>
                <a:gd name="T47" fmla="*/ 52 h 63"/>
                <a:gd name="T48" fmla="*/ 34 w 47"/>
                <a:gd name="T49" fmla="*/ 46 h 63"/>
                <a:gd name="T50" fmla="*/ 27 w 47"/>
                <a:gd name="T51" fmla="*/ 49 h 63"/>
                <a:gd name="T52" fmla="*/ 24 w 47"/>
                <a:gd name="T53" fmla="*/ 48 h 63"/>
                <a:gd name="T54" fmla="*/ 22 w 47"/>
                <a:gd name="T55" fmla="*/ 41 h 63"/>
                <a:gd name="T56" fmla="*/ 20 w 47"/>
                <a:gd name="T57" fmla="*/ 33 h 63"/>
                <a:gd name="T58" fmla="*/ 21 w 47"/>
                <a:gd name="T59" fmla="*/ 30 h 63"/>
                <a:gd name="T60" fmla="*/ 26 w 47"/>
                <a:gd name="T61" fmla="*/ 27 h 63"/>
                <a:gd name="T62" fmla="*/ 30 w 47"/>
                <a:gd name="T63" fmla="*/ 17 h 63"/>
                <a:gd name="T64" fmla="*/ 27 w 47"/>
                <a:gd name="T65" fmla="*/ 11 h 63"/>
                <a:gd name="T66" fmla="*/ 28 w 47"/>
                <a:gd name="T67" fmla="*/ 1 h 63"/>
                <a:gd name="T68" fmla="*/ 22 w 47"/>
                <a:gd name="T69" fmla="*/ 4 h 63"/>
                <a:gd name="T70" fmla="*/ 12 w 47"/>
                <a:gd name="T71" fmla="*/ 1 h 63"/>
                <a:gd name="T72" fmla="*/ 10 w 47"/>
                <a:gd name="T73" fmla="*/ 1 h 63"/>
                <a:gd name="T74" fmla="*/ 9 w 47"/>
                <a:gd name="T75" fmla="*/ 8 h 63"/>
                <a:gd name="T76" fmla="*/ 8 w 47"/>
                <a:gd name="T77" fmla="*/ 21 h 63"/>
                <a:gd name="T78" fmla="*/ 7 w 47"/>
                <a:gd name="T79" fmla="*/ 27 h 63"/>
                <a:gd name="T80" fmla="*/ 3 w 47"/>
                <a:gd name="T81" fmla="*/ 2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 h="63">
                  <a:moveTo>
                    <a:pt x="3" y="24"/>
                  </a:moveTo>
                  <a:cubicBezTo>
                    <a:pt x="0" y="24"/>
                    <a:pt x="4" y="30"/>
                    <a:pt x="4" y="31"/>
                  </a:cubicBezTo>
                  <a:cubicBezTo>
                    <a:pt x="4" y="34"/>
                    <a:pt x="5" y="37"/>
                    <a:pt x="5" y="40"/>
                  </a:cubicBezTo>
                  <a:cubicBezTo>
                    <a:pt x="6" y="40"/>
                    <a:pt x="7" y="40"/>
                    <a:pt x="8" y="40"/>
                  </a:cubicBezTo>
                  <a:cubicBezTo>
                    <a:pt x="6" y="42"/>
                    <a:pt x="8" y="41"/>
                    <a:pt x="9" y="42"/>
                  </a:cubicBezTo>
                  <a:cubicBezTo>
                    <a:pt x="9" y="43"/>
                    <a:pt x="8" y="43"/>
                    <a:pt x="8" y="43"/>
                  </a:cubicBezTo>
                  <a:cubicBezTo>
                    <a:pt x="9" y="44"/>
                    <a:pt x="9" y="44"/>
                    <a:pt x="9" y="44"/>
                  </a:cubicBezTo>
                  <a:cubicBezTo>
                    <a:pt x="11" y="45"/>
                    <a:pt x="10" y="41"/>
                    <a:pt x="10" y="40"/>
                  </a:cubicBezTo>
                  <a:cubicBezTo>
                    <a:pt x="11" y="40"/>
                    <a:pt x="12" y="41"/>
                    <a:pt x="13" y="41"/>
                  </a:cubicBezTo>
                  <a:cubicBezTo>
                    <a:pt x="13" y="40"/>
                    <a:pt x="14" y="40"/>
                    <a:pt x="15" y="40"/>
                  </a:cubicBezTo>
                  <a:cubicBezTo>
                    <a:pt x="16" y="40"/>
                    <a:pt x="18" y="41"/>
                    <a:pt x="18" y="42"/>
                  </a:cubicBezTo>
                  <a:cubicBezTo>
                    <a:pt x="18" y="44"/>
                    <a:pt x="16" y="45"/>
                    <a:pt x="15" y="45"/>
                  </a:cubicBezTo>
                  <a:cubicBezTo>
                    <a:pt x="14" y="45"/>
                    <a:pt x="14" y="45"/>
                    <a:pt x="13" y="44"/>
                  </a:cubicBezTo>
                  <a:cubicBezTo>
                    <a:pt x="12" y="45"/>
                    <a:pt x="11" y="46"/>
                    <a:pt x="11" y="46"/>
                  </a:cubicBezTo>
                  <a:cubicBezTo>
                    <a:pt x="11" y="48"/>
                    <a:pt x="11" y="49"/>
                    <a:pt x="11" y="51"/>
                  </a:cubicBezTo>
                  <a:cubicBezTo>
                    <a:pt x="12" y="49"/>
                    <a:pt x="12" y="49"/>
                    <a:pt x="14" y="51"/>
                  </a:cubicBezTo>
                  <a:cubicBezTo>
                    <a:pt x="14" y="51"/>
                    <a:pt x="13" y="51"/>
                    <a:pt x="14" y="52"/>
                  </a:cubicBezTo>
                  <a:cubicBezTo>
                    <a:pt x="14" y="52"/>
                    <a:pt x="15" y="52"/>
                    <a:pt x="16" y="52"/>
                  </a:cubicBezTo>
                  <a:cubicBezTo>
                    <a:pt x="16" y="52"/>
                    <a:pt x="17" y="53"/>
                    <a:pt x="18" y="52"/>
                  </a:cubicBezTo>
                  <a:cubicBezTo>
                    <a:pt x="19" y="52"/>
                    <a:pt x="19" y="51"/>
                    <a:pt x="20" y="50"/>
                  </a:cubicBezTo>
                  <a:cubicBezTo>
                    <a:pt x="22" y="49"/>
                    <a:pt x="22" y="49"/>
                    <a:pt x="24" y="50"/>
                  </a:cubicBezTo>
                  <a:cubicBezTo>
                    <a:pt x="25" y="50"/>
                    <a:pt x="26" y="51"/>
                    <a:pt x="26" y="51"/>
                  </a:cubicBezTo>
                  <a:cubicBezTo>
                    <a:pt x="27" y="52"/>
                    <a:pt x="27" y="53"/>
                    <a:pt x="28" y="53"/>
                  </a:cubicBezTo>
                  <a:cubicBezTo>
                    <a:pt x="30" y="53"/>
                    <a:pt x="30" y="56"/>
                    <a:pt x="31" y="57"/>
                  </a:cubicBezTo>
                  <a:cubicBezTo>
                    <a:pt x="31" y="55"/>
                    <a:pt x="30" y="54"/>
                    <a:pt x="30" y="52"/>
                  </a:cubicBezTo>
                  <a:cubicBezTo>
                    <a:pt x="30" y="51"/>
                    <a:pt x="30" y="50"/>
                    <a:pt x="29" y="49"/>
                  </a:cubicBezTo>
                  <a:cubicBezTo>
                    <a:pt x="31" y="49"/>
                    <a:pt x="31" y="50"/>
                    <a:pt x="32" y="50"/>
                  </a:cubicBezTo>
                  <a:cubicBezTo>
                    <a:pt x="34" y="52"/>
                    <a:pt x="35" y="54"/>
                    <a:pt x="37" y="55"/>
                  </a:cubicBezTo>
                  <a:cubicBezTo>
                    <a:pt x="38" y="56"/>
                    <a:pt x="38" y="56"/>
                    <a:pt x="38" y="58"/>
                  </a:cubicBezTo>
                  <a:cubicBezTo>
                    <a:pt x="38" y="59"/>
                    <a:pt x="40" y="59"/>
                    <a:pt x="41" y="59"/>
                  </a:cubicBezTo>
                  <a:cubicBezTo>
                    <a:pt x="42" y="60"/>
                    <a:pt x="43" y="60"/>
                    <a:pt x="44" y="60"/>
                  </a:cubicBezTo>
                  <a:cubicBezTo>
                    <a:pt x="44" y="60"/>
                    <a:pt x="44" y="59"/>
                    <a:pt x="44" y="59"/>
                  </a:cubicBezTo>
                  <a:cubicBezTo>
                    <a:pt x="45" y="59"/>
                    <a:pt x="45" y="59"/>
                    <a:pt x="46" y="59"/>
                  </a:cubicBezTo>
                  <a:cubicBezTo>
                    <a:pt x="45" y="60"/>
                    <a:pt x="45" y="60"/>
                    <a:pt x="45" y="60"/>
                  </a:cubicBezTo>
                  <a:cubicBezTo>
                    <a:pt x="44" y="61"/>
                    <a:pt x="44" y="60"/>
                    <a:pt x="44" y="60"/>
                  </a:cubicBezTo>
                  <a:cubicBezTo>
                    <a:pt x="43" y="62"/>
                    <a:pt x="46" y="63"/>
                    <a:pt x="46" y="63"/>
                  </a:cubicBezTo>
                  <a:cubicBezTo>
                    <a:pt x="47" y="63"/>
                    <a:pt x="47" y="58"/>
                    <a:pt x="47" y="58"/>
                  </a:cubicBezTo>
                  <a:cubicBezTo>
                    <a:pt x="47" y="58"/>
                    <a:pt x="45" y="57"/>
                    <a:pt x="45" y="58"/>
                  </a:cubicBezTo>
                  <a:cubicBezTo>
                    <a:pt x="44" y="58"/>
                    <a:pt x="43" y="58"/>
                    <a:pt x="43" y="58"/>
                  </a:cubicBezTo>
                  <a:cubicBezTo>
                    <a:pt x="43" y="58"/>
                    <a:pt x="43" y="56"/>
                    <a:pt x="44" y="56"/>
                  </a:cubicBezTo>
                  <a:cubicBezTo>
                    <a:pt x="43" y="56"/>
                    <a:pt x="40" y="53"/>
                    <a:pt x="41" y="51"/>
                  </a:cubicBezTo>
                  <a:cubicBezTo>
                    <a:pt x="41" y="51"/>
                    <a:pt x="42" y="51"/>
                    <a:pt x="43" y="52"/>
                  </a:cubicBezTo>
                  <a:cubicBezTo>
                    <a:pt x="44" y="52"/>
                    <a:pt x="44" y="51"/>
                    <a:pt x="45" y="51"/>
                  </a:cubicBezTo>
                  <a:cubicBezTo>
                    <a:pt x="45" y="49"/>
                    <a:pt x="40" y="49"/>
                    <a:pt x="39" y="48"/>
                  </a:cubicBezTo>
                  <a:cubicBezTo>
                    <a:pt x="39" y="48"/>
                    <a:pt x="39" y="48"/>
                    <a:pt x="39" y="47"/>
                  </a:cubicBezTo>
                  <a:cubicBezTo>
                    <a:pt x="39" y="48"/>
                    <a:pt x="39" y="49"/>
                    <a:pt x="39" y="49"/>
                  </a:cubicBezTo>
                  <a:cubicBezTo>
                    <a:pt x="39" y="49"/>
                    <a:pt x="38" y="50"/>
                    <a:pt x="38" y="50"/>
                  </a:cubicBezTo>
                  <a:cubicBezTo>
                    <a:pt x="38" y="51"/>
                    <a:pt x="37" y="51"/>
                    <a:pt x="36" y="52"/>
                  </a:cubicBezTo>
                  <a:cubicBezTo>
                    <a:pt x="35" y="51"/>
                    <a:pt x="36" y="49"/>
                    <a:pt x="36" y="48"/>
                  </a:cubicBezTo>
                  <a:cubicBezTo>
                    <a:pt x="35" y="48"/>
                    <a:pt x="35" y="46"/>
                    <a:pt x="34" y="46"/>
                  </a:cubicBezTo>
                  <a:cubicBezTo>
                    <a:pt x="33" y="45"/>
                    <a:pt x="31" y="44"/>
                    <a:pt x="30" y="45"/>
                  </a:cubicBezTo>
                  <a:cubicBezTo>
                    <a:pt x="29" y="46"/>
                    <a:pt x="28" y="50"/>
                    <a:pt x="27" y="49"/>
                  </a:cubicBezTo>
                  <a:cubicBezTo>
                    <a:pt x="27" y="49"/>
                    <a:pt x="27" y="49"/>
                    <a:pt x="27" y="50"/>
                  </a:cubicBezTo>
                  <a:cubicBezTo>
                    <a:pt x="26" y="49"/>
                    <a:pt x="25" y="49"/>
                    <a:pt x="24" y="48"/>
                  </a:cubicBezTo>
                  <a:cubicBezTo>
                    <a:pt x="23" y="48"/>
                    <a:pt x="23" y="47"/>
                    <a:pt x="22" y="45"/>
                  </a:cubicBezTo>
                  <a:cubicBezTo>
                    <a:pt x="22" y="44"/>
                    <a:pt x="22" y="42"/>
                    <a:pt x="22" y="41"/>
                  </a:cubicBezTo>
                  <a:cubicBezTo>
                    <a:pt x="22" y="40"/>
                    <a:pt x="21" y="39"/>
                    <a:pt x="21" y="38"/>
                  </a:cubicBezTo>
                  <a:cubicBezTo>
                    <a:pt x="19" y="36"/>
                    <a:pt x="18" y="35"/>
                    <a:pt x="20" y="33"/>
                  </a:cubicBezTo>
                  <a:cubicBezTo>
                    <a:pt x="20" y="32"/>
                    <a:pt x="21" y="31"/>
                    <a:pt x="21" y="30"/>
                  </a:cubicBezTo>
                  <a:cubicBezTo>
                    <a:pt x="21" y="30"/>
                    <a:pt x="21" y="30"/>
                    <a:pt x="21" y="30"/>
                  </a:cubicBezTo>
                  <a:cubicBezTo>
                    <a:pt x="20" y="27"/>
                    <a:pt x="25" y="27"/>
                    <a:pt x="26" y="25"/>
                  </a:cubicBezTo>
                  <a:cubicBezTo>
                    <a:pt x="26" y="26"/>
                    <a:pt x="26" y="26"/>
                    <a:pt x="26" y="27"/>
                  </a:cubicBezTo>
                  <a:cubicBezTo>
                    <a:pt x="27" y="24"/>
                    <a:pt x="28" y="22"/>
                    <a:pt x="29" y="20"/>
                  </a:cubicBezTo>
                  <a:cubicBezTo>
                    <a:pt x="30" y="19"/>
                    <a:pt x="30" y="18"/>
                    <a:pt x="30" y="17"/>
                  </a:cubicBezTo>
                  <a:cubicBezTo>
                    <a:pt x="30" y="17"/>
                    <a:pt x="31" y="16"/>
                    <a:pt x="30" y="16"/>
                  </a:cubicBezTo>
                  <a:cubicBezTo>
                    <a:pt x="29" y="14"/>
                    <a:pt x="28" y="13"/>
                    <a:pt x="27" y="11"/>
                  </a:cubicBezTo>
                  <a:cubicBezTo>
                    <a:pt x="26" y="11"/>
                    <a:pt x="28" y="7"/>
                    <a:pt x="28" y="6"/>
                  </a:cubicBezTo>
                  <a:cubicBezTo>
                    <a:pt x="28" y="4"/>
                    <a:pt x="28" y="3"/>
                    <a:pt x="28" y="1"/>
                  </a:cubicBezTo>
                  <a:cubicBezTo>
                    <a:pt x="27" y="2"/>
                    <a:pt x="26" y="3"/>
                    <a:pt x="25" y="3"/>
                  </a:cubicBezTo>
                  <a:cubicBezTo>
                    <a:pt x="24" y="4"/>
                    <a:pt x="22" y="3"/>
                    <a:pt x="22" y="4"/>
                  </a:cubicBezTo>
                  <a:cubicBezTo>
                    <a:pt x="22" y="2"/>
                    <a:pt x="16" y="1"/>
                    <a:pt x="15" y="0"/>
                  </a:cubicBezTo>
                  <a:cubicBezTo>
                    <a:pt x="14" y="1"/>
                    <a:pt x="13" y="1"/>
                    <a:pt x="12" y="1"/>
                  </a:cubicBezTo>
                  <a:cubicBezTo>
                    <a:pt x="12" y="1"/>
                    <a:pt x="11" y="1"/>
                    <a:pt x="11" y="1"/>
                  </a:cubicBezTo>
                  <a:cubicBezTo>
                    <a:pt x="11" y="1"/>
                    <a:pt x="11" y="1"/>
                    <a:pt x="10" y="1"/>
                  </a:cubicBezTo>
                  <a:cubicBezTo>
                    <a:pt x="10" y="2"/>
                    <a:pt x="10" y="3"/>
                    <a:pt x="10" y="4"/>
                  </a:cubicBezTo>
                  <a:cubicBezTo>
                    <a:pt x="10" y="5"/>
                    <a:pt x="9" y="6"/>
                    <a:pt x="9" y="8"/>
                  </a:cubicBezTo>
                  <a:cubicBezTo>
                    <a:pt x="9" y="11"/>
                    <a:pt x="9" y="14"/>
                    <a:pt x="9" y="17"/>
                  </a:cubicBezTo>
                  <a:cubicBezTo>
                    <a:pt x="9" y="18"/>
                    <a:pt x="8" y="21"/>
                    <a:pt x="8" y="21"/>
                  </a:cubicBezTo>
                  <a:cubicBezTo>
                    <a:pt x="8" y="23"/>
                    <a:pt x="10" y="25"/>
                    <a:pt x="8" y="26"/>
                  </a:cubicBezTo>
                  <a:cubicBezTo>
                    <a:pt x="8" y="27"/>
                    <a:pt x="7" y="27"/>
                    <a:pt x="7" y="27"/>
                  </a:cubicBezTo>
                  <a:cubicBezTo>
                    <a:pt x="6" y="27"/>
                    <a:pt x="4" y="25"/>
                    <a:pt x="4" y="24"/>
                  </a:cubicBezTo>
                  <a:cubicBezTo>
                    <a:pt x="4" y="24"/>
                    <a:pt x="4" y="24"/>
                    <a:pt x="3" y="2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60" name="Freeform 2213">
              <a:extLst>
                <a:ext uri="{FF2B5EF4-FFF2-40B4-BE49-F238E27FC236}">
                  <a16:creationId xmlns:a16="http://schemas.microsoft.com/office/drawing/2014/main" id="{DC0D7EE7-B6A4-4D45-AAF1-856A77472E99}"/>
                </a:ext>
              </a:extLst>
            </p:cNvPr>
            <p:cNvSpPr>
              <a:spLocks/>
            </p:cNvSpPr>
            <p:nvPr/>
          </p:nvSpPr>
          <p:spPr bwMode="auto">
            <a:xfrm>
              <a:off x="6379" y="2499"/>
              <a:ext cx="62" cy="76"/>
            </a:xfrm>
            <a:custGeom>
              <a:avLst/>
              <a:gdLst>
                <a:gd name="T0" fmla="*/ 8 w 26"/>
                <a:gd name="T1" fmla="*/ 22 h 32"/>
                <a:gd name="T2" fmla="*/ 4 w 26"/>
                <a:gd name="T3" fmla="*/ 26 h 32"/>
                <a:gd name="T4" fmla="*/ 1 w 26"/>
                <a:gd name="T5" fmla="*/ 29 h 32"/>
                <a:gd name="T6" fmla="*/ 0 w 26"/>
                <a:gd name="T7" fmla="*/ 32 h 32"/>
                <a:gd name="T8" fmla="*/ 7 w 26"/>
                <a:gd name="T9" fmla="*/ 27 h 32"/>
                <a:gd name="T10" fmla="*/ 13 w 26"/>
                <a:gd name="T11" fmla="*/ 22 h 32"/>
                <a:gd name="T12" fmla="*/ 15 w 26"/>
                <a:gd name="T13" fmla="*/ 20 h 32"/>
                <a:gd name="T14" fmla="*/ 16 w 26"/>
                <a:gd name="T15" fmla="*/ 18 h 32"/>
                <a:gd name="T16" fmla="*/ 17 w 26"/>
                <a:gd name="T17" fmla="*/ 15 h 32"/>
                <a:gd name="T18" fmla="*/ 19 w 26"/>
                <a:gd name="T19" fmla="*/ 15 h 32"/>
                <a:gd name="T20" fmla="*/ 22 w 26"/>
                <a:gd name="T21" fmla="*/ 11 h 32"/>
                <a:gd name="T22" fmla="*/ 26 w 26"/>
                <a:gd name="T23" fmla="*/ 9 h 32"/>
                <a:gd name="T24" fmla="*/ 25 w 26"/>
                <a:gd name="T25" fmla="*/ 9 h 32"/>
                <a:gd name="T26" fmla="*/ 24 w 26"/>
                <a:gd name="T27" fmla="*/ 8 h 32"/>
                <a:gd name="T28" fmla="*/ 24 w 26"/>
                <a:gd name="T29" fmla="*/ 7 h 32"/>
                <a:gd name="T30" fmla="*/ 24 w 26"/>
                <a:gd name="T31" fmla="*/ 6 h 32"/>
                <a:gd name="T32" fmla="*/ 23 w 26"/>
                <a:gd name="T33" fmla="*/ 6 h 32"/>
                <a:gd name="T34" fmla="*/ 24 w 26"/>
                <a:gd name="T35" fmla="*/ 4 h 32"/>
                <a:gd name="T36" fmla="*/ 24 w 26"/>
                <a:gd name="T37" fmla="*/ 2 h 32"/>
                <a:gd name="T38" fmla="*/ 23 w 26"/>
                <a:gd name="T39" fmla="*/ 0 h 32"/>
                <a:gd name="T40" fmla="*/ 22 w 26"/>
                <a:gd name="T41" fmla="*/ 5 h 32"/>
                <a:gd name="T42" fmla="*/ 23 w 26"/>
                <a:gd name="T43" fmla="*/ 7 h 32"/>
                <a:gd name="T44" fmla="*/ 23 w 26"/>
                <a:gd name="T45" fmla="*/ 7 h 32"/>
                <a:gd name="T46" fmla="*/ 21 w 26"/>
                <a:gd name="T47" fmla="*/ 6 h 32"/>
                <a:gd name="T48" fmla="*/ 20 w 26"/>
                <a:gd name="T49" fmla="*/ 6 h 32"/>
                <a:gd name="T50" fmla="*/ 21 w 26"/>
                <a:gd name="T51" fmla="*/ 9 h 32"/>
                <a:gd name="T52" fmla="*/ 20 w 26"/>
                <a:gd name="T53" fmla="*/ 10 h 32"/>
                <a:gd name="T54" fmla="*/ 17 w 26"/>
                <a:gd name="T55" fmla="*/ 14 h 32"/>
                <a:gd name="T56" fmla="*/ 16 w 26"/>
                <a:gd name="T57" fmla="*/ 14 h 32"/>
                <a:gd name="T58" fmla="*/ 11 w 26"/>
                <a:gd name="T59" fmla="*/ 20 h 32"/>
                <a:gd name="T60" fmla="*/ 8 w 26"/>
                <a:gd name="T61"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 h="32">
                  <a:moveTo>
                    <a:pt x="8" y="22"/>
                  </a:moveTo>
                  <a:cubicBezTo>
                    <a:pt x="6" y="23"/>
                    <a:pt x="5" y="25"/>
                    <a:pt x="4" y="26"/>
                  </a:cubicBezTo>
                  <a:cubicBezTo>
                    <a:pt x="3" y="27"/>
                    <a:pt x="2" y="28"/>
                    <a:pt x="1" y="29"/>
                  </a:cubicBezTo>
                  <a:cubicBezTo>
                    <a:pt x="0" y="30"/>
                    <a:pt x="0" y="31"/>
                    <a:pt x="0" y="32"/>
                  </a:cubicBezTo>
                  <a:cubicBezTo>
                    <a:pt x="2" y="30"/>
                    <a:pt x="5" y="29"/>
                    <a:pt x="7" y="27"/>
                  </a:cubicBezTo>
                  <a:cubicBezTo>
                    <a:pt x="9" y="25"/>
                    <a:pt x="12" y="24"/>
                    <a:pt x="13" y="22"/>
                  </a:cubicBezTo>
                  <a:cubicBezTo>
                    <a:pt x="14" y="21"/>
                    <a:pt x="14" y="21"/>
                    <a:pt x="15" y="20"/>
                  </a:cubicBezTo>
                  <a:cubicBezTo>
                    <a:pt x="15" y="19"/>
                    <a:pt x="16" y="18"/>
                    <a:pt x="16" y="18"/>
                  </a:cubicBezTo>
                  <a:cubicBezTo>
                    <a:pt x="17" y="17"/>
                    <a:pt x="15" y="16"/>
                    <a:pt x="17" y="15"/>
                  </a:cubicBezTo>
                  <a:cubicBezTo>
                    <a:pt x="18" y="15"/>
                    <a:pt x="19" y="15"/>
                    <a:pt x="19" y="15"/>
                  </a:cubicBezTo>
                  <a:cubicBezTo>
                    <a:pt x="21" y="14"/>
                    <a:pt x="21" y="12"/>
                    <a:pt x="22" y="11"/>
                  </a:cubicBezTo>
                  <a:cubicBezTo>
                    <a:pt x="23" y="11"/>
                    <a:pt x="25" y="10"/>
                    <a:pt x="26" y="9"/>
                  </a:cubicBezTo>
                  <a:cubicBezTo>
                    <a:pt x="26" y="9"/>
                    <a:pt x="25" y="9"/>
                    <a:pt x="25" y="9"/>
                  </a:cubicBezTo>
                  <a:cubicBezTo>
                    <a:pt x="25" y="8"/>
                    <a:pt x="25" y="8"/>
                    <a:pt x="24" y="8"/>
                  </a:cubicBezTo>
                  <a:cubicBezTo>
                    <a:pt x="25" y="8"/>
                    <a:pt x="25" y="7"/>
                    <a:pt x="24" y="7"/>
                  </a:cubicBezTo>
                  <a:cubicBezTo>
                    <a:pt x="24" y="6"/>
                    <a:pt x="24" y="7"/>
                    <a:pt x="24" y="6"/>
                  </a:cubicBezTo>
                  <a:cubicBezTo>
                    <a:pt x="24" y="6"/>
                    <a:pt x="23" y="6"/>
                    <a:pt x="23" y="6"/>
                  </a:cubicBezTo>
                  <a:cubicBezTo>
                    <a:pt x="23" y="5"/>
                    <a:pt x="24" y="5"/>
                    <a:pt x="24" y="4"/>
                  </a:cubicBezTo>
                  <a:cubicBezTo>
                    <a:pt x="23" y="4"/>
                    <a:pt x="24" y="3"/>
                    <a:pt x="24" y="2"/>
                  </a:cubicBezTo>
                  <a:cubicBezTo>
                    <a:pt x="24" y="1"/>
                    <a:pt x="24" y="2"/>
                    <a:pt x="23" y="0"/>
                  </a:cubicBezTo>
                  <a:cubicBezTo>
                    <a:pt x="23" y="2"/>
                    <a:pt x="21" y="4"/>
                    <a:pt x="22" y="5"/>
                  </a:cubicBezTo>
                  <a:cubicBezTo>
                    <a:pt x="22" y="6"/>
                    <a:pt x="23" y="7"/>
                    <a:pt x="23" y="7"/>
                  </a:cubicBezTo>
                  <a:cubicBezTo>
                    <a:pt x="23" y="7"/>
                    <a:pt x="23" y="7"/>
                    <a:pt x="23" y="7"/>
                  </a:cubicBezTo>
                  <a:cubicBezTo>
                    <a:pt x="23" y="7"/>
                    <a:pt x="22" y="6"/>
                    <a:pt x="21" y="6"/>
                  </a:cubicBezTo>
                  <a:cubicBezTo>
                    <a:pt x="21" y="5"/>
                    <a:pt x="21" y="5"/>
                    <a:pt x="20" y="6"/>
                  </a:cubicBezTo>
                  <a:cubicBezTo>
                    <a:pt x="20" y="7"/>
                    <a:pt x="21" y="8"/>
                    <a:pt x="21" y="9"/>
                  </a:cubicBezTo>
                  <a:cubicBezTo>
                    <a:pt x="21" y="10"/>
                    <a:pt x="19" y="12"/>
                    <a:pt x="20" y="10"/>
                  </a:cubicBezTo>
                  <a:cubicBezTo>
                    <a:pt x="19" y="11"/>
                    <a:pt x="18" y="13"/>
                    <a:pt x="17" y="14"/>
                  </a:cubicBezTo>
                  <a:cubicBezTo>
                    <a:pt x="16" y="15"/>
                    <a:pt x="16" y="15"/>
                    <a:pt x="16" y="14"/>
                  </a:cubicBezTo>
                  <a:cubicBezTo>
                    <a:pt x="14" y="16"/>
                    <a:pt x="13" y="18"/>
                    <a:pt x="11" y="20"/>
                  </a:cubicBezTo>
                  <a:cubicBezTo>
                    <a:pt x="11" y="20"/>
                    <a:pt x="8" y="23"/>
                    <a:pt x="8" y="2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61" name="Freeform 2214">
              <a:extLst>
                <a:ext uri="{FF2B5EF4-FFF2-40B4-BE49-F238E27FC236}">
                  <a16:creationId xmlns:a16="http://schemas.microsoft.com/office/drawing/2014/main" id="{9F211B93-6E71-4218-9E7C-FB9407F4A40C}"/>
                </a:ext>
              </a:extLst>
            </p:cNvPr>
            <p:cNvSpPr>
              <a:spLocks/>
            </p:cNvSpPr>
            <p:nvPr/>
          </p:nvSpPr>
          <p:spPr bwMode="auto">
            <a:xfrm>
              <a:off x="6526" y="2504"/>
              <a:ext cx="19" cy="45"/>
            </a:xfrm>
            <a:custGeom>
              <a:avLst/>
              <a:gdLst>
                <a:gd name="T0" fmla="*/ 8 w 8"/>
                <a:gd name="T1" fmla="*/ 8 h 19"/>
                <a:gd name="T2" fmla="*/ 8 w 8"/>
                <a:gd name="T3" fmla="*/ 6 h 19"/>
                <a:gd name="T4" fmla="*/ 8 w 8"/>
                <a:gd name="T5" fmla="*/ 0 h 19"/>
                <a:gd name="T6" fmla="*/ 7 w 8"/>
                <a:gd name="T7" fmla="*/ 3 h 19"/>
                <a:gd name="T8" fmla="*/ 5 w 8"/>
                <a:gd name="T9" fmla="*/ 6 h 19"/>
                <a:gd name="T10" fmla="*/ 2 w 8"/>
                <a:gd name="T11" fmla="*/ 11 h 19"/>
                <a:gd name="T12" fmla="*/ 1 w 8"/>
                <a:gd name="T13" fmla="*/ 14 h 19"/>
                <a:gd name="T14" fmla="*/ 1 w 8"/>
                <a:gd name="T15" fmla="*/ 19 h 19"/>
                <a:gd name="T16" fmla="*/ 5 w 8"/>
                <a:gd name="T17" fmla="*/ 11 h 19"/>
                <a:gd name="T18" fmla="*/ 8 w 8"/>
                <a:gd name="T19"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9">
                  <a:moveTo>
                    <a:pt x="8" y="8"/>
                  </a:moveTo>
                  <a:cubicBezTo>
                    <a:pt x="8" y="7"/>
                    <a:pt x="8" y="6"/>
                    <a:pt x="8" y="6"/>
                  </a:cubicBezTo>
                  <a:cubicBezTo>
                    <a:pt x="8" y="4"/>
                    <a:pt x="8" y="2"/>
                    <a:pt x="8" y="0"/>
                  </a:cubicBezTo>
                  <a:cubicBezTo>
                    <a:pt x="7" y="0"/>
                    <a:pt x="7" y="2"/>
                    <a:pt x="7" y="3"/>
                  </a:cubicBezTo>
                  <a:cubicBezTo>
                    <a:pt x="6" y="3"/>
                    <a:pt x="6" y="5"/>
                    <a:pt x="5" y="6"/>
                  </a:cubicBezTo>
                  <a:cubicBezTo>
                    <a:pt x="4" y="8"/>
                    <a:pt x="4" y="9"/>
                    <a:pt x="2" y="11"/>
                  </a:cubicBezTo>
                  <a:cubicBezTo>
                    <a:pt x="1" y="13"/>
                    <a:pt x="1" y="13"/>
                    <a:pt x="1" y="14"/>
                  </a:cubicBezTo>
                  <a:cubicBezTo>
                    <a:pt x="1" y="16"/>
                    <a:pt x="0" y="17"/>
                    <a:pt x="1" y="19"/>
                  </a:cubicBezTo>
                  <a:cubicBezTo>
                    <a:pt x="2" y="17"/>
                    <a:pt x="3" y="13"/>
                    <a:pt x="5" y="11"/>
                  </a:cubicBezTo>
                  <a:cubicBezTo>
                    <a:pt x="6" y="10"/>
                    <a:pt x="7" y="10"/>
                    <a:pt x="8" y="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62" name="Freeform 2215">
              <a:extLst>
                <a:ext uri="{FF2B5EF4-FFF2-40B4-BE49-F238E27FC236}">
                  <a16:creationId xmlns:a16="http://schemas.microsoft.com/office/drawing/2014/main" id="{6E2794C1-8035-406C-A3F0-04F57144E178}"/>
                </a:ext>
              </a:extLst>
            </p:cNvPr>
            <p:cNvSpPr>
              <a:spLocks/>
            </p:cNvSpPr>
            <p:nvPr/>
          </p:nvSpPr>
          <p:spPr bwMode="auto">
            <a:xfrm>
              <a:off x="6521" y="2471"/>
              <a:ext cx="24" cy="21"/>
            </a:xfrm>
            <a:custGeom>
              <a:avLst/>
              <a:gdLst>
                <a:gd name="T0" fmla="*/ 2 w 10"/>
                <a:gd name="T1" fmla="*/ 7 h 9"/>
                <a:gd name="T2" fmla="*/ 5 w 10"/>
                <a:gd name="T3" fmla="*/ 4 h 9"/>
                <a:gd name="T4" fmla="*/ 6 w 10"/>
                <a:gd name="T5" fmla="*/ 6 h 9"/>
                <a:gd name="T6" fmla="*/ 7 w 10"/>
                <a:gd name="T7" fmla="*/ 7 h 9"/>
                <a:gd name="T8" fmla="*/ 8 w 10"/>
                <a:gd name="T9" fmla="*/ 7 h 9"/>
                <a:gd name="T10" fmla="*/ 10 w 10"/>
                <a:gd name="T11" fmla="*/ 9 h 9"/>
                <a:gd name="T12" fmla="*/ 8 w 10"/>
                <a:gd name="T13" fmla="*/ 4 h 9"/>
                <a:gd name="T14" fmla="*/ 7 w 10"/>
                <a:gd name="T15" fmla="*/ 3 h 9"/>
                <a:gd name="T16" fmla="*/ 2 w 10"/>
                <a:gd name="T17" fmla="*/ 0 h 9"/>
                <a:gd name="T18" fmla="*/ 2 w 10"/>
                <a:gd name="T19" fmla="*/ 2 h 9"/>
                <a:gd name="T20" fmla="*/ 1 w 10"/>
                <a:gd name="T21" fmla="*/ 4 h 9"/>
                <a:gd name="T22" fmla="*/ 2 w 10"/>
                <a:gd name="T23" fmla="*/ 4 h 9"/>
                <a:gd name="T24" fmla="*/ 2 w 10"/>
                <a:gd name="T25" fmla="*/ 4 h 9"/>
                <a:gd name="T26" fmla="*/ 2 w 10"/>
                <a:gd name="T27" fmla="*/ 5 h 9"/>
                <a:gd name="T28" fmla="*/ 2 w 10"/>
                <a:gd name="T29"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9">
                  <a:moveTo>
                    <a:pt x="2" y="7"/>
                  </a:moveTo>
                  <a:cubicBezTo>
                    <a:pt x="3" y="6"/>
                    <a:pt x="4" y="3"/>
                    <a:pt x="5" y="4"/>
                  </a:cubicBezTo>
                  <a:cubicBezTo>
                    <a:pt x="5" y="5"/>
                    <a:pt x="6" y="6"/>
                    <a:pt x="6" y="6"/>
                  </a:cubicBezTo>
                  <a:cubicBezTo>
                    <a:pt x="6" y="6"/>
                    <a:pt x="7" y="7"/>
                    <a:pt x="7" y="7"/>
                  </a:cubicBezTo>
                  <a:cubicBezTo>
                    <a:pt x="7" y="7"/>
                    <a:pt x="8" y="7"/>
                    <a:pt x="8" y="7"/>
                  </a:cubicBezTo>
                  <a:cubicBezTo>
                    <a:pt x="9" y="8"/>
                    <a:pt x="10" y="8"/>
                    <a:pt x="10" y="9"/>
                  </a:cubicBezTo>
                  <a:cubicBezTo>
                    <a:pt x="10" y="8"/>
                    <a:pt x="9" y="5"/>
                    <a:pt x="8" y="4"/>
                  </a:cubicBezTo>
                  <a:cubicBezTo>
                    <a:pt x="8" y="4"/>
                    <a:pt x="7" y="4"/>
                    <a:pt x="7" y="3"/>
                  </a:cubicBezTo>
                  <a:cubicBezTo>
                    <a:pt x="5" y="2"/>
                    <a:pt x="4" y="1"/>
                    <a:pt x="2" y="0"/>
                  </a:cubicBezTo>
                  <a:cubicBezTo>
                    <a:pt x="2" y="1"/>
                    <a:pt x="2" y="2"/>
                    <a:pt x="2" y="2"/>
                  </a:cubicBezTo>
                  <a:cubicBezTo>
                    <a:pt x="2" y="3"/>
                    <a:pt x="1" y="3"/>
                    <a:pt x="1" y="4"/>
                  </a:cubicBezTo>
                  <a:cubicBezTo>
                    <a:pt x="2" y="4"/>
                    <a:pt x="2" y="4"/>
                    <a:pt x="2" y="4"/>
                  </a:cubicBezTo>
                  <a:cubicBezTo>
                    <a:pt x="2" y="4"/>
                    <a:pt x="2" y="4"/>
                    <a:pt x="2" y="4"/>
                  </a:cubicBezTo>
                  <a:cubicBezTo>
                    <a:pt x="2" y="4"/>
                    <a:pt x="2" y="4"/>
                    <a:pt x="2" y="5"/>
                  </a:cubicBezTo>
                  <a:cubicBezTo>
                    <a:pt x="2" y="5"/>
                    <a:pt x="0" y="8"/>
                    <a:pt x="2" y="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63" name="Freeform 2216">
              <a:extLst>
                <a:ext uri="{FF2B5EF4-FFF2-40B4-BE49-F238E27FC236}">
                  <a16:creationId xmlns:a16="http://schemas.microsoft.com/office/drawing/2014/main" id="{8C37DECE-8F03-4218-8A39-94B03A3F8D9C}"/>
                </a:ext>
              </a:extLst>
            </p:cNvPr>
            <p:cNvSpPr>
              <a:spLocks/>
            </p:cNvSpPr>
            <p:nvPr/>
          </p:nvSpPr>
          <p:spPr bwMode="auto">
            <a:xfrm>
              <a:off x="6445" y="2485"/>
              <a:ext cx="3" cy="10"/>
            </a:xfrm>
            <a:custGeom>
              <a:avLst/>
              <a:gdLst>
                <a:gd name="T0" fmla="*/ 0 w 1"/>
                <a:gd name="T1" fmla="*/ 0 h 4"/>
                <a:gd name="T2" fmla="*/ 0 w 1"/>
                <a:gd name="T3" fmla="*/ 4 h 4"/>
                <a:gd name="T4" fmla="*/ 1 w 1"/>
                <a:gd name="T5" fmla="*/ 2 h 4"/>
                <a:gd name="T6" fmla="*/ 1 w 1"/>
                <a:gd name="T7" fmla="*/ 2 h 4"/>
                <a:gd name="T8" fmla="*/ 1 w 1"/>
                <a:gd name="T9" fmla="*/ 1 h 4"/>
                <a:gd name="T10" fmla="*/ 1 w 1"/>
                <a:gd name="T11" fmla="*/ 1 h 4"/>
                <a:gd name="T12" fmla="*/ 0 w 1"/>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 h="4">
                  <a:moveTo>
                    <a:pt x="0" y="0"/>
                  </a:moveTo>
                  <a:cubicBezTo>
                    <a:pt x="0" y="2"/>
                    <a:pt x="0" y="3"/>
                    <a:pt x="0" y="4"/>
                  </a:cubicBezTo>
                  <a:cubicBezTo>
                    <a:pt x="1" y="3"/>
                    <a:pt x="1" y="3"/>
                    <a:pt x="1" y="2"/>
                  </a:cubicBezTo>
                  <a:cubicBezTo>
                    <a:pt x="1" y="2"/>
                    <a:pt x="1" y="2"/>
                    <a:pt x="1" y="2"/>
                  </a:cubicBezTo>
                  <a:cubicBezTo>
                    <a:pt x="1" y="2"/>
                    <a:pt x="1" y="1"/>
                    <a:pt x="1" y="1"/>
                  </a:cubicBezTo>
                  <a:cubicBezTo>
                    <a:pt x="1" y="1"/>
                    <a:pt x="1" y="1"/>
                    <a:pt x="1" y="1"/>
                  </a:cubicBezTo>
                  <a:cubicBezTo>
                    <a:pt x="0" y="1"/>
                    <a:pt x="0"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64" name="Freeform 2217">
              <a:extLst>
                <a:ext uri="{FF2B5EF4-FFF2-40B4-BE49-F238E27FC236}">
                  <a16:creationId xmlns:a16="http://schemas.microsoft.com/office/drawing/2014/main" id="{441EC93E-9BE9-4A34-B68B-90FF7306A5EC}"/>
                </a:ext>
              </a:extLst>
            </p:cNvPr>
            <p:cNvSpPr>
              <a:spLocks/>
            </p:cNvSpPr>
            <p:nvPr/>
          </p:nvSpPr>
          <p:spPr bwMode="auto">
            <a:xfrm>
              <a:off x="6561" y="2554"/>
              <a:ext cx="3" cy="2"/>
            </a:xfrm>
            <a:custGeom>
              <a:avLst/>
              <a:gdLst>
                <a:gd name="T0" fmla="*/ 0 w 1"/>
                <a:gd name="T1" fmla="*/ 1 h 1"/>
                <a:gd name="T2" fmla="*/ 0 w 1"/>
                <a:gd name="T3" fmla="*/ 0 h 1"/>
                <a:gd name="T4" fmla="*/ 0 w 1"/>
                <a:gd name="T5" fmla="*/ 1 h 1"/>
              </a:gdLst>
              <a:ahLst/>
              <a:cxnLst>
                <a:cxn ang="0">
                  <a:pos x="T0" y="T1"/>
                </a:cxn>
                <a:cxn ang="0">
                  <a:pos x="T2" y="T3"/>
                </a:cxn>
                <a:cxn ang="0">
                  <a:pos x="T4" y="T5"/>
                </a:cxn>
              </a:cxnLst>
              <a:rect l="0" t="0" r="r" b="b"/>
              <a:pathLst>
                <a:path w="1" h="1">
                  <a:moveTo>
                    <a:pt x="0" y="1"/>
                  </a:moveTo>
                  <a:cubicBezTo>
                    <a:pt x="1" y="1"/>
                    <a:pt x="1" y="0"/>
                    <a:pt x="0" y="0"/>
                  </a:cubicBezTo>
                  <a:cubicBezTo>
                    <a:pt x="0" y="0"/>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65" name="Freeform 2218">
              <a:extLst>
                <a:ext uri="{FF2B5EF4-FFF2-40B4-BE49-F238E27FC236}">
                  <a16:creationId xmlns:a16="http://schemas.microsoft.com/office/drawing/2014/main" id="{663378E6-B293-466F-A297-AA79212EA17C}"/>
                </a:ext>
              </a:extLst>
            </p:cNvPr>
            <p:cNvSpPr>
              <a:spLocks/>
            </p:cNvSpPr>
            <p:nvPr/>
          </p:nvSpPr>
          <p:spPr bwMode="auto">
            <a:xfrm>
              <a:off x="6502" y="2511"/>
              <a:ext cx="31" cy="48"/>
            </a:xfrm>
            <a:custGeom>
              <a:avLst/>
              <a:gdLst>
                <a:gd name="T0" fmla="*/ 4 w 13"/>
                <a:gd name="T1" fmla="*/ 8 h 20"/>
                <a:gd name="T2" fmla="*/ 3 w 13"/>
                <a:gd name="T3" fmla="*/ 10 h 20"/>
                <a:gd name="T4" fmla="*/ 2 w 13"/>
                <a:gd name="T5" fmla="*/ 10 h 20"/>
                <a:gd name="T6" fmla="*/ 2 w 13"/>
                <a:gd name="T7" fmla="*/ 10 h 20"/>
                <a:gd name="T8" fmla="*/ 3 w 13"/>
                <a:gd name="T9" fmla="*/ 16 h 20"/>
                <a:gd name="T10" fmla="*/ 5 w 13"/>
                <a:gd name="T11" fmla="*/ 17 h 20"/>
                <a:gd name="T12" fmla="*/ 6 w 13"/>
                <a:gd name="T13" fmla="*/ 18 h 20"/>
                <a:gd name="T14" fmla="*/ 8 w 13"/>
                <a:gd name="T15" fmla="*/ 20 h 20"/>
                <a:gd name="T16" fmla="*/ 9 w 13"/>
                <a:gd name="T17" fmla="*/ 15 h 20"/>
                <a:gd name="T18" fmla="*/ 10 w 13"/>
                <a:gd name="T19" fmla="*/ 8 h 20"/>
                <a:gd name="T20" fmla="*/ 13 w 13"/>
                <a:gd name="T21" fmla="*/ 1 h 20"/>
                <a:gd name="T22" fmla="*/ 12 w 13"/>
                <a:gd name="T23" fmla="*/ 1 h 20"/>
                <a:gd name="T24" fmla="*/ 11 w 13"/>
                <a:gd name="T25" fmla="*/ 0 h 20"/>
                <a:gd name="T26" fmla="*/ 9 w 13"/>
                <a:gd name="T27" fmla="*/ 0 h 20"/>
                <a:gd name="T28" fmla="*/ 4 w 13"/>
                <a:gd name="T29"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20">
                  <a:moveTo>
                    <a:pt x="4" y="8"/>
                  </a:moveTo>
                  <a:cubicBezTo>
                    <a:pt x="4" y="9"/>
                    <a:pt x="3" y="10"/>
                    <a:pt x="3" y="10"/>
                  </a:cubicBezTo>
                  <a:cubicBezTo>
                    <a:pt x="3" y="10"/>
                    <a:pt x="3" y="10"/>
                    <a:pt x="2" y="10"/>
                  </a:cubicBezTo>
                  <a:cubicBezTo>
                    <a:pt x="2" y="10"/>
                    <a:pt x="2" y="10"/>
                    <a:pt x="2" y="10"/>
                  </a:cubicBezTo>
                  <a:cubicBezTo>
                    <a:pt x="0" y="12"/>
                    <a:pt x="3" y="15"/>
                    <a:pt x="3" y="16"/>
                  </a:cubicBezTo>
                  <a:cubicBezTo>
                    <a:pt x="4" y="16"/>
                    <a:pt x="5" y="16"/>
                    <a:pt x="5" y="17"/>
                  </a:cubicBezTo>
                  <a:cubicBezTo>
                    <a:pt x="6" y="17"/>
                    <a:pt x="6" y="17"/>
                    <a:pt x="6" y="18"/>
                  </a:cubicBezTo>
                  <a:cubicBezTo>
                    <a:pt x="6" y="19"/>
                    <a:pt x="6" y="20"/>
                    <a:pt x="8" y="20"/>
                  </a:cubicBezTo>
                  <a:cubicBezTo>
                    <a:pt x="11" y="20"/>
                    <a:pt x="9" y="16"/>
                    <a:pt x="9" y="15"/>
                  </a:cubicBezTo>
                  <a:cubicBezTo>
                    <a:pt x="8" y="13"/>
                    <a:pt x="10" y="10"/>
                    <a:pt x="10" y="8"/>
                  </a:cubicBezTo>
                  <a:cubicBezTo>
                    <a:pt x="11" y="6"/>
                    <a:pt x="12" y="3"/>
                    <a:pt x="13" y="1"/>
                  </a:cubicBezTo>
                  <a:cubicBezTo>
                    <a:pt x="12" y="1"/>
                    <a:pt x="13" y="1"/>
                    <a:pt x="12" y="1"/>
                  </a:cubicBezTo>
                  <a:cubicBezTo>
                    <a:pt x="12" y="0"/>
                    <a:pt x="12" y="0"/>
                    <a:pt x="11" y="0"/>
                  </a:cubicBezTo>
                  <a:cubicBezTo>
                    <a:pt x="10" y="0"/>
                    <a:pt x="10" y="0"/>
                    <a:pt x="9" y="0"/>
                  </a:cubicBezTo>
                  <a:cubicBezTo>
                    <a:pt x="6" y="1"/>
                    <a:pt x="5" y="5"/>
                    <a:pt x="4" y="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66" name="Freeform 2219">
              <a:extLst>
                <a:ext uri="{FF2B5EF4-FFF2-40B4-BE49-F238E27FC236}">
                  <a16:creationId xmlns:a16="http://schemas.microsoft.com/office/drawing/2014/main" id="{C919D601-F816-41DD-85C3-D84E0EF82E06}"/>
                </a:ext>
              </a:extLst>
            </p:cNvPr>
            <p:cNvSpPr>
              <a:spLocks/>
            </p:cNvSpPr>
            <p:nvPr/>
          </p:nvSpPr>
          <p:spPr bwMode="auto">
            <a:xfrm>
              <a:off x="6490" y="2540"/>
              <a:ext cx="116" cy="104"/>
            </a:xfrm>
            <a:custGeom>
              <a:avLst/>
              <a:gdLst>
                <a:gd name="T0" fmla="*/ 38 w 49"/>
                <a:gd name="T1" fmla="*/ 6 h 44"/>
                <a:gd name="T2" fmla="*/ 35 w 49"/>
                <a:gd name="T3" fmla="*/ 7 h 44"/>
                <a:gd name="T4" fmla="*/ 31 w 49"/>
                <a:gd name="T5" fmla="*/ 8 h 44"/>
                <a:gd name="T6" fmla="*/ 27 w 49"/>
                <a:gd name="T7" fmla="*/ 12 h 44"/>
                <a:gd name="T8" fmla="*/ 19 w 49"/>
                <a:gd name="T9" fmla="*/ 18 h 44"/>
                <a:gd name="T10" fmla="*/ 20 w 49"/>
                <a:gd name="T11" fmla="*/ 13 h 44"/>
                <a:gd name="T12" fmla="*/ 16 w 49"/>
                <a:gd name="T13" fmla="*/ 11 h 44"/>
                <a:gd name="T14" fmla="*/ 12 w 49"/>
                <a:gd name="T15" fmla="*/ 15 h 44"/>
                <a:gd name="T16" fmla="*/ 10 w 49"/>
                <a:gd name="T17" fmla="*/ 17 h 44"/>
                <a:gd name="T18" fmla="*/ 3 w 49"/>
                <a:gd name="T19" fmla="*/ 23 h 44"/>
                <a:gd name="T20" fmla="*/ 2 w 49"/>
                <a:gd name="T21" fmla="*/ 29 h 44"/>
                <a:gd name="T22" fmla="*/ 5 w 49"/>
                <a:gd name="T23" fmla="*/ 28 h 44"/>
                <a:gd name="T24" fmla="*/ 7 w 49"/>
                <a:gd name="T25" fmla="*/ 23 h 44"/>
                <a:gd name="T26" fmla="*/ 10 w 49"/>
                <a:gd name="T27" fmla="*/ 22 h 44"/>
                <a:gd name="T28" fmla="*/ 13 w 49"/>
                <a:gd name="T29" fmla="*/ 22 h 44"/>
                <a:gd name="T30" fmla="*/ 13 w 49"/>
                <a:gd name="T31" fmla="*/ 24 h 44"/>
                <a:gd name="T32" fmla="*/ 16 w 49"/>
                <a:gd name="T33" fmla="*/ 25 h 44"/>
                <a:gd name="T34" fmla="*/ 24 w 49"/>
                <a:gd name="T35" fmla="*/ 24 h 44"/>
                <a:gd name="T36" fmla="*/ 23 w 49"/>
                <a:gd name="T37" fmla="*/ 28 h 44"/>
                <a:gd name="T38" fmla="*/ 23 w 49"/>
                <a:gd name="T39" fmla="*/ 35 h 44"/>
                <a:gd name="T40" fmla="*/ 34 w 49"/>
                <a:gd name="T41" fmla="*/ 40 h 44"/>
                <a:gd name="T42" fmla="*/ 35 w 49"/>
                <a:gd name="T43" fmla="*/ 43 h 44"/>
                <a:gd name="T44" fmla="*/ 39 w 49"/>
                <a:gd name="T45" fmla="*/ 40 h 44"/>
                <a:gd name="T46" fmla="*/ 37 w 49"/>
                <a:gd name="T47" fmla="*/ 33 h 44"/>
                <a:gd name="T48" fmla="*/ 41 w 49"/>
                <a:gd name="T49" fmla="*/ 25 h 44"/>
                <a:gd name="T50" fmla="*/ 44 w 49"/>
                <a:gd name="T51" fmla="*/ 30 h 44"/>
                <a:gd name="T52" fmla="*/ 45 w 49"/>
                <a:gd name="T53" fmla="*/ 36 h 44"/>
                <a:gd name="T54" fmla="*/ 45 w 49"/>
                <a:gd name="T55" fmla="*/ 30 h 44"/>
                <a:gd name="T56" fmla="*/ 47 w 49"/>
                <a:gd name="T57" fmla="*/ 30 h 44"/>
                <a:gd name="T58" fmla="*/ 49 w 49"/>
                <a:gd name="T59" fmla="*/ 26 h 44"/>
                <a:gd name="T60" fmla="*/ 47 w 49"/>
                <a:gd name="T61" fmla="*/ 19 h 44"/>
                <a:gd name="T62" fmla="*/ 47 w 49"/>
                <a:gd name="T63" fmla="*/ 14 h 44"/>
                <a:gd name="T64" fmla="*/ 46 w 49"/>
                <a:gd name="T65" fmla="*/ 11 h 44"/>
                <a:gd name="T66" fmla="*/ 42 w 49"/>
                <a:gd name="T67"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44">
                  <a:moveTo>
                    <a:pt x="37" y="0"/>
                  </a:moveTo>
                  <a:cubicBezTo>
                    <a:pt x="37" y="2"/>
                    <a:pt x="38" y="4"/>
                    <a:pt x="38" y="6"/>
                  </a:cubicBezTo>
                  <a:cubicBezTo>
                    <a:pt x="38" y="7"/>
                    <a:pt x="38" y="8"/>
                    <a:pt x="38" y="8"/>
                  </a:cubicBezTo>
                  <a:cubicBezTo>
                    <a:pt x="37" y="8"/>
                    <a:pt x="36" y="8"/>
                    <a:pt x="35" y="7"/>
                  </a:cubicBezTo>
                  <a:cubicBezTo>
                    <a:pt x="34" y="9"/>
                    <a:pt x="35" y="10"/>
                    <a:pt x="33" y="9"/>
                  </a:cubicBezTo>
                  <a:cubicBezTo>
                    <a:pt x="32" y="9"/>
                    <a:pt x="32" y="8"/>
                    <a:pt x="31" y="8"/>
                  </a:cubicBezTo>
                  <a:cubicBezTo>
                    <a:pt x="30" y="8"/>
                    <a:pt x="30" y="12"/>
                    <a:pt x="30" y="13"/>
                  </a:cubicBezTo>
                  <a:cubicBezTo>
                    <a:pt x="29" y="13"/>
                    <a:pt x="27" y="12"/>
                    <a:pt x="27" y="12"/>
                  </a:cubicBezTo>
                  <a:cubicBezTo>
                    <a:pt x="26" y="14"/>
                    <a:pt x="25" y="15"/>
                    <a:pt x="24" y="16"/>
                  </a:cubicBezTo>
                  <a:cubicBezTo>
                    <a:pt x="23" y="16"/>
                    <a:pt x="20" y="19"/>
                    <a:pt x="19" y="18"/>
                  </a:cubicBezTo>
                  <a:cubicBezTo>
                    <a:pt x="20" y="18"/>
                    <a:pt x="21" y="17"/>
                    <a:pt x="21" y="16"/>
                  </a:cubicBezTo>
                  <a:cubicBezTo>
                    <a:pt x="21" y="15"/>
                    <a:pt x="21" y="13"/>
                    <a:pt x="20" y="13"/>
                  </a:cubicBezTo>
                  <a:cubicBezTo>
                    <a:pt x="20" y="12"/>
                    <a:pt x="20" y="12"/>
                    <a:pt x="19" y="12"/>
                  </a:cubicBezTo>
                  <a:cubicBezTo>
                    <a:pt x="18" y="12"/>
                    <a:pt x="17" y="12"/>
                    <a:pt x="16" y="11"/>
                  </a:cubicBezTo>
                  <a:cubicBezTo>
                    <a:pt x="16" y="11"/>
                    <a:pt x="16" y="11"/>
                    <a:pt x="16" y="11"/>
                  </a:cubicBezTo>
                  <a:cubicBezTo>
                    <a:pt x="14" y="12"/>
                    <a:pt x="13" y="13"/>
                    <a:pt x="12" y="15"/>
                  </a:cubicBezTo>
                  <a:cubicBezTo>
                    <a:pt x="12" y="15"/>
                    <a:pt x="11" y="17"/>
                    <a:pt x="11" y="17"/>
                  </a:cubicBezTo>
                  <a:cubicBezTo>
                    <a:pt x="11" y="17"/>
                    <a:pt x="10" y="17"/>
                    <a:pt x="10" y="17"/>
                  </a:cubicBezTo>
                  <a:cubicBezTo>
                    <a:pt x="7" y="18"/>
                    <a:pt x="5" y="18"/>
                    <a:pt x="3" y="20"/>
                  </a:cubicBezTo>
                  <a:cubicBezTo>
                    <a:pt x="3" y="21"/>
                    <a:pt x="3" y="22"/>
                    <a:pt x="3" y="23"/>
                  </a:cubicBezTo>
                  <a:cubicBezTo>
                    <a:pt x="3" y="23"/>
                    <a:pt x="3" y="23"/>
                    <a:pt x="3" y="24"/>
                  </a:cubicBezTo>
                  <a:cubicBezTo>
                    <a:pt x="2" y="25"/>
                    <a:pt x="0" y="29"/>
                    <a:pt x="2" y="29"/>
                  </a:cubicBezTo>
                  <a:cubicBezTo>
                    <a:pt x="3" y="30"/>
                    <a:pt x="3" y="30"/>
                    <a:pt x="4" y="29"/>
                  </a:cubicBezTo>
                  <a:cubicBezTo>
                    <a:pt x="4" y="28"/>
                    <a:pt x="5" y="28"/>
                    <a:pt x="5" y="28"/>
                  </a:cubicBezTo>
                  <a:cubicBezTo>
                    <a:pt x="5" y="27"/>
                    <a:pt x="5" y="25"/>
                    <a:pt x="6" y="25"/>
                  </a:cubicBezTo>
                  <a:cubicBezTo>
                    <a:pt x="5" y="24"/>
                    <a:pt x="7" y="23"/>
                    <a:pt x="7" y="23"/>
                  </a:cubicBezTo>
                  <a:cubicBezTo>
                    <a:pt x="7" y="23"/>
                    <a:pt x="7" y="23"/>
                    <a:pt x="6" y="23"/>
                  </a:cubicBezTo>
                  <a:cubicBezTo>
                    <a:pt x="7" y="22"/>
                    <a:pt x="9" y="20"/>
                    <a:pt x="10" y="22"/>
                  </a:cubicBezTo>
                  <a:cubicBezTo>
                    <a:pt x="11" y="23"/>
                    <a:pt x="10" y="24"/>
                    <a:pt x="10" y="24"/>
                  </a:cubicBezTo>
                  <a:cubicBezTo>
                    <a:pt x="11" y="24"/>
                    <a:pt x="12" y="22"/>
                    <a:pt x="13" y="22"/>
                  </a:cubicBezTo>
                  <a:cubicBezTo>
                    <a:pt x="13" y="21"/>
                    <a:pt x="14" y="22"/>
                    <a:pt x="14" y="23"/>
                  </a:cubicBezTo>
                  <a:cubicBezTo>
                    <a:pt x="14" y="23"/>
                    <a:pt x="13" y="23"/>
                    <a:pt x="13" y="24"/>
                  </a:cubicBezTo>
                  <a:cubicBezTo>
                    <a:pt x="14" y="24"/>
                    <a:pt x="15" y="24"/>
                    <a:pt x="15" y="24"/>
                  </a:cubicBezTo>
                  <a:cubicBezTo>
                    <a:pt x="15" y="24"/>
                    <a:pt x="16" y="25"/>
                    <a:pt x="16" y="25"/>
                  </a:cubicBezTo>
                  <a:cubicBezTo>
                    <a:pt x="16" y="24"/>
                    <a:pt x="15" y="22"/>
                    <a:pt x="17" y="21"/>
                  </a:cubicBezTo>
                  <a:cubicBezTo>
                    <a:pt x="19" y="19"/>
                    <a:pt x="22" y="23"/>
                    <a:pt x="24" y="24"/>
                  </a:cubicBezTo>
                  <a:cubicBezTo>
                    <a:pt x="25" y="25"/>
                    <a:pt x="25" y="25"/>
                    <a:pt x="24" y="26"/>
                  </a:cubicBezTo>
                  <a:cubicBezTo>
                    <a:pt x="24" y="27"/>
                    <a:pt x="23" y="27"/>
                    <a:pt x="23" y="28"/>
                  </a:cubicBezTo>
                  <a:cubicBezTo>
                    <a:pt x="22" y="29"/>
                    <a:pt x="23" y="31"/>
                    <a:pt x="23" y="33"/>
                  </a:cubicBezTo>
                  <a:cubicBezTo>
                    <a:pt x="23" y="34"/>
                    <a:pt x="22" y="34"/>
                    <a:pt x="23" y="35"/>
                  </a:cubicBezTo>
                  <a:cubicBezTo>
                    <a:pt x="25" y="37"/>
                    <a:pt x="28" y="38"/>
                    <a:pt x="31" y="40"/>
                  </a:cubicBezTo>
                  <a:cubicBezTo>
                    <a:pt x="32" y="40"/>
                    <a:pt x="33" y="41"/>
                    <a:pt x="34" y="40"/>
                  </a:cubicBezTo>
                  <a:cubicBezTo>
                    <a:pt x="34" y="39"/>
                    <a:pt x="34" y="38"/>
                    <a:pt x="35" y="38"/>
                  </a:cubicBezTo>
                  <a:cubicBezTo>
                    <a:pt x="35" y="40"/>
                    <a:pt x="34" y="41"/>
                    <a:pt x="35" y="43"/>
                  </a:cubicBezTo>
                  <a:cubicBezTo>
                    <a:pt x="36" y="44"/>
                    <a:pt x="37" y="43"/>
                    <a:pt x="38" y="42"/>
                  </a:cubicBezTo>
                  <a:cubicBezTo>
                    <a:pt x="38" y="42"/>
                    <a:pt x="39" y="40"/>
                    <a:pt x="39" y="40"/>
                  </a:cubicBezTo>
                  <a:cubicBezTo>
                    <a:pt x="40" y="38"/>
                    <a:pt x="39" y="35"/>
                    <a:pt x="38" y="34"/>
                  </a:cubicBezTo>
                  <a:cubicBezTo>
                    <a:pt x="38" y="33"/>
                    <a:pt x="37" y="33"/>
                    <a:pt x="37" y="33"/>
                  </a:cubicBezTo>
                  <a:cubicBezTo>
                    <a:pt x="36" y="34"/>
                    <a:pt x="37" y="31"/>
                    <a:pt x="37" y="31"/>
                  </a:cubicBezTo>
                  <a:cubicBezTo>
                    <a:pt x="38" y="30"/>
                    <a:pt x="39" y="26"/>
                    <a:pt x="41" y="25"/>
                  </a:cubicBezTo>
                  <a:cubicBezTo>
                    <a:pt x="42" y="25"/>
                    <a:pt x="42" y="27"/>
                    <a:pt x="42" y="28"/>
                  </a:cubicBezTo>
                  <a:cubicBezTo>
                    <a:pt x="43" y="30"/>
                    <a:pt x="43" y="30"/>
                    <a:pt x="44" y="30"/>
                  </a:cubicBezTo>
                  <a:cubicBezTo>
                    <a:pt x="44" y="31"/>
                    <a:pt x="43" y="33"/>
                    <a:pt x="44" y="34"/>
                  </a:cubicBezTo>
                  <a:cubicBezTo>
                    <a:pt x="44" y="35"/>
                    <a:pt x="45" y="35"/>
                    <a:pt x="45" y="36"/>
                  </a:cubicBezTo>
                  <a:cubicBezTo>
                    <a:pt x="45" y="35"/>
                    <a:pt x="45" y="33"/>
                    <a:pt x="45" y="31"/>
                  </a:cubicBezTo>
                  <a:cubicBezTo>
                    <a:pt x="45" y="31"/>
                    <a:pt x="44" y="29"/>
                    <a:pt x="45" y="30"/>
                  </a:cubicBezTo>
                  <a:cubicBezTo>
                    <a:pt x="46" y="30"/>
                    <a:pt x="46" y="30"/>
                    <a:pt x="46" y="30"/>
                  </a:cubicBezTo>
                  <a:cubicBezTo>
                    <a:pt x="46" y="30"/>
                    <a:pt x="46" y="32"/>
                    <a:pt x="47" y="30"/>
                  </a:cubicBezTo>
                  <a:cubicBezTo>
                    <a:pt x="47" y="29"/>
                    <a:pt x="47" y="29"/>
                    <a:pt x="47" y="29"/>
                  </a:cubicBezTo>
                  <a:cubicBezTo>
                    <a:pt x="48" y="28"/>
                    <a:pt x="48" y="27"/>
                    <a:pt x="49" y="26"/>
                  </a:cubicBezTo>
                  <a:cubicBezTo>
                    <a:pt x="49" y="25"/>
                    <a:pt x="49" y="24"/>
                    <a:pt x="49" y="22"/>
                  </a:cubicBezTo>
                  <a:cubicBezTo>
                    <a:pt x="49" y="21"/>
                    <a:pt x="48" y="20"/>
                    <a:pt x="47" y="19"/>
                  </a:cubicBezTo>
                  <a:cubicBezTo>
                    <a:pt x="48" y="19"/>
                    <a:pt x="47" y="17"/>
                    <a:pt x="48" y="16"/>
                  </a:cubicBezTo>
                  <a:cubicBezTo>
                    <a:pt x="45" y="17"/>
                    <a:pt x="47" y="15"/>
                    <a:pt x="47" y="14"/>
                  </a:cubicBezTo>
                  <a:cubicBezTo>
                    <a:pt x="46" y="12"/>
                    <a:pt x="45" y="13"/>
                    <a:pt x="44" y="13"/>
                  </a:cubicBezTo>
                  <a:cubicBezTo>
                    <a:pt x="43" y="12"/>
                    <a:pt x="46" y="11"/>
                    <a:pt x="46" y="11"/>
                  </a:cubicBezTo>
                  <a:cubicBezTo>
                    <a:pt x="47" y="9"/>
                    <a:pt x="45" y="7"/>
                    <a:pt x="45" y="5"/>
                  </a:cubicBezTo>
                  <a:cubicBezTo>
                    <a:pt x="43" y="6"/>
                    <a:pt x="43" y="5"/>
                    <a:pt x="42" y="4"/>
                  </a:cubicBezTo>
                  <a:cubicBezTo>
                    <a:pt x="41" y="2"/>
                    <a:pt x="39" y="1"/>
                    <a:pt x="37"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67" name="Freeform 2220">
              <a:extLst>
                <a:ext uri="{FF2B5EF4-FFF2-40B4-BE49-F238E27FC236}">
                  <a16:creationId xmlns:a16="http://schemas.microsoft.com/office/drawing/2014/main" id="{1FA80B28-4280-4A2B-9C1A-B1C20B37E682}"/>
                </a:ext>
              </a:extLst>
            </p:cNvPr>
            <p:cNvSpPr>
              <a:spLocks/>
            </p:cNvSpPr>
            <p:nvPr/>
          </p:nvSpPr>
          <p:spPr bwMode="auto">
            <a:xfrm>
              <a:off x="6504" y="2473"/>
              <a:ext cx="8" cy="5"/>
            </a:xfrm>
            <a:custGeom>
              <a:avLst/>
              <a:gdLst>
                <a:gd name="T0" fmla="*/ 2 w 3"/>
                <a:gd name="T1" fmla="*/ 0 h 2"/>
                <a:gd name="T2" fmla="*/ 0 w 3"/>
                <a:gd name="T3" fmla="*/ 1 h 2"/>
                <a:gd name="T4" fmla="*/ 3 w 3"/>
                <a:gd name="T5" fmla="*/ 2 h 2"/>
                <a:gd name="T6" fmla="*/ 2 w 3"/>
                <a:gd name="T7" fmla="*/ 0 h 2"/>
              </a:gdLst>
              <a:ahLst/>
              <a:cxnLst>
                <a:cxn ang="0">
                  <a:pos x="T0" y="T1"/>
                </a:cxn>
                <a:cxn ang="0">
                  <a:pos x="T2" y="T3"/>
                </a:cxn>
                <a:cxn ang="0">
                  <a:pos x="T4" y="T5"/>
                </a:cxn>
                <a:cxn ang="0">
                  <a:pos x="T6" y="T7"/>
                </a:cxn>
              </a:cxnLst>
              <a:rect l="0" t="0" r="r" b="b"/>
              <a:pathLst>
                <a:path w="3" h="2">
                  <a:moveTo>
                    <a:pt x="2" y="0"/>
                  </a:moveTo>
                  <a:cubicBezTo>
                    <a:pt x="2" y="0"/>
                    <a:pt x="0" y="0"/>
                    <a:pt x="0" y="1"/>
                  </a:cubicBezTo>
                  <a:cubicBezTo>
                    <a:pt x="0" y="1"/>
                    <a:pt x="2" y="2"/>
                    <a:pt x="3" y="2"/>
                  </a:cubicBezTo>
                  <a:cubicBezTo>
                    <a:pt x="3" y="1"/>
                    <a:pt x="3" y="1"/>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68" name="Freeform 2221">
              <a:extLst>
                <a:ext uri="{FF2B5EF4-FFF2-40B4-BE49-F238E27FC236}">
                  <a16:creationId xmlns:a16="http://schemas.microsoft.com/office/drawing/2014/main" id="{B59464CF-D243-4BC5-ACA6-E8200A75A5A4}"/>
                </a:ext>
              </a:extLst>
            </p:cNvPr>
            <p:cNvSpPr>
              <a:spLocks/>
            </p:cNvSpPr>
            <p:nvPr/>
          </p:nvSpPr>
          <p:spPr bwMode="auto">
            <a:xfrm>
              <a:off x="6488" y="2410"/>
              <a:ext cx="9" cy="11"/>
            </a:xfrm>
            <a:custGeom>
              <a:avLst/>
              <a:gdLst>
                <a:gd name="T0" fmla="*/ 2 w 4"/>
                <a:gd name="T1" fmla="*/ 0 h 5"/>
                <a:gd name="T2" fmla="*/ 2 w 4"/>
                <a:gd name="T3" fmla="*/ 5 h 5"/>
                <a:gd name="T4" fmla="*/ 3 w 4"/>
                <a:gd name="T5" fmla="*/ 2 h 5"/>
                <a:gd name="T6" fmla="*/ 3 w 4"/>
                <a:gd name="T7" fmla="*/ 1 h 5"/>
                <a:gd name="T8" fmla="*/ 2 w 4"/>
                <a:gd name="T9" fmla="*/ 0 h 5"/>
              </a:gdLst>
              <a:ahLst/>
              <a:cxnLst>
                <a:cxn ang="0">
                  <a:pos x="T0" y="T1"/>
                </a:cxn>
                <a:cxn ang="0">
                  <a:pos x="T2" y="T3"/>
                </a:cxn>
                <a:cxn ang="0">
                  <a:pos x="T4" y="T5"/>
                </a:cxn>
                <a:cxn ang="0">
                  <a:pos x="T6" y="T7"/>
                </a:cxn>
                <a:cxn ang="0">
                  <a:pos x="T8" y="T9"/>
                </a:cxn>
              </a:cxnLst>
              <a:rect l="0" t="0" r="r" b="b"/>
              <a:pathLst>
                <a:path w="4" h="5">
                  <a:moveTo>
                    <a:pt x="2" y="0"/>
                  </a:moveTo>
                  <a:cubicBezTo>
                    <a:pt x="0" y="1"/>
                    <a:pt x="2" y="4"/>
                    <a:pt x="2" y="5"/>
                  </a:cubicBezTo>
                  <a:cubicBezTo>
                    <a:pt x="4" y="4"/>
                    <a:pt x="3" y="4"/>
                    <a:pt x="3" y="2"/>
                  </a:cubicBezTo>
                  <a:cubicBezTo>
                    <a:pt x="3" y="2"/>
                    <a:pt x="3" y="2"/>
                    <a:pt x="3" y="1"/>
                  </a:cubicBezTo>
                  <a:cubicBezTo>
                    <a:pt x="3" y="1"/>
                    <a:pt x="4" y="0"/>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69" name="Freeform 2222">
              <a:extLst>
                <a:ext uri="{FF2B5EF4-FFF2-40B4-BE49-F238E27FC236}">
                  <a16:creationId xmlns:a16="http://schemas.microsoft.com/office/drawing/2014/main" id="{CFA386C6-F293-418B-9896-345CD49AC941}"/>
                </a:ext>
              </a:extLst>
            </p:cNvPr>
            <p:cNvSpPr>
              <a:spLocks/>
            </p:cNvSpPr>
            <p:nvPr/>
          </p:nvSpPr>
          <p:spPr bwMode="auto">
            <a:xfrm>
              <a:off x="6434" y="2658"/>
              <a:ext cx="0" cy="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70" name="Freeform 2223">
              <a:extLst>
                <a:ext uri="{FF2B5EF4-FFF2-40B4-BE49-F238E27FC236}">
                  <a16:creationId xmlns:a16="http://schemas.microsoft.com/office/drawing/2014/main" id="{75068C1F-31E8-4829-A395-B3AE6C07B571}"/>
                </a:ext>
              </a:extLst>
            </p:cNvPr>
            <p:cNvSpPr>
              <a:spLocks/>
            </p:cNvSpPr>
            <p:nvPr/>
          </p:nvSpPr>
          <p:spPr bwMode="auto">
            <a:xfrm>
              <a:off x="6507" y="2516"/>
              <a:ext cx="5" cy="9"/>
            </a:xfrm>
            <a:custGeom>
              <a:avLst/>
              <a:gdLst>
                <a:gd name="T0" fmla="*/ 1 w 2"/>
                <a:gd name="T1" fmla="*/ 4 h 4"/>
                <a:gd name="T2" fmla="*/ 2 w 2"/>
                <a:gd name="T3" fmla="*/ 0 h 4"/>
                <a:gd name="T4" fmla="*/ 0 w 2"/>
                <a:gd name="T5" fmla="*/ 2 h 4"/>
                <a:gd name="T6" fmla="*/ 1 w 2"/>
                <a:gd name="T7" fmla="*/ 4 h 4"/>
              </a:gdLst>
              <a:ahLst/>
              <a:cxnLst>
                <a:cxn ang="0">
                  <a:pos x="T0" y="T1"/>
                </a:cxn>
                <a:cxn ang="0">
                  <a:pos x="T2" y="T3"/>
                </a:cxn>
                <a:cxn ang="0">
                  <a:pos x="T4" y="T5"/>
                </a:cxn>
                <a:cxn ang="0">
                  <a:pos x="T6" y="T7"/>
                </a:cxn>
              </a:cxnLst>
              <a:rect l="0" t="0" r="r" b="b"/>
              <a:pathLst>
                <a:path w="2" h="4">
                  <a:moveTo>
                    <a:pt x="1" y="4"/>
                  </a:moveTo>
                  <a:cubicBezTo>
                    <a:pt x="1" y="2"/>
                    <a:pt x="2" y="2"/>
                    <a:pt x="2" y="0"/>
                  </a:cubicBezTo>
                  <a:cubicBezTo>
                    <a:pt x="1" y="1"/>
                    <a:pt x="0" y="2"/>
                    <a:pt x="0" y="2"/>
                  </a:cubicBezTo>
                  <a:cubicBezTo>
                    <a:pt x="0" y="3"/>
                    <a:pt x="0" y="3"/>
                    <a:pt x="1"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71" name="Freeform 2224">
              <a:extLst>
                <a:ext uri="{FF2B5EF4-FFF2-40B4-BE49-F238E27FC236}">
                  <a16:creationId xmlns:a16="http://schemas.microsoft.com/office/drawing/2014/main" id="{DFE85AF8-E0BD-4DC5-A164-DEA0A953D73B}"/>
                </a:ext>
              </a:extLst>
            </p:cNvPr>
            <p:cNvSpPr>
              <a:spLocks/>
            </p:cNvSpPr>
            <p:nvPr/>
          </p:nvSpPr>
          <p:spPr bwMode="auto">
            <a:xfrm>
              <a:off x="6590" y="2533"/>
              <a:ext cx="7" cy="9"/>
            </a:xfrm>
            <a:custGeom>
              <a:avLst/>
              <a:gdLst>
                <a:gd name="T0" fmla="*/ 1 w 3"/>
                <a:gd name="T1" fmla="*/ 4 h 4"/>
                <a:gd name="T2" fmla="*/ 3 w 3"/>
                <a:gd name="T3" fmla="*/ 3 h 4"/>
                <a:gd name="T4" fmla="*/ 1 w 3"/>
                <a:gd name="T5" fmla="*/ 0 h 4"/>
                <a:gd name="T6" fmla="*/ 1 w 3"/>
                <a:gd name="T7" fmla="*/ 4 h 4"/>
              </a:gdLst>
              <a:ahLst/>
              <a:cxnLst>
                <a:cxn ang="0">
                  <a:pos x="T0" y="T1"/>
                </a:cxn>
                <a:cxn ang="0">
                  <a:pos x="T2" y="T3"/>
                </a:cxn>
                <a:cxn ang="0">
                  <a:pos x="T4" y="T5"/>
                </a:cxn>
                <a:cxn ang="0">
                  <a:pos x="T6" y="T7"/>
                </a:cxn>
              </a:cxnLst>
              <a:rect l="0" t="0" r="r" b="b"/>
              <a:pathLst>
                <a:path w="3" h="4">
                  <a:moveTo>
                    <a:pt x="1" y="4"/>
                  </a:moveTo>
                  <a:cubicBezTo>
                    <a:pt x="2" y="3"/>
                    <a:pt x="2" y="3"/>
                    <a:pt x="3" y="3"/>
                  </a:cubicBezTo>
                  <a:cubicBezTo>
                    <a:pt x="2" y="2"/>
                    <a:pt x="2" y="1"/>
                    <a:pt x="1" y="0"/>
                  </a:cubicBezTo>
                  <a:cubicBezTo>
                    <a:pt x="1" y="2"/>
                    <a:pt x="0" y="2"/>
                    <a:pt x="1"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72" name="Freeform 2225">
              <a:extLst>
                <a:ext uri="{FF2B5EF4-FFF2-40B4-BE49-F238E27FC236}">
                  <a16:creationId xmlns:a16="http://schemas.microsoft.com/office/drawing/2014/main" id="{DEB6FCE1-2F9B-47C1-8D4F-8CF45A3F208F}"/>
                </a:ext>
              </a:extLst>
            </p:cNvPr>
            <p:cNvSpPr>
              <a:spLocks/>
            </p:cNvSpPr>
            <p:nvPr/>
          </p:nvSpPr>
          <p:spPr bwMode="auto">
            <a:xfrm>
              <a:off x="6531" y="2552"/>
              <a:ext cx="7" cy="4"/>
            </a:xfrm>
            <a:custGeom>
              <a:avLst/>
              <a:gdLst>
                <a:gd name="T0" fmla="*/ 0 w 3"/>
                <a:gd name="T1" fmla="*/ 1 h 2"/>
                <a:gd name="T2" fmla="*/ 1 w 3"/>
                <a:gd name="T3" fmla="*/ 2 h 2"/>
                <a:gd name="T4" fmla="*/ 1 w 3"/>
                <a:gd name="T5" fmla="*/ 0 h 2"/>
                <a:gd name="T6" fmla="*/ 0 w 3"/>
                <a:gd name="T7" fmla="*/ 1 h 2"/>
              </a:gdLst>
              <a:ahLst/>
              <a:cxnLst>
                <a:cxn ang="0">
                  <a:pos x="T0" y="T1"/>
                </a:cxn>
                <a:cxn ang="0">
                  <a:pos x="T2" y="T3"/>
                </a:cxn>
                <a:cxn ang="0">
                  <a:pos x="T4" y="T5"/>
                </a:cxn>
                <a:cxn ang="0">
                  <a:pos x="T6" y="T7"/>
                </a:cxn>
              </a:cxnLst>
              <a:rect l="0" t="0" r="r" b="b"/>
              <a:pathLst>
                <a:path w="3" h="2">
                  <a:moveTo>
                    <a:pt x="0" y="1"/>
                  </a:moveTo>
                  <a:cubicBezTo>
                    <a:pt x="0" y="2"/>
                    <a:pt x="1" y="2"/>
                    <a:pt x="1" y="2"/>
                  </a:cubicBezTo>
                  <a:cubicBezTo>
                    <a:pt x="3" y="2"/>
                    <a:pt x="2" y="1"/>
                    <a:pt x="1" y="0"/>
                  </a:cubicBezTo>
                  <a:cubicBezTo>
                    <a:pt x="1" y="1"/>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73" name="Freeform 2226">
              <a:extLst>
                <a:ext uri="{FF2B5EF4-FFF2-40B4-BE49-F238E27FC236}">
                  <a16:creationId xmlns:a16="http://schemas.microsoft.com/office/drawing/2014/main" id="{42C8D23F-DAB2-4A51-8091-EA80329A738C}"/>
                </a:ext>
              </a:extLst>
            </p:cNvPr>
            <p:cNvSpPr>
              <a:spLocks/>
            </p:cNvSpPr>
            <p:nvPr/>
          </p:nvSpPr>
          <p:spPr bwMode="auto">
            <a:xfrm>
              <a:off x="6372" y="2580"/>
              <a:ext cx="5" cy="7"/>
            </a:xfrm>
            <a:custGeom>
              <a:avLst/>
              <a:gdLst>
                <a:gd name="T0" fmla="*/ 2 w 2"/>
                <a:gd name="T1" fmla="*/ 1 h 3"/>
                <a:gd name="T2" fmla="*/ 1 w 2"/>
                <a:gd name="T3" fmla="*/ 3 h 3"/>
                <a:gd name="T4" fmla="*/ 2 w 2"/>
                <a:gd name="T5" fmla="*/ 1 h 3"/>
                <a:gd name="T6" fmla="*/ 2 w 2"/>
                <a:gd name="T7" fmla="*/ 1 h 3"/>
              </a:gdLst>
              <a:ahLst/>
              <a:cxnLst>
                <a:cxn ang="0">
                  <a:pos x="T0" y="T1"/>
                </a:cxn>
                <a:cxn ang="0">
                  <a:pos x="T2" y="T3"/>
                </a:cxn>
                <a:cxn ang="0">
                  <a:pos x="T4" y="T5"/>
                </a:cxn>
                <a:cxn ang="0">
                  <a:pos x="T6" y="T7"/>
                </a:cxn>
              </a:cxnLst>
              <a:rect l="0" t="0" r="r" b="b"/>
              <a:pathLst>
                <a:path w="2" h="3">
                  <a:moveTo>
                    <a:pt x="2" y="1"/>
                  </a:moveTo>
                  <a:cubicBezTo>
                    <a:pt x="0" y="0"/>
                    <a:pt x="1" y="3"/>
                    <a:pt x="1" y="3"/>
                  </a:cubicBezTo>
                  <a:cubicBezTo>
                    <a:pt x="1" y="3"/>
                    <a:pt x="2" y="2"/>
                    <a:pt x="2" y="1"/>
                  </a:cubicBezTo>
                  <a:cubicBezTo>
                    <a:pt x="2" y="1"/>
                    <a:pt x="2"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74" name="Freeform 2227">
              <a:extLst>
                <a:ext uri="{FF2B5EF4-FFF2-40B4-BE49-F238E27FC236}">
                  <a16:creationId xmlns:a16="http://schemas.microsoft.com/office/drawing/2014/main" id="{590E7C2E-9033-4BD1-88FC-9FD8E2353DEE}"/>
                </a:ext>
              </a:extLst>
            </p:cNvPr>
            <p:cNvSpPr>
              <a:spLocks/>
            </p:cNvSpPr>
            <p:nvPr/>
          </p:nvSpPr>
          <p:spPr bwMode="auto">
            <a:xfrm>
              <a:off x="6490" y="2613"/>
              <a:ext cx="14" cy="10"/>
            </a:xfrm>
            <a:custGeom>
              <a:avLst/>
              <a:gdLst>
                <a:gd name="T0" fmla="*/ 2 w 6"/>
                <a:gd name="T1" fmla="*/ 4 h 4"/>
                <a:gd name="T2" fmla="*/ 4 w 6"/>
                <a:gd name="T3" fmla="*/ 3 h 4"/>
                <a:gd name="T4" fmla="*/ 4 w 6"/>
                <a:gd name="T5" fmla="*/ 2 h 4"/>
                <a:gd name="T6" fmla="*/ 4 w 6"/>
                <a:gd name="T7" fmla="*/ 1 h 4"/>
                <a:gd name="T8" fmla="*/ 3 w 6"/>
                <a:gd name="T9" fmla="*/ 0 h 4"/>
                <a:gd name="T10" fmla="*/ 0 w 6"/>
                <a:gd name="T11" fmla="*/ 1 h 4"/>
                <a:gd name="T12" fmla="*/ 2 w 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2" y="4"/>
                  </a:moveTo>
                  <a:cubicBezTo>
                    <a:pt x="2" y="4"/>
                    <a:pt x="4" y="4"/>
                    <a:pt x="4" y="3"/>
                  </a:cubicBezTo>
                  <a:cubicBezTo>
                    <a:pt x="4" y="3"/>
                    <a:pt x="4" y="3"/>
                    <a:pt x="4" y="2"/>
                  </a:cubicBezTo>
                  <a:cubicBezTo>
                    <a:pt x="5" y="2"/>
                    <a:pt x="6" y="2"/>
                    <a:pt x="4" y="1"/>
                  </a:cubicBezTo>
                  <a:cubicBezTo>
                    <a:pt x="3" y="1"/>
                    <a:pt x="3" y="0"/>
                    <a:pt x="3" y="0"/>
                  </a:cubicBezTo>
                  <a:cubicBezTo>
                    <a:pt x="2" y="0"/>
                    <a:pt x="1" y="2"/>
                    <a:pt x="0" y="1"/>
                  </a:cubicBezTo>
                  <a:cubicBezTo>
                    <a:pt x="1" y="2"/>
                    <a:pt x="1" y="3"/>
                    <a:pt x="2"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75" name="Freeform 2228">
              <a:extLst>
                <a:ext uri="{FF2B5EF4-FFF2-40B4-BE49-F238E27FC236}">
                  <a16:creationId xmlns:a16="http://schemas.microsoft.com/office/drawing/2014/main" id="{29D0EBAC-C0F1-4099-9652-748FDA752B7F}"/>
                </a:ext>
              </a:extLst>
            </p:cNvPr>
            <p:cNvSpPr>
              <a:spLocks/>
            </p:cNvSpPr>
            <p:nvPr/>
          </p:nvSpPr>
          <p:spPr bwMode="auto">
            <a:xfrm>
              <a:off x="6583" y="2604"/>
              <a:ext cx="2" cy="7"/>
            </a:xfrm>
            <a:custGeom>
              <a:avLst/>
              <a:gdLst>
                <a:gd name="T0" fmla="*/ 1 w 1"/>
                <a:gd name="T1" fmla="*/ 3 h 3"/>
                <a:gd name="T2" fmla="*/ 1 w 1"/>
                <a:gd name="T3" fmla="*/ 0 h 3"/>
                <a:gd name="T4" fmla="*/ 1 w 1"/>
                <a:gd name="T5" fmla="*/ 3 h 3"/>
              </a:gdLst>
              <a:ahLst/>
              <a:cxnLst>
                <a:cxn ang="0">
                  <a:pos x="T0" y="T1"/>
                </a:cxn>
                <a:cxn ang="0">
                  <a:pos x="T2" y="T3"/>
                </a:cxn>
                <a:cxn ang="0">
                  <a:pos x="T4" y="T5"/>
                </a:cxn>
              </a:cxnLst>
              <a:rect l="0" t="0" r="r" b="b"/>
              <a:pathLst>
                <a:path w="1" h="3">
                  <a:moveTo>
                    <a:pt x="1" y="3"/>
                  </a:moveTo>
                  <a:cubicBezTo>
                    <a:pt x="1" y="2"/>
                    <a:pt x="1" y="1"/>
                    <a:pt x="1" y="0"/>
                  </a:cubicBezTo>
                  <a:cubicBezTo>
                    <a:pt x="0" y="1"/>
                    <a:pt x="1" y="2"/>
                    <a:pt x="1"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76" name="Freeform 2229">
              <a:extLst>
                <a:ext uri="{FF2B5EF4-FFF2-40B4-BE49-F238E27FC236}">
                  <a16:creationId xmlns:a16="http://schemas.microsoft.com/office/drawing/2014/main" id="{7E4119BC-616E-4D3C-A697-44D23C2FAE49}"/>
                </a:ext>
              </a:extLst>
            </p:cNvPr>
            <p:cNvSpPr>
              <a:spLocks/>
            </p:cNvSpPr>
            <p:nvPr/>
          </p:nvSpPr>
          <p:spPr bwMode="auto">
            <a:xfrm>
              <a:off x="6490" y="2268"/>
              <a:ext cx="3" cy="2"/>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0" y="1"/>
                  </a:cubicBezTo>
                  <a:cubicBezTo>
                    <a:pt x="0" y="1"/>
                    <a:pt x="0"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77" name="Freeform 2230">
              <a:extLst>
                <a:ext uri="{FF2B5EF4-FFF2-40B4-BE49-F238E27FC236}">
                  <a16:creationId xmlns:a16="http://schemas.microsoft.com/office/drawing/2014/main" id="{BC3C9E9F-AE04-4702-AFB1-7CD1F95EA442}"/>
                </a:ext>
              </a:extLst>
            </p:cNvPr>
            <p:cNvSpPr>
              <a:spLocks/>
            </p:cNvSpPr>
            <p:nvPr/>
          </p:nvSpPr>
          <p:spPr bwMode="auto">
            <a:xfrm>
              <a:off x="6533" y="2469"/>
              <a:ext cx="5" cy="9"/>
            </a:xfrm>
            <a:custGeom>
              <a:avLst/>
              <a:gdLst>
                <a:gd name="T0" fmla="*/ 0 w 2"/>
                <a:gd name="T1" fmla="*/ 0 h 4"/>
                <a:gd name="T2" fmla="*/ 2 w 2"/>
                <a:gd name="T3" fmla="*/ 4 h 4"/>
                <a:gd name="T4" fmla="*/ 0 w 2"/>
                <a:gd name="T5" fmla="*/ 0 h 4"/>
              </a:gdLst>
              <a:ahLst/>
              <a:cxnLst>
                <a:cxn ang="0">
                  <a:pos x="T0" y="T1"/>
                </a:cxn>
                <a:cxn ang="0">
                  <a:pos x="T2" y="T3"/>
                </a:cxn>
                <a:cxn ang="0">
                  <a:pos x="T4" y="T5"/>
                </a:cxn>
              </a:cxnLst>
              <a:rect l="0" t="0" r="r" b="b"/>
              <a:pathLst>
                <a:path w="2" h="4">
                  <a:moveTo>
                    <a:pt x="0" y="0"/>
                  </a:moveTo>
                  <a:cubicBezTo>
                    <a:pt x="0" y="1"/>
                    <a:pt x="2" y="3"/>
                    <a:pt x="2" y="4"/>
                  </a:cubicBezTo>
                  <a:cubicBezTo>
                    <a:pt x="2" y="3"/>
                    <a:pt x="1"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78" name="Freeform 2231">
              <a:extLst>
                <a:ext uri="{FF2B5EF4-FFF2-40B4-BE49-F238E27FC236}">
                  <a16:creationId xmlns:a16="http://schemas.microsoft.com/office/drawing/2014/main" id="{9671409E-D11C-4198-A930-3C956D8B2C53}"/>
                </a:ext>
              </a:extLst>
            </p:cNvPr>
            <p:cNvSpPr>
              <a:spLocks/>
            </p:cNvSpPr>
            <p:nvPr/>
          </p:nvSpPr>
          <p:spPr bwMode="auto">
            <a:xfrm>
              <a:off x="6490" y="2313"/>
              <a:ext cx="3" cy="4"/>
            </a:xfrm>
            <a:custGeom>
              <a:avLst/>
              <a:gdLst>
                <a:gd name="T0" fmla="*/ 1 w 1"/>
                <a:gd name="T1" fmla="*/ 0 h 2"/>
                <a:gd name="T2" fmla="*/ 1 w 1"/>
                <a:gd name="T3" fmla="*/ 2 h 2"/>
                <a:gd name="T4" fmla="*/ 1 w 1"/>
                <a:gd name="T5" fmla="*/ 0 h 2"/>
              </a:gdLst>
              <a:ahLst/>
              <a:cxnLst>
                <a:cxn ang="0">
                  <a:pos x="T0" y="T1"/>
                </a:cxn>
                <a:cxn ang="0">
                  <a:pos x="T2" y="T3"/>
                </a:cxn>
                <a:cxn ang="0">
                  <a:pos x="T4" y="T5"/>
                </a:cxn>
              </a:cxnLst>
              <a:rect l="0" t="0" r="r" b="b"/>
              <a:pathLst>
                <a:path w="1" h="2">
                  <a:moveTo>
                    <a:pt x="1" y="0"/>
                  </a:moveTo>
                  <a:cubicBezTo>
                    <a:pt x="0" y="0"/>
                    <a:pt x="0" y="1"/>
                    <a:pt x="1" y="2"/>
                  </a:cubicBezTo>
                  <a:cubicBezTo>
                    <a:pt x="1" y="1"/>
                    <a:pt x="1" y="1"/>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79" name="Freeform 2232">
              <a:extLst>
                <a:ext uri="{FF2B5EF4-FFF2-40B4-BE49-F238E27FC236}">
                  <a16:creationId xmlns:a16="http://schemas.microsoft.com/office/drawing/2014/main" id="{BE5826DD-0539-4AB9-84FD-5BDC087E6FDA}"/>
                </a:ext>
              </a:extLst>
            </p:cNvPr>
            <p:cNvSpPr>
              <a:spLocks/>
            </p:cNvSpPr>
            <p:nvPr/>
          </p:nvSpPr>
          <p:spPr bwMode="auto">
            <a:xfrm>
              <a:off x="6490" y="2488"/>
              <a:ext cx="33" cy="37"/>
            </a:xfrm>
            <a:custGeom>
              <a:avLst/>
              <a:gdLst>
                <a:gd name="T0" fmla="*/ 1 w 14"/>
                <a:gd name="T1" fmla="*/ 2 h 16"/>
                <a:gd name="T2" fmla="*/ 1 w 14"/>
                <a:gd name="T3" fmla="*/ 2 h 16"/>
                <a:gd name="T4" fmla="*/ 3 w 14"/>
                <a:gd name="T5" fmla="*/ 4 h 16"/>
                <a:gd name="T6" fmla="*/ 3 w 14"/>
                <a:gd name="T7" fmla="*/ 8 h 16"/>
                <a:gd name="T8" fmla="*/ 2 w 14"/>
                <a:gd name="T9" fmla="*/ 11 h 16"/>
                <a:gd name="T10" fmla="*/ 3 w 14"/>
                <a:gd name="T11" fmla="*/ 15 h 16"/>
                <a:gd name="T12" fmla="*/ 10 w 14"/>
                <a:gd name="T13" fmla="*/ 11 h 16"/>
                <a:gd name="T14" fmla="*/ 14 w 14"/>
                <a:gd name="T15" fmla="*/ 8 h 16"/>
                <a:gd name="T16" fmla="*/ 13 w 14"/>
                <a:gd name="T17" fmla="*/ 7 h 16"/>
                <a:gd name="T18" fmla="*/ 14 w 14"/>
                <a:gd name="T19" fmla="*/ 5 h 16"/>
                <a:gd name="T20" fmla="*/ 11 w 14"/>
                <a:gd name="T21" fmla="*/ 5 h 16"/>
                <a:gd name="T22" fmla="*/ 7 w 14"/>
                <a:gd name="T23" fmla="*/ 3 h 16"/>
                <a:gd name="T24" fmla="*/ 2 w 14"/>
                <a:gd name="T25" fmla="*/ 0 h 16"/>
                <a:gd name="T26" fmla="*/ 1 w 14"/>
                <a:gd name="T27"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6">
                  <a:moveTo>
                    <a:pt x="1" y="2"/>
                  </a:moveTo>
                  <a:cubicBezTo>
                    <a:pt x="1" y="2"/>
                    <a:pt x="1" y="2"/>
                    <a:pt x="1" y="2"/>
                  </a:cubicBezTo>
                  <a:cubicBezTo>
                    <a:pt x="3" y="2"/>
                    <a:pt x="3" y="3"/>
                    <a:pt x="3" y="4"/>
                  </a:cubicBezTo>
                  <a:cubicBezTo>
                    <a:pt x="3" y="5"/>
                    <a:pt x="3" y="7"/>
                    <a:pt x="3" y="8"/>
                  </a:cubicBezTo>
                  <a:cubicBezTo>
                    <a:pt x="3" y="9"/>
                    <a:pt x="2" y="10"/>
                    <a:pt x="2" y="11"/>
                  </a:cubicBezTo>
                  <a:cubicBezTo>
                    <a:pt x="2" y="12"/>
                    <a:pt x="0" y="16"/>
                    <a:pt x="3" y="15"/>
                  </a:cubicBezTo>
                  <a:cubicBezTo>
                    <a:pt x="5" y="14"/>
                    <a:pt x="8" y="13"/>
                    <a:pt x="10" y="11"/>
                  </a:cubicBezTo>
                  <a:cubicBezTo>
                    <a:pt x="11" y="10"/>
                    <a:pt x="13" y="9"/>
                    <a:pt x="14" y="8"/>
                  </a:cubicBezTo>
                  <a:cubicBezTo>
                    <a:pt x="14" y="7"/>
                    <a:pt x="13" y="7"/>
                    <a:pt x="13" y="7"/>
                  </a:cubicBezTo>
                  <a:cubicBezTo>
                    <a:pt x="13" y="6"/>
                    <a:pt x="14" y="6"/>
                    <a:pt x="14" y="5"/>
                  </a:cubicBezTo>
                  <a:cubicBezTo>
                    <a:pt x="14" y="3"/>
                    <a:pt x="12" y="4"/>
                    <a:pt x="11" y="5"/>
                  </a:cubicBezTo>
                  <a:cubicBezTo>
                    <a:pt x="10" y="4"/>
                    <a:pt x="8" y="4"/>
                    <a:pt x="7" y="3"/>
                  </a:cubicBezTo>
                  <a:cubicBezTo>
                    <a:pt x="5" y="2"/>
                    <a:pt x="4" y="1"/>
                    <a:pt x="2" y="0"/>
                  </a:cubicBezTo>
                  <a:cubicBezTo>
                    <a:pt x="1" y="0"/>
                    <a:pt x="1" y="1"/>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80" name="Freeform 2233">
              <a:extLst>
                <a:ext uri="{FF2B5EF4-FFF2-40B4-BE49-F238E27FC236}">
                  <a16:creationId xmlns:a16="http://schemas.microsoft.com/office/drawing/2014/main" id="{BF08C768-D029-4C18-8282-F7F17884CD85}"/>
                </a:ext>
              </a:extLst>
            </p:cNvPr>
            <p:cNvSpPr>
              <a:spLocks/>
            </p:cNvSpPr>
            <p:nvPr/>
          </p:nvSpPr>
          <p:spPr bwMode="auto">
            <a:xfrm>
              <a:off x="6519" y="2459"/>
              <a:ext cx="2" cy="3"/>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1" y="1"/>
                  </a:cubicBezTo>
                  <a:cubicBezTo>
                    <a:pt x="0" y="1"/>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81" name="Freeform 2234">
              <a:extLst>
                <a:ext uri="{FF2B5EF4-FFF2-40B4-BE49-F238E27FC236}">
                  <a16:creationId xmlns:a16="http://schemas.microsoft.com/office/drawing/2014/main" id="{AA6CDA3F-B2C6-47E9-8E8B-B72803F48914}"/>
                </a:ext>
              </a:extLst>
            </p:cNvPr>
            <p:cNvSpPr>
              <a:spLocks/>
            </p:cNvSpPr>
            <p:nvPr/>
          </p:nvSpPr>
          <p:spPr bwMode="auto">
            <a:xfrm>
              <a:off x="6443" y="2646"/>
              <a:ext cx="9" cy="10"/>
            </a:xfrm>
            <a:custGeom>
              <a:avLst/>
              <a:gdLst>
                <a:gd name="T0" fmla="*/ 2 w 4"/>
                <a:gd name="T1" fmla="*/ 3 h 4"/>
                <a:gd name="T2" fmla="*/ 2 w 4"/>
                <a:gd name="T3" fmla="*/ 3 h 4"/>
                <a:gd name="T4" fmla="*/ 3 w 4"/>
                <a:gd name="T5" fmla="*/ 2 h 4"/>
                <a:gd name="T6" fmla="*/ 3 w 4"/>
                <a:gd name="T7" fmla="*/ 3 h 4"/>
                <a:gd name="T8" fmla="*/ 4 w 4"/>
                <a:gd name="T9" fmla="*/ 3 h 4"/>
                <a:gd name="T10" fmla="*/ 4 w 4"/>
                <a:gd name="T11" fmla="*/ 2 h 4"/>
                <a:gd name="T12" fmla="*/ 0 w 4"/>
                <a:gd name="T13" fmla="*/ 4 h 4"/>
                <a:gd name="T14" fmla="*/ 2 w 4"/>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2" y="3"/>
                  </a:moveTo>
                  <a:cubicBezTo>
                    <a:pt x="2" y="3"/>
                    <a:pt x="2" y="3"/>
                    <a:pt x="2" y="3"/>
                  </a:cubicBezTo>
                  <a:cubicBezTo>
                    <a:pt x="2" y="2"/>
                    <a:pt x="3" y="3"/>
                    <a:pt x="3" y="2"/>
                  </a:cubicBezTo>
                  <a:cubicBezTo>
                    <a:pt x="3" y="2"/>
                    <a:pt x="3" y="2"/>
                    <a:pt x="3" y="3"/>
                  </a:cubicBezTo>
                  <a:cubicBezTo>
                    <a:pt x="3" y="3"/>
                    <a:pt x="4" y="3"/>
                    <a:pt x="4" y="3"/>
                  </a:cubicBezTo>
                  <a:cubicBezTo>
                    <a:pt x="4" y="3"/>
                    <a:pt x="4" y="2"/>
                    <a:pt x="4" y="2"/>
                  </a:cubicBezTo>
                  <a:cubicBezTo>
                    <a:pt x="4" y="0"/>
                    <a:pt x="1" y="3"/>
                    <a:pt x="0" y="4"/>
                  </a:cubicBezTo>
                  <a:cubicBezTo>
                    <a:pt x="1" y="3"/>
                    <a:pt x="1" y="3"/>
                    <a:pt x="2"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82" name="Freeform 2235">
              <a:extLst>
                <a:ext uri="{FF2B5EF4-FFF2-40B4-BE49-F238E27FC236}">
                  <a16:creationId xmlns:a16="http://schemas.microsoft.com/office/drawing/2014/main" id="{C2EDB54B-6602-477B-8009-DC641C3BA781}"/>
                </a:ext>
              </a:extLst>
            </p:cNvPr>
            <p:cNvSpPr>
              <a:spLocks/>
            </p:cNvSpPr>
            <p:nvPr/>
          </p:nvSpPr>
          <p:spPr bwMode="auto">
            <a:xfrm>
              <a:off x="6478" y="2303"/>
              <a:ext cx="5" cy="2"/>
            </a:xfrm>
            <a:custGeom>
              <a:avLst/>
              <a:gdLst>
                <a:gd name="T0" fmla="*/ 2 w 2"/>
                <a:gd name="T1" fmla="*/ 1 h 1"/>
                <a:gd name="T2" fmla="*/ 2 w 2"/>
                <a:gd name="T3" fmla="*/ 0 h 1"/>
                <a:gd name="T4" fmla="*/ 0 w 2"/>
                <a:gd name="T5" fmla="*/ 0 h 1"/>
                <a:gd name="T6" fmla="*/ 2 w 2"/>
                <a:gd name="T7" fmla="*/ 1 h 1"/>
              </a:gdLst>
              <a:ahLst/>
              <a:cxnLst>
                <a:cxn ang="0">
                  <a:pos x="T0" y="T1"/>
                </a:cxn>
                <a:cxn ang="0">
                  <a:pos x="T2" y="T3"/>
                </a:cxn>
                <a:cxn ang="0">
                  <a:pos x="T4" y="T5"/>
                </a:cxn>
                <a:cxn ang="0">
                  <a:pos x="T6" y="T7"/>
                </a:cxn>
              </a:cxnLst>
              <a:rect l="0" t="0" r="r" b="b"/>
              <a:pathLst>
                <a:path w="2" h="1">
                  <a:moveTo>
                    <a:pt x="2" y="1"/>
                  </a:moveTo>
                  <a:cubicBezTo>
                    <a:pt x="2" y="1"/>
                    <a:pt x="2" y="0"/>
                    <a:pt x="2" y="0"/>
                  </a:cubicBezTo>
                  <a:cubicBezTo>
                    <a:pt x="2" y="0"/>
                    <a:pt x="1" y="0"/>
                    <a:pt x="0" y="0"/>
                  </a:cubicBezTo>
                  <a:cubicBezTo>
                    <a:pt x="1" y="1"/>
                    <a:pt x="1"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83" name="Freeform 2236">
              <a:extLst>
                <a:ext uri="{FF2B5EF4-FFF2-40B4-BE49-F238E27FC236}">
                  <a16:creationId xmlns:a16="http://schemas.microsoft.com/office/drawing/2014/main" id="{BEB83B56-BFEB-4953-9D9E-A9A1D704F9BE}"/>
                </a:ext>
              </a:extLst>
            </p:cNvPr>
            <p:cNvSpPr>
              <a:spLocks/>
            </p:cNvSpPr>
            <p:nvPr/>
          </p:nvSpPr>
          <p:spPr bwMode="auto">
            <a:xfrm>
              <a:off x="6552" y="2492"/>
              <a:ext cx="9" cy="7"/>
            </a:xfrm>
            <a:custGeom>
              <a:avLst/>
              <a:gdLst>
                <a:gd name="T0" fmla="*/ 0 w 4"/>
                <a:gd name="T1" fmla="*/ 1 h 3"/>
                <a:gd name="T2" fmla="*/ 1 w 4"/>
                <a:gd name="T3" fmla="*/ 3 h 3"/>
                <a:gd name="T4" fmla="*/ 0 w 4"/>
                <a:gd name="T5" fmla="*/ 1 h 3"/>
              </a:gdLst>
              <a:ahLst/>
              <a:cxnLst>
                <a:cxn ang="0">
                  <a:pos x="T0" y="T1"/>
                </a:cxn>
                <a:cxn ang="0">
                  <a:pos x="T2" y="T3"/>
                </a:cxn>
                <a:cxn ang="0">
                  <a:pos x="T4" y="T5"/>
                </a:cxn>
              </a:cxnLst>
              <a:rect l="0" t="0" r="r" b="b"/>
              <a:pathLst>
                <a:path w="4" h="3">
                  <a:moveTo>
                    <a:pt x="0" y="1"/>
                  </a:moveTo>
                  <a:cubicBezTo>
                    <a:pt x="1" y="1"/>
                    <a:pt x="1" y="2"/>
                    <a:pt x="1" y="3"/>
                  </a:cubicBezTo>
                  <a:cubicBezTo>
                    <a:pt x="4" y="2"/>
                    <a:pt x="2"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84" name="Freeform 2237">
              <a:extLst>
                <a:ext uri="{FF2B5EF4-FFF2-40B4-BE49-F238E27FC236}">
                  <a16:creationId xmlns:a16="http://schemas.microsoft.com/office/drawing/2014/main" id="{21DAB402-6015-4F35-B9C5-EE523D6C318E}"/>
                </a:ext>
              </a:extLst>
            </p:cNvPr>
            <p:cNvSpPr>
              <a:spLocks/>
            </p:cNvSpPr>
            <p:nvPr/>
          </p:nvSpPr>
          <p:spPr bwMode="auto">
            <a:xfrm>
              <a:off x="6490" y="2447"/>
              <a:ext cx="10" cy="10"/>
            </a:xfrm>
            <a:custGeom>
              <a:avLst/>
              <a:gdLst>
                <a:gd name="T0" fmla="*/ 2 w 4"/>
                <a:gd name="T1" fmla="*/ 0 h 4"/>
                <a:gd name="T2" fmla="*/ 1 w 4"/>
                <a:gd name="T3" fmla="*/ 0 h 4"/>
                <a:gd name="T4" fmla="*/ 0 w 4"/>
                <a:gd name="T5" fmla="*/ 2 h 4"/>
                <a:gd name="T6" fmla="*/ 2 w 4"/>
                <a:gd name="T7" fmla="*/ 4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2" y="0"/>
                    <a:pt x="1" y="0"/>
                    <a:pt x="1" y="0"/>
                  </a:cubicBezTo>
                  <a:cubicBezTo>
                    <a:pt x="1" y="1"/>
                    <a:pt x="0" y="1"/>
                    <a:pt x="0" y="2"/>
                  </a:cubicBezTo>
                  <a:cubicBezTo>
                    <a:pt x="0" y="3"/>
                    <a:pt x="1" y="3"/>
                    <a:pt x="2" y="4"/>
                  </a:cubicBezTo>
                  <a:cubicBezTo>
                    <a:pt x="3" y="2"/>
                    <a:pt x="4" y="1"/>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85" name="Freeform 2238">
              <a:extLst>
                <a:ext uri="{FF2B5EF4-FFF2-40B4-BE49-F238E27FC236}">
                  <a16:creationId xmlns:a16="http://schemas.microsoft.com/office/drawing/2014/main" id="{D71A59EE-8DC3-4772-8C73-853FC5876AC5}"/>
                </a:ext>
              </a:extLst>
            </p:cNvPr>
            <p:cNvSpPr>
              <a:spLocks/>
            </p:cNvSpPr>
            <p:nvPr/>
          </p:nvSpPr>
          <p:spPr bwMode="auto">
            <a:xfrm>
              <a:off x="6443" y="2476"/>
              <a:ext cx="12" cy="12"/>
            </a:xfrm>
            <a:custGeom>
              <a:avLst/>
              <a:gdLst>
                <a:gd name="T0" fmla="*/ 1 w 5"/>
                <a:gd name="T1" fmla="*/ 3 h 5"/>
                <a:gd name="T2" fmla="*/ 3 w 5"/>
                <a:gd name="T3" fmla="*/ 5 h 5"/>
                <a:gd name="T4" fmla="*/ 5 w 5"/>
                <a:gd name="T5" fmla="*/ 3 h 5"/>
                <a:gd name="T6" fmla="*/ 4 w 5"/>
                <a:gd name="T7" fmla="*/ 2 h 5"/>
                <a:gd name="T8" fmla="*/ 4 w 5"/>
                <a:gd name="T9" fmla="*/ 3 h 5"/>
                <a:gd name="T10" fmla="*/ 0 w 5"/>
                <a:gd name="T11" fmla="*/ 1 h 5"/>
                <a:gd name="T12" fmla="*/ 0 w 5"/>
                <a:gd name="T13" fmla="*/ 2 h 5"/>
                <a:gd name="T14" fmla="*/ 1 w 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1" y="3"/>
                  </a:moveTo>
                  <a:cubicBezTo>
                    <a:pt x="1" y="4"/>
                    <a:pt x="2" y="4"/>
                    <a:pt x="3" y="5"/>
                  </a:cubicBezTo>
                  <a:cubicBezTo>
                    <a:pt x="3" y="4"/>
                    <a:pt x="4" y="4"/>
                    <a:pt x="5" y="3"/>
                  </a:cubicBezTo>
                  <a:cubicBezTo>
                    <a:pt x="4" y="3"/>
                    <a:pt x="4" y="2"/>
                    <a:pt x="4" y="2"/>
                  </a:cubicBezTo>
                  <a:cubicBezTo>
                    <a:pt x="4" y="2"/>
                    <a:pt x="4" y="3"/>
                    <a:pt x="4" y="3"/>
                  </a:cubicBezTo>
                  <a:cubicBezTo>
                    <a:pt x="3" y="3"/>
                    <a:pt x="0" y="0"/>
                    <a:pt x="0" y="1"/>
                  </a:cubicBezTo>
                  <a:cubicBezTo>
                    <a:pt x="0" y="2"/>
                    <a:pt x="0" y="2"/>
                    <a:pt x="0" y="2"/>
                  </a:cubicBezTo>
                  <a:cubicBezTo>
                    <a:pt x="1" y="2"/>
                    <a:pt x="1" y="3"/>
                    <a:pt x="1"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86" name="Freeform 2239">
              <a:extLst>
                <a:ext uri="{FF2B5EF4-FFF2-40B4-BE49-F238E27FC236}">
                  <a16:creationId xmlns:a16="http://schemas.microsoft.com/office/drawing/2014/main" id="{63E44A3D-215D-4B15-B108-D1FB8E623D77}"/>
                </a:ext>
              </a:extLst>
            </p:cNvPr>
            <p:cNvSpPr>
              <a:spLocks/>
            </p:cNvSpPr>
            <p:nvPr/>
          </p:nvSpPr>
          <p:spPr bwMode="auto">
            <a:xfrm>
              <a:off x="6580" y="2523"/>
              <a:ext cx="3" cy="12"/>
            </a:xfrm>
            <a:custGeom>
              <a:avLst/>
              <a:gdLst>
                <a:gd name="T0" fmla="*/ 1 w 1"/>
                <a:gd name="T1" fmla="*/ 5 h 5"/>
                <a:gd name="T2" fmla="*/ 1 w 1"/>
                <a:gd name="T3" fmla="*/ 0 h 5"/>
                <a:gd name="T4" fmla="*/ 0 w 1"/>
                <a:gd name="T5" fmla="*/ 3 h 5"/>
                <a:gd name="T6" fmla="*/ 0 w 1"/>
                <a:gd name="T7" fmla="*/ 4 h 5"/>
                <a:gd name="T8" fmla="*/ 0 w 1"/>
                <a:gd name="T9" fmla="*/ 5 h 5"/>
                <a:gd name="T10" fmla="*/ 1 w 1"/>
                <a:gd name="T11" fmla="*/ 5 h 5"/>
                <a:gd name="T12" fmla="*/ 1 w 1"/>
                <a:gd name="T13" fmla="*/ 5 h 5"/>
                <a:gd name="T14" fmla="*/ 1 w 1"/>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5">
                  <a:moveTo>
                    <a:pt x="1" y="5"/>
                  </a:moveTo>
                  <a:cubicBezTo>
                    <a:pt x="1" y="4"/>
                    <a:pt x="1" y="2"/>
                    <a:pt x="1" y="0"/>
                  </a:cubicBezTo>
                  <a:cubicBezTo>
                    <a:pt x="1" y="1"/>
                    <a:pt x="0" y="2"/>
                    <a:pt x="0" y="3"/>
                  </a:cubicBezTo>
                  <a:cubicBezTo>
                    <a:pt x="0" y="3"/>
                    <a:pt x="0" y="4"/>
                    <a:pt x="0" y="4"/>
                  </a:cubicBezTo>
                  <a:cubicBezTo>
                    <a:pt x="0" y="5"/>
                    <a:pt x="1" y="4"/>
                    <a:pt x="0" y="5"/>
                  </a:cubicBezTo>
                  <a:cubicBezTo>
                    <a:pt x="1" y="5"/>
                    <a:pt x="1" y="5"/>
                    <a:pt x="1" y="5"/>
                  </a:cubicBezTo>
                  <a:cubicBezTo>
                    <a:pt x="1" y="5"/>
                    <a:pt x="1" y="5"/>
                    <a:pt x="1" y="5"/>
                  </a:cubicBezTo>
                  <a:cubicBezTo>
                    <a:pt x="1" y="5"/>
                    <a:pt x="1" y="5"/>
                    <a:pt x="1"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87" name="Freeform 2240">
              <a:extLst>
                <a:ext uri="{FF2B5EF4-FFF2-40B4-BE49-F238E27FC236}">
                  <a16:creationId xmlns:a16="http://schemas.microsoft.com/office/drawing/2014/main" id="{94A362E8-ABE3-42F8-A0DB-035C11473361}"/>
                </a:ext>
              </a:extLst>
            </p:cNvPr>
            <p:cNvSpPr>
              <a:spLocks/>
            </p:cNvSpPr>
            <p:nvPr/>
          </p:nvSpPr>
          <p:spPr bwMode="auto">
            <a:xfrm>
              <a:off x="6455" y="2447"/>
              <a:ext cx="31" cy="34"/>
            </a:xfrm>
            <a:custGeom>
              <a:avLst/>
              <a:gdLst>
                <a:gd name="T0" fmla="*/ 13 w 13"/>
                <a:gd name="T1" fmla="*/ 5 h 14"/>
                <a:gd name="T2" fmla="*/ 10 w 13"/>
                <a:gd name="T3" fmla="*/ 3 h 14"/>
                <a:gd name="T4" fmla="*/ 6 w 13"/>
                <a:gd name="T5" fmla="*/ 1 h 14"/>
                <a:gd name="T6" fmla="*/ 3 w 13"/>
                <a:gd name="T7" fmla="*/ 1 h 14"/>
                <a:gd name="T8" fmla="*/ 2 w 13"/>
                <a:gd name="T9" fmla="*/ 1 h 14"/>
                <a:gd name="T10" fmla="*/ 0 w 13"/>
                <a:gd name="T11" fmla="*/ 1 h 14"/>
                <a:gd name="T12" fmla="*/ 4 w 13"/>
                <a:gd name="T13" fmla="*/ 7 h 14"/>
                <a:gd name="T14" fmla="*/ 9 w 13"/>
                <a:gd name="T15" fmla="*/ 14 h 14"/>
                <a:gd name="T16" fmla="*/ 11 w 13"/>
                <a:gd name="T17" fmla="*/ 13 h 14"/>
                <a:gd name="T18" fmla="*/ 11 w 13"/>
                <a:gd name="T19" fmla="*/ 13 h 14"/>
                <a:gd name="T20" fmla="*/ 12 w 13"/>
                <a:gd name="T21" fmla="*/ 11 h 14"/>
                <a:gd name="T22" fmla="*/ 12 w 13"/>
                <a:gd name="T23" fmla="*/ 8 h 14"/>
                <a:gd name="T24" fmla="*/ 12 w 13"/>
                <a:gd name="T25" fmla="*/ 6 h 14"/>
                <a:gd name="T26" fmla="*/ 13 w 13"/>
                <a:gd name="T27" fmla="*/ 5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4">
                  <a:moveTo>
                    <a:pt x="13" y="5"/>
                  </a:moveTo>
                  <a:cubicBezTo>
                    <a:pt x="12" y="4"/>
                    <a:pt x="11" y="4"/>
                    <a:pt x="10" y="3"/>
                  </a:cubicBezTo>
                  <a:cubicBezTo>
                    <a:pt x="9" y="2"/>
                    <a:pt x="7" y="2"/>
                    <a:pt x="6" y="1"/>
                  </a:cubicBezTo>
                  <a:cubicBezTo>
                    <a:pt x="6" y="1"/>
                    <a:pt x="4" y="1"/>
                    <a:pt x="3" y="1"/>
                  </a:cubicBezTo>
                  <a:cubicBezTo>
                    <a:pt x="3" y="1"/>
                    <a:pt x="3" y="1"/>
                    <a:pt x="2" y="1"/>
                  </a:cubicBezTo>
                  <a:cubicBezTo>
                    <a:pt x="1" y="0"/>
                    <a:pt x="0" y="0"/>
                    <a:pt x="0" y="1"/>
                  </a:cubicBezTo>
                  <a:cubicBezTo>
                    <a:pt x="3" y="2"/>
                    <a:pt x="3" y="5"/>
                    <a:pt x="4" y="7"/>
                  </a:cubicBezTo>
                  <a:cubicBezTo>
                    <a:pt x="5" y="10"/>
                    <a:pt x="7" y="12"/>
                    <a:pt x="9" y="14"/>
                  </a:cubicBezTo>
                  <a:cubicBezTo>
                    <a:pt x="10" y="14"/>
                    <a:pt x="10" y="12"/>
                    <a:pt x="11" y="13"/>
                  </a:cubicBezTo>
                  <a:cubicBezTo>
                    <a:pt x="11" y="13"/>
                    <a:pt x="11" y="12"/>
                    <a:pt x="11" y="13"/>
                  </a:cubicBezTo>
                  <a:cubicBezTo>
                    <a:pt x="11" y="11"/>
                    <a:pt x="11" y="11"/>
                    <a:pt x="12" y="11"/>
                  </a:cubicBezTo>
                  <a:cubicBezTo>
                    <a:pt x="13" y="9"/>
                    <a:pt x="12" y="9"/>
                    <a:pt x="12" y="8"/>
                  </a:cubicBezTo>
                  <a:cubicBezTo>
                    <a:pt x="12" y="7"/>
                    <a:pt x="12" y="6"/>
                    <a:pt x="12" y="6"/>
                  </a:cubicBezTo>
                  <a:cubicBezTo>
                    <a:pt x="12" y="5"/>
                    <a:pt x="13" y="5"/>
                    <a:pt x="13"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88" name="Freeform 2241">
              <a:extLst>
                <a:ext uri="{FF2B5EF4-FFF2-40B4-BE49-F238E27FC236}">
                  <a16:creationId xmlns:a16="http://schemas.microsoft.com/office/drawing/2014/main" id="{E0566FBC-59E8-4A61-B90F-16561D530C45}"/>
                </a:ext>
              </a:extLst>
            </p:cNvPr>
            <p:cNvSpPr>
              <a:spLocks/>
            </p:cNvSpPr>
            <p:nvPr/>
          </p:nvSpPr>
          <p:spPr bwMode="auto">
            <a:xfrm>
              <a:off x="6493" y="2469"/>
              <a:ext cx="7" cy="14"/>
            </a:xfrm>
            <a:custGeom>
              <a:avLst/>
              <a:gdLst>
                <a:gd name="T0" fmla="*/ 2 w 3"/>
                <a:gd name="T1" fmla="*/ 0 h 6"/>
                <a:gd name="T2" fmla="*/ 1 w 3"/>
                <a:gd name="T3" fmla="*/ 6 h 6"/>
                <a:gd name="T4" fmla="*/ 2 w 3"/>
                <a:gd name="T5" fmla="*/ 1 h 6"/>
                <a:gd name="T6" fmla="*/ 2 w 3"/>
                <a:gd name="T7" fmla="*/ 0 h 6"/>
              </a:gdLst>
              <a:ahLst/>
              <a:cxnLst>
                <a:cxn ang="0">
                  <a:pos x="T0" y="T1"/>
                </a:cxn>
                <a:cxn ang="0">
                  <a:pos x="T2" y="T3"/>
                </a:cxn>
                <a:cxn ang="0">
                  <a:pos x="T4" y="T5"/>
                </a:cxn>
                <a:cxn ang="0">
                  <a:pos x="T6" y="T7"/>
                </a:cxn>
              </a:cxnLst>
              <a:rect l="0" t="0" r="r" b="b"/>
              <a:pathLst>
                <a:path w="3" h="6">
                  <a:moveTo>
                    <a:pt x="2" y="0"/>
                  </a:moveTo>
                  <a:cubicBezTo>
                    <a:pt x="0" y="1"/>
                    <a:pt x="0" y="5"/>
                    <a:pt x="1" y="6"/>
                  </a:cubicBezTo>
                  <a:cubicBezTo>
                    <a:pt x="2" y="6"/>
                    <a:pt x="2" y="3"/>
                    <a:pt x="2" y="1"/>
                  </a:cubicBezTo>
                  <a:cubicBezTo>
                    <a:pt x="3" y="1"/>
                    <a:pt x="3" y="0"/>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89" name="Freeform 2242">
              <a:extLst>
                <a:ext uri="{FF2B5EF4-FFF2-40B4-BE49-F238E27FC236}">
                  <a16:creationId xmlns:a16="http://schemas.microsoft.com/office/drawing/2014/main" id="{CFF24164-6FD2-428B-87A0-AE39808C87CC}"/>
                </a:ext>
              </a:extLst>
            </p:cNvPr>
            <p:cNvSpPr>
              <a:spLocks/>
            </p:cNvSpPr>
            <p:nvPr/>
          </p:nvSpPr>
          <p:spPr bwMode="auto">
            <a:xfrm>
              <a:off x="6542" y="2433"/>
              <a:ext cx="12" cy="17"/>
            </a:xfrm>
            <a:custGeom>
              <a:avLst/>
              <a:gdLst>
                <a:gd name="T0" fmla="*/ 3 w 5"/>
                <a:gd name="T1" fmla="*/ 7 h 7"/>
                <a:gd name="T2" fmla="*/ 4 w 5"/>
                <a:gd name="T3" fmla="*/ 3 h 7"/>
                <a:gd name="T4" fmla="*/ 4 w 5"/>
                <a:gd name="T5" fmla="*/ 2 h 7"/>
                <a:gd name="T6" fmla="*/ 2 w 5"/>
                <a:gd name="T7" fmla="*/ 3 h 7"/>
                <a:gd name="T8" fmla="*/ 1 w 5"/>
                <a:gd name="T9" fmla="*/ 5 h 7"/>
                <a:gd name="T10" fmla="*/ 3 w 5"/>
                <a:gd name="T11" fmla="*/ 7 h 7"/>
              </a:gdLst>
              <a:ahLst/>
              <a:cxnLst>
                <a:cxn ang="0">
                  <a:pos x="T0" y="T1"/>
                </a:cxn>
                <a:cxn ang="0">
                  <a:pos x="T2" y="T3"/>
                </a:cxn>
                <a:cxn ang="0">
                  <a:pos x="T4" y="T5"/>
                </a:cxn>
                <a:cxn ang="0">
                  <a:pos x="T6" y="T7"/>
                </a:cxn>
                <a:cxn ang="0">
                  <a:pos x="T8" y="T9"/>
                </a:cxn>
                <a:cxn ang="0">
                  <a:pos x="T10" y="T11"/>
                </a:cxn>
              </a:cxnLst>
              <a:rect l="0" t="0" r="r" b="b"/>
              <a:pathLst>
                <a:path w="5" h="7">
                  <a:moveTo>
                    <a:pt x="3" y="7"/>
                  </a:moveTo>
                  <a:cubicBezTo>
                    <a:pt x="3" y="6"/>
                    <a:pt x="5" y="4"/>
                    <a:pt x="4" y="3"/>
                  </a:cubicBezTo>
                  <a:cubicBezTo>
                    <a:pt x="4" y="2"/>
                    <a:pt x="4" y="2"/>
                    <a:pt x="4" y="2"/>
                  </a:cubicBezTo>
                  <a:cubicBezTo>
                    <a:pt x="2" y="0"/>
                    <a:pt x="2" y="1"/>
                    <a:pt x="2" y="3"/>
                  </a:cubicBezTo>
                  <a:cubicBezTo>
                    <a:pt x="2" y="4"/>
                    <a:pt x="2" y="4"/>
                    <a:pt x="1" y="5"/>
                  </a:cubicBezTo>
                  <a:cubicBezTo>
                    <a:pt x="0" y="5"/>
                    <a:pt x="2" y="6"/>
                    <a:pt x="3" y="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90" name="Freeform 2243">
              <a:extLst>
                <a:ext uri="{FF2B5EF4-FFF2-40B4-BE49-F238E27FC236}">
                  <a16:creationId xmlns:a16="http://schemas.microsoft.com/office/drawing/2014/main" id="{F7BF9BDC-E794-4C55-A31C-BE68AFE71EDA}"/>
                </a:ext>
              </a:extLst>
            </p:cNvPr>
            <p:cNvSpPr>
              <a:spLocks/>
            </p:cNvSpPr>
            <p:nvPr/>
          </p:nvSpPr>
          <p:spPr bwMode="auto">
            <a:xfrm>
              <a:off x="6469" y="2630"/>
              <a:ext cx="14" cy="7"/>
            </a:xfrm>
            <a:custGeom>
              <a:avLst/>
              <a:gdLst>
                <a:gd name="T0" fmla="*/ 4 w 6"/>
                <a:gd name="T1" fmla="*/ 1 h 3"/>
                <a:gd name="T2" fmla="*/ 3 w 6"/>
                <a:gd name="T3" fmla="*/ 1 h 3"/>
                <a:gd name="T4" fmla="*/ 3 w 6"/>
                <a:gd name="T5" fmla="*/ 1 h 3"/>
                <a:gd name="T6" fmla="*/ 1 w 6"/>
                <a:gd name="T7" fmla="*/ 1 h 3"/>
                <a:gd name="T8" fmla="*/ 0 w 6"/>
                <a:gd name="T9" fmla="*/ 1 h 3"/>
                <a:gd name="T10" fmla="*/ 4 w 6"/>
                <a:gd name="T11" fmla="*/ 3 h 3"/>
                <a:gd name="T12" fmla="*/ 4 w 6"/>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4" y="1"/>
                  </a:moveTo>
                  <a:cubicBezTo>
                    <a:pt x="4" y="1"/>
                    <a:pt x="3" y="1"/>
                    <a:pt x="3" y="1"/>
                  </a:cubicBezTo>
                  <a:cubicBezTo>
                    <a:pt x="3" y="1"/>
                    <a:pt x="3" y="1"/>
                    <a:pt x="3" y="1"/>
                  </a:cubicBezTo>
                  <a:cubicBezTo>
                    <a:pt x="2" y="0"/>
                    <a:pt x="1" y="0"/>
                    <a:pt x="1" y="1"/>
                  </a:cubicBezTo>
                  <a:cubicBezTo>
                    <a:pt x="0" y="1"/>
                    <a:pt x="0" y="1"/>
                    <a:pt x="0" y="1"/>
                  </a:cubicBezTo>
                  <a:cubicBezTo>
                    <a:pt x="0" y="2"/>
                    <a:pt x="3" y="2"/>
                    <a:pt x="4" y="3"/>
                  </a:cubicBezTo>
                  <a:cubicBezTo>
                    <a:pt x="5" y="2"/>
                    <a:pt x="6" y="1"/>
                    <a:pt x="4"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91" name="Freeform 2244">
              <a:extLst>
                <a:ext uri="{FF2B5EF4-FFF2-40B4-BE49-F238E27FC236}">
                  <a16:creationId xmlns:a16="http://schemas.microsoft.com/office/drawing/2014/main" id="{BF50A3AB-FD52-4C07-940D-F87E20AC472C}"/>
                </a:ext>
              </a:extLst>
            </p:cNvPr>
            <p:cNvSpPr>
              <a:spLocks/>
            </p:cNvSpPr>
            <p:nvPr/>
          </p:nvSpPr>
          <p:spPr bwMode="auto">
            <a:xfrm>
              <a:off x="6798" y="2592"/>
              <a:ext cx="2" cy="7"/>
            </a:xfrm>
            <a:custGeom>
              <a:avLst/>
              <a:gdLst>
                <a:gd name="T0" fmla="*/ 1 w 1"/>
                <a:gd name="T1" fmla="*/ 0 h 3"/>
                <a:gd name="T2" fmla="*/ 1 w 1"/>
                <a:gd name="T3" fmla="*/ 0 h 3"/>
                <a:gd name="T4" fmla="*/ 1 w 1"/>
                <a:gd name="T5" fmla="*/ 0 h 3"/>
                <a:gd name="T6" fmla="*/ 1 w 1"/>
                <a:gd name="T7" fmla="*/ 0 h 3"/>
                <a:gd name="T8" fmla="*/ 0 w 1"/>
                <a:gd name="T9" fmla="*/ 2 h 3"/>
                <a:gd name="T10" fmla="*/ 0 w 1"/>
                <a:gd name="T11" fmla="*/ 3 h 3"/>
                <a:gd name="T12" fmla="*/ 0 w 1"/>
                <a:gd name="T13" fmla="*/ 3 h 3"/>
                <a:gd name="T14" fmla="*/ 1 w 1"/>
                <a:gd name="T15" fmla="*/ 1 h 3"/>
                <a:gd name="T16" fmla="*/ 1 w 1"/>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3">
                  <a:moveTo>
                    <a:pt x="1" y="0"/>
                  </a:moveTo>
                  <a:cubicBezTo>
                    <a:pt x="1" y="0"/>
                    <a:pt x="1" y="0"/>
                    <a:pt x="1" y="0"/>
                  </a:cubicBezTo>
                  <a:cubicBezTo>
                    <a:pt x="1" y="0"/>
                    <a:pt x="1" y="0"/>
                    <a:pt x="1" y="0"/>
                  </a:cubicBezTo>
                  <a:cubicBezTo>
                    <a:pt x="1" y="0"/>
                    <a:pt x="1" y="0"/>
                    <a:pt x="1" y="0"/>
                  </a:cubicBezTo>
                  <a:cubicBezTo>
                    <a:pt x="0" y="1"/>
                    <a:pt x="0" y="2"/>
                    <a:pt x="0" y="2"/>
                  </a:cubicBezTo>
                  <a:cubicBezTo>
                    <a:pt x="0" y="3"/>
                    <a:pt x="0" y="3"/>
                    <a:pt x="0" y="3"/>
                  </a:cubicBezTo>
                  <a:cubicBezTo>
                    <a:pt x="0" y="3"/>
                    <a:pt x="0" y="3"/>
                    <a:pt x="0" y="3"/>
                  </a:cubicBezTo>
                  <a:cubicBezTo>
                    <a:pt x="1" y="2"/>
                    <a:pt x="1" y="1"/>
                    <a:pt x="1" y="1"/>
                  </a:cubicBezTo>
                  <a:cubicBezTo>
                    <a:pt x="1" y="0"/>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92" name="Freeform 2245">
              <a:extLst>
                <a:ext uri="{FF2B5EF4-FFF2-40B4-BE49-F238E27FC236}">
                  <a16:creationId xmlns:a16="http://schemas.microsoft.com/office/drawing/2014/main" id="{69B5A1BE-862F-4863-9A54-315130D74F44}"/>
                </a:ext>
              </a:extLst>
            </p:cNvPr>
            <p:cNvSpPr>
              <a:spLocks/>
            </p:cNvSpPr>
            <p:nvPr/>
          </p:nvSpPr>
          <p:spPr bwMode="auto">
            <a:xfrm>
              <a:off x="6793" y="2601"/>
              <a:ext cx="2" cy="3"/>
            </a:xfrm>
            <a:custGeom>
              <a:avLst/>
              <a:gdLst>
                <a:gd name="T0" fmla="*/ 1 w 1"/>
                <a:gd name="T1" fmla="*/ 0 h 1"/>
                <a:gd name="T2" fmla="*/ 1 w 1"/>
                <a:gd name="T3" fmla="*/ 0 h 1"/>
                <a:gd name="T4" fmla="*/ 0 w 1"/>
                <a:gd name="T5" fmla="*/ 1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1" y="0"/>
                    <a:pt x="1" y="0"/>
                  </a:cubicBezTo>
                  <a:cubicBezTo>
                    <a:pt x="1" y="0"/>
                    <a:pt x="1" y="0"/>
                    <a:pt x="0" y="1"/>
                  </a:cubicBezTo>
                  <a:cubicBezTo>
                    <a:pt x="1" y="0"/>
                    <a:pt x="1" y="0"/>
                    <a:pt x="1" y="0"/>
                  </a:cubicBezTo>
                  <a:cubicBezTo>
                    <a:pt x="1" y="0"/>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93" name="Freeform 2246">
              <a:extLst>
                <a:ext uri="{FF2B5EF4-FFF2-40B4-BE49-F238E27FC236}">
                  <a16:creationId xmlns:a16="http://schemas.microsoft.com/office/drawing/2014/main" id="{5146971B-AEE4-4FF2-B99B-EE399CC3BEB7}"/>
                </a:ext>
              </a:extLst>
            </p:cNvPr>
            <p:cNvSpPr>
              <a:spLocks/>
            </p:cNvSpPr>
            <p:nvPr/>
          </p:nvSpPr>
          <p:spPr bwMode="auto">
            <a:xfrm>
              <a:off x="3154" y="194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94" name="Freeform 2247">
              <a:extLst>
                <a:ext uri="{FF2B5EF4-FFF2-40B4-BE49-F238E27FC236}">
                  <a16:creationId xmlns:a16="http://schemas.microsoft.com/office/drawing/2014/main" id="{87FAACCA-2CFD-4C93-96DF-EE521B401B1C}"/>
                </a:ext>
              </a:extLst>
            </p:cNvPr>
            <p:cNvSpPr>
              <a:spLocks/>
            </p:cNvSpPr>
            <p:nvPr/>
          </p:nvSpPr>
          <p:spPr bwMode="auto">
            <a:xfrm>
              <a:off x="7594" y="3995"/>
              <a:ext cx="17" cy="19"/>
            </a:xfrm>
            <a:custGeom>
              <a:avLst/>
              <a:gdLst>
                <a:gd name="T0" fmla="*/ 5 w 7"/>
                <a:gd name="T1" fmla="*/ 3 h 8"/>
                <a:gd name="T2" fmla="*/ 5 w 7"/>
                <a:gd name="T3" fmla="*/ 1 h 8"/>
                <a:gd name="T4" fmla="*/ 2 w 7"/>
                <a:gd name="T5" fmla="*/ 1 h 8"/>
                <a:gd name="T6" fmla="*/ 2 w 7"/>
                <a:gd name="T7" fmla="*/ 3 h 8"/>
                <a:gd name="T8" fmla="*/ 0 w 7"/>
                <a:gd name="T9" fmla="*/ 8 h 8"/>
                <a:gd name="T10" fmla="*/ 2 w 7"/>
                <a:gd name="T11" fmla="*/ 6 h 8"/>
                <a:gd name="T12" fmla="*/ 4 w 7"/>
                <a:gd name="T13" fmla="*/ 6 h 8"/>
                <a:gd name="T14" fmla="*/ 7 w 7"/>
                <a:gd name="T15" fmla="*/ 5 h 8"/>
                <a:gd name="T16" fmla="*/ 7 w 7"/>
                <a:gd name="T17" fmla="*/ 3 h 8"/>
                <a:gd name="T18" fmla="*/ 5 w 7"/>
                <a:gd name="T19"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8">
                  <a:moveTo>
                    <a:pt x="5" y="3"/>
                  </a:moveTo>
                  <a:cubicBezTo>
                    <a:pt x="7" y="3"/>
                    <a:pt x="6" y="2"/>
                    <a:pt x="5" y="1"/>
                  </a:cubicBezTo>
                  <a:cubicBezTo>
                    <a:pt x="4" y="0"/>
                    <a:pt x="3" y="0"/>
                    <a:pt x="2" y="1"/>
                  </a:cubicBezTo>
                  <a:cubicBezTo>
                    <a:pt x="2" y="1"/>
                    <a:pt x="3" y="2"/>
                    <a:pt x="2" y="3"/>
                  </a:cubicBezTo>
                  <a:cubicBezTo>
                    <a:pt x="2" y="4"/>
                    <a:pt x="0" y="6"/>
                    <a:pt x="0" y="8"/>
                  </a:cubicBezTo>
                  <a:cubicBezTo>
                    <a:pt x="1" y="8"/>
                    <a:pt x="1" y="6"/>
                    <a:pt x="2" y="6"/>
                  </a:cubicBezTo>
                  <a:cubicBezTo>
                    <a:pt x="3" y="6"/>
                    <a:pt x="3" y="7"/>
                    <a:pt x="4" y="6"/>
                  </a:cubicBezTo>
                  <a:cubicBezTo>
                    <a:pt x="5" y="6"/>
                    <a:pt x="7" y="6"/>
                    <a:pt x="7" y="5"/>
                  </a:cubicBezTo>
                  <a:cubicBezTo>
                    <a:pt x="7" y="5"/>
                    <a:pt x="7" y="4"/>
                    <a:pt x="7" y="3"/>
                  </a:cubicBezTo>
                  <a:cubicBezTo>
                    <a:pt x="6" y="4"/>
                    <a:pt x="5" y="3"/>
                    <a:pt x="5"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95" name="Freeform 2248">
              <a:extLst>
                <a:ext uri="{FF2B5EF4-FFF2-40B4-BE49-F238E27FC236}">
                  <a16:creationId xmlns:a16="http://schemas.microsoft.com/office/drawing/2014/main" id="{EC5785B1-3634-4817-9D8D-4DEC84A5737C}"/>
                </a:ext>
              </a:extLst>
            </p:cNvPr>
            <p:cNvSpPr>
              <a:spLocks/>
            </p:cNvSpPr>
            <p:nvPr/>
          </p:nvSpPr>
          <p:spPr bwMode="auto">
            <a:xfrm>
              <a:off x="7720" y="3642"/>
              <a:ext cx="142" cy="201"/>
            </a:xfrm>
            <a:custGeom>
              <a:avLst/>
              <a:gdLst>
                <a:gd name="T0" fmla="*/ 54 w 60"/>
                <a:gd name="T1" fmla="*/ 38 h 85"/>
                <a:gd name="T2" fmla="*/ 35 w 60"/>
                <a:gd name="T3" fmla="*/ 38 h 85"/>
                <a:gd name="T4" fmla="*/ 32 w 60"/>
                <a:gd name="T5" fmla="*/ 32 h 85"/>
                <a:gd name="T6" fmla="*/ 30 w 60"/>
                <a:gd name="T7" fmla="*/ 27 h 85"/>
                <a:gd name="T8" fmla="*/ 28 w 60"/>
                <a:gd name="T9" fmla="*/ 29 h 85"/>
                <a:gd name="T10" fmla="*/ 23 w 60"/>
                <a:gd name="T11" fmla="*/ 29 h 85"/>
                <a:gd name="T12" fmla="*/ 20 w 60"/>
                <a:gd name="T13" fmla="*/ 29 h 85"/>
                <a:gd name="T14" fmla="*/ 21 w 60"/>
                <a:gd name="T15" fmla="*/ 25 h 85"/>
                <a:gd name="T16" fmla="*/ 20 w 60"/>
                <a:gd name="T17" fmla="*/ 20 h 85"/>
                <a:gd name="T18" fmla="*/ 16 w 60"/>
                <a:gd name="T19" fmla="*/ 16 h 85"/>
                <a:gd name="T20" fmla="*/ 16 w 60"/>
                <a:gd name="T21" fmla="*/ 9 h 85"/>
                <a:gd name="T22" fmla="*/ 13 w 60"/>
                <a:gd name="T23" fmla="*/ 9 h 85"/>
                <a:gd name="T24" fmla="*/ 9 w 60"/>
                <a:gd name="T25" fmla="*/ 6 h 85"/>
                <a:gd name="T26" fmla="*/ 6 w 60"/>
                <a:gd name="T27" fmla="*/ 5 h 85"/>
                <a:gd name="T28" fmla="*/ 4 w 60"/>
                <a:gd name="T29" fmla="*/ 5 h 85"/>
                <a:gd name="T30" fmla="*/ 2 w 60"/>
                <a:gd name="T31" fmla="*/ 1 h 85"/>
                <a:gd name="T32" fmla="*/ 0 w 60"/>
                <a:gd name="T33" fmla="*/ 0 h 85"/>
                <a:gd name="T34" fmla="*/ 7 w 60"/>
                <a:gd name="T35" fmla="*/ 13 h 85"/>
                <a:gd name="T36" fmla="*/ 8 w 60"/>
                <a:gd name="T37" fmla="*/ 12 h 85"/>
                <a:gd name="T38" fmla="*/ 10 w 60"/>
                <a:gd name="T39" fmla="*/ 15 h 85"/>
                <a:gd name="T40" fmla="*/ 15 w 60"/>
                <a:gd name="T41" fmla="*/ 23 h 85"/>
                <a:gd name="T42" fmla="*/ 14 w 60"/>
                <a:gd name="T43" fmla="*/ 20 h 85"/>
                <a:gd name="T44" fmla="*/ 15 w 60"/>
                <a:gd name="T45" fmla="*/ 20 h 85"/>
                <a:gd name="T46" fmla="*/ 18 w 60"/>
                <a:gd name="T47" fmla="*/ 22 h 85"/>
                <a:gd name="T48" fmla="*/ 17 w 60"/>
                <a:gd name="T49" fmla="*/ 26 h 85"/>
                <a:gd name="T50" fmla="*/ 16 w 60"/>
                <a:gd name="T51" fmla="*/ 26 h 85"/>
                <a:gd name="T52" fmla="*/ 20 w 60"/>
                <a:gd name="T53" fmla="*/ 30 h 85"/>
                <a:gd name="T54" fmla="*/ 20 w 60"/>
                <a:gd name="T55" fmla="*/ 34 h 85"/>
                <a:gd name="T56" fmla="*/ 21 w 60"/>
                <a:gd name="T57" fmla="*/ 43 h 85"/>
                <a:gd name="T58" fmla="*/ 19 w 60"/>
                <a:gd name="T59" fmla="*/ 51 h 85"/>
                <a:gd name="T60" fmla="*/ 10 w 60"/>
                <a:gd name="T61" fmla="*/ 58 h 85"/>
                <a:gd name="T62" fmla="*/ 19 w 60"/>
                <a:gd name="T63" fmla="*/ 64 h 85"/>
                <a:gd name="T64" fmla="*/ 26 w 60"/>
                <a:gd name="T65" fmla="*/ 69 h 85"/>
                <a:gd name="T66" fmla="*/ 21 w 60"/>
                <a:gd name="T67" fmla="*/ 79 h 85"/>
                <a:gd name="T68" fmla="*/ 21 w 60"/>
                <a:gd name="T69" fmla="*/ 82 h 85"/>
                <a:gd name="T70" fmla="*/ 23 w 60"/>
                <a:gd name="T71" fmla="*/ 83 h 85"/>
                <a:gd name="T72" fmla="*/ 26 w 60"/>
                <a:gd name="T73" fmla="*/ 85 h 85"/>
                <a:gd name="T74" fmla="*/ 36 w 60"/>
                <a:gd name="T75" fmla="*/ 75 h 85"/>
                <a:gd name="T76" fmla="*/ 45 w 60"/>
                <a:gd name="T77" fmla="*/ 62 h 85"/>
                <a:gd name="T78" fmla="*/ 47 w 60"/>
                <a:gd name="T79" fmla="*/ 55 h 85"/>
                <a:gd name="T80" fmla="*/ 53 w 60"/>
                <a:gd name="T81" fmla="*/ 56 h 85"/>
                <a:gd name="T82" fmla="*/ 56 w 60"/>
                <a:gd name="T83" fmla="*/ 49 h 85"/>
                <a:gd name="T84" fmla="*/ 58 w 60"/>
                <a:gd name="T85" fmla="*/ 3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 h="85">
                  <a:moveTo>
                    <a:pt x="58" y="38"/>
                  </a:moveTo>
                  <a:cubicBezTo>
                    <a:pt x="56" y="37"/>
                    <a:pt x="55" y="36"/>
                    <a:pt x="54" y="38"/>
                  </a:cubicBezTo>
                  <a:cubicBezTo>
                    <a:pt x="53" y="39"/>
                    <a:pt x="51" y="39"/>
                    <a:pt x="50" y="41"/>
                  </a:cubicBezTo>
                  <a:cubicBezTo>
                    <a:pt x="45" y="44"/>
                    <a:pt x="40" y="39"/>
                    <a:pt x="35" y="38"/>
                  </a:cubicBezTo>
                  <a:cubicBezTo>
                    <a:pt x="35" y="39"/>
                    <a:pt x="33" y="37"/>
                    <a:pt x="33" y="36"/>
                  </a:cubicBezTo>
                  <a:cubicBezTo>
                    <a:pt x="33" y="35"/>
                    <a:pt x="32" y="33"/>
                    <a:pt x="32" y="32"/>
                  </a:cubicBezTo>
                  <a:cubicBezTo>
                    <a:pt x="32" y="30"/>
                    <a:pt x="32" y="29"/>
                    <a:pt x="31" y="28"/>
                  </a:cubicBezTo>
                  <a:cubicBezTo>
                    <a:pt x="30" y="27"/>
                    <a:pt x="33" y="27"/>
                    <a:pt x="30" y="27"/>
                  </a:cubicBezTo>
                  <a:cubicBezTo>
                    <a:pt x="28" y="27"/>
                    <a:pt x="30" y="26"/>
                    <a:pt x="29" y="25"/>
                  </a:cubicBezTo>
                  <a:cubicBezTo>
                    <a:pt x="27" y="24"/>
                    <a:pt x="28" y="28"/>
                    <a:pt x="28" y="29"/>
                  </a:cubicBezTo>
                  <a:cubicBezTo>
                    <a:pt x="28" y="30"/>
                    <a:pt x="29" y="31"/>
                    <a:pt x="29" y="32"/>
                  </a:cubicBezTo>
                  <a:cubicBezTo>
                    <a:pt x="26" y="32"/>
                    <a:pt x="25" y="30"/>
                    <a:pt x="23" y="29"/>
                  </a:cubicBezTo>
                  <a:cubicBezTo>
                    <a:pt x="23" y="30"/>
                    <a:pt x="23" y="28"/>
                    <a:pt x="22" y="29"/>
                  </a:cubicBezTo>
                  <a:cubicBezTo>
                    <a:pt x="22" y="29"/>
                    <a:pt x="21" y="28"/>
                    <a:pt x="20" y="29"/>
                  </a:cubicBezTo>
                  <a:cubicBezTo>
                    <a:pt x="21" y="28"/>
                    <a:pt x="22" y="27"/>
                    <a:pt x="21" y="26"/>
                  </a:cubicBezTo>
                  <a:cubicBezTo>
                    <a:pt x="21" y="25"/>
                    <a:pt x="20" y="26"/>
                    <a:pt x="21" y="25"/>
                  </a:cubicBezTo>
                  <a:cubicBezTo>
                    <a:pt x="21" y="24"/>
                    <a:pt x="21" y="23"/>
                    <a:pt x="22" y="23"/>
                  </a:cubicBezTo>
                  <a:cubicBezTo>
                    <a:pt x="21" y="22"/>
                    <a:pt x="20" y="21"/>
                    <a:pt x="20" y="20"/>
                  </a:cubicBezTo>
                  <a:cubicBezTo>
                    <a:pt x="19" y="19"/>
                    <a:pt x="19" y="18"/>
                    <a:pt x="18" y="17"/>
                  </a:cubicBezTo>
                  <a:cubicBezTo>
                    <a:pt x="17" y="17"/>
                    <a:pt x="17" y="17"/>
                    <a:pt x="16" y="16"/>
                  </a:cubicBezTo>
                  <a:cubicBezTo>
                    <a:pt x="16" y="16"/>
                    <a:pt x="17" y="16"/>
                    <a:pt x="17" y="16"/>
                  </a:cubicBezTo>
                  <a:cubicBezTo>
                    <a:pt x="17" y="14"/>
                    <a:pt x="17" y="11"/>
                    <a:pt x="16" y="9"/>
                  </a:cubicBezTo>
                  <a:cubicBezTo>
                    <a:pt x="16" y="10"/>
                    <a:pt x="15" y="10"/>
                    <a:pt x="15" y="11"/>
                  </a:cubicBezTo>
                  <a:cubicBezTo>
                    <a:pt x="15" y="10"/>
                    <a:pt x="14" y="10"/>
                    <a:pt x="13" y="9"/>
                  </a:cubicBezTo>
                  <a:cubicBezTo>
                    <a:pt x="15" y="8"/>
                    <a:pt x="11" y="7"/>
                    <a:pt x="10" y="7"/>
                  </a:cubicBezTo>
                  <a:cubicBezTo>
                    <a:pt x="10" y="6"/>
                    <a:pt x="9" y="6"/>
                    <a:pt x="9" y="6"/>
                  </a:cubicBezTo>
                  <a:cubicBezTo>
                    <a:pt x="7" y="6"/>
                    <a:pt x="7" y="7"/>
                    <a:pt x="7" y="5"/>
                  </a:cubicBezTo>
                  <a:cubicBezTo>
                    <a:pt x="7" y="5"/>
                    <a:pt x="6" y="5"/>
                    <a:pt x="6" y="5"/>
                  </a:cubicBezTo>
                  <a:cubicBezTo>
                    <a:pt x="6" y="6"/>
                    <a:pt x="6" y="6"/>
                    <a:pt x="6" y="6"/>
                  </a:cubicBezTo>
                  <a:cubicBezTo>
                    <a:pt x="5" y="7"/>
                    <a:pt x="5" y="5"/>
                    <a:pt x="4" y="5"/>
                  </a:cubicBezTo>
                  <a:cubicBezTo>
                    <a:pt x="3" y="4"/>
                    <a:pt x="2" y="3"/>
                    <a:pt x="2" y="1"/>
                  </a:cubicBezTo>
                  <a:cubicBezTo>
                    <a:pt x="2" y="1"/>
                    <a:pt x="2" y="1"/>
                    <a:pt x="2" y="1"/>
                  </a:cubicBezTo>
                  <a:cubicBezTo>
                    <a:pt x="3" y="2"/>
                    <a:pt x="4" y="0"/>
                    <a:pt x="3" y="0"/>
                  </a:cubicBezTo>
                  <a:cubicBezTo>
                    <a:pt x="3" y="0"/>
                    <a:pt x="0" y="0"/>
                    <a:pt x="0" y="0"/>
                  </a:cubicBezTo>
                  <a:cubicBezTo>
                    <a:pt x="1" y="2"/>
                    <a:pt x="3" y="4"/>
                    <a:pt x="4" y="7"/>
                  </a:cubicBezTo>
                  <a:cubicBezTo>
                    <a:pt x="5" y="9"/>
                    <a:pt x="6" y="11"/>
                    <a:pt x="7" y="13"/>
                  </a:cubicBezTo>
                  <a:cubicBezTo>
                    <a:pt x="7" y="11"/>
                    <a:pt x="8" y="12"/>
                    <a:pt x="9" y="11"/>
                  </a:cubicBezTo>
                  <a:cubicBezTo>
                    <a:pt x="9" y="11"/>
                    <a:pt x="8" y="11"/>
                    <a:pt x="8" y="12"/>
                  </a:cubicBezTo>
                  <a:cubicBezTo>
                    <a:pt x="8" y="12"/>
                    <a:pt x="8" y="12"/>
                    <a:pt x="8" y="12"/>
                  </a:cubicBezTo>
                  <a:cubicBezTo>
                    <a:pt x="8" y="13"/>
                    <a:pt x="9" y="14"/>
                    <a:pt x="10" y="15"/>
                  </a:cubicBezTo>
                  <a:cubicBezTo>
                    <a:pt x="11" y="18"/>
                    <a:pt x="12" y="20"/>
                    <a:pt x="13" y="22"/>
                  </a:cubicBezTo>
                  <a:cubicBezTo>
                    <a:pt x="13" y="23"/>
                    <a:pt x="14" y="24"/>
                    <a:pt x="15" y="23"/>
                  </a:cubicBezTo>
                  <a:cubicBezTo>
                    <a:pt x="15" y="22"/>
                    <a:pt x="13" y="21"/>
                    <a:pt x="13" y="20"/>
                  </a:cubicBezTo>
                  <a:cubicBezTo>
                    <a:pt x="13" y="21"/>
                    <a:pt x="14" y="20"/>
                    <a:pt x="14" y="20"/>
                  </a:cubicBezTo>
                  <a:cubicBezTo>
                    <a:pt x="15" y="21"/>
                    <a:pt x="15" y="21"/>
                    <a:pt x="15" y="21"/>
                  </a:cubicBezTo>
                  <a:cubicBezTo>
                    <a:pt x="15" y="21"/>
                    <a:pt x="15" y="21"/>
                    <a:pt x="15" y="20"/>
                  </a:cubicBezTo>
                  <a:cubicBezTo>
                    <a:pt x="16" y="21"/>
                    <a:pt x="16" y="21"/>
                    <a:pt x="17" y="20"/>
                  </a:cubicBezTo>
                  <a:cubicBezTo>
                    <a:pt x="16" y="22"/>
                    <a:pt x="16" y="22"/>
                    <a:pt x="18" y="22"/>
                  </a:cubicBezTo>
                  <a:cubicBezTo>
                    <a:pt x="17" y="22"/>
                    <a:pt x="16" y="22"/>
                    <a:pt x="16" y="23"/>
                  </a:cubicBezTo>
                  <a:cubicBezTo>
                    <a:pt x="17" y="23"/>
                    <a:pt x="17" y="25"/>
                    <a:pt x="17" y="26"/>
                  </a:cubicBezTo>
                  <a:cubicBezTo>
                    <a:pt x="17" y="25"/>
                    <a:pt x="16" y="24"/>
                    <a:pt x="15" y="24"/>
                  </a:cubicBezTo>
                  <a:cubicBezTo>
                    <a:pt x="15" y="25"/>
                    <a:pt x="16" y="26"/>
                    <a:pt x="16" y="26"/>
                  </a:cubicBezTo>
                  <a:cubicBezTo>
                    <a:pt x="17" y="28"/>
                    <a:pt x="17" y="29"/>
                    <a:pt x="18" y="31"/>
                  </a:cubicBezTo>
                  <a:cubicBezTo>
                    <a:pt x="19" y="31"/>
                    <a:pt x="19" y="30"/>
                    <a:pt x="20" y="30"/>
                  </a:cubicBezTo>
                  <a:cubicBezTo>
                    <a:pt x="20" y="30"/>
                    <a:pt x="22" y="31"/>
                    <a:pt x="22" y="31"/>
                  </a:cubicBezTo>
                  <a:cubicBezTo>
                    <a:pt x="21" y="31"/>
                    <a:pt x="21" y="32"/>
                    <a:pt x="20" y="34"/>
                  </a:cubicBezTo>
                  <a:cubicBezTo>
                    <a:pt x="22" y="35"/>
                    <a:pt x="22" y="38"/>
                    <a:pt x="23" y="40"/>
                  </a:cubicBezTo>
                  <a:cubicBezTo>
                    <a:pt x="22" y="40"/>
                    <a:pt x="21" y="42"/>
                    <a:pt x="21" y="43"/>
                  </a:cubicBezTo>
                  <a:cubicBezTo>
                    <a:pt x="22" y="43"/>
                    <a:pt x="22" y="43"/>
                    <a:pt x="22" y="43"/>
                  </a:cubicBezTo>
                  <a:cubicBezTo>
                    <a:pt x="20" y="45"/>
                    <a:pt x="21" y="48"/>
                    <a:pt x="19" y="51"/>
                  </a:cubicBezTo>
                  <a:cubicBezTo>
                    <a:pt x="18" y="52"/>
                    <a:pt x="18" y="53"/>
                    <a:pt x="16" y="54"/>
                  </a:cubicBezTo>
                  <a:cubicBezTo>
                    <a:pt x="14" y="56"/>
                    <a:pt x="12" y="57"/>
                    <a:pt x="10" y="58"/>
                  </a:cubicBezTo>
                  <a:cubicBezTo>
                    <a:pt x="12" y="60"/>
                    <a:pt x="13" y="60"/>
                    <a:pt x="15" y="61"/>
                  </a:cubicBezTo>
                  <a:cubicBezTo>
                    <a:pt x="16" y="62"/>
                    <a:pt x="17" y="63"/>
                    <a:pt x="19" y="64"/>
                  </a:cubicBezTo>
                  <a:cubicBezTo>
                    <a:pt x="19" y="64"/>
                    <a:pt x="21" y="64"/>
                    <a:pt x="21" y="64"/>
                  </a:cubicBezTo>
                  <a:cubicBezTo>
                    <a:pt x="23" y="66"/>
                    <a:pt x="25" y="67"/>
                    <a:pt x="26" y="69"/>
                  </a:cubicBezTo>
                  <a:cubicBezTo>
                    <a:pt x="26" y="72"/>
                    <a:pt x="25" y="74"/>
                    <a:pt x="24" y="76"/>
                  </a:cubicBezTo>
                  <a:cubicBezTo>
                    <a:pt x="23" y="77"/>
                    <a:pt x="22" y="78"/>
                    <a:pt x="21" y="79"/>
                  </a:cubicBezTo>
                  <a:cubicBezTo>
                    <a:pt x="21" y="80"/>
                    <a:pt x="19" y="81"/>
                    <a:pt x="20" y="82"/>
                  </a:cubicBezTo>
                  <a:cubicBezTo>
                    <a:pt x="20" y="83"/>
                    <a:pt x="21" y="82"/>
                    <a:pt x="21" y="82"/>
                  </a:cubicBezTo>
                  <a:cubicBezTo>
                    <a:pt x="21" y="81"/>
                    <a:pt x="22" y="81"/>
                    <a:pt x="22" y="82"/>
                  </a:cubicBezTo>
                  <a:cubicBezTo>
                    <a:pt x="22" y="83"/>
                    <a:pt x="22" y="83"/>
                    <a:pt x="23" y="83"/>
                  </a:cubicBezTo>
                  <a:cubicBezTo>
                    <a:pt x="24" y="83"/>
                    <a:pt x="24" y="82"/>
                    <a:pt x="25" y="83"/>
                  </a:cubicBezTo>
                  <a:cubicBezTo>
                    <a:pt x="26" y="84"/>
                    <a:pt x="26" y="85"/>
                    <a:pt x="26" y="85"/>
                  </a:cubicBezTo>
                  <a:cubicBezTo>
                    <a:pt x="28" y="84"/>
                    <a:pt x="31" y="82"/>
                    <a:pt x="33" y="81"/>
                  </a:cubicBezTo>
                  <a:cubicBezTo>
                    <a:pt x="35" y="80"/>
                    <a:pt x="36" y="77"/>
                    <a:pt x="36" y="75"/>
                  </a:cubicBezTo>
                  <a:cubicBezTo>
                    <a:pt x="38" y="73"/>
                    <a:pt x="40" y="72"/>
                    <a:pt x="41" y="70"/>
                  </a:cubicBezTo>
                  <a:cubicBezTo>
                    <a:pt x="42" y="67"/>
                    <a:pt x="44" y="64"/>
                    <a:pt x="45" y="62"/>
                  </a:cubicBezTo>
                  <a:cubicBezTo>
                    <a:pt x="43" y="62"/>
                    <a:pt x="43" y="58"/>
                    <a:pt x="43" y="58"/>
                  </a:cubicBezTo>
                  <a:cubicBezTo>
                    <a:pt x="44" y="56"/>
                    <a:pt x="45" y="56"/>
                    <a:pt x="47" y="55"/>
                  </a:cubicBezTo>
                  <a:cubicBezTo>
                    <a:pt x="48" y="55"/>
                    <a:pt x="52" y="54"/>
                    <a:pt x="53" y="55"/>
                  </a:cubicBezTo>
                  <a:cubicBezTo>
                    <a:pt x="53" y="55"/>
                    <a:pt x="52" y="57"/>
                    <a:pt x="53" y="56"/>
                  </a:cubicBezTo>
                  <a:cubicBezTo>
                    <a:pt x="54" y="56"/>
                    <a:pt x="54" y="55"/>
                    <a:pt x="53" y="55"/>
                  </a:cubicBezTo>
                  <a:cubicBezTo>
                    <a:pt x="52" y="53"/>
                    <a:pt x="54" y="51"/>
                    <a:pt x="56" y="49"/>
                  </a:cubicBezTo>
                  <a:cubicBezTo>
                    <a:pt x="59" y="47"/>
                    <a:pt x="57" y="43"/>
                    <a:pt x="58" y="40"/>
                  </a:cubicBezTo>
                  <a:cubicBezTo>
                    <a:pt x="59" y="39"/>
                    <a:pt x="60" y="38"/>
                    <a:pt x="58" y="38"/>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96" name="Freeform 2249">
              <a:extLst>
                <a:ext uri="{FF2B5EF4-FFF2-40B4-BE49-F238E27FC236}">
                  <a16:creationId xmlns:a16="http://schemas.microsoft.com/office/drawing/2014/main" id="{7C46FBBA-FC51-4820-931E-C2E36A7F9825}"/>
                </a:ext>
              </a:extLst>
            </p:cNvPr>
            <p:cNvSpPr>
              <a:spLocks/>
            </p:cNvSpPr>
            <p:nvPr/>
          </p:nvSpPr>
          <p:spPr bwMode="auto">
            <a:xfrm>
              <a:off x="7566" y="3813"/>
              <a:ext cx="192" cy="182"/>
            </a:xfrm>
            <a:custGeom>
              <a:avLst/>
              <a:gdLst>
                <a:gd name="T0" fmla="*/ 81 w 81"/>
                <a:gd name="T1" fmla="*/ 6 h 77"/>
                <a:gd name="T2" fmla="*/ 79 w 81"/>
                <a:gd name="T3" fmla="*/ 8 h 77"/>
                <a:gd name="T4" fmla="*/ 77 w 81"/>
                <a:gd name="T5" fmla="*/ 7 h 77"/>
                <a:gd name="T6" fmla="*/ 70 w 81"/>
                <a:gd name="T7" fmla="*/ 10 h 77"/>
                <a:gd name="T8" fmla="*/ 67 w 81"/>
                <a:gd name="T9" fmla="*/ 4 h 77"/>
                <a:gd name="T10" fmla="*/ 67 w 81"/>
                <a:gd name="T11" fmla="*/ 0 h 77"/>
                <a:gd name="T12" fmla="*/ 60 w 81"/>
                <a:gd name="T13" fmla="*/ 3 h 77"/>
                <a:gd name="T14" fmla="*/ 59 w 81"/>
                <a:gd name="T15" fmla="*/ 10 h 77"/>
                <a:gd name="T16" fmla="*/ 53 w 81"/>
                <a:gd name="T17" fmla="*/ 15 h 77"/>
                <a:gd name="T18" fmla="*/ 52 w 81"/>
                <a:gd name="T19" fmla="*/ 18 h 77"/>
                <a:gd name="T20" fmla="*/ 44 w 81"/>
                <a:gd name="T21" fmla="*/ 29 h 77"/>
                <a:gd name="T22" fmla="*/ 29 w 81"/>
                <a:gd name="T23" fmla="*/ 40 h 77"/>
                <a:gd name="T24" fmla="*/ 20 w 81"/>
                <a:gd name="T25" fmla="*/ 44 h 77"/>
                <a:gd name="T26" fmla="*/ 16 w 81"/>
                <a:gd name="T27" fmla="*/ 51 h 77"/>
                <a:gd name="T28" fmla="*/ 10 w 81"/>
                <a:gd name="T29" fmla="*/ 54 h 77"/>
                <a:gd name="T30" fmla="*/ 8 w 81"/>
                <a:gd name="T31" fmla="*/ 56 h 77"/>
                <a:gd name="T32" fmla="*/ 8 w 81"/>
                <a:gd name="T33" fmla="*/ 58 h 77"/>
                <a:gd name="T34" fmla="*/ 7 w 81"/>
                <a:gd name="T35" fmla="*/ 62 h 77"/>
                <a:gd name="T36" fmla="*/ 4 w 81"/>
                <a:gd name="T37" fmla="*/ 62 h 77"/>
                <a:gd name="T38" fmla="*/ 4 w 81"/>
                <a:gd name="T39" fmla="*/ 64 h 77"/>
                <a:gd name="T40" fmla="*/ 4 w 81"/>
                <a:gd name="T41" fmla="*/ 65 h 77"/>
                <a:gd name="T42" fmla="*/ 3 w 81"/>
                <a:gd name="T43" fmla="*/ 66 h 77"/>
                <a:gd name="T44" fmla="*/ 3 w 81"/>
                <a:gd name="T45" fmla="*/ 67 h 77"/>
                <a:gd name="T46" fmla="*/ 5 w 81"/>
                <a:gd name="T47" fmla="*/ 68 h 77"/>
                <a:gd name="T48" fmla="*/ 3 w 81"/>
                <a:gd name="T49" fmla="*/ 70 h 77"/>
                <a:gd name="T50" fmla="*/ 13 w 81"/>
                <a:gd name="T51" fmla="*/ 71 h 77"/>
                <a:gd name="T52" fmla="*/ 20 w 81"/>
                <a:gd name="T53" fmla="*/ 74 h 77"/>
                <a:gd name="T54" fmla="*/ 24 w 81"/>
                <a:gd name="T55" fmla="*/ 76 h 77"/>
                <a:gd name="T56" fmla="*/ 40 w 81"/>
                <a:gd name="T57" fmla="*/ 68 h 77"/>
                <a:gd name="T58" fmla="*/ 43 w 81"/>
                <a:gd name="T59" fmla="*/ 67 h 77"/>
                <a:gd name="T60" fmla="*/ 49 w 81"/>
                <a:gd name="T61" fmla="*/ 52 h 77"/>
                <a:gd name="T62" fmla="*/ 50 w 81"/>
                <a:gd name="T63" fmla="*/ 47 h 77"/>
                <a:gd name="T64" fmla="*/ 60 w 81"/>
                <a:gd name="T65" fmla="*/ 42 h 77"/>
                <a:gd name="T66" fmla="*/ 62 w 81"/>
                <a:gd name="T67" fmla="*/ 41 h 77"/>
                <a:gd name="T68" fmla="*/ 67 w 81"/>
                <a:gd name="T69" fmla="*/ 42 h 77"/>
                <a:gd name="T70" fmla="*/ 66 w 81"/>
                <a:gd name="T71" fmla="*/ 39 h 77"/>
                <a:gd name="T72" fmla="*/ 65 w 81"/>
                <a:gd name="T73" fmla="*/ 35 h 77"/>
                <a:gd name="T74" fmla="*/ 76 w 81"/>
                <a:gd name="T75" fmla="*/ 22 h 77"/>
                <a:gd name="T76" fmla="*/ 81 w 81"/>
                <a:gd name="T77" fmla="*/ 15 h 77"/>
                <a:gd name="T78" fmla="*/ 81 w 81"/>
                <a:gd name="T79" fmla="*/ 9 h 77"/>
                <a:gd name="T80" fmla="*/ 80 w 81"/>
                <a:gd name="T81" fmla="*/ 8 h 77"/>
                <a:gd name="T82" fmla="*/ 80 w 81"/>
                <a:gd name="T83" fmla="*/ 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1" h="77">
                  <a:moveTo>
                    <a:pt x="81" y="7"/>
                  </a:moveTo>
                  <a:cubicBezTo>
                    <a:pt x="81" y="7"/>
                    <a:pt x="81" y="6"/>
                    <a:pt x="81" y="6"/>
                  </a:cubicBezTo>
                  <a:cubicBezTo>
                    <a:pt x="81" y="6"/>
                    <a:pt x="77" y="7"/>
                    <a:pt x="77" y="8"/>
                  </a:cubicBezTo>
                  <a:cubicBezTo>
                    <a:pt x="77" y="9"/>
                    <a:pt x="79" y="8"/>
                    <a:pt x="79" y="8"/>
                  </a:cubicBezTo>
                  <a:cubicBezTo>
                    <a:pt x="78" y="9"/>
                    <a:pt x="77" y="8"/>
                    <a:pt x="76" y="9"/>
                  </a:cubicBezTo>
                  <a:cubicBezTo>
                    <a:pt x="77" y="8"/>
                    <a:pt x="77" y="8"/>
                    <a:pt x="77" y="7"/>
                  </a:cubicBezTo>
                  <a:cubicBezTo>
                    <a:pt x="77" y="6"/>
                    <a:pt x="77" y="6"/>
                    <a:pt x="78" y="5"/>
                  </a:cubicBezTo>
                  <a:cubicBezTo>
                    <a:pt x="75" y="6"/>
                    <a:pt x="72" y="8"/>
                    <a:pt x="70" y="10"/>
                  </a:cubicBezTo>
                  <a:cubicBezTo>
                    <a:pt x="69" y="8"/>
                    <a:pt x="69" y="7"/>
                    <a:pt x="69" y="5"/>
                  </a:cubicBezTo>
                  <a:cubicBezTo>
                    <a:pt x="68" y="4"/>
                    <a:pt x="68" y="4"/>
                    <a:pt x="67" y="4"/>
                  </a:cubicBezTo>
                  <a:cubicBezTo>
                    <a:pt x="66" y="4"/>
                    <a:pt x="65" y="3"/>
                    <a:pt x="65" y="2"/>
                  </a:cubicBezTo>
                  <a:cubicBezTo>
                    <a:pt x="66" y="1"/>
                    <a:pt x="66" y="0"/>
                    <a:pt x="67" y="0"/>
                  </a:cubicBezTo>
                  <a:cubicBezTo>
                    <a:pt x="66" y="0"/>
                    <a:pt x="65" y="0"/>
                    <a:pt x="65" y="0"/>
                  </a:cubicBezTo>
                  <a:cubicBezTo>
                    <a:pt x="63" y="1"/>
                    <a:pt x="62" y="2"/>
                    <a:pt x="60" y="3"/>
                  </a:cubicBezTo>
                  <a:cubicBezTo>
                    <a:pt x="60" y="4"/>
                    <a:pt x="59" y="5"/>
                    <a:pt x="59" y="6"/>
                  </a:cubicBezTo>
                  <a:cubicBezTo>
                    <a:pt x="59" y="7"/>
                    <a:pt x="59" y="9"/>
                    <a:pt x="59" y="10"/>
                  </a:cubicBezTo>
                  <a:cubicBezTo>
                    <a:pt x="58" y="12"/>
                    <a:pt x="56" y="13"/>
                    <a:pt x="55" y="14"/>
                  </a:cubicBezTo>
                  <a:cubicBezTo>
                    <a:pt x="54" y="15"/>
                    <a:pt x="54" y="15"/>
                    <a:pt x="53" y="15"/>
                  </a:cubicBezTo>
                  <a:cubicBezTo>
                    <a:pt x="53" y="15"/>
                    <a:pt x="53" y="15"/>
                    <a:pt x="53" y="15"/>
                  </a:cubicBezTo>
                  <a:cubicBezTo>
                    <a:pt x="52" y="16"/>
                    <a:pt x="52" y="17"/>
                    <a:pt x="52" y="18"/>
                  </a:cubicBezTo>
                  <a:cubicBezTo>
                    <a:pt x="51" y="20"/>
                    <a:pt x="50" y="22"/>
                    <a:pt x="49" y="24"/>
                  </a:cubicBezTo>
                  <a:cubicBezTo>
                    <a:pt x="49" y="26"/>
                    <a:pt x="46" y="28"/>
                    <a:pt x="44" y="29"/>
                  </a:cubicBezTo>
                  <a:cubicBezTo>
                    <a:pt x="42" y="31"/>
                    <a:pt x="40" y="33"/>
                    <a:pt x="37" y="35"/>
                  </a:cubicBezTo>
                  <a:cubicBezTo>
                    <a:pt x="34" y="37"/>
                    <a:pt x="31" y="38"/>
                    <a:pt x="29" y="40"/>
                  </a:cubicBezTo>
                  <a:cubicBezTo>
                    <a:pt x="27" y="42"/>
                    <a:pt x="25" y="43"/>
                    <a:pt x="23" y="43"/>
                  </a:cubicBezTo>
                  <a:cubicBezTo>
                    <a:pt x="22" y="43"/>
                    <a:pt x="20" y="43"/>
                    <a:pt x="20" y="44"/>
                  </a:cubicBezTo>
                  <a:cubicBezTo>
                    <a:pt x="19" y="45"/>
                    <a:pt x="18" y="46"/>
                    <a:pt x="18" y="47"/>
                  </a:cubicBezTo>
                  <a:cubicBezTo>
                    <a:pt x="16" y="49"/>
                    <a:pt x="14" y="49"/>
                    <a:pt x="16" y="51"/>
                  </a:cubicBezTo>
                  <a:cubicBezTo>
                    <a:pt x="15" y="52"/>
                    <a:pt x="14" y="52"/>
                    <a:pt x="13" y="53"/>
                  </a:cubicBezTo>
                  <a:cubicBezTo>
                    <a:pt x="12" y="53"/>
                    <a:pt x="11" y="53"/>
                    <a:pt x="10" y="54"/>
                  </a:cubicBezTo>
                  <a:cubicBezTo>
                    <a:pt x="10" y="54"/>
                    <a:pt x="11" y="55"/>
                    <a:pt x="11" y="55"/>
                  </a:cubicBezTo>
                  <a:cubicBezTo>
                    <a:pt x="10" y="56"/>
                    <a:pt x="9" y="55"/>
                    <a:pt x="8" y="56"/>
                  </a:cubicBezTo>
                  <a:cubicBezTo>
                    <a:pt x="9" y="56"/>
                    <a:pt x="9" y="56"/>
                    <a:pt x="9" y="56"/>
                  </a:cubicBezTo>
                  <a:cubicBezTo>
                    <a:pt x="8" y="57"/>
                    <a:pt x="6" y="56"/>
                    <a:pt x="8" y="58"/>
                  </a:cubicBezTo>
                  <a:cubicBezTo>
                    <a:pt x="6" y="57"/>
                    <a:pt x="6" y="59"/>
                    <a:pt x="8" y="59"/>
                  </a:cubicBezTo>
                  <a:cubicBezTo>
                    <a:pt x="6" y="60"/>
                    <a:pt x="9" y="61"/>
                    <a:pt x="7" y="62"/>
                  </a:cubicBezTo>
                  <a:cubicBezTo>
                    <a:pt x="8" y="61"/>
                    <a:pt x="7" y="60"/>
                    <a:pt x="6" y="61"/>
                  </a:cubicBezTo>
                  <a:cubicBezTo>
                    <a:pt x="7" y="59"/>
                    <a:pt x="3" y="60"/>
                    <a:pt x="4" y="62"/>
                  </a:cubicBezTo>
                  <a:cubicBezTo>
                    <a:pt x="4" y="64"/>
                    <a:pt x="5" y="62"/>
                    <a:pt x="6" y="63"/>
                  </a:cubicBezTo>
                  <a:cubicBezTo>
                    <a:pt x="6" y="63"/>
                    <a:pt x="4" y="63"/>
                    <a:pt x="4" y="64"/>
                  </a:cubicBezTo>
                  <a:cubicBezTo>
                    <a:pt x="4" y="64"/>
                    <a:pt x="5" y="64"/>
                    <a:pt x="6" y="64"/>
                  </a:cubicBezTo>
                  <a:cubicBezTo>
                    <a:pt x="5" y="64"/>
                    <a:pt x="5" y="64"/>
                    <a:pt x="4" y="65"/>
                  </a:cubicBezTo>
                  <a:cubicBezTo>
                    <a:pt x="5" y="64"/>
                    <a:pt x="5" y="64"/>
                    <a:pt x="6" y="65"/>
                  </a:cubicBezTo>
                  <a:cubicBezTo>
                    <a:pt x="5" y="65"/>
                    <a:pt x="4" y="65"/>
                    <a:pt x="3" y="66"/>
                  </a:cubicBezTo>
                  <a:cubicBezTo>
                    <a:pt x="1" y="66"/>
                    <a:pt x="0" y="66"/>
                    <a:pt x="1" y="68"/>
                  </a:cubicBezTo>
                  <a:cubicBezTo>
                    <a:pt x="2" y="68"/>
                    <a:pt x="3" y="67"/>
                    <a:pt x="3" y="67"/>
                  </a:cubicBezTo>
                  <a:cubicBezTo>
                    <a:pt x="4" y="68"/>
                    <a:pt x="2" y="68"/>
                    <a:pt x="2" y="69"/>
                  </a:cubicBezTo>
                  <a:cubicBezTo>
                    <a:pt x="3" y="69"/>
                    <a:pt x="4" y="68"/>
                    <a:pt x="5" y="68"/>
                  </a:cubicBezTo>
                  <a:cubicBezTo>
                    <a:pt x="4" y="68"/>
                    <a:pt x="4" y="69"/>
                    <a:pt x="4" y="69"/>
                  </a:cubicBezTo>
                  <a:cubicBezTo>
                    <a:pt x="4" y="69"/>
                    <a:pt x="3" y="70"/>
                    <a:pt x="3" y="70"/>
                  </a:cubicBezTo>
                  <a:cubicBezTo>
                    <a:pt x="3" y="71"/>
                    <a:pt x="6" y="71"/>
                    <a:pt x="7" y="71"/>
                  </a:cubicBezTo>
                  <a:cubicBezTo>
                    <a:pt x="9" y="71"/>
                    <a:pt x="11" y="71"/>
                    <a:pt x="13" y="71"/>
                  </a:cubicBezTo>
                  <a:cubicBezTo>
                    <a:pt x="14" y="71"/>
                    <a:pt x="14" y="73"/>
                    <a:pt x="15" y="73"/>
                  </a:cubicBezTo>
                  <a:cubicBezTo>
                    <a:pt x="16" y="73"/>
                    <a:pt x="19" y="73"/>
                    <a:pt x="20" y="74"/>
                  </a:cubicBezTo>
                  <a:cubicBezTo>
                    <a:pt x="21" y="75"/>
                    <a:pt x="20" y="75"/>
                    <a:pt x="20" y="76"/>
                  </a:cubicBezTo>
                  <a:cubicBezTo>
                    <a:pt x="21" y="76"/>
                    <a:pt x="23" y="76"/>
                    <a:pt x="24" y="76"/>
                  </a:cubicBezTo>
                  <a:cubicBezTo>
                    <a:pt x="28" y="77"/>
                    <a:pt x="30" y="76"/>
                    <a:pt x="33" y="75"/>
                  </a:cubicBezTo>
                  <a:cubicBezTo>
                    <a:pt x="37" y="73"/>
                    <a:pt x="37" y="70"/>
                    <a:pt x="40" y="68"/>
                  </a:cubicBezTo>
                  <a:cubicBezTo>
                    <a:pt x="42" y="68"/>
                    <a:pt x="43" y="67"/>
                    <a:pt x="45" y="67"/>
                  </a:cubicBezTo>
                  <a:cubicBezTo>
                    <a:pt x="44" y="66"/>
                    <a:pt x="43" y="66"/>
                    <a:pt x="43" y="67"/>
                  </a:cubicBezTo>
                  <a:cubicBezTo>
                    <a:pt x="43" y="63"/>
                    <a:pt x="46" y="59"/>
                    <a:pt x="48" y="56"/>
                  </a:cubicBezTo>
                  <a:cubicBezTo>
                    <a:pt x="49" y="55"/>
                    <a:pt x="49" y="53"/>
                    <a:pt x="49" y="52"/>
                  </a:cubicBezTo>
                  <a:cubicBezTo>
                    <a:pt x="49" y="51"/>
                    <a:pt x="49" y="50"/>
                    <a:pt x="50" y="49"/>
                  </a:cubicBezTo>
                  <a:cubicBezTo>
                    <a:pt x="50" y="49"/>
                    <a:pt x="50" y="48"/>
                    <a:pt x="50" y="47"/>
                  </a:cubicBezTo>
                  <a:cubicBezTo>
                    <a:pt x="51" y="46"/>
                    <a:pt x="53" y="45"/>
                    <a:pt x="55" y="45"/>
                  </a:cubicBezTo>
                  <a:cubicBezTo>
                    <a:pt x="57" y="44"/>
                    <a:pt x="58" y="43"/>
                    <a:pt x="60" y="42"/>
                  </a:cubicBezTo>
                  <a:cubicBezTo>
                    <a:pt x="61" y="41"/>
                    <a:pt x="63" y="39"/>
                    <a:pt x="64" y="40"/>
                  </a:cubicBezTo>
                  <a:cubicBezTo>
                    <a:pt x="64" y="41"/>
                    <a:pt x="63" y="41"/>
                    <a:pt x="62" y="41"/>
                  </a:cubicBezTo>
                  <a:cubicBezTo>
                    <a:pt x="63" y="41"/>
                    <a:pt x="64" y="41"/>
                    <a:pt x="65" y="41"/>
                  </a:cubicBezTo>
                  <a:cubicBezTo>
                    <a:pt x="66" y="41"/>
                    <a:pt x="66" y="42"/>
                    <a:pt x="67" y="42"/>
                  </a:cubicBezTo>
                  <a:cubicBezTo>
                    <a:pt x="70" y="41"/>
                    <a:pt x="68" y="37"/>
                    <a:pt x="67" y="39"/>
                  </a:cubicBezTo>
                  <a:cubicBezTo>
                    <a:pt x="67" y="38"/>
                    <a:pt x="67" y="38"/>
                    <a:pt x="66" y="39"/>
                  </a:cubicBezTo>
                  <a:cubicBezTo>
                    <a:pt x="66" y="38"/>
                    <a:pt x="65" y="38"/>
                    <a:pt x="65" y="39"/>
                  </a:cubicBezTo>
                  <a:cubicBezTo>
                    <a:pt x="65" y="38"/>
                    <a:pt x="65" y="36"/>
                    <a:pt x="65" y="35"/>
                  </a:cubicBezTo>
                  <a:cubicBezTo>
                    <a:pt x="65" y="34"/>
                    <a:pt x="67" y="32"/>
                    <a:pt x="68" y="31"/>
                  </a:cubicBezTo>
                  <a:cubicBezTo>
                    <a:pt x="71" y="28"/>
                    <a:pt x="73" y="25"/>
                    <a:pt x="76" y="22"/>
                  </a:cubicBezTo>
                  <a:cubicBezTo>
                    <a:pt x="77" y="20"/>
                    <a:pt x="78" y="19"/>
                    <a:pt x="79" y="17"/>
                  </a:cubicBezTo>
                  <a:cubicBezTo>
                    <a:pt x="79" y="17"/>
                    <a:pt x="81" y="16"/>
                    <a:pt x="81" y="15"/>
                  </a:cubicBezTo>
                  <a:cubicBezTo>
                    <a:pt x="81" y="14"/>
                    <a:pt x="80" y="13"/>
                    <a:pt x="80" y="12"/>
                  </a:cubicBezTo>
                  <a:cubicBezTo>
                    <a:pt x="78" y="9"/>
                    <a:pt x="80" y="10"/>
                    <a:pt x="81" y="9"/>
                  </a:cubicBezTo>
                  <a:cubicBezTo>
                    <a:pt x="80" y="9"/>
                    <a:pt x="79" y="10"/>
                    <a:pt x="78" y="9"/>
                  </a:cubicBezTo>
                  <a:cubicBezTo>
                    <a:pt x="78" y="9"/>
                    <a:pt x="79" y="9"/>
                    <a:pt x="80" y="8"/>
                  </a:cubicBezTo>
                  <a:cubicBezTo>
                    <a:pt x="80" y="8"/>
                    <a:pt x="80" y="8"/>
                    <a:pt x="80" y="7"/>
                  </a:cubicBezTo>
                  <a:cubicBezTo>
                    <a:pt x="80" y="7"/>
                    <a:pt x="80" y="8"/>
                    <a:pt x="80" y="7"/>
                  </a:cubicBezTo>
                  <a:cubicBezTo>
                    <a:pt x="80" y="8"/>
                    <a:pt x="81" y="7"/>
                    <a:pt x="81" y="7"/>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97" name="Freeform 2250">
              <a:extLst>
                <a:ext uri="{FF2B5EF4-FFF2-40B4-BE49-F238E27FC236}">
                  <a16:creationId xmlns:a16="http://schemas.microsoft.com/office/drawing/2014/main" id="{CE7547EE-94C9-4C53-A2C5-AB21DB625F98}"/>
                </a:ext>
              </a:extLst>
            </p:cNvPr>
            <p:cNvSpPr>
              <a:spLocks/>
            </p:cNvSpPr>
            <p:nvPr/>
          </p:nvSpPr>
          <p:spPr bwMode="auto">
            <a:xfrm>
              <a:off x="7864" y="4087"/>
              <a:ext cx="5" cy="2"/>
            </a:xfrm>
            <a:custGeom>
              <a:avLst/>
              <a:gdLst>
                <a:gd name="T0" fmla="*/ 2 w 2"/>
                <a:gd name="T1" fmla="*/ 0 h 1"/>
                <a:gd name="T2" fmla="*/ 2 w 2"/>
                <a:gd name="T3" fmla="*/ 0 h 1"/>
              </a:gdLst>
              <a:ahLst/>
              <a:cxnLst>
                <a:cxn ang="0">
                  <a:pos x="T0" y="T1"/>
                </a:cxn>
                <a:cxn ang="0">
                  <a:pos x="T2" y="T3"/>
                </a:cxn>
              </a:cxnLst>
              <a:rect l="0" t="0" r="r" b="b"/>
              <a:pathLst>
                <a:path w="2" h="1">
                  <a:moveTo>
                    <a:pt x="2" y="0"/>
                  </a:moveTo>
                  <a:cubicBezTo>
                    <a:pt x="0" y="0"/>
                    <a:pt x="0" y="1"/>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98" name="Freeform 2251">
              <a:extLst>
                <a:ext uri="{FF2B5EF4-FFF2-40B4-BE49-F238E27FC236}">
                  <a16:creationId xmlns:a16="http://schemas.microsoft.com/office/drawing/2014/main" id="{DD31729B-DDDB-4D59-8DCA-4F5D1A00EC53}"/>
                </a:ext>
              </a:extLst>
            </p:cNvPr>
            <p:cNvSpPr>
              <a:spLocks/>
            </p:cNvSpPr>
            <p:nvPr/>
          </p:nvSpPr>
          <p:spPr bwMode="auto">
            <a:xfrm>
              <a:off x="7552" y="4113"/>
              <a:ext cx="12" cy="12"/>
            </a:xfrm>
            <a:custGeom>
              <a:avLst/>
              <a:gdLst>
                <a:gd name="T0" fmla="*/ 5 w 5"/>
                <a:gd name="T1" fmla="*/ 1 h 5"/>
                <a:gd name="T2" fmla="*/ 3 w 5"/>
                <a:gd name="T3" fmla="*/ 2 h 5"/>
                <a:gd name="T4" fmla="*/ 2 w 5"/>
                <a:gd name="T5" fmla="*/ 3 h 5"/>
                <a:gd name="T6" fmla="*/ 5 w 5"/>
                <a:gd name="T7" fmla="*/ 5 h 5"/>
                <a:gd name="T8" fmla="*/ 4 w 5"/>
                <a:gd name="T9" fmla="*/ 3 h 5"/>
                <a:gd name="T10" fmla="*/ 5 w 5"/>
                <a:gd name="T11" fmla="*/ 1 h 5"/>
              </a:gdLst>
              <a:ahLst/>
              <a:cxnLst>
                <a:cxn ang="0">
                  <a:pos x="T0" y="T1"/>
                </a:cxn>
                <a:cxn ang="0">
                  <a:pos x="T2" y="T3"/>
                </a:cxn>
                <a:cxn ang="0">
                  <a:pos x="T4" y="T5"/>
                </a:cxn>
                <a:cxn ang="0">
                  <a:pos x="T6" y="T7"/>
                </a:cxn>
                <a:cxn ang="0">
                  <a:pos x="T8" y="T9"/>
                </a:cxn>
                <a:cxn ang="0">
                  <a:pos x="T10" y="T11"/>
                </a:cxn>
              </a:cxnLst>
              <a:rect l="0" t="0" r="r" b="b"/>
              <a:pathLst>
                <a:path w="5" h="5">
                  <a:moveTo>
                    <a:pt x="5" y="1"/>
                  </a:moveTo>
                  <a:cubicBezTo>
                    <a:pt x="4" y="0"/>
                    <a:pt x="3" y="0"/>
                    <a:pt x="3" y="2"/>
                  </a:cubicBezTo>
                  <a:cubicBezTo>
                    <a:pt x="3" y="3"/>
                    <a:pt x="3" y="3"/>
                    <a:pt x="2" y="3"/>
                  </a:cubicBezTo>
                  <a:cubicBezTo>
                    <a:pt x="0" y="5"/>
                    <a:pt x="3" y="4"/>
                    <a:pt x="5" y="5"/>
                  </a:cubicBezTo>
                  <a:cubicBezTo>
                    <a:pt x="5" y="4"/>
                    <a:pt x="4" y="4"/>
                    <a:pt x="4" y="3"/>
                  </a:cubicBezTo>
                  <a:cubicBezTo>
                    <a:pt x="4" y="2"/>
                    <a:pt x="5" y="2"/>
                    <a:pt x="5"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99" name="Freeform 2252">
              <a:extLst>
                <a:ext uri="{FF2B5EF4-FFF2-40B4-BE49-F238E27FC236}">
                  <a16:creationId xmlns:a16="http://schemas.microsoft.com/office/drawing/2014/main" id="{8AF8377F-BD18-4185-B32A-62DBB5B13CF5}"/>
                </a:ext>
              </a:extLst>
            </p:cNvPr>
            <p:cNvSpPr>
              <a:spLocks/>
            </p:cNvSpPr>
            <p:nvPr/>
          </p:nvSpPr>
          <p:spPr bwMode="auto">
            <a:xfrm>
              <a:off x="7630" y="4177"/>
              <a:ext cx="5" cy="2"/>
            </a:xfrm>
            <a:custGeom>
              <a:avLst/>
              <a:gdLst>
                <a:gd name="T0" fmla="*/ 0 w 2"/>
                <a:gd name="T1" fmla="*/ 0 h 1"/>
                <a:gd name="T2" fmla="*/ 2 w 2"/>
                <a:gd name="T3" fmla="*/ 0 h 1"/>
                <a:gd name="T4" fmla="*/ 0 w 2"/>
                <a:gd name="T5" fmla="*/ 0 h 1"/>
              </a:gdLst>
              <a:ahLst/>
              <a:cxnLst>
                <a:cxn ang="0">
                  <a:pos x="T0" y="T1"/>
                </a:cxn>
                <a:cxn ang="0">
                  <a:pos x="T2" y="T3"/>
                </a:cxn>
                <a:cxn ang="0">
                  <a:pos x="T4" y="T5"/>
                </a:cxn>
              </a:cxnLst>
              <a:rect l="0" t="0" r="r" b="b"/>
              <a:pathLst>
                <a:path w="2" h="1">
                  <a:moveTo>
                    <a:pt x="0" y="0"/>
                  </a:moveTo>
                  <a:cubicBezTo>
                    <a:pt x="1" y="1"/>
                    <a:pt x="2" y="1"/>
                    <a:pt x="2" y="0"/>
                  </a:cubicBezTo>
                  <a:cubicBezTo>
                    <a:pt x="1" y="0"/>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00" name="Freeform 2253">
              <a:extLst>
                <a:ext uri="{FF2B5EF4-FFF2-40B4-BE49-F238E27FC236}">
                  <a16:creationId xmlns:a16="http://schemas.microsoft.com/office/drawing/2014/main" id="{6CA0E7A1-C7B8-4BC3-BEF0-F84049922A27}"/>
                </a:ext>
              </a:extLst>
            </p:cNvPr>
            <p:cNvSpPr>
              <a:spLocks/>
            </p:cNvSpPr>
            <p:nvPr/>
          </p:nvSpPr>
          <p:spPr bwMode="auto">
            <a:xfrm>
              <a:off x="4041" y="718"/>
              <a:ext cx="12" cy="7"/>
            </a:xfrm>
            <a:custGeom>
              <a:avLst/>
              <a:gdLst>
                <a:gd name="T0" fmla="*/ 0 w 5"/>
                <a:gd name="T1" fmla="*/ 1 h 3"/>
                <a:gd name="T2" fmla="*/ 2 w 5"/>
                <a:gd name="T3" fmla="*/ 2 h 3"/>
                <a:gd name="T4" fmla="*/ 3 w 5"/>
                <a:gd name="T5" fmla="*/ 3 h 3"/>
                <a:gd name="T6" fmla="*/ 4 w 5"/>
                <a:gd name="T7" fmla="*/ 2 h 3"/>
                <a:gd name="T8" fmla="*/ 5 w 5"/>
                <a:gd name="T9" fmla="*/ 0 h 3"/>
                <a:gd name="T10" fmla="*/ 0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0" y="1"/>
                  </a:moveTo>
                  <a:cubicBezTo>
                    <a:pt x="1" y="2"/>
                    <a:pt x="1" y="3"/>
                    <a:pt x="2" y="2"/>
                  </a:cubicBezTo>
                  <a:cubicBezTo>
                    <a:pt x="2" y="2"/>
                    <a:pt x="2" y="3"/>
                    <a:pt x="3" y="3"/>
                  </a:cubicBezTo>
                  <a:cubicBezTo>
                    <a:pt x="3" y="3"/>
                    <a:pt x="4" y="2"/>
                    <a:pt x="4" y="2"/>
                  </a:cubicBezTo>
                  <a:cubicBezTo>
                    <a:pt x="5" y="2"/>
                    <a:pt x="4" y="1"/>
                    <a:pt x="5" y="0"/>
                  </a:cubicBezTo>
                  <a:cubicBezTo>
                    <a:pt x="3" y="0"/>
                    <a:pt x="2"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01" name="Freeform 2254">
              <a:extLst>
                <a:ext uri="{FF2B5EF4-FFF2-40B4-BE49-F238E27FC236}">
                  <a16:creationId xmlns:a16="http://schemas.microsoft.com/office/drawing/2014/main" id="{3ADCDBCC-37CB-4BD5-9858-3A86D6755F39}"/>
                </a:ext>
              </a:extLst>
            </p:cNvPr>
            <p:cNvSpPr>
              <a:spLocks/>
            </p:cNvSpPr>
            <p:nvPr/>
          </p:nvSpPr>
          <p:spPr bwMode="auto">
            <a:xfrm>
              <a:off x="4100" y="699"/>
              <a:ext cx="21" cy="17"/>
            </a:xfrm>
            <a:custGeom>
              <a:avLst/>
              <a:gdLst>
                <a:gd name="T0" fmla="*/ 5 w 9"/>
                <a:gd name="T1" fmla="*/ 5 h 7"/>
                <a:gd name="T2" fmla="*/ 8 w 9"/>
                <a:gd name="T3" fmla="*/ 2 h 7"/>
                <a:gd name="T4" fmla="*/ 7 w 9"/>
                <a:gd name="T5" fmla="*/ 0 h 7"/>
                <a:gd name="T6" fmla="*/ 7 w 9"/>
                <a:gd name="T7" fmla="*/ 1 h 7"/>
                <a:gd name="T8" fmla="*/ 0 w 9"/>
                <a:gd name="T9" fmla="*/ 4 h 7"/>
                <a:gd name="T10" fmla="*/ 5 w 9"/>
                <a:gd name="T11" fmla="*/ 5 h 7"/>
              </a:gdLst>
              <a:ahLst/>
              <a:cxnLst>
                <a:cxn ang="0">
                  <a:pos x="T0" y="T1"/>
                </a:cxn>
                <a:cxn ang="0">
                  <a:pos x="T2" y="T3"/>
                </a:cxn>
                <a:cxn ang="0">
                  <a:pos x="T4" y="T5"/>
                </a:cxn>
                <a:cxn ang="0">
                  <a:pos x="T6" y="T7"/>
                </a:cxn>
                <a:cxn ang="0">
                  <a:pos x="T8" y="T9"/>
                </a:cxn>
                <a:cxn ang="0">
                  <a:pos x="T10" y="T11"/>
                </a:cxn>
              </a:cxnLst>
              <a:rect l="0" t="0" r="r" b="b"/>
              <a:pathLst>
                <a:path w="9" h="7">
                  <a:moveTo>
                    <a:pt x="5" y="5"/>
                  </a:moveTo>
                  <a:cubicBezTo>
                    <a:pt x="6" y="5"/>
                    <a:pt x="9" y="3"/>
                    <a:pt x="8" y="2"/>
                  </a:cubicBezTo>
                  <a:cubicBezTo>
                    <a:pt x="8" y="1"/>
                    <a:pt x="8" y="0"/>
                    <a:pt x="7" y="0"/>
                  </a:cubicBezTo>
                  <a:cubicBezTo>
                    <a:pt x="6" y="0"/>
                    <a:pt x="7" y="1"/>
                    <a:pt x="7" y="1"/>
                  </a:cubicBezTo>
                  <a:cubicBezTo>
                    <a:pt x="5" y="3"/>
                    <a:pt x="3" y="3"/>
                    <a:pt x="0" y="4"/>
                  </a:cubicBezTo>
                  <a:cubicBezTo>
                    <a:pt x="2" y="5"/>
                    <a:pt x="3" y="7"/>
                    <a:pt x="5"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02" name="Freeform 2255">
              <a:extLst>
                <a:ext uri="{FF2B5EF4-FFF2-40B4-BE49-F238E27FC236}">
                  <a16:creationId xmlns:a16="http://schemas.microsoft.com/office/drawing/2014/main" id="{CEA38EF3-7743-4340-A691-3E50BE10DAD1}"/>
                </a:ext>
              </a:extLst>
            </p:cNvPr>
            <p:cNvSpPr>
              <a:spLocks/>
            </p:cNvSpPr>
            <p:nvPr/>
          </p:nvSpPr>
          <p:spPr bwMode="auto">
            <a:xfrm>
              <a:off x="3682" y="1035"/>
              <a:ext cx="9" cy="5"/>
            </a:xfrm>
            <a:custGeom>
              <a:avLst/>
              <a:gdLst>
                <a:gd name="T0" fmla="*/ 4 w 4"/>
                <a:gd name="T1" fmla="*/ 0 h 2"/>
                <a:gd name="T2" fmla="*/ 2 w 4"/>
                <a:gd name="T3" fmla="*/ 2 h 2"/>
                <a:gd name="T4" fmla="*/ 4 w 4"/>
                <a:gd name="T5" fmla="*/ 0 h 2"/>
              </a:gdLst>
              <a:ahLst/>
              <a:cxnLst>
                <a:cxn ang="0">
                  <a:pos x="T0" y="T1"/>
                </a:cxn>
                <a:cxn ang="0">
                  <a:pos x="T2" y="T3"/>
                </a:cxn>
                <a:cxn ang="0">
                  <a:pos x="T4" y="T5"/>
                </a:cxn>
              </a:cxnLst>
              <a:rect l="0" t="0" r="r" b="b"/>
              <a:pathLst>
                <a:path w="4" h="2">
                  <a:moveTo>
                    <a:pt x="4" y="0"/>
                  </a:moveTo>
                  <a:cubicBezTo>
                    <a:pt x="3" y="0"/>
                    <a:pt x="0" y="1"/>
                    <a:pt x="2" y="2"/>
                  </a:cubicBezTo>
                  <a:cubicBezTo>
                    <a:pt x="3" y="2"/>
                    <a:pt x="3" y="1"/>
                    <a:pt x="4"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03" name="Freeform 2256">
              <a:extLst>
                <a:ext uri="{FF2B5EF4-FFF2-40B4-BE49-F238E27FC236}">
                  <a16:creationId xmlns:a16="http://schemas.microsoft.com/office/drawing/2014/main" id="{B532AF6C-7403-4BA5-92AB-1C53B7C3C84D}"/>
                </a:ext>
              </a:extLst>
            </p:cNvPr>
            <p:cNvSpPr>
              <a:spLocks/>
            </p:cNvSpPr>
            <p:nvPr/>
          </p:nvSpPr>
          <p:spPr bwMode="auto">
            <a:xfrm>
              <a:off x="3674" y="1141"/>
              <a:ext cx="5" cy="10"/>
            </a:xfrm>
            <a:custGeom>
              <a:avLst/>
              <a:gdLst>
                <a:gd name="T0" fmla="*/ 0 w 2"/>
                <a:gd name="T1" fmla="*/ 3 h 4"/>
                <a:gd name="T2" fmla="*/ 1 w 2"/>
                <a:gd name="T3" fmla="*/ 3 h 4"/>
                <a:gd name="T4" fmla="*/ 1 w 2"/>
                <a:gd name="T5" fmla="*/ 0 h 4"/>
                <a:gd name="T6" fmla="*/ 0 w 2"/>
                <a:gd name="T7" fmla="*/ 3 h 4"/>
              </a:gdLst>
              <a:ahLst/>
              <a:cxnLst>
                <a:cxn ang="0">
                  <a:pos x="T0" y="T1"/>
                </a:cxn>
                <a:cxn ang="0">
                  <a:pos x="T2" y="T3"/>
                </a:cxn>
                <a:cxn ang="0">
                  <a:pos x="T4" y="T5"/>
                </a:cxn>
                <a:cxn ang="0">
                  <a:pos x="T6" y="T7"/>
                </a:cxn>
              </a:cxnLst>
              <a:rect l="0" t="0" r="r" b="b"/>
              <a:pathLst>
                <a:path w="2" h="4">
                  <a:moveTo>
                    <a:pt x="0" y="3"/>
                  </a:moveTo>
                  <a:cubicBezTo>
                    <a:pt x="1" y="4"/>
                    <a:pt x="1" y="4"/>
                    <a:pt x="1" y="3"/>
                  </a:cubicBezTo>
                  <a:cubicBezTo>
                    <a:pt x="2" y="2"/>
                    <a:pt x="1" y="1"/>
                    <a:pt x="1" y="0"/>
                  </a:cubicBezTo>
                  <a:cubicBezTo>
                    <a:pt x="0" y="1"/>
                    <a:pt x="0" y="3"/>
                    <a:pt x="0"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04" name="Freeform 2257">
              <a:extLst>
                <a:ext uri="{FF2B5EF4-FFF2-40B4-BE49-F238E27FC236}">
                  <a16:creationId xmlns:a16="http://schemas.microsoft.com/office/drawing/2014/main" id="{F761A06B-C0E3-46A5-8CE9-5517D0E8CBC3}"/>
                </a:ext>
              </a:extLst>
            </p:cNvPr>
            <p:cNvSpPr>
              <a:spLocks/>
            </p:cNvSpPr>
            <p:nvPr/>
          </p:nvSpPr>
          <p:spPr bwMode="auto">
            <a:xfrm>
              <a:off x="4001" y="720"/>
              <a:ext cx="26" cy="14"/>
            </a:xfrm>
            <a:custGeom>
              <a:avLst/>
              <a:gdLst>
                <a:gd name="T0" fmla="*/ 7 w 11"/>
                <a:gd name="T1" fmla="*/ 6 h 6"/>
                <a:gd name="T2" fmla="*/ 10 w 11"/>
                <a:gd name="T3" fmla="*/ 3 h 6"/>
                <a:gd name="T4" fmla="*/ 9 w 11"/>
                <a:gd name="T5" fmla="*/ 2 h 6"/>
                <a:gd name="T6" fmla="*/ 4 w 11"/>
                <a:gd name="T7" fmla="*/ 2 h 6"/>
                <a:gd name="T8" fmla="*/ 1 w 11"/>
                <a:gd name="T9" fmla="*/ 3 h 6"/>
                <a:gd name="T10" fmla="*/ 3 w 11"/>
                <a:gd name="T11" fmla="*/ 5 h 6"/>
                <a:gd name="T12" fmla="*/ 7 w 11"/>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 h="6">
                  <a:moveTo>
                    <a:pt x="7" y="6"/>
                  </a:moveTo>
                  <a:cubicBezTo>
                    <a:pt x="8" y="6"/>
                    <a:pt x="9" y="4"/>
                    <a:pt x="10" y="3"/>
                  </a:cubicBezTo>
                  <a:cubicBezTo>
                    <a:pt x="11" y="2"/>
                    <a:pt x="10" y="2"/>
                    <a:pt x="9" y="2"/>
                  </a:cubicBezTo>
                  <a:cubicBezTo>
                    <a:pt x="8" y="1"/>
                    <a:pt x="3" y="0"/>
                    <a:pt x="4" y="2"/>
                  </a:cubicBezTo>
                  <a:cubicBezTo>
                    <a:pt x="3" y="1"/>
                    <a:pt x="2" y="2"/>
                    <a:pt x="1" y="3"/>
                  </a:cubicBezTo>
                  <a:cubicBezTo>
                    <a:pt x="0" y="4"/>
                    <a:pt x="1" y="4"/>
                    <a:pt x="3" y="5"/>
                  </a:cubicBezTo>
                  <a:cubicBezTo>
                    <a:pt x="4" y="6"/>
                    <a:pt x="5" y="6"/>
                    <a:pt x="7" y="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05" name="Freeform 2258">
              <a:extLst>
                <a:ext uri="{FF2B5EF4-FFF2-40B4-BE49-F238E27FC236}">
                  <a16:creationId xmlns:a16="http://schemas.microsoft.com/office/drawing/2014/main" id="{F7AE8BC9-1073-48F3-BB9D-375C0001A81C}"/>
                </a:ext>
              </a:extLst>
            </p:cNvPr>
            <p:cNvSpPr>
              <a:spLocks/>
            </p:cNvSpPr>
            <p:nvPr/>
          </p:nvSpPr>
          <p:spPr bwMode="auto">
            <a:xfrm>
              <a:off x="3897" y="765"/>
              <a:ext cx="26" cy="22"/>
            </a:xfrm>
            <a:custGeom>
              <a:avLst/>
              <a:gdLst>
                <a:gd name="T0" fmla="*/ 4 w 11"/>
                <a:gd name="T1" fmla="*/ 5 h 9"/>
                <a:gd name="T2" fmla="*/ 1 w 11"/>
                <a:gd name="T3" fmla="*/ 8 h 9"/>
                <a:gd name="T4" fmla="*/ 2 w 11"/>
                <a:gd name="T5" fmla="*/ 8 h 9"/>
                <a:gd name="T6" fmla="*/ 3 w 11"/>
                <a:gd name="T7" fmla="*/ 7 h 9"/>
                <a:gd name="T8" fmla="*/ 7 w 11"/>
                <a:gd name="T9" fmla="*/ 7 h 9"/>
                <a:gd name="T10" fmla="*/ 6 w 11"/>
                <a:gd name="T11" fmla="*/ 9 h 9"/>
                <a:gd name="T12" fmla="*/ 9 w 11"/>
                <a:gd name="T13" fmla="*/ 8 h 9"/>
                <a:gd name="T14" fmla="*/ 10 w 11"/>
                <a:gd name="T15" fmla="*/ 6 h 9"/>
                <a:gd name="T16" fmla="*/ 10 w 11"/>
                <a:gd name="T17" fmla="*/ 4 h 9"/>
                <a:gd name="T18" fmla="*/ 9 w 11"/>
                <a:gd name="T19" fmla="*/ 4 h 9"/>
                <a:gd name="T20" fmla="*/ 7 w 11"/>
                <a:gd name="T21" fmla="*/ 2 h 9"/>
                <a:gd name="T22" fmla="*/ 7 w 11"/>
                <a:gd name="T23" fmla="*/ 3 h 9"/>
                <a:gd name="T24" fmla="*/ 4 w 11"/>
                <a:gd name="T25"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9">
                  <a:moveTo>
                    <a:pt x="4" y="5"/>
                  </a:moveTo>
                  <a:cubicBezTo>
                    <a:pt x="3" y="6"/>
                    <a:pt x="0" y="7"/>
                    <a:pt x="1" y="8"/>
                  </a:cubicBezTo>
                  <a:cubicBezTo>
                    <a:pt x="1" y="9"/>
                    <a:pt x="2" y="8"/>
                    <a:pt x="2" y="8"/>
                  </a:cubicBezTo>
                  <a:cubicBezTo>
                    <a:pt x="3" y="8"/>
                    <a:pt x="3" y="8"/>
                    <a:pt x="3" y="7"/>
                  </a:cubicBezTo>
                  <a:cubicBezTo>
                    <a:pt x="4" y="7"/>
                    <a:pt x="5" y="7"/>
                    <a:pt x="7" y="7"/>
                  </a:cubicBezTo>
                  <a:cubicBezTo>
                    <a:pt x="6" y="8"/>
                    <a:pt x="5" y="9"/>
                    <a:pt x="6" y="9"/>
                  </a:cubicBezTo>
                  <a:cubicBezTo>
                    <a:pt x="7" y="9"/>
                    <a:pt x="9" y="8"/>
                    <a:pt x="9" y="8"/>
                  </a:cubicBezTo>
                  <a:cubicBezTo>
                    <a:pt x="10" y="7"/>
                    <a:pt x="11" y="7"/>
                    <a:pt x="10" y="6"/>
                  </a:cubicBezTo>
                  <a:cubicBezTo>
                    <a:pt x="10" y="5"/>
                    <a:pt x="11" y="5"/>
                    <a:pt x="10" y="4"/>
                  </a:cubicBezTo>
                  <a:cubicBezTo>
                    <a:pt x="10" y="4"/>
                    <a:pt x="9" y="5"/>
                    <a:pt x="9" y="4"/>
                  </a:cubicBezTo>
                  <a:cubicBezTo>
                    <a:pt x="9" y="4"/>
                    <a:pt x="7" y="0"/>
                    <a:pt x="7" y="2"/>
                  </a:cubicBezTo>
                  <a:cubicBezTo>
                    <a:pt x="6" y="3"/>
                    <a:pt x="7" y="3"/>
                    <a:pt x="7" y="3"/>
                  </a:cubicBezTo>
                  <a:cubicBezTo>
                    <a:pt x="6" y="4"/>
                    <a:pt x="5" y="5"/>
                    <a:pt x="4"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06" name="Freeform 2259">
              <a:extLst>
                <a:ext uri="{FF2B5EF4-FFF2-40B4-BE49-F238E27FC236}">
                  <a16:creationId xmlns:a16="http://schemas.microsoft.com/office/drawing/2014/main" id="{BD920469-F9DF-4CE1-B716-C29AE9FFE2A0}"/>
                </a:ext>
              </a:extLst>
            </p:cNvPr>
            <p:cNvSpPr>
              <a:spLocks/>
            </p:cNvSpPr>
            <p:nvPr/>
          </p:nvSpPr>
          <p:spPr bwMode="auto">
            <a:xfrm>
              <a:off x="3743" y="1002"/>
              <a:ext cx="5" cy="2"/>
            </a:xfrm>
            <a:custGeom>
              <a:avLst/>
              <a:gdLst>
                <a:gd name="T0" fmla="*/ 2 w 2"/>
                <a:gd name="T1" fmla="*/ 0 h 1"/>
                <a:gd name="T2" fmla="*/ 0 w 2"/>
                <a:gd name="T3" fmla="*/ 0 h 1"/>
                <a:gd name="T4" fmla="*/ 1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1" y="0"/>
                    <a:pt x="0" y="0"/>
                    <a:pt x="0" y="0"/>
                  </a:cubicBezTo>
                  <a:cubicBezTo>
                    <a:pt x="0" y="0"/>
                    <a:pt x="0" y="0"/>
                    <a:pt x="1" y="1"/>
                  </a:cubicBezTo>
                  <a:cubicBezTo>
                    <a:pt x="1" y="1"/>
                    <a:pt x="2" y="1"/>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07" name="Freeform 2260">
              <a:extLst>
                <a:ext uri="{FF2B5EF4-FFF2-40B4-BE49-F238E27FC236}">
                  <a16:creationId xmlns:a16="http://schemas.microsoft.com/office/drawing/2014/main" id="{5158B959-CA21-4D06-8785-FDB085017795}"/>
                </a:ext>
              </a:extLst>
            </p:cNvPr>
            <p:cNvSpPr>
              <a:spLocks/>
            </p:cNvSpPr>
            <p:nvPr/>
          </p:nvSpPr>
          <p:spPr bwMode="auto">
            <a:xfrm>
              <a:off x="3923" y="758"/>
              <a:ext cx="16" cy="17"/>
            </a:xfrm>
            <a:custGeom>
              <a:avLst/>
              <a:gdLst>
                <a:gd name="T0" fmla="*/ 2 w 7"/>
                <a:gd name="T1" fmla="*/ 5 h 7"/>
                <a:gd name="T2" fmla="*/ 5 w 7"/>
                <a:gd name="T3" fmla="*/ 3 h 7"/>
                <a:gd name="T4" fmla="*/ 6 w 7"/>
                <a:gd name="T5" fmla="*/ 2 h 7"/>
                <a:gd name="T6" fmla="*/ 7 w 7"/>
                <a:gd name="T7" fmla="*/ 0 h 7"/>
                <a:gd name="T8" fmla="*/ 0 w 7"/>
                <a:gd name="T9" fmla="*/ 6 h 7"/>
                <a:gd name="T10" fmla="*/ 1 w 7"/>
                <a:gd name="T11" fmla="*/ 5 h 7"/>
                <a:gd name="T12" fmla="*/ 2 w 7"/>
                <a:gd name="T13" fmla="*/ 5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2" y="5"/>
                  </a:moveTo>
                  <a:cubicBezTo>
                    <a:pt x="3" y="5"/>
                    <a:pt x="4" y="4"/>
                    <a:pt x="5" y="3"/>
                  </a:cubicBezTo>
                  <a:cubicBezTo>
                    <a:pt x="5" y="3"/>
                    <a:pt x="6" y="3"/>
                    <a:pt x="6" y="2"/>
                  </a:cubicBezTo>
                  <a:cubicBezTo>
                    <a:pt x="7" y="1"/>
                    <a:pt x="7" y="1"/>
                    <a:pt x="7" y="0"/>
                  </a:cubicBezTo>
                  <a:cubicBezTo>
                    <a:pt x="4" y="1"/>
                    <a:pt x="0" y="2"/>
                    <a:pt x="0" y="6"/>
                  </a:cubicBezTo>
                  <a:cubicBezTo>
                    <a:pt x="0" y="7"/>
                    <a:pt x="1" y="6"/>
                    <a:pt x="1" y="5"/>
                  </a:cubicBezTo>
                  <a:cubicBezTo>
                    <a:pt x="1" y="4"/>
                    <a:pt x="2" y="5"/>
                    <a:pt x="2"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08" name="Freeform 2261">
              <a:extLst>
                <a:ext uri="{FF2B5EF4-FFF2-40B4-BE49-F238E27FC236}">
                  <a16:creationId xmlns:a16="http://schemas.microsoft.com/office/drawing/2014/main" id="{67C0B98B-EB32-4FD7-91E0-B2A1B5992FFB}"/>
                </a:ext>
              </a:extLst>
            </p:cNvPr>
            <p:cNvSpPr>
              <a:spLocks/>
            </p:cNvSpPr>
            <p:nvPr/>
          </p:nvSpPr>
          <p:spPr bwMode="auto">
            <a:xfrm>
              <a:off x="3913" y="770"/>
              <a:ext cx="38" cy="28"/>
            </a:xfrm>
            <a:custGeom>
              <a:avLst/>
              <a:gdLst>
                <a:gd name="T0" fmla="*/ 5 w 16"/>
                <a:gd name="T1" fmla="*/ 12 h 12"/>
                <a:gd name="T2" fmla="*/ 6 w 16"/>
                <a:gd name="T3" fmla="*/ 11 h 12"/>
                <a:gd name="T4" fmla="*/ 8 w 16"/>
                <a:gd name="T5" fmla="*/ 10 h 12"/>
                <a:gd name="T6" fmla="*/ 11 w 16"/>
                <a:gd name="T7" fmla="*/ 8 h 12"/>
                <a:gd name="T8" fmla="*/ 15 w 16"/>
                <a:gd name="T9" fmla="*/ 7 h 12"/>
                <a:gd name="T10" fmla="*/ 16 w 16"/>
                <a:gd name="T11" fmla="*/ 2 h 12"/>
                <a:gd name="T12" fmla="*/ 12 w 16"/>
                <a:gd name="T13" fmla="*/ 2 h 12"/>
                <a:gd name="T14" fmla="*/ 11 w 16"/>
                <a:gd name="T15" fmla="*/ 4 h 12"/>
                <a:gd name="T16" fmla="*/ 10 w 16"/>
                <a:gd name="T17" fmla="*/ 6 h 12"/>
                <a:gd name="T18" fmla="*/ 7 w 16"/>
                <a:gd name="T19" fmla="*/ 8 h 12"/>
                <a:gd name="T20" fmla="*/ 8 w 16"/>
                <a:gd name="T21" fmla="*/ 6 h 12"/>
                <a:gd name="T22" fmla="*/ 9 w 16"/>
                <a:gd name="T23" fmla="*/ 5 h 12"/>
                <a:gd name="T24" fmla="*/ 8 w 16"/>
                <a:gd name="T25" fmla="*/ 4 h 12"/>
                <a:gd name="T26" fmla="*/ 9 w 16"/>
                <a:gd name="T27" fmla="*/ 0 h 12"/>
                <a:gd name="T28" fmla="*/ 6 w 16"/>
                <a:gd name="T29" fmla="*/ 3 h 12"/>
                <a:gd name="T30" fmla="*/ 5 w 16"/>
                <a:gd name="T31" fmla="*/ 4 h 12"/>
                <a:gd name="T32" fmla="*/ 7 w 16"/>
                <a:gd name="T33" fmla="*/ 5 h 12"/>
                <a:gd name="T34" fmla="*/ 4 w 16"/>
                <a:gd name="T35" fmla="*/ 4 h 12"/>
                <a:gd name="T36" fmla="*/ 5 w 16"/>
                <a:gd name="T37" fmla="*/ 6 h 12"/>
                <a:gd name="T38" fmla="*/ 3 w 16"/>
                <a:gd name="T39" fmla="*/ 7 h 12"/>
                <a:gd name="T40" fmla="*/ 3 w 16"/>
                <a:gd name="T41" fmla="*/ 9 h 12"/>
                <a:gd name="T42" fmla="*/ 0 w 16"/>
                <a:gd name="T43" fmla="*/ 11 h 12"/>
                <a:gd name="T44" fmla="*/ 5 w 16"/>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12">
                  <a:moveTo>
                    <a:pt x="5" y="12"/>
                  </a:moveTo>
                  <a:cubicBezTo>
                    <a:pt x="6" y="12"/>
                    <a:pt x="5" y="12"/>
                    <a:pt x="6" y="11"/>
                  </a:cubicBezTo>
                  <a:cubicBezTo>
                    <a:pt x="7" y="11"/>
                    <a:pt x="8" y="10"/>
                    <a:pt x="8" y="10"/>
                  </a:cubicBezTo>
                  <a:cubicBezTo>
                    <a:pt x="9" y="9"/>
                    <a:pt x="10" y="8"/>
                    <a:pt x="11" y="8"/>
                  </a:cubicBezTo>
                  <a:cubicBezTo>
                    <a:pt x="12" y="7"/>
                    <a:pt x="13" y="7"/>
                    <a:pt x="15" y="7"/>
                  </a:cubicBezTo>
                  <a:cubicBezTo>
                    <a:pt x="15" y="7"/>
                    <a:pt x="16" y="3"/>
                    <a:pt x="16" y="2"/>
                  </a:cubicBezTo>
                  <a:cubicBezTo>
                    <a:pt x="15" y="3"/>
                    <a:pt x="13" y="1"/>
                    <a:pt x="12" y="2"/>
                  </a:cubicBezTo>
                  <a:cubicBezTo>
                    <a:pt x="11" y="3"/>
                    <a:pt x="11" y="3"/>
                    <a:pt x="11" y="4"/>
                  </a:cubicBezTo>
                  <a:cubicBezTo>
                    <a:pt x="12" y="4"/>
                    <a:pt x="11" y="5"/>
                    <a:pt x="10" y="6"/>
                  </a:cubicBezTo>
                  <a:cubicBezTo>
                    <a:pt x="9" y="6"/>
                    <a:pt x="8" y="7"/>
                    <a:pt x="7" y="8"/>
                  </a:cubicBezTo>
                  <a:cubicBezTo>
                    <a:pt x="8" y="7"/>
                    <a:pt x="7" y="6"/>
                    <a:pt x="8" y="6"/>
                  </a:cubicBezTo>
                  <a:cubicBezTo>
                    <a:pt x="8" y="6"/>
                    <a:pt x="9" y="6"/>
                    <a:pt x="9" y="5"/>
                  </a:cubicBezTo>
                  <a:cubicBezTo>
                    <a:pt x="9" y="5"/>
                    <a:pt x="8" y="4"/>
                    <a:pt x="8" y="4"/>
                  </a:cubicBezTo>
                  <a:cubicBezTo>
                    <a:pt x="9" y="3"/>
                    <a:pt x="9" y="2"/>
                    <a:pt x="9" y="0"/>
                  </a:cubicBezTo>
                  <a:cubicBezTo>
                    <a:pt x="6" y="0"/>
                    <a:pt x="6" y="0"/>
                    <a:pt x="6" y="3"/>
                  </a:cubicBezTo>
                  <a:cubicBezTo>
                    <a:pt x="5" y="3"/>
                    <a:pt x="4" y="3"/>
                    <a:pt x="5" y="4"/>
                  </a:cubicBezTo>
                  <a:cubicBezTo>
                    <a:pt x="5" y="4"/>
                    <a:pt x="6" y="4"/>
                    <a:pt x="7" y="5"/>
                  </a:cubicBezTo>
                  <a:cubicBezTo>
                    <a:pt x="6" y="5"/>
                    <a:pt x="4" y="4"/>
                    <a:pt x="4" y="4"/>
                  </a:cubicBezTo>
                  <a:cubicBezTo>
                    <a:pt x="4" y="5"/>
                    <a:pt x="5" y="6"/>
                    <a:pt x="5" y="6"/>
                  </a:cubicBezTo>
                  <a:cubicBezTo>
                    <a:pt x="4" y="6"/>
                    <a:pt x="3" y="7"/>
                    <a:pt x="3" y="7"/>
                  </a:cubicBezTo>
                  <a:cubicBezTo>
                    <a:pt x="3" y="8"/>
                    <a:pt x="3" y="8"/>
                    <a:pt x="3" y="9"/>
                  </a:cubicBezTo>
                  <a:cubicBezTo>
                    <a:pt x="2" y="10"/>
                    <a:pt x="1" y="11"/>
                    <a:pt x="0" y="11"/>
                  </a:cubicBezTo>
                  <a:cubicBezTo>
                    <a:pt x="2" y="11"/>
                    <a:pt x="3" y="11"/>
                    <a:pt x="5" y="1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09" name="Freeform 2262">
              <a:extLst>
                <a:ext uri="{FF2B5EF4-FFF2-40B4-BE49-F238E27FC236}">
                  <a16:creationId xmlns:a16="http://schemas.microsoft.com/office/drawing/2014/main" id="{887D2BA4-976B-4880-9393-A9A8C1A86734}"/>
                </a:ext>
              </a:extLst>
            </p:cNvPr>
            <p:cNvSpPr>
              <a:spLocks/>
            </p:cNvSpPr>
            <p:nvPr/>
          </p:nvSpPr>
          <p:spPr bwMode="auto">
            <a:xfrm>
              <a:off x="3984" y="730"/>
              <a:ext cx="26" cy="14"/>
            </a:xfrm>
            <a:custGeom>
              <a:avLst/>
              <a:gdLst>
                <a:gd name="T0" fmla="*/ 8 w 11"/>
                <a:gd name="T1" fmla="*/ 4 h 6"/>
                <a:gd name="T2" fmla="*/ 11 w 11"/>
                <a:gd name="T3" fmla="*/ 3 h 6"/>
                <a:gd name="T4" fmla="*/ 8 w 11"/>
                <a:gd name="T5" fmla="*/ 1 h 6"/>
                <a:gd name="T6" fmla="*/ 7 w 11"/>
                <a:gd name="T7" fmla="*/ 1 h 6"/>
                <a:gd name="T8" fmla="*/ 7 w 11"/>
                <a:gd name="T9" fmla="*/ 4 h 6"/>
                <a:gd name="T10" fmla="*/ 6 w 11"/>
                <a:gd name="T11" fmla="*/ 2 h 6"/>
                <a:gd name="T12" fmla="*/ 5 w 11"/>
                <a:gd name="T13" fmla="*/ 3 h 6"/>
                <a:gd name="T14" fmla="*/ 5 w 11"/>
                <a:gd name="T15" fmla="*/ 3 h 6"/>
                <a:gd name="T16" fmla="*/ 4 w 11"/>
                <a:gd name="T17" fmla="*/ 2 h 6"/>
                <a:gd name="T18" fmla="*/ 2 w 11"/>
                <a:gd name="T19" fmla="*/ 4 h 6"/>
                <a:gd name="T20" fmla="*/ 3 w 11"/>
                <a:gd name="T21" fmla="*/ 6 h 6"/>
                <a:gd name="T22" fmla="*/ 0 w 11"/>
                <a:gd name="T23" fmla="*/ 6 h 6"/>
                <a:gd name="T24" fmla="*/ 6 w 11"/>
                <a:gd name="T25" fmla="*/ 6 h 6"/>
                <a:gd name="T26" fmla="*/ 8 w 11"/>
                <a:gd name="T2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6">
                  <a:moveTo>
                    <a:pt x="8" y="4"/>
                  </a:moveTo>
                  <a:cubicBezTo>
                    <a:pt x="9" y="4"/>
                    <a:pt x="11" y="3"/>
                    <a:pt x="11" y="3"/>
                  </a:cubicBezTo>
                  <a:cubicBezTo>
                    <a:pt x="11" y="2"/>
                    <a:pt x="9" y="1"/>
                    <a:pt x="8" y="1"/>
                  </a:cubicBezTo>
                  <a:cubicBezTo>
                    <a:pt x="9" y="1"/>
                    <a:pt x="8" y="0"/>
                    <a:pt x="7" y="1"/>
                  </a:cubicBezTo>
                  <a:cubicBezTo>
                    <a:pt x="7" y="1"/>
                    <a:pt x="7" y="3"/>
                    <a:pt x="7" y="4"/>
                  </a:cubicBezTo>
                  <a:cubicBezTo>
                    <a:pt x="7" y="3"/>
                    <a:pt x="7" y="2"/>
                    <a:pt x="6" y="2"/>
                  </a:cubicBezTo>
                  <a:cubicBezTo>
                    <a:pt x="5" y="2"/>
                    <a:pt x="5" y="3"/>
                    <a:pt x="5" y="3"/>
                  </a:cubicBezTo>
                  <a:cubicBezTo>
                    <a:pt x="5" y="3"/>
                    <a:pt x="5" y="3"/>
                    <a:pt x="5" y="3"/>
                  </a:cubicBezTo>
                  <a:cubicBezTo>
                    <a:pt x="4" y="3"/>
                    <a:pt x="4" y="2"/>
                    <a:pt x="4" y="2"/>
                  </a:cubicBezTo>
                  <a:cubicBezTo>
                    <a:pt x="3" y="3"/>
                    <a:pt x="3" y="4"/>
                    <a:pt x="2" y="4"/>
                  </a:cubicBezTo>
                  <a:cubicBezTo>
                    <a:pt x="2" y="5"/>
                    <a:pt x="3" y="5"/>
                    <a:pt x="3" y="6"/>
                  </a:cubicBezTo>
                  <a:cubicBezTo>
                    <a:pt x="2" y="5"/>
                    <a:pt x="1" y="5"/>
                    <a:pt x="0" y="6"/>
                  </a:cubicBezTo>
                  <a:cubicBezTo>
                    <a:pt x="2" y="6"/>
                    <a:pt x="4" y="6"/>
                    <a:pt x="6" y="6"/>
                  </a:cubicBezTo>
                  <a:cubicBezTo>
                    <a:pt x="8" y="6"/>
                    <a:pt x="8" y="6"/>
                    <a:pt x="8"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10" name="Freeform 2263">
              <a:extLst>
                <a:ext uri="{FF2B5EF4-FFF2-40B4-BE49-F238E27FC236}">
                  <a16:creationId xmlns:a16="http://schemas.microsoft.com/office/drawing/2014/main" id="{0811B8D8-8653-44D3-9097-4929D3AF4270}"/>
                </a:ext>
              </a:extLst>
            </p:cNvPr>
            <p:cNvSpPr>
              <a:spLocks/>
            </p:cNvSpPr>
            <p:nvPr/>
          </p:nvSpPr>
          <p:spPr bwMode="auto">
            <a:xfrm>
              <a:off x="3951" y="744"/>
              <a:ext cx="36" cy="24"/>
            </a:xfrm>
            <a:custGeom>
              <a:avLst/>
              <a:gdLst>
                <a:gd name="T0" fmla="*/ 5 w 15"/>
                <a:gd name="T1" fmla="*/ 10 h 10"/>
                <a:gd name="T2" fmla="*/ 6 w 15"/>
                <a:gd name="T3" fmla="*/ 10 h 10"/>
                <a:gd name="T4" fmla="*/ 11 w 15"/>
                <a:gd name="T5" fmla="*/ 8 h 10"/>
                <a:gd name="T6" fmla="*/ 14 w 15"/>
                <a:gd name="T7" fmla="*/ 7 h 10"/>
                <a:gd name="T8" fmla="*/ 14 w 15"/>
                <a:gd name="T9" fmla="*/ 5 h 10"/>
                <a:gd name="T10" fmla="*/ 14 w 15"/>
                <a:gd name="T11" fmla="*/ 3 h 10"/>
                <a:gd name="T12" fmla="*/ 15 w 15"/>
                <a:gd name="T13" fmla="*/ 2 h 10"/>
                <a:gd name="T14" fmla="*/ 12 w 15"/>
                <a:gd name="T15" fmla="*/ 0 h 10"/>
                <a:gd name="T16" fmla="*/ 12 w 15"/>
                <a:gd name="T17" fmla="*/ 1 h 10"/>
                <a:gd name="T18" fmla="*/ 11 w 15"/>
                <a:gd name="T19" fmla="*/ 0 h 10"/>
                <a:gd name="T20" fmla="*/ 11 w 15"/>
                <a:gd name="T21" fmla="*/ 1 h 10"/>
                <a:gd name="T22" fmla="*/ 9 w 15"/>
                <a:gd name="T23" fmla="*/ 0 h 10"/>
                <a:gd name="T24" fmla="*/ 10 w 15"/>
                <a:gd name="T25" fmla="*/ 2 h 10"/>
                <a:gd name="T26" fmla="*/ 9 w 15"/>
                <a:gd name="T27" fmla="*/ 2 h 10"/>
                <a:gd name="T28" fmla="*/ 6 w 15"/>
                <a:gd name="T29" fmla="*/ 2 h 10"/>
                <a:gd name="T30" fmla="*/ 9 w 15"/>
                <a:gd name="T31" fmla="*/ 3 h 10"/>
                <a:gd name="T32" fmla="*/ 8 w 15"/>
                <a:gd name="T33" fmla="*/ 4 h 10"/>
                <a:gd name="T34" fmla="*/ 3 w 15"/>
                <a:gd name="T35" fmla="*/ 4 h 10"/>
                <a:gd name="T36" fmla="*/ 5 w 15"/>
                <a:gd name="T37" fmla="*/ 6 h 10"/>
                <a:gd name="T38" fmla="*/ 4 w 15"/>
                <a:gd name="T39" fmla="*/ 7 h 10"/>
                <a:gd name="T40" fmla="*/ 2 w 15"/>
                <a:gd name="T41" fmla="*/ 10 h 10"/>
                <a:gd name="T42" fmla="*/ 5 w 15"/>
                <a:gd name="T43" fmla="*/ 9 h 10"/>
                <a:gd name="T44" fmla="*/ 5 w 15"/>
                <a:gd name="T4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 h="10">
                  <a:moveTo>
                    <a:pt x="5" y="10"/>
                  </a:moveTo>
                  <a:cubicBezTo>
                    <a:pt x="6" y="10"/>
                    <a:pt x="6" y="10"/>
                    <a:pt x="6" y="10"/>
                  </a:cubicBezTo>
                  <a:cubicBezTo>
                    <a:pt x="7" y="9"/>
                    <a:pt x="9" y="8"/>
                    <a:pt x="11" y="8"/>
                  </a:cubicBezTo>
                  <a:cubicBezTo>
                    <a:pt x="12" y="8"/>
                    <a:pt x="13" y="7"/>
                    <a:pt x="14" y="7"/>
                  </a:cubicBezTo>
                  <a:cubicBezTo>
                    <a:pt x="14" y="7"/>
                    <a:pt x="14" y="6"/>
                    <a:pt x="14" y="5"/>
                  </a:cubicBezTo>
                  <a:cubicBezTo>
                    <a:pt x="14" y="5"/>
                    <a:pt x="15" y="2"/>
                    <a:pt x="14" y="3"/>
                  </a:cubicBezTo>
                  <a:cubicBezTo>
                    <a:pt x="14" y="3"/>
                    <a:pt x="14" y="2"/>
                    <a:pt x="15" y="2"/>
                  </a:cubicBezTo>
                  <a:cubicBezTo>
                    <a:pt x="13" y="1"/>
                    <a:pt x="13" y="0"/>
                    <a:pt x="12" y="0"/>
                  </a:cubicBezTo>
                  <a:cubicBezTo>
                    <a:pt x="12" y="0"/>
                    <a:pt x="12" y="1"/>
                    <a:pt x="12" y="1"/>
                  </a:cubicBezTo>
                  <a:cubicBezTo>
                    <a:pt x="12" y="1"/>
                    <a:pt x="11" y="0"/>
                    <a:pt x="11" y="0"/>
                  </a:cubicBezTo>
                  <a:cubicBezTo>
                    <a:pt x="11" y="0"/>
                    <a:pt x="10" y="0"/>
                    <a:pt x="11" y="1"/>
                  </a:cubicBezTo>
                  <a:cubicBezTo>
                    <a:pt x="10" y="1"/>
                    <a:pt x="10" y="0"/>
                    <a:pt x="9" y="0"/>
                  </a:cubicBezTo>
                  <a:cubicBezTo>
                    <a:pt x="10" y="1"/>
                    <a:pt x="10" y="1"/>
                    <a:pt x="10" y="2"/>
                  </a:cubicBezTo>
                  <a:cubicBezTo>
                    <a:pt x="10" y="2"/>
                    <a:pt x="10" y="2"/>
                    <a:pt x="9" y="2"/>
                  </a:cubicBezTo>
                  <a:cubicBezTo>
                    <a:pt x="8" y="2"/>
                    <a:pt x="7" y="2"/>
                    <a:pt x="6" y="2"/>
                  </a:cubicBezTo>
                  <a:cubicBezTo>
                    <a:pt x="6" y="3"/>
                    <a:pt x="8" y="3"/>
                    <a:pt x="9" y="3"/>
                  </a:cubicBezTo>
                  <a:cubicBezTo>
                    <a:pt x="8" y="3"/>
                    <a:pt x="7" y="3"/>
                    <a:pt x="8" y="4"/>
                  </a:cubicBezTo>
                  <a:cubicBezTo>
                    <a:pt x="7" y="3"/>
                    <a:pt x="3" y="3"/>
                    <a:pt x="3" y="4"/>
                  </a:cubicBezTo>
                  <a:cubicBezTo>
                    <a:pt x="3" y="5"/>
                    <a:pt x="4" y="6"/>
                    <a:pt x="5" y="6"/>
                  </a:cubicBezTo>
                  <a:cubicBezTo>
                    <a:pt x="3" y="7"/>
                    <a:pt x="2" y="7"/>
                    <a:pt x="4" y="7"/>
                  </a:cubicBezTo>
                  <a:cubicBezTo>
                    <a:pt x="4" y="7"/>
                    <a:pt x="0" y="10"/>
                    <a:pt x="2" y="10"/>
                  </a:cubicBezTo>
                  <a:cubicBezTo>
                    <a:pt x="3" y="10"/>
                    <a:pt x="4" y="9"/>
                    <a:pt x="5" y="9"/>
                  </a:cubicBezTo>
                  <a:cubicBezTo>
                    <a:pt x="4" y="10"/>
                    <a:pt x="5" y="10"/>
                    <a:pt x="5" y="1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11" name="Freeform 2264">
              <a:extLst>
                <a:ext uri="{FF2B5EF4-FFF2-40B4-BE49-F238E27FC236}">
                  <a16:creationId xmlns:a16="http://schemas.microsoft.com/office/drawing/2014/main" id="{43C3A81B-1C87-4D54-8DB0-67FB90FBB10B}"/>
                </a:ext>
              </a:extLst>
            </p:cNvPr>
            <p:cNvSpPr>
              <a:spLocks/>
            </p:cNvSpPr>
            <p:nvPr/>
          </p:nvSpPr>
          <p:spPr bwMode="auto">
            <a:xfrm>
              <a:off x="3750" y="981"/>
              <a:ext cx="14" cy="2"/>
            </a:xfrm>
            <a:custGeom>
              <a:avLst/>
              <a:gdLst>
                <a:gd name="T0" fmla="*/ 6 w 6"/>
                <a:gd name="T1" fmla="*/ 0 h 1"/>
                <a:gd name="T2" fmla="*/ 0 w 6"/>
                <a:gd name="T3" fmla="*/ 1 h 1"/>
                <a:gd name="T4" fmla="*/ 6 w 6"/>
                <a:gd name="T5" fmla="*/ 0 h 1"/>
              </a:gdLst>
              <a:ahLst/>
              <a:cxnLst>
                <a:cxn ang="0">
                  <a:pos x="T0" y="T1"/>
                </a:cxn>
                <a:cxn ang="0">
                  <a:pos x="T2" y="T3"/>
                </a:cxn>
                <a:cxn ang="0">
                  <a:pos x="T4" y="T5"/>
                </a:cxn>
              </a:cxnLst>
              <a:rect l="0" t="0" r="r" b="b"/>
              <a:pathLst>
                <a:path w="6" h="1">
                  <a:moveTo>
                    <a:pt x="6" y="0"/>
                  </a:moveTo>
                  <a:cubicBezTo>
                    <a:pt x="4" y="0"/>
                    <a:pt x="2" y="1"/>
                    <a:pt x="0" y="1"/>
                  </a:cubicBezTo>
                  <a:cubicBezTo>
                    <a:pt x="2" y="1"/>
                    <a:pt x="4" y="1"/>
                    <a:pt x="6"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12" name="Freeform 2265">
              <a:extLst>
                <a:ext uri="{FF2B5EF4-FFF2-40B4-BE49-F238E27FC236}">
                  <a16:creationId xmlns:a16="http://schemas.microsoft.com/office/drawing/2014/main" id="{495228DB-3CCF-4965-A166-0750B2FCC816}"/>
                </a:ext>
              </a:extLst>
            </p:cNvPr>
            <p:cNvSpPr>
              <a:spLocks/>
            </p:cNvSpPr>
            <p:nvPr/>
          </p:nvSpPr>
          <p:spPr bwMode="auto">
            <a:xfrm>
              <a:off x="4079" y="690"/>
              <a:ext cx="38" cy="16"/>
            </a:xfrm>
            <a:custGeom>
              <a:avLst/>
              <a:gdLst>
                <a:gd name="T0" fmla="*/ 7 w 16"/>
                <a:gd name="T1" fmla="*/ 6 h 7"/>
                <a:gd name="T2" fmla="*/ 8 w 16"/>
                <a:gd name="T3" fmla="*/ 6 h 7"/>
                <a:gd name="T4" fmla="*/ 8 w 16"/>
                <a:gd name="T5" fmla="*/ 5 h 7"/>
                <a:gd name="T6" fmla="*/ 10 w 16"/>
                <a:gd name="T7" fmla="*/ 6 h 7"/>
                <a:gd name="T8" fmla="*/ 11 w 16"/>
                <a:gd name="T9" fmla="*/ 5 h 7"/>
                <a:gd name="T10" fmla="*/ 12 w 16"/>
                <a:gd name="T11" fmla="*/ 5 h 7"/>
                <a:gd name="T12" fmla="*/ 13 w 16"/>
                <a:gd name="T13" fmla="*/ 3 h 7"/>
                <a:gd name="T14" fmla="*/ 15 w 16"/>
                <a:gd name="T15" fmla="*/ 2 h 7"/>
                <a:gd name="T16" fmla="*/ 16 w 16"/>
                <a:gd name="T17" fmla="*/ 1 h 7"/>
                <a:gd name="T18" fmla="*/ 14 w 16"/>
                <a:gd name="T19" fmla="*/ 1 h 7"/>
                <a:gd name="T20" fmla="*/ 6 w 16"/>
                <a:gd name="T21" fmla="*/ 3 h 7"/>
                <a:gd name="T22" fmla="*/ 4 w 16"/>
                <a:gd name="T23" fmla="*/ 3 h 7"/>
                <a:gd name="T24" fmla="*/ 2 w 16"/>
                <a:gd name="T25" fmla="*/ 4 h 7"/>
                <a:gd name="T26" fmla="*/ 1 w 16"/>
                <a:gd name="T27" fmla="*/ 3 h 7"/>
                <a:gd name="T28" fmla="*/ 2 w 16"/>
                <a:gd name="T29" fmla="*/ 7 h 7"/>
                <a:gd name="T30" fmla="*/ 7 w 16"/>
                <a:gd name="T31"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7">
                  <a:moveTo>
                    <a:pt x="7" y="6"/>
                  </a:moveTo>
                  <a:cubicBezTo>
                    <a:pt x="7" y="6"/>
                    <a:pt x="8" y="5"/>
                    <a:pt x="8" y="6"/>
                  </a:cubicBezTo>
                  <a:cubicBezTo>
                    <a:pt x="8" y="6"/>
                    <a:pt x="8" y="6"/>
                    <a:pt x="8" y="5"/>
                  </a:cubicBezTo>
                  <a:cubicBezTo>
                    <a:pt x="9" y="6"/>
                    <a:pt x="10" y="6"/>
                    <a:pt x="10" y="6"/>
                  </a:cubicBezTo>
                  <a:cubicBezTo>
                    <a:pt x="11" y="6"/>
                    <a:pt x="11" y="5"/>
                    <a:pt x="11" y="5"/>
                  </a:cubicBezTo>
                  <a:cubicBezTo>
                    <a:pt x="11" y="5"/>
                    <a:pt x="12" y="5"/>
                    <a:pt x="12" y="5"/>
                  </a:cubicBezTo>
                  <a:cubicBezTo>
                    <a:pt x="12" y="4"/>
                    <a:pt x="13" y="3"/>
                    <a:pt x="13" y="3"/>
                  </a:cubicBezTo>
                  <a:cubicBezTo>
                    <a:pt x="14" y="2"/>
                    <a:pt x="14" y="3"/>
                    <a:pt x="15" y="2"/>
                  </a:cubicBezTo>
                  <a:cubicBezTo>
                    <a:pt x="15" y="2"/>
                    <a:pt x="16" y="2"/>
                    <a:pt x="16" y="1"/>
                  </a:cubicBezTo>
                  <a:cubicBezTo>
                    <a:pt x="16" y="0"/>
                    <a:pt x="15" y="0"/>
                    <a:pt x="14" y="1"/>
                  </a:cubicBezTo>
                  <a:cubicBezTo>
                    <a:pt x="12" y="4"/>
                    <a:pt x="9" y="3"/>
                    <a:pt x="6" y="3"/>
                  </a:cubicBezTo>
                  <a:cubicBezTo>
                    <a:pt x="4" y="1"/>
                    <a:pt x="5" y="4"/>
                    <a:pt x="4" y="3"/>
                  </a:cubicBezTo>
                  <a:cubicBezTo>
                    <a:pt x="3" y="2"/>
                    <a:pt x="3" y="4"/>
                    <a:pt x="2" y="4"/>
                  </a:cubicBezTo>
                  <a:cubicBezTo>
                    <a:pt x="2" y="4"/>
                    <a:pt x="1" y="3"/>
                    <a:pt x="1" y="3"/>
                  </a:cubicBezTo>
                  <a:cubicBezTo>
                    <a:pt x="0" y="4"/>
                    <a:pt x="3" y="6"/>
                    <a:pt x="2" y="7"/>
                  </a:cubicBezTo>
                  <a:cubicBezTo>
                    <a:pt x="3" y="7"/>
                    <a:pt x="6" y="6"/>
                    <a:pt x="7" y="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13" name="Freeform 2266">
              <a:extLst>
                <a:ext uri="{FF2B5EF4-FFF2-40B4-BE49-F238E27FC236}">
                  <a16:creationId xmlns:a16="http://schemas.microsoft.com/office/drawing/2014/main" id="{915D01B7-4DC1-4838-B998-19DB6B5002D5}"/>
                </a:ext>
              </a:extLst>
            </p:cNvPr>
            <p:cNvSpPr>
              <a:spLocks/>
            </p:cNvSpPr>
            <p:nvPr/>
          </p:nvSpPr>
          <p:spPr bwMode="auto">
            <a:xfrm>
              <a:off x="4020" y="716"/>
              <a:ext cx="16" cy="7"/>
            </a:xfrm>
            <a:custGeom>
              <a:avLst/>
              <a:gdLst>
                <a:gd name="T0" fmla="*/ 3 w 7"/>
                <a:gd name="T1" fmla="*/ 3 h 3"/>
                <a:gd name="T2" fmla="*/ 5 w 7"/>
                <a:gd name="T3" fmla="*/ 3 h 3"/>
                <a:gd name="T4" fmla="*/ 5 w 7"/>
                <a:gd name="T5" fmla="*/ 1 h 3"/>
                <a:gd name="T6" fmla="*/ 0 w 7"/>
                <a:gd name="T7" fmla="*/ 0 h 3"/>
                <a:gd name="T8" fmla="*/ 2 w 7"/>
                <a:gd name="T9" fmla="*/ 2 h 3"/>
                <a:gd name="T10" fmla="*/ 3 w 7"/>
                <a:gd name="T11" fmla="*/ 3 h 3"/>
              </a:gdLst>
              <a:ahLst/>
              <a:cxnLst>
                <a:cxn ang="0">
                  <a:pos x="T0" y="T1"/>
                </a:cxn>
                <a:cxn ang="0">
                  <a:pos x="T2" y="T3"/>
                </a:cxn>
                <a:cxn ang="0">
                  <a:pos x="T4" y="T5"/>
                </a:cxn>
                <a:cxn ang="0">
                  <a:pos x="T6" y="T7"/>
                </a:cxn>
                <a:cxn ang="0">
                  <a:pos x="T8" y="T9"/>
                </a:cxn>
                <a:cxn ang="0">
                  <a:pos x="T10" y="T11"/>
                </a:cxn>
              </a:cxnLst>
              <a:rect l="0" t="0" r="r" b="b"/>
              <a:pathLst>
                <a:path w="7" h="3">
                  <a:moveTo>
                    <a:pt x="3" y="3"/>
                  </a:moveTo>
                  <a:cubicBezTo>
                    <a:pt x="4" y="3"/>
                    <a:pt x="4" y="3"/>
                    <a:pt x="5" y="3"/>
                  </a:cubicBezTo>
                  <a:cubicBezTo>
                    <a:pt x="7" y="2"/>
                    <a:pt x="6" y="2"/>
                    <a:pt x="5" y="1"/>
                  </a:cubicBezTo>
                  <a:cubicBezTo>
                    <a:pt x="4" y="1"/>
                    <a:pt x="2" y="0"/>
                    <a:pt x="0" y="0"/>
                  </a:cubicBezTo>
                  <a:cubicBezTo>
                    <a:pt x="1" y="1"/>
                    <a:pt x="2" y="1"/>
                    <a:pt x="2" y="2"/>
                  </a:cubicBezTo>
                  <a:cubicBezTo>
                    <a:pt x="2" y="2"/>
                    <a:pt x="2" y="3"/>
                    <a:pt x="3"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14" name="Freeform 2267">
              <a:extLst>
                <a:ext uri="{FF2B5EF4-FFF2-40B4-BE49-F238E27FC236}">
                  <a16:creationId xmlns:a16="http://schemas.microsoft.com/office/drawing/2014/main" id="{E2935F0C-9D94-4356-9B43-7848F0FF11AE}"/>
                </a:ext>
              </a:extLst>
            </p:cNvPr>
            <p:cNvSpPr>
              <a:spLocks/>
            </p:cNvSpPr>
            <p:nvPr/>
          </p:nvSpPr>
          <p:spPr bwMode="auto">
            <a:xfrm>
              <a:off x="3677" y="1122"/>
              <a:ext cx="7" cy="5"/>
            </a:xfrm>
            <a:custGeom>
              <a:avLst/>
              <a:gdLst>
                <a:gd name="T0" fmla="*/ 1 w 3"/>
                <a:gd name="T1" fmla="*/ 2 h 2"/>
                <a:gd name="T2" fmla="*/ 3 w 3"/>
                <a:gd name="T3" fmla="*/ 2 h 2"/>
                <a:gd name="T4" fmla="*/ 0 w 3"/>
                <a:gd name="T5" fmla="*/ 0 h 2"/>
                <a:gd name="T6" fmla="*/ 1 w 3"/>
                <a:gd name="T7" fmla="*/ 2 h 2"/>
              </a:gdLst>
              <a:ahLst/>
              <a:cxnLst>
                <a:cxn ang="0">
                  <a:pos x="T0" y="T1"/>
                </a:cxn>
                <a:cxn ang="0">
                  <a:pos x="T2" y="T3"/>
                </a:cxn>
                <a:cxn ang="0">
                  <a:pos x="T4" y="T5"/>
                </a:cxn>
                <a:cxn ang="0">
                  <a:pos x="T6" y="T7"/>
                </a:cxn>
              </a:cxnLst>
              <a:rect l="0" t="0" r="r" b="b"/>
              <a:pathLst>
                <a:path w="3" h="2">
                  <a:moveTo>
                    <a:pt x="1" y="2"/>
                  </a:moveTo>
                  <a:cubicBezTo>
                    <a:pt x="1" y="2"/>
                    <a:pt x="2" y="2"/>
                    <a:pt x="3" y="2"/>
                  </a:cubicBezTo>
                  <a:cubicBezTo>
                    <a:pt x="3" y="1"/>
                    <a:pt x="2" y="0"/>
                    <a:pt x="0" y="0"/>
                  </a:cubicBezTo>
                  <a:cubicBezTo>
                    <a:pt x="0" y="0"/>
                    <a:pt x="0" y="1"/>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15" name="Freeform 2268">
              <a:extLst>
                <a:ext uri="{FF2B5EF4-FFF2-40B4-BE49-F238E27FC236}">
                  <a16:creationId xmlns:a16="http://schemas.microsoft.com/office/drawing/2014/main" id="{FE18F880-DEBB-42A1-A076-A188FE50F8E9}"/>
                </a:ext>
              </a:extLst>
            </p:cNvPr>
            <p:cNvSpPr>
              <a:spLocks/>
            </p:cNvSpPr>
            <p:nvPr/>
          </p:nvSpPr>
          <p:spPr bwMode="auto">
            <a:xfrm>
              <a:off x="3738" y="990"/>
              <a:ext cx="10" cy="5"/>
            </a:xfrm>
            <a:custGeom>
              <a:avLst/>
              <a:gdLst>
                <a:gd name="T0" fmla="*/ 2 w 4"/>
                <a:gd name="T1" fmla="*/ 1 h 2"/>
                <a:gd name="T2" fmla="*/ 0 w 4"/>
                <a:gd name="T3" fmla="*/ 1 h 2"/>
                <a:gd name="T4" fmla="*/ 4 w 4"/>
                <a:gd name="T5" fmla="*/ 2 h 2"/>
                <a:gd name="T6" fmla="*/ 2 w 4"/>
                <a:gd name="T7" fmla="*/ 1 h 2"/>
              </a:gdLst>
              <a:ahLst/>
              <a:cxnLst>
                <a:cxn ang="0">
                  <a:pos x="T0" y="T1"/>
                </a:cxn>
                <a:cxn ang="0">
                  <a:pos x="T2" y="T3"/>
                </a:cxn>
                <a:cxn ang="0">
                  <a:pos x="T4" y="T5"/>
                </a:cxn>
                <a:cxn ang="0">
                  <a:pos x="T6" y="T7"/>
                </a:cxn>
              </a:cxnLst>
              <a:rect l="0" t="0" r="r" b="b"/>
              <a:pathLst>
                <a:path w="4" h="2">
                  <a:moveTo>
                    <a:pt x="2" y="1"/>
                  </a:moveTo>
                  <a:cubicBezTo>
                    <a:pt x="1" y="1"/>
                    <a:pt x="1" y="1"/>
                    <a:pt x="0" y="1"/>
                  </a:cubicBezTo>
                  <a:cubicBezTo>
                    <a:pt x="1" y="2"/>
                    <a:pt x="3" y="2"/>
                    <a:pt x="4" y="2"/>
                  </a:cubicBezTo>
                  <a:cubicBezTo>
                    <a:pt x="3" y="1"/>
                    <a:pt x="3" y="0"/>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16" name="Freeform 2269">
              <a:extLst>
                <a:ext uri="{FF2B5EF4-FFF2-40B4-BE49-F238E27FC236}">
                  <a16:creationId xmlns:a16="http://schemas.microsoft.com/office/drawing/2014/main" id="{50AA763F-D027-4292-AC47-76FF50CE4D17}"/>
                </a:ext>
              </a:extLst>
            </p:cNvPr>
            <p:cNvSpPr>
              <a:spLocks/>
            </p:cNvSpPr>
            <p:nvPr/>
          </p:nvSpPr>
          <p:spPr bwMode="auto">
            <a:xfrm>
              <a:off x="3750" y="983"/>
              <a:ext cx="24" cy="12"/>
            </a:xfrm>
            <a:custGeom>
              <a:avLst/>
              <a:gdLst>
                <a:gd name="T0" fmla="*/ 7 w 10"/>
                <a:gd name="T1" fmla="*/ 3 h 5"/>
                <a:gd name="T2" fmla="*/ 8 w 10"/>
                <a:gd name="T3" fmla="*/ 1 h 5"/>
                <a:gd name="T4" fmla="*/ 0 w 10"/>
                <a:gd name="T5" fmla="*/ 3 h 5"/>
                <a:gd name="T6" fmla="*/ 7 w 10"/>
                <a:gd name="T7" fmla="*/ 3 h 5"/>
              </a:gdLst>
              <a:ahLst/>
              <a:cxnLst>
                <a:cxn ang="0">
                  <a:pos x="T0" y="T1"/>
                </a:cxn>
                <a:cxn ang="0">
                  <a:pos x="T2" y="T3"/>
                </a:cxn>
                <a:cxn ang="0">
                  <a:pos x="T4" y="T5"/>
                </a:cxn>
                <a:cxn ang="0">
                  <a:pos x="T6" y="T7"/>
                </a:cxn>
              </a:cxnLst>
              <a:rect l="0" t="0" r="r" b="b"/>
              <a:pathLst>
                <a:path w="10" h="5">
                  <a:moveTo>
                    <a:pt x="7" y="3"/>
                  </a:moveTo>
                  <a:cubicBezTo>
                    <a:pt x="8" y="3"/>
                    <a:pt x="10" y="2"/>
                    <a:pt x="8" y="1"/>
                  </a:cubicBezTo>
                  <a:cubicBezTo>
                    <a:pt x="6" y="0"/>
                    <a:pt x="2" y="3"/>
                    <a:pt x="0" y="3"/>
                  </a:cubicBezTo>
                  <a:cubicBezTo>
                    <a:pt x="2" y="5"/>
                    <a:pt x="5" y="4"/>
                    <a:pt x="7"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17" name="Freeform 2270">
              <a:extLst>
                <a:ext uri="{FF2B5EF4-FFF2-40B4-BE49-F238E27FC236}">
                  <a16:creationId xmlns:a16="http://schemas.microsoft.com/office/drawing/2014/main" id="{75815C09-E7A8-4DF4-8E63-BB22D6233AC1}"/>
                </a:ext>
              </a:extLst>
            </p:cNvPr>
            <p:cNvSpPr>
              <a:spLocks/>
            </p:cNvSpPr>
            <p:nvPr/>
          </p:nvSpPr>
          <p:spPr bwMode="auto">
            <a:xfrm>
              <a:off x="4088" y="711"/>
              <a:ext cx="17" cy="7"/>
            </a:xfrm>
            <a:custGeom>
              <a:avLst/>
              <a:gdLst>
                <a:gd name="T0" fmla="*/ 7 w 7"/>
                <a:gd name="T1" fmla="*/ 1 h 3"/>
                <a:gd name="T2" fmla="*/ 2 w 7"/>
                <a:gd name="T3" fmla="*/ 0 h 3"/>
                <a:gd name="T4" fmla="*/ 2 w 7"/>
                <a:gd name="T5" fmla="*/ 0 h 3"/>
                <a:gd name="T6" fmla="*/ 0 w 7"/>
                <a:gd name="T7" fmla="*/ 0 h 3"/>
                <a:gd name="T8" fmla="*/ 7 w 7"/>
                <a:gd name="T9" fmla="*/ 1 h 3"/>
              </a:gdLst>
              <a:ahLst/>
              <a:cxnLst>
                <a:cxn ang="0">
                  <a:pos x="T0" y="T1"/>
                </a:cxn>
                <a:cxn ang="0">
                  <a:pos x="T2" y="T3"/>
                </a:cxn>
                <a:cxn ang="0">
                  <a:pos x="T4" y="T5"/>
                </a:cxn>
                <a:cxn ang="0">
                  <a:pos x="T6" y="T7"/>
                </a:cxn>
                <a:cxn ang="0">
                  <a:pos x="T8" y="T9"/>
                </a:cxn>
              </a:cxnLst>
              <a:rect l="0" t="0" r="r" b="b"/>
              <a:pathLst>
                <a:path w="7" h="3">
                  <a:moveTo>
                    <a:pt x="7" y="1"/>
                  </a:moveTo>
                  <a:cubicBezTo>
                    <a:pt x="6" y="0"/>
                    <a:pt x="3" y="0"/>
                    <a:pt x="2" y="0"/>
                  </a:cubicBezTo>
                  <a:cubicBezTo>
                    <a:pt x="2" y="0"/>
                    <a:pt x="2" y="0"/>
                    <a:pt x="2" y="0"/>
                  </a:cubicBezTo>
                  <a:cubicBezTo>
                    <a:pt x="1" y="0"/>
                    <a:pt x="1" y="0"/>
                    <a:pt x="0" y="0"/>
                  </a:cubicBezTo>
                  <a:cubicBezTo>
                    <a:pt x="2" y="1"/>
                    <a:pt x="5" y="3"/>
                    <a:pt x="7"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18" name="Freeform 2271">
              <a:extLst>
                <a:ext uri="{FF2B5EF4-FFF2-40B4-BE49-F238E27FC236}">
                  <a16:creationId xmlns:a16="http://schemas.microsoft.com/office/drawing/2014/main" id="{5E28AF11-7E5E-4986-89BD-7D07EAF0A11E}"/>
                </a:ext>
              </a:extLst>
            </p:cNvPr>
            <p:cNvSpPr>
              <a:spLocks/>
            </p:cNvSpPr>
            <p:nvPr/>
          </p:nvSpPr>
          <p:spPr bwMode="auto">
            <a:xfrm>
              <a:off x="3691" y="1030"/>
              <a:ext cx="5" cy="10"/>
            </a:xfrm>
            <a:custGeom>
              <a:avLst/>
              <a:gdLst>
                <a:gd name="T0" fmla="*/ 2 w 2"/>
                <a:gd name="T1" fmla="*/ 1 h 4"/>
                <a:gd name="T2" fmla="*/ 0 w 2"/>
                <a:gd name="T3" fmla="*/ 1 h 4"/>
                <a:gd name="T4" fmla="*/ 0 w 2"/>
                <a:gd name="T5" fmla="*/ 3 h 4"/>
                <a:gd name="T6" fmla="*/ 2 w 2"/>
                <a:gd name="T7" fmla="*/ 1 h 4"/>
              </a:gdLst>
              <a:ahLst/>
              <a:cxnLst>
                <a:cxn ang="0">
                  <a:pos x="T0" y="T1"/>
                </a:cxn>
                <a:cxn ang="0">
                  <a:pos x="T2" y="T3"/>
                </a:cxn>
                <a:cxn ang="0">
                  <a:pos x="T4" y="T5"/>
                </a:cxn>
                <a:cxn ang="0">
                  <a:pos x="T6" y="T7"/>
                </a:cxn>
              </a:cxnLst>
              <a:rect l="0" t="0" r="r" b="b"/>
              <a:pathLst>
                <a:path w="2" h="4">
                  <a:moveTo>
                    <a:pt x="2" y="1"/>
                  </a:moveTo>
                  <a:cubicBezTo>
                    <a:pt x="1" y="1"/>
                    <a:pt x="0" y="0"/>
                    <a:pt x="0" y="1"/>
                  </a:cubicBezTo>
                  <a:cubicBezTo>
                    <a:pt x="0" y="1"/>
                    <a:pt x="0" y="3"/>
                    <a:pt x="0" y="3"/>
                  </a:cubicBezTo>
                  <a:cubicBezTo>
                    <a:pt x="1" y="4"/>
                    <a:pt x="2" y="2"/>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19" name="Freeform 2272">
              <a:extLst>
                <a:ext uri="{FF2B5EF4-FFF2-40B4-BE49-F238E27FC236}">
                  <a16:creationId xmlns:a16="http://schemas.microsoft.com/office/drawing/2014/main" id="{AFAC0FD5-C90D-492A-9371-2492C767D26C}"/>
                </a:ext>
              </a:extLst>
            </p:cNvPr>
            <p:cNvSpPr>
              <a:spLocks/>
            </p:cNvSpPr>
            <p:nvPr/>
          </p:nvSpPr>
          <p:spPr bwMode="auto">
            <a:xfrm>
              <a:off x="3875" y="796"/>
              <a:ext cx="17" cy="12"/>
            </a:xfrm>
            <a:custGeom>
              <a:avLst/>
              <a:gdLst>
                <a:gd name="T0" fmla="*/ 1 w 7"/>
                <a:gd name="T1" fmla="*/ 5 h 5"/>
                <a:gd name="T2" fmla="*/ 3 w 7"/>
                <a:gd name="T3" fmla="*/ 4 h 5"/>
                <a:gd name="T4" fmla="*/ 7 w 7"/>
                <a:gd name="T5" fmla="*/ 2 h 5"/>
                <a:gd name="T6" fmla="*/ 6 w 7"/>
                <a:gd name="T7" fmla="*/ 1 h 5"/>
                <a:gd name="T8" fmla="*/ 6 w 7"/>
                <a:gd name="T9" fmla="*/ 1 h 5"/>
                <a:gd name="T10" fmla="*/ 4 w 7"/>
                <a:gd name="T11" fmla="*/ 0 h 5"/>
                <a:gd name="T12" fmla="*/ 3 w 7"/>
                <a:gd name="T13" fmla="*/ 1 h 5"/>
                <a:gd name="T14" fmla="*/ 1 w 7"/>
                <a:gd name="T15" fmla="*/ 2 h 5"/>
                <a:gd name="T16" fmla="*/ 2 w 7"/>
                <a:gd name="T17" fmla="*/ 2 h 5"/>
                <a:gd name="T18" fmla="*/ 1 w 7"/>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1" y="5"/>
                  </a:moveTo>
                  <a:cubicBezTo>
                    <a:pt x="1" y="4"/>
                    <a:pt x="2" y="5"/>
                    <a:pt x="3" y="4"/>
                  </a:cubicBezTo>
                  <a:cubicBezTo>
                    <a:pt x="5" y="4"/>
                    <a:pt x="6" y="3"/>
                    <a:pt x="7" y="2"/>
                  </a:cubicBezTo>
                  <a:cubicBezTo>
                    <a:pt x="7" y="1"/>
                    <a:pt x="6" y="1"/>
                    <a:pt x="6" y="1"/>
                  </a:cubicBezTo>
                  <a:cubicBezTo>
                    <a:pt x="6" y="2"/>
                    <a:pt x="5" y="1"/>
                    <a:pt x="6" y="1"/>
                  </a:cubicBezTo>
                  <a:cubicBezTo>
                    <a:pt x="5" y="0"/>
                    <a:pt x="5" y="0"/>
                    <a:pt x="4" y="0"/>
                  </a:cubicBezTo>
                  <a:cubicBezTo>
                    <a:pt x="4" y="0"/>
                    <a:pt x="4" y="1"/>
                    <a:pt x="3" y="1"/>
                  </a:cubicBezTo>
                  <a:cubicBezTo>
                    <a:pt x="3" y="1"/>
                    <a:pt x="2" y="1"/>
                    <a:pt x="1" y="2"/>
                  </a:cubicBezTo>
                  <a:cubicBezTo>
                    <a:pt x="1" y="2"/>
                    <a:pt x="2" y="2"/>
                    <a:pt x="2" y="2"/>
                  </a:cubicBezTo>
                  <a:cubicBezTo>
                    <a:pt x="0" y="3"/>
                    <a:pt x="0" y="3"/>
                    <a:pt x="1"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20" name="Freeform 2273">
              <a:extLst>
                <a:ext uri="{FF2B5EF4-FFF2-40B4-BE49-F238E27FC236}">
                  <a16:creationId xmlns:a16="http://schemas.microsoft.com/office/drawing/2014/main" id="{4ECB5F77-1519-45FA-98F3-F778EC33B6B2}"/>
                </a:ext>
              </a:extLst>
            </p:cNvPr>
            <p:cNvSpPr>
              <a:spLocks/>
            </p:cNvSpPr>
            <p:nvPr/>
          </p:nvSpPr>
          <p:spPr bwMode="auto">
            <a:xfrm>
              <a:off x="3859" y="805"/>
              <a:ext cx="9" cy="12"/>
            </a:xfrm>
            <a:custGeom>
              <a:avLst/>
              <a:gdLst>
                <a:gd name="T0" fmla="*/ 4 w 4"/>
                <a:gd name="T1" fmla="*/ 0 h 5"/>
                <a:gd name="T2" fmla="*/ 2 w 4"/>
                <a:gd name="T3" fmla="*/ 2 h 5"/>
                <a:gd name="T4" fmla="*/ 0 w 4"/>
                <a:gd name="T5" fmla="*/ 5 h 5"/>
                <a:gd name="T6" fmla="*/ 4 w 4"/>
                <a:gd name="T7" fmla="*/ 3 h 5"/>
                <a:gd name="T8" fmla="*/ 3 w 4"/>
                <a:gd name="T9" fmla="*/ 2 h 5"/>
                <a:gd name="T10" fmla="*/ 4 w 4"/>
                <a:gd name="T11" fmla="*/ 0 h 5"/>
              </a:gdLst>
              <a:ahLst/>
              <a:cxnLst>
                <a:cxn ang="0">
                  <a:pos x="T0" y="T1"/>
                </a:cxn>
                <a:cxn ang="0">
                  <a:pos x="T2" y="T3"/>
                </a:cxn>
                <a:cxn ang="0">
                  <a:pos x="T4" y="T5"/>
                </a:cxn>
                <a:cxn ang="0">
                  <a:pos x="T6" y="T7"/>
                </a:cxn>
                <a:cxn ang="0">
                  <a:pos x="T8" y="T9"/>
                </a:cxn>
                <a:cxn ang="0">
                  <a:pos x="T10" y="T11"/>
                </a:cxn>
              </a:cxnLst>
              <a:rect l="0" t="0" r="r" b="b"/>
              <a:pathLst>
                <a:path w="4" h="5">
                  <a:moveTo>
                    <a:pt x="4" y="0"/>
                  </a:moveTo>
                  <a:cubicBezTo>
                    <a:pt x="3" y="0"/>
                    <a:pt x="2" y="1"/>
                    <a:pt x="2" y="2"/>
                  </a:cubicBezTo>
                  <a:cubicBezTo>
                    <a:pt x="1" y="3"/>
                    <a:pt x="0" y="4"/>
                    <a:pt x="0" y="5"/>
                  </a:cubicBezTo>
                  <a:cubicBezTo>
                    <a:pt x="1" y="5"/>
                    <a:pt x="3" y="4"/>
                    <a:pt x="4" y="3"/>
                  </a:cubicBezTo>
                  <a:cubicBezTo>
                    <a:pt x="4" y="2"/>
                    <a:pt x="3" y="2"/>
                    <a:pt x="3" y="2"/>
                  </a:cubicBezTo>
                  <a:cubicBezTo>
                    <a:pt x="3" y="1"/>
                    <a:pt x="4" y="1"/>
                    <a:pt x="4"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21" name="Freeform 2274">
              <a:extLst>
                <a:ext uri="{FF2B5EF4-FFF2-40B4-BE49-F238E27FC236}">
                  <a16:creationId xmlns:a16="http://schemas.microsoft.com/office/drawing/2014/main" id="{72159D02-596D-4F2B-A2D3-A7E20AC3FB8B}"/>
                </a:ext>
              </a:extLst>
            </p:cNvPr>
            <p:cNvSpPr>
              <a:spLocks/>
            </p:cNvSpPr>
            <p:nvPr/>
          </p:nvSpPr>
          <p:spPr bwMode="auto">
            <a:xfrm>
              <a:off x="4119" y="692"/>
              <a:ext cx="12" cy="12"/>
            </a:xfrm>
            <a:custGeom>
              <a:avLst/>
              <a:gdLst>
                <a:gd name="T0" fmla="*/ 1 w 5"/>
                <a:gd name="T1" fmla="*/ 4 h 5"/>
                <a:gd name="T2" fmla="*/ 5 w 5"/>
                <a:gd name="T3" fmla="*/ 4 h 5"/>
                <a:gd name="T4" fmla="*/ 3 w 5"/>
                <a:gd name="T5" fmla="*/ 1 h 5"/>
                <a:gd name="T6" fmla="*/ 1 w 5"/>
                <a:gd name="T7" fmla="*/ 4 h 5"/>
              </a:gdLst>
              <a:ahLst/>
              <a:cxnLst>
                <a:cxn ang="0">
                  <a:pos x="T0" y="T1"/>
                </a:cxn>
                <a:cxn ang="0">
                  <a:pos x="T2" y="T3"/>
                </a:cxn>
                <a:cxn ang="0">
                  <a:pos x="T4" y="T5"/>
                </a:cxn>
                <a:cxn ang="0">
                  <a:pos x="T6" y="T7"/>
                </a:cxn>
              </a:cxnLst>
              <a:rect l="0" t="0" r="r" b="b"/>
              <a:pathLst>
                <a:path w="5" h="5">
                  <a:moveTo>
                    <a:pt x="1" y="4"/>
                  </a:moveTo>
                  <a:cubicBezTo>
                    <a:pt x="2" y="4"/>
                    <a:pt x="4" y="5"/>
                    <a:pt x="5" y="4"/>
                  </a:cubicBezTo>
                  <a:cubicBezTo>
                    <a:pt x="5" y="2"/>
                    <a:pt x="5" y="2"/>
                    <a:pt x="3" y="1"/>
                  </a:cubicBezTo>
                  <a:cubicBezTo>
                    <a:pt x="0" y="0"/>
                    <a:pt x="1" y="2"/>
                    <a:pt x="1"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22" name="Freeform 2275">
              <a:extLst>
                <a:ext uri="{FF2B5EF4-FFF2-40B4-BE49-F238E27FC236}">
                  <a16:creationId xmlns:a16="http://schemas.microsoft.com/office/drawing/2014/main" id="{3B2A0444-DAEF-40C2-92FC-B0629AC970F8}"/>
                </a:ext>
              </a:extLst>
            </p:cNvPr>
            <p:cNvSpPr>
              <a:spLocks/>
            </p:cNvSpPr>
            <p:nvPr/>
          </p:nvSpPr>
          <p:spPr bwMode="auto">
            <a:xfrm>
              <a:off x="3679" y="1115"/>
              <a:ext cx="10" cy="10"/>
            </a:xfrm>
            <a:custGeom>
              <a:avLst/>
              <a:gdLst>
                <a:gd name="T0" fmla="*/ 3 w 4"/>
                <a:gd name="T1" fmla="*/ 1 h 4"/>
                <a:gd name="T2" fmla="*/ 0 w 4"/>
                <a:gd name="T3" fmla="*/ 2 h 4"/>
                <a:gd name="T4" fmla="*/ 2 w 4"/>
                <a:gd name="T5" fmla="*/ 4 h 4"/>
                <a:gd name="T6" fmla="*/ 3 w 4"/>
                <a:gd name="T7" fmla="*/ 1 h 4"/>
              </a:gdLst>
              <a:ahLst/>
              <a:cxnLst>
                <a:cxn ang="0">
                  <a:pos x="T0" y="T1"/>
                </a:cxn>
                <a:cxn ang="0">
                  <a:pos x="T2" y="T3"/>
                </a:cxn>
                <a:cxn ang="0">
                  <a:pos x="T4" y="T5"/>
                </a:cxn>
                <a:cxn ang="0">
                  <a:pos x="T6" y="T7"/>
                </a:cxn>
              </a:cxnLst>
              <a:rect l="0" t="0" r="r" b="b"/>
              <a:pathLst>
                <a:path w="4" h="4">
                  <a:moveTo>
                    <a:pt x="3" y="1"/>
                  </a:moveTo>
                  <a:cubicBezTo>
                    <a:pt x="2" y="0"/>
                    <a:pt x="1" y="2"/>
                    <a:pt x="0" y="2"/>
                  </a:cubicBezTo>
                  <a:cubicBezTo>
                    <a:pt x="1" y="3"/>
                    <a:pt x="1" y="3"/>
                    <a:pt x="2" y="4"/>
                  </a:cubicBezTo>
                  <a:cubicBezTo>
                    <a:pt x="3" y="4"/>
                    <a:pt x="4" y="2"/>
                    <a:pt x="3"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23" name="Freeform 2276">
              <a:extLst>
                <a:ext uri="{FF2B5EF4-FFF2-40B4-BE49-F238E27FC236}">
                  <a16:creationId xmlns:a16="http://schemas.microsoft.com/office/drawing/2014/main" id="{DF0AE739-D2F1-49A7-A449-D1391C9DD6BF}"/>
                </a:ext>
              </a:extLst>
            </p:cNvPr>
            <p:cNvSpPr>
              <a:spLocks/>
            </p:cNvSpPr>
            <p:nvPr/>
          </p:nvSpPr>
          <p:spPr bwMode="auto">
            <a:xfrm>
              <a:off x="4159" y="675"/>
              <a:ext cx="21" cy="10"/>
            </a:xfrm>
            <a:custGeom>
              <a:avLst/>
              <a:gdLst>
                <a:gd name="T0" fmla="*/ 2 w 9"/>
                <a:gd name="T1" fmla="*/ 3 h 4"/>
                <a:gd name="T2" fmla="*/ 4 w 9"/>
                <a:gd name="T3" fmla="*/ 4 h 4"/>
                <a:gd name="T4" fmla="*/ 9 w 9"/>
                <a:gd name="T5" fmla="*/ 3 h 4"/>
                <a:gd name="T6" fmla="*/ 8 w 9"/>
                <a:gd name="T7" fmla="*/ 1 h 4"/>
                <a:gd name="T8" fmla="*/ 7 w 9"/>
                <a:gd name="T9" fmla="*/ 1 h 4"/>
                <a:gd name="T10" fmla="*/ 5 w 9"/>
                <a:gd name="T11" fmla="*/ 0 h 4"/>
                <a:gd name="T12" fmla="*/ 3 w 9"/>
                <a:gd name="T13" fmla="*/ 0 h 4"/>
                <a:gd name="T14" fmla="*/ 5 w 9"/>
                <a:gd name="T15" fmla="*/ 2 h 4"/>
                <a:gd name="T16" fmla="*/ 1 w 9"/>
                <a:gd name="T17" fmla="*/ 2 h 4"/>
                <a:gd name="T18" fmla="*/ 2 w 9"/>
                <a:gd name="T19"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4">
                  <a:moveTo>
                    <a:pt x="2" y="3"/>
                  </a:moveTo>
                  <a:cubicBezTo>
                    <a:pt x="2" y="4"/>
                    <a:pt x="3" y="4"/>
                    <a:pt x="4" y="4"/>
                  </a:cubicBezTo>
                  <a:cubicBezTo>
                    <a:pt x="5" y="4"/>
                    <a:pt x="7" y="3"/>
                    <a:pt x="9" y="3"/>
                  </a:cubicBezTo>
                  <a:cubicBezTo>
                    <a:pt x="7" y="3"/>
                    <a:pt x="9" y="1"/>
                    <a:pt x="8" y="1"/>
                  </a:cubicBezTo>
                  <a:cubicBezTo>
                    <a:pt x="8" y="1"/>
                    <a:pt x="7" y="1"/>
                    <a:pt x="7" y="1"/>
                  </a:cubicBezTo>
                  <a:cubicBezTo>
                    <a:pt x="6" y="1"/>
                    <a:pt x="6" y="0"/>
                    <a:pt x="5" y="0"/>
                  </a:cubicBezTo>
                  <a:cubicBezTo>
                    <a:pt x="4" y="0"/>
                    <a:pt x="4" y="0"/>
                    <a:pt x="3" y="0"/>
                  </a:cubicBezTo>
                  <a:cubicBezTo>
                    <a:pt x="4" y="1"/>
                    <a:pt x="4" y="1"/>
                    <a:pt x="5" y="2"/>
                  </a:cubicBezTo>
                  <a:cubicBezTo>
                    <a:pt x="4" y="2"/>
                    <a:pt x="2" y="1"/>
                    <a:pt x="1" y="2"/>
                  </a:cubicBezTo>
                  <a:cubicBezTo>
                    <a:pt x="0" y="3"/>
                    <a:pt x="1" y="3"/>
                    <a:pt x="2"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24" name="Freeform 2277">
              <a:extLst>
                <a:ext uri="{FF2B5EF4-FFF2-40B4-BE49-F238E27FC236}">
                  <a16:creationId xmlns:a16="http://schemas.microsoft.com/office/drawing/2014/main" id="{925B0326-76AC-46BD-AA48-A88A40FFC368}"/>
                </a:ext>
              </a:extLst>
            </p:cNvPr>
            <p:cNvSpPr>
              <a:spLocks/>
            </p:cNvSpPr>
            <p:nvPr/>
          </p:nvSpPr>
          <p:spPr bwMode="auto">
            <a:xfrm>
              <a:off x="3750" y="997"/>
              <a:ext cx="7" cy="5"/>
            </a:xfrm>
            <a:custGeom>
              <a:avLst/>
              <a:gdLst>
                <a:gd name="T0" fmla="*/ 3 w 3"/>
                <a:gd name="T1" fmla="*/ 2 h 2"/>
                <a:gd name="T2" fmla="*/ 1 w 3"/>
                <a:gd name="T3" fmla="*/ 2 h 2"/>
                <a:gd name="T4" fmla="*/ 0 w 3"/>
                <a:gd name="T5" fmla="*/ 2 h 2"/>
                <a:gd name="T6" fmla="*/ 3 w 3"/>
                <a:gd name="T7" fmla="*/ 2 h 2"/>
              </a:gdLst>
              <a:ahLst/>
              <a:cxnLst>
                <a:cxn ang="0">
                  <a:pos x="T0" y="T1"/>
                </a:cxn>
                <a:cxn ang="0">
                  <a:pos x="T2" y="T3"/>
                </a:cxn>
                <a:cxn ang="0">
                  <a:pos x="T4" y="T5"/>
                </a:cxn>
                <a:cxn ang="0">
                  <a:pos x="T6" y="T7"/>
                </a:cxn>
              </a:cxnLst>
              <a:rect l="0" t="0" r="r" b="b"/>
              <a:pathLst>
                <a:path w="3" h="2">
                  <a:moveTo>
                    <a:pt x="3" y="2"/>
                  </a:moveTo>
                  <a:cubicBezTo>
                    <a:pt x="2" y="1"/>
                    <a:pt x="1" y="0"/>
                    <a:pt x="1" y="2"/>
                  </a:cubicBezTo>
                  <a:cubicBezTo>
                    <a:pt x="1" y="1"/>
                    <a:pt x="0" y="1"/>
                    <a:pt x="0" y="2"/>
                  </a:cubicBezTo>
                  <a:cubicBezTo>
                    <a:pt x="1" y="2"/>
                    <a:pt x="2" y="2"/>
                    <a:pt x="3"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25" name="Freeform 2278">
              <a:extLst>
                <a:ext uri="{FF2B5EF4-FFF2-40B4-BE49-F238E27FC236}">
                  <a16:creationId xmlns:a16="http://schemas.microsoft.com/office/drawing/2014/main" id="{0B8924B5-8181-4467-BEC4-7EA7C267F102}"/>
                </a:ext>
              </a:extLst>
            </p:cNvPr>
            <p:cNvSpPr>
              <a:spLocks/>
            </p:cNvSpPr>
            <p:nvPr/>
          </p:nvSpPr>
          <p:spPr bwMode="auto">
            <a:xfrm>
              <a:off x="3672" y="1127"/>
              <a:ext cx="5" cy="7"/>
            </a:xfrm>
            <a:custGeom>
              <a:avLst/>
              <a:gdLst>
                <a:gd name="T0" fmla="*/ 1 w 2"/>
                <a:gd name="T1" fmla="*/ 0 h 3"/>
                <a:gd name="T2" fmla="*/ 1 w 2"/>
                <a:gd name="T3" fmla="*/ 1 h 3"/>
                <a:gd name="T4" fmla="*/ 1 w 2"/>
                <a:gd name="T5" fmla="*/ 0 h 3"/>
                <a:gd name="T6" fmla="*/ 1 w 2"/>
                <a:gd name="T7" fmla="*/ 3 h 3"/>
                <a:gd name="T8" fmla="*/ 2 w 2"/>
                <a:gd name="T9" fmla="*/ 1 h 3"/>
                <a:gd name="T10" fmla="*/ 1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1" y="0"/>
                  </a:moveTo>
                  <a:cubicBezTo>
                    <a:pt x="1" y="0"/>
                    <a:pt x="0" y="0"/>
                    <a:pt x="1" y="1"/>
                  </a:cubicBezTo>
                  <a:cubicBezTo>
                    <a:pt x="1" y="1"/>
                    <a:pt x="1" y="0"/>
                    <a:pt x="1" y="0"/>
                  </a:cubicBezTo>
                  <a:cubicBezTo>
                    <a:pt x="1" y="1"/>
                    <a:pt x="1" y="2"/>
                    <a:pt x="1" y="3"/>
                  </a:cubicBezTo>
                  <a:cubicBezTo>
                    <a:pt x="2" y="3"/>
                    <a:pt x="2" y="2"/>
                    <a:pt x="2" y="1"/>
                  </a:cubicBezTo>
                  <a:cubicBezTo>
                    <a:pt x="2" y="1"/>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26" name="Freeform 2279">
              <a:extLst>
                <a:ext uri="{FF2B5EF4-FFF2-40B4-BE49-F238E27FC236}">
                  <a16:creationId xmlns:a16="http://schemas.microsoft.com/office/drawing/2014/main" id="{43929449-E03F-4F7A-BEAC-493EC32E87A9}"/>
                </a:ext>
              </a:extLst>
            </p:cNvPr>
            <p:cNvSpPr>
              <a:spLocks/>
            </p:cNvSpPr>
            <p:nvPr/>
          </p:nvSpPr>
          <p:spPr bwMode="auto">
            <a:xfrm>
              <a:off x="3892" y="791"/>
              <a:ext cx="24" cy="12"/>
            </a:xfrm>
            <a:custGeom>
              <a:avLst/>
              <a:gdLst>
                <a:gd name="T0" fmla="*/ 1 w 10"/>
                <a:gd name="T1" fmla="*/ 5 h 5"/>
                <a:gd name="T2" fmla="*/ 10 w 10"/>
                <a:gd name="T3" fmla="*/ 0 h 5"/>
                <a:gd name="T4" fmla="*/ 4 w 10"/>
                <a:gd name="T5" fmla="*/ 1 h 5"/>
                <a:gd name="T6" fmla="*/ 2 w 10"/>
                <a:gd name="T7" fmla="*/ 3 h 5"/>
                <a:gd name="T8" fmla="*/ 2 w 10"/>
                <a:gd name="T9" fmla="*/ 3 h 5"/>
                <a:gd name="T10" fmla="*/ 1 w 10"/>
                <a:gd name="T11" fmla="*/ 4 h 5"/>
                <a:gd name="T12" fmla="*/ 1 w 10"/>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1" y="5"/>
                  </a:moveTo>
                  <a:cubicBezTo>
                    <a:pt x="4" y="4"/>
                    <a:pt x="8" y="3"/>
                    <a:pt x="10" y="0"/>
                  </a:cubicBezTo>
                  <a:cubicBezTo>
                    <a:pt x="8" y="0"/>
                    <a:pt x="6" y="1"/>
                    <a:pt x="4" y="1"/>
                  </a:cubicBezTo>
                  <a:cubicBezTo>
                    <a:pt x="3" y="2"/>
                    <a:pt x="3" y="2"/>
                    <a:pt x="2" y="3"/>
                  </a:cubicBezTo>
                  <a:cubicBezTo>
                    <a:pt x="2" y="3"/>
                    <a:pt x="1" y="2"/>
                    <a:pt x="2" y="3"/>
                  </a:cubicBezTo>
                  <a:cubicBezTo>
                    <a:pt x="1" y="4"/>
                    <a:pt x="1" y="3"/>
                    <a:pt x="1" y="4"/>
                  </a:cubicBezTo>
                  <a:cubicBezTo>
                    <a:pt x="1" y="4"/>
                    <a:pt x="0" y="4"/>
                    <a:pt x="1"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27" name="Freeform 2280">
              <a:extLst>
                <a:ext uri="{FF2B5EF4-FFF2-40B4-BE49-F238E27FC236}">
                  <a16:creationId xmlns:a16="http://schemas.microsoft.com/office/drawing/2014/main" id="{6944F02A-F986-4AAF-B1A9-0F82F40EBE08}"/>
                </a:ext>
              </a:extLst>
            </p:cNvPr>
            <p:cNvSpPr>
              <a:spLocks/>
            </p:cNvSpPr>
            <p:nvPr/>
          </p:nvSpPr>
          <p:spPr bwMode="auto">
            <a:xfrm>
              <a:off x="3641" y="1399"/>
              <a:ext cx="10" cy="5"/>
            </a:xfrm>
            <a:custGeom>
              <a:avLst/>
              <a:gdLst>
                <a:gd name="T0" fmla="*/ 4 w 4"/>
                <a:gd name="T1" fmla="*/ 1 h 2"/>
                <a:gd name="T2" fmla="*/ 0 w 4"/>
                <a:gd name="T3" fmla="*/ 0 h 2"/>
                <a:gd name="T4" fmla="*/ 2 w 4"/>
                <a:gd name="T5" fmla="*/ 0 h 2"/>
                <a:gd name="T6" fmla="*/ 4 w 4"/>
                <a:gd name="T7" fmla="*/ 1 h 2"/>
              </a:gdLst>
              <a:ahLst/>
              <a:cxnLst>
                <a:cxn ang="0">
                  <a:pos x="T0" y="T1"/>
                </a:cxn>
                <a:cxn ang="0">
                  <a:pos x="T2" y="T3"/>
                </a:cxn>
                <a:cxn ang="0">
                  <a:pos x="T4" y="T5"/>
                </a:cxn>
                <a:cxn ang="0">
                  <a:pos x="T6" y="T7"/>
                </a:cxn>
              </a:cxnLst>
              <a:rect l="0" t="0" r="r" b="b"/>
              <a:pathLst>
                <a:path w="4" h="2">
                  <a:moveTo>
                    <a:pt x="4" y="1"/>
                  </a:moveTo>
                  <a:cubicBezTo>
                    <a:pt x="3" y="0"/>
                    <a:pt x="2" y="0"/>
                    <a:pt x="0" y="0"/>
                  </a:cubicBezTo>
                  <a:cubicBezTo>
                    <a:pt x="1" y="0"/>
                    <a:pt x="2" y="0"/>
                    <a:pt x="2" y="0"/>
                  </a:cubicBezTo>
                  <a:cubicBezTo>
                    <a:pt x="3" y="1"/>
                    <a:pt x="3" y="2"/>
                    <a:pt x="4"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28" name="Freeform 2281">
              <a:extLst>
                <a:ext uri="{FF2B5EF4-FFF2-40B4-BE49-F238E27FC236}">
                  <a16:creationId xmlns:a16="http://schemas.microsoft.com/office/drawing/2014/main" id="{928B3798-0F20-4A3B-8E91-33C2326B6EEA}"/>
                </a:ext>
              </a:extLst>
            </p:cNvPr>
            <p:cNvSpPr>
              <a:spLocks/>
            </p:cNvSpPr>
            <p:nvPr/>
          </p:nvSpPr>
          <p:spPr bwMode="auto">
            <a:xfrm>
              <a:off x="3696" y="1345"/>
              <a:ext cx="7" cy="0"/>
            </a:xfrm>
            <a:custGeom>
              <a:avLst/>
              <a:gdLst>
                <a:gd name="T0" fmla="*/ 0 w 3"/>
                <a:gd name="T1" fmla="*/ 2 w 3"/>
                <a:gd name="T2" fmla="*/ 3 w 3"/>
                <a:gd name="T3" fmla="*/ 0 w 3"/>
              </a:gdLst>
              <a:ahLst/>
              <a:cxnLst>
                <a:cxn ang="0">
                  <a:pos x="T0" y="0"/>
                </a:cxn>
                <a:cxn ang="0">
                  <a:pos x="T1" y="0"/>
                </a:cxn>
                <a:cxn ang="0">
                  <a:pos x="T2" y="0"/>
                </a:cxn>
                <a:cxn ang="0">
                  <a:pos x="T3" y="0"/>
                </a:cxn>
              </a:cxnLst>
              <a:rect l="0" t="0" r="r" b="b"/>
              <a:pathLst>
                <a:path w="3">
                  <a:moveTo>
                    <a:pt x="0" y="0"/>
                  </a:moveTo>
                  <a:cubicBezTo>
                    <a:pt x="1" y="0"/>
                    <a:pt x="1" y="0"/>
                    <a:pt x="2" y="0"/>
                  </a:cubicBezTo>
                  <a:cubicBezTo>
                    <a:pt x="2" y="0"/>
                    <a:pt x="2" y="0"/>
                    <a:pt x="3" y="0"/>
                  </a:cubicBezTo>
                  <a:cubicBezTo>
                    <a:pt x="2" y="0"/>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29" name="Freeform 2282">
              <a:extLst>
                <a:ext uri="{FF2B5EF4-FFF2-40B4-BE49-F238E27FC236}">
                  <a16:creationId xmlns:a16="http://schemas.microsoft.com/office/drawing/2014/main" id="{46E0CC70-0835-46BC-A13C-12E3F4456009}"/>
                </a:ext>
              </a:extLst>
            </p:cNvPr>
            <p:cNvSpPr>
              <a:spLocks/>
            </p:cNvSpPr>
            <p:nvPr/>
          </p:nvSpPr>
          <p:spPr bwMode="auto">
            <a:xfrm>
              <a:off x="3674" y="1347"/>
              <a:ext cx="5" cy="3"/>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1" y="0"/>
                    <a:pt x="1" y="0"/>
                    <a:pt x="0" y="1"/>
                  </a:cubicBezTo>
                  <a:cubicBezTo>
                    <a:pt x="1" y="1"/>
                    <a:pt x="1" y="0"/>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30" name="Freeform 2283">
              <a:extLst>
                <a:ext uri="{FF2B5EF4-FFF2-40B4-BE49-F238E27FC236}">
                  <a16:creationId xmlns:a16="http://schemas.microsoft.com/office/drawing/2014/main" id="{FB610608-1638-4F6B-B352-B04DB8841CF1}"/>
                </a:ext>
              </a:extLst>
            </p:cNvPr>
            <p:cNvSpPr>
              <a:spLocks/>
            </p:cNvSpPr>
            <p:nvPr/>
          </p:nvSpPr>
          <p:spPr bwMode="auto">
            <a:xfrm>
              <a:off x="3663" y="1354"/>
              <a:ext cx="7" cy="7"/>
            </a:xfrm>
            <a:custGeom>
              <a:avLst/>
              <a:gdLst>
                <a:gd name="T0" fmla="*/ 2 w 3"/>
                <a:gd name="T1" fmla="*/ 0 h 3"/>
                <a:gd name="T2" fmla="*/ 0 w 3"/>
                <a:gd name="T3" fmla="*/ 3 h 3"/>
                <a:gd name="T4" fmla="*/ 2 w 3"/>
                <a:gd name="T5" fmla="*/ 0 h 3"/>
              </a:gdLst>
              <a:ahLst/>
              <a:cxnLst>
                <a:cxn ang="0">
                  <a:pos x="T0" y="T1"/>
                </a:cxn>
                <a:cxn ang="0">
                  <a:pos x="T2" y="T3"/>
                </a:cxn>
                <a:cxn ang="0">
                  <a:pos x="T4" y="T5"/>
                </a:cxn>
              </a:cxnLst>
              <a:rect l="0" t="0" r="r" b="b"/>
              <a:pathLst>
                <a:path w="3" h="3">
                  <a:moveTo>
                    <a:pt x="2" y="0"/>
                  </a:moveTo>
                  <a:cubicBezTo>
                    <a:pt x="1" y="1"/>
                    <a:pt x="1" y="2"/>
                    <a:pt x="0" y="3"/>
                  </a:cubicBezTo>
                  <a:cubicBezTo>
                    <a:pt x="1" y="2"/>
                    <a:pt x="3" y="1"/>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31" name="Freeform 2284">
              <a:extLst>
                <a:ext uri="{FF2B5EF4-FFF2-40B4-BE49-F238E27FC236}">
                  <a16:creationId xmlns:a16="http://schemas.microsoft.com/office/drawing/2014/main" id="{EB48D3CE-1752-49B0-9363-FEA87AFC9C69}"/>
                </a:ext>
              </a:extLst>
            </p:cNvPr>
            <p:cNvSpPr>
              <a:spLocks/>
            </p:cNvSpPr>
            <p:nvPr/>
          </p:nvSpPr>
          <p:spPr bwMode="auto">
            <a:xfrm>
              <a:off x="3639" y="1402"/>
              <a:ext cx="9" cy="4"/>
            </a:xfrm>
            <a:custGeom>
              <a:avLst/>
              <a:gdLst>
                <a:gd name="T0" fmla="*/ 2 w 4"/>
                <a:gd name="T1" fmla="*/ 1 h 2"/>
                <a:gd name="T2" fmla="*/ 3 w 4"/>
                <a:gd name="T3" fmla="*/ 1 h 2"/>
                <a:gd name="T4" fmla="*/ 1 w 4"/>
                <a:gd name="T5" fmla="*/ 0 h 2"/>
                <a:gd name="T6" fmla="*/ 0 w 4"/>
                <a:gd name="T7" fmla="*/ 1 h 2"/>
                <a:gd name="T8" fmla="*/ 2 w 4"/>
                <a:gd name="T9" fmla="*/ 1 h 2"/>
              </a:gdLst>
              <a:ahLst/>
              <a:cxnLst>
                <a:cxn ang="0">
                  <a:pos x="T0" y="T1"/>
                </a:cxn>
                <a:cxn ang="0">
                  <a:pos x="T2" y="T3"/>
                </a:cxn>
                <a:cxn ang="0">
                  <a:pos x="T4" y="T5"/>
                </a:cxn>
                <a:cxn ang="0">
                  <a:pos x="T6" y="T7"/>
                </a:cxn>
                <a:cxn ang="0">
                  <a:pos x="T8" y="T9"/>
                </a:cxn>
              </a:cxnLst>
              <a:rect l="0" t="0" r="r" b="b"/>
              <a:pathLst>
                <a:path w="4" h="2">
                  <a:moveTo>
                    <a:pt x="2" y="1"/>
                  </a:moveTo>
                  <a:cubicBezTo>
                    <a:pt x="2" y="1"/>
                    <a:pt x="4" y="2"/>
                    <a:pt x="3" y="1"/>
                  </a:cubicBezTo>
                  <a:cubicBezTo>
                    <a:pt x="3" y="0"/>
                    <a:pt x="2" y="0"/>
                    <a:pt x="1" y="0"/>
                  </a:cubicBezTo>
                  <a:cubicBezTo>
                    <a:pt x="1" y="0"/>
                    <a:pt x="0" y="0"/>
                    <a:pt x="0" y="1"/>
                  </a:cubicBezTo>
                  <a:cubicBezTo>
                    <a:pt x="0" y="1"/>
                    <a:pt x="1"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32" name="Freeform 2285">
              <a:extLst>
                <a:ext uri="{FF2B5EF4-FFF2-40B4-BE49-F238E27FC236}">
                  <a16:creationId xmlns:a16="http://schemas.microsoft.com/office/drawing/2014/main" id="{358E86A5-3A16-48E0-896A-6EBA129F1D78}"/>
                </a:ext>
              </a:extLst>
            </p:cNvPr>
            <p:cNvSpPr>
              <a:spLocks/>
            </p:cNvSpPr>
            <p:nvPr/>
          </p:nvSpPr>
          <p:spPr bwMode="auto">
            <a:xfrm>
              <a:off x="7592" y="3122"/>
              <a:ext cx="5" cy="4"/>
            </a:xfrm>
            <a:custGeom>
              <a:avLst/>
              <a:gdLst>
                <a:gd name="T0" fmla="*/ 0 w 2"/>
                <a:gd name="T1" fmla="*/ 1 h 2"/>
                <a:gd name="T2" fmla="*/ 1 w 2"/>
                <a:gd name="T3" fmla="*/ 2 h 2"/>
                <a:gd name="T4" fmla="*/ 1 w 2"/>
                <a:gd name="T5" fmla="*/ 1 h 2"/>
                <a:gd name="T6" fmla="*/ 1 w 2"/>
                <a:gd name="T7" fmla="*/ 0 h 2"/>
                <a:gd name="T8" fmla="*/ 0 w 2"/>
                <a:gd name="T9" fmla="*/ 1 h 2"/>
              </a:gdLst>
              <a:ahLst/>
              <a:cxnLst>
                <a:cxn ang="0">
                  <a:pos x="T0" y="T1"/>
                </a:cxn>
                <a:cxn ang="0">
                  <a:pos x="T2" y="T3"/>
                </a:cxn>
                <a:cxn ang="0">
                  <a:pos x="T4" y="T5"/>
                </a:cxn>
                <a:cxn ang="0">
                  <a:pos x="T6" y="T7"/>
                </a:cxn>
                <a:cxn ang="0">
                  <a:pos x="T8" y="T9"/>
                </a:cxn>
              </a:cxnLst>
              <a:rect l="0" t="0" r="r" b="b"/>
              <a:pathLst>
                <a:path w="2" h="2">
                  <a:moveTo>
                    <a:pt x="0" y="1"/>
                  </a:moveTo>
                  <a:cubicBezTo>
                    <a:pt x="0" y="2"/>
                    <a:pt x="0" y="2"/>
                    <a:pt x="1" y="2"/>
                  </a:cubicBezTo>
                  <a:cubicBezTo>
                    <a:pt x="1" y="2"/>
                    <a:pt x="1" y="2"/>
                    <a:pt x="1" y="1"/>
                  </a:cubicBezTo>
                  <a:cubicBezTo>
                    <a:pt x="2" y="1"/>
                    <a:pt x="2" y="0"/>
                    <a:pt x="1" y="0"/>
                  </a:cubicBezTo>
                  <a:cubicBezTo>
                    <a:pt x="1" y="0"/>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33" name="Freeform 2286">
              <a:extLst>
                <a:ext uri="{FF2B5EF4-FFF2-40B4-BE49-F238E27FC236}">
                  <a16:creationId xmlns:a16="http://schemas.microsoft.com/office/drawing/2014/main" id="{768697CE-DE35-433E-8A97-0D55EDA6FCF4}"/>
                </a:ext>
              </a:extLst>
            </p:cNvPr>
            <p:cNvSpPr>
              <a:spLocks/>
            </p:cNvSpPr>
            <p:nvPr/>
          </p:nvSpPr>
          <p:spPr bwMode="auto">
            <a:xfrm>
              <a:off x="7597" y="3110"/>
              <a:ext cx="2"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0" y="0"/>
                    <a:pt x="1" y="0"/>
                    <a:pt x="1" y="0"/>
                  </a:cubicBezTo>
                  <a:cubicBezTo>
                    <a:pt x="1" y="0"/>
                    <a:pt x="1" y="0"/>
                    <a:pt x="1" y="0"/>
                  </a:cubicBezTo>
                  <a:cubicBezTo>
                    <a:pt x="1"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34" name="Freeform 2287">
              <a:extLst>
                <a:ext uri="{FF2B5EF4-FFF2-40B4-BE49-F238E27FC236}">
                  <a16:creationId xmlns:a16="http://schemas.microsoft.com/office/drawing/2014/main" id="{149B87FF-FC16-473F-A676-3B9E144E9825}"/>
                </a:ext>
              </a:extLst>
            </p:cNvPr>
            <p:cNvSpPr>
              <a:spLocks/>
            </p:cNvSpPr>
            <p:nvPr/>
          </p:nvSpPr>
          <p:spPr bwMode="auto">
            <a:xfrm>
              <a:off x="7585" y="3157"/>
              <a:ext cx="2" cy="5"/>
            </a:xfrm>
            <a:custGeom>
              <a:avLst/>
              <a:gdLst>
                <a:gd name="T0" fmla="*/ 0 w 1"/>
                <a:gd name="T1" fmla="*/ 0 h 2"/>
                <a:gd name="T2" fmla="*/ 0 w 1"/>
                <a:gd name="T3" fmla="*/ 0 h 2"/>
                <a:gd name="T4" fmla="*/ 0 w 1"/>
                <a:gd name="T5" fmla="*/ 0 h 2"/>
                <a:gd name="T6" fmla="*/ 1 w 1"/>
                <a:gd name="T7" fmla="*/ 2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0"/>
                  </a:cubicBezTo>
                  <a:cubicBezTo>
                    <a:pt x="0" y="0"/>
                    <a:pt x="0" y="0"/>
                    <a:pt x="0" y="0"/>
                  </a:cubicBezTo>
                  <a:cubicBezTo>
                    <a:pt x="0" y="1"/>
                    <a:pt x="0" y="1"/>
                    <a:pt x="1" y="2"/>
                  </a:cubicBezTo>
                  <a:cubicBezTo>
                    <a:pt x="1" y="1"/>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35" name="Freeform 2288">
              <a:extLst>
                <a:ext uri="{FF2B5EF4-FFF2-40B4-BE49-F238E27FC236}">
                  <a16:creationId xmlns:a16="http://schemas.microsoft.com/office/drawing/2014/main" id="{67E841A3-C631-44F5-A9F0-0E560F662B3B}"/>
                </a:ext>
              </a:extLst>
            </p:cNvPr>
            <p:cNvSpPr>
              <a:spLocks/>
            </p:cNvSpPr>
            <p:nvPr/>
          </p:nvSpPr>
          <p:spPr bwMode="auto">
            <a:xfrm>
              <a:off x="7609" y="3179"/>
              <a:ext cx="9" cy="9"/>
            </a:xfrm>
            <a:custGeom>
              <a:avLst/>
              <a:gdLst>
                <a:gd name="T0" fmla="*/ 2 w 4"/>
                <a:gd name="T1" fmla="*/ 2 h 4"/>
                <a:gd name="T2" fmla="*/ 2 w 4"/>
                <a:gd name="T3" fmla="*/ 2 h 4"/>
                <a:gd name="T4" fmla="*/ 1 w 4"/>
                <a:gd name="T5" fmla="*/ 2 h 4"/>
                <a:gd name="T6" fmla="*/ 1 w 4"/>
                <a:gd name="T7" fmla="*/ 2 h 4"/>
                <a:gd name="T8" fmla="*/ 0 w 4"/>
                <a:gd name="T9" fmla="*/ 2 h 4"/>
                <a:gd name="T10" fmla="*/ 0 w 4"/>
                <a:gd name="T11" fmla="*/ 3 h 4"/>
                <a:gd name="T12" fmla="*/ 4 w 4"/>
                <a:gd name="T13" fmla="*/ 4 h 4"/>
                <a:gd name="T14" fmla="*/ 2 w 4"/>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2" y="2"/>
                  </a:moveTo>
                  <a:cubicBezTo>
                    <a:pt x="2" y="2"/>
                    <a:pt x="2" y="2"/>
                    <a:pt x="2" y="2"/>
                  </a:cubicBezTo>
                  <a:cubicBezTo>
                    <a:pt x="2" y="2"/>
                    <a:pt x="1" y="2"/>
                    <a:pt x="1" y="2"/>
                  </a:cubicBezTo>
                  <a:cubicBezTo>
                    <a:pt x="1" y="2"/>
                    <a:pt x="1" y="2"/>
                    <a:pt x="1" y="2"/>
                  </a:cubicBezTo>
                  <a:cubicBezTo>
                    <a:pt x="1" y="2"/>
                    <a:pt x="0" y="0"/>
                    <a:pt x="0" y="2"/>
                  </a:cubicBezTo>
                  <a:cubicBezTo>
                    <a:pt x="0" y="3"/>
                    <a:pt x="0" y="3"/>
                    <a:pt x="0" y="3"/>
                  </a:cubicBezTo>
                  <a:cubicBezTo>
                    <a:pt x="1" y="4"/>
                    <a:pt x="3" y="4"/>
                    <a:pt x="4" y="4"/>
                  </a:cubicBezTo>
                  <a:cubicBezTo>
                    <a:pt x="3" y="4"/>
                    <a:pt x="2" y="3"/>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36" name="Freeform 2289">
              <a:extLst>
                <a:ext uri="{FF2B5EF4-FFF2-40B4-BE49-F238E27FC236}">
                  <a16:creationId xmlns:a16="http://schemas.microsoft.com/office/drawing/2014/main" id="{1F12680B-7E8D-480B-B4BD-1AB1309C4745}"/>
                </a:ext>
              </a:extLst>
            </p:cNvPr>
            <p:cNvSpPr>
              <a:spLocks/>
            </p:cNvSpPr>
            <p:nvPr/>
          </p:nvSpPr>
          <p:spPr bwMode="auto">
            <a:xfrm>
              <a:off x="7571" y="3131"/>
              <a:ext cx="16" cy="26"/>
            </a:xfrm>
            <a:custGeom>
              <a:avLst/>
              <a:gdLst>
                <a:gd name="T0" fmla="*/ 2 w 7"/>
                <a:gd name="T1" fmla="*/ 4 h 11"/>
                <a:gd name="T2" fmla="*/ 2 w 7"/>
                <a:gd name="T3" fmla="*/ 3 h 11"/>
                <a:gd name="T4" fmla="*/ 1 w 7"/>
                <a:gd name="T5" fmla="*/ 2 h 11"/>
                <a:gd name="T6" fmla="*/ 0 w 7"/>
                <a:gd name="T7" fmla="*/ 3 h 11"/>
                <a:gd name="T8" fmla="*/ 0 w 7"/>
                <a:gd name="T9" fmla="*/ 3 h 11"/>
                <a:gd name="T10" fmla="*/ 1 w 7"/>
                <a:gd name="T11" fmla="*/ 6 h 11"/>
                <a:gd name="T12" fmla="*/ 1 w 7"/>
                <a:gd name="T13" fmla="*/ 8 h 11"/>
                <a:gd name="T14" fmla="*/ 2 w 7"/>
                <a:gd name="T15" fmla="*/ 11 h 11"/>
                <a:gd name="T16" fmla="*/ 4 w 7"/>
                <a:gd name="T17" fmla="*/ 11 h 11"/>
                <a:gd name="T18" fmla="*/ 5 w 7"/>
                <a:gd name="T19" fmla="*/ 11 h 11"/>
                <a:gd name="T20" fmla="*/ 7 w 7"/>
                <a:gd name="T21" fmla="*/ 10 h 11"/>
                <a:gd name="T22" fmla="*/ 7 w 7"/>
                <a:gd name="T23" fmla="*/ 10 h 11"/>
                <a:gd name="T24" fmla="*/ 7 w 7"/>
                <a:gd name="T25" fmla="*/ 10 h 11"/>
                <a:gd name="T26" fmla="*/ 6 w 7"/>
                <a:gd name="T27" fmla="*/ 6 h 11"/>
                <a:gd name="T28" fmla="*/ 5 w 7"/>
                <a:gd name="T29" fmla="*/ 4 h 11"/>
                <a:gd name="T30" fmla="*/ 4 w 7"/>
                <a:gd name="T31" fmla="*/ 6 h 11"/>
                <a:gd name="T32" fmla="*/ 2 w 7"/>
                <a:gd name="T33" fmla="*/ 6 h 11"/>
                <a:gd name="T34" fmla="*/ 2 w 7"/>
                <a:gd name="T35"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1">
                  <a:moveTo>
                    <a:pt x="2" y="4"/>
                  </a:moveTo>
                  <a:cubicBezTo>
                    <a:pt x="2" y="3"/>
                    <a:pt x="2" y="3"/>
                    <a:pt x="2" y="3"/>
                  </a:cubicBezTo>
                  <a:cubicBezTo>
                    <a:pt x="1" y="3"/>
                    <a:pt x="1" y="2"/>
                    <a:pt x="1" y="2"/>
                  </a:cubicBezTo>
                  <a:cubicBezTo>
                    <a:pt x="1" y="1"/>
                    <a:pt x="0" y="0"/>
                    <a:pt x="0" y="3"/>
                  </a:cubicBezTo>
                  <a:cubicBezTo>
                    <a:pt x="0" y="3"/>
                    <a:pt x="0" y="3"/>
                    <a:pt x="0" y="3"/>
                  </a:cubicBezTo>
                  <a:cubicBezTo>
                    <a:pt x="0" y="4"/>
                    <a:pt x="0" y="5"/>
                    <a:pt x="1" y="6"/>
                  </a:cubicBezTo>
                  <a:cubicBezTo>
                    <a:pt x="1" y="7"/>
                    <a:pt x="1" y="7"/>
                    <a:pt x="1" y="8"/>
                  </a:cubicBezTo>
                  <a:cubicBezTo>
                    <a:pt x="1" y="9"/>
                    <a:pt x="2" y="11"/>
                    <a:pt x="2" y="11"/>
                  </a:cubicBezTo>
                  <a:cubicBezTo>
                    <a:pt x="3" y="11"/>
                    <a:pt x="4" y="11"/>
                    <a:pt x="4" y="11"/>
                  </a:cubicBezTo>
                  <a:cubicBezTo>
                    <a:pt x="5" y="11"/>
                    <a:pt x="5" y="11"/>
                    <a:pt x="5" y="11"/>
                  </a:cubicBezTo>
                  <a:cubicBezTo>
                    <a:pt x="6" y="11"/>
                    <a:pt x="6" y="10"/>
                    <a:pt x="7" y="10"/>
                  </a:cubicBezTo>
                  <a:cubicBezTo>
                    <a:pt x="7" y="10"/>
                    <a:pt x="7" y="10"/>
                    <a:pt x="7" y="10"/>
                  </a:cubicBezTo>
                  <a:cubicBezTo>
                    <a:pt x="7" y="10"/>
                    <a:pt x="7" y="10"/>
                    <a:pt x="7" y="10"/>
                  </a:cubicBezTo>
                  <a:cubicBezTo>
                    <a:pt x="7" y="9"/>
                    <a:pt x="6" y="7"/>
                    <a:pt x="6" y="6"/>
                  </a:cubicBezTo>
                  <a:cubicBezTo>
                    <a:pt x="5" y="5"/>
                    <a:pt x="5" y="5"/>
                    <a:pt x="5" y="4"/>
                  </a:cubicBezTo>
                  <a:cubicBezTo>
                    <a:pt x="4" y="3"/>
                    <a:pt x="5" y="6"/>
                    <a:pt x="4" y="6"/>
                  </a:cubicBezTo>
                  <a:cubicBezTo>
                    <a:pt x="3" y="7"/>
                    <a:pt x="3" y="6"/>
                    <a:pt x="2" y="6"/>
                  </a:cubicBezTo>
                  <a:cubicBezTo>
                    <a:pt x="2" y="5"/>
                    <a:pt x="2" y="4"/>
                    <a:pt x="2"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37" name="Freeform 2290">
              <a:extLst>
                <a:ext uri="{FF2B5EF4-FFF2-40B4-BE49-F238E27FC236}">
                  <a16:creationId xmlns:a16="http://schemas.microsoft.com/office/drawing/2014/main" id="{FEA9A22B-3351-4079-918E-C3CE4985C364}"/>
                </a:ext>
              </a:extLst>
            </p:cNvPr>
            <p:cNvSpPr>
              <a:spLocks/>
            </p:cNvSpPr>
            <p:nvPr/>
          </p:nvSpPr>
          <p:spPr bwMode="auto">
            <a:xfrm>
              <a:off x="7585" y="3162"/>
              <a:ext cx="17" cy="19"/>
            </a:xfrm>
            <a:custGeom>
              <a:avLst/>
              <a:gdLst>
                <a:gd name="T0" fmla="*/ 1 w 7"/>
                <a:gd name="T1" fmla="*/ 2 h 8"/>
                <a:gd name="T2" fmla="*/ 1 w 7"/>
                <a:gd name="T3" fmla="*/ 4 h 8"/>
                <a:gd name="T4" fmla="*/ 2 w 7"/>
                <a:gd name="T5" fmla="*/ 4 h 8"/>
                <a:gd name="T6" fmla="*/ 3 w 7"/>
                <a:gd name="T7" fmla="*/ 5 h 8"/>
                <a:gd name="T8" fmla="*/ 4 w 7"/>
                <a:gd name="T9" fmla="*/ 8 h 8"/>
                <a:gd name="T10" fmla="*/ 6 w 7"/>
                <a:gd name="T11" fmla="*/ 7 h 8"/>
                <a:gd name="T12" fmla="*/ 7 w 7"/>
                <a:gd name="T13" fmla="*/ 7 h 8"/>
                <a:gd name="T14" fmla="*/ 7 w 7"/>
                <a:gd name="T15" fmla="*/ 7 h 8"/>
                <a:gd name="T16" fmla="*/ 5 w 7"/>
                <a:gd name="T17" fmla="*/ 5 h 8"/>
                <a:gd name="T18" fmla="*/ 3 w 7"/>
                <a:gd name="T19" fmla="*/ 3 h 8"/>
                <a:gd name="T20" fmla="*/ 3 w 7"/>
                <a:gd name="T21" fmla="*/ 4 h 8"/>
                <a:gd name="T22" fmla="*/ 2 w 7"/>
                <a:gd name="T23" fmla="*/ 2 h 8"/>
                <a:gd name="T24" fmla="*/ 1 w 7"/>
                <a:gd name="T25"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8">
                  <a:moveTo>
                    <a:pt x="1" y="2"/>
                  </a:moveTo>
                  <a:cubicBezTo>
                    <a:pt x="0" y="3"/>
                    <a:pt x="0" y="3"/>
                    <a:pt x="1" y="4"/>
                  </a:cubicBezTo>
                  <a:cubicBezTo>
                    <a:pt x="2" y="4"/>
                    <a:pt x="2" y="3"/>
                    <a:pt x="2" y="4"/>
                  </a:cubicBezTo>
                  <a:cubicBezTo>
                    <a:pt x="3" y="5"/>
                    <a:pt x="2" y="5"/>
                    <a:pt x="3" y="5"/>
                  </a:cubicBezTo>
                  <a:cubicBezTo>
                    <a:pt x="3" y="6"/>
                    <a:pt x="3" y="8"/>
                    <a:pt x="4" y="8"/>
                  </a:cubicBezTo>
                  <a:cubicBezTo>
                    <a:pt x="4" y="8"/>
                    <a:pt x="5" y="8"/>
                    <a:pt x="6" y="7"/>
                  </a:cubicBezTo>
                  <a:cubicBezTo>
                    <a:pt x="6" y="7"/>
                    <a:pt x="7" y="7"/>
                    <a:pt x="7" y="7"/>
                  </a:cubicBezTo>
                  <a:cubicBezTo>
                    <a:pt x="7" y="7"/>
                    <a:pt x="7" y="7"/>
                    <a:pt x="7" y="7"/>
                  </a:cubicBezTo>
                  <a:cubicBezTo>
                    <a:pt x="7" y="6"/>
                    <a:pt x="6" y="5"/>
                    <a:pt x="5" y="5"/>
                  </a:cubicBezTo>
                  <a:cubicBezTo>
                    <a:pt x="4" y="4"/>
                    <a:pt x="4" y="4"/>
                    <a:pt x="3" y="3"/>
                  </a:cubicBezTo>
                  <a:cubicBezTo>
                    <a:pt x="3" y="3"/>
                    <a:pt x="3" y="4"/>
                    <a:pt x="3" y="4"/>
                  </a:cubicBezTo>
                  <a:cubicBezTo>
                    <a:pt x="3" y="3"/>
                    <a:pt x="3" y="2"/>
                    <a:pt x="2" y="2"/>
                  </a:cubicBezTo>
                  <a:cubicBezTo>
                    <a:pt x="1" y="0"/>
                    <a:pt x="1" y="1"/>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38" name="Freeform 2291">
              <a:extLst>
                <a:ext uri="{FF2B5EF4-FFF2-40B4-BE49-F238E27FC236}">
                  <a16:creationId xmlns:a16="http://schemas.microsoft.com/office/drawing/2014/main" id="{DABD61DB-C61B-4534-A1C0-BDC274779863}"/>
                </a:ext>
              </a:extLst>
            </p:cNvPr>
            <p:cNvSpPr>
              <a:spLocks/>
            </p:cNvSpPr>
            <p:nvPr/>
          </p:nvSpPr>
          <p:spPr bwMode="auto">
            <a:xfrm>
              <a:off x="7592" y="3110"/>
              <a:ext cx="2" cy="7"/>
            </a:xfrm>
            <a:custGeom>
              <a:avLst/>
              <a:gdLst>
                <a:gd name="T0" fmla="*/ 1 w 1"/>
                <a:gd name="T1" fmla="*/ 0 h 3"/>
                <a:gd name="T2" fmla="*/ 0 w 1"/>
                <a:gd name="T3" fmla="*/ 1 h 3"/>
                <a:gd name="T4" fmla="*/ 0 w 1"/>
                <a:gd name="T5" fmla="*/ 3 h 3"/>
                <a:gd name="T6" fmla="*/ 1 w 1"/>
                <a:gd name="T7" fmla="*/ 1 h 3"/>
                <a:gd name="T8" fmla="*/ 1 w 1"/>
                <a:gd name="T9" fmla="*/ 0 h 3"/>
              </a:gdLst>
              <a:ahLst/>
              <a:cxnLst>
                <a:cxn ang="0">
                  <a:pos x="T0" y="T1"/>
                </a:cxn>
                <a:cxn ang="0">
                  <a:pos x="T2" y="T3"/>
                </a:cxn>
                <a:cxn ang="0">
                  <a:pos x="T4" y="T5"/>
                </a:cxn>
                <a:cxn ang="0">
                  <a:pos x="T6" y="T7"/>
                </a:cxn>
                <a:cxn ang="0">
                  <a:pos x="T8" y="T9"/>
                </a:cxn>
              </a:cxnLst>
              <a:rect l="0" t="0" r="r" b="b"/>
              <a:pathLst>
                <a:path w="1" h="3">
                  <a:moveTo>
                    <a:pt x="1" y="0"/>
                  </a:moveTo>
                  <a:cubicBezTo>
                    <a:pt x="1" y="1"/>
                    <a:pt x="1" y="1"/>
                    <a:pt x="0" y="1"/>
                  </a:cubicBezTo>
                  <a:cubicBezTo>
                    <a:pt x="0" y="2"/>
                    <a:pt x="0" y="2"/>
                    <a:pt x="0" y="3"/>
                  </a:cubicBezTo>
                  <a:cubicBezTo>
                    <a:pt x="1" y="2"/>
                    <a:pt x="1" y="2"/>
                    <a:pt x="1" y="1"/>
                  </a:cubicBezTo>
                  <a:cubicBezTo>
                    <a:pt x="1" y="1"/>
                    <a:pt x="1" y="1"/>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39" name="Freeform 2292">
              <a:extLst>
                <a:ext uri="{FF2B5EF4-FFF2-40B4-BE49-F238E27FC236}">
                  <a16:creationId xmlns:a16="http://schemas.microsoft.com/office/drawing/2014/main" id="{4B45073A-9A14-45F8-996E-C101FD069EC7}"/>
                </a:ext>
              </a:extLst>
            </p:cNvPr>
            <p:cNvSpPr>
              <a:spLocks/>
            </p:cNvSpPr>
            <p:nvPr/>
          </p:nvSpPr>
          <p:spPr bwMode="auto">
            <a:xfrm>
              <a:off x="7599" y="3150"/>
              <a:ext cx="7" cy="5"/>
            </a:xfrm>
            <a:custGeom>
              <a:avLst/>
              <a:gdLst>
                <a:gd name="T0" fmla="*/ 0 w 3"/>
                <a:gd name="T1" fmla="*/ 1 h 2"/>
                <a:gd name="T2" fmla="*/ 0 w 3"/>
                <a:gd name="T3" fmla="*/ 1 h 2"/>
                <a:gd name="T4" fmla="*/ 1 w 3"/>
                <a:gd name="T5" fmla="*/ 2 h 2"/>
                <a:gd name="T6" fmla="*/ 1 w 3"/>
                <a:gd name="T7" fmla="*/ 2 h 2"/>
                <a:gd name="T8" fmla="*/ 1 w 3"/>
                <a:gd name="T9" fmla="*/ 2 h 2"/>
                <a:gd name="T10" fmla="*/ 3 w 3"/>
                <a:gd name="T11" fmla="*/ 0 h 2"/>
                <a:gd name="T12" fmla="*/ 3 w 3"/>
                <a:gd name="T13" fmla="*/ 0 h 2"/>
                <a:gd name="T14" fmla="*/ 0 w 3"/>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0" y="1"/>
                  </a:moveTo>
                  <a:cubicBezTo>
                    <a:pt x="0" y="1"/>
                    <a:pt x="0" y="1"/>
                    <a:pt x="0" y="1"/>
                  </a:cubicBezTo>
                  <a:cubicBezTo>
                    <a:pt x="0" y="1"/>
                    <a:pt x="0" y="2"/>
                    <a:pt x="1" y="2"/>
                  </a:cubicBezTo>
                  <a:cubicBezTo>
                    <a:pt x="1" y="2"/>
                    <a:pt x="1" y="2"/>
                    <a:pt x="1" y="2"/>
                  </a:cubicBezTo>
                  <a:cubicBezTo>
                    <a:pt x="1" y="2"/>
                    <a:pt x="1" y="2"/>
                    <a:pt x="1" y="2"/>
                  </a:cubicBezTo>
                  <a:cubicBezTo>
                    <a:pt x="2" y="1"/>
                    <a:pt x="2" y="1"/>
                    <a:pt x="3" y="0"/>
                  </a:cubicBezTo>
                  <a:cubicBezTo>
                    <a:pt x="3" y="0"/>
                    <a:pt x="3" y="0"/>
                    <a:pt x="3" y="0"/>
                  </a:cubicBezTo>
                  <a:cubicBezTo>
                    <a:pt x="2" y="0"/>
                    <a:pt x="1"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40" name="Freeform 2293">
              <a:extLst>
                <a:ext uri="{FF2B5EF4-FFF2-40B4-BE49-F238E27FC236}">
                  <a16:creationId xmlns:a16="http://schemas.microsoft.com/office/drawing/2014/main" id="{AAA64F5A-B9ED-4430-AD78-BD50C63CF877}"/>
                </a:ext>
              </a:extLst>
            </p:cNvPr>
            <p:cNvSpPr>
              <a:spLocks/>
            </p:cNvSpPr>
            <p:nvPr/>
          </p:nvSpPr>
          <p:spPr bwMode="auto">
            <a:xfrm>
              <a:off x="7609" y="3141"/>
              <a:ext cx="2" cy="11"/>
            </a:xfrm>
            <a:custGeom>
              <a:avLst/>
              <a:gdLst>
                <a:gd name="T0" fmla="*/ 0 w 1"/>
                <a:gd name="T1" fmla="*/ 0 h 5"/>
                <a:gd name="T2" fmla="*/ 0 w 1"/>
                <a:gd name="T3" fmla="*/ 1 h 5"/>
                <a:gd name="T4" fmla="*/ 0 w 1"/>
                <a:gd name="T5" fmla="*/ 4 h 5"/>
                <a:gd name="T6" fmla="*/ 0 w 1"/>
                <a:gd name="T7" fmla="*/ 5 h 5"/>
                <a:gd name="T8" fmla="*/ 1 w 1"/>
                <a:gd name="T9" fmla="*/ 4 h 5"/>
                <a:gd name="T10" fmla="*/ 0 w 1"/>
                <a:gd name="T11" fmla="*/ 1 h 5"/>
                <a:gd name="T12" fmla="*/ 0 w 1"/>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 h="5">
                  <a:moveTo>
                    <a:pt x="0" y="0"/>
                  </a:moveTo>
                  <a:cubicBezTo>
                    <a:pt x="0" y="0"/>
                    <a:pt x="0" y="0"/>
                    <a:pt x="0" y="1"/>
                  </a:cubicBezTo>
                  <a:cubicBezTo>
                    <a:pt x="0" y="2"/>
                    <a:pt x="0" y="3"/>
                    <a:pt x="0" y="4"/>
                  </a:cubicBezTo>
                  <a:cubicBezTo>
                    <a:pt x="0" y="4"/>
                    <a:pt x="0" y="4"/>
                    <a:pt x="0" y="5"/>
                  </a:cubicBezTo>
                  <a:cubicBezTo>
                    <a:pt x="1" y="5"/>
                    <a:pt x="1" y="4"/>
                    <a:pt x="1" y="4"/>
                  </a:cubicBezTo>
                  <a:cubicBezTo>
                    <a:pt x="1" y="3"/>
                    <a:pt x="1" y="2"/>
                    <a:pt x="0" y="1"/>
                  </a:cubicBezTo>
                  <a:cubicBezTo>
                    <a:pt x="0" y="1"/>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41" name="Freeform 2294">
              <a:extLst>
                <a:ext uri="{FF2B5EF4-FFF2-40B4-BE49-F238E27FC236}">
                  <a16:creationId xmlns:a16="http://schemas.microsoft.com/office/drawing/2014/main" id="{CB0E4369-BE2B-48E9-8D20-089B9305861D}"/>
                </a:ext>
              </a:extLst>
            </p:cNvPr>
            <p:cNvSpPr>
              <a:spLocks/>
            </p:cNvSpPr>
            <p:nvPr/>
          </p:nvSpPr>
          <p:spPr bwMode="auto">
            <a:xfrm>
              <a:off x="7611" y="3155"/>
              <a:ext cx="0" cy="12"/>
            </a:xfrm>
            <a:custGeom>
              <a:avLst/>
              <a:gdLst>
                <a:gd name="T0" fmla="*/ 1 h 5"/>
                <a:gd name="T1" fmla="*/ 0 h 5"/>
                <a:gd name="T2" fmla="*/ 1 h 5"/>
                <a:gd name="T3" fmla="*/ 2 h 5"/>
                <a:gd name="T4" fmla="*/ 3 h 5"/>
                <a:gd name="T5" fmla="*/ 5 h 5"/>
                <a:gd name="T6" fmla="*/ 3 h 5"/>
                <a:gd name="T7" fmla="*/ 2 h 5"/>
                <a:gd name="T8" fmla="*/ 1 h 5"/>
                <a:gd name="T9" fmla="*/ 1 h 5"/>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5">
                  <a:moveTo>
                    <a:pt x="0" y="1"/>
                  </a:moveTo>
                  <a:cubicBezTo>
                    <a:pt x="0" y="1"/>
                    <a:pt x="0" y="0"/>
                    <a:pt x="0" y="0"/>
                  </a:cubicBezTo>
                  <a:cubicBezTo>
                    <a:pt x="0" y="1"/>
                    <a:pt x="0" y="1"/>
                    <a:pt x="0" y="1"/>
                  </a:cubicBezTo>
                  <a:cubicBezTo>
                    <a:pt x="0" y="2"/>
                    <a:pt x="0" y="2"/>
                    <a:pt x="0" y="2"/>
                  </a:cubicBezTo>
                  <a:cubicBezTo>
                    <a:pt x="0" y="2"/>
                    <a:pt x="0" y="3"/>
                    <a:pt x="0" y="3"/>
                  </a:cubicBezTo>
                  <a:cubicBezTo>
                    <a:pt x="0" y="4"/>
                    <a:pt x="0" y="4"/>
                    <a:pt x="0" y="5"/>
                  </a:cubicBezTo>
                  <a:cubicBezTo>
                    <a:pt x="0" y="5"/>
                    <a:pt x="0" y="4"/>
                    <a:pt x="0" y="3"/>
                  </a:cubicBezTo>
                  <a:cubicBezTo>
                    <a:pt x="0" y="3"/>
                    <a:pt x="0" y="2"/>
                    <a:pt x="0" y="2"/>
                  </a:cubicBezTo>
                  <a:cubicBezTo>
                    <a:pt x="0" y="1"/>
                    <a:pt x="0" y="1"/>
                    <a:pt x="0" y="1"/>
                  </a:cubicBezTo>
                  <a:cubicBezTo>
                    <a:pt x="0" y="1"/>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42" name="Freeform 2295">
              <a:extLst>
                <a:ext uri="{FF2B5EF4-FFF2-40B4-BE49-F238E27FC236}">
                  <a16:creationId xmlns:a16="http://schemas.microsoft.com/office/drawing/2014/main" id="{CE5AC618-FB5B-4138-AC5A-7CA3F0EDC03A}"/>
                </a:ext>
              </a:extLst>
            </p:cNvPr>
            <p:cNvSpPr>
              <a:spLocks/>
            </p:cNvSpPr>
            <p:nvPr/>
          </p:nvSpPr>
          <p:spPr bwMode="auto">
            <a:xfrm>
              <a:off x="7604" y="3167"/>
              <a:ext cx="9" cy="9"/>
            </a:xfrm>
            <a:custGeom>
              <a:avLst/>
              <a:gdLst>
                <a:gd name="T0" fmla="*/ 1 w 4"/>
                <a:gd name="T1" fmla="*/ 2 h 4"/>
                <a:gd name="T2" fmla="*/ 1 w 4"/>
                <a:gd name="T3" fmla="*/ 2 h 4"/>
                <a:gd name="T4" fmla="*/ 1 w 4"/>
                <a:gd name="T5" fmla="*/ 2 h 4"/>
                <a:gd name="T6" fmla="*/ 0 w 4"/>
                <a:gd name="T7" fmla="*/ 3 h 4"/>
                <a:gd name="T8" fmla="*/ 1 w 4"/>
                <a:gd name="T9" fmla="*/ 3 h 4"/>
                <a:gd name="T10" fmla="*/ 1 w 4"/>
                <a:gd name="T11" fmla="*/ 4 h 4"/>
                <a:gd name="T12" fmla="*/ 1 w 4"/>
                <a:gd name="T13" fmla="*/ 3 h 4"/>
                <a:gd name="T14" fmla="*/ 2 w 4"/>
                <a:gd name="T15" fmla="*/ 4 h 4"/>
                <a:gd name="T16" fmla="*/ 4 w 4"/>
                <a:gd name="T17" fmla="*/ 3 h 4"/>
                <a:gd name="T18" fmla="*/ 3 w 4"/>
                <a:gd name="T19" fmla="*/ 2 h 4"/>
                <a:gd name="T20" fmla="*/ 3 w 4"/>
                <a:gd name="T21" fmla="*/ 2 h 4"/>
                <a:gd name="T22" fmla="*/ 2 w 4"/>
                <a:gd name="T23" fmla="*/ 2 h 4"/>
                <a:gd name="T24" fmla="*/ 1 w 4"/>
                <a:gd name="T2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1" y="2"/>
                  </a:moveTo>
                  <a:cubicBezTo>
                    <a:pt x="1" y="2"/>
                    <a:pt x="1" y="2"/>
                    <a:pt x="1" y="2"/>
                  </a:cubicBezTo>
                  <a:cubicBezTo>
                    <a:pt x="1" y="2"/>
                    <a:pt x="1" y="2"/>
                    <a:pt x="1" y="2"/>
                  </a:cubicBezTo>
                  <a:cubicBezTo>
                    <a:pt x="0" y="2"/>
                    <a:pt x="0" y="3"/>
                    <a:pt x="0" y="3"/>
                  </a:cubicBezTo>
                  <a:cubicBezTo>
                    <a:pt x="0" y="3"/>
                    <a:pt x="1" y="3"/>
                    <a:pt x="1" y="3"/>
                  </a:cubicBezTo>
                  <a:cubicBezTo>
                    <a:pt x="1" y="3"/>
                    <a:pt x="1" y="4"/>
                    <a:pt x="1" y="4"/>
                  </a:cubicBezTo>
                  <a:cubicBezTo>
                    <a:pt x="1" y="4"/>
                    <a:pt x="1" y="4"/>
                    <a:pt x="1" y="3"/>
                  </a:cubicBezTo>
                  <a:cubicBezTo>
                    <a:pt x="1" y="4"/>
                    <a:pt x="2" y="4"/>
                    <a:pt x="2" y="4"/>
                  </a:cubicBezTo>
                  <a:cubicBezTo>
                    <a:pt x="4" y="3"/>
                    <a:pt x="4" y="3"/>
                    <a:pt x="4" y="3"/>
                  </a:cubicBezTo>
                  <a:cubicBezTo>
                    <a:pt x="3" y="3"/>
                    <a:pt x="3" y="3"/>
                    <a:pt x="3" y="2"/>
                  </a:cubicBezTo>
                  <a:cubicBezTo>
                    <a:pt x="3" y="2"/>
                    <a:pt x="3" y="2"/>
                    <a:pt x="3" y="2"/>
                  </a:cubicBezTo>
                  <a:cubicBezTo>
                    <a:pt x="2" y="0"/>
                    <a:pt x="3" y="1"/>
                    <a:pt x="2" y="2"/>
                  </a:cubicBezTo>
                  <a:cubicBezTo>
                    <a:pt x="2" y="2"/>
                    <a:pt x="1" y="2"/>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43" name="Freeform 2296">
              <a:extLst>
                <a:ext uri="{FF2B5EF4-FFF2-40B4-BE49-F238E27FC236}">
                  <a16:creationId xmlns:a16="http://schemas.microsoft.com/office/drawing/2014/main" id="{D8116BF6-DEEB-4344-9F3A-5079572E64DB}"/>
                </a:ext>
              </a:extLst>
            </p:cNvPr>
            <p:cNvSpPr>
              <a:spLocks/>
            </p:cNvSpPr>
            <p:nvPr/>
          </p:nvSpPr>
          <p:spPr bwMode="auto">
            <a:xfrm>
              <a:off x="7630" y="3231"/>
              <a:ext cx="9" cy="9"/>
            </a:xfrm>
            <a:custGeom>
              <a:avLst/>
              <a:gdLst>
                <a:gd name="T0" fmla="*/ 2 w 4"/>
                <a:gd name="T1" fmla="*/ 1 h 4"/>
                <a:gd name="T2" fmla="*/ 0 w 4"/>
                <a:gd name="T3" fmla="*/ 3 h 4"/>
                <a:gd name="T4" fmla="*/ 4 w 4"/>
                <a:gd name="T5" fmla="*/ 4 h 4"/>
                <a:gd name="T6" fmla="*/ 3 w 4"/>
                <a:gd name="T7" fmla="*/ 3 h 4"/>
                <a:gd name="T8" fmla="*/ 2 w 4"/>
                <a:gd name="T9" fmla="*/ 1 h 4"/>
              </a:gdLst>
              <a:ahLst/>
              <a:cxnLst>
                <a:cxn ang="0">
                  <a:pos x="T0" y="T1"/>
                </a:cxn>
                <a:cxn ang="0">
                  <a:pos x="T2" y="T3"/>
                </a:cxn>
                <a:cxn ang="0">
                  <a:pos x="T4" y="T5"/>
                </a:cxn>
                <a:cxn ang="0">
                  <a:pos x="T6" y="T7"/>
                </a:cxn>
                <a:cxn ang="0">
                  <a:pos x="T8" y="T9"/>
                </a:cxn>
              </a:cxnLst>
              <a:rect l="0" t="0" r="r" b="b"/>
              <a:pathLst>
                <a:path w="4" h="4">
                  <a:moveTo>
                    <a:pt x="2" y="1"/>
                  </a:moveTo>
                  <a:cubicBezTo>
                    <a:pt x="0" y="0"/>
                    <a:pt x="0" y="2"/>
                    <a:pt x="0" y="3"/>
                  </a:cubicBezTo>
                  <a:cubicBezTo>
                    <a:pt x="1" y="3"/>
                    <a:pt x="2" y="4"/>
                    <a:pt x="4" y="4"/>
                  </a:cubicBezTo>
                  <a:cubicBezTo>
                    <a:pt x="3" y="4"/>
                    <a:pt x="3" y="3"/>
                    <a:pt x="3" y="3"/>
                  </a:cubicBezTo>
                  <a:cubicBezTo>
                    <a:pt x="3" y="2"/>
                    <a:pt x="2"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44" name="Freeform 2297">
              <a:extLst>
                <a:ext uri="{FF2B5EF4-FFF2-40B4-BE49-F238E27FC236}">
                  <a16:creationId xmlns:a16="http://schemas.microsoft.com/office/drawing/2014/main" id="{E3C5020D-319D-4931-B133-2C606BF82664}"/>
                </a:ext>
              </a:extLst>
            </p:cNvPr>
            <p:cNvSpPr>
              <a:spLocks/>
            </p:cNvSpPr>
            <p:nvPr/>
          </p:nvSpPr>
          <p:spPr bwMode="auto">
            <a:xfrm>
              <a:off x="7646" y="3271"/>
              <a:ext cx="5" cy="2"/>
            </a:xfrm>
            <a:custGeom>
              <a:avLst/>
              <a:gdLst>
                <a:gd name="T0" fmla="*/ 1 w 2"/>
                <a:gd name="T1" fmla="*/ 0 h 1"/>
                <a:gd name="T2" fmla="*/ 2 w 2"/>
                <a:gd name="T3" fmla="*/ 1 h 1"/>
                <a:gd name="T4" fmla="*/ 1 w 2"/>
                <a:gd name="T5" fmla="*/ 0 h 1"/>
              </a:gdLst>
              <a:ahLst/>
              <a:cxnLst>
                <a:cxn ang="0">
                  <a:pos x="T0" y="T1"/>
                </a:cxn>
                <a:cxn ang="0">
                  <a:pos x="T2" y="T3"/>
                </a:cxn>
                <a:cxn ang="0">
                  <a:pos x="T4" y="T5"/>
                </a:cxn>
              </a:cxnLst>
              <a:rect l="0" t="0" r="r" b="b"/>
              <a:pathLst>
                <a:path w="2" h="1">
                  <a:moveTo>
                    <a:pt x="1" y="0"/>
                  </a:moveTo>
                  <a:cubicBezTo>
                    <a:pt x="0" y="1"/>
                    <a:pt x="1" y="1"/>
                    <a:pt x="2" y="1"/>
                  </a:cubicBezTo>
                  <a:cubicBezTo>
                    <a:pt x="1" y="1"/>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45" name="Freeform 2298">
              <a:extLst>
                <a:ext uri="{FF2B5EF4-FFF2-40B4-BE49-F238E27FC236}">
                  <a16:creationId xmlns:a16="http://schemas.microsoft.com/office/drawing/2014/main" id="{AC1D6830-BE1C-491C-95F5-E0942ADE4EAD}"/>
                </a:ext>
              </a:extLst>
            </p:cNvPr>
            <p:cNvSpPr>
              <a:spLocks/>
            </p:cNvSpPr>
            <p:nvPr/>
          </p:nvSpPr>
          <p:spPr bwMode="auto">
            <a:xfrm>
              <a:off x="7635" y="3249"/>
              <a:ext cx="7" cy="10"/>
            </a:xfrm>
            <a:custGeom>
              <a:avLst/>
              <a:gdLst>
                <a:gd name="T0" fmla="*/ 0 w 3"/>
                <a:gd name="T1" fmla="*/ 2 h 4"/>
                <a:gd name="T2" fmla="*/ 2 w 3"/>
                <a:gd name="T3" fmla="*/ 4 h 4"/>
                <a:gd name="T4" fmla="*/ 0 w 3"/>
                <a:gd name="T5" fmla="*/ 0 h 4"/>
                <a:gd name="T6" fmla="*/ 0 w 3"/>
                <a:gd name="T7" fmla="*/ 2 h 4"/>
              </a:gdLst>
              <a:ahLst/>
              <a:cxnLst>
                <a:cxn ang="0">
                  <a:pos x="T0" y="T1"/>
                </a:cxn>
                <a:cxn ang="0">
                  <a:pos x="T2" y="T3"/>
                </a:cxn>
                <a:cxn ang="0">
                  <a:pos x="T4" y="T5"/>
                </a:cxn>
                <a:cxn ang="0">
                  <a:pos x="T6" y="T7"/>
                </a:cxn>
              </a:cxnLst>
              <a:rect l="0" t="0" r="r" b="b"/>
              <a:pathLst>
                <a:path w="3" h="4">
                  <a:moveTo>
                    <a:pt x="0" y="2"/>
                  </a:moveTo>
                  <a:cubicBezTo>
                    <a:pt x="1" y="3"/>
                    <a:pt x="2" y="4"/>
                    <a:pt x="2" y="4"/>
                  </a:cubicBezTo>
                  <a:cubicBezTo>
                    <a:pt x="3" y="2"/>
                    <a:pt x="2" y="1"/>
                    <a:pt x="0" y="0"/>
                  </a:cubicBezTo>
                  <a:cubicBezTo>
                    <a:pt x="0" y="1"/>
                    <a:pt x="0" y="2"/>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46" name="Freeform 2299">
              <a:extLst>
                <a:ext uri="{FF2B5EF4-FFF2-40B4-BE49-F238E27FC236}">
                  <a16:creationId xmlns:a16="http://schemas.microsoft.com/office/drawing/2014/main" id="{587214FD-FC9D-403E-B128-A646D5538BE7}"/>
                </a:ext>
              </a:extLst>
            </p:cNvPr>
            <p:cNvSpPr>
              <a:spLocks/>
            </p:cNvSpPr>
            <p:nvPr/>
          </p:nvSpPr>
          <p:spPr bwMode="auto">
            <a:xfrm>
              <a:off x="7609" y="3205"/>
              <a:ext cx="11" cy="7"/>
            </a:xfrm>
            <a:custGeom>
              <a:avLst/>
              <a:gdLst>
                <a:gd name="T0" fmla="*/ 3 w 5"/>
                <a:gd name="T1" fmla="*/ 3 h 3"/>
                <a:gd name="T2" fmla="*/ 5 w 5"/>
                <a:gd name="T3" fmla="*/ 2 h 3"/>
                <a:gd name="T4" fmla="*/ 3 w 5"/>
                <a:gd name="T5" fmla="*/ 0 h 3"/>
                <a:gd name="T6" fmla="*/ 1 w 5"/>
                <a:gd name="T7" fmla="*/ 3 h 3"/>
                <a:gd name="T8" fmla="*/ 1 w 5"/>
                <a:gd name="T9" fmla="*/ 3 h 3"/>
                <a:gd name="T10" fmla="*/ 3 w 5"/>
                <a:gd name="T11" fmla="*/ 3 h 3"/>
              </a:gdLst>
              <a:ahLst/>
              <a:cxnLst>
                <a:cxn ang="0">
                  <a:pos x="T0" y="T1"/>
                </a:cxn>
                <a:cxn ang="0">
                  <a:pos x="T2" y="T3"/>
                </a:cxn>
                <a:cxn ang="0">
                  <a:pos x="T4" y="T5"/>
                </a:cxn>
                <a:cxn ang="0">
                  <a:pos x="T6" y="T7"/>
                </a:cxn>
                <a:cxn ang="0">
                  <a:pos x="T8" y="T9"/>
                </a:cxn>
                <a:cxn ang="0">
                  <a:pos x="T10" y="T11"/>
                </a:cxn>
              </a:cxnLst>
              <a:rect l="0" t="0" r="r" b="b"/>
              <a:pathLst>
                <a:path w="5" h="3">
                  <a:moveTo>
                    <a:pt x="3" y="3"/>
                  </a:moveTo>
                  <a:cubicBezTo>
                    <a:pt x="3" y="3"/>
                    <a:pt x="4" y="3"/>
                    <a:pt x="5" y="2"/>
                  </a:cubicBezTo>
                  <a:cubicBezTo>
                    <a:pt x="4" y="2"/>
                    <a:pt x="4" y="1"/>
                    <a:pt x="3" y="0"/>
                  </a:cubicBezTo>
                  <a:cubicBezTo>
                    <a:pt x="2" y="0"/>
                    <a:pt x="0" y="2"/>
                    <a:pt x="1" y="3"/>
                  </a:cubicBezTo>
                  <a:cubicBezTo>
                    <a:pt x="1" y="2"/>
                    <a:pt x="2" y="2"/>
                    <a:pt x="1" y="3"/>
                  </a:cubicBezTo>
                  <a:cubicBezTo>
                    <a:pt x="2" y="3"/>
                    <a:pt x="2" y="3"/>
                    <a:pt x="3"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47" name="Freeform 2300">
              <a:extLst>
                <a:ext uri="{FF2B5EF4-FFF2-40B4-BE49-F238E27FC236}">
                  <a16:creationId xmlns:a16="http://schemas.microsoft.com/office/drawing/2014/main" id="{5617CAE6-117F-4D9B-9FAB-F45293D67561}"/>
                </a:ext>
              </a:extLst>
            </p:cNvPr>
            <p:cNvSpPr>
              <a:spLocks/>
            </p:cNvSpPr>
            <p:nvPr/>
          </p:nvSpPr>
          <p:spPr bwMode="auto">
            <a:xfrm>
              <a:off x="5958" y="2625"/>
              <a:ext cx="3" cy="2"/>
            </a:xfrm>
            <a:custGeom>
              <a:avLst/>
              <a:gdLst>
                <a:gd name="T0" fmla="*/ 1 w 1"/>
                <a:gd name="T1" fmla="*/ 0 h 1"/>
                <a:gd name="T2" fmla="*/ 0 w 1"/>
                <a:gd name="T3" fmla="*/ 1 h 1"/>
                <a:gd name="T4" fmla="*/ 0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1" y="1"/>
                    <a:pt x="0" y="1"/>
                    <a:pt x="0" y="1"/>
                  </a:cubicBezTo>
                  <a:cubicBezTo>
                    <a:pt x="0" y="1"/>
                    <a:pt x="0" y="1"/>
                    <a:pt x="0" y="1"/>
                  </a:cubicBezTo>
                  <a:cubicBezTo>
                    <a:pt x="0" y="1"/>
                    <a:pt x="1" y="1"/>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48" name="Freeform 2301">
              <a:extLst>
                <a:ext uri="{FF2B5EF4-FFF2-40B4-BE49-F238E27FC236}">
                  <a16:creationId xmlns:a16="http://schemas.microsoft.com/office/drawing/2014/main" id="{330A5F6D-E99C-4805-A5AA-16B535D481B8}"/>
                </a:ext>
              </a:extLst>
            </p:cNvPr>
            <p:cNvSpPr>
              <a:spLocks/>
            </p:cNvSpPr>
            <p:nvPr/>
          </p:nvSpPr>
          <p:spPr bwMode="auto">
            <a:xfrm>
              <a:off x="6415" y="2667"/>
              <a:ext cx="2" cy="3"/>
            </a:xfrm>
            <a:custGeom>
              <a:avLst/>
              <a:gdLst>
                <a:gd name="T0" fmla="*/ 1 w 1"/>
                <a:gd name="T1" fmla="*/ 1 h 1"/>
                <a:gd name="T2" fmla="*/ 0 w 1"/>
                <a:gd name="T3" fmla="*/ 0 h 1"/>
                <a:gd name="T4" fmla="*/ 1 w 1"/>
                <a:gd name="T5" fmla="*/ 1 h 1"/>
                <a:gd name="T6" fmla="*/ 1 w 1"/>
                <a:gd name="T7" fmla="*/ 1 h 1"/>
              </a:gdLst>
              <a:ahLst/>
              <a:cxnLst>
                <a:cxn ang="0">
                  <a:pos x="T0" y="T1"/>
                </a:cxn>
                <a:cxn ang="0">
                  <a:pos x="T2" y="T3"/>
                </a:cxn>
                <a:cxn ang="0">
                  <a:pos x="T4" y="T5"/>
                </a:cxn>
                <a:cxn ang="0">
                  <a:pos x="T6" y="T7"/>
                </a:cxn>
              </a:cxnLst>
              <a:rect l="0" t="0" r="r" b="b"/>
              <a:pathLst>
                <a:path w="1" h="1">
                  <a:moveTo>
                    <a:pt x="1" y="1"/>
                  </a:moveTo>
                  <a:cubicBezTo>
                    <a:pt x="0" y="1"/>
                    <a:pt x="0" y="1"/>
                    <a:pt x="0" y="0"/>
                  </a:cubicBezTo>
                  <a:cubicBezTo>
                    <a:pt x="0" y="1"/>
                    <a:pt x="0" y="1"/>
                    <a:pt x="1" y="1"/>
                  </a:cubicBezTo>
                  <a:cubicBezTo>
                    <a:pt x="1" y="1"/>
                    <a:pt x="1" y="1"/>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49" name="Freeform 2302">
              <a:extLst>
                <a:ext uri="{FF2B5EF4-FFF2-40B4-BE49-F238E27FC236}">
                  <a16:creationId xmlns:a16="http://schemas.microsoft.com/office/drawing/2014/main" id="{B8A285B2-32A5-4738-9E0A-C83C2D3EBE5C}"/>
                </a:ext>
              </a:extLst>
            </p:cNvPr>
            <p:cNvSpPr>
              <a:spLocks/>
            </p:cNvSpPr>
            <p:nvPr/>
          </p:nvSpPr>
          <p:spPr bwMode="auto">
            <a:xfrm>
              <a:off x="6330" y="2646"/>
              <a:ext cx="2" cy="3"/>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1"/>
                    <a:pt x="0" y="1"/>
                    <a:pt x="0" y="1"/>
                  </a:cubicBezTo>
                  <a:cubicBezTo>
                    <a:pt x="1" y="1"/>
                    <a:pt x="1" y="1"/>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50" name="Freeform 2303">
              <a:extLst>
                <a:ext uri="{FF2B5EF4-FFF2-40B4-BE49-F238E27FC236}">
                  <a16:creationId xmlns:a16="http://schemas.microsoft.com/office/drawing/2014/main" id="{080237F3-26CE-4AD3-9E78-AC7B1CC1F9CA}"/>
                </a:ext>
              </a:extLst>
            </p:cNvPr>
            <p:cNvSpPr>
              <a:spLocks/>
            </p:cNvSpPr>
            <p:nvPr/>
          </p:nvSpPr>
          <p:spPr bwMode="auto">
            <a:xfrm>
              <a:off x="5956" y="2620"/>
              <a:ext cx="7" cy="7"/>
            </a:xfrm>
            <a:custGeom>
              <a:avLst/>
              <a:gdLst>
                <a:gd name="T0" fmla="*/ 2 w 3"/>
                <a:gd name="T1" fmla="*/ 0 h 3"/>
                <a:gd name="T2" fmla="*/ 0 w 3"/>
                <a:gd name="T3" fmla="*/ 1 h 3"/>
                <a:gd name="T4" fmla="*/ 2 w 3"/>
                <a:gd name="T5" fmla="*/ 0 h 3"/>
              </a:gdLst>
              <a:ahLst/>
              <a:cxnLst>
                <a:cxn ang="0">
                  <a:pos x="T0" y="T1"/>
                </a:cxn>
                <a:cxn ang="0">
                  <a:pos x="T2" y="T3"/>
                </a:cxn>
                <a:cxn ang="0">
                  <a:pos x="T4" y="T5"/>
                </a:cxn>
              </a:cxnLst>
              <a:rect l="0" t="0" r="r" b="b"/>
              <a:pathLst>
                <a:path w="3" h="3">
                  <a:moveTo>
                    <a:pt x="2" y="0"/>
                  </a:moveTo>
                  <a:cubicBezTo>
                    <a:pt x="1" y="1"/>
                    <a:pt x="1" y="1"/>
                    <a:pt x="0" y="1"/>
                  </a:cubicBezTo>
                  <a:cubicBezTo>
                    <a:pt x="0" y="3"/>
                    <a:pt x="3" y="3"/>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51" name="Freeform 2304">
              <a:extLst>
                <a:ext uri="{FF2B5EF4-FFF2-40B4-BE49-F238E27FC236}">
                  <a16:creationId xmlns:a16="http://schemas.microsoft.com/office/drawing/2014/main" id="{ED778213-0CD7-404B-BCD9-C988879339C2}"/>
                </a:ext>
              </a:extLst>
            </p:cNvPr>
            <p:cNvSpPr>
              <a:spLocks/>
            </p:cNvSpPr>
            <p:nvPr/>
          </p:nvSpPr>
          <p:spPr bwMode="auto">
            <a:xfrm>
              <a:off x="6382" y="2615"/>
              <a:ext cx="4" cy="3"/>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0"/>
                    <a:pt x="1" y="0"/>
                    <a:pt x="0" y="0"/>
                  </a:cubicBezTo>
                  <a:cubicBezTo>
                    <a:pt x="1" y="1"/>
                    <a:pt x="2" y="1"/>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52" name="Freeform 2305">
              <a:extLst>
                <a:ext uri="{FF2B5EF4-FFF2-40B4-BE49-F238E27FC236}">
                  <a16:creationId xmlns:a16="http://schemas.microsoft.com/office/drawing/2014/main" id="{85FBEF46-019A-4071-81D0-51CDC03BDE87}"/>
                </a:ext>
              </a:extLst>
            </p:cNvPr>
            <p:cNvSpPr>
              <a:spLocks/>
            </p:cNvSpPr>
            <p:nvPr/>
          </p:nvSpPr>
          <p:spPr bwMode="auto">
            <a:xfrm>
              <a:off x="6374" y="2599"/>
              <a:ext cx="8" cy="7"/>
            </a:xfrm>
            <a:custGeom>
              <a:avLst/>
              <a:gdLst>
                <a:gd name="T0" fmla="*/ 1 w 3"/>
                <a:gd name="T1" fmla="*/ 3 h 3"/>
                <a:gd name="T2" fmla="*/ 3 w 3"/>
                <a:gd name="T3" fmla="*/ 2 h 3"/>
                <a:gd name="T4" fmla="*/ 1 w 3"/>
                <a:gd name="T5" fmla="*/ 1 h 3"/>
                <a:gd name="T6" fmla="*/ 1 w 3"/>
                <a:gd name="T7" fmla="*/ 3 h 3"/>
              </a:gdLst>
              <a:ahLst/>
              <a:cxnLst>
                <a:cxn ang="0">
                  <a:pos x="T0" y="T1"/>
                </a:cxn>
                <a:cxn ang="0">
                  <a:pos x="T2" y="T3"/>
                </a:cxn>
                <a:cxn ang="0">
                  <a:pos x="T4" y="T5"/>
                </a:cxn>
                <a:cxn ang="0">
                  <a:pos x="T6" y="T7"/>
                </a:cxn>
              </a:cxnLst>
              <a:rect l="0" t="0" r="r" b="b"/>
              <a:pathLst>
                <a:path w="3" h="3">
                  <a:moveTo>
                    <a:pt x="1" y="3"/>
                  </a:moveTo>
                  <a:cubicBezTo>
                    <a:pt x="1" y="3"/>
                    <a:pt x="2" y="2"/>
                    <a:pt x="3" y="2"/>
                  </a:cubicBezTo>
                  <a:cubicBezTo>
                    <a:pt x="3" y="0"/>
                    <a:pt x="3" y="0"/>
                    <a:pt x="1" y="1"/>
                  </a:cubicBezTo>
                  <a:cubicBezTo>
                    <a:pt x="1" y="1"/>
                    <a:pt x="0" y="2"/>
                    <a:pt x="1"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53" name="Freeform 2306">
              <a:extLst>
                <a:ext uri="{FF2B5EF4-FFF2-40B4-BE49-F238E27FC236}">
                  <a16:creationId xmlns:a16="http://schemas.microsoft.com/office/drawing/2014/main" id="{832B8694-C33B-4AD0-A351-32CA78DF6022}"/>
                </a:ext>
              </a:extLst>
            </p:cNvPr>
            <p:cNvSpPr>
              <a:spLocks/>
            </p:cNvSpPr>
            <p:nvPr/>
          </p:nvSpPr>
          <p:spPr bwMode="auto">
            <a:xfrm>
              <a:off x="6062" y="2708"/>
              <a:ext cx="3" cy="4"/>
            </a:xfrm>
            <a:custGeom>
              <a:avLst/>
              <a:gdLst>
                <a:gd name="T0" fmla="*/ 1 w 1"/>
                <a:gd name="T1" fmla="*/ 2 h 2"/>
                <a:gd name="T2" fmla="*/ 1 w 1"/>
                <a:gd name="T3" fmla="*/ 0 h 2"/>
                <a:gd name="T4" fmla="*/ 1 w 1"/>
                <a:gd name="T5" fmla="*/ 2 h 2"/>
              </a:gdLst>
              <a:ahLst/>
              <a:cxnLst>
                <a:cxn ang="0">
                  <a:pos x="T0" y="T1"/>
                </a:cxn>
                <a:cxn ang="0">
                  <a:pos x="T2" y="T3"/>
                </a:cxn>
                <a:cxn ang="0">
                  <a:pos x="T4" y="T5"/>
                </a:cxn>
              </a:cxnLst>
              <a:rect l="0" t="0" r="r" b="b"/>
              <a:pathLst>
                <a:path w="1" h="2">
                  <a:moveTo>
                    <a:pt x="1" y="2"/>
                  </a:moveTo>
                  <a:cubicBezTo>
                    <a:pt x="1" y="1"/>
                    <a:pt x="1" y="1"/>
                    <a:pt x="1" y="0"/>
                  </a:cubicBezTo>
                  <a:cubicBezTo>
                    <a:pt x="0" y="1"/>
                    <a:pt x="0" y="1"/>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54" name="Freeform 2307">
              <a:extLst>
                <a:ext uri="{FF2B5EF4-FFF2-40B4-BE49-F238E27FC236}">
                  <a16:creationId xmlns:a16="http://schemas.microsoft.com/office/drawing/2014/main" id="{24FA2E0D-AD2B-46DF-8B63-3084132F0648}"/>
                </a:ext>
              </a:extLst>
            </p:cNvPr>
            <p:cNvSpPr>
              <a:spLocks/>
            </p:cNvSpPr>
            <p:nvPr/>
          </p:nvSpPr>
          <p:spPr bwMode="auto">
            <a:xfrm>
              <a:off x="6237" y="2710"/>
              <a:ext cx="3" cy="14"/>
            </a:xfrm>
            <a:custGeom>
              <a:avLst/>
              <a:gdLst>
                <a:gd name="T0" fmla="*/ 0 w 1"/>
                <a:gd name="T1" fmla="*/ 0 h 6"/>
                <a:gd name="T2" fmla="*/ 0 w 1"/>
                <a:gd name="T3" fmla="*/ 3 h 6"/>
                <a:gd name="T4" fmla="*/ 0 w 1"/>
                <a:gd name="T5" fmla="*/ 0 h 6"/>
              </a:gdLst>
              <a:ahLst/>
              <a:cxnLst>
                <a:cxn ang="0">
                  <a:pos x="T0" y="T1"/>
                </a:cxn>
                <a:cxn ang="0">
                  <a:pos x="T2" y="T3"/>
                </a:cxn>
                <a:cxn ang="0">
                  <a:pos x="T4" y="T5"/>
                </a:cxn>
              </a:cxnLst>
              <a:rect l="0" t="0" r="r" b="b"/>
              <a:pathLst>
                <a:path w="1" h="6">
                  <a:moveTo>
                    <a:pt x="0" y="0"/>
                  </a:moveTo>
                  <a:cubicBezTo>
                    <a:pt x="0" y="1"/>
                    <a:pt x="0" y="2"/>
                    <a:pt x="0" y="3"/>
                  </a:cubicBezTo>
                  <a:cubicBezTo>
                    <a:pt x="1" y="6"/>
                    <a:pt x="1"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55" name="Freeform 2308">
              <a:extLst>
                <a:ext uri="{FF2B5EF4-FFF2-40B4-BE49-F238E27FC236}">
                  <a16:creationId xmlns:a16="http://schemas.microsoft.com/office/drawing/2014/main" id="{2885F643-512D-437F-9273-B72944F61DEE}"/>
                </a:ext>
              </a:extLst>
            </p:cNvPr>
            <p:cNvSpPr>
              <a:spLocks/>
            </p:cNvSpPr>
            <p:nvPr/>
          </p:nvSpPr>
          <p:spPr bwMode="auto">
            <a:xfrm>
              <a:off x="6408" y="2665"/>
              <a:ext cx="4" cy="2"/>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0"/>
                    <a:pt x="1" y="0"/>
                    <a:pt x="0" y="0"/>
                  </a:cubicBezTo>
                  <a:cubicBezTo>
                    <a:pt x="1" y="0"/>
                    <a:pt x="2" y="1"/>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56" name="Freeform 2309">
              <a:extLst>
                <a:ext uri="{FF2B5EF4-FFF2-40B4-BE49-F238E27FC236}">
                  <a16:creationId xmlns:a16="http://schemas.microsoft.com/office/drawing/2014/main" id="{4F35ABA6-1C3F-43AE-9551-7EA2ED20417A}"/>
                </a:ext>
              </a:extLst>
            </p:cNvPr>
            <p:cNvSpPr>
              <a:spLocks/>
            </p:cNvSpPr>
            <p:nvPr/>
          </p:nvSpPr>
          <p:spPr bwMode="auto">
            <a:xfrm>
              <a:off x="4965" y="2270"/>
              <a:ext cx="7" cy="14"/>
            </a:xfrm>
            <a:custGeom>
              <a:avLst/>
              <a:gdLst>
                <a:gd name="T0" fmla="*/ 3 w 3"/>
                <a:gd name="T1" fmla="*/ 0 h 6"/>
                <a:gd name="T2" fmla="*/ 0 w 3"/>
                <a:gd name="T3" fmla="*/ 6 h 6"/>
                <a:gd name="T4" fmla="*/ 3 w 3"/>
                <a:gd name="T5" fmla="*/ 2 h 6"/>
                <a:gd name="T6" fmla="*/ 3 w 3"/>
                <a:gd name="T7" fmla="*/ 0 h 6"/>
              </a:gdLst>
              <a:ahLst/>
              <a:cxnLst>
                <a:cxn ang="0">
                  <a:pos x="T0" y="T1"/>
                </a:cxn>
                <a:cxn ang="0">
                  <a:pos x="T2" y="T3"/>
                </a:cxn>
                <a:cxn ang="0">
                  <a:pos x="T4" y="T5"/>
                </a:cxn>
                <a:cxn ang="0">
                  <a:pos x="T6" y="T7"/>
                </a:cxn>
              </a:cxnLst>
              <a:rect l="0" t="0" r="r" b="b"/>
              <a:pathLst>
                <a:path w="3" h="6">
                  <a:moveTo>
                    <a:pt x="3" y="0"/>
                  </a:moveTo>
                  <a:cubicBezTo>
                    <a:pt x="2" y="2"/>
                    <a:pt x="1" y="4"/>
                    <a:pt x="0" y="6"/>
                  </a:cubicBezTo>
                  <a:cubicBezTo>
                    <a:pt x="1" y="4"/>
                    <a:pt x="1" y="3"/>
                    <a:pt x="3" y="2"/>
                  </a:cubicBezTo>
                  <a:cubicBezTo>
                    <a:pt x="3" y="1"/>
                    <a:pt x="2" y="1"/>
                    <a:pt x="3"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57" name="Freeform 2310">
              <a:extLst>
                <a:ext uri="{FF2B5EF4-FFF2-40B4-BE49-F238E27FC236}">
                  <a16:creationId xmlns:a16="http://schemas.microsoft.com/office/drawing/2014/main" id="{EC06D9A5-8ECC-4E25-92A7-DA2669DA59A5}"/>
                </a:ext>
              </a:extLst>
            </p:cNvPr>
            <p:cNvSpPr>
              <a:spLocks/>
            </p:cNvSpPr>
            <p:nvPr/>
          </p:nvSpPr>
          <p:spPr bwMode="auto">
            <a:xfrm>
              <a:off x="3894" y="1868"/>
              <a:ext cx="5" cy="4"/>
            </a:xfrm>
            <a:custGeom>
              <a:avLst/>
              <a:gdLst>
                <a:gd name="T0" fmla="*/ 1 w 2"/>
                <a:gd name="T1" fmla="*/ 0 h 2"/>
                <a:gd name="T2" fmla="*/ 0 w 2"/>
                <a:gd name="T3" fmla="*/ 0 h 2"/>
                <a:gd name="T4" fmla="*/ 2 w 2"/>
                <a:gd name="T5" fmla="*/ 2 h 2"/>
                <a:gd name="T6" fmla="*/ 1 w 2"/>
                <a:gd name="T7" fmla="*/ 0 h 2"/>
              </a:gdLst>
              <a:ahLst/>
              <a:cxnLst>
                <a:cxn ang="0">
                  <a:pos x="T0" y="T1"/>
                </a:cxn>
                <a:cxn ang="0">
                  <a:pos x="T2" y="T3"/>
                </a:cxn>
                <a:cxn ang="0">
                  <a:pos x="T4" y="T5"/>
                </a:cxn>
                <a:cxn ang="0">
                  <a:pos x="T6" y="T7"/>
                </a:cxn>
              </a:cxnLst>
              <a:rect l="0" t="0" r="r" b="b"/>
              <a:pathLst>
                <a:path w="2" h="2">
                  <a:moveTo>
                    <a:pt x="1" y="0"/>
                  </a:moveTo>
                  <a:cubicBezTo>
                    <a:pt x="1" y="0"/>
                    <a:pt x="0" y="0"/>
                    <a:pt x="0" y="0"/>
                  </a:cubicBezTo>
                  <a:cubicBezTo>
                    <a:pt x="1" y="1"/>
                    <a:pt x="2" y="2"/>
                    <a:pt x="2" y="2"/>
                  </a:cubicBezTo>
                  <a:cubicBezTo>
                    <a:pt x="2" y="0"/>
                    <a:pt x="1" y="1"/>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58" name="Freeform 2311">
              <a:extLst>
                <a:ext uri="{FF2B5EF4-FFF2-40B4-BE49-F238E27FC236}">
                  <a16:creationId xmlns:a16="http://schemas.microsoft.com/office/drawing/2014/main" id="{17E27E73-2F68-459C-B0DD-18A8E0643A53}"/>
                </a:ext>
              </a:extLst>
            </p:cNvPr>
            <p:cNvSpPr>
              <a:spLocks/>
            </p:cNvSpPr>
            <p:nvPr/>
          </p:nvSpPr>
          <p:spPr bwMode="auto">
            <a:xfrm>
              <a:off x="5079" y="3259"/>
              <a:ext cx="2" cy="2"/>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0"/>
                    <a:pt x="0" y="1"/>
                  </a:cubicBezTo>
                  <a:cubicBezTo>
                    <a:pt x="0" y="1"/>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59" name="Freeform 2312">
              <a:extLst>
                <a:ext uri="{FF2B5EF4-FFF2-40B4-BE49-F238E27FC236}">
                  <a16:creationId xmlns:a16="http://schemas.microsoft.com/office/drawing/2014/main" id="{4A40F3E3-1580-4E9F-B769-6B8F23929806}"/>
                </a:ext>
              </a:extLst>
            </p:cNvPr>
            <p:cNvSpPr>
              <a:spLocks/>
            </p:cNvSpPr>
            <p:nvPr/>
          </p:nvSpPr>
          <p:spPr bwMode="auto">
            <a:xfrm>
              <a:off x="6651" y="1896"/>
              <a:ext cx="7" cy="7"/>
            </a:xfrm>
            <a:custGeom>
              <a:avLst/>
              <a:gdLst>
                <a:gd name="T0" fmla="*/ 1 w 3"/>
                <a:gd name="T1" fmla="*/ 1 h 3"/>
                <a:gd name="T2" fmla="*/ 1 w 3"/>
                <a:gd name="T3" fmla="*/ 3 h 3"/>
                <a:gd name="T4" fmla="*/ 1 w 3"/>
                <a:gd name="T5" fmla="*/ 3 h 3"/>
                <a:gd name="T6" fmla="*/ 3 w 3"/>
                <a:gd name="T7" fmla="*/ 0 h 3"/>
                <a:gd name="T8" fmla="*/ 1 w 3"/>
                <a:gd name="T9" fmla="*/ 1 h 3"/>
              </a:gdLst>
              <a:ahLst/>
              <a:cxnLst>
                <a:cxn ang="0">
                  <a:pos x="T0" y="T1"/>
                </a:cxn>
                <a:cxn ang="0">
                  <a:pos x="T2" y="T3"/>
                </a:cxn>
                <a:cxn ang="0">
                  <a:pos x="T4" y="T5"/>
                </a:cxn>
                <a:cxn ang="0">
                  <a:pos x="T6" y="T7"/>
                </a:cxn>
                <a:cxn ang="0">
                  <a:pos x="T8" y="T9"/>
                </a:cxn>
              </a:cxnLst>
              <a:rect l="0" t="0" r="r" b="b"/>
              <a:pathLst>
                <a:path w="3" h="3">
                  <a:moveTo>
                    <a:pt x="1" y="1"/>
                  </a:moveTo>
                  <a:cubicBezTo>
                    <a:pt x="0" y="1"/>
                    <a:pt x="0" y="3"/>
                    <a:pt x="1" y="3"/>
                  </a:cubicBezTo>
                  <a:cubicBezTo>
                    <a:pt x="1" y="3"/>
                    <a:pt x="1" y="3"/>
                    <a:pt x="1" y="3"/>
                  </a:cubicBezTo>
                  <a:cubicBezTo>
                    <a:pt x="2" y="2"/>
                    <a:pt x="2" y="1"/>
                    <a:pt x="3" y="0"/>
                  </a:cubicBezTo>
                  <a:cubicBezTo>
                    <a:pt x="2" y="0"/>
                    <a:pt x="1" y="1"/>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60" name="Freeform 2313">
              <a:extLst>
                <a:ext uri="{FF2B5EF4-FFF2-40B4-BE49-F238E27FC236}">
                  <a16:creationId xmlns:a16="http://schemas.microsoft.com/office/drawing/2014/main" id="{E36B6166-B177-4524-AC2E-B3094DF76A9B}"/>
                </a:ext>
              </a:extLst>
            </p:cNvPr>
            <p:cNvSpPr>
              <a:spLocks/>
            </p:cNvSpPr>
            <p:nvPr/>
          </p:nvSpPr>
          <p:spPr bwMode="auto">
            <a:xfrm>
              <a:off x="6668" y="1915"/>
              <a:ext cx="4" cy="5"/>
            </a:xfrm>
            <a:custGeom>
              <a:avLst/>
              <a:gdLst>
                <a:gd name="T0" fmla="*/ 0 w 2"/>
                <a:gd name="T1" fmla="*/ 2 h 2"/>
                <a:gd name="T2" fmla="*/ 2 w 2"/>
                <a:gd name="T3" fmla="*/ 1 h 2"/>
                <a:gd name="T4" fmla="*/ 1 w 2"/>
                <a:gd name="T5" fmla="*/ 0 h 2"/>
                <a:gd name="T6" fmla="*/ 0 w 2"/>
                <a:gd name="T7" fmla="*/ 2 h 2"/>
              </a:gdLst>
              <a:ahLst/>
              <a:cxnLst>
                <a:cxn ang="0">
                  <a:pos x="T0" y="T1"/>
                </a:cxn>
                <a:cxn ang="0">
                  <a:pos x="T2" y="T3"/>
                </a:cxn>
                <a:cxn ang="0">
                  <a:pos x="T4" y="T5"/>
                </a:cxn>
                <a:cxn ang="0">
                  <a:pos x="T6" y="T7"/>
                </a:cxn>
              </a:cxnLst>
              <a:rect l="0" t="0" r="r" b="b"/>
              <a:pathLst>
                <a:path w="2" h="2">
                  <a:moveTo>
                    <a:pt x="0" y="2"/>
                  </a:moveTo>
                  <a:cubicBezTo>
                    <a:pt x="1" y="2"/>
                    <a:pt x="1" y="1"/>
                    <a:pt x="2" y="1"/>
                  </a:cubicBezTo>
                  <a:cubicBezTo>
                    <a:pt x="1" y="0"/>
                    <a:pt x="1" y="0"/>
                    <a:pt x="1" y="0"/>
                  </a:cubicBezTo>
                  <a:cubicBezTo>
                    <a:pt x="0" y="0"/>
                    <a:pt x="0"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61" name="Freeform 2314">
              <a:extLst>
                <a:ext uri="{FF2B5EF4-FFF2-40B4-BE49-F238E27FC236}">
                  <a16:creationId xmlns:a16="http://schemas.microsoft.com/office/drawing/2014/main" id="{9783F2BF-0D20-4D8C-9EE8-4B9C3AB148B8}"/>
                </a:ext>
              </a:extLst>
            </p:cNvPr>
            <p:cNvSpPr>
              <a:spLocks/>
            </p:cNvSpPr>
            <p:nvPr/>
          </p:nvSpPr>
          <p:spPr bwMode="auto">
            <a:xfrm>
              <a:off x="6670" y="1903"/>
              <a:ext cx="5" cy="10"/>
            </a:xfrm>
            <a:custGeom>
              <a:avLst/>
              <a:gdLst>
                <a:gd name="T0" fmla="*/ 0 w 2"/>
                <a:gd name="T1" fmla="*/ 4 h 4"/>
                <a:gd name="T2" fmla="*/ 1 w 2"/>
                <a:gd name="T3" fmla="*/ 4 h 4"/>
                <a:gd name="T4" fmla="*/ 2 w 2"/>
                <a:gd name="T5" fmla="*/ 0 h 4"/>
                <a:gd name="T6" fmla="*/ 1 w 2"/>
                <a:gd name="T7" fmla="*/ 1 h 4"/>
                <a:gd name="T8" fmla="*/ 1 w 2"/>
                <a:gd name="T9" fmla="*/ 2 h 4"/>
                <a:gd name="T10" fmla="*/ 0 w 2"/>
                <a:gd name="T11" fmla="*/ 4 h 4"/>
              </a:gdLst>
              <a:ahLst/>
              <a:cxnLst>
                <a:cxn ang="0">
                  <a:pos x="T0" y="T1"/>
                </a:cxn>
                <a:cxn ang="0">
                  <a:pos x="T2" y="T3"/>
                </a:cxn>
                <a:cxn ang="0">
                  <a:pos x="T4" y="T5"/>
                </a:cxn>
                <a:cxn ang="0">
                  <a:pos x="T6" y="T7"/>
                </a:cxn>
                <a:cxn ang="0">
                  <a:pos x="T8" y="T9"/>
                </a:cxn>
                <a:cxn ang="0">
                  <a:pos x="T10" y="T11"/>
                </a:cxn>
              </a:cxnLst>
              <a:rect l="0" t="0" r="r" b="b"/>
              <a:pathLst>
                <a:path w="2" h="4">
                  <a:moveTo>
                    <a:pt x="0" y="4"/>
                  </a:moveTo>
                  <a:cubicBezTo>
                    <a:pt x="0" y="4"/>
                    <a:pt x="1" y="4"/>
                    <a:pt x="1" y="4"/>
                  </a:cubicBezTo>
                  <a:cubicBezTo>
                    <a:pt x="1" y="3"/>
                    <a:pt x="2" y="2"/>
                    <a:pt x="2" y="0"/>
                  </a:cubicBezTo>
                  <a:cubicBezTo>
                    <a:pt x="2" y="1"/>
                    <a:pt x="1" y="1"/>
                    <a:pt x="1" y="1"/>
                  </a:cubicBezTo>
                  <a:cubicBezTo>
                    <a:pt x="0" y="2"/>
                    <a:pt x="1" y="2"/>
                    <a:pt x="1" y="2"/>
                  </a:cubicBezTo>
                  <a:cubicBezTo>
                    <a:pt x="0" y="3"/>
                    <a:pt x="0" y="4"/>
                    <a:pt x="0"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62" name="Freeform 2315">
              <a:extLst>
                <a:ext uri="{FF2B5EF4-FFF2-40B4-BE49-F238E27FC236}">
                  <a16:creationId xmlns:a16="http://schemas.microsoft.com/office/drawing/2014/main" id="{9AA7F5A9-FCEF-4E28-8DB4-2EDBF20AA37D}"/>
                </a:ext>
              </a:extLst>
            </p:cNvPr>
            <p:cNvSpPr>
              <a:spLocks/>
            </p:cNvSpPr>
            <p:nvPr/>
          </p:nvSpPr>
          <p:spPr bwMode="auto">
            <a:xfrm>
              <a:off x="6708" y="1825"/>
              <a:ext cx="2"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63" name="Freeform 2316">
              <a:extLst>
                <a:ext uri="{FF2B5EF4-FFF2-40B4-BE49-F238E27FC236}">
                  <a16:creationId xmlns:a16="http://schemas.microsoft.com/office/drawing/2014/main" id="{A18485C0-DBD3-4033-93B9-CEBA82A1C3F8}"/>
                </a:ext>
              </a:extLst>
            </p:cNvPr>
            <p:cNvSpPr>
              <a:spLocks/>
            </p:cNvSpPr>
            <p:nvPr/>
          </p:nvSpPr>
          <p:spPr bwMode="auto">
            <a:xfrm>
              <a:off x="6594" y="1906"/>
              <a:ext cx="7" cy="7"/>
            </a:xfrm>
            <a:custGeom>
              <a:avLst/>
              <a:gdLst>
                <a:gd name="T0" fmla="*/ 1 w 3"/>
                <a:gd name="T1" fmla="*/ 2 h 3"/>
                <a:gd name="T2" fmla="*/ 0 w 3"/>
                <a:gd name="T3" fmla="*/ 3 h 3"/>
                <a:gd name="T4" fmla="*/ 3 w 3"/>
                <a:gd name="T5" fmla="*/ 2 h 3"/>
                <a:gd name="T6" fmla="*/ 1 w 3"/>
                <a:gd name="T7" fmla="*/ 2 h 3"/>
              </a:gdLst>
              <a:ahLst/>
              <a:cxnLst>
                <a:cxn ang="0">
                  <a:pos x="T0" y="T1"/>
                </a:cxn>
                <a:cxn ang="0">
                  <a:pos x="T2" y="T3"/>
                </a:cxn>
                <a:cxn ang="0">
                  <a:pos x="T4" y="T5"/>
                </a:cxn>
                <a:cxn ang="0">
                  <a:pos x="T6" y="T7"/>
                </a:cxn>
              </a:cxnLst>
              <a:rect l="0" t="0" r="r" b="b"/>
              <a:pathLst>
                <a:path w="3" h="3">
                  <a:moveTo>
                    <a:pt x="1" y="2"/>
                  </a:moveTo>
                  <a:cubicBezTo>
                    <a:pt x="0" y="2"/>
                    <a:pt x="0" y="2"/>
                    <a:pt x="0" y="3"/>
                  </a:cubicBezTo>
                  <a:cubicBezTo>
                    <a:pt x="1" y="2"/>
                    <a:pt x="2" y="2"/>
                    <a:pt x="3" y="2"/>
                  </a:cubicBezTo>
                  <a:cubicBezTo>
                    <a:pt x="2" y="0"/>
                    <a:pt x="2" y="1"/>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64" name="Freeform 2317">
              <a:extLst>
                <a:ext uri="{FF2B5EF4-FFF2-40B4-BE49-F238E27FC236}">
                  <a16:creationId xmlns:a16="http://schemas.microsoft.com/office/drawing/2014/main" id="{E214238E-D881-4F99-9857-2200838087E9}"/>
                </a:ext>
              </a:extLst>
            </p:cNvPr>
            <p:cNvSpPr>
              <a:spLocks/>
            </p:cNvSpPr>
            <p:nvPr/>
          </p:nvSpPr>
          <p:spPr bwMode="auto">
            <a:xfrm>
              <a:off x="6559" y="1813"/>
              <a:ext cx="2"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65" name="Freeform 2318">
              <a:extLst>
                <a:ext uri="{FF2B5EF4-FFF2-40B4-BE49-F238E27FC236}">
                  <a16:creationId xmlns:a16="http://schemas.microsoft.com/office/drawing/2014/main" id="{F1644A39-A7A7-4E7F-98BB-A55300072E4A}"/>
                </a:ext>
              </a:extLst>
            </p:cNvPr>
            <p:cNvSpPr>
              <a:spLocks/>
            </p:cNvSpPr>
            <p:nvPr/>
          </p:nvSpPr>
          <p:spPr bwMode="auto">
            <a:xfrm>
              <a:off x="6635" y="1899"/>
              <a:ext cx="7" cy="4"/>
            </a:xfrm>
            <a:custGeom>
              <a:avLst/>
              <a:gdLst>
                <a:gd name="T0" fmla="*/ 3 w 3"/>
                <a:gd name="T1" fmla="*/ 2 h 2"/>
                <a:gd name="T2" fmla="*/ 2 w 3"/>
                <a:gd name="T3" fmla="*/ 0 h 2"/>
                <a:gd name="T4" fmla="*/ 1 w 3"/>
                <a:gd name="T5" fmla="*/ 2 h 2"/>
                <a:gd name="T6" fmla="*/ 3 w 3"/>
                <a:gd name="T7" fmla="*/ 2 h 2"/>
              </a:gdLst>
              <a:ahLst/>
              <a:cxnLst>
                <a:cxn ang="0">
                  <a:pos x="T0" y="T1"/>
                </a:cxn>
                <a:cxn ang="0">
                  <a:pos x="T2" y="T3"/>
                </a:cxn>
                <a:cxn ang="0">
                  <a:pos x="T4" y="T5"/>
                </a:cxn>
                <a:cxn ang="0">
                  <a:pos x="T6" y="T7"/>
                </a:cxn>
              </a:cxnLst>
              <a:rect l="0" t="0" r="r" b="b"/>
              <a:pathLst>
                <a:path w="3" h="2">
                  <a:moveTo>
                    <a:pt x="3" y="2"/>
                  </a:moveTo>
                  <a:cubicBezTo>
                    <a:pt x="3" y="1"/>
                    <a:pt x="2" y="1"/>
                    <a:pt x="2" y="0"/>
                  </a:cubicBezTo>
                  <a:cubicBezTo>
                    <a:pt x="0" y="0"/>
                    <a:pt x="0" y="1"/>
                    <a:pt x="1" y="2"/>
                  </a:cubicBezTo>
                  <a:cubicBezTo>
                    <a:pt x="1" y="2"/>
                    <a:pt x="2" y="2"/>
                    <a:pt x="3"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66" name="Freeform 2319">
              <a:extLst>
                <a:ext uri="{FF2B5EF4-FFF2-40B4-BE49-F238E27FC236}">
                  <a16:creationId xmlns:a16="http://schemas.microsoft.com/office/drawing/2014/main" id="{22A0FF52-188E-46D6-9750-AC9BBA383021}"/>
                </a:ext>
              </a:extLst>
            </p:cNvPr>
            <p:cNvSpPr>
              <a:spLocks/>
            </p:cNvSpPr>
            <p:nvPr/>
          </p:nvSpPr>
          <p:spPr bwMode="auto">
            <a:xfrm>
              <a:off x="6594" y="1936"/>
              <a:ext cx="22" cy="12"/>
            </a:xfrm>
            <a:custGeom>
              <a:avLst/>
              <a:gdLst>
                <a:gd name="T0" fmla="*/ 0 w 9"/>
                <a:gd name="T1" fmla="*/ 3 h 5"/>
                <a:gd name="T2" fmla="*/ 9 w 9"/>
                <a:gd name="T3" fmla="*/ 0 h 5"/>
                <a:gd name="T4" fmla="*/ 4 w 9"/>
                <a:gd name="T5" fmla="*/ 0 h 5"/>
                <a:gd name="T6" fmla="*/ 0 w 9"/>
                <a:gd name="T7" fmla="*/ 3 h 5"/>
              </a:gdLst>
              <a:ahLst/>
              <a:cxnLst>
                <a:cxn ang="0">
                  <a:pos x="T0" y="T1"/>
                </a:cxn>
                <a:cxn ang="0">
                  <a:pos x="T2" y="T3"/>
                </a:cxn>
                <a:cxn ang="0">
                  <a:pos x="T4" y="T5"/>
                </a:cxn>
                <a:cxn ang="0">
                  <a:pos x="T6" y="T7"/>
                </a:cxn>
              </a:cxnLst>
              <a:rect l="0" t="0" r="r" b="b"/>
              <a:pathLst>
                <a:path w="9" h="5">
                  <a:moveTo>
                    <a:pt x="0" y="3"/>
                  </a:moveTo>
                  <a:cubicBezTo>
                    <a:pt x="3" y="5"/>
                    <a:pt x="6" y="2"/>
                    <a:pt x="9" y="0"/>
                  </a:cubicBezTo>
                  <a:cubicBezTo>
                    <a:pt x="7" y="0"/>
                    <a:pt x="5" y="0"/>
                    <a:pt x="4" y="0"/>
                  </a:cubicBezTo>
                  <a:cubicBezTo>
                    <a:pt x="3" y="1"/>
                    <a:pt x="2" y="2"/>
                    <a:pt x="0"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67" name="Freeform 2320">
              <a:extLst>
                <a:ext uri="{FF2B5EF4-FFF2-40B4-BE49-F238E27FC236}">
                  <a16:creationId xmlns:a16="http://schemas.microsoft.com/office/drawing/2014/main" id="{6160D50B-9998-4703-A404-220FA97BAF1A}"/>
                </a:ext>
              </a:extLst>
            </p:cNvPr>
            <p:cNvSpPr>
              <a:spLocks/>
            </p:cNvSpPr>
            <p:nvPr/>
          </p:nvSpPr>
          <p:spPr bwMode="auto">
            <a:xfrm>
              <a:off x="3492" y="1480"/>
              <a:ext cx="7" cy="2"/>
            </a:xfrm>
            <a:custGeom>
              <a:avLst/>
              <a:gdLst>
                <a:gd name="T0" fmla="*/ 1 w 3"/>
                <a:gd name="T1" fmla="*/ 0 h 1"/>
                <a:gd name="T2" fmla="*/ 3 w 3"/>
                <a:gd name="T3" fmla="*/ 1 h 1"/>
                <a:gd name="T4" fmla="*/ 3 w 3"/>
                <a:gd name="T5" fmla="*/ 0 h 1"/>
                <a:gd name="T6" fmla="*/ 1 w 3"/>
                <a:gd name="T7" fmla="*/ 0 h 1"/>
              </a:gdLst>
              <a:ahLst/>
              <a:cxnLst>
                <a:cxn ang="0">
                  <a:pos x="T0" y="T1"/>
                </a:cxn>
                <a:cxn ang="0">
                  <a:pos x="T2" y="T3"/>
                </a:cxn>
                <a:cxn ang="0">
                  <a:pos x="T4" y="T5"/>
                </a:cxn>
                <a:cxn ang="0">
                  <a:pos x="T6" y="T7"/>
                </a:cxn>
              </a:cxnLst>
              <a:rect l="0" t="0" r="r" b="b"/>
              <a:pathLst>
                <a:path w="3" h="1">
                  <a:moveTo>
                    <a:pt x="1" y="0"/>
                  </a:moveTo>
                  <a:cubicBezTo>
                    <a:pt x="0" y="1"/>
                    <a:pt x="3" y="1"/>
                    <a:pt x="3" y="1"/>
                  </a:cubicBezTo>
                  <a:cubicBezTo>
                    <a:pt x="3" y="1"/>
                    <a:pt x="3" y="0"/>
                    <a:pt x="3" y="0"/>
                  </a:cubicBezTo>
                  <a:cubicBezTo>
                    <a:pt x="3" y="0"/>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68" name="Freeform 2321">
              <a:extLst>
                <a:ext uri="{FF2B5EF4-FFF2-40B4-BE49-F238E27FC236}">
                  <a16:creationId xmlns:a16="http://schemas.microsoft.com/office/drawing/2014/main" id="{131615F4-CAB3-4FFB-9C8B-29E090D5F4FC}"/>
                </a:ext>
              </a:extLst>
            </p:cNvPr>
            <p:cNvSpPr>
              <a:spLocks/>
            </p:cNvSpPr>
            <p:nvPr/>
          </p:nvSpPr>
          <p:spPr bwMode="auto">
            <a:xfrm>
              <a:off x="6916" y="1901"/>
              <a:ext cx="0" cy="5"/>
            </a:xfrm>
            <a:custGeom>
              <a:avLst/>
              <a:gdLst>
                <a:gd name="T0" fmla="*/ 0 h 2"/>
                <a:gd name="T1" fmla="*/ 2 h 2"/>
                <a:gd name="T2" fmla="*/ 0 h 2"/>
              </a:gdLst>
              <a:ahLst/>
              <a:cxnLst>
                <a:cxn ang="0">
                  <a:pos x="0" y="T0"/>
                </a:cxn>
                <a:cxn ang="0">
                  <a:pos x="0" y="T1"/>
                </a:cxn>
                <a:cxn ang="0">
                  <a:pos x="0" y="T2"/>
                </a:cxn>
              </a:cxnLst>
              <a:rect l="0" t="0" r="r" b="b"/>
              <a:pathLst>
                <a:path h="2">
                  <a:moveTo>
                    <a:pt x="0" y="0"/>
                  </a:moveTo>
                  <a:cubicBezTo>
                    <a:pt x="0" y="1"/>
                    <a:pt x="0" y="1"/>
                    <a:pt x="0" y="2"/>
                  </a:cubicBezTo>
                  <a:cubicBezTo>
                    <a:pt x="0" y="1"/>
                    <a:pt x="0"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69" name="Freeform 2322">
              <a:extLst>
                <a:ext uri="{FF2B5EF4-FFF2-40B4-BE49-F238E27FC236}">
                  <a16:creationId xmlns:a16="http://schemas.microsoft.com/office/drawing/2014/main" id="{0F00EBE6-2268-4275-895B-481398CBB83B}"/>
                </a:ext>
              </a:extLst>
            </p:cNvPr>
            <p:cNvSpPr>
              <a:spLocks/>
            </p:cNvSpPr>
            <p:nvPr/>
          </p:nvSpPr>
          <p:spPr bwMode="auto">
            <a:xfrm>
              <a:off x="6925" y="1596"/>
              <a:ext cx="145" cy="120"/>
            </a:xfrm>
            <a:custGeom>
              <a:avLst/>
              <a:gdLst>
                <a:gd name="T0" fmla="*/ 5 w 61"/>
                <a:gd name="T1" fmla="*/ 34 h 51"/>
                <a:gd name="T2" fmla="*/ 2 w 61"/>
                <a:gd name="T3" fmla="*/ 35 h 51"/>
                <a:gd name="T4" fmla="*/ 0 w 61"/>
                <a:gd name="T5" fmla="*/ 39 h 51"/>
                <a:gd name="T6" fmla="*/ 2 w 61"/>
                <a:gd name="T7" fmla="*/ 47 h 51"/>
                <a:gd name="T8" fmla="*/ 4 w 61"/>
                <a:gd name="T9" fmla="*/ 51 h 51"/>
                <a:gd name="T10" fmla="*/ 7 w 61"/>
                <a:gd name="T11" fmla="*/ 47 h 51"/>
                <a:gd name="T12" fmla="*/ 9 w 61"/>
                <a:gd name="T13" fmla="*/ 46 h 51"/>
                <a:gd name="T14" fmla="*/ 13 w 61"/>
                <a:gd name="T15" fmla="*/ 46 h 51"/>
                <a:gd name="T16" fmla="*/ 10 w 61"/>
                <a:gd name="T17" fmla="*/ 43 h 51"/>
                <a:gd name="T18" fmla="*/ 7 w 61"/>
                <a:gd name="T19" fmla="*/ 41 h 51"/>
                <a:gd name="T20" fmla="*/ 10 w 61"/>
                <a:gd name="T21" fmla="*/ 37 h 51"/>
                <a:gd name="T22" fmla="*/ 12 w 61"/>
                <a:gd name="T23" fmla="*/ 40 h 51"/>
                <a:gd name="T24" fmla="*/ 21 w 61"/>
                <a:gd name="T25" fmla="*/ 37 h 51"/>
                <a:gd name="T26" fmla="*/ 26 w 61"/>
                <a:gd name="T27" fmla="*/ 40 h 51"/>
                <a:gd name="T28" fmla="*/ 34 w 61"/>
                <a:gd name="T29" fmla="*/ 44 h 51"/>
                <a:gd name="T30" fmla="*/ 37 w 61"/>
                <a:gd name="T31" fmla="*/ 39 h 51"/>
                <a:gd name="T32" fmla="*/ 42 w 61"/>
                <a:gd name="T33" fmla="*/ 32 h 51"/>
                <a:gd name="T34" fmla="*/ 51 w 61"/>
                <a:gd name="T35" fmla="*/ 32 h 51"/>
                <a:gd name="T36" fmla="*/ 52 w 61"/>
                <a:gd name="T37" fmla="*/ 31 h 51"/>
                <a:gd name="T38" fmla="*/ 61 w 61"/>
                <a:gd name="T39" fmla="*/ 27 h 51"/>
                <a:gd name="T40" fmla="*/ 57 w 61"/>
                <a:gd name="T41" fmla="*/ 28 h 51"/>
                <a:gd name="T42" fmla="*/ 55 w 61"/>
                <a:gd name="T43" fmla="*/ 24 h 51"/>
                <a:gd name="T44" fmla="*/ 54 w 61"/>
                <a:gd name="T45" fmla="*/ 21 h 51"/>
                <a:gd name="T46" fmla="*/ 55 w 61"/>
                <a:gd name="T47" fmla="*/ 19 h 51"/>
                <a:gd name="T48" fmla="*/ 52 w 61"/>
                <a:gd name="T49" fmla="*/ 19 h 51"/>
                <a:gd name="T50" fmla="*/ 45 w 61"/>
                <a:gd name="T51" fmla="*/ 19 h 51"/>
                <a:gd name="T52" fmla="*/ 44 w 61"/>
                <a:gd name="T53" fmla="*/ 18 h 51"/>
                <a:gd name="T54" fmla="*/ 33 w 61"/>
                <a:gd name="T55" fmla="*/ 12 h 51"/>
                <a:gd name="T56" fmla="*/ 20 w 61"/>
                <a:gd name="T57" fmla="*/ 1 h 51"/>
                <a:gd name="T58" fmla="*/ 19 w 61"/>
                <a:gd name="T59" fmla="*/ 2 h 51"/>
                <a:gd name="T60" fmla="*/ 20 w 61"/>
                <a:gd name="T61" fmla="*/ 8 h 51"/>
                <a:gd name="T62" fmla="*/ 16 w 61"/>
                <a:gd name="T63" fmla="*/ 22 h 51"/>
                <a:gd name="T64" fmla="*/ 16 w 61"/>
                <a:gd name="T65" fmla="*/ 27 h 51"/>
                <a:gd name="T66" fmla="*/ 12 w 61"/>
                <a:gd name="T67" fmla="*/ 28 h 51"/>
                <a:gd name="T68" fmla="*/ 8 w 61"/>
                <a:gd name="T69" fmla="*/ 28 h 51"/>
                <a:gd name="T70" fmla="*/ 7 w 61"/>
                <a:gd name="T71" fmla="*/ 3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1" h="51">
                  <a:moveTo>
                    <a:pt x="6" y="32"/>
                  </a:moveTo>
                  <a:cubicBezTo>
                    <a:pt x="6" y="32"/>
                    <a:pt x="5" y="34"/>
                    <a:pt x="5" y="34"/>
                  </a:cubicBezTo>
                  <a:cubicBezTo>
                    <a:pt x="4" y="34"/>
                    <a:pt x="4" y="34"/>
                    <a:pt x="4" y="34"/>
                  </a:cubicBezTo>
                  <a:cubicBezTo>
                    <a:pt x="3" y="34"/>
                    <a:pt x="3" y="35"/>
                    <a:pt x="2" y="35"/>
                  </a:cubicBezTo>
                  <a:cubicBezTo>
                    <a:pt x="2" y="35"/>
                    <a:pt x="1" y="35"/>
                    <a:pt x="1" y="35"/>
                  </a:cubicBezTo>
                  <a:cubicBezTo>
                    <a:pt x="0" y="36"/>
                    <a:pt x="0" y="38"/>
                    <a:pt x="0" y="39"/>
                  </a:cubicBezTo>
                  <a:cubicBezTo>
                    <a:pt x="0" y="41"/>
                    <a:pt x="1" y="41"/>
                    <a:pt x="2" y="42"/>
                  </a:cubicBezTo>
                  <a:cubicBezTo>
                    <a:pt x="4" y="44"/>
                    <a:pt x="3" y="45"/>
                    <a:pt x="2" y="47"/>
                  </a:cubicBezTo>
                  <a:cubicBezTo>
                    <a:pt x="2" y="47"/>
                    <a:pt x="2" y="48"/>
                    <a:pt x="2" y="49"/>
                  </a:cubicBezTo>
                  <a:cubicBezTo>
                    <a:pt x="2" y="50"/>
                    <a:pt x="4" y="51"/>
                    <a:pt x="4" y="51"/>
                  </a:cubicBezTo>
                  <a:cubicBezTo>
                    <a:pt x="5" y="50"/>
                    <a:pt x="6" y="49"/>
                    <a:pt x="6" y="48"/>
                  </a:cubicBezTo>
                  <a:cubicBezTo>
                    <a:pt x="6" y="48"/>
                    <a:pt x="6" y="48"/>
                    <a:pt x="7" y="47"/>
                  </a:cubicBezTo>
                  <a:cubicBezTo>
                    <a:pt x="7" y="47"/>
                    <a:pt x="8" y="47"/>
                    <a:pt x="8" y="46"/>
                  </a:cubicBezTo>
                  <a:cubicBezTo>
                    <a:pt x="9" y="46"/>
                    <a:pt x="8" y="46"/>
                    <a:pt x="9" y="46"/>
                  </a:cubicBezTo>
                  <a:cubicBezTo>
                    <a:pt x="9" y="46"/>
                    <a:pt x="10" y="46"/>
                    <a:pt x="11" y="46"/>
                  </a:cubicBezTo>
                  <a:cubicBezTo>
                    <a:pt x="12" y="47"/>
                    <a:pt x="12" y="47"/>
                    <a:pt x="13" y="46"/>
                  </a:cubicBezTo>
                  <a:cubicBezTo>
                    <a:pt x="14" y="45"/>
                    <a:pt x="13" y="45"/>
                    <a:pt x="12" y="45"/>
                  </a:cubicBezTo>
                  <a:cubicBezTo>
                    <a:pt x="11" y="44"/>
                    <a:pt x="11" y="43"/>
                    <a:pt x="10" y="43"/>
                  </a:cubicBezTo>
                  <a:cubicBezTo>
                    <a:pt x="9" y="42"/>
                    <a:pt x="9" y="42"/>
                    <a:pt x="8" y="42"/>
                  </a:cubicBezTo>
                  <a:cubicBezTo>
                    <a:pt x="7" y="42"/>
                    <a:pt x="7" y="42"/>
                    <a:pt x="7" y="41"/>
                  </a:cubicBezTo>
                  <a:cubicBezTo>
                    <a:pt x="5" y="41"/>
                    <a:pt x="4" y="40"/>
                    <a:pt x="5" y="39"/>
                  </a:cubicBezTo>
                  <a:cubicBezTo>
                    <a:pt x="6" y="36"/>
                    <a:pt x="8" y="36"/>
                    <a:pt x="10" y="37"/>
                  </a:cubicBezTo>
                  <a:cubicBezTo>
                    <a:pt x="10" y="37"/>
                    <a:pt x="11" y="38"/>
                    <a:pt x="11" y="38"/>
                  </a:cubicBezTo>
                  <a:cubicBezTo>
                    <a:pt x="11" y="39"/>
                    <a:pt x="12" y="39"/>
                    <a:pt x="12" y="40"/>
                  </a:cubicBezTo>
                  <a:cubicBezTo>
                    <a:pt x="12" y="40"/>
                    <a:pt x="15" y="38"/>
                    <a:pt x="16" y="37"/>
                  </a:cubicBezTo>
                  <a:cubicBezTo>
                    <a:pt x="18" y="36"/>
                    <a:pt x="19" y="36"/>
                    <a:pt x="21" y="37"/>
                  </a:cubicBezTo>
                  <a:cubicBezTo>
                    <a:pt x="22" y="37"/>
                    <a:pt x="23" y="38"/>
                    <a:pt x="24" y="38"/>
                  </a:cubicBezTo>
                  <a:cubicBezTo>
                    <a:pt x="25" y="38"/>
                    <a:pt x="25" y="39"/>
                    <a:pt x="26" y="40"/>
                  </a:cubicBezTo>
                  <a:cubicBezTo>
                    <a:pt x="28" y="41"/>
                    <a:pt x="31" y="41"/>
                    <a:pt x="34" y="43"/>
                  </a:cubicBezTo>
                  <a:cubicBezTo>
                    <a:pt x="34" y="43"/>
                    <a:pt x="34" y="44"/>
                    <a:pt x="34" y="44"/>
                  </a:cubicBezTo>
                  <a:cubicBezTo>
                    <a:pt x="35" y="44"/>
                    <a:pt x="36" y="43"/>
                    <a:pt x="36" y="42"/>
                  </a:cubicBezTo>
                  <a:cubicBezTo>
                    <a:pt x="36" y="40"/>
                    <a:pt x="36" y="40"/>
                    <a:pt x="37" y="39"/>
                  </a:cubicBezTo>
                  <a:cubicBezTo>
                    <a:pt x="37" y="37"/>
                    <a:pt x="38" y="36"/>
                    <a:pt x="39" y="36"/>
                  </a:cubicBezTo>
                  <a:cubicBezTo>
                    <a:pt x="40" y="35"/>
                    <a:pt x="41" y="33"/>
                    <a:pt x="42" y="32"/>
                  </a:cubicBezTo>
                  <a:cubicBezTo>
                    <a:pt x="44" y="32"/>
                    <a:pt x="47" y="32"/>
                    <a:pt x="49" y="32"/>
                  </a:cubicBezTo>
                  <a:cubicBezTo>
                    <a:pt x="50" y="32"/>
                    <a:pt x="50" y="32"/>
                    <a:pt x="51" y="32"/>
                  </a:cubicBezTo>
                  <a:cubicBezTo>
                    <a:pt x="51" y="31"/>
                    <a:pt x="51" y="30"/>
                    <a:pt x="51" y="31"/>
                  </a:cubicBezTo>
                  <a:cubicBezTo>
                    <a:pt x="52" y="31"/>
                    <a:pt x="52" y="31"/>
                    <a:pt x="52" y="31"/>
                  </a:cubicBezTo>
                  <a:cubicBezTo>
                    <a:pt x="53" y="31"/>
                    <a:pt x="53" y="31"/>
                    <a:pt x="54" y="31"/>
                  </a:cubicBezTo>
                  <a:cubicBezTo>
                    <a:pt x="56" y="29"/>
                    <a:pt x="59" y="28"/>
                    <a:pt x="61" y="27"/>
                  </a:cubicBezTo>
                  <a:cubicBezTo>
                    <a:pt x="61" y="27"/>
                    <a:pt x="57" y="27"/>
                    <a:pt x="58" y="28"/>
                  </a:cubicBezTo>
                  <a:cubicBezTo>
                    <a:pt x="58" y="28"/>
                    <a:pt x="57" y="28"/>
                    <a:pt x="57" y="28"/>
                  </a:cubicBezTo>
                  <a:cubicBezTo>
                    <a:pt x="56" y="27"/>
                    <a:pt x="56" y="27"/>
                    <a:pt x="56" y="26"/>
                  </a:cubicBezTo>
                  <a:cubicBezTo>
                    <a:pt x="56" y="25"/>
                    <a:pt x="55" y="24"/>
                    <a:pt x="55" y="24"/>
                  </a:cubicBezTo>
                  <a:cubicBezTo>
                    <a:pt x="56" y="24"/>
                    <a:pt x="56" y="24"/>
                    <a:pt x="57" y="24"/>
                  </a:cubicBezTo>
                  <a:cubicBezTo>
                    <a:pt x="56" y="23"/>
                    <a:pt x="54" y="23"/>
                    <a:pt x="54" y="21"/>
                  </a:cubicBezTo>
                  <a:cubicBezTo>
                    <a:pt x="54" y="21"/>
                    <a:pt x="54" y="20"/>
                    <a:pt x="54" y="20"/>
                  </a:cubicBezTo>
                  <a:cubicBezTo>
                    <a:pt x="54" y="20"/>
                    <a:pt x="55" y="19"/>
                    <a:pt x="55" y="19"/>
                  </a:cubicBezTo>
                  <a:cubicBezTo>
                    <a:pt x="56" y="18"/>
                    <a:pt x="57" y="16"/>
                    <a:pt x="56" y="14"/>
                  </a:cubicBezTo>
                  <a:cubicBezTo>
                    <a:pt x="55" y="16"/>
                    <a:pt x="53" y="18"/>
                    <a:pt x="52" y="19"/>
                  </a:cubicBezTo>
                  <a:cubicBezTo>
                    <a:pt x="51" y="20"/>
                    <a:pt x="49" y="20"/>
                    <a:pt x="48" y="20"/>
                  </a:cubicBezTo>
                  <a:cubicBezTo>
                    <a:pt x="47" y="19"/>
                    <a:pt x="46" y="19"/>
                    <a:pt x="45" y="19"/>
                  </a:cubicBezTo>
                  <a:cubicBezTo>
                    <a:pt x="45" y="19"/>
                    <a:pt x="44" y="19"/>
                    <a:pt x="44" y="18"/>
                  </a:cubicBezTo>
                  <a:cubicBezTo>
                    <a:pt x="44" y="18"/>
                    <a:pt x="44" y="18"/>
                    <a:pt x="44" y="18"/>
                  </a:cubicBezTo>
                  <a:cubicBezTo>
                    <a:pt x="43" y="17"/>
                    <a:pt x="43" y="17"/>
                    <a:pt x="42" y="17"/>
                  </a:cubicBezTo>
                  <a:cubicBezTo>
                    <a:pt x="39" y="18"/>
                    <a:pt x="35" y="14"/>
                    <a:pt x="33" y="12"/>
                  </a:cubicBezTo>
                  <a:cubicBezTo>
                    <a:pt x="29" y="8"/>
                    <a:pt x="25" y="4"/>
                    <a:pt x="22" y="0"/>
                  </a:cubicBezTo>
                  <a:cubicBezTo>
                    <a:pt x="21" y="0"/>
                    <a:pt x="21" y="1"/>
                    <a:pt x="20" y="1"/>
                  </a:cubicBezTo>
                  <a:cubicBezTo>
                    <a:pt x="20" y="1"/>
                    <a:pt x="19" y="1"/>
                    <a:pt x="19" y="1"/>
                  </a:cubicBezTo>
                  <a:cubicBezTo>
                    <a:pt x="19" y="1"/>
                    <a:pt x="19" y="1"/>
                    <a:pt x="19" y="2"/>
                  </a:cubicBezTo>
                  <a:cubicBezTo>
                    <a:pt x="19" y="3"/>
                    <a:pt x="18" y="4"/>
                    <a:pt x="19" y="5"/>
                  </a:cubicBezTo>
                  <a:cubicBezTo>
                    <a:pt x="19" y="6"/>
                    <a:pt x="20" y="7"/>
                    <a:pt x="20" y="8"/>
                  </a:cubicBezTo>
                  <a:cubicBezTo>
                    <a:pt x="21" y="11"/>
                    <a:pt x="19" y="15"/>
                    <a:pt x="19" y="18"/>
                  </a:cubicBezTo>
                  <a:cubicBezTo>
                    <a:pt x="19" y="20"/>
                    <a:pt x="15" y="21"/>
                    <a:pt x="16" y="22"/>
                  </a:cubicBezTo>
                  <a:cubicBezTo>
                    <a:pt x="16" y="24"/>
                    <a:pt x="16" y="25"/>
                    <a:pt x="16" y="25"/>
                  </a:cubicBezTo>
                  <a:cubicBezTo>
                    <a:pt x="16" y="26"/>
                    <a:pt x="17" y="27"/>
                    <a:pt x="16" y="27"/>
                  </a:cubicBezTo>
                  <a:cubicBezTo>
                    <a:pt x="15" y="28"/>
                    <a:pt x="14" y="30"/>
                    <a:pt x="13" y="29"/>
                  </a:cubicBezTo>
                  <a:cubicBezTo>
                    <a:pt x="12" y="29"/>
                    <a:pt x="12" y="29"/>
                    <a:pt x="12" y="28"/>
                  </a:cubicBezTo>
                  <a:cubicBezTo>
                    <a:pt x="11" y="28"/>
                    <a:pt x="10" y="29"/>
                    <a:pt x="10" y="29"/>
                  </a:cubicBezTo>
                  <a:cubicBezTo>
                    <a:pt x="9" y="29"/>
                    <a:pt x="9" y="28"/>
                    <a:pt x="8" y="28"/>
                  </a:cubicBezTo>
                  <a:cubicBezTo>
                    <a:pt x="8" y="27"/>
                    <a:pt x="6" y="26"/>
                    <a:pt x="5" y="28"/>
                  </a:cubicBezTo>
                  <a:cubicBezTo>
                    <a:pt x="5" y="29"/>
                    <a:pt x="6" y="29"/>
                    <a:pt x="7" y="30"/>
                  </a:cubicBezTo>
                  <a:cubicBezTo>
                    <a:pt x="7" y="31"/>
                    <a:pt x="7" y="31"/>
                    <a:pt x="6" y="32"/>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70" name="Freeform 2323">
              <a:extLst>
                <a:ext uri="{FF2B5EF4-FFF2-40B4-BE49-F238E27FC236}">
                  <a16:creationId xmlns:a16="http://schemas.microsoft.com/office/drawing/2014/main" id="{E25C186C-0D9D-4F3B-97A4-8EF2F6DECB6D}"/>
                </a:ext>
              </a:extLst>
            </p:cNvPr>
            <p:cNvSpPr>
              <a:spLocks/>
            </p:cNvSpPr>
            <p:nvPr/>
          </p:nvSpPr>
          <p:spPr bwMode="auto">
            <a:xfrm>
              <a:off x="6677" y="1925"/>
              <a:ext cx="62" cy="78"/>
            </a:xfrm>
            <a:custGeom>
              <a:avLst/>
              <a:gdLst>
                <a:gd name="T0" fmla="*/ 2 w 26"/>
                <a:gd name="T1" fmla="*/ 10 h 33"/>
                <a:gd name="T2" fmla="*/ 2 w 26"/>
                <a:gd name="T3" fmla="*/ 13 h 33"/>
                <a:gd name="T4" fmla="*/ 2 w 26"/>
                <a:gd name="T5" fmla="*/ 16 h 33"/>
                <a:gd name="T6" fmla="*/ 7 w 26"/>
                <a:gd name="T7" fmla="*/ 13 h 33"/>
                <a:gd name="T8" fmla="*/ 6 w 26"/>
                <a:gd name="T9" fmla="*/ 15 h 33"/>
                <a:gd name="T10" fmla="*/ 8 w 26"/>
                <a:gd name="T11" fmla="*/ 15 h 33"/>
                <a:gd name="T12" fmla="*/ 6 w 26"/>
                <a:gd name="T13" fmla="*/ 12 h 33"/>
                <a:gd name="T14" fmla="*/ 7 w 26"/>
                <a:gd name="T15" fmla="*/ 11 h 33"/>
                <a:gd name="T16" fmla="*/ 6 w 26"/>
                <a:gd name="T17" fmla="*/ 9 h 33"/>
                <a:gd name="T18" fmla="*/ 8 w 26"/>
                <a:gd name="T19" fmla="*/ 9 h 33"/>
                <a:gd name="T20" fmla="*/ 10 w 26"/>
                <a:gd name="T21" fmla="*/ 12 h 33"/>
                <a:gd name="T22" fmla="*/ 11 w 26"/>
                <a:gd name="T23" fmla="*/ 14 h 33"/>
                <a:gd name="T24" fmla="*/ 9 w 26"/>
                <a:gd name="T25" fmla="*/ 15 h 33"/>
                <a:gd name="T26" fmla="*/ 11 w 26"/>
                <a:gd name="T27" fmla="*/ 15 h 33"/>
                <a:gd name="T28" fmla="*/ 10 w 26"/>
                <a:gd name="T29" fmla="*/ 18 h 33"/>
                <a:gd name="T30" fmla="*/ 7 w 26"/>
                <a:gd name="T31" fmla="*/ 25 h 33"/>
                <a:gd name="T32" fmla="*/ 6 w 26"/>
                <a:gd name="T33" fmla="*/ 29 h 33"/>
                <a:gd name="T34" fmla="*/ 6 w 26"/>
                <a:gd name="T35" fmla="*/ 29 h 33"/>
                <a:gd name="T36" fmla="*/ 8 w 26"/>
                <a:gd name="T37" fmla="*/ 31 h 33"/>
                <a:gd name="T38" fmla="*/ 9 w 26"/>
                <a:gd name="T39" fmla="*/ 31 h 33"/>
                <a:gd name="T40" fmla="*/ 11 w 26"/>
                <a:gd name="T41" fmla="*/ 31 h 33"/>
                <a:gd name="T42" fmla="*/ 10 w 26"/>
                <a:gd name="T43" fmla="*/ 29 h 33"/>
                <a:gd name="T44" fmla="*/ 11 w 26"/>
                <a:gd name="T45" fmla="*/ 26 h 33"/>
                <a:gd name="T46" fmla="*/ 13 w 26"/>
                <a:gd name="T47" fmla="*/ 26 h 33"/>
                <a:gd name="T48" fmla="*/ 12 w 26"/>
                <a:gd name="T49" fmla="*/ 27 h 33"/>
                <a:gd name="T50" fmla="*/ 12 w 26"/>
                <a:gd name="T51" fmla="*/ 33 h 33"/>
                <a:gd name="T52" fmla="*/ 16 w 26"/>
                <a:gd name="T53" fmla="*/ 30 h 33"/>
                <a:gd name="T54" fmla="*/ 16 w 26"/>
                <a:gd name="T55" fmla="*/ 28 h 33"/>
                <a:gd name="T56" fmla="*/ 19 w 26"/>
                <a:gd name="T57" fmla="*/ 26 h 33"/>
                <a:gd name="T58" fmla="*/ 20 w 26"/>
                <a:gd name="T59" fmla="*/ 24 h 33"/>
                <a:gd name="T60" fmla="*/ 22 w 26"/>
                <a:gd name="T61" fmla="*/ 18 h 33"/>
                <a:gd name="T62" fmla="*/ 24 w 26"/>
                <a:gd name="T63" fmla="*/ 14 h 33"/>
                <a:gd name="T64" fmla="*/ 26 w 26"/>
                <a:gd name="T65" fmla="*/ 11 h 33"/>
                <a:gd name="T66" fmla="*/ 25 w 26"/>
                <a:gd name="T67" fmla="*/ 12 h 33"/>
                <a:gd name="T68" fmla="*/ 24 w 26"/>
                <a:gd name="T69" fmla="*/ 8 h 33"/>
                <a:gd name="T70" fmla="*/ 22 w 26"/>
                <a:gd name="T71" fmla="*/ 8 h 33"/>
                <a:gd name="T72" fmla="*/ 20 w 26"/>
                <a:gd name="T73" fmla="*/ 7 h 33"/>
                <a:gd name="T74" fmla="*/ 21 w 26"/>
                <a:gd name="T75" fmla="*/ 6 h 33"/>
                <a:gd name="T76" fmla="*/ 21 w 26"/>
                <a:gd name="T77" fmla="*/ 3 h 33"/>
                <a:gd name="T78" fmla="*/ 20 w 26"/>
                <a:gd name="T79" fmla="*/ 4 h 33"/>
                <a:gd name="T80" fmla="*/ 19 w 26"/>
                <a:gd name="T81" fmla="*/ 4 h 33"/>
                <a:gd name="T82" fmla="*/ 15 w 26"/>
                <a:gd name="T83" fmla="*/ 0 h 33"/>
                <a:gd name="T84" fmla="*/ 11 w 26"/>
                <a:gd name="T85" fmla="*/ 0 h 33"/>
                <a:gd name="T86" fmla="*/ 9 w 26"/>
                <a:gd name="T87" fmla="*/ 2 h 33"/>
                <a:gd name="T88" fmla="*/ 7 w 26"/>
                <a:gd name="T89" fmla="*/ 3 h 33"/>
                <a:gd name="T90" fmla="*/ 5 w 26"/>
                <a:gd name="T91" fmla="*/ 5 h 33"/>
                <a:gd name="T92" fmla="*/ 3 w 26"/>
                <a:gd name="T93" fmla="*/ 5 h 33"/>
                <a:gd name="T94" fmla="*/ 3 w 26"/>
                <a:gd name="T95" fmla="*/ 7 h 33"/>
                <a:gd name="T96" fmla="*/ 0 w 26"/>
                <a:gd name="T97" fmla="*/ 7 h 33"/>
                <a:gd name="T98" fmla="*/ 2 w 26"/>
                <a:gd name="T99" fmla="*/ 1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 h="33">
                  <a:moveTo>
                    <a:pt x="2" y="10"/>
                  </a:moveTo>
                  <a:cubicBezTo>
                    <a:pt x="1" y="11"/>
                    <a:pt x="1" y="12"/>
                    <a:pt x="2" y="13"/>
                  </a:cubicBezTo>
                  <a:cubicBezTo>
                    <a:pt x="3" y="14"/>
                    <a:pt x="4" y="14"/>
                    <a:pt x="2" y="16"/>
                  </a:cubicBezTo>
                  <a:cubicBezTo>
                    <a:pt x="4" y="15"/>
                    <a:pt x="5" y="14"/>
                    <a:pt x="7" y="13"/>
                  </a:cubicBezTo>
                  <a:cubicBezTo>
                    <a:pt x="7" y="14"/>
                    <a:pt x="6" y="15"/>
                    <a:pt x="6" y="15"/>
                  </a:cubicBezTo>
                  <a:cubicBezTo>
                    <a:pt x="7" y="15"/>
                    <a:pt x="8" y="15"/>
                    <a:pt x="8" y="15"/>
                  </a:cubicBezTo>
                  <a:cubicBezTo>
                    <a:pt x="8" y="14"/>
                    <a:pt x="7" y="13"/>
                    <a:pt x="6" y="12"/>
                  </a:cubicBezTo>
                  <a:cubicBezTo>
                    <a:pt x="6" y="12"/>
                    <a:pt x="7" y="12"/>
                    <a:pt x="7" y="11"/>
                  </a:cubicBezTo>
                  <a:cubicBezTo>
                    <a:pt x="6" y="11"/>
                    <a:pt x="6" y="10"/>
                    <a:pt x="6" y="9"/>
                  </a:cubicBezTo>
                  <a:cubicBezTo>
                    <a:pt x="7" y="9"/>
                    <a:pt x="7" y="8"/>
                    <a:pt x="8" y="9"/>
                  </a:cubicBezTo>
                  <a:cubicBezTo>
                    <a:pt x="9" y="9"/>
                    <a:pt x="9" y="11"/>
                    <a:pt x="10" y="12"/>
                  </a:cubicBezTo>
                  <a:cubicBezTo>
                    <a:pt x="10" y="12"/>
                    <a:pt x="11" y="13"/>
                    <a:pt x="11" y="14"/>
                  </a:cubicBezTo>
                  <a:cubicBezTo>
                    <a:pt x="10" y="14"/>
                    <a:pt x="10" y="15"/>
                    <a:pt x="9" y="15"/>
                  </a:cubicBezTo>
                  <a:cubicBezTo>
                    <a:pt x="10" y="15"/>
                    <a:pt x="11" y="15"/>
                    <a:pt x="11" y="15"/>
                  </a:cubicBezTo>
                  <a:cubicBezTo>
                    <a:pt x="11" y="15"/>
                    <a:pt x="10" y="19"/>
                    <a:pt x="10" y="18"/>
                  </a:cubicBezTo>
                  <a:cubicBezTo>
                    <a:pt x="8" y="21"/>
                    <a:pt x="5" y="21"/>
                    <a:pt x="7" y="25"/>
                  </a:cubicBezTo>
                  <a:cubicBezTo>
                    <a:pt x="7" y="25"/>
                    <a:pt x="9" y="30"/>
                    <a:pt x="6" y="29"/>
                  </a:cubicBezTo>
                  <a:cubicBezTo>
                    <a:pt x="6" y="29"/>
                    <a:pt x="6" y="29"/>
                    <a:pt x="6" y="29"/>
                  </a:cubicBezTo>
                  <a:cubicBezTo>
                    <a:pt x="6" y="30"/>
                    <a:pt x="7" y="30"/>
                    <a:pt x="8" y="31"/>
                  </a:cubicBezTo>
                  <a:cubicBezTo>
                    <a:pt x="8" y="31"/>
                    <a:pt x="9" y="31"/>
                    <a:pt x="9" y="31"/>
                  </a:cubicBezTo>
                  <a:cubicBezTo>
                    <a:pt x="10" y="31"/>
                    <a:pt x="11" y="32"/>
                    <a:pt x="11" y="31"/>
                  </a:cubicBezTo>
                  <a:cubicBezTo>
                    <a:pt x="12" y="31"/>
                    <a:pt x="11" y="30"/>
                    <a:pt x="10" y="29"/>
                  </a:cubicBezTo>
                  <a:cubicBezTo>
                    <a:pt x="10" y="28"/>
                    <a:pt x="10" y="27"/>
                    <a:pt x="11" y="26"/>
                  </a:cubicBezTo>
                  <a:cubicBezTo>
                    <a:pt x="11" y="26"/>
                    <a:pt x="12" y="25"/>
                    <a:pt x="13" y="26"/>
                  </a:cubicBezTo>
                  <a:cubicBezTo>
                    <a:pt x="13" y="26"/>
                    <a:pt x="13" y="27"/>
                    <a:pt x="12" y="27"/>
                  </a:cubicBezTo>
                  <a:cubicBezTo>
                    <a:pt x="13" y="30"/>
                    <a:pt x="13" y="31"/>
                    <a:pt x="12" y="33"/>
                  </a:cubicBezTo>
                  <a:cubicBezTo>
                    <a:pt x="13" y="32"/>
                    <a:pt x="15" y="31"/>
                    <a:pt x="16" y="30"/>
                  </a:cubicBezTo>
                  <a:cubicBezTo>
                    <a:pt x="16" y="30"/>
                    <a:pt x="16" y="29"/>
                    <a:pt x="16" y="28"/>
                  </a:cubicBezTo>
                  <a:cubicBezTo>
                    <a:pt x="19" y="29"/>
                    <a:pt x="19" y="29"/>
                    <a:pt x="19" y="26"/>
                  </a:cubicBezTo>
                  <a:cubicBezTo>
                    <a:pt x="20" y="26"/>
                    <a:pt x="20" y="25"/>
                    <a:pt x="20" y="24"/>
                  </a:cubicBezTo>
                  <a:cubicBezTo>
                    <a:pt x="20" y="22"/>
                    <a:pt x="21" y="20"/>
                    <a:pt x="22" y="18"/>
                  </a:cubicBezTo>
                  <a:cubicBezTo>
                    <a:pt x="23" y="17"/>
                    <a:pt x="23" y="15"/>
                    <a:pt x="24" y="14"/>
                  </a:cubicBezTo>
                  <a:cubicBezTo>
                    <a:pt x="24" y="13"/>
                    <a:pt x="25" y="12"/>
                    <a:pt x="26" y="11"/>
                  </a:cubicBezTo>
                  <a:cubicBezTo>
                    <a:pt x="26" y="12"/>
                    <a:pt x="25" y="12"/>
                    <a:pt x="25" y="12"/>
                  </a:cubicBezTo>
                  <a:cubicBezTo>
                    <a:pt x="25" y="11"/>
                    <a:pt x="25" y="8"/>
                    <a:pt x="24" y="8"/>
                  </a:cubicBezTo>
                  <a:cubicBezTo>
                    <a:pt x="24" y="8"/>
                    <a:pt x="23" y="8"/>
                    <a:pt x="22" y="8"/>
                  </a:cubicBezTo>
                  <a:cubicBezTo>
                    <a:pt x="22" y="8"/>
                    <a:pt x="20" y="7"/>
                    <a:pt x="20" y="7"/>
                  </a:cubicBezTo>
                  <a:cubicBezTo>
                    <a:pt x="20" y="7"/>
                    <a:pt x="21" y="7"/>
                    <a:pt x="21" y="6"/>
                  </a:cubicBezTo>
                  <a:cubicBezTo>
                    <a:pt x="22" y="6"/>
                    <a:pt x="22" y="3"/>
                    <a:pt x="21" y="3"/>
                  </a:cubicBezTo>
                  <a:cubicBezTo>
                    <a:pt x="21" y="3"/>
                    <a:pt x="20" y="3"/>
                    <a:pt x="20" y="4"/>
                  </a:cubicBezTo>
                  <a:cubicBezTo>
                    <a:pt x="19" y="4"/>
                    <a:pt x="19" y="4"/>
                    <a:pt x="19" y="4"/>
                  </a:cubicBezTo>
                  <a:cubicBezTo>
                    <a:pt x="17" y="4"/>
                    <a:pt x="14" y="2"/>
                    <a:pt x="15" y="0"/>
                  </a:cubicBezTo>
                  <a:cubicBezTo>
                    <a:pt x="14" y="0"/>
                    <a:pt x="12" y="0"/>
                    <a:pt x="11" y="0"/>
                  </a:cubicBezTo>
                  <a:cubicBezTo>
                    <a:pt x="10" y="1"/>
                    <a:pt x="10" y="1"/>
                    <a:pt x="9" y="2"/>
                  </a:cubicBezTo>
                  <a:cubicBezTo>
                    <a:pt x="9" y="3"/>
                    <a:pt x="9" y="3"/>
                    <a:pt x="7" y="3"/>
                  </a:cubicBezTo>
                  <a:cubicBezTo>
                    <a:pt x="6" y="4"/>
                    <a:pt x="6" y="4"/>
                    <a:pt x="5" y="5"/>
                  </a:cubicBezTo>
                  <a:cubicBezTo>
                    <a:pt x="5" y="5"/>
                    <a:pt x="4" y="5"/>
                    <a:pt x="3" y="5"/>
                  </a:cubicBezTo>
                  <a:cubicBezTo>
                    <a:pt x="3" y="5"/>
                    <a:pt x="3" y="6"/>
                    <a:pt x="3" y="7"/>
                  </a:cubicBezTo>
                  <a:cubicBezTo>
                    <a:pt x="2" y="7"/>
                    <a:pt x="1" y="7"/>
                    <a:pt x="0" y="7"/>
                  </a:cubicBezTo>
                  <a:cubicBezTo>
                    <a:pt x="0" y="8"/>
                    <a:pt x="1" y="8"/>
                    <a:pt x="2" y="10"/>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71" name="Freeform 2324">
              <a:extLst>
                <a:ext uri="{FF2B5EF4-FFF2-40B4-BE49-F238E27FC236}">
                  <a16:creationId xmlns:a16="http://schemas.microsoft.com/office/drawing/2014/main" id="{C1835045-7A51-47AA-B23E-260F4A24B431}"/>
                </a:ext>
              </a:extLst>
            </p:cNvPr>
            <p:cNvSpPr>
              <a:spLocks/>
            </p:cNvSpPr>
            <p:nvPr/>
          </p:nvSpPr>
          <p:spPr bwMode="auto">
            <a:xfrm>
              <a:off x="6679" y="1927"/>
              <a:ext cx="3" cy="2"/>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1" y="1"/>
                    <a:pt x="1" y="1"/>
                    <a:pt x="1" y="0"/>
                  </a:cubicBezTo>
                  <a:cubicBezTo>
                    <a:pt x="1" y="0"/>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72" name="Freeform 2325">
              <a:extLst>
                <a:ext uri="{FF2B5EF4-FFF2-40B4-BE49-F238E27FC236}">
                  <a16:creationId xmlns:a16="http://schemas.microsoft.com/office/drawing/2014/main" id="{D7B41205-4E4C-49E9-87E6-880B6FFC5530}"/>
                </a:ext>
              </a:extLst>
            </p:cNvPr>
            <p:cNvSpPr>
              <a:spLocks noEditPoints="1"/>
            </p:cNvSpPr>
            <p:nvPr/>
          </p:nvSpPr>
          <p:spPr bwMode="auto">
            <a:xfrm>
              <a:off x="6710" y="1712"/>
              <a:ext cx="272" cy="227"/>
            </a:xfrm>
            <a:custGeom>
              <a:avLst/>
              <a:gdLst>
                <a:gd name="T0" fmla="*/ 15 w 115"/>
                <a:gd name="T1" fmla="*/ 85 h 96"/>
                <a:gd name="T2" fmla="*/ 30 w 115"/>
                <a:gd name="T3" fmla="*/ 84 h 96"/>
                <a:gd name="T4" fmla="*/ 45 w 115"/>
                <a:gd name="T5" fmla="*/ 81 h 96"/>
                <a:gd name="T6" fmla="*/ 43 w 115"/>
                <a:gd name="T7" fmla="*/ 87 h 96"/>
                <a:gd name="T8" fmla="*/ 46 w 115"/>
                <a:gd name="T9" fmla="*/ 93 h 96"/>
                <a:gd name="T10" fmla="*/ 58 w 115"/>
                <a:gd name="T11" fmla="*/ 86 h 96"/>
                <a:gd name="T12" fmla="*/ 59 w 115"/>
                <a:gd name="T13" fmla="*/ 86 h 96"/>
                <a:gd name="T14" fmla="*/ 58 w 115"/>
                <a:gd name="T15" fmla="*/ 83 h 96"/>
                <a:gd name="T16" fmla="*/ 61 w 115"/>
                <a:gd name="T17" fmla="*/ 80 h 96"/>
                <a:gd name="T18" fmla="*/ 64 w 115"/>
                <a:gd name="T19" fmla="*/ 82 h 96"/>
                <a:gd name="T20" fmla="*/ 75 w 115"/>
                <a:gd name="T21" fmla="*/ 81 h 96"/>
                <a:gd name="T22" fmla="*/ 78 w 115"/>
                <a:gd name="T23" fmla="*/ 77 h 96"/>
                <a:gd name="T24" fmla="*/ 81 w 115"/>
                <a:gd name="T25" fmla="*/ 82 h 96"/>
                <a:gd name="T26" fmla="*/ 84 w 115"/>
                <a:gd name="T27" fmla="*/ 77 h 96"/>
                <a:gd name="T28" fmla="*/ 91 w 115"/>
                <a:gd name="T29" fmla="*/ 78 h 96"/>
                <a:gd name="T30" fmla="*/ 97 w 115"/>
                <a:gd name="T31" fmla="*/ 75 h 96"/>
                <a:gd name="T32" fmla="*/ 99 w 115"/>
                <a:gd name="T33" fmla="*/ 61 h 96"/>
                <a:gd name="T34" fmla="*/ 103 w 115"/>
                <a:gd name="T35" fmla="*/ 52 h 96"/>
                <a:gd name="T36" fmla="*/ 105 w 115"/>
                <a:gd name="T37" fmla="*/ 39 h 96"/>
                <a:gd name="T38" fmla="*/ 109 w 115"/>
                <a:gd name="T39" fmla="*/ 32 h 96"/>
                <a:gd name="T40" fmla="*/ 112 w 115"/>
                <a:gd name="T41" fmla="*/ 31 h 96"/>
                <a:gd name="T42" fmla="*/ 107 w 115"/>
                <a:gd name="T43" fmla="*/ 9 h 96"/>
                <a:gd name="T44" fmla="*/ 105 w 115"/>
                <a:gd name="T45" fmla="*/ 1 h 96"/>
                <a:gd name="T46" fmla="*/ 105 w 115"/>
                <a:gd name="T47" fmla="*/ 4 h 96"/>
                <a:gd name="T48" fmla="*/ 102 w 115"/>
                <a:gd name="T49" fmla="*/ 8 h 96"/>
                <a:gd name="T50" fmla="*/ 99 w 115"/>
                <a:gd name="T51" fmla="*/ 5 h 96"/>
                <a:gd name="T52" fmla="*/ 93 w 115"/>
                <a:gd name="T53" fmla="*/ 10 h 96"/>
                <a:gd name="T54" fmla="*/ 90 w 115"/>
                <a:gd name="T55" fmla="*/ 19 h 96"/>
                <a:gd name="T56" fmla="*/ 93 w 115"/>
                <a:gd name="T57" fmla="*/ 21 h 96"/>
                <a:gd name="T58" fmla="*/ 87 w 115"/>
                <a:gd name="T59" fmla="*/ 39 h 96"/>
                <a:gd name="T60" fmla="*/ 79 w 115"/>
                <a:gd name="T61" fmla="*/ 49 h 96"/>
                <a:gd name="T62" fmla="*/ 63 w 115"/>
                <a:gd name="T63" fmla="*/ 57 h 96"/>
                <a:gd name="T64" fmla="*/ 62 w 115"/>
                <a:gd name="T65" fmla="*/ 54 h 96"/>
                <a:gd name="T66" fmla="*/ 64 w 115"/>
                <a:gd name="T67" fmla="*/ 51 h 96"/>
                <a:gd name="T68" fmla="*/ 63 w 115"/>
                <a:gd name="T69" fmla="*/ 49 h 96"/>
                <a:gd name="T70" fmla="*/ 57 w 115"/>
                <a:gd name="T71" fmla="*/ 60 h 96"/>
                <a:gd name="T72" fmla="*/ 50 w 115"/>
                <a:gd name="T73" fmla="*/ 72 h 96"/>
                <a:gd name="T74" fmla="*/ 45 w 115"/>
                <a:gd name="T75" fmla="*/ 70 h 96"/>
                <a:gd name="T76" fmla="*/ 18 w 115"/>
                <a:gd name="T77" fmla="*/ 73 h 96"/>
                <a:gd name="T78" fmla="*/ 6 w 115"/>
                <a:gd name="T79" fmla="*/ 83 h 96"/>
                <a:gd name="T80" fmla="*/ 0 w 115"/>
                <a:gd name="T81" fmla="*/ 86 h 96"/>
                <a:gd name="T82" fmla="*/ 0 w 115"/>
                <a:gd name="T83" fmla="*/ 89 h 96"/>
                <a:gd name="T84" fmla="*/ 9 w 115"/>
                <a:gd name="T85" fmla="*/ 89 h 96"/>
                <a:gd name="T86" fmla="*/ 93 w 115"/>
                <a:gd name="T87" fmla="*/ 70 h 96"/>
                <a:gd name="T88" fmla="*/ 90 w 115"/>
                <a:gd name="T89"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5" h="96">
                  <a:moveTo>
                    <a:pt x="11" y="90"/>
                  </a:moveTo>
                  <a:cubicBezTo>
                    <a:pt x="11" y="90"/>
                    <a:pt x="12" y="91"/>
                    <a:pt x="12" y="91"/>
                  </a:cubicBezTo>
                  <a:cubicBezTo>
                    <a:pt x="12" y="90"/>
                    <a:pt x="14" y="85"/>
                    <a:pt x="15" y="85"/>
                  </a:cubicBezTo>
                  <a:cubicBezTo>
                    <a:pt x="17" y="86"/>
                    <a:pt x="16" y="87"/>
                    <a:pt x="18" y="87"/>
                  </a:cubicBezTo>
                  <a:cubicBezTo>
                    <a:pt x="20" y="87"/>
                    <a:pt x="23" y="86"/>
                    <a:pt x="25" y="84"/>
                  </a:cubicBezTo>
                  <a:cubicBezTo>
                    <a:pt x="27" y="83"/>
                    <a:pt x="29" y="85"/>
                    <a:pt x="30" y="84"/>
                  </a:cubicBezTo>
                  <a:cubicBezTo>
                    <a:pt x="31" y="84"/>
                    <a:pt x="31" y="83"/>
                    <a:pt x="32" y="82"/>
                  </a:cubicBezTo>
                  <a:cubicBezTo>
                    <a:pt x="32" y="82"/>
                    <a:pt x="34" y="81"/>
                    <a:pt x="35" y="81"/>
                  </a:cubicBezTo>
                  <a:cubicBezTo>
                    <a:pt x="38" y="81"/>
                    <a:pt x="42" y="81"/>
                    <a:pt x="45" y="81"/>
                  </a:cubicBezTo>
                  <a:cubicBezTo>
                    <a:pt x="48" y="81"/>
                    <a:pt x="46" y="83"/>
                    <a:pt x="45" y="84"/>
                  </a:cubicBezTo>
                  <a:cubicBezTo>
                    <a:pt x="44" y="85"/>
                    <a:pt x="44" y="85"/>
                    <a:pt x="43" y="86"/>
                  </a:cubicBezTo>
                  <a:cubicBezTo>
                    <a:pt x="43" y="86"/>
                    <a:pt x="43" y="87"/>
                    <a:pt x="43" y="87"/>
                  </a:cubicBezTo>
                  <a:cubicBezTo>
                    <a:pt x="43" y="88"/>
                    <a:pt x="43" y="88"/>
                    <a:pt x="43" y="88"/>
                  </a:cubicBezTo>
                  <a:cubicBezTo>
                    <a:pt x="43" y="89"/>
                    <a:pt x="43" y="90"/>
                    <a:pt x="42" y="91"/>
                  </a:cubicBezTo>
                  <a:cubicBezTo>
                    <a:pt x="44" y="91"/>
                    <a:pt x="45" y="92"/>
                    <a:pt x="46" y="93"/>
                  </a:cubicBezTo>
                  <a:cubicBezTo>
                    <a:pt x="44" y="93"/>
                    <a:pt x="50" y="95"/>
                    <a:pt x="50" y="96"/>
                  </a:cubicBezTo>
                  <a:cubicBezTo>
                    <a:pt x="52" y="94"/>
                    <a:pt x="54" y="91"/>
                    <a:pt x="56" y="88"/>
                  </a:cubicBezTo>
                  <a:cubicBezTo>
                    <a:pt x="56" y="87"/>
                    <a:pt x="57" y="87"/>
                    <a:pt x="58" y="86"/>
                  </a:cubicBezTo>
                  <a:cubicBezTo>
                    <a:pt x="58" y="86"/>
                    <a:pt x="58" y="86"/>
                    <a:pt x="59" y="86"/>
                  </a:cubicBezTo>
                  <a:cubicBezTo>
                    <a:pt x="59" y="86"/>
                    <a:pt x="59" y="85"/>
                    <a:pt x="59" y="85"/>
                  </a:cubicBezTo>
                  <a:cubicBezTo>
                    <a:pt x="59" y="85"/>
                    <a:pt x="59" y="86"/>
                    <a:pt x="59" y="86"/>
                  </a:cubicBezTo>
                  <a:cubicBezTo>
                    <a:pt x="60" y="86"/>
                    <a:pt x="61" y="86"/>
                    <a:pt x="61" y="86"/>
                  </a:cubicBezTo>
                  <a:cubicBezTo>
                    <a:pt x="61" y="86"/>
                    <a:pt x="61" y="86"/>
                    <a:pt x="61" y="86"/>
                  </a:cubicBezTo>
                  <a:cubicBezTo>
                    <a:pt x="61" y="85"/>
                    <a:pt x="60" y="83"/>
                    <a:pt x="58" y="83"/>
                  </a:cubicBezTo>
                  <a:cubicBezTo>
                    <a:pt x="58" y="82"/>
                    <a:pt x="57" y="83"/>
                    <a:pt x="58" y="81"/>
                  </a:cubicBezTo>
                  <a:cubicBezTo>
                    <a:pt x="58" y="79"/>
                    <a:pt x="59" y="77"/>
                    <a:pt x="61" y="77"/>
                  </a:cubicBezTo>
                  <a:cubicBezTo>
                    <a:pt x="61" y="78"/>
                    <a:pt x="60" y="79"/>
                    <a:pt x="61" y="80"/>
                  </a:cubicBezTo>
                  <a:cubicBezTo>
                    <a:pt x="61" y="81"/>
                    <a:pt x="61" y="82"/>
                    <a:pt x="61" y="80"/>
                  </a:cubicBezTo>
                  <a:cubicBezTo>
                    <a:pt x="62" y="80"/>
                    <a:pt x="62" y="79"/>
                    <a:pt x="62" y="79"/>
                  </a:cubicBezTo>
                  <a:cubicBezTo>
                    <a:pt x="62" y="81"/>
                    <a:pt x="63" y="80"/>
                    <a:pt x="64" y="82"/>
                  </a:cubicBezTo>
                  <a:cubicBezTo>
                    <a:pt x="63" y="82"/>
                    <a:pt x="63" y="82"/>
                    <a:pt x="62" y="83"/>
                  </a:cubicBezTo>
                  <a:cubicBezTo>
                    <a:pt x="65" y="82"/>
                    <a:pt x="68" y="82"/>
                    <a:pt x="70" y="81"/>
                  </a:cubicBezTo>
                  <a:cubicBezTo>
                    <a:pt x="71" y="81"/>
                    <a:pt x="74" y="82"/>
                    <a:pt x="75" y="81"/>
                  </a:cubicBezTo>
                  <a:cubicBezTo>
                    <a:pt x="76" y="80"/>
                    <a:pt x="76" y="79"/>
                    <a:pt x="77" y="79"/>
                  </a:cubicBezTo>
                  <a:cubicBezTo>
                    <a:pt x="77" y="78"/>
                    <a:pt x="78" y="78"/>
                    <a:pt x="78" y="78"/>
                  </a:cubicBezTo>
                  <a:cubicBezTo>
                    <a:pt x="78" y="78"/>
                    <a:pt x="78" y="77"/>
                    <a:pt x="78" y="77"/>
                  </a:cubicBezTo>
                  <a:cubicBezTo>
                    <a:pt x="79" y="76"/>
                    <a:pt x="81" y="76"/>
                    <a:pt x="82" y="77"/>
                  </a:cubicBezTo>
                  <a:cubicBezTo>
                    <a:pt x="81" y="77"/>
                    <a:pt x="81" y="78"/>
                    <a:pt x="80" y="78"/>
                  </a:cubicBezTo>
                  <a:cubicBezTo>
                    <a:pt x="80" y="79"/>
                    <a:pt x="81" y="82"/>
                    <a:pt x="81" y="82"/>
                  </a:cubicBezTo>
                  <a:cubicBezTo>
                    <a:pt x="81" y="82"/>
                    <a:pt x="82" y="82"/>
                    <a:pt x="82" y="82"/>
                  </a:cubicBezTo>
                  <a:cubicBezTo>
                    <a:pt x="83" y="81"/>
                    <a:pt x="84" y="80"/>
                    <a:pt x="84" y="78"/>
                  </a:cubicBezTo>
                  <a:cubicBezTo>
                    <a:pt x="84" y="77"/>
                    <a:pt x="84" y="77"/>
                    <a:pt x="84" y="77"/>
                  </a:cubicBezTo>
                  <a:cubicBezTo>
                    <a:pt x="85" y="76"/>
                    <a:pt x="86" y="76"/>
                    <a:pt x="87" y="76"/>
                  </a:cubicBezTo>
                  <a:cubicBezTo>
                    <a:pt x="89" y="76"/>
                    <a:pt x="90" y="77"/>
                    <a:pt x="91" y="78"/>
                  </a:cubicBezTo>
                  <a:cubicBezTo>
                    <a:pt x="91" y="78"/>
                    <a:pt x="91" y="78"/>
                    <a:pt x="91" y="78"/>
                  </a:cubicBezTo>
                  <a:cubicBezTo>
                    <a:pt x="91" y="79"/>
                    <a:pt x="91" y="79"/>
                    <a:pt x="91" y="79"/>
                  </a:cubicBezTo>
                  <a:cubicBezTo>
                    <a:pt x="91" y="79"/>
                    <a:pt x="92" y="79"/>
                    <a:pt x="92" y="79"/>
                  </a:cubicBezTo>
                  <a:cubicBezTo>
                    <a:pt x="94" y="78"/>
                    <a:pt x="97" y="76"/>
                    <a:pt x="97" y="75"/>
                  </a:cubicBezTo>
                  <a:cubicBezTo>
                    <a:pt x="97" y="71"/>
                    <a:pt x="99" y="71"/>
                    <a:pt x="102" y="69"/>
                  </a:cubicBezTo>
                  <a:cubicBezTo>
                    <a:pt x="101" y="68"/>
                    <a:pt x="99" y="66"/>
                    <a:pt x="99" y="65"/>
                  </a:cubicBezTo>
                  <a:cubicBezTo>
                    <a:pt x="99" y="64"/>
                    <a:pt x="99" y="63"/>
                    <a:pt x="99" y="61"/>
                  </a:cubicBezTo>
                  <a:cubicBezTo>
                    <a:pt x="100" y="60"/>
                    <a:pt x="100" y="58"/>
                    <a:pt x="101" y="56"/>
                  </a:cubicBezTo>
                  <a:cubicBezTo>
                    <a:pt x="101" y="56"/>
                    <a:pt x="102" y="56"/>
                    <a:pt x="103" y="55"/>
                  </a:cubicBezTo>
                  <a:cubicBezTo>
                    <a:pt x="103" y="54"/>
                    <a:pt x="103" y="53"/>
                    <a:pt x="103" y="52"/>
                  </a:cubicBezTo>
                  <a:cubicBezTo>
                    <a:pt x="103" y="49"/>
                    <a:pt x="102" y="46"/>
                    <a:pt x="102" y="43"/>
                  </a:cubicBezTo>
                  <a:cubicBezTo>
                    <a:pt x="102" y="42"/>
                    <a:pt x="102" y="41"/>
                    <a:pt x="103" y="40"/>
                  </a:cubicBezTo>
                  <a:cubicBezTo>
                    <a:pt x="104" y="39"/>
                    <a:pt x="104" y="39"/>
                    <a:pt x="105" y="39"/>
                  </a:cubicBezTo>
                  <a:cubicBezTo>
                    <a:pt x="106" y="38"/>
                    <a:pt x="106" y="38"/>
                    <a:pt x="106" y="38"/>
                  </a:cubicBezTo>
                  <a:cubicBezTo>
                    <a:pt x="107" y="38"/>
                    <a:pt x="108" y="39"/>
                    <a:pt x="108" y="39"/>
                  </a:cubicBezTo>
                  <a:cubicBezTo>
                    <a:pt x="108" y="36"/>
                    <a:pt x="108" y="35"/>
                    <a:pt x="109" y="32"/>
                  </a:cubicBezTo>
                  <a:cubicBezTo>
                    <a:pt x="110" y="31"/>
                    <a:pt x="109" y="32"/>
                    <a:pt x="110" y="31"/>
                  </a:cubicBezTo>
                  <a:cubicBezTo>
                    <a:pt x="111" y="31"/>
                    <a:pt x="111" y="31"/>
                    <a:pt x="111" y="31"/>
                  </a:cubicBezTo>
                  <a:cubicBezTo>
                    <a:pt x="111" y="31"/>
                    <a:pt x="112" y="31"/>
                    <a:pt x="112" y="31"/>
                  </a:cubicBezTo>
                  <a:cubicBezTo>
                    <a:pt x="112" y="30"/>
                    <a:pt x="114" y="25"/>
                    <a:pt x="113" y="25"/>
                  </a:cubicBezTo>
                  <a:cubicBezTo>
                    <a:pt x="115" y="24"/>
                    <a:pt x="111" y="17"/>
                    <a:pt x="111" y="15"/>
                  </a:cubicBezTo>
                  <a:cubicBezTo>
                    <a:pt x="110" y="13"/>
                    <a:pt x="108" y="11"/>
                    <a:pt x="107" y="9"/>
                  </a:cubicBezTo>
                  <a:cubicBezTo>
                    <a:pt x="107" y="7"/>
                    <a:pt x="107" y="5"/>
                    <a:pt x="108" y="3"/>
                  </a:cubicBezTo>
                  <a:cubicBezTo>
                    <a:pt x="108" y="3"/>
                    <a:pt x="108" y="2"/>
                    <a:pt x="108" y="2"/>
                  </a:cubicBezTo>
                  <a:cubicBezTo>
                    <a:pt x="108" y="1"/>
                    <a:pt x="106" y="1"/>
                    <a:pt x="105" y="1"/>
                  </a:cubicBezTo>
                  <a:cubicBezTo>
                    <a:pt x="105" y="1"/>
                    <a:pt x="103" y="0"/>
                    <a:pt x="103" y="0"/>
                  </a:cubicBezTo>
                  <a:cubicBezTo>
                    <a:pt x="102" y="0"/>
                    <a:pt x="100" y="4"/>
                    <a:pt x="101" y="5"/>
                  </a:cubicBezTo>
                  <a:cubicBezTo>
                    <a:pt x="101" y="6"/>
                    <a:pt x="104" y="3"/>
                    <a:pt x="105" y="4"/>
                  </a:cubicBezTo>
                  <a:cubicBezTo>
                    <a:pt x="106" y="4"/>
                    <a:pt x="106" y="6"/>
                    <a:pt x="105" y="7"/>
                  </a:cubicBezTo>
                  <a:cubicBezTo>
                    <a:pt x="105" y="7"/>
                    <a:pt x="105" y="8"/>
                    <a:pt x="105" y="8"/>
                  </a:cubicBezTo>
                  <a:cubicBezTo>
                    <a:pt x="104" y="9"/>
                    <a:pt x="103" y="8"/>
                    <a:pt x="102" y="8"/>
                  </a:cubicBezTo>
                  <a:cubicBezTo>
                    <a:pt x="101" y="8"/>
                    <a:pt x="101" y="9"/>
                    <a:pt x="101" y="9"/>
                  </a:cubicBezTo>
                  <a:cubicBezTo>
                    <a:pt x="100" y="9"/>
                    <a:pt x="100" y="7"/>
                    <a:pt x="99" y="5"/>
                  </a:cubicBezTo>
                  <a:cubicBezTo>
                    <a:pt x="99" y="5"/>
                    <a:pt x="100" y="5"/>
                    <a:pt x="99" y="5"/>
                  </a:cubicBezTo>
                  <a:cubicBezTo>
                    <a:pt x="99" y="4"/>
                    <a:pt x="97" y="4"/>
                    <a:pt x="96" y="4"/>
                  </a:cubicBezTo>
                  <a:cubicBezTo>
                    <a:pt x="96" y="6"/>
                    <a:pt x="97" y="6"/>
                    <a:pt x="96" y="8"/>
                  </a:cubicBezTo>
                  <a:cubicBezTo>
                    <a:pt x="95" y="9"/>
                    <a:pt x="94" y="9"/>
                    <a:pt x="93" y="10"/>
                  </a:cubicBezTo>
                  <a:cubicBezTo>
                    <a:pt x="92" y="12"/>
                    <a:pt x="91" y="11"/>
                    <a:pt x="92" y="13"/>
                  </a:cubicBezTo>
                  <a:cubicBezTo>
                    <a:pt x="93" y="15"/>
                    <a:pt x="91" y="18"/>
                    <a:pt x="91" y="19"/>
                  </a:cubicBezTo>
                  <a:cubicBezTo>
                    <a:pt x="91" y="19"/>
                    <a:pt x="90" y="19"/>
                    <a:pt x="90" y="19"/>
                  </a:cubicBezTo>
                  <a:cubicBezTo>
                    <a:pt x="90" y="19"/>
                    <a:pt x="91" y="20"/>
                    <a:pt x="91" y="20"/>
                  </a:cubicBezTo>
                  <a:cubicBezTo>
                    <a:pt x="91" y="20"/>
                    <a:pt x="92" y="20"/>
                    <a:pt x="92" y="20"/>
                  </a:cubicBezTo>
                  <a:cubicBezTo>
                    <a:pt x="92" y="20"/>
                    <a:pt x="93" y="20"/>
                    <a:pt x="93" y="21"/>
                  </a:cubicBezTo>
                  <a:cubicBezTo>
                    <a:pt x="94" y="22"/>
                    <a:pt x="93" y="25"/>
                    <a:pt x="93" y="26"/>
                  </a:cubicBezTo>
                  <a:cubicBezTo>
                    <a:pt x="92" y="29"/>
                    <a:pt x="90" y="32"/>
                    <a:pt x="89" y="35"/>
                  </a:cubicBezTo>
                  <a:cubicBezTo>
                    <a:pt x="88" y="36"/>
                    <a:pt x="88" y="38"/>
                    <a:pt x="87" y="39"/>
                  </a:cubicBezTo>
                  <a:cubicBezTo>
                    <a:pt x="87" y="40"/>
                    <a:pt x="87" y="40"/>
                    <a:pt x="87" y="41"/>
                  </a:cubicBezTo>
                  <a:cubicBezTo>
                    <a:pt x="86" y="42"/>
                    <a:pt x="85" y="43"/>
                    <a:pt x="84" y="44"/>
                  </a:cubicBezTo>
                  <a:cubicBezTo>
                    <a:pt x="82" y="45"/>
                    <a:pt x="81" y="47"/>
                    <a:pt x="79" y="49"/>
                  </a:cubicBezTo>
                  <a:cubicBezTo>
                    <a:pt x="78" y="49"/>
                    <a:pt x="78" y="50"/>
                    <a:pt x="77" y="50"/>
                  </a:cubicBezTo>
                  <a:cubicBezTo>
                    <a:pt x="74" y="52"/>
                    <a:pt x="71" y="53"/>
                    <a:pt x="69" y="55"/>
                  </a:cubicBezTo>
                  <a:cubicBezTo>
                    <a:pt x="67" y="56"/>
                    <a:pt x="65" y="59"/>
                    <a:pt x="63" y="57"/>
                  </a:cubicBezTo>
                  <a:cubicBezTo>
                    <a:pt x="62" y="56"/>
                    <a:pt x="62" y="56"/>
                    <a:pt x="63" y="56"/>
                  </a:cubicBezTo>
                  <a:cubicBezTo>
                    <a:pt x="63" y="55"/>
                    <a:pt x="63" y="54"/>
                    <a:pt x="63" y="54"/>
                  </a:cubicBezTo>
                  <a:cubicBezTo>
                    <a:pt x="62" y="53"/>
                    <a:pt x="62" y="54"/>
                    <a:pt x="62" y="54"/>
                  </a:cubicBezTo>
                  <a:cubicBezTo>
                    <a:pt x="62" y="54"/>
                    <a:pt x="61" y="54"/>
                    <a:pt x="61" y="53"/>
                  </a:cubicBezTo>
                  <a:cubicBezTo>
                    <a:pt x="61" y="52"/>
                    <a:pt x="62" y="52"/>
                    <a:pt x="62" y="52"/>
                  </a:cubicBezTo>
                  <a:cubicBezTo>
                    <a:pt x="63" y="52"/>
                    <a:pt x="63" y="51"/>
                    <a:pt x="64" y="51"/>
                  </a:cubicBezTo>
                  <a:cubicBezTo>
                    <a:pt x="64" y="51"/>
                    <a:pt x="64" y="51"/>
                    <a:pt x="65" y="51"/>
                  </a:cubicBezTo>
                  <a:cubicBezTo>
                    <a:pt x="65" y="50"/>
                    <a:pt x="66" y="49"/>
                    <a:pt x="65" y="48"/>
                  </a:cubicBezTo>
                  <a:cubicBezTo>
                    <a:pt x="65" y="48"/>
                    <a:pt x="64" y="49"/>
                    <a:pt x="63" y="49"/>
                  </a:cubicBezTo>
                  <a:cubicBezTo>
                    <a:pt x="63" y="49"/>
                    <a:pt x="61" y="50"/>
                    <a:pt x="60" y="50"/>
                  </a:cubicBezTo>
                  <a:cubicBezTo>
                    <a:pt x="59" y="51"/>
                    <a:pt x="60" y="54"/>
                    <a:pt x="60" y="56"/>
                  </a:cubicBezTo>
                  <a:cubicBezTo>
                    <a:pt x="60" y="57"/>
                    <a:pt x="58" y="59"/>
                    <a:pt x="57" y="60"/>
                  </a:cubicBezTo>
                  <a:cubicBezTo>
                    <a:pt x="56" y="62"/>
                    <a:pt x="53" y="65"/>
                    <a:pt x="52" y="67"/>
                  </a:cubicBezTo>
                  <a:cubicBezTo>
                    <a:pt x="52" y="68"/>
                    <a:pt x="53" y="69"/>
                    <a:pt x="53" y="70"/>
                  </a:cubicBezTo>
                  <a:cubicBezTo>
                    <a:pt x="52" y="69"/>
                    <a:pt x="51" y="71"/>
                    <a:pt x="50" y="72"/>
                  </a:cubicBezTo>
                  <a:cubicBezTo>
                    <a:pt x="48" y="73"/>
                    <a:pt x="47" y="71"/>
                    <a:pt x="45" y="73"/>
                  </a:cubicBezTo>
                  <a:cubicBezTo>
                    <a:pt x="45" y="72"/>
                    <a:pt x="44" y="71"/>
                    <a:pt x="44" y="71"/>
                  </a:cubicBezTo>
                  <a:cubicBezTo>
                    <a:pt x="44" y="70"/>
                    <a:pt x="45" y="70"/>
                    <a:pt x="45" y="70"/>
                  </a:cubicBezTo>
                  <a:cubicBezTo>
                    <a:pt x="45" y="68"/>
                    <a:pt x="41" y="70"/>
                    <a:pt x="40" y="70"/>
                  </a:cubicBezTo>
                  <a:cubicBezTo>
                    <a:pt x="37" y="71"/>
                    <a:pt x="32" y="71"/>
                    <a:pt x="29" y="71"/>
                  </a:cubicBezTo>
                  <a:cubicBezTo>
                    <a:pt x="25" y="71"/>
                    <a:pt x="21" y="72"/>
                    <a:pt x="18" y="73"/>
                  </a:cubicBezTo>
                  <a:cubicBezTo>
                    <a:pt x="18" y="75"/>
                    <a:pt x="17" y="75"/>
                    <a:pt x="16" y="76"/>
                  </a:cubicBezTo>
                  <a:cubicBezTo>
                    <a:pt x="13" y="78"/>
                    <a:pt x="11" y="79"/>
                    <a:pt x="9" y="81"/>
                  </a:cubicBezTo>
                  <a:cubicBezTo>
                    <a:pt x="8" y="82"/>
                    <a:pt x="7" y="82"/>
                    <a:pt x="6" y="83"/>
                  </a:cubicBezTo>
                  <a:cubicBezTo>
                    <a:pt x="5" y="84"/>
                    <a:pt x="5" y="85"/>
                    <a:pt x="4" y="85"/>
                  </a:cubicBezTo>
                  <a:cubicBezTo>
                    <a:pt x="2" y="85"/>
                    <a:pt x="1" y="84"/>
                    <a:pt x="0" y="85"/>
                  </a:cubicBezTo>
                  <a:cubicBezTo>
                    <a:pt x="0" y="85"/>
                    <a:pt x="0" y="86"/>
                    <a:pt x="0" y="86"/>
                  </a:cubicBezTo>
                  <a:cubicBezTo>
                    <a:pt x="0" y="86"/>
                    <a:pt x="0" y="87"/>
                    <a:pt x="0" y="87"/>
                  </a:cubicBezTo>
                  <a:cubicBezTo>
                    <a:pt x="0" y="88"/>
                    <a:pt x="0" y="88"/>
                    <a:pt x="0" y="88"/>
                  </a:cubicBezTo>
                  <a:cubicBezTo>
                    <a:pt x="0" y="88"/>
                    <a:pt x="0" y="88"/>
                    <a:pt x="0" y="89"/>
                  </a:cubicBezTo>
                  <a:cubicBezTo>
                    <a:pt x="0" y="89"/>
                    <a:pt x="0" y="89"/>
                    <a:pt x="0" y="90"/>
                  </a:cubicBezTo>
                  <a:cubicBezTo>
                    <a:pt x="0" y="90"/>
                    <a:pt x="1" y="90"/>
                    <a:pt x="1" y="90"/>
                  </a:cubicBezTo>
                  <a:cubicBezTo>
                    <a:pt x="4" y="90"/>
                    <a:pt x="6" y="90"/>
                    <a:pt x="9" y="89"/>
                  </a:cubicBezTo>
                  <a:cubicBezTo>
                    <a:pt x="9" y="90"/>
                    <a:pt x="10" y="90"/>
                    <a:pt x="11" y="90"/>
                  </a:cubicBezTo>
                  <a:close/>
                  <a:moveTo>
                    <a:pt x="90" y="67"/>
                  </a:moveTo>
                  <a:cubicBezTo>
                    <a:pt x="92" y="67"/>
                    <a:pt x="93" y="68"/>
                    <a:pt x="93" y="70"/>
                  </a:cubicBezTo>
                  <a:cubicBezTo>
                    <a:pt x="93" y="70"/>
                    <a:pt x="93" y="71"/>
                    <a:pt x="93" y="71"/>
                  </a:cubicBezTo>
                  <a:cubicBezTo>
                    <a:pt x="92" y="72"/>
                    <a:pt x="91" y="73"/>
                    <a:pt x="90" y="73"/>
                  </a:cubicBezTo>
                  <a:cubicBezTo>
                    <a:pt x="90" y="73"/>
                    <a:pt x="90" y="72"/>
                    <a:pt x="90" y="72"/>
                  </a:cubicBezTo>
                  <a:cubicBezTo>
                    <a:pt x="88" y="72"/>
                    <a:pt x="88" y="71"/>
                    <a:pt x="88" y="70"/>
                  </a:cubicBezTo>
                  <a:cubicBezTo>
                    <a:pt x="88" y="68"/>
                    <a:pt x="89" y="67"/>
                    <a:pt x="90" y="67"/>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73" name="Freeform 2326">
              <a:extLst>
                <a:ext uri="{FF2B5EF4-FFF2-40B4-BE49-F238E27FC236}">
                  <a16:creationId xmlns:a16="http://schemas.microsoft.com/office/drawing/2014/main" id="{437C9020-CF3A-485E-AC44-B7BFDBF725FE}"/>
                </a:ext>
              </a:extLst>
            </p:cNvPr>
            <p:cNvSpPr>
              <a:spLocks/>
            </p:cNvSpPr>
            <p:nvPr/>
          </p:nvSpPr>
          <p:spPr bwMode="auto">
            <a:xfrm>
              <a:off x="6736" y="1913"/>
              <a:ext cx="66" cy="47"/>
            </a:xfrm>
            <a:custGeom>
              <a:avLst/>
              <a:gdLst>
                <a:gd name="T0" fmla="*/ 11 w 28"/>
                <a:gd name="T1" fmla="*/ 5 h 20"/>
                <a:gd name="T2" fmla="*/ 9 w 28"/>
                <a:gd name="T3" fmla="*/ 3 h 20"/>
                <a:gd name="T4" fmla="*/ 7 w 28"/>
                <a:gd name="T5" fmla="*/ 6 h 20"/>
                <a:gd name="T6" fmla="*/ 7 w 28"/>
                <a:gd name="T7" fmla="*/ 7 h 20"/>
                <a:gd name="T8" fmla="*/ 0 w 28"/>
                <a:gd name="T9" fmla="*/ 12 h 20"/>
                <a:gd name="T10" fmla="*/ 2 w 28"/>
                <a:gd name="T11" fmla="*/ 11 h 20"/>
                <a:gd name="T12" fmla="*/ 3 w 28"/>
                <a:gd name="T13" fmla="*/ 11 h 20"/>
                <a:gd name="T14" fmla="*/ 5 w 28"/>
                <a:gd name="T15" fmla="*/ 12 h 20"/>
                <a:gd name="T16" fmla="*/ 4 w 28"/>
                <a:gd name="T17" fmla="*/ 14 h 20"/>
                <a:gd name="T18" fmla="*/ 4 w 28"/>
                <a:gd name="T19" fmla="*/ 15 h 20"/>
                <a:gd name="T20" fmla="*/ 5 w 28"/>
                <a:gd name="T21" fmla="*/ 17 h 20"/>
                <a:gd name="T22" fmla="*/ 7 w 28"/>
                <a:gd name="T23" fmla="*/ 19 h 20"/>
                <a:gd name="T24" fmla="*/ 11 w 28"/>
                <a:gd name="T25" fmla="*/ 19 h 20"/>
                <a:gd name="T26" fmla="*/ 10 w 28"/>
                <a:gd name="T27" fmla="*/ 18 h 20"/>
                <a:gd name="T28" fmla="*/ 10 w 28"/>
                <a:gd name="T29" fmla="*/ 17 h 20"/>
                <a:gd name="T30" fmla="*/ 14 w 28"/>
                <a:gd name="T31" fmla="*/ 12 h 20"/>
                <a:gd name="T32" fmla="*/ 20 w 28"/>
                <a:gd name="T33" fmla="*/ 10 h 20"/>
                <a:gd name="T34" fmla="*/ 23 w 28"/>
                <a:gd name="T35" fmla="*/ 13 h 20"/>
                <a:gd name="T36" fmla="*/ 28 w 28"/>
                <a:gd name="T37" fmla="*/ 6 h 20"/>
                <a:gd name="T38" fmla="*/ 27 w 28"/>
                <a:gd name="T39" fmla="*/ 5 h 20"/>
                <a:gd name="T40" fmla="*/ 27 w 28"/>
                <a:gd name="T41" fmla="*/ 2 h 20"/>
                <a:gd name="T42" fmla="*/ 27 w 28"/>
                <a:gd name="T43" fmla="*/ 2 h 20"/>
                <a:gd name="T44" fmla="*/ 26 w 28"/>
                <a:gd name="T45" fmla="*/ 2 h 20"/>
                <a:gd name="T46" fmla="*/ 21 w 28"/>
                <a:gd name="T47" fmla="*/ 0 h 20"/>
                <a:gd name="T48" fmla="*/ 16 w 28"/>
                <a:gd name="T49" fmla="*/ 1 h 20"/>
                <a:gd name="T50" fmla="*/ 16 w 28"/>
                <a:gd name="T51" fmla="*/ 4 h 20"/>
                <a:gd name="T52" fmla="*/ 11 w 28"/>
                <a:gd name="T53" fmla="*/ 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20">
                  <a:moveTo>
                    <a:pt x="11" y="5"/>
                  </a:moveTo>
                  <a:cubicBezTo>
                    <a:pt x="11" y="4"/>
                    <a:pt x="10" y="3"/>
                    <a:pt x="9" y="3"/>
                  </a:cubicBezTo>
                  <a:cubicBezTo>
                    <a:pt x="10" y="3"/>
                    <a:pt x="8" y="5"/>
                    <a:pt x="7" y="6"/>
                  </a:cubicBezTo>
                  <a:cubicBezTo>
                    <a:pt x="7" y="6"/>
                    <a:pt x="7" y="7"/>
                    <a:pt x="7" y="7"/>
                  </a:cubicBezTo>
                  <a:cubicBezTo>
                    <a:pt x="5" y="9"/>
                    <a:pt x="2" y="10"/>
                    <a:pt x="0" y="12"/>
                  </a:cubicBezTo>
                  <a:cubicBezTo>
                    <a:pt x="1" y="11"/>
                    <a:pt x="1" y="12"/>
                    <a:pt x="2" y="11"/>
                  </a:cubicBezTo>
                  <a:cubicBezTo>
                    <a:pt x="2" y="11"/>
                    <a:pt x="3" y="11"/>
                    <a:pt x="3" y="11"/>
                  </a:cubicBezTo>
                  <a:cubicBezTo>
                    <a:pt x="5" y="10"/>
                    <a:pt x="3" y="13"/>
                    <a:pt x="5" y="12"/>
                  </a:cubicBezTo>
                  <a:cubicBezTo>
                    <a:pt x="5" y="13"/>
                    <a:pt x="5" y="13"/>
                    <a:pt x="4" y="14"/>
                  </a:cubicBezTo>
                  <a:cubicBezTo>
                    <a:pt x="5" y="14"/>
                    <a:pt x="5" y="15"/>
                    <a:pt x="4" y="15"/>
                  </a:cubicBezTo>
                  <a:cubicBezTo>
                    <a:pt x="5" y="15"/>
                    <a:pt x="5" y="16"/>
                    <a:pt x="5" y="17"/>
                  </a:cubicBezTo>
                  <a:cubicBezTo>
                    <a:pt x="7" y="16"/>
                    <a:pt x="7" y="17"/>
                    <a:pt x="7" y="19"/>
                  </a:cubicBezTo>
                  <a:cubicBezTo>
                    <a:pt x="8" y="18"/>
                    <a:pt x="10" y="20"/>
                    <a:pt x="11" y="19"/>
                  </a:cubicBezTo>
                  <a:cubicBezTo>
                    <a:pt x="11" y="18"/>
                    <a:pt x="10" y="18"/>
                    <a:pt x="10" y="18"/>
                  </a:cubicBezTo>
                  <a:cubicBezTo>
                    <a:pt x="10" y="18"/>
                    <a:pt x="10" y="18"/>
                    <a:pt x="10" y="17"/>
                  </a:cubicBezTo>
                  <a:cubicBezTo>
                    <a:pt x="11" y="15"/>
                    <a:pt x="13" y="14"/>
                    <a:pt x="14" y="12"/>
                  </a:cubicBezTo>
                  <a:cubicBezTo>
                    <a:pt x="16" y="11"/>
                    <a:pt x="17" y="9"/>
                    <a:pt x="20" y="10"/>
                  </a:cubicBezTo>
                  <a:cubicBezTo>
                    <a:pt x="21" y="11"/>
                    <a:pt x="21" y="12"/>
                    <a:pt x="23" y="13"/>
                  </a:cubicBezTo>
                  <a:cubicBezTo>
                    <a:pt x="23" y="10"/>
                    <a:pt x="26" y="8"/>
                    <a:pt x="28" y="6"/>
                  </a:cubicBezTo>
                  <a:cubicBezTo>
                    <a:pt x="27" y="6"/>
                    <a:pt x="28" y="5"/>
                    <a:pt x="27" y="5"/>
                  </a:cubicBezTo>
                  <a:cubicBezTo>
                    <a:pt x="27" y="4"/>
                    <a:pt x="27" y="3"/>
                    <a:pt x="27" y="2"/>
                  </a:cubicBezTo>
                  <a:cubicBezTo>
                    <a:pt x="27" y="2"/>
                    <a:pt x="27" y="2"/>
                    <a:pt x="27" y="2"/>
                  </a:cubicBezTo>
                  <a:cubicBezTo>
                    <a:pt x="27" y="1"/>
                    <a:pt x="27" y="2"/>
                    <a:pt x="26" y="2"/>
                  </a:cubicBezTo>
                  <a:cubicBezTo>
                    <a:pt x="24" y="2"/>
                    <a:pt x="23" y="1"/>
                    <a:pt x="21" y="0"/>
                  </a:cubicBezTo>
                  <a:cubicBezTo>
                    <a:pt x="20" y="0"/>
                    <a:pt x="18" y="1"/>
                    <a:pt x="16" y="1"/>
                  </a:cubicBezTo>
                  <a:cubicBezTo>
                    <a:pt x="17" y="2"/>
                    <a:pt x="17" y="3"/>
                    <a:pt x="16" y="4"/>
                  </a:cubicBezTo>
                  <a:cubicBezTo>
                    <a:pt x="15" y="4"/>
                    <a:pt x="12" y="6"/>
                    <a:pt x="11" y="5"/>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74" name="Freeform 2327">
              <a:extLst>
                <a:ext uri="{FF2B5EF4-FFF2-40B4-BE49-F238E27FC236}">
                  <a16:creationId xmlns:a16="http://schemas.microsoft.com/office/drawing/2014/main" id="{76A642B5-A225-4FC2-B892-B8E0964A53DD}"/>
                </a:ext>
              </a:extLst>
            </p:cNvPr>
            <p:cNvSpPr>
              <a:spLocks/>
            </p:cNvSpPr>
            <p:nvPr/>
          </p:nvSpPr>
          <p:spPr bwMode="auto">
            <a:xfrm>
              <a:off x="6573" y="2164"/>
              <a:ext cx="5" cy="4"/>
            </a:xfrm>
            <a:custGeom>
              <a:avLst/>
              <a:gdLst>
                <a:gd name="T0" fmla="*/ 2 w 2"/>
                <a:gd name="T1" fmla="*/ 2 h 2"/>
                <a:gd name="T2" fmla="*/ 1 w 2"/>
                <a:gd name="T3" fmla="*/ 0 h 2"/>
                <a:gd name="T4" fmla="*/ 2 w 2"/>
                <a:gd name="T5" fmla="*/ 2 h 2"/>
              </a:gdLst>
              <a:ahLst/>
              <a:cxnLst>
                <a:cxn ang="0">
                  <a:pos x="T0" y="T1"/>
                </a:cxn>
                <a:cxn ang="0">
                  <a:pos x="T2" y="T3"/>
                </a:cxn>
                <a:cxn ang="0">
                  <a:pos x="T4" y="T5"/>
                </a:cxn>
              </a:cxnLst>
              <a:rect l="0" t="0" r="r" b="b"/>
              <a:pathLst>
                <a:path w="2" h="2">
                  <a:moveTo>
                    <a:pt x="2" y="2"/>
                  </a:moveTo>
                  <a:cubicBezTo>
                    <a:pt x="2" y="1"/>
                    <a:pt x="1" y="1"/>
                    <a:pt x="1" y="0"/>
                  </a:cubicBezTo>
                  <a:cubicBezTo>
                    <a:pt x="0" y="2"/>
                    <a:pt x="1" y="2"/>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75" name="Freeform 2328">
              <a:extLst>
                <a:ext uri="{FF2B5EF4-FFF2-40B4-BE49-F238E27FC236}">
                  <a16:creationId xmlns:a16="http://schemas.microsoft.com/office/drawing/2014/main" id="{C49AF37A-FFBF-4FE0-9DCB-43B8E2605C3C}"/>
                </a:ext>
              </a:extLst>
            </p:cNvPr>
            <p:cNvSpPr>
              <a:spLocks/>
            </p:cNvSpPr>
            <p:nvPr/>
          </p:nvSpPr>
          <p:spPr bwMode="auto">
            <a:xfrm>
              <a:off x="6954" y="1596"/>
              <a:ext cx="0" cy="4"/>
            </a:xfrm>
            <a:custGeom>
              <a:avLst/>
              <a:gdLst>
                <a:gd name="T0" fmla="*/ 0 h 2"/>
                <a:gd name="T1" fmla="*/ 2 h 2"/>
                <a:gd name="T2" fmla="*/ 0 h 2"/>
              </a:gdLst>
              <a:ahLst/>
              <a:cxnLst>
                <a:cxn ang="0">
                  <a:pos x="0" y="T0"/>
                </a:cxn>
                <a:cxn ang="0">
                  <a:pos x="0" y="T1"/>
                </a:cxn>
                <a:cxn ang="0">
                  <a:pos x="0" y="T2"/>
                </a:cxn>
              </a:cxnLst>
              <a:rect l="0" t="0" r="r" b="b"/>
              <a:pathLst>
                <a:path h="2">
                  <a:moveTo>
                    <a:pt x="0" y="0"/>
                  </a:moveTo>
                  <a:cubicBezTo>
                    <a:pt x="0" y="1"/>
                    <a:pt x="0" y="2"/>
                    <a:pt x="0" y="2"/>
                  </a:cubicBezTo>
                  <a:cubicBezTo>
                    <a:pt x="0" y="2"/>
                    <a:pt x="0"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76" name="Freeform 2329">
              <a:extLst>
                <a:ext uri="{FF2B5EF4-FFF2-40B4-BE49-F238E27FC236}">
                  <a16:creationId xmlns:a16="http://schemas.microsoft.com/office/drawing/2014/main" id="{E883D68A-6E25-4C57-8DBE-865B705F5E0E}"/>
                </a:ext>
              </a:extLst>
            </p:cNvPr>
            <p:cNvSpPr>
              <a:spLocks/>
            </p:cNvSpPr>
            <p:nvPr/>
          </p:nvSpPr>
          <p:spPr bwMode="auto">
            <a:xfrm>
              <a:off x="6653" y="1955"/>
              <a:ext cx="8" cy="7"/>
            </a:xfrm>
            <a:custGeom>
              <a:avLst/>
              <a:gdLst>
                <a:gd name="T0" fmla="*/ 1 w 3"/>
                <a:gd name="T1" fmla="*/ 1 h 3"/>
                <a:gd name="T2" fmla="*/ 3 w 3"/>
                <a:gd name="T3" fmla="*/ 2 h 3"/>
                <a:gd name="T4" fmla="*/ 3 w 3"/>
                <a:gd name="T5" fmla="*/ 0 h 3"/>
                <a:gd name="T6" fmla="*/ 1 w 3"/>
                <a:gd name="T7" fmla="*/ 1 h 3"/>
              </a:gdLst>
              <a:ahLst/>
              <a:cxnLst>
                <a:cxn ang="0">
                  <a:pos x="T0" y="T1"/>
                </a:cxn>
                <a:cxn ang="0">
                  <a:pos x="T2" y="T3"/>
                </a:cxn>
                <a:cxn ang="0">
                  <a:pos x="T4" y="T5"/>
                </a:cxn>
                <a:cxn ang="0">
                  <a:pos x="T6" y="T7"/>
                </a:cxn>
              </a:cxnLst>
              <a:rect l="0" t="0" r="r" b="b"/>
              <a:pathLst>
                <a:path w="3" h="3">
                  <a:moveTo>
                    <a:pt x="1" y="1"/>
                  </a:moveTo>
                  <a:cubicBezTo>
                    <a:pt x="0" y="3"/>
                    <a:pt x="3" y="2"/>
                    <a:pt x="3" y="2"/>
                  </a:cubicBezTo>
                  <a:cubicBezTo>
                    <a:pt x="3" y="1"/>
                    <a:pt x="3" y="1"/>
                    <a:pt x="3" y="0"/>
                  </a:cubicBezTo>
                  <a:cubicBezTo>
                    <a:pt x="2" y="0"/>
                    <a:pt x="1" y="1"/>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77" name="Freeform 2330">
              <a:extLst>
                <a:ext uri="{FF2B5EF4-FFF2-40B4-BE49-F238E27FC236}">
                  <a16:creationId xmlns:a16="http://schemas.microsoft.com/office/drawing/2014/main" id="{DC977E67-06BB-4934-AFD4-8D71D2760A38}"/>
                </a:ext>
              </a:extLst>
            </p:cNvPr>
            <p:cNvSpPr>
              <a:spLocks/>
            </p:cNvSpPr>
            <p:nvPr/>
          </p:nvSpPr>
          <p:spPr bwMode="auto">
            <a:xfrm>
              <a:off x="6708" y="2007"/>
              <a:ext cx="7" cy="15"/>
            </a:xfrm>
            <a:custGeom>
              <a:avLst/>
              <a:gdLst>
                <a:gd name="T0" fmla="*/ 1 w 3"/>
                <a:gd name="T1" fmla="*/ 3 h 6"/>
                <a:gd name="T2" fmla="*/ 1 w 3"/>
                <a:gd name="T3" fmla="*/ 6 h 6"/>
                <a:gd name="T4" fmla="*/ 3 w 3"/>
                <a:gd name="T5" fmla="*/ 0 h 6"/>
                <a:gd name="T6" fmla="*/ 1 w 3"/>
                <a:gd name="T7" fmla="*/ 3 h 6"/>
              </a:gdLst>
              <a:ahLst/>
              <a:cxnLst>
                <a:cxn ang="0">
                  <a:pos x="T0" y="T1"/>
                </a:cxn>
                <a:cxn ang="0">
                  <a:pos x="T2" y="T3"/>
                </a:cxn>
                <a:cxn ang="0">
                  <a:pos x="T4" y="T5"/>
                </a:cxn>
                <a:cxn ang="0">
                  <a:pos x="T6" y="T7"/>
                </a:cxn>
              </a:cxnLst>
              <a:rect l="0" t="0" r="r" b="b"/>
              <a:pathLst>
                <a:path w="3" h="6">
                  <a:moveTo>
                    <a:pt x="1" y="3"/>
                  </a:moveTo>
                  <a:cubicBezTo>
                    <a:pt x="1" y="4"/>
                    <a:pt x="0" y="4"/>
                    <a:pt x="1" y="6"/>
                  </a:cubicBezTo>
                  <a:cubicBezTo>
                    <a:pt x="1" y="4"/>
                    <a:pt x="2" y="2"/>
                    <a:pt x="3" y="0"/>
                  </a:cubicBezTo>
                  <a:cubicBezTo>
                    <a:pt x="1" y="2"/>
                    <a:pt x="2" y="2"/>
                    <a:pt x="1"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78" name="Freeform 2331">
              <a:extLst>
                <a:ext uri="{FF2B5EF4-FFF2-40B4-BE49-F238E27FC236}">
                  <a16:creationId xmlns:a16="http://schemas.microsoft.com/office/drawing/2014/main" id="{1ABF2D95-40FC-4D8C-9675-186B2E4BC180}"/>
                </a:ext>
              </a:extLst>
            </p:cNvPr>
            <p:cNvSpPr>
              <a:spLocks/>
            </p:cNvSpPr>
            <p:nvPr/>
          </p:nvSpPr>
          <p:spPr bwMode="auto">
            <a:xfrm>
              <a:off x="6661" y="2085"/>
              <a:ext cx="2" cy="5"/>
            </a:xfrm>
            <a:custGeom>
              <a:avLst/>
              <a:gdLst>
                <a:gd name="T0" fmla="*/ 1 w 1"/>
                <a:gd name="T1" fmla="*/ 2 h 2"/>
                <a:gd name="T2" fmla="*/ 1 w 1"/>
                <a:gd name="T3" fmla="*/ 0 h 2"/>
                <a:gd name="T4" fmla="*/ 1 w 1"/>
                <a:gd name="T5" fmla="*/ 2 h 2"/>
              </a:gdLst>
              <a:ahLst/>
              <a:cxnLst>
                <a:cxn ang="0">
                  <a:pos x="T0" y="T1"/>
                </a:cxn>
                <a:cxn ang="0">
                  <a:pos x="T2" y="T3"/>
                </a:cxn>
                <a:cxn ang="0">
                  <a:pos x="T4" y="T5"/>
                </a:cxn>
              </a:cxnLst>
              <a:rect l="0" t="0" r="r" b="b"/>
              <a:pathLst>
                <a:path w="1" h="2">
                  <a:moveTo>
                    <a:pt x="1" y="2"/>
                  </a:moveTo>
                  <a:cubicBezTo>
                    <a:pt x="1" y="2"/>
                    <a:pt x="1" y="1"/>
                    <a:pt x="1" y="0"/>
                  </a:cubicBezTo>
                  <a:cubicBezTo>
                    <a:pt x="0" y="1"/>
                    <a:pt x="0" y="2"/>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79" name="Freeform 2332">
              <a:extLst>
                <a:ext uri="{FF2B5EF4-FFF2-40B4-BE49-F238E27FC236}">
                  <a16:creationId xmlns:a16="http://schemas.microsoft.com/office/drawing/2014/main" id="{9E564D32-1F6F-4B94-BBB9-E70232D42B7E}"/>
                </a:ext>
              </a:extLst>
            </p:cNvPr>
            <p:cNvSpPr>
              <a:spLocks/>
            </p:cNvSpPr>
            <p:nvPr/>
          </p:nvSpPr>
          <p:spPr bwMode="auto">
            <a:xfrm>
              <a:off x="6670" y="2078"/>
              <a:ext cx="2" cy="3"/>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0"/>
                    <a:pt x="0" y="0"/>
                    <a:pt x="0" y="0"/>
                  </a:cubicBezTo>
                  <a:cubicBezTo>
                    <a:pt x="0" y="1"/>
                    <a:pt x="0" y="1"/>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80" name="Oval 2333">
              <a:extLst>
                <a:ext uri="{FF2B5EF4-FFF2-40B4-BE49-F238E27FC236}">
                  <a16:creationId xmlns:a16="http://schemas.microsoft.com/office/drawing/2014/main" id="{8A4874A8-FB7B-4A03-ACDF-DE9ADDF3E93F}"/>
                </a:ext>
              </a:extLst>
            </p:cNvPr>
            <p:cNvSpPr>
              <a:spLocks noChangeArrowheads="1"/>
            </p:cNvSpPr>
            <p:nvPr/>
          </p:nvSpPr>
          <p:spPr bwMode="auto">
            <a:xfrm>
              <a:off x="6982" y="2116"/>
              <a:ext cx="1" cy="3"/>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81" name="Freeform 2334">
              <a:extLst>
                <a:ext uri="{FF2B5EF4-FFF2-40B4-BE49-F238E27FC236}">
                  <a16:creationId xmlns:a16="http://schemas.microsoft.com/office/drawing/2014/main" id="{85225067-60A8-4D85-B6E5-C1136F77AE03}"/>
                </a:ext>
              </a:extLst>
            </p:cNvPr>
            <p:cNvSpPr>
              <a:spLocks/>
            </p:cNvSpPr>
            <p:nvPr/>
          </p:nvSpPr>
          <p:spPr bwMode="auto">
            <a:xfrm>
              <a:off x="6663" y="1948"/>
              <a:ext cx="5" cy="7"/>
            </a:xfrm>
            <a:custGeom>
              <a:avLst/>
              <a:gdLst>
                <a:gd name="T0" fmla="*/ 2 w 2"/>
                <a:gd name="T1" fmla="*/ 0 h 3"/>
                <a:gd name="T2" fmla="*/ 0 w 2"/>
                <a:gd name="T3" fmla="*/ 1 h 3"/>
                <a:gd name="T4" fmla="*/ 1 w 2"/>
                <a:gd name="T5" fmla="*/ 3 h 3"/>
                <a:gd name="T6" fmla="*/ 2 w 2"/>
                <a:gd name="T7" fmla="*/ 0 h 3"/>
              </a:gdLst>
              <a:ahLst/>
              <a:cxnLst>
                <a:cxn ang="0">
                  <a:pos x="T0" y="T1"/>
                </a:cxn>
                <a:cxn ang="0">
                  <a:pos x="T2" y="T3"/>
                </a:cxn>
                <a:cxn ang="0">
                  <a:pos x="T4" y="T5"/>
                </a:cxn>
                <a:cxn ang="0">
                  <a:pos x="T6" y="T7"/>
                </a:cxn>
              </a:cxnLst>
              <a:rect l="0" t="0" r="r" b="b"/>
              <a:pathLst>
                <a:path w="2" h="3">
                  <a:moveTo>
                    <a:pt x="2" y="0"/>
                  </a:moveTo>
                  <a:cubicBezTo>
                    <a:pt x="2" y="0"/>
                    <a:pt x="0" y="1"/>
                    <a:pt x="0" y="1"/>
                  </a:cubicBezTo>
                  <a:cubicBezTo>
                    <a:pt x="0" y="2"/>
                    <a:pt x="1" y="2"/>
                    <a:pt x="1" y="3"/>
                  </a:cubicBezTo>
                  <a:cubicBezTo>
                    <a:pt x="1" y="2"/>
                    <a:pt x="2" y="1"/>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82" name="Freeform 2335">
              <a:extLst>
                <a:ext uri="{FF2B5EF4-FFF2-40B4-BE49-F238E27FC236}">
                  <a16:creationId xmlns:a16="http://schemas.microsoft.com/office/drawing/2014/main" id="{EB88F8C7-94EE-4071-ACEF-292C9463587E}"/>
                </a:ext>
              </a:extLst>
            </p:cNvPr>
            <p:cNvSpPr>
              <a:spLocks/>
            </p:cNvSpPr>
            <p:nvPr/>
          </p:nvSpPr>
          <p:spPr bwMode="auto">
            <a:xfrm>
              <a:off x="6760" y="1858"/>
              <a:ext cx="12" cy="10"/>
            </a:xfrm>
            <a:custGeom>
              <a:avLst/>
              <a:gdLst>
                <a:gd name="T0" fmla="*/ 3 w 5"/>
                <a:gd name="T1" fmla="*/ 0 h 4"/>
                <a:gd name="T2" fmla="*/ 3 w 5"/>
                <a:gd name="T3" fmla="*/ 0 h 4"/>
              </a:gdLst>
              <a:ahLst/>
              <a:cxnLst>
                <a:cxn ang="0">
                  <a:pos x="T0" y="T1"/>
                </a:cxn>
                <a:cxn ang="0">
                  <a:pos x="T2" y="T3"/>
                </a:cxn>
              </a:cxnLst>
              <a:rect l="0" t="0" r="r" b="b"/>
              <a:pathLst>
                <a:path w="5" h="4">
                  <a:moveTo>
                    <a:pt x="3" y="0"/>
                  </a:moveTo>
                  <a:cubicBezTo>
                    <a:pt x="0" y="1"/>
                    <a:pt x="5" y="4"/>
                    <a:pt x="3"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83" name="Freeform 2336">
              <a:extLst>
                <a:ext uri="{FF2B5EF4-FFF2-40B4-BE49-F238E27FC236}">
                  <a16:creationId xmlns:a16="http://schemas.microsoft.com/office/drawing/2014/main" id="{25DB6978-2FBA-4FD0-86BE-D214987D3C4A}"/>
                </a:ext>
              </a:extLst>
            </p:cNvPr>
            <p:cNvSpPr>
              <a:spLocks/>
            </p:cNvSpPr>
            <p:nvPr/>
          </p:nvSpPr>
          <p:spPr bwMode="auto">
            <a:xfrm>
              <a:off x="6798" y="1908"/>
              <a:ext cx="11" cy="9"/>
            </a:xfrm>
            <a:custGeom>
              <a:avLst/>
              <a:gdLst>
                <a:gd name="T0" fmla="*/ 3 w 5"/>
                <a:gd name="T1" fmla="*/ 4 h 4"/>
                <a:gd name="T2" fmla="*/ 4 w 5"/>
                <a:gd name="T3" fmla="*/ 3 h 4"/>
                <a:gd name="T4" fmla="*/ 4 w 5"/>
                <a:gd name="T5" fmla="*/ 2 h 4"/>
                <a:gd name="T6" fmla="*/ 5 w 5"/>
                <a:gd name="T7" fmla="*/ 0 h 4"/>
                <a:gd name="T8" fmla="*/ 3 w 5"/>
                <a:gd name="T9" fmla="*/ 4 h 4"/>
              </a:gdLst>
              <a:ahLst/>
              <a:cxnLst>
                <a:cxn ang="0">
                  <a:pos x="T0" y="T1"/>
                </a:cxn>
                <a:cxn ang="0">
                  <a:pos x="T2" y="T3"/>
                </a:cxn>
                <a:cxn ang="0">
                  <a:pos x="T4" y="T5"/>
                </a:cxn>
                <a:cxn ang="0">
                  <a:pos x="T6" y="T7"/>
                </a:cxn>
                <a:cxn ang="0">
                  <a:pos x="T8" y="T9"/>
                </a:cxn>
              </a:cxnLst>
              <a:rect l="0" t="0" r="r" b="b"/>
              <a:pathLst>
                <a:path w="5" h="4">
                  <a:moveTo>
                    <a:pt x="3" y="4"/>
                  </a:moveTo>
                  <a:cubicBezTo>
                    <a:pt x="3" y="4"/>
                    <a:pt x="4" y="4"/>
                    <a:pt x="4" y="3"/>
                  </a:cubicBezTo>
                  <a:cubicBezTo>
                    <a:pt x="4" y="3"/>
                    <a:pt x="4" y="3"/>
                    <a:pt x="4" y="2"/>
                  </a:cubicBezTo>
                  <a:cubicBezTo>
                    <a:pt x="4" y="1"/>
                    <a:pt x="4" y="1"/>
                    <a:pt x="5" y="0"/>
                  </a:cubicBezTo>
                  <a:cubicBezTo>
                    <a:pt x="4" y="1"/>
                    <a:pt x="0" y="4"/>
                    <a:pt x="3"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84" name="Freeform 2337">
              <a:extLst>
                <a:ext uri="{FF2B5EF4-FFF2-40B4-BE49-F238E27FC236}">
                  <a16:creationId xmlns:a16="http://schemas.microsoft.com/office/drawing/2014/main" id="{C38C73F7-EBB9-42F4-8941-CB65683F7450}"/>
                </a:ext>
              </a:extLst>
            </p:cNvPr>
            <p:cNvSpPr>
              <a:spLocks/>
            </p:cNvSpPr>
            <p:nvPr/>
          </p:nvSpPr>
          <p:spPr bwMode="auto">
            <a:xfrm>
              <a:off x="6630" y="2114"/>
              <a:ext cx="14" cy="19"/>
            </a:xfrm>
            <a:custGeom>
              <a:avLst/>
              <a:gdLst>
                <a:gd name="T0" fmla="*/ 1 w 6"/>
                <a:gd name="T1" fmla="*/ 5 h 8"/>
                <a:gd name="T2" fmla="*/ 1 w 6"/>
                <a:gd name="T3" fmla="*/ 6 h 8"/>
                <a:gd name="T4" fmla="*/ 1 w 6"/>
                <a:gd name="T5" fmla="*/ 8 h 8"/>
                <a:gd name="T6" fmla="*/ 4 w 6"/>
                <a:gd name="T7" fmla="*/ 4 h 8"/>
                <a:gd name="T8" fmla="*/ 6 w 6"/>
                <a:gd name="T9" fmla="*/ 0 h 8"/>
                <a:gd name="T10" fmla="*/ 6 w 6"/>
                <a:gd name="T11" fmla="*/ 1 h 8"/>
                <a:gd name="T12" fmla="*/ 5 w 6"/>
                <a:gd name="T13" fmla="*/ 2 h 8"/>
                <a:gd name="T14" fmla="*/ 4 w 6"/>
                <a:gd name="T15" fmla="*/ 1 h 8"/>
                <a:gd name="T16" fmla="*/ 3 w 6"/>
                <a:gd name="T17" fmla="*/ 2 h 8"/>
                <a:gd name="T18" fmla="*/ 3 w 6"/>
                <a:gd name="T19" fmla="*/ 3 h 8"/>
                <a:gd name="T20" fmla="*/ 2 w 6"/>
                <a:gd name="T21" fmla="*/ 4 h 8"/>
                <a:gd name="T22" fmla="*/ 1 w 6"/>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8">
                  <a:moveTo>
                    <a:pt x="1" y="5"/>
                  </a:moveTo>
                  <a:cubicBezTo>
                    <a:pt x="1" y="5"/>
                    <a:pt x="1" y="6"/>
                    <a:pt x="1" y="6"/>
                  </a:cubicBezTo>
                  <a:cubicBezTo>
                    <a:pt x="1" y="7"/>
                    <a:pt x="0" y="6"/>
                    <a:pt x="1" y="8"/>
                  </a:cubicBezTo>
                  <a:cubicBezTo>
                    <a:pt x="2" y="6"/>
                    <a:pt x="3" y="5"/>
                    <a:pt x="4" y="4"/>
                  </a:cubicBezTo>
                  <a:cubicBezTo>
                    <a:pt x="5" y="3"/>
                    <a:pt x="6" y="1"/>
                    <a:pt x="6" y="0"/>
                  </a:cubicBezTo>
                  <a:cubicBezTo>
                    <a:pt x="6" y="0"/>
                    <a:pt x="6" y="1"/>
                    <a:pt x="6" y="1"/>
                  </a:cubicBezTo>
                  <a:cubicBezTo>
                    <a:pt x="5" y="1"/>
                    <a:pt x="5" y="1"/>
                    <a:pt x="5" y="2"/>
                  </a:cubicBezTo>
                  <a:cubicBezTo>
                    <a:pt x="5" y="2"/>
                    <a:pt x="4" y="1"/>
                    <a:pt x="4" y="1"/>
                  </a:cubicBezTo>
                  <a:cubicBezTo>
                    <a:pt x="3" y="1"/>
                    <a:pt x="3" y="1"/>
                    <a:pt x="3" y="2"/>
                  </a:cubicBezTo>
                  <a:cubicBezTo>
                    <a:pt x="4" y="3"/>
                    <a:pt x="4" y="3"/>
                    <a:pt x="3" y="3"/>
                  </a:cubicBezTo>
                  <a:cubicBezTo>
                    <a:pt x="3" y="3"/>
                    <a:pt x="2" y="4"/>
                    <a:pt x="2" y="4"/>
                  </a:cubicBezTo>
                  <a:cubicBezTo>
                    <a:pt x="2" y="4"/>
                    <a:pt x="2" y="4"/>
                    <a:pt x="1"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85" name="Freeform 2338">
              <a:extLst>
                <a:ext uri="{FF2B5EF4-FFF2-40B4-BE49-F238E27FC236}">
                  <a16:creationId xmlns:a16="http://schemas.microsoft.com/office/drawing/2014/main" id="{D6A58EFD-FE3B-4A7B-A705-F38A4E00BFE4}"/>
                </a:ext>
              </a:extLst>
            </p:cNvPr>
            <p:cNvSpPr>
              <a:spLocks/>
            </p:cNvSpPr>
            <p:nvPr/>
          </p:nvSpPr>
          <p:spPr bwMode="auto">
            <a:xfrm>
              <a:off x="6653" y="2097"/>
              <a:ext cx="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86" name="Freeform 2339">
              <a:extLst>
                <a:ext uri="{FF2B5EF4-FFF2-40B4-BE49-F238E27FC236}">
                  <a16:creationId xmlns:a16="http://schemas.microsoft.com/office/drawing/2014/main" id="{FC09CCE5-3CDE-4C10-B0BA-A176AE7BA6C1}"/>
                </a:ext>
              </a:extLst>
            </p:cNvPr>
            <p:cNvSpPr>
              <a:spLocks/>
            </p:cNvSpPr>
            <p:nvPr/>
          </p:nvSpPr>
          <p:spPr bwMode="auto">
            <a:xfrm>
              <a:off x="6956" y="1603"/>
              <a:ext cx="10" cy="7"/>
            </a:xfrm>
            <a:custGeom>
              <a:avLst/>
              <a:gdLst>
                <a:gd name="T0" fmla="*/ 1 w 4"/>
                <a:gd name="T1" fmla="*/ 0 h 3"/>
                <a:gd name="T2" fmla="*/ 1 w 4"/>
                <a:gd name="T3" fmla="*/ 0 h 3"/>
              </a:gdLst>
              <a:ahLst/>
              <a:cxnLst>
                <a:cxn ang="0">
                  <a:pos x="T0" y="T1"/>
                </a:cxn>
                <a:cxn ang="0">
                  <a:pos x="T2" y="T3"/>
                </a:cxn>
              </a:cxnLst>
              <a:rect l="0" t="0" r="r" b="b"/>
              <a:pathLst>
                <a:path w="4" h="3">
                  <a:moveTo>
                    <a:pt x="1" y="0"/>
                  </a:moveTo>
                  <a:cubicBezTo>
                    <a:pt x="0" y="2"/>
                    <a:pt x="4" y="3"/>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87" name="Freeform 2340">
              <a:extLst>
                <a:ext uri="{FF2B5EF4-FFF2-40B4-BE49-F238E27FC236}">
                  <a16:creationId xmlns:a16="http://schemas.microsoft.com/office/drawing/2014/main" id="{BE10954B-7865-484C-AAEA-FCF2026362F2}"/>
                </a:ext>
              </a:extLst>
            </p:cNvPr>
            <p:cNvSpPr>
              <a:spLocks/>
            </p:cNvSpPr>
            <p:nvPr/>
          </p:nvSpPr>
          <p:spPr bwMode="auto">
            <a:xfrm>
              <a:off x="6925" y="1946"/>
              <a:ext cx="0" cy="2"/>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88" name="Freeform 2341">
              <a:extLst>
                <a:ext uri="{FF2B5EF4-FFF2-40B4-BE49-F238E27FC236}">
                  <a16:creationId xmlns:a16="http://schemas.microsoft.com/office/drawing/2014/main" id="{AEDD2588-EC77-4988-AC5C-03CAB2C93910}"/>
                </a:ext>
              </a:extLst>
            </p:cNvPr>
            <p:cNvSpPr>
              <a:spLocks/>
            </p:cNvSpPr>
            <p:nvPr/>
          </p:nvSpPr>
          <p:spPr bwMode="auto">
            <a:xfrm>
              <a:off x="6888" y="1804"/>
              <a:ext cx="7" cy="14"/>
            </a:xfrm>
            <a:custGeom>
              <a:avLst/>
              <a:gdLst>
                <a:gd name="T0" fmla="*/ 0 w 3"/>
                <a:gd name="T1" fmla="*/ 6 h 6"/>
                <a:gd name="T2" fmla="*/ 3 w 3"/>
                <a:gd name="T3" fmla="*/ 0 h 6"/>
                <a:gd name="T4" fmla="*/ 0 w 3"/>
                <a:gd name="T5" fmla="*/ 3 h 6"/>
                <a:gd name="T6" fmla="*/ 0 w 3"/>
                <a:gd name="T7" fmla="*/ 6 h 6"/>
              </a:gdLst>
              <a:ahLst/>
              <a:cxnLst>
                <a:cxn ang="0">
                  <a:pos x="T0" y="T1"/>
                </a:cxn>
                <a:cxn ang="0">
                  <a:pos x="T2" y="T3"/>
                </a:cxn>
                <a:cxn ang="0">
                  <a:pos x="T4" y="T5"/>
                </a:cxn>
                <a:cxn ang="0">
                  <a:pos x="T6" y="T7"/>
                </a:cxn>
              </a:cxnLst>
              <a:rect l="0" t="0" r="r" b="b"/>
              <a:pathLst>
                <a:path w="3" h="6">
                  <a:moveTo>
                    <a:pt x="0" y="6"/>
                  </a:moveTo>
                  <a:cubicBezTo>
                    <a:pt x="3" y="6"/>
                    <a:pt x="3" y="3"/>
                    <a:pt x="3" y="0"/>
                  </a:cubicBezTo>
                  <a:cubicBezTo>
                    <a:pt x="2" y="1"/>
                    <a:pt x="0" y="2"/>
                    <a:pt x="0" y="3"/>
                  </a:cubicBezTo>
                  <a:cubicBezTo>
                    <a:pt x="0" y="4"/>
                    <a:pt x="1" y="5"/>
                    <a:pt x="0" y="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89" name="Freeform 2342">
              <a:extLst>
                <a:ext uri="{FF2B5EF4-FFF2-40B4-BE49-F238E27FC236}">
                  <a16:creationId xmlns:a16="http://schemas.microsoft.com/office/drawing/2014/main" id="{684240AA-1D37-41F7-867E-A5D9F9AFF48D}"/>
                </a:ext>
              </a:extLst>
            </p:cNvPr>
            <p:cNvSpPr>
              <a:spLocks/>
            </p:cNvSpPr>
            <p:nvPr/>
          </p:nvSpPr>
          <p:spPr bwMode="auto">
            <a:xfrm>
              <a:off x="6535" y="2175"/>
              <a:ext cx="7" cy="5"/>
            </a:xfrm>
            <a:custGeom>
              <a:avLst/>
              <a:gdLst>
                <a:gd name="T0" fmla="*/ 1 w 3"/>
                <a:gd name="T1" fmla="*/ 0 h 2"/>
                <a:gd name="T2" fmla="*/ 0 w 3"/>
                <a:gd name="T3" fmla="*/ 1 h 2"/>
                <a:gd name="T4" fmla="*/ 2 w 3"/>
                <a:gd name="T5" fmla="*/ 2 h 2"/>
                <a:gd name="T6" fmla="*/ 1 w 3"/>
                <a:gd name="T7" fmla="*/ 0 h 2"/>
              </a:gdLst>
              <a:ahLst/>
              <a:cxnLst>
                <a:cxn ang="0">
                  <a:pos x="T0" y="T1"/>
                </a:cxn>
                <a:cxn ang="0">
                  <a:pos x="T2" y="T3"/>
                </a:cxn>
                <a:cxn ang="0">
                  <a:pos x="T4" y="T5"/>
                </a:cxn>
                <a:cxn ang="0">
                  <a:pos x="T6" y="T7"/>
                </a:cxn>
              </a:cxnLst>
              <a:rect l="0" t="0" r="r" b="b"/>
              <a:pathLst>
                <a:path w="3" h="2">
                  <a:moveTo>
                    <a:pt x="1" y="0"/>
                  </a:moveTo>
                  <a:cubicBezTo>
                    <a:pt x="1" y="1"/>
                    <a:pt x="1" y="1"/>
                    <a:pt x="0" y="1"/>
                  </a:cubicBezTo>
                  <a:cubicBezTo>
                    <a:pt x="0" y="1"/>
                    <a:pt x="1" y="2"/>
                    <a:pt x="2" y="2"/>
                  </a:cubicBezTo>
                  <a:cubicBezTo>
                    <a:pt x="3" y="1"/>
                    <a:pt x="2"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90" name="Freeform 2343">
              <a:extLst>
                <a:ext uri="{FF2B5EF4-FFF2-40B4-BE49-F238E27FC236}">
                  <a16:creationId xmlns:a16="http://schemas.microsoft.com/office/drawing/2014/main" id="{B91445D7-4DA0-470F-AF4C-1018756B1ED6}"/>
                </a:ext>
              </a:extLst>
            </p:cNvPr>
            <p:cNvSpPr>
              <a:spLocks/>
            </p:cNvSpPr>
            <p:nvPr/>
          </p:nvSpPr>
          <p:spPr bwMode="auto">
            <a:xfrm>
              <a:off x="6916" y="1690"/>
              <a:ext cx="5" cy="7"/>
            </a:xfrm>
            <a:custGeom>
              <a:avLst/>
              <a:gdLst>
                <a:gd name="T0" fmla="*/ 0 w 2"/>
                <a:gd name="T1" fmla="*/ 1 h 3"/>
                <a:gd name="T2" fmla="*/ 0 w 2"/>
                <a:gd name="T3" fmla="*/ 3 h 3"/>
                <a:gd name="T4" fmla="*/ 0 w 2"/>
                <a:gd name="T5" fmla="*/ 1 h 3"/>
              </a:gdLst>
              <a:ahLst/>
              <a:cxnLst>
                <a:cxn ang="0">
                  <a:pos x="T0" y="T1"/>
                </a:cxn>
                <a:cxn ang="0">
                  <a:pos x="T2" y="T3"/>
                </a:cxn>
                <a:cxn ang="0">
                  <a:pos x="T4" y="T5"/>
                </a:cxn>
              </a:cxnLst>
              <a:rect l="0" t="0" r="r" b="b"/>
              <a:pathLst>
                <a:path w="2" h="3">
                  <a:moveTo>
                    <a:pt x="0" y="1"/>
                  </a:moveTo>
                  <a:cubicBezTo>
                    <a:pt x="0" y="1"/>
                    <a:pt x="0" y="3"/>
                    <a:pt x="0" y="3"/>
                  </a:cubicBezTo>
                  <a:cubicBezTo>
                    <a:pt x="0" y="3"/>
                    <a:pt x="2"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91" name="Freeform 2344">
              <a:extLst>
                <a:ext uri="{FF2B5EF4-FFF2-40B4-BE49-F238E27FC236}">
                  <a16:creationId xmlns:a16="http://schemas.microsoft.com/office/drawing/2014/main" id="{64F97C79-95A2-4A92-BFBB-4E9B77733862}"/>
                </a:ext>
              </a:extLst>
            </p:cNvPr>
            <p:cNvSpPr>
              <a:spLocks/>
            </p:cNvSpPr>
            <p:nvPr/>
          </p:nvSpPr>
          <p:spPr bwMode="auto">
            <a:xfrm>
              <a:off x="6689" y="1962"/>
              <a:ext cx="5" cy="10"/>
            </a:xfrm>
            <a:custGeom>
              <a:avLst/>
              <a:gdLst>
                <a:gd name="T0" fmla="*/ 2 w 2"/>
                <a:gd name="T1" fmla="*/ 2 h 4"/>
                <a:gd name="T2" fmla="*/ 2 w 2"/>
                <a:gd name="T3" fmla="*/ 0 h 4"/>
                <a:gd name="T4" fmla="*/ 0 w 2"/>
                <a:gd name="T5" fmla="*/ 0 h 4"/>
                <a:gd name="T6" fmla="*/ 0 w 2"/>
                <a:gd name="T7" fmla="*/ 4 h 4"/>
                <a:gd name="T8" fmla="*/ 2 w 2"/>
                <a:gd name="T9" fmla="*/ 2 h 4"/>
              </a:gdLst>
              <a:ahLst/>
              <a:cxnLst>
                <a:cxn ang="0">
                  <a:pos x="T0" y="T1"/>
                </a:cxn>
                <a:cxn ang="0">
                  <a:pos x="T2" y="T3"/>
                </a:cxn>
                <a:cxn ang="0">
                  <a:pos x="T4" y="T5"/>
                </a:cxn>
                <a:cxn ang="0">
                  <a:pos x="T6" y="T7"/>
                </a:cxn>
                <a:cxn ang="0">
                  <a:pos x="T8" y="T9"/>
                </a:cxn>
              </a:cxnLst>
              <a:rect l="0" t="0" r="r" b="b"/>
              <a:pathLst>
                <a:path w="2" h="4">
                  <a:moveTo>
                    <a:pt x="2" y="2"/>
                  </a:moveTo>
                  <a:cubicBezTo>
                    <a:pt x="2" y="2"/>
                    <a:pt x="2" y="1"/>
                    <a:pt x="2" y="0"/>
                  </a:cubicBezTo>
                  <a:cubicBezTo>
                    <a:pt x="1" y="0"/>
                    <a:pt x="1" y="0"/>
                    <a:pt x="0" y="0"/>
                  </a:cubicBezTo>
                  <a:cubicBezTo>
                    <a:pt x="0" y="1"/>
                    <a:pt x="0" y="3"/>
                    <a:pt x="0" y="4"/>
                  </a:cubicBezTo>
                  <a:cubicBezTo>
                    <a:pt x="1" y="4"/>
                    <a:pt x="2" y="3"/>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92" name="Freeform 2345">
              <a:extLst>
                <a:ext uri="{FF2B5EF4-FFF2-40B4-BE49-F238E27FC236}">
                  <a16:creationId xmlns:a16="http://schemas.microsoft.com/office/drawing/2014/main" id="{CAE10F0C-50B2-4280-A181-266BD118DC95}"/>
                </a:ext>
              </a:extLst>
            </p:cNvPr>
            <p:cNvSpPr>
              <a:spLocks/>
            </p:cNvSpPr>
            <p:nvPr/>
          </p:nvSpPr>
          <p:spPr bwMode="auto">
            <a:xfrm>
              <a:off x="6545" y="2171"/>
              <a:ext cx="7" cy="9"/>
            </a:xfrm>
            <a:custGeom>
              <a:avLst/>
              <a:gdLst>
                <a:gd name="T0" fmla="*/ 2 w 3"/>
                <a:gd name="T1" fmla="*/ 2 h 4"/>
                <a:gd name="T2" fmla="*/ 3 w 3"/>
                <a:gd name="T3" fmla="*/ 0 h 4"/>
                <a:gd name="T4" fmla="*/ 0 w 3"/>
                <a:gd name="T5" fmla="*/ 2 h 4"/>
                <a:gd name="T6" fmla="*/ 2 w 3"/>
                <a:gd name="T7" fmla="*/ 2 h 4"/>
              </a:gdLst>
              <a:ahLst/>
              <a:cxnLst>
                <a:cxn ang="0">
                  <a:pos x="T0" y="T1"/>
                </a:cxn>
                <a:cxn ang="0">
                  <a:pos x="T2" y="T3"/>
                </a:cxn>
                <a:cxn ang="0">
                  <a:pos x="T4" y="T5"/>
                </a:cxn>
                <a:cxn ang="0">
                  <a:pos x="T6" y="T7"/>
                </a:cxn>
              </a:cxnLst>
              <a:rect l="0" t="0" r="r" b="b"/>
              <a:pathLst>
                <a:path w="3" h="4">
                  <a:moveTo>
                    <a:pt x="2" y="2"/>
                  </a:moveTo>
                  <a:cubicBezTo>
                    <a:pt x="2" y="1"/>
                    <a:pt x="3" y="1"/>
                    <a:pt x="3" y="0"/>
                  </a:cubicBezTo>
                  <a:cubicBezTo>
                    <a:pt x="2" y="1"/>
                    <a:pt x="1" y="1"/>
                    <a:pt x="0" y="2"/>
                  </a:cubicBezTo>
                  <a:cubicBezTo>
                    <a:pt x="1" y="4"/>
                    <a:pt x="2" y="3"/>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93" name="Freeform 2346">
              <a:extLst>
                <a:ext uri="{FF2B5EF4-FFF2-40B4-BE49-F238E27FC236}">
                  <a16:creationId xmlns:a16="http://schemas.microsoft.com/office/drawing/2014/main" id="{3B37B11F-E197-4D17-9DDA-9731FD487BC7}"/>
                </a:ext>
              </a:extLst>
            </p:cNvPr>
            <p:cNvSpPr>
              <a:spLocks/>
            </p:cNvSpPr>
            <p:nvPr/>
          </p:nvSpPr>
          <p:spPr bwMode="auto">
            <a:xfrm>
              <a:off x="6696" y="2019"/>
              <a:ext cx="9" cy="5"/>
            </a:xfrm>
            <a:custGeom>
              <a:avLst/>
              <a:gdLst>
                <a:gd name="T0" fmla="*/ 3 w 4"/>
                <a:gd name="T1" fmla="*/ 2 h 2"/>
                <a:gd name="T2" fmla="*/ 2 w 4"/>
                <a:gd name="T3" fmla="*/ 0 h 2"/>
                <a:gd name="T4" fmla="*/ 1 w 4"/>
                <a:gd name="T5" fmla="*/ 1 h 2"/>
                <a:gd name="T6" fmla="*/ 3 w 4"/>
                <a:gd name="T7" fmla="*/ 2 h 2"/>
              </a:gdLst>
              <a:ahLst/>
              <a:cxnLst>
                <a:cxn ang="0">
                  <a:pos x="T0" y="T1"/>
                </a:cxn>
                <a:cxn ang="0">
                  <a:pos x="T2" y="T3"/>
                </a:cxn>
                <a:cxn ang="0">
                  <a:pos x="T4" y="T5"/>
                </a:cxn>
                <a:cxn ang="0">
                  <a:pos x="T6" y="T7"/>
                </a:cxn>
              </a:cxnLst>
              <a:rect l="0" t="0" r="r" b="b"/>
              <a:pathLst>
                <a:path w="4" h="2">
                  <a:moveTo>
                    <a:pt x="3" y="2"/>
                  </a:moveTo>
                  <a:cubicBezTo>
                    <a:pt x="4" y="1"/>
                    <a:pt x="3" y="0"/>
                    <a:pt x="2" y="0"/>
                  </a:cubicBezTo>
                  <a:cubicBezTo>
                    <a:pt x="1" y="0"/>
                    <a:pt x="0" y="0"/>
                    <a:pt x="1" y="1"/>
                  </a:cubicBezTo>
                  <a:cubicBezTo>
                    <a:pt x="1" y="2"/>
                    <a:pt x="2" y="2"/>
                    <a:pt x="3"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94" name="Freeform 2347">
              <a:extLst>
                <a:ext uri="{FF2B5EF4-FFF2-40B4-BE49-F238E27FC236}">
                  <a16:creationId xmlns:a16="http://schemas.microsoft.com/office/drawing/2014/main" id="{7E9A975E-82AB-404B-B3DE-CDA84EAF6B8D}"/>
                </a:ext>
              </a:extLst>
            </p:cNvPr>
            <p:cNvSpPr>
              <a:spLocks/>
            </p:cNvSpPr>
            <p:nvPr/>
          </p:nvSpPr>
          <p:spPr bwMode="auto">
            <a:xfrm>
              <a:off x="6668" y="2071"/>
              <a:ext cx="11" cy="10"/>
            </a:xfrm>
            <a:custGeom>
              <a:avLst/>
              <a:gdLst>
                <a:gd name="T0" fmla="*/ 1 w 5"/>
                <a:gd name="T1" fmla="*/ 3 h 4"/>
                <a:gd name="T2" fmla="*/ 2 w 5"/>
                <a:gd name="T3" fmla="*/ 3 h 4"/>
                <a:gd name="T4" fmla="*/ 5 w 5"/>
                <a:gd name="T5" fmla="*/ 0 h 4"/>
                <a:gd name="T6" fmla="*/ 3 w 5"/>
                <a:gd name="T7" fmla="*/ 1 h 4"/>
                <a:gd name="T8" fmla="*/ 0 w 5"/>
                <a:gd name="T9" fmla="*/ 2 h 4"/>
                <a:gd name="T10" fmla="*/ 1 w 5"/>
                <a:gd name="T11" fmla="*/ 3 h 4"/>
              </a:gdLst>
              <a:ahLst/>
              <a:cxnLst>
                <a:cxn ang="0">
                  <a:pos x="T0" y="T1"/>
                </a:cxn>
                <a:cxn ang="0">
                  <a:pos x="T2" y="T3"/>
                </a:cxn>
                <a:cxn ang="0">
                  <a:pos x="T4" y="T5"/>
                </a:cxn>
                <a:cxn ang="0">
                  <a:pos x="T6" y="T7"/>
                </a:cxn>
                <a:cxn ang="0">
                  <a:pos x="T8" y="T9"/>
                </a:cxn>
                <a:cxn ang="0">
                  <a:pos x="T10" y="T11"/>
                </a:cxn>
              </a:cxnLst>
              <a:rect l="0" t="0" r="r" b="b"/>
              <a:pathLst>
                <a:path w="5" h="4">
                  <a:moveTo>
                    <a:pt x="1" y="3"/>
                  </a:moveTo>
                  <a:cubicBezTo>
                    <a:pt x="2" y="3"/>
                    <a:pt x="1" y="3"/>
                    <a:pt x="2" y="3"/>
                  </a:cubicBezTo>
                  <a:cubicBezTo>
                    <a:pt x="3" y="4"/>
                    <a:pt x="4" y="1"/>
                    <a:pt x="5" y="0"/>
                  </a:cubicBezTo>
                  <a:cubicBezTo>
                    <a:pt x="4" y="0"/>
                    <a:pt x="3" y="1"/>
                    <a:pt x="3" y="1"/>
                  </a:cubicBezTo>
                  <a:cubicBezTo>
                    <a:pt x="2" y="1"/>
                    <a:pt x="1" y="2"/>
                    <a:pt x="0" y="2"/>
                  </a:cubicBezTo>
                  <a:cubicBezTo>
                    <a:pt x="1" y="2"/>
                    <a:pt x="1" y="3"/>
                    <a:pt x="1"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95" name="Freeform 2348">
              <a:extLst>
                <a:ext uri="{FF2B5EF4-FFF2-40B4-BE49-F238E27FC236}">
                  <a16:creationId xmlns:a16="http://schemas.microsoft.com/office/drawing/2014/main" id="{055B9714-AF9E-4569-95B1-12C8F6B1C680}"/>
                </a:ext>
              </a:extLst>
            </p:cNvPr>
            <p:cNvSpPr>
              <a:spLocks/>
            </p:cNvSpPr>
            <p:nvPr/>
          </p:nvSpPr>
          <p:spPr bwMode="auto">
            <a:xfrm>
              <a:off x="3745" y="1721"/>
              <a:ext cx="41" cy="69"/>
            </a:xfrm>
            <a:custGeom>
              <a:avLst/>
              <a:gdLst>
                <a:gd name="T0" fmla="*/ 16 w 17"/>
                <a:gd name="T1" fmla="*/ 4 h 29"/>
                <a:gd name="T2" fmla="*/ 14 w 17"/>
                <a:gd name="T3" fmla="*/ 4 h 29"/>
                <a:gd name="T4" fmla="*/ 14 w 17"/>
                <a:gd name="T5" fmla="*/ 1 h 29"/>
                <a:gd name="T6" fmla="*/ 11 w 17"/>
                <a:gd name="T7" fmla="*/ 0 h 29"/>
                <a:gd name="T8" fmla="*/ 3 w 17"/>
                <a:gd name="T9" fmla="*/ 5 h 29"/>
                <a:gd name="T10" fmla="*/ 1 w 17"/>
                <a:gd name="T11" fmla="*/ 3 h 29"/>
                <a:gd name="T12" fmla="*/ 0 w 17"/>
                <a:gd name="T13" fmla="*/ 5 h 29"/>
                <a:gd name="T14" fmla="*/ 0 w 17"/>
                <a:gd name="T15" fmla="*/ 6 h 29"/>
                <a:gd name="T16" fmla="*/ 0 w 17"/>
                <a:gd name="T17" fmla="*/ 8 h 29"/>
                <a:gd name="T18" fmla="*/ 2 w 17"/>
                <a:gd name="T19" fmla="*/ 8 h 29"/>
                <a:gd name="T20" fmla="*/ 3 w 17"/>
                <a:gd name="T21" fmla="*/ 10 h 29"/>
                <a:gd name="T22" fmla="*/ 3 w 17"/>
                <a:gd name="T23" fmla="*/ 14 h 29"/>
                <a:gd name="T24" fmla="*/ 3 w 17"/>
                <a:gd name="T25" fmla="*/ 15 h 29"/>
                <a:gd name="T26" fmla="*/ 4 w 17"/>
                <a:gd name="T27" fmla="*/ 18 h 29"/>
                <a:gd name="T28" fmla="*/ 3 w 17"/>
                <a:gd name="T29" fmla="*/ 20 h 29"/>
                <a:gd name="T30" fmla="*/ 3 w 17"/>
                <a:gd name="T31" fmla="*/ 21 h 29"/>
                <a:gd name="T32" fmla="*/ 2 w 17"/>
                <a:gd name="T33" fmla="*/ 26 h 29"/>
                <a:gd name="T34" fmla="*/ 2 w 17"/>
                <a:gd name="T35" fmla="*/ 26 h 29"/>
                <a:gd name="T36" fmla="*/ 5 w 17"/>
                <a:gd name="T37" fmla="*/ 28 h 29"/>
                <a:gd name="T38" fmla="*/ 8 w 17"/>
                <a:gd name="T39" fmla="*/ 28 h 29"/>
                <a:gd name="T40" fmla="*/ 10 w 17"/>
                <a:gd name="T41" fmla="*/ 24 h 29"/>
                <a:gd name="T42" fmla="*/ 10 w 17"/>
                <a:gd name="T43" fmla="*/ 24 h 29"/>
                <a:gd name="T44" fmla="*/ 11 w 17"/>
                <a:gd name="T45" fmla="*/ 24 h 29"/>
                <a:gd name="T46" fmla="*/ 12 w 17"/>
                <a:gd name="T47" fmla="*/ 25 h 29"/>
                <a:gd name="T48" fmla="*/ 14 w 17"/>
                <a:gd name="T49" fmla="*/ 26 h 29"/>
                <a:gd name="T50" fmla="*/ 17 w 17"/>
                <a:gd name="T51" fmla="*/ 10 h 29"/>
                <a:gd name="T52" fmla="*/ 17 w 17"/>
                <a:gd name="T53" fmla="*/ 7 h 29"/>
                <a:gd name="T54" fmla="*/ 16 w 17"/>
                <a:gd name="T55"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 h="29">
                  <a:moveTo>
                    <a:pt x="16" y="4"/>
                  </a:moveTo>
                  <a:cubicBezTo>
                    <a:pt x="15" y="4"/>
                    <a:pt x="14" y="4"/>
                    <a:pt x="14" y="4"/>
                  </a:cubicBezTo>
                  <a:cubicBezTo>
                    <a:pt x="14" y="3"/>
                    <a:pt x="15" y="2"/>
                    <a:pt x="14" y="1"/>
                  </a:cubicBezTo>
                  <a:cubicBezTo>
                    <a:pt x="13" y="1"/>
                    <a:pt x="12" y="0"/>
                    <a:pt x="11" y="0"/>
                  </a:cubicBezTo>
                  <a:cubicBezTo>
                    <a:pt x="9" y="1"/>
                    <a:pt x="6" y="5"/>
                    <a:pt x="3" y="5"/>
                  </a:cubicBezTo>
                  <a:cubicBezTo>
                    <a:pt x="2" y="5"/>
                    <a:pt x="2" y="4"/>
                    <a:pt x="1" y="3"/>
                  </a:cubicBezTo>
                  <a:cubicBezTo>
                    <a:pt x="1" y="4"/>
                    <a:pt x="1" y="4"/>
                    <a:pt x="0" y="5"/>
                  </a:cubicBezTo>
                  <a:cubicBezTo>
                    <a:pt x="0" y="6"/>
                    <a:pt x="0" y="6"/>
                    <a:pt x="0" y="6"/>
                  </a:cubicBezTo>
                  <a:cubicBezTo>
                    <a:pt x="0" y="6"/>
                    <a:pt x="0" y="7"/>
                    <a:pt x="0" y="8"/>
                  </a:cubicBezTo>
                  <a:cubicBezTo>
                    <a:pt x="0" y="7"/>
                    <a:pt x="1" y="8"/>
                    <a:pt x="2" y="8"/>
                  </a:cubicBezTo>
                  <a:cubicBezTo>
                    <a:pt x="2" y="8"/>
                    <a:pt x="3" y="10"/>
                    <a:pt x="3" y="10"/>
                  </a:cubicBezTo>
                  <a:cubicBezTo>
                    <a:pt x="4" y="12"/>
                    <a:pt x="3" y="12"/>
                    <a:pt x="3" y="14"/>
                  </a:cubicBezTo>
                  <a:cubicBezTo>
                    <a:pt x="3" y="14"/>
                    <a:pt x="3" y="14"/>
                    <a:pt x="3" y="15"/>
                  </a:cubicBezTo>
                  <a:cubicBezTo>
                    <a:pt x="3" y="16"/>
                    <a:pt x="4" y="17"/>
                    <a:pt x="4" y="18"/>
                  </a:cubicBezTo>
                  <a:cubicBezTo>
                    <a:pt x="4" y="18"/>
                    <a:pt x="3" y="20"/>
                    <a:pt x="3" y="20"/>
                  </a:cubicBezTo>
                  <a:cubicBezTo>
                    <a:pt x="3" y="20"/>
                    <a:pt x="3" y="21"/>
                    <a:pt x="3" y="21"/>
                  </a:cubicBezTo>
                  <a:cubicBezTo>
                    <a:pt x="2" y="22"/>
                    <a:pt x="3" y="24"/>
                    <a:pt x="2" y="26"/>
                  </a:cubicBezTo>
                  <a:cubicBezTo>
                    <a:pt x="2" y="26"/>
                    <a:pt x="2" y="25"/>
                    <a:pt x="2" y="26"/>
                  </a:cubicBezTo>
                  <a:cubicBezTo>
                    <a:pt x="4" y="26"/>
                    <a:pt x="4" y="27"/>
                    <a:pt x="5" y="28"/>
                  </a:cubicBezTo>
                  <a:cubicBezTo>
                    <a:pt x="5" y="29"/>
                    <a:pt x="7" y="28"/>
                    <a:pt x="8" y="28"/>
                  </a:cubicBezTo>
                  <a:cubicBezTo>
                    <a:pt x="9" y="27"/>
                    <a:pt x="9" y="25"/>
                    <a:pt x="10" y="24"/>
                  </a:cubicBezTo>
                  <a:cubicBezTo>
                    <a:pt x="10" y="24"/>
                    <a:pt x="10" y="24"/>
                    <a:pt x="10" y="24"/>
                  </a:cubicBezTo>
                  <a:cubicBezTo>
                    <a:pt x="11" y="25"/>
                    <a:pt x="11" y="24"/>
                    <a:pt x="11" y="24"/>
                  </a:cubicBezTo>
                  <a:cubicBezTo>
                    <a:pt x="12" y="24"/>
                    <a:pt x="12" y="24"/>
                    <a:pt x="12" y="25"/>
                  </a:cubicBezTo>
                  <a:cubicBezTo>
                    <a:pt x="13" y="25"/>
                    <a:pt x="14" y="25"/>
                    <a:pt x="14" y="26"/>
                  </a:cubicBezTo>
                  <a:cubicBezTo>
                    <a:pt x="16" y="20"/>
                    <a:pt x="16" y="15"/>
                    <a:pt x="17" y="10"/>
                  </a:cubicBezTo>
                  <a:cubicBezTo>
                    <a:pt x="17" y="9"/>
                    <a:pt x="17" y="8"/>
                    <a:pt x="17" y="7"/>
                  </a:cubicBezTo>
                  <a:cubicBezTo>
                    <a:pt x="17" y="7"/>
                    <a:pt x="16" y="5"/>
                    <a:pt x="16" y="4"/>
                  </a:cubicBezTo>
                  <a:close/>
                </a:path>
              </a:pathLst>
            </a:custGeom>
            <a:solidFill>
              <a:srgbClr val="00A5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96" name="Freeform 2349">
              <a:extLst>
                <a:ext uri="{FF2B5EF4-FFF2-40B4-BE49-F238E27FC236}">
                  <a16:creationId xmlns:a16="http://schemas.microsoft.com/office/drawing/2014/main" id="{830B705F-62AD-4177-A4E6-5972095AFE34}"/>
                </a:ext>
              </a:extLst>
            </p:cNvPr>
            <p:cNvSpPr>
              <a:spLocks/>
            </p:cNvSpPr>
            <p:nvPr/>
          </p:nvSpPr>
          <p:spPr bwMode="auto">
            <a:xfrm>
              <a:off x="3838" y="1844"/>
              <a:ext cx="0" cy="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97" name="Freeform 2350">
              <a:extLst>
                <a:ext uri="{FF2B5EF4-FFF2-40B4-BE49-F238E27FC236}">
                  <a16:creationId xmlns:a16="http://schemas.microsoft.com/office/drawing/2014/main" id="{91AF78FB-689E-4154-BD4A-CD3845B38F1C}"/>
                </a:ext>
              </a:extLst>
            </p:cNvPr>
            <p:cNvSpPr>
              <a:spLocks/>
            </p:cNvSpPr>
            <p:nvPr/>
          </p:nvSpPr>
          <p:spPr bwMode="auto">
            <a:xfrm>
              <a:off x="3793" y="1671"/>
              <a:ext cx="9" cy="7"/>
            </a:xfrm>
            <a:custGeom>
              <a:avLst/>
              <a:gdLst>
                <a:gd name="T0" fmla="*/ 2 w 4"/>
                <a:gd name="T1" fmla="*/ 1 h 3"/>
                <a:gd name="T2" fmla="*/ 1 w 4"/>
                <a:gd name="T3" fmla="*/ 1 h 3"/>
                <a:gd name="T4" fmla="*/ 0 w 4"/>
                <a:gd name="T5" fmla="*/ 2 h 3"/>
                <a:gd name="T6" fmla="*/ 3 w 4"/>
                <a:gd name="T7" fmla="*/ 3 h 3"/>
                <a:gd name="T8" fmla="*/ 2 w 4"/>
                <a:gd name="T9" fmla="*/ 1 h 3"/>
              </a:gdLst>
              <a:ahLst/>
              <a:cxnLst>
                <a:cxn ang="0">
                  <a:pos x="T0" y="T1"/>
                </a:cxn>
                <a:cxn ang="0">
                  <a:pos x="T2" y="T3"/>
                </a:cxn>
                <a:cxn ang="0">
                  <a:pos x="T4" y="T5"/>
                </a:cxn>
                <a:cxn ang="0">
                  <a:pos x="T6" y="T7"/>
                </a:cxn>
                <a:cxn ang="0">
                  <a:pos x="T8" y="T9"/>
                </a:cxn>
              </a:cxnLst>
              <a:rect l="0" t="0" r="r" b="b"/>
              <a:pathLst>
                <a:path w="4" h="3">
                  <a:moveTo>
                    <a:pt x="2" y="1"/>
                  </a:moveTo>
                  <a:cubicBezTo>
                    <a:pt x="2" y="1"/>
                    <a:pt x="1" y="1"/>
                    <a:pt x="1" y="1"/>
                  </a:cubicBezTo>
                  <a:cubicBezTo>
                    <a:pt x="1" y="2"/>
                    <a:pt x="0" y="1"/>
                    <a:pt x="0" y="2"/>
                  </a:cubicBezTo>
                  <a:cubicBezTo>
                    <a:pt x="1" y="2"/>
                    <a:pt x="2" y="2"/>
                    <a:pt x="3" y="3"/>
                  </a:cubicBezTo>
                  <a:cubicBezTo>
                    <a:pt x="4" y="0"/>
                    <a:pt x="4"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98" name="Freeform 2351">
              <a:extLst>
                <a:ext uri="{FF2B5EF4-FFF2-40B4-BE49-F238E27FC236}">
                  <a16:creationId xmlns:a16="http://schemas.microsoft.com/office/drawing/2014/main" id="{B3DCCB95-CA41-4A41-8D35-A825731AE171}"/>
                </a:ext>
              </a:extLst>
            </p:cNvPr>
            <p:cNvSpPr>
              <a:spLocks/>
            </p:cNvSpPr>
            <p:nvPr/>
          </p:nvSpPr>
          <p:spPr bwMode="auto">
            <a:xfrm>
              <a:off x="3847" y="1804"/>
              <a:ext cx="80" cy="45"/>
            </a:xfrm>
            <a:custGeom>
              <a:avLst/>
              <a:gdLst>
                <a:gd name="T0" fmla="*/ 29 w 34"/>
                <a:gd name="T1" fmla="*/ 8 h 19"/>
                <a:gd name="T2" fmla="*/ 34 w 34"/>
                <a:gd name="T3" fmla="*/ 0 h 19"/>
                <a:gd name="T4" fmla="*/ 26 w 34"/>
                <a:gd name="T5" fmla="*/ 2 h 19"/>
                <a:gd name="T6" fmla="*/ 19 w 34"/>
                <a:gd name="T7" fmla="*/ 3 h 19"/>
                <a:gd name="T8" fmla="*/ 11 w 34"/>
                <a:gd name="T9" fmla="*/ 2 h 19"/>
                <a:gd name="T10" fmla="*/ 10 w 34"/>
                <a:gd name="T11" fmla="*/ 1 h 19"/>
                <a:gd name="T12" fmla="*/ 5 w 34"/>
                <a:gd name="T13" fmla="*/ 3 h 19"/>
                <a:gd name="T14" fmla="*/ 4 w 34"/>
                <a:gd name="T15" fmla="*/ 2 h 19"/>
                <a:gd name="T16" fmla="*/ 3 w 34"/>
                <a:gd name="T17" fmla="*/ 2 h 19"/>
                <a:gd name="T18" fmla="*/ 1 w 34"/>
                <a:gd name="T19" fmla="*/ 6 h 19"/>
                <a:gd name="T20" fmla="*/ 3 w 34"/>
                <a:gd name="T21" fmla="*/ 9 h 19"/>
                <a:gd name="T22" fmla="*/ 5 w 34"/>
                <a:gd name="T23" fmla="*/ 9 h 19"/>
                <a:gd name="T24" fmla="*/ 8 w 34"/>
                <a:gd name="T25" fmla="*/ 10 h 19"/>
                <a:gd name="T26" fmla="*/ 17 w 34"/>
                <a:gd name="T27" fmla="*/ 14 h 19"/>
                <a:gd name="T28" fmla="*/ 21 w 34"/>
                <a:gd name="T29" fmla="*/ 17 h 19"/>
                <a:gd name="T30" fmla="*/ 22 w 34"/>
                <a:gd name="T31" fmla="*/ 18 h 19"/>
                <a:gd name="T32" fmla="*/ 28 w 34"/>
                <a:gd name="T33" fmla="*/ 19 h 19"/>
                <a:gd name="T34" fmla="*/ 31 w 34"/>
                <a:gd name="T35" fmla="*/ 15 h 19"/>
                <a:gd name="T36" fmla="*/ 28 w 34"/>
                <a:gd name="T37" fmla="*/ 12 h 19"/>
                <a:gd name="T38" fmla="*/ 29 w 34"/>
                <a:gd name="T39"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 h="19">
                  <a:moveTo>
                    <a:pt x="29" y="8"/>
                  </a:moveTo>
                  <a:cubicBezTo>
                    <a:pt x="30" y="5"/>
                    <a:pt x="32" y="3"/>
                    <a:pt x="34" y="0"/>
                  </a:cubicBezTo>
                  <a:cubicBezTo>
                    <a:pt x="31" y="1"/>
                    <a:pt x="28" y="2"/>
                    <a:pt x="26" y="2"/>
                  </a:cubicBezTo>
                  <a:cubicBezTo>
                    <a:pt x="24" y="2"/>
                    <a:pt x="21" y="4"/>
                    <a:pt x="19" y="3"/>
                  </a:cubicBezTo>
                  <a:cubicBezTo>
                    <a:pt x="16" y="3"/>
                    <a:pt x="14" y="3"/>
                    <a:pt x="11" y="2"/>
                  </a:cubicBezTo>
                  <a:cubicBezTo>
                    <a:pt x="10" y="2"/>
                    <a:pt x="11" y="1"/>
                    <a:pt x="10" y="1"/>
                  </a:cubicBezTo>
                  <a:cubicBezTo>
                    <a:pt x="9" y="1"/>
                    <a:pt x="7" y="3"/>
                    <a:pt x="5" y="3"/>
                  </a:cubicBezTo>
                  <a:cubicBezTo>
                    <a:pt x="4" y="3"/>
                    <a:pt x="5" y="2"/>
                    <a:pt x="4" y="2"/>
                  </a:cubicBezTo>
                  <a:cubicBezTo>
                    <a:pt x="4" y="2"/>
                    <a:pt x="4" y="1"/>
                    <a:pt x="3" y="2"/>
                  </a:cubicBezTo>
                  <a:cubicBezTo>
                    <a:pt x="3" y="3"/>
                    <a:pt x="0" y="6"/>
                    <a:pt x="1" y="6"/>
                  </a:cubicBezTo>
                  <a:cubicBezTo>
                    <a:pt x="2" y="7"/>
                    <a:pt x="2" y="8"/>
                    <a:pt x="3" y="9"/>
                  </a:cubicBezTo>
                  <a:cubicBezTo>
                    <a:pt x="4" y="9"/>
                    <a:pt x="5" y="9"/>
                    <a:pt x="5" y="9"/>
                  </a:cubicBezTo>
                  <a:cubicBezTo>
                    <a:pt x="6" y="9"/>
                    <a:pt x="8" y="10"/>
                    <a:pt x="8" y="10"/>
                  </a:cubicBezTo>
                  <a:cubicBezTo>
                    <a:pt x="11" y="11"/>
                    <a:pt x="14" y="13"/>
                    <a:pt x="17" y="14"/>
                  </a:cubicBezTo>
                  <a:cubicBezTo>
                    <a:pt x="19" y="15"/>
                    <a:pt x="20" y="15"/>
                    <a:pt x="21" y="17"/>
                  </a:cubicBezTo>
                  <a:cubicBezTo>
                    <a:pt x="21" y="17"/>
                    <a:pt x="21" y="17"/>
                    <a:pt x="22" y="18"/>
                  </a:cubicBezTo>
                  <a:cubicBezTo>
                    <a:pt x="23" y="19"/>
                    <a:pt x="27" y="19"/>
                    <a:pt x="28" y="19"/>
                  </a:cubicBezTo>
                  <a:cubicBezTo>
                    <a:pt x="29" y="18"/>
                    <a:pt x="29" y="15"/>
                    <a:pt x="31" y="15"/>
                  </a:cubicBezTo>
                  <a:cubicBezTo>
                    <a:pt x="30" y="14"/>
                    <a:pt x="29" y="13"/>
                    <a:pt x="28" y="12"/>
                  </a:cubicBezTo>
                  <a:cubicBezTo>
                    <a:pt x="28" y="11"/>
                    <a:pt x="29" y="8"/>
                    <a:pt x="29" y="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099" name="Freeform 2352">
              <a:extLst>
                <a:ext uri="{FF2B5EF4-FFF2-40B4-BE49-F238E27FC236}">
                  <a16:creationId xmlns:a16="http://schemas.microsoft.com/office/drawing/2014/main" id="{BAAF644B-3780-4228-BAC6-A3FC5B21DF9F}"/>
                </a:ext>
              </a:extLst>
            </p:cNvPr>
            <p:cNvSpPr>
              <a:spLocks/>
            </p:cNvSpPr>
            <p:nvPr/>
          </p:nvSpPr>
          <p:spPr bwMode="auto">
            <a:xfrm>
              <a:off x="5675" y="2239"/>
              <a:ext cx="2" cy="7"/>
            </a:xfrm>
            <a:custGeom>
              <a:avLst/>
              <a:gdLst>
                <a:gd name="T0" fmla="*/ 0 w 1"/>
                <a:gd name="T1" fmla="*/ 3 h 3"/>
                <a:gd name="T2" fmla="*/ 1 w 1"/>
                <a:gd name="T3" fmla="*/ 0 h 3"/>
                <a:gd name="T4" fmla="*/ 0 w 1"/>
                <a:gd name="T5" fmla="*/ 3 h 3"/>
              </a:gdLst>
              <a:ahLst/>
              <a:cxnLst>
                <a:cxn ang="0">
                  <a:pos x="T0" y="T1"/>
                </a:cxn>
                <a:cxn ang="0">
                  <a:pos x="T2" y="T3"/>
                </a:cxn>
                <a:cxn ang="0">
                  <a:pos x="T4" y="T5"/>
                </a:cxn>
              </a:cxnLst>
              <a:rect l="0" t="0" r="r" b="b"/>
              <a:pathLst>
                <a:path w="1" h="3">
                  <a:moveTo>
                    <a:pt x="0" y="3"/>
                  </a:moveTo>
                  <a:cubicBezTo>
                    <a:pt x="1" y="2"/>
                    <a:pt x="1" y="1"/>
                    <a:pt x="1" y="0"/>
                  </a:cubicBezTo>
                  <a:cubicBezTo>
                    <a:pt x="1" y="1"/>
                    <a:pt x="0" y="2"/>
                    <a:pt x="0"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00" name="Freeform 2353">
              <a:extLst>
                <a:ext uri="{FF2B5EF4-FFF2-40B4-BE49-F238E27FC236}">
                  <a16:creationId xmlns:a16="http://schemas.microsoft.com/office/drawing/2014/main" id="{43FF2C38-C7A8-477D-8C27-ED5ABC1B5321}"/>
                </a:ext>
              </a:extLst>
            </p:cNvPr>
            <p:cNvSpPr>
              <a:spLocks/>
            </p:cNvSpPr>
            <p:nvPr/>
          </p:nvSpPr>
          <p:spPr bwMode="auto">
            <a:xfrm>
              <a:off x="5471" y="2528"/>
              <a:ext cx="5" cy="0"/>
            </a:xfrm>
            <a:custGeom>
              <a:avLst/>
              <a:gdLst>
                <a:gd name="T0" fmla="*/ 2 w 2"/>
                <a:gd name="T1" fmla="*/ 0 w 2"/>
                <a:gd name="T2" fmla="*/ 0 w 2"/>
                <a:gd name="T3" fmla="*/ 0 w 2"/>
                <a:gd name="T4" fmla="*/ 2 w 2"/>
              </a:gdLst>
              <a:ahLst/>
              <a:cxnLst>
                <a:cxn ang="0">
                  <a:pos x="T0" y="0"/>
                </a:cxn>
                <a:cxn ang="0">
                  <a:pos x="T1" y="0"/>
                </a:cxn>
                <a:cxn ang="0">
                  <a:pos x="T2" y="0"/>
                </a:cxn>
                <a:cxn ang="0">
                  <a:pos x="T3" y="0"/>
                </a:cxn>
                <a:cxn ang="0">
                  <a:pos x="T4" y="0"/>
                </a:cxn>
              </a:cxnLst>
              <a:rect l="0" t="0" r="r" b="b"/>
              <a:pathLst>
                <a:path w="2">
                  <a:moveTo>
                    <a:pt x="2" y="0"/>
                  </a:moveTo>
                  <a:cubicBezTo>
                    <a:pt x="1" y="0"/>
                    <a:pt x="1" y="0"/>
                    <a:pt x="0" y="0"/>
                  </a:cubicBezTo>
                  <a:cubicBezTo>
                    <a:pt x="0" y="0"/>
                    <a:pt x="0" y="0"/>
                    <a:pt x="0" y="0"/>
                  </a:cubicBezTo>
                  <a:cubicBezTo>
                    <a:pt x="0" y="0"/>
                    <a:pt x="0" y="0"/>
                    <a:pt x="0" y="0"/>
                  </a:cubicBezTo>
                  <a:cubicBezTo>
                    <a:pt x="1" y="0"/>
                    <a:pt x="1" y="0"/>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01" name="Freeform 2354">
              <a:extLst>
                <a:ext uri="{FF2B5EF4-FFF2-40B4-BE49-F238E27FC236}">
                  <a16:creationId xmlns:a16="http://schemas.microsoft.com/office/drawing/2014/main" id="{CBD81AFA-7DAC-4C66-805B-D68A131FCD59}"/>
                </a:ext>
              </a:extLst>
            </p:cNvPr>
            <p:cNvSpPr>
              <a:spLocks/>
            </p:cNvSpPr>
            <p:nvPr/>
          </p:nvSpPr>
          <p:spPr bwMode="auto">
            <a:xfrm>
              <a:off x="5677" y="2239"/>
              <a:ext cx="0" cy="3"/>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0"/>
                    <a:pt x="0" y="0"/>
                    <a:pt x="0" y="0"/>
                  </a:cubicBezTo>
                  <a:cubicBezTo>
                    <a:pt x="0" y="0"/>
                    <a:pt x="0" y="0"/>
                    <a:pt x="0" y="0"/>
                  </a:cubicBezTo>
                  <a:cubicBezTo>
                    <a:pt x="0" y="0"/>
                    <a:pt x="0"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02" name="Freeform 2355">
              <a:extLst>
                <a:ext uri="{FF2B5EF4-FFF2-40B4-BE49-F238E27FC236}">
                  <a16:creationId xmlns:a16="http://schemas.microsoft.com/office/drawing/2014/main" id="{311F1832-0293-471E-B573-6ABA6358D0A6}"/>
                </a:ext>
              </a:extLst>
            </p:cNvPr>
            <p:cNvSpPr>
              <a:spLocks/>
            </p:cNvSpPr>
            <p:nvPr/>
          </p:nvSpPr>
          <p:spPr bwMode="auto">
            <a:xfrm>
              <a:off x="3433" y="1314"/>
              <a:ext cx="12" cy="12"/>
            </a:xfrm>
            <a:custGeom>
              <a:avLst/>
              <a:gdLst>
                <a:gd name="T0" fmla="*/ 2 w 5"/>
                <a:gd name="T1" fmla="*/ 1 h 5"/>
                <a:gd name="T2" fmla="*/ 1 w 5"/>
                <a:gd name="T3" fmla="*/ 3 h 5"/>
                <a:gd name="T4" fmla="*/ 0 w 5"/>
                <a:gd name="T5" fmla="*/ 5 h 5"/>
                <a:gd name="T6" fmla="*/ 4 w 5"/>
                <a:gd name="T7" fmla="*/ 3 h 5"/>
                <a:gd name="T8" fmla="*/ 5 w 5"/>
                <a:gd name="T9" fmla="*/ 1 h 5"/>
                <a:gd name="T10" fmla="*/ 4 w 5"/>
                <a:gd name="T11" fmla="*/ 0 h 5"/>
                <a:gd name="T12" fmla="*/ 2 w 5"/>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2" y="1"/>
                  </a:moveTo>
                  <a:cubicBezTo>
                    <a:pt x="2" y="2"/>
                    <a:pt x="1" y="2"/>
                    <a:pt x="1" y="3"/>
                  </a:cubicBezTo>
                  <a:cubicBezTo>
                    <a:pt x="0" y="4"/>
                    <a:pt x="0" y="4"/>
                    <a:pt x="0" y="5"/>
                  </a:cubicBezTo>
                  <a:cubicBezTo>
                    <a:pt x="2" y="5"/>
                    <a:pt x="3" y="4"/>
                    <a:pt x="4" y="3"/>
                  </a:cubicBezTo>
                  <a:cubicBezTo>
                    <a:pt x="4" y="3"/>
                    <a:pt x="5" y="2"/>
                    <a:pt x="5" y="1"/>
                  </a:cubicBezTo>
                  <a:cubicBezTo>
                    <a:pt x="5" y="1"/>
                    <a:pt x="4" y="1"/>
                    <a:pt x="4" y="0"/>
                  </a:cubicBezTo>
                  <a:cubicBezTo>
                    <a:pt x="4" y="0"/>
                    <a:pt x="3"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03" name="Freeform 2356">
              <a:extLst>
                <a:ext uri="{FF2B5EF4-FFF2-40B4-BE49-F238E27FC236}">
                  <a16:creationId xmlns:a16="http://schemas.microsoft.com/office/drawing/2014/main" id="{978FE142-51C5-4277-BDC9-67DB6E0A15B3}"/>
                </a:ext>
              </a:extLst>
            </p:cNvPr>
            <p:cNvSpPr>
              <a:spLocks/>
            </p:cNvSpPr>
            <p:nvPr/>
          </p:nvSpPr>
          <p:spPr bwMode="auto">
            <a:xfrm>
              <a:off x="5842" y="2639"/>
              <a:ext cx="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04" name="Freeform 2357">
              <a:extLst>
                <a:ext uri="{FF2B5EF4-FFF2-40B4-BE49-F238E27FC236}">
                  <a16:creationId xmlns:a16="http://schemas.microsoft.com/office/drawing/2014/main" id="{715FFECA-0C80-4B6B-AF73-4D218D7DBFB8}"/>
                </a:ext>
              </a:extLst>
            </p:cNvPr>
            <p:cNvSpPr>
              <a:spLocks/>
            </p:cNvSpPr>
            <p:nvPr/>
          </p:nvSpPr>
          <p:spPr bwMode="auto">
            <a:xfrm>
              <a:off x="6069" y="2774"/>
              <a:ext cx="3" cy="2"/>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1" y="1"/>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05" name="Freeform 2358">
              <a:extLst>
                <a:ext uri="{FF2B5EF4-FFF2-40B4-BE49-F238E27FC236}">
                  <a16:creationId xmlns:a16="http://schemas.microsoft.com/office/drawing/2014/main" id="{37493F8F-3C6E-4D8C-96EB-DD42BDC23E48}"/>
                </a:ext>
              </a:extLst>
            </p:cNvPr>
            <p:cNvSpPr>
              <a:spLocks/>
            </p:cNvSpPr>
            <p:nvPr/>
          </p:nvSpPr>
          <p:spPr bwMode="auto">
            <a:xfrm>
              <a:off x="6694" y="2776"/>
              <a:ext cx="28" cy="12"/>
            </a:xfrm>
            <a:custGeom>
              <a:avLst/>
              <a:gdLst>
                <a:gd name="T0" fmla="*/ 2 w 12"/>
                <a:gd name="T1" fmla="*/ 3 h 5"/>
                <a:gd name="T2" fmla="*/ 3 w 12"/>
                <a:gd name="T3" fmla="*/ 3 h 5"/>
                <a:gd name="T4" fmla="*/ 3 w 12"/>
                <a:gd name="T5" fmla="*/ 5 h 5"/>
                <a:gd name="T6" fmla="*/ 4 w 12"/>
                <a:gd name="T7" fmla="*/ 4 h 5"/>
                <a:gd name="T8" fmla="*/ 5 w 12"/>
                <a:gd name="T9" fmla="*/ 5 h 5"/>
                <a:gd name="T10" fmla="*/ 7 w 12"/>
                <a:gd name="T11" fmla="*/ 4 h 5"/>
                <a:gd name="T12" fmla="*/ 9 w 12"/>
                <a:gd name="T13" fmla="*/ 4 h 5"/>
                <a:gd name="T14" fmla="*/ 10 w 12"/>
                <a:gd name="T15" fmla="*/ 4 h 5"/>
                <a:gd name="T16" fmla="*/ 11 w 12"/>
                <a:gd name="T17" fmla="*/ 2 h 5"/>
                <a:gd name="T18" fmla="*/ 9 w 12"/>
                <a:gd name="T19" fmla="*/ 1 h 5"/>
                <a:gd name="T20" fmla="*/ 8 w 12"/>
                <a:gd name="T21" fmla="*/ 1 h 5"/>
                <a:gd name="T22" fmla="*/ 6 w 12"/>
                <a:gd name="T23" fmla="*/ 0 h 5"/>
                <a:gd name="T24" fmla="*/ 0 w 12"/>
                <a:gd name="T25" fmla="*/ 3 h 5"/>
                <a:gd name="T26" fmla="*/ 2 w 12"/>
                <a:gd name="T2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5">
                  <a:moveTo>
                    <a:pt x="2" y="3"/>
                  </a:moveTo>
                  <a:cubicBezTo>
                    <a:pt x="2" y="3"/>
                    <a:pt x="3" y="3"/>
                    <a:pt x="3" y="3"/>
                  </a:cubicBezTo>
                  <a:cubicBezTo>
                    <a:pt x="3" y="3"/>
                    <a:pt x="3" y="4"/>
                    <a:pt x="3" y="5"/>
                  </a:cubicBezTo>
                  <a:cubicBezTo>
                    <a:pt x="3" y="4"/>
                    <a:pt x="3" y="4"/>
                    <a:pt x="4" y="4"/>
                  </a:cubicBezTo>
                  <a:cubicBezTo>
                    <a:pt x="5" y="3"/>
                    <a:pt x="5" y="5"/>
                    <a:pt x="5" y="5"/>
                  </a:cubicBezTo>
                  <a:cubicBezTo>
                    <a:pt x="6" y="5"/>
                    <a:pt x="8" y="5"/>
                    <a:pt x="7" y="4"/>
                  </a:cubicBezTo>
                  <a:cubicBezTo>
                    <a:pt x="8" y="4"/>
                    <a:pt x="8" y="4"/>
                    <a:pt x="9" y="4"/>
                  </a:cubicBezTo>
                  <a:cubicBezTo>
                    <a:pt x="9" y="4"/>
                    <a:pt x="10" y="4"/>
                    <a:pt x="10" y="4"/>
                  </a:cubicBezTo>
                  <a:cubicBezTo>
                    <a:pt x="12" y="4"/>
                    <a:pt x="11" y="2"/>
                    <a:pt x="11" y="2"/>
                  </a:cubicBezTo>
                  <a:cubicBezTo>
                    <a:pt x="10" y="2"/>
                    <a:pt x="9" y="1"/>
                    <a:pt x="9" y="1"/>
                  </a:cubicBezTo>
                  <a:cubicBezTo>
                    <a:pt x="8" y="1"/>
                    <a:pt x="8" y="1"/>
                    <a:pt x="8" y="1"/>
                  </a:cubicBezTo>
                  <a:cubicBezTo>
                    <a:pt x="7" y="1"/>
                    <a:pt x="7" y="1"/>
                    <a:pt x="6" y="0"/>
                  </a:cubicBezTo>
                  <a:cubicBezTo>
                    <a:pt x="4" y="1"/>
                    <a:pt x="2" y="2"/>
                    <a:pt x="0" y="3"/>
                  </a:cubicBezTo>
                  <a:cubicBezTo>
                    <a:pt x="1" y="3"/>
                    <a:pt x="1" y="3"/>
                    <a:pt x="2"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06" name="Freeform 2359">
              <a:extLst>
                <a:ext uri="{FF2B5EF4-FFF2-40B4-BE49-F238E27FC236}">
                  <a16:creationId xmlns:a16="http://schemas.microsoft.com/office/drawing/2014/main" id="{2149D515-E074-4F78-AB40-6CBDCD3794CF}"/>
                </a:ext>
              </a:extLst>
            </p:cNvPr>
            <p:cNvSpPr>
              <a:spLocks/>
            </p:cNvSpPr>
            <p:nvPr/>
          </p:nvSpPr>
          <p:spPr bwMode="auto">
            <a:xfrm>
              <a:off x="6540" y="2975"/>
              <a:ext cx="12" cy="9"/>
            </a:xfrm>
            <a:custGeom>
              <a:avLst/>
              <a:gdLst>
                <a:gd name="T0" fmla="*/ 2 w 5"/>
                <a:gd name="T1" fmla="*/ 3 h 4"/>
                <a:gd name="T2" fmla="*/ 3 w 5"/>
                <a:gd name="T3" fmla="*/ 4 h 4"/>
                <a:gd name="T4" fmla="*/ 5 w 5"/>
                <a:gd name="T5" fmla="*/ 0 h 4"/>
                <a:gd name="T6" fmla="*/ 1 w 5"/>
                <a:gd name="T7" fmla="*/ 2 h 4"/>
                <a:gd name="T8" fmla="*/ 2 w 5"/>
                <a:gd name="T9" fmla="*/ 3 h 4"/>
              </a:gdLst>
              <a:ahLst/>
              <a:cxnLst>
                <a:cxn ang="0">
                  <a:pos x="T0" y="T1"/>
                </a:cxn>
                <a:cxn ang="0">
                  <a:pos x="T2" y="T3"/>
                </a:cxn>
                <a:cxn ang="0">
                  <a:pos x="T4" y="T5"/>
                </a:cxn>
                <a:cxn ang="0">
                  <a:pos x="T6" y="T7"/>
                </a:cxn>
                <a:cxn ang="0">
                  <a:pos x="T8" y="T9"/>
                </a:cxn>
              </a:cxnLst>
              <a:rect l="0" t="0" r="r" b="b"/>
              <a:pathLst>
                <a:path w="5" h="4">
                  <a:moveTo>
                    <a:pt x="2" y="3"/>
                  </a:moveTo>
                  <a:cubicBezTo>
                    <a:pt x="2" y="4"/>
                    <a:pt x="2" y="4"/>
                    <a:pt x="3" y="4"/>
                  </a:cubicBezTo>
                  <a:cubicBezTo>
                    <a:pt x="4" y="3"/>
                    <a:pt x="5" y="1"/>
                    <a:pt x="5" y="0"/>
                  </a:cubicBezTo>
                  <a:cubicBezTo>
                    <a:pt x="3" y="1"/>
                    <a:pt x="2" y="1"/>
                    <a:pt x="1" y="2"/>
                  </a:cubicBezTo>
                  <a:cubicBezTo>
                    <a:pt x="0" y="3"/>
                    <a:pt x="1" y="3"/>
                    <a:pt x="2"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07" name="Freeform 2360">
              <a:extLst>
                <a:ext uri="{FF2B5EF4-FFF2-40B4-BE49-F238E27FC236}">
                  <a16:creationId xmlns:a16="http://schemas.microsoft.com/office/drawing/2014/main" id="{61902915-AFC8-4DE3-851A-B72D360994E6}"/>
                </a:ext>
              </a:extLst>
            </p:cNvPr>
            <p:cNvSpPr>
              <a:spLocks/>
            </p:cNvSpPr>
            <p:nvPr/>
          </p:nvSpPr>
          <p:spPr bwMode="auto">
            <a:xfrm>
              <a:off x="6067" y="2786"/>
              <a:ext cx="10" cy="7"/>
            </a:xfrm>
            <a:custGeom>
              <a:avLst/>
              <a:gdLst>
                <a:gd name="T0" fmla="*/ 1 w 4"/>
                <a:gd name="T1" fmla="*/ 3 h 3"/>
                <a:gd name="T2" fmla="*/ 2 w 4"/>
                <a:gd name="T3" fmla="*/ 3 h 3"/>
                <a:gd name="T4" fmla="*/ 2 w 4"/>
                <a:gd name="T5" fmla="*/ 0 h 3"/>
                <a:gd name="T6" fmla="*/ 1 w 4"/>
                <a:gd name="T7" fmla="*/ 1 h 3"/>
                <a:gd name="T8" fmla="*/ 0 w 4"/>
                <a:gd name="T9" fmla="*/ 1 h 3"/>
                <a:gd name="T10" fmla="*/ 1 w 4"/>
                <a:gd name="T11" fmla="*/ 3 h 3"/>
                <a:gd name="T12" fmla="*/ 1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1" y="3"/>
                  </a:moveTo>
                  <a:cubicBezTo>
                    <a:pt x="1" y="3"/>
                    <a:pt x="2" y="3"/>
                    <a:pt x="2" y="3"/>
                  </a:cubicBezTo>
                  <a:cubicBezTo>
                    <a:pt x="4" y="2"/>
                    <a:pt x="3" y="1"/>
                    <a:pt x="2" y="0"/>
                  </a:cubicBezTo>
                  <a:cubicBezTo>
                    <a:pt x="1" y="1"/>
                    <a:pt x="1" y="0"/>
                    <a:pt x="1" y="1"/>
                  </a:cubicBezTo>
                  <a:cubicBezTo>
                    <a:pt x="0" y="0"/>
                    <a:pt x="0" y="0"/>
                    <a:pt x="0" y="1"/>
                  </a:cubicBezTo>
                  <a:cubicBezTo>
                    <a:pt x="0" y="1"/>
                    <a:pt x="0" y="2"/>
                    <a:pt x="1" y="3"/>
                  </a:cubicBezTo>
                  <a:cubicBezTo>
                    <a:pt x="1" y="3"/>
                    <a:pt x="1" y="3"/>
                    <a:pt x="1"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08" name="Freeform 2361">
              <a:extLst>
                <a:ext uri="{FF2B5EF4-FFF2-40B4-BE49-F238E27FC236}">
                  <a16:creationId xmlns:a16="http://schemas.microsoft.com/office/drawing/2014/main" id="{A3E3D980-BE80-474C-AD94-D860AB726BB6}"/>
                </a:ext>
              </a:extLst>
            </p:cNvPr>
            <p:cNvSpPr>
              <a:spLocks/>
            </p:cNvSpPr>
            <p:nvPr/>
          </p:nvSpPr>
          <p:spPr bwMode="auto">
            <a:xfrm>
              <a:off x="6095" y="2921"/>
              <a:ext cx="223" cy="68"/>
            </a:xfrm>
            <a:custGeom>
              <a:avLst/>
              <a:gdLst>
                <a:gd name="T0" fmla="*/ 86 w 94"/>
                <a:gd name="T1" fmla="*/ 27 h 29"/>
                <a:gd name="T2" fmla="*/ 94 w 94"/>
                <a:gd name="T3" fmla="*/ 29 h 29"/>
                <a:gd name="T4" fmla="*/ 91 w 94"/>
                <a:gd name="T5" fmla="*/ 25 h 29"/>
                <a:gd name="T6" fmla="*/ 92 w 94"/>
                <a:gd name="T7" fmla="*/ 22 h 29"/>
                <a:gd name="T8" fmla="*/ 90 w 94"/>
                <a:gd name="T9" fmla="*/ 19 h 29"/>
                <a:gd name="T10" fmla="*/ 87 w 94"/>
                <a:gd name="T11" fmla="*/ 17 h 29"/>
                <a:gd name="T12" fmla="*/ 83 w 94"/>
                <a:gd name="T13" fmla="*/ 18 h 29"/>
                <a:gd name="T14" fmla="*/ 76 w 94"/>
                <a:gd name="T15" fmla="*/ 17 h 29"/>
                <a:gd name="T16" fmla="*/ 75 w 94"/>
                <a:gd name="T17" fmla="*/ 15 h 29"/>
                <a:gd name="T18" fmla="*/ 74 w 94"/>
                <a:gd name="T19" fmla="*/ 14 h 29"/>
                <a:gd name="T20" fmla="*/ 73 w 94"/>
                <a:gd name="T21" fmla="*/ 10 h 29"/>
                <a:gd name="T22" fmla="*/ 69 w 94"/>
                <a:gd name="T23" fmla="*/ 10 h 29"/>
                <a:gd name="T24" fmla="*/ 59 w 94"/>
                <a:gd name="T25" fmla="*/ 8 h 29"/>
                <a:gd name="T26" fmla="*/ 56 w 94"/>
                <a:gd name="T27" fmla="*/ 5 h 29"/>
                <a:gd name="T28" fmla="*/ 53 w 94"/>
                <a:gd name="T29" fmla="*/ 6 h 29"/>
                <a:gd name="T30" fmla="*/ 51 w 94"/>
                <a:gd name="T31" fmla="*/ 11 h 29"/>
                <a:gd name="T32" fmla="*/ 43 w 94"/>
                <a:gd name="T33" fmla="*/ 9 h 29"/>
                <a:gd name="T34" fmla="*/ 38 w 94"/>
                <a:gd name="T35" fmla="*/ 10 h 29"/>
                <a:gd name="T36" fmla="*/ 35 w 94"/>
                <a:gd name="T37" fmla="*/ 9 h 29"/>
                <a:gd name="T38" fmla="*/ 32 w 94"/>
                <a:gd name="T39" fmla="*/ 8 h 29"/>
                <a:gd name="T40" fmla="*/ 30 w 94"/>
                <a:gd name="T41" fmla="*/ 4 h 29"/>
                <a:gd name="T42" fmla="*/ 28 w 94"/>
                <a:gd name="T43" fmla="*/ 3 h 29"/>
                <a:gd name="T44" fmla="*/ 23 w 94"/>
                <a:gd name="T45" fmla="*/ 3 h 29"/>
                <a:gd name="T46" fmla="*/ 19 w 94"/>
                <a:gd name="T47" fmla="*/ 2 h 29"/>
                <a:gd name="T48" fmla="*/ 17 w 94"/>
                <a:gd name="T49" fmla="*/ 0 h 29"/>
                <a:gd name="T50" fmla="*/ 19 w 94"/>
                <a:gd name="T51" fmla="*/ 3 h 29"/>
                <a:gd name="T52" fmla="*/ 16 w 94"/>
                <a:gd name="T53" fmla="*/ 5 h 29"/>
                <a:gd name="T54" fmla="*/ 13 w 94"/>
                <a:gd name="T55" fmla="*/ 3 h 29"/>
                <a:gd name="T56" fmla="*/ 13 w 94"/>
                <a:gd name="T57" fmla="*/ 1 h 29"/>
                <a:gd name="T58" fmla="*/ 6 w 94"/>
                <a:gd name="T59" fmla="*/ 0 h 29"/>
                <a:gd name="T60" fmla="*/ 0 w 94"/>
                <a:gd name="T61" fmla="*/ 9 h 29"/>
                <a:gd name="T62" fmla="*/ 10 w 94"/>
                <a:gd name="T63" fmla="*/ 11 h 29"/>
                <a:gd name="T64" fmla="*/ 10 w 94"/>
                <a:gd name="T65" fmla="*/ 15 h 29"/>
                <a:gd name="T66" fmla="*/ 12 w 94"/>
                <a:gd name="T67" fmla="*/ 15 h 29"/>
                <a:gd name="T68" fmla="*/ 20 w 94"/>
                <a:gd name="T69" fmla="*/ 16 h 29"/>
                <a:gd name="T70" fmla="*/ 27 w 94"/>
                <a:gd name="T71" fmla="*/ 19 h 29"/>
                <a:gd name="T72" fmla="*/ 31 w 94"/>
                <a:gd name="T73" fmla="*/ 19 h 29"/>
                <a:gd name="T74" fmla="*/ 35 w 94"/>
                <a:gd name="T75" fmla="*/ 18 h 29"/>
                <a:gd name="T76" fmla="*/ 45 w 94"/>
                <a:gd name="T77" fmla="*/ 20 h 29"/>
                <a:gd name="T78" fmla="*/ 52 w 94"/>
                <a:gd name="T79" fmla="*/ 22 h 29"/>
                <a:gd name="T80" fmla="*/ 56 w 94"/>
                <a:gd name="T81" fmla="*/ 24 h 29"/>
                <a:gd name="T82" fmla="*/ 61 w 94"/>
                <a:gd name="T83" fmla="*/ 24 h 29"/>
                <a:gd name="T84" fmla="*/ 64 w 94"/>
                <a:gd name="T85" fmla="*/ 24 h 29"/>
                <a:gd name="T86" fmla="*/ 68 w 94"/>
                <a:gd name="T87" fmla="*/ 25 h 29"/>
                <a:gd name="T88" fmla="*/ 73 w 94"/>
                <a:gd name="T89" fmla="*/ 26 h 29"/>
                <a:gd name="T90" fmla="*/ 77 w 94"/>
                <a:gd name="T91" fmla="*/ 25 h 29"/>
                <a:gd name="T92" fmla="*/ 86 w 94"/>
                <a:gd name="T93"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4" h="29">
                  <a:moveTo>
                    <a:pt x="86" y="27"/>
                  </a:moveTo>
                  <a:cubicBezTo>
                    <a:pt x="88" y="28"/>
                    <a:pt x="91" y="28"/>
                    <a:pt x="94" y="29"/>
                  </a:cubicBezTo>
                  <a:cubicBezTo>
                    <a:pt x="92" y="28"/>
                    <a:pt x="91" y="27"/>
                    <a:pt x="91" y="25"/>
                  </a:cubicBezTo>
                  <a:cubicBezTo>
                    <a:pt x="91" y="24"/>
                    <a:pt x="91" y="23"/>
                    <a:pt x="92" y="22"/>
                  </a:cubicBezTo>
                  <a:cubicBezTo>
                    <a:pt x="92" y="20"/>
                    <a:pt x="92" y="20"/>
                    <a:pt x="90" y="19"/>
                  </a:cubicBezTo>
                  <a:cubicBezTo>
                    <a:pt x="90" y="18"/>
                    <a:pt x="88" y="17"/>
                    <a:pt x="87" y="17"/>
                  </a:cubicBezTo>
                  <a:cubicBezTo>
                    <a:pt x="86" y="17"/>
                    <a:pt x="84" y="18"/>
                    <a:pt x="83" y="18"/>
                  </a:cubicBezTo>
                  <a:cubicBezTo>
                    <a:pt x="80" y="19"/>
                    <a:pt x="78" y="19"/>
                    <a:pt x="76" y="17"/>
                  </a:cubicBezTo>
                  <a:cubicBezTo>
                    <a:pt x="75" y="17"/>
                    <a:pt x="75" y="16"/>
                    <a:pt x="75" y="15"/>
                  </a:cubicBezTo>
                  <a:cubicBezTo>
                    <a:pt x="75" y="14"/>
                    <a:pt x="74" y="14"/>
                    <a:pt x="74" y="14"/>
                  </a:cubicBezTo>
                  <a:cubicBezTo>
                    <a:pt x="73" y="13"/>
                    <a:pt x="73" y="12"/>
                    <a:pt x="73" y="10"/>
                  </a:cubicBezTo>
                  <a:cubicBezTo>
                    <a:pt x="73" y="9"/>
                    <a:pt x="70" y="10"/>
                    <a:pt x="69" y="10"/>
                  </a:cubicBezTo>
                  <a:cubicBezTo>
                    <a:pt x="65" y="9"/>
                    <a:pt x="63" y="8"/>
                    <a:pt x="59" y="8"/>
                  </a:cubicBezTo>
                  <a:cubicBezTo>
                    <a:pt x="58" y="8"/>
                    <a:pt x="57" y="6"/>
                    <a:pt x="56" y="5"/>
                  </a:cubicBezTo>
                  <a:cubicBezTo>
                    <a:pt x="56" y="5"/>
                    <a:pt x="54" y="6"/>
                    <a:pt x="53" y="6"/>
                  </a:cubicBezTo>
                  <a:cubicBezTo>
                    <a:pt x="53" y="7"/>
                    <a:pt x="52" y="11"/>
                    <a:pt x="51" y="11"/>
                  </a:cubicBezTo>
                  <a:cubicBezTo>
                    <a:pt x="48" y="10"/>
                    <a:pt x="45" y="10"/>
                    <a:pt x="43" y="9"/>
                  </a:cubicBezTo>
                  <a:cubicBezTo>
                    <a:pt x="41" y="9"/>
                    <a:pt x="40" y="10"/>
                    <a:pt x="38" y="10"/>
                  </a:cubicBezTo>
                  <a:cubicBezTo>
                    <a:pt x="37" y="9"/>
                    <a:pt x="36" y="9"/>
                    <a:pt x="35" y="9"/>
                  </a:cubicBezTo>
                  <a:cubicBezTo>
                    <a:pt x="34" y="9"/>
                    <a:pt x="32" y="9"/>
                    <a:pt x="32" y="8"/>
                  </a:cubicBezTo>
                  <a:cubicBezTo>
                    <a:pt x="32" y="6"/>
                    <a:pt x="31" y="5"/>
                    <a:pt x="30" y="4"/>
                  </a:cubicBezTo>
                  <a:cubicBezTo>
                    <a:pt x="29" y="3"/>
                    <a:pt x="29" y="3"/>
                    <a:pt x="28" y="3"/>
                  </a:cubicBezTo>
                  <a:cubicBezTo>
                    <a:pt x="26" y="3"/>
                    <a:pt x="25" y="3"/>
                    <a:pt x="23" y="3"/>
                  </a:cubicBezTo>
                  <a:cubicBezTo>
                    <a:pt x="22" y="3"/>
                    <a:pt x="21" y="2"/>
                    <a:pt x="19" y="2"/>
                  </a:cubicBezTo>
                  <a:cubicBezTo>
                    <a:pt x="19" y="2"/>
                    <a:pt x="18" y="1"/>
                    <a:pt x="17" y="0"/>
                  </a:cubicBezTo>
                  <a:cubicBezTo>
                    <a:pt x="18" y="1"/>
                    <a:pt x="19" y="2"/>
                    <a:pt x="19" y="3"/>
                  </a:cubicBezTo>
                  <a:cubicBezTo>
                    <a:pt x="19" y="4"/>
                    <a:pt x="17" y="5"/>
                    <a:pt x="16" y="5"/>
                  </a:cubicBezTo>
                  <a:cubicBezTo>
                    <a:pt x="14" y="5"/>
                    <a:pt x="13" y="4"/>
                    <a:pt x="13" y="3"/>
                  </a:cubicBezTo>
                  <a:cubicBezTo>
                    <a:pt x="13" y="2"/>
                    <a:pt x="13" y="2"/>
                    <a:pt x="13" y="1"/>
                  </a:cubicBezTo>
                  <a:cubicBezTo>
                    <a:pt x="11" y="1"/>
                    <a:pt x="8" y="0"/>
                    <a:pt x="6" y="0"/>
                  </a:cubicBezTo>
                  <a:cubicBezTo>
                    <a:pt x="4" y="2"/>
                    <a:pt x="2" y="6"/>
                    <a:pt x="0" y="9"/>
                  </a:cubicBezTo>
                  <a:cubicBezTo>
                    <a:pt x="4" y="9"/>
                    <a:pt x="7" y="10"/>
                    <a:pt x="10" y="11"/>
                  </a:cubicBezTo>
                  <a:cubicBezTo>
                    <a:pt x="12" y="12"/>
                    <a:pt x="10" y="13"/>
                    <a:pt x="10" y="15"/>
                  </a:cubicBezTo>
                  <a:cubicBezTo>
                    <a:pt x="10" y="15"/>
                    <a:pt x="11" y="15"/>
                    <a:pt x="12" y="15"/>
                  </a:cubicBezTo>
                  <a:cubicBezTo>
                    <a:pt x="15" y="16"/>
                    <a:pt x="17" y="16"/>
                    <a:pt x="20" y="16"/>
                  </a:cubicBezTo>
                  <a:cubicBezTo>
                    <a:pt x="22" y="16"/>
                    <a:pt x="24" y="18"/>
                    <a:pt x="27" y="19"/>
                  </a:cubicBezTo>
                  <a:cubicBezTo>
                    <a:pt x="28" y="19"/>
                    <a:pt x="29" y="19"/>
                    <a:pt x="31" y="19"/>
                  </a:cubicBezTo>
                  <a:cubicBezTo>
                    <a:pt x="32" y="18"/>
                    <a:pt x="33" y="18"/>
                    <a:pt x="35" y="18"/>
                  </a:cubicBezTo>
                  <a:cubicBezTo>
                    <a:pt x="38" y="18"/>
                    <a:pt x="41" y="19"/>
                    <a:pt x="45" y="20"/>
                  </a:cubicBezTo>
                  <a:cubicBezTo>
                    <a:pt x="47" y="20"/>
                    <a:pt x="50" y="21"/>
                    <a:pt x="52" y="22"/>
                  </a:cubicBezTo>
                  <a:cubicBezTo>
                    <a:pt x="54" y="23"/>
                    <a:pt x="55" y="24"/>
                    <a:pt x="56" y="24"/>
                  </a:cubicBezTo>
                  <a:cubicBezTo>
                    <a:pt x="58" y="24"/>
                    <a:pt x="60" y="24"/>
                    <a:pt x="61" y="24"/>
                  </a:cubicBezTo>
                  <a:cubicBezTo>
                    <a:pt x="62" y="24"/>
                    <a:pt x="64" y="26"/>
                    <a:pt x="64" y="24"/>
                  </a:cubicBezTo>
                  <a:cubicBezTo>
                    <a:pt x="65" y="24"/>
                    <a:pt x="67" y="24"/>
                    <a:pt x="68" y="25"/>
                  </a:cubicBezTo>
                  <a:cubicBezTo>
                    <a:pt x="70" y="25"/>
                    <a:pt x="72" y="25"/>
                    <a:pt x="73" y="26"/>
                  </a:cubicBezTo>
                  <a:cubicBezTo>
                    <a:pt x="74" y="26"/>
                    <a:pt x="76" y="25"/>
                    <a:pt x="77" y="25"/>
                  </a:cubicBezTo>
                  <a:cubicBezTo>
                    <a:pt x="80" y="24"/>
                    <a:pt x="82" y="25"/>
                    <a:pt x="86" y="27"/>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09" name="Freeform 2362">
              <a:extLst>
                <a:ext uri="{FF2B5EF4-FFF2-40B4-BE49-F238E27FC236}">
                  <a16:creationId xmlns:a16="http://schemas.microsoft.com/office/drawing/2014/main" id="{03ABF3CE-7F30-4C70-8FD0-CD03BB433FD0}"/>
                </a:ext>
              </a:extLst>
            </p:cNvPr>
            <p:cNvSpPr>
              <a:spLocks/>
            </p:cNvSpPr>
            <p:nvPr/>
          </p:nvSpPr>
          <p:spPr bwMode="auto">
            <a:xfrm>
              <a:off x="6015" y="2743"/>
              <a:ext cx="10" cy="12"/>
            </a:xfrm>
            <a:custGeom>
              <a:avLst/>
              <a:gdLst>
                <a:gd name="T0" fmla="*/ 2 w 4"/>
                <a:gd name="T1" fmla="*/ 5 h 5"/>
                <a:gd name="T2" fmla="*/ 3 w 4"/>
                <a:gd name="T3" fmla="*/ 1 h 5"/>
                <a:gd name="T4" fmla="*/ 1 w 4"/>
                <a:gd name="T5" fmla="*/ 0 h 5"/>
                <a:gd name="T6" fmla="*/ 2 w 4"/>
                <a:gd name="T7" fmla="*/ 5 h 5"/>
              </a:gdLst>
              <a:ahLst/>
              <a:cxnLst>
                <a:cxn ang="0">
                  <a:pos x="T0" y="T1"/>
                </a:cxn>
                <a:cxn ang="0">
                  <a:pos x="T2" y="T3"/>
                </a:cxn>
                <a:cxn ang="0">
                  <a:pos x="T4" y="T5"/>
                </a:cxn>
                <a:cxn ang="0">
                  <a:pos x="T6" y="T7"/>
                </a:cxn>
              </a:cxnLst>
              <a:rect l="0" t="0" r="r" b="b"/>
              <a:pathLst>
                <a:path w="4" h="5">
                  <a:moveTo>
                    <a:pt x="2" y="5"/>
                  </a:moveTo>
                  <a:cubicBezTo>
                    <a:pt x="3" y="3"/>
                    <a:pt x="4" y="2"/>
                    <a:pt x="3" y="1"/>
                  </a:cubicBezTo>
                  <a:cubicBezTo>
                    <a:pt x="2" y="1"/>
                    <a:pt x="2" y="0"/>
                    <a:pt x="1" y="0"/>
                  </a:cubicBezTo>
                  <a:cubicBezTo>
                    <a:pt x="0" y="1"/>
                    <a:pt x="2" y="4"/>
                    <a:pt x="2"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10" name="Freeform 2363">
              <a:extLst>
                <a:ext uri="{FF2B5EF4-FFF2-40B4-BE49-F238E27FC236}">
                  <a16:creationId xmlns:a16="http://schemas.microsoft.com/office/drawing/2014/main" id="{74943E6B-A100-464F-A6ED-3FC4E92CE890}"/>
                </a:ext>
              </a:extLst>
            </p:cNvPr>
            <p:cNvSpPr>
              <a:spLocks/>
            </p:cNvSpPr>
            <p:nvPr/>
          </p:nvSpPr>
          <p:spPr bwMode="auto">
            <a:xfrm>
              <a:off x="6554" y="2814"/>
              <a:ext cx="21" cy="12"/>
            </a:xfrm>
            <a:custGeom>
              <a:avLst/>
              <a:gdLst>
                <a:gd name="T0" fmla="*/ 8 w 9"/>
                <a:gd name="T1" fmla="*/ 3 h 5"/>
                <a:gd name="T2" fmla="*/ 8 w 9"/>
                <a:gd name="T3" fmla="*/ 2 h 5"/>
                <a:gd name="T4" fmla="*/ 7 w 9"/>
                <a:gd name="T5" fmla="*/ 2 h 5"/>
                <a:gd name="T6" fmla="*/ 6 w 9"/>
                <a:gd name="T7" fmla="*/ 2 h 5"/>
                <a:gd name="T8" fmla="*/ 6 w 9"/>
                <a:gd name="T9" fmla="*/ 2 h 5"/>
                <a:gd name="T10" fmla="*/ 0 w 9"/>
                <a:gd name="T11" fmla="*/ 1 h 5"/>
                <a:gd name="T12" fmla="*/ 0 w 9"/>
                <a:gd name="T13" fmla="*/ 5 h 5"/>
                <a:gd name="T14" fmla="*/ 3 w 9"/>
                <a:gd name="T15" fmla="*/ 4 h 5"/>
                <a:gd name="T16" fmla="*/ 4 w 9"/>
                <a:gd name="T17" fmla="*/ 4 h 5"/>
                <a:gd name="T18" fmla="*/ 8 w 9"/>
                <a:gd name="T19" fmla="*/ 4 h 5"/>
                <a:gd name="T20" fmla="*/ 9 w 9"/>
                <a:gd name="T21" fmla="*/ 3 h 5"/>
                <a:gd name="T22" fmla="*/ 9 w 9"/>
                <a:gd name="T23" fmla="*/ 2 h 5"/>
                <a:gd name="T24" fmla="*/ 8 w 9"/>
                <a:gd name="T25" fmla="*/ 2 h 5"/>
                <a:gd name="T26" fmla="*/ 8 w 9"/>
                <a:gd name="T2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5">
                  <a:moveTo>
                    <a:pt x="8" y="3"/>
                  </a:moveTo>
                  <a:cubicBezTo>
                    <a:pt x="8" y="3"/>
                    <a:pt x="8" y="2"/>
                    <a:pt x="8" y="2"/>
                  </a:cubicBezTo>
                  <a:cubicBezTo>
                    <a:pt x="7" y="2"/>
                    <a:pt x="7" y="2"/>
                    <a:pt x="7" y="2"/>
                  </a:cubicBezTo>
                  <a:cubicBezTo>
                    <a:pt x="7" y="2"/>
                    <a:pt x="7" y="2"/>
                    <a:pt x="6" y="2"/>
                  </a:cubicBezTo>
                  <a:cubicBezTo>
                    <a:pt x="6" y="2"/>
                    <a:pt x="6" y="2"/>
                    <a:pt x="6" y="2"/>
                  </a:cubicBezTo>
                  <a:cubicBezTo>
                    <a:pt x="4" y="2"/>
                    <a:pt x="1" y="0"/>
                    <a:pt x="0" y="1"/>
                  </a:cubicBezTo>
                  <a:cubicBezTo>
                    <a:pt x="0" y="3"/>
                    <a:pt x="0" y="4"/>
                    <a:pt x="0" y="5"/>
                  </a:cubicBezTo>
                  <a:cubicBezTo>
                    <a:pt x="1" y="5"/>
                    <a:pt x="2" y="5"/>
                    <a:pt x="3" y="4"/>
                  </a:cubicBezTo>
                  <a:cubicBezTo>
                    <a:pt x="3" y="4"/>
                    <a:pt x="3" y="4"/>
                    <a:pt x="4" y="4"/>
                  </a:cubicBezTo>
                  <a:cubicBezTo>
                    <a:pt x="5" y="4"/>
                    <a:pt x="7" y="4"/>
                    <a:pt x="8" y="4"/>
                  </a:cubicBezTo>
                  <a:cubicBezTo>
                    <a:pt x="9" y="3"/>
                    <a:pt x="9" y="4"/>
                    <a:pt x="9" y="3"/>
                  </a:cubicBezTo>
                  <a:cubicBezTo>
                    <a:pt x="9" y="3"/>
                    <a:pt x="9" y="2"/>
                    <a:pt x="9" y="2"/>
                  </a:cubicBezTo>
                  <a:cubicBezTo>
                    <a:pt x="8" y="2"/>
                    <a:pt x="8" y="2"/>
                    <a:pt x="8" y="2"/>
                  </a:cubicBezTo>
                  <a:cubicBezTo>
                    <a:pt x="8" y="2"/>
                    <a:pt x="8" y="3"/>
                    <a:pt x="8"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11" name="Freeform 2364">
              <a:extLst>
                <a:ext uri="{FF2B5EF4-FFF2-40B4-BE49-F238E27FC236}">
                  <a16:creationId xmlns:a16="http://schemas.microsoft.com/office/drawing/2014/main" id="{832C80A3-8D86-4D10-ABDD-9120437A28DE}"/>
                </a:ext>
              </a:extLst>
            </p:cNvPr>
            <p:cNvSpPr>
              <a:spLocks/>
            </p:cNvSpPr>
            <p:nvPr/>
          </p:nvSpPr>
          <p:spPr bwMode="auto">
            <a:xfrm>
              <a:off x="6526" y="2975"/>
              <a:ext cx="16" cy="9"/>
            </a:xfrm>
            <a:custGeom>
              <a:avLst/>
              <a:gdLst>
                <a:gd name="T0" fmla="*/ 3 w 7"/>
                <a:gd name="T1" fmla="*/ 4 h 4"/>
                <a:gd name="T2" fmla="*/ 3 w 7"/>
                <a:gd name="T3" fmla="*/ 3 h 4"/>
                <a:gd name="T4" fmla="*/ 3 w 7"/>
                <a:gd name="T5" fmla="*/ 3 h 4"/>
                <a:gd name="T6" fmla="*/ 4 w 7"/>
                <a:gd name="T7" fmla="*/ 3 h 4"/>
                <a:gd name="T8" fmla="*/ 7 w 7"/>
                <a:gd name="T9" fmla="*/ 1 h 4"/>
                <a:gd name="T10" fmla="*/ 4 w 7"/>
                <a:gd name="T11" fmla="*/ 1 h 4"/>
                <a:gd name="T12" fmla="*/ 4 w 7"/>
                <a:gd name="T13" fmla="*/ 1 h 4"/>
                <a:gd name="T14" fmla="*/ 4 w 7"/>
                <a:gd name="T15" fmla="*/ 1 h 4"/>
                <a:gd name="T16" fmla="*/ 3 w 7"/>
                <a:gd name="T17" fmla="*/ 2 h 4"/>
                <a:gd name="T18" fmla="*/ 1 w 7"/>
                <a:gd name="T19" fmla="*/ 1 h 4"/>
                <a:gd name="T20" fmla="*/ 0 w 7"/>
                <a:gd name="T21" fmla="*/ 4 h 4"/>
                <a:gd name="T22" fmla="*/ 2 w 7"/>
                <a:gd name="T23" fmla="*/ 4 h 4"/>
                <a:gd name="T24" fmla="*/ 3 w 7"/>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4">
                  <a:moveTo>
                    <a:pt x="3" y="4"/>
                  </a:moveTo>
                  <a:cubicBezTo>
                    <a:pt x="3" y="4"/>
                    <a:pt x="3" y="3"/>
                    <a:pt x="3" y="3"/>
                  </a:cubicBezTo>
                  <a:cubicBezTo>
                    <a:pt x="3" y="4"/>
                    <a:pt x="3" y="3"/>
                    <a:pt x="3" y="3"/>
                  </a:cubicBezTo>
                  <a:cubicBezTo>
                    <a:pt x="4" y="3"/>
                    <a:pt x="4" y="3"/>
                    <a:pt x="4" y="3"/>
                  </a:cubicBezTo>
                  <a:cubicBezTo>
                    <a:pt x="5" y="2"/>
                    <a:pt x="6" y="1"/>
                    <a:pt x="7" y="1"/>
                  </a:cubicBezTo>
                  <a:cubicBezTo>
                    <a:pt x="6" y="0"/>
                    <a:pt x="5" y="0"/>
                    <a:pt x="4" y="1"/>
                  </a:cubicBezTo>
                  <a:cubicBezTo>
                    <a:pt x="4" y="1"/>
                    <a:pt x="4" y="0"/>
                    <a:pt x="4" y="1"/>
                  </a:cubicBezTo>
                  <a:cubicBezTo>
                    <a:pt x="4" y="1"/>
                    <a:pt x="4" y="1"/>
                    <a:pt x="4" y="1"/>
                  </a:cubicBezTo>
                  <a:cubicBezTo>
                    <a:pt x="3" y="2"/>
                    <a:pt x="3" y="2"/>
                    <a:pt x="3" y="2"/>
                  </a:cubicBezTo>
                  <a:cubicBezTo>
                    <a:pt x="2" y="2"/>
                    <a:pt x="4" y="0"/>
                    <a:pt x="1" y="1"/>
                  </a:cubicBezTo>
                  <a:cubicBezTo>
                    <a:pt x="3" y="2"/>
                    <a:pt x="0" y="3"/>
                    <a:pt x="0" y="4"/>
                  </a:cubicBezTo>
                  <a:cubicBezTo>
                    <a:pt x="0" y="4"/>
                    <a:pt x="1" y="4"/>
                    <a:pt x="2" y="4"/>
                  </a:cubicBezTo>
                  <a:cubicBezTo>
                    <a:pt x="2" y="4"/>
                    <a:pt x="3" y="4"/>
                    <a:pt x="3"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12" name="Freeform 2365">
              <a:extLst>
                <a:ext uri="{FF2B5EF4-FFF2-40B4-BE49-F238E27FC236}">
                  <a16:creationId xmlns:a16="http://schemas.microsoft.com/office/drawing/2014/main" id="{5587B7C4-F085-436B-832B-9C39C4F22826}"/>
                </a:ext>
              </a:extLst>
            </p:cNvPr>
            <p:cNvSpPr>
              <a:spLocks/>
            </p:cNvSpPr>
            <p:nvPr/>
          </p:nvSpPr>
          <p:spPr bwMode="auto">
            <a:xfrm>
              <a:off x="5949" y="2826"/>
              <a:ext cx="12" cy="9"/>
            </a:xfrm>
            <a:custGeom>
              <a:avLst/>
              <a:gdLst>
                <a:gd name="T0" fmla="*/ 2 w 5"/>
                <a:gd name="T1" fmla="*/ 0 h 4"/>
                <a:gd name="T2" fmla="*/ 5 w 5"/>
                <a:gd name="T3" fmla="*/ 4 h 4"/>
                <a:gd name="T4" fmla="*/ 3 w 5"/>
                <a:gd name="T5" fmla="*/ 1 h 4"/>
                <a:gd name="T6" fmla="*/ 2 w 5"/>
                <a:gd name="T7" fmla="*/ 0 h 4"/>
              </a:gdLst>
              <a:ahLst/>
              <a:cxnLst>
                <a:cxn ang="0">
                  <a:pos x="T0" y="T1"/>
                </a:cxn>
                <a:cxn ang="0">
                  <a:pos x="T2" y="T3"/>
                </a:cxn>
                <a:cxn ang="0">
                  <a:pos x="T4" y="T5"/>
                </a:cxn>
                <a:cxn ang="0">
                  <a:pos x="T6" y="T7"/>
                </a:cxn>
              </a:cxnLst>
              <a:rect l="0" t="0" r="r" b="b"/>
              <a:pathLst>
                <a:path w="5" h="4">
                  <a:moveTo>
                    <a:pt x="2" y="0"/>
                  </a:moveTo>
                  <a:cubicBezTo>
                    <a:pt x="0" y="2"/>
                    <a:pt x="4" y="3"/>
                    <a:pt x="5" y="4"/>
                  </a:cubicBezTo>
                  <a:cubicBezTo>
                    <a:pt x="5" y="3"/>
                    <a:pt x="4" y="1"/>
                    <a:pt x="3" y="1"/>
                  </a:cubicBezTo>
                  <a:cubicBezTo>
                    <a:pt x="3" y="0"/>
                    <a:pt x="2" y="0"/>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13" name="Freeform 2366">
              <a:extLst>
                <a:ext uri="{FF2B5EF4-FFF2-40B4-BE49-F238E27FC236}">
                  <a16:creationId xmlns:a16="http://schemas.microsoft.com/office/drawing/2014/main" id="{59426213-8576-4CAD-802A-836AAA4D3FEB}"/>
                </a:ext>
              </a:extLst>
            </p:cNvPr>
            <p:cNvSpPr>
              <a:spLocks/>
            </p:cNvSpPr>
            <p:nvPr/>
          </p:nvSpPr>
          <p:spPr bwMode="auto">
            <a:xfrm>
              <a:off x="6389" y="2677"/>
              <a:ext cx="2" cy="5"/>
            </a:xfrm>
            <a:custGeom>
              <a:avLst/>
              <a:gdLst>
                <a:gd name="T0" fmla="*/ 0 w 1"/>
                <a:gd name="T1" fmla="*/ 0 h 2"/>
                <a:gd name="T2" fmla="*/ 0 w 1"/>
                <a:gd name="T3" fmla="*/ 1 h 2"/>
                <a:gd name="T4" fmla="*/ 0 w 1"/>
                <a:gd name="T5" fmla="*/ 1 h 2"/>
                <a:gd name="T6" fmla="*/ 1 w 1"/>
                <a:gd name="T7" fmla="*/ 2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1"/>
                    <a:pt x="0" y="1"/>
                    <a:pt x="0" y="1"/>
                  </a:cubicBezTo>
                  <a:cubicBezTo>
                    <a:pt x="0" y="1"/>
                    <a:pt x="0" y="1"/>
                    <a:pt x="0" y="1"/>
                  </a:cubicBezTo>
                  <a:cubicBezTo>
                    <a:pt x="1" y="2"/>
                    <a:pt x="1" y="2"/>
                    <a:pt x="1" y="2"/>
                  </a:cubicBezTo>
                  <a:cubicBezTo>
                    <a:pt x="1" y="1"/>
                    <a:pt x="1"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14" name="Freeform 2367">
              <a:extLst>
                <a:ext uri="{FF2B5EF4-FFF2-40B4-BE49-F238E27FC236}">
                  <a16:creationId xmlns:a16="http://schemas.microsoft.com/office/drawing/2014/main" id="{DFCF3B4B-B36D-4058-B657-C464000B099B}"/>
                </a:ext>
              </a:extLst>
            </p:cNvPr>
            <p:cNvSpPr>
              <a:spLocks/>
            </p:cNvSpPr>
            <p:nvPr/>
          </p:nvSpPr>
          <p:spPr bwMode="auto">
            <a:xfrm>
              <a:off x="6873" y="2956"/>
              <a:ext cx="33" cy="26"/>
            </a:xfrm>
            <a:custGeom>
              <a:avLst/>
              <a:gdLst>
                <a:gd name="T0" fmla="*/ 14 w 14"/>
                <a:gd name="T1" fmla="*/ 2 h 11"/>
                <a:gd name="T2" fmla="*/ 12 w 14"/>
                <a:gd name="T3" fmla="*/ 1 h 11"/>
                <a:gd name="T4" fmla="*/ 10 w 14"/>
                <a:gd name="T5" fmla="*/ 0 h 11"/>
                <a:gd name="T6" fmla="*/ 7 w 14"/>
                <a:gd name="T7" fmla="*/ 0 h 11"/>
                <a:gd name="T8" fmla="*/ 2 w 14"/>
                <a:gd name="T9" fmla="*/ 5 h 11"/>
                <a:gd name="T10" fmla="*/ 0 w 14"/>
                <a:gd name="T11" fmla="*/ 11 h 11"/>
                <a:gd name="T12" fmla="*/ 1 w 14"/>
                <a:gd name="T13" fmla="*/ 10 h 11"/>
                <a:gd name="T14" fmla="*/ 4 w 14"/>
                <a:gd name="T15" fmla="*/ 10 h 11"/>
                <a:gd name="T16" fmla="*/ 8 w 14"/>
                <a:gd name="T17" fmla="*/ 10 h 11"/>
                <a:gd name="T18" fmla="*/ 10 w 14"/>
                <a:gd name="T19" fmla="*/ 9 h 11"/>
                <a:gd name="T20" fmla="*/ 11 w 14"/>
                <a:gd name="T21" fmla="*/ 8 h 11"/>
                <a:gd name="T22" fmla="*/ 13 w 14"/>
                <a:gd name="T23" fmla="*/ 7 h 11"/>
                <a:gd name="T24" fmla="*/ 12 w 14"/>
                <a:gd name="T25" fmla="*/ 6 h 11"/>
                <a:gd name="T26" fmla="*/ 13 w 14"/>
                <a:gd name="T27" fmla="*/ 5 h 11"/>
                <a:gd name="T28" fmla="*/ 13 w 14"/>
                <a:gd name="T29" fmla="*/ 4 h 11"/>
                <a:gd name="T30" fmla="*/ 14 w 14"/>
                <a:gd name="T31"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1">
                  <a:moveTo>
                    <a:pt x="14" y="2"/>
                  </a:moveTo>
                  <a:cubicBezTo>
                    <a:pt x="14" y="2"/>
                    <a:pt x="13" y="1"/>
                    <a:pt x="12" y="1"/>
                  </a:cubicBezTo>
                  <a:cubicBezTo>
                    <a:pt x="12" y="0"/>
                    <a:pt x="12" y="0"/>
                    <a:pt x="10" y="0"/>
                  </a:cubicBezTo>
                  <a:cubicBezTo>
                    <a:pt x="9" y="0"/>
                    <a:pt x="8" y="0"/>
                    <a:pt x="7" y="0"/>
                  </a:cubicBezTo>
                  <a:cubicBezTo>
                    <a:pt x="5" y="2"/>
                    <a:pt x="3" y="3"/>
                    <a:pt x="2" y="5"/>
                  </a:cubicBezTo>
                  <a:cubicBezTo>
                    <a:pt x="1" y="7"/>
                    <a:pt x="0" y="9"/>
                    <a:pt x="0" y="11"/>
                  </a:cubicBezTo>
                  <a:cubicBezTo>
                    <a:pt x="0" y="11"/>
                    <a:pt x="0" y="10"/>
                    <a:pt x="1" y="10"/>
                  </a:cubicBezTo>
                  <a:cubicBezTo>
                    <a:pt x="2" y="10"/>
                    <a:pt x="3" y="10"/>
                    <a:pt x="4" y="10"/>
                  </a:cubicBezTo>
                  <a:cubicBezTo>
                    <a:pt x="5" y="10"/>
                    <a:pt x="7" y="11"/>
                    <a:pt x="8" y="10"/>
                  </a:cubicBezTo>
                  <a:cubicBezTo>
                    <a:pt x="8" y="10"/>
                    <a:pt x="9" y="9"/>
                    <a:pt x="10" y="9"/>
                  </a:cubicBezTo>
                  <a:cubicBezTo>
                    <a:pt x="10" y="8"/>
                    <a:pt x="10" y="8"/>
                    <a:pt x="11" y="8"/>
                  </a:cubicBezTo>
                  <a:cubicBezTo>
                    <a:pt x="11" y="8"/>
                    <a:pt x="12" y="8"/>
                    <a:pt x="13" y="7"/>
                  </a:cubicBezTo>
                  <a:cubicBezTo>
                    <a:pt x="13" y="7"/>
                    <a:pt x="12" y="6"/>
                    <a:pt x="12" y="6"/>
                  </a:cubicBezTo>
                  <a:cubicBezTo>
                    <a:pt x="13" y="5"/>
                    <a:pt x="13" y="5"/>
                    <a:pt x="13" y="5"/>
                  </a:cubicBezTo>
                  <a:cubicBezTo>
                    <a:pt x="14" y="4"/>
                    <a:pt x="13" y="4"/>
                    <a:pt x="13" y="4"/>
                  </a:cubicBezTo>
                  <a:cubicBezTo>
                    <a:pt x="14" y="3"/>
                    <a:pt x="14" y="3"/>
                    <a:pt x="14"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15" name="Freeform 2368">
              <a:extLst>
                <a:ext uri="{FF2B5EF4-FFF2-40B4-BE49-F238E27FC236}">
                  <a16:creationId xmlns:a16="http://schemas.microsoft.com/office/drawing/2014/main" id="{B66BD9E1-3A79-40AB-82C0-1D5885A7CD56}"/>
                </a:ext>
              </a:extLst>
            </p:cNvPr>
            <p:cNvSpPr>
              <a:spLocks/>
            </p:cNvSpPr>
            <p:nvPr/>
          </p:nvSpPr>
          <p:spPr bwMode="auto">
            <a:xfrm>
              <a:off x="6786" y="2925"/>
              <a:ext cx="14" cy="22"/>
            </a:xfrm>
            <a:custGeom>
              <a:avLst/>
              <a:gdLst>
                <a:gd name="T0" fmla="*/ 1 w 6"/>
                <a:gd name="T1" fmla="*/ 7 h 9"/>
                <a:gd name="T2" fmla="*/ 4 w 6"/>
                <a:gd name="T3" fmla="*/ 5 h 9"/>
                <a:gd name="T4" fmla="*/ 1 w 6"/>
                <a:gd name="T5" fmla="*/ 0 h 9"/>
                <a:gd name="T6" fmla="*/ 2 w 6"/>
                <a:gd name="T7" fmla="*/ 4 h 9"/>
                <a:gd name="T8" fmla="*/ 1 w 6"/>
                <a:gd name="T9" fmla="*/ 7 h 9"/>
              </a:gdLst>
              <a:ahLst/>
              <a:cxnLst>
                <a:cxn ang="0">
                  <a:pos x="T0" y="T1"/>
                </a:cxn>
                <a:cxn ang="0">
                  <a:pos x="T2" y="T3"/>
                </a:cxn>
                <a:cxn ang="0">
                  <a:pos x="T4" y="T5"/>
                </a:cxn>
                <a:cxn ang="0">
                  <a:pos x="T6" y="T7"/>
                </a:cxn>
                <a:cxn ang="0">
                  <a:pos x="T8" y="T9"/>
                </a:cxn>
              </a:cxnLst>
              <a:rect l="0" t="0" r="r" b="b"/>
              <a:pathLst>
                <a:path w="6" h="9">
                  <a:moveTo>
                    <a:pt x="1" y="7"/>
                  </a:moveTo>
                  <a:cubicBezTo>
                    <a:pt x="2" y="9"/>
                    <a:pt x="3" y="7"/>
                    <a:pt x="4" y="5"/>
                  </a:cubicBezTo>
                  <a:cubicBezTo>
                    <a:pt x="6" y="6"/>
                    <a:pt x="1" y="1"/>
                    <a:pt x="1" y="0"/>
                  </a:cubicBezTo>
                  <a:cubicBezTo>
                    <a:pt x="1" y="2"/>
                    <a:pt x="0" y="3"/>
                    <a:pt x="2" y="4"/>
                  </a:cubicBezTo>
                  <a:cubicBezTo>
                    <a:pt x="0" y="3"/>
                    <a:pt x="0" y="7"/>
                    <a:pt x="1" y="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16" name="Freeform 2369">
              <a:extLst>
                <a:ext uri="{FF2B5EF4-FFF2-40B4-BE49-F238E27FC236}">
                  <a16:creationId xmlns:a16="http://schemas.microsoft.com/office/drawing/2014/main" id="{51024AC6-470A-4454-B489-FBB8BE554056}"/>
                </a:ext>
              </a:extLst>
            </p:cNvPr>
            <p:cNvSpPr>
              <a:spLocks/>
            </p:cNvSpPr>
            <p:nvPr/>
          </p:nvSpPr>
          <p:spPr bwMode="auto">
            <a:xfrm>
              <a:off x="6270" y="2942"/>
              <a:ext cx="36" cy="12"/>
            </a:xfrm>
            <a:custGeom>
              <a:avLst/>
              <a:gdLst>
                <a:gd name="T0" fmla="*/ 10 w 15"/>
                <a:gd name="T1" fmla="*/ 1 h 5"/>
                <a:gd name="T2" fmla="*/ 0 w 15"/>
                <a:gd name="T3" fmla="*/ 3 h 5"/>
                <a:gd name="T4" fmla="*/ 1 w 15"/>
                <a:gd name="T5" fmla="*/ 4 h 5"/>
                <a:gd name="T6" fmla="*/ 15 w 15"/>
                <a:gd name="T7" fmla="*/ 2 h 5"/>
                <a:gd name="T8" fmla="*/ 10 w 15"/>
                <a:gd name="T9" fmla="*/ 1 h 5"/>
              </a:gdLst>
              <a:ahLst/>
              <a:cxnLst>
                <a:cxn ang="0">
                  <a:pos x="T0" y="T1"/>
                </a:cxn>
                <a:cxn ang="0">
                  <a:pos x="T2" y="T3"/>
                </a:cxn>
                <a:cxn ang="0">
                  <a:pos x="T4" y="T5"/>
                </a:cxn>
                <a:cxn ang="0">
                  <a:pos x="T6" y="T7"/>
                </a:cxn>
                <a:cxn ang="0">
                  <a:pos x="T8" y="T9"/>
                </a:cxn>
              </a:cxnLst>
              <a:rect l="0" t="0" r="r" b="b"/>
              <a:pathLst>
                <a:path w="15" h="5">
                  <a:moveTo>
                    <a:pt x="10" y="1"/>
                  </a:moveTo>
                  <a:cubicBezTo>
                    <a:pt x="7" y="1"/>
                    <a:pt x="2" y="0"/>
                    <a:pt x="0" y="3"/>
                  </a:cubicBezTo>
                  <a:cubicBezTo>
                    <a:pt x="0" y="4"/>
                    <a:pt x="0" y="3"/>
                    <a:pt x="1" y="4"/>
                  </a:cubicBezTo>
                  <a:cubicBezTo>
                    <a:pt x="6" y="5"/>
                    <a:pt x="10" y="4"/>
                    <a:pt x="15" y="2"/>
                  </a:cubicBezTo>
                  <a:cubicBezTo>
                    <a:pt x="13" y="0"/>
                    <a:pt x="11" y="1"/>
                    <a:pt x="1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17" name="Freeform 2370">
              <a:extLst>
                <a:ext uri="{FF2B5EF4-FFF2-40B4-BE49-F238E27FC236}">
                  <a16:creationId xmlns:a16="http://schemas.microsoft.com/office/drawing/2014/main" id="{72F20EC9-00EE-41CA-9B08-D4DAD0817046}"/>
                </a:ext>
              </a:extLst>
            </p:cNvPr>
            <p:cNvSpPr>
              <a:spLocks/>
            </p:cNvSpPr>
            <p:nvPr/>
          </p:nvSpPr>
          <p:spPr bwMode="auto">
            <a:xfrm>
              <a:off x="6760" y="2904"/>
              <a:ext cx="5" cy="10"/>
            </a:xfrm>
            <a:custGeom>
              <a:avLst/>
              <a:gdLst>
                <a:gd name="T0" fmla="*/ 2 w 2"/>
                <a:gd name="T1" fmla="*/ 0 h 4"/>
                <a:gd name="T2" fmla="*/ 1 w 2"/>
                <a:gd name="T3" fmla="*/ 4 h 4"/>
                <a:gd name="T4" fmla="*/ 2 w 2"/>
                <a:gd name="T5" fmla="*/ 0 h 4"/>
              </a:gdLst>
              <a:ahLst/>
              <a:cxnLst>
                <a:cxn ang="0">
                  <a:pos x="T0" y="T1"/>
                </a:cxn>
                <a:cxn ang="0">
                  <a:pos x="T2" y="T3"/>
                </a:cxn>
                <a:cxn ang="0">
                  <a:pos x="T4" y="T5"/>
                </a:cxn>
              </a:cxnLst>
              <a:rect l="0" t="0" r="r" b="b"/>
              <a:pathLst>
                <a:path w="2" h="4">
                  <a:moveTo>
                    <a:pt x="2" y="0"/>
                  </a:moveTo>
                  <a:cubicBezTo>
                    <a:pt x="1" y="1"/>
                    <a:pt x="0" y="3"/>
                    <a:pt x="1" y="4"/>
                  </a:cubicBezTo>
                  <a:cubicBezTo>
                    <a:pt x="1" y="3"/>
                    <a:pt x="2" y="2"/>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18" name="Freeform 2371">
              <a:extLst>
                <a:ext uri="{FF2B5EF4-FFF2-40B4-BE49-F238E27FC236}">
                  <a16:creationId xmlns:a16="http://schemas.microsoft.com/office/drawing/2014/main" id="{0C648F7C-7467-4D97-A497-B7AA3284D80E}"/>
                </a:ext>
              </a:extLst>
            </p:cNvPr>
            <p:cNvSpPr>
              <a:spLocks/>
            </p:cNvSpPr>
            <p:nvPr/>
          </p:nvSpPr>
          <p:spPr bwMode="auto">
            <a:xfrm>
              <a:off x="6757" y="2914"/>
              <a:ext cx="3" cy="9"/>
            </a:xfrm>
            <a:custGeom>
              <a:avLst/>
              <a:gdLst>
                <a:gd name="T0" fmla="*/ 1 w 1"/>
                <a:gd name="T1" fmla="*/ 0 h 4"/>
                <a:gd name="T2" fmla="*/ 0 w 1"/>
                <a:gd name="T3" fmla="*/ 4 h 4"/>
                <a:gd name="T4" fmla="*/ 1 w 1"/>
                <a:gd name="T5" fmla="*/ 0 h 4"/>
              </a:gdLst>
              <a:ahLst/>
              <a:cxnLst>
                <a:cxn ang="0">
                  <a:pos x="T0" y="T1"/>
                </a:cxn>
                <a:cxn ang="0">
                  <a:pos x="T2" y="T3"/>
                </a:cxn>
                <a:cxn ang="0">
                  <a:pos x="T4" y="T5"/>
                </a:cxn>
              </a:cxnLst>
              <a:rect l="0" t="0" r="r" b="b"/>
              <a:pathLst>
                <a:path w="1" h="4">
                  <a:moveTo>
                    <a:pt x="1" y="0"/>
                  </a:moveTo>
                  <a:cubicBezTo>
                    <a:pt x="0" y="0"/>
                    <a:pt x="0" y="3"/>
                    <a:pt x="0" y="4"/>
                  </a:cubicBezTo>
                  <a:cubicBezTo>
                    <a:pt x="0" y="3"/>
                    <a:pt x="1" y="1"/>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19" name="Freeform 2372">
              <a:extLst>
                <a:ext uri="{FF2B5EF4-FFF2-40B4-BE49-F238E27FC236}">
                  <a16:creationId xmlns:a16="http://schemas.microsoft.com/office/drawing/2014/main" id="{220054E3-A312-4F20-96C4-F0BA065B3709}"/>
                </a:ext>
              </a:extLst>
            </p:cNvPr>
            <p:cNvSpPr>
              <a:spLocks/>
            </p:cNvSpPr>
            <p:nvPr/>
          </p:nvSpPr>
          <p:spPr bwMode="auto">
            <a:xfrm>
              <a:off x="6441" y="2973"/>
              <a:ext cx="80" cy="21"/>
            </a:xfrm>
            <a:custGeom>
              <a:avLst/>
              <a:gdLst>
                <a:gd name="T0" fmla="*/ 29 w 34"/>
                <a:gd name="T1" fmla="*/ 6 h 9"/>
                <a:gd name="T2" fmla="*/ 31 w 34"/>
                <a:gd name="T3" fmla="*/ 6 h 9"/>
                <a:gd name="T4" fmla="*/ 32 w 34"/>
                <a:gd name="T5" fmla="*/ 4 h 9"/>
                <a:gd name="T6" fmla="*/ 33 w 34"/>
                <a:gd name="T7" fmla="*/ 3 h 9"/>
                <a:gd name="T8" fmla="*/ 33 w 34"/>
                <a:gd name="T9" fmla="*/ 3 h 9"/>
                <a:gd name="T10" fmla="*/ 32 w 34"/>
                <a:gd name="T11" fmla="*/ 0 h 9"/>
                <a:gd name="T12" fmla="*/ 33 w 34"/>
                <a:gd name="T13" fmla="*/ 1 h 9"/>
                <a:gd name="T14" fmla="*/ 28 w 34"/>
                <a:gd name="T15" fmla="*/ 4 h 9"/>
                <a:gd name="T16" fmla="*/ 28 w 34"/>
                <a:gd name="T17" fmla="*/ 5 h 9"/>
                <a:gd name="T18" fmla="*/ 25 w 34"/>
                <a:gd name="T19" fmla="*/ 5 h 9"/>
                <a:gd name="T20" fmla="*/ 19 w 34"/>
                <a:gd name="T21" fmla="*/ 4 h 9"/>
                <a:gd name="T22" fmla="*/ 18 w 34"/>
                <a:gd name="T23" fmla="*/ 5 h 9"/>
                <a:gd name="T24" fmla="*/ 14 w 34"/>
                <a:gd name="T25" fmla="*/ 4 h 9"/>
                <a:gd name="T26" fmla="*/ 8 w 34"/>
                <a:gd name="T27" fmla="*/ 3 h 9"/>
                <a:gd name="T28" fmla="*/ 1 w 34"/>
                <a:gd name="T29" fmla="*/ 5 h 9"/>
                <a:gd name="T30" fmla="*/ 6 w 34"/>
                <a:gd name="T31" fmla="*/ 8 h 9"/>
                <a:gd name="T32" fmla="*/ 11 w 34"/>
                <a:gd name="T33" fmla="*/ 8 h 9"/>
                <a:gd name="T34" fmla="*/ 12 w 34"/>
                <a:gd name="T35" fmla="*/ 9 h 9"/>
                <a:gd name="T36" fmla="*/ 16 w 34"/>
                <a:gd name="T37" fmla="*/ 8 h 9"/>
                <a:gd name="T38" fmla="*/ 20 w 34"/>
                <a:gd name="T39" fmla="*/ 8 h 9"/>
                <a:gd name="T40" fmla="*/ 23 w 34"/>
                <a:gd name="T41" fmla="*/ 8 h 9"/>
                <a:gd name="T42" fmla="*/ 29 w 34"/>
                <a:gd name="T43"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9">
                  <a:moveTo>
                    <a:pt x="29" y="6"/>
                  </a:moveTo>
                  <a:cubicBezTo>
                    <a:pt x="29" y="6"/>
                    <a:pt x="31" y="6"/>
                    <a:pt x="31" y="6"/>
                  </a:cubicBezTo>
                  <a:cubicBezTo>
                    <a:pt x="32" y="5"/>
                    <a:pt x="32" y="5"/>
                    <a:pt x="32" y="4"/>
                  </a:cubicBezTo>
                  <a:cubicBezTo>
                    <a:pt x="32" y="4"/>
                    <a:pt x="33" y="3"/>
                    <a:pt x="33" y="3"/>
                  </a:cubicBezTo>
                  <a:cubicBezTo>
                    <a:pt x="33" y="3"/>
                    <a:pt x="33" y="3"/>
                    <a:pt x="33" y="3"/>
                  </a:cubicBezTo>
                  <a:cubicBezTo>
                    <a:pt x="34" y="2"/>
                    <a:pt x="32" y="0"/>
                    <a:pt x="32" y="0"/>
                  </a:cubicBezTo>
                  <a:cubicBezTo>
                    <a:pt x="32" y="1"/>
                    <a:pt x="32" y="1"/>
                    <a:pt x="33" y="1"/>
                  </a:cubicBezTo>
                  <a:cubicBezTo>
                    <a:pt x="31" y="2"/>
                    <a:pt x="29" y="3"/>
                    <a:pt x="28" y="4"/>
                  </a:cubicBezTo>
                  <a:cubicBezTo>
                    <a:pt x="28" y="5"/>
                    <a:pt x="28" y="5"/>
                    <a:pt x="28" y="5"/>
                  </a:cubicBezTo>
                  <a:cubicBezTo>
                    <a:pt x="27" y="6"/>
                    <a:pt x="26" y="6"/>
                    <a:pt x="25" y="5"/>
                  </a:cubicBezTo>
                  <a:cubicBezTo>
                    <a:pt x="23" y="5"/>
                    <a:pt x="21" y="4"/>
                    <a:pt x="19" y="4"/>
                  </a:cubicBezTo>
                  <a:cubicBezTo>
                    <a:pt x="19" y="4"/>
                    <a:pt x="18" y="6"/>
                    <a:pt x="18" y="5"/>
                  </a:cubicBezTo>
                  <a:cubicBezTo>
                    <a:pt x="17" y="5"/>
                    <a:pt x="15" y="4"/>
                    <a:pt x="14" y="4"/>
                  </a:cubicBezTo>
                  <a:cubicBezTo>
                    <a:pt x="12" y="3"/>
                    <a:pt x="10" y="3"/>
                    <a:pt x="8" y="3"/>
                  </a:cubicBezTo>
                  <a:cubicBezTo>
                    <a:pt x="5" y="3"/>
                    <a:pt x="1" y="2"/>
                    <a:pt x="1" y="5"/>
                  </a:cubicBezTo>
                  <a:cubicBezTo>
                    <a:pt x="0" y="8"/>
                    <a:pt x="3" y="8"/>
                    <a:pt x="6" y="8"/>
                  </a:cubicBezTo>
                  <a:cubicBezTo>
                    <a:pt x="7" y="8"/>
                    <a:pt x="10" y="7"/>
                    <a:pt x="11" y="8"/>
                  </a:cubicBezTo>
                  <a:cubicBezTo>
                    <a:pt x="11" y="8"/>
                    <a:pt x="12" y="9"/>
                    <a:pt x="12" y="9"/>
                  </a:cubicBezTo>
                  <a:cubicBezTo>
                    <a:pt x="14" y="9"/>
                    <a:pt x="15" y="8"/>
                    <a:pt x="16" y="8"/>
                  </a:cubicBezTo>
                  <a:cubicBezTo>
                    <a:pt x="17" y="7"/>
                    <a:pt x="19" y="8"/>
                    <a:pt x="20" y="8"/>
                  </a:cubicBezTo>
                  <a:cubicBezTo>
                    <a:pt x="21" y="8"/>
                    <a:pt x="22" y="8"/>
                    <a:pt x="23" y="8"/>
                  </a:cubicBezTo>
                  <a:cubicBezTo>
                    <a:pt x="25" y="7"/>
                    <a:pt x="27" y="7"/>
                    <a:pt x="29" y="6"/>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20" name="Freeform 2373">
              <a:extLst>
                <a:ext uri="{FF2B5EF4-FFF2-40B4-BE49-F238E27FC236}">
                  <a16:creationId xmlns:a16="http://schemas.microsoft.com/office/drawing/2014/main" id="{C8868553-6DEA-4BEE-9F16-465500DF7F5D}"/>
                </a:ext>
              </a:extLst>
            </p:cNvPr>
            <p:cNvSpPr>
              <a:spLocks/>
            </p:cNvSpPr>
            <p:nvPr/>
          </p:nvSpPr>
          <p:spPr bwMode="auto">
            <a:xfrm>
              <a:off x="6313" y="2970"/>
              <a:ext cx="31" cy="22"/>
            </a:xfrm>
            <a:custGeom>
              <a:avLst/>
              <a:gdLst>
                <a:gd name="T0" fmla="*/ 13 w 13"/>
                <a:gd name="T1" fmla="*/ 4 h 9"/>
                <a:gd name="T2" fmla="*/ 11 w 13"/>
                <a:gd name="T3" fmla="*/ 3 h 9"/>
                <a:gd name="T4" fmla="*/ 0 w 13"/>
                <a:gd name="T5" fmla="*/ 2 h 9"/>
                <a:gd name="T6" fmla="*/ 5 w 13"/>
                <a:gd name="T7" fmla="*/ 5 h 9"/>
                <a:gd name="T8" fmla="*/ 7 w 13"/>
                <a:gd name="T9" fmla="*/ 7 h 9"/>
                <a:gd name="T10" fmla="*/ 7 w 13"/>
                <a:gd name="T11" fmla="*/ 9 h 9"/>
                <a:gd name="T12" fmla="*/ 9 w 13"/>
                <a:gd name="T13" fmla="*/ 7 h 9"/>
                <a:gd name="T14" fmla="*/ 13 w 13"/>
                <a:gd name="T15" fmla="*/ 4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9">
                  <a:moveTo>
                    <a:pt x="13" y="4"/>
                  </a:moveTo>
                  <a:cubicBezTo>
                    <a:pt x="13" y="4"/>
                    <a:pt x="11" y="3"/>
                    <a:pt x="11" y="3"/>
                  </a:cubicBezTo>
                  <a:cubicBezTo>
                    <a:pt x="8" y="0"/>
                    <a:pt x="4" y="1"/>
                    <a:pt x="0" y="2"/>
                  </a:cubicBezTo>
                  <a:cubicBezTo>
                    <a:pt x="1" y="4"/>
                    <a:pt x="2" y="4"/>
                    <a:pt x="5" y="5"/>
                  </a:cubicBezTo>
                  <a:cubicBezTo>
                    <a:pt x="5" y="5"/>
                    <a:pt x="7" y="6"/>
                    <a:pt x="7" y="7"/>
                  </a:cubicBezTo>
                  <a:cubicBezTo>
                    <a:pt x="7" y="7"/>
                    <a:pt x="6" y="9"/>
                    <a:pt x="7" y="9"/>
                  </a:cubicBezTo>
                  <a:cubicBezTo>
                    <a:pt x="7" y="9"/>
                    <a:pt x="8" y="7"/>
                    <a:pt x="9" y="7"/>
                  </a:cubicBezTo>
                  <a:cubicBezTo>
                    <a:pt x="10" y="6"/>
                    <a:pt x="13" y="5"/>
                    <a:pt x="13"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21" name="Freeform 2374">
              <a:extLst>
                <a:ext uri="{FF2B5EF4-FFF2-40B4-BE49-F238E27FC236}">
                  <a16:creationId xmlns:a16="http://schemas.microsoft.com/office/drawing/2014/main" id="{E0C78913-DC48-4672-BD7C-B96A620D8589}"/>
                </a:ext>
              </a:extLst>
            </p:cNvPr>
            <p:cNvSpPr>
              <a:spLocks/>
            </p:cNvSpPr>
            <p:nvPr/>
          </p:nvSpPr>
          <p:spPr bwMode="auto">
            <a:xfrm>
              <a:off x="5925" y="2736"/>
              <a:ext cx="5" cy="2"/>
            </a:xfrm>
            <a:custGeom>
              <a:avLst/>
              <a:gdLst>
                <a:gd name="T0" fmla="*/ 0 w 2"/>
                <a:gd name="T1" fmla="*/ 0 h 1"/>
                <a:gd name="T2" fmla="*/ 2 w 2"/>
                <a:gd name="T3" fmla="*/ 1 h 1"/>
                <a:gd name="T4" fmla="*/ 0 w 2"/>
                <a:gd name="T5" fmla="*/ 0 h 1"/>
              </a:gdLst>
              <a:ahLst/>
              <a:cxnLst>
                <a:cxn ang="0">
                  <a:pos x="T0" y="T1"/>
                </a:cxn>
                <a:cxn ang="0">
                  <a:pos x="T2" y="T3"/>
                </a:cxn>
                <a:cxn ang="0">
                  <a:pos x="T4" y="T5"/>
                </a:cxn>
              </a:cxnLst>
              <a:rect l="0" t="0" r="r" b="b"/>
              <a:pathLst>
                <a:path w="2" h="1">
                  <a:moveTo>
                    <a:pt x="0" y="0"/>
                  </a:moveTo>
                  <a:cubicBezTo>
                    <a:pt x="1" y="0"/>
                    <a:pt x="1" y="1"/>
                    <a:pt x="2" y="1"/>
                  </a:cubicBezTo>
                  <a:cubicBezTo>
                    <a:pt x="1" y="0"/>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22" name="Freeform 2375">
              <a:extLst>
                <a:ext uri="{FF2B5EF4-FFF2-40B4-BE49-F238E27FC236}">
                  <a16:creationId xmlns:a16="http://schemas.microsoft.com/office/drawing/2014/main" id="{82D88365-7A14-40CD-BDD7-0DD4A7E67528}"/>
                </a:ext>
              </a:extLst>
            </p:cNvPr>
            <p:cNvSpPr>
              <a:spLocks/>
            </p:cNvSpPr>
            <p:nvPr/>
          </p:nvSpPr>
          <p:spPr bwMode="auto">
            <a:xfrm>
              <a:off x="6339" y="2987"/>
              <a:ext cx="2" cy="5"/>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1" y="1"/>
                    <a:pt x="1" y="0"/>
                    <a:pt x="0" y="0"/>
                  </a:cubicBezTo>
                  <a:cubicBezTo>
                    <a:pt x="0" y="1"/>
                    <a:pt x="0" y="1"/>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23" name="Freeform 2376">
              <a:extLst>
                <a:ext uri="{FF2B5EF4-FFF2-40B4-BE49-F238E27FC236}">
                  <a16:creationId xmlns:a16="http://schemas.microsoft.com/office/drawing/2014/main" id="{B6083F38-84AB-48C3-8EA2-9B64CA7E2C26}"/>
                </a:ext>
              </a:extLst>
            </p:cNvPr>
            <p:cNvSpPr>
              <a:spLocks/>
            </p:cNvSpPr>
            <p:nvPr/>
          </p:nvSpPr>
          <p:spPr bwMode="auto">
            <a:xfrm>
              <a:off x="6126" y="2847"/>
              <a:ext cx="5" cy="5"/>
            </a:xfrm>
            <a:custGeom>
              <a:avLst/>
              <a:gdLst>
                <a:gd name="T0" fmla="*/ 0 w 2"/>
                <a:gd name="T1" fmla="*/ 1 h 2"/>
                <a:gd name="T2" fmla="*/ 1 w 2"/>
                <a:gd name="T3" fmla="*/ 0 h 2"/>
                <a:gd name="T4" fmla="*/ 0 w 2"/>
                <a:gd name="T5" fmla="*/ 1 h 2"/>
              </a:gdLst>
              <a:ahLst/>
              <a:cxnLst>
                <a:cxn ang="0">
                  <a:pos x="T0" y="T1"/>
                </a:cxn>
                <a:cxn ang="0">
                  <a:pos x="T2" y="T3"/>
                </a:cxn>
                <a:cxn ang="0">
                  <a:pos x="T4" y="T5"/>
                </a:cxn>
              </a:cxnLst>
              <a:rect l="0" t="0" r="r" b="b"/>
              <a:pathLst>
                <a:path w="2" h="2">
                  <a:moveTo>
                    <a:pt x="0" y="1"/>
                  </a:moveTo>
                  <a:cubicBezTo>
                    <a:pt x="1" y="1"/>
                    <a:pt x="2" y="2"/>
                    <a:pt x="1" y="0"/>
                  </a:cubicBezTo>
                  <a:cubicBezTo>
                    <a:pt x="1" y="0"/>
                    <a:pt x="0"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24" name="Freeform 2377">
              <a:extLst>
                <a:ext uri="{FF2B5EF4-FFF2-40B4-BE49-F238E27FC236}">
                  <a16:creationId xmlns:a16="http://schemas.microsoft.com/office/drawing/2014/main" id="{20D940FE-B6FD-4F63-BD7E-D5B8279DA2CB}"/>
                </a:ext>
              </a:extLst>
            </p:cNvPr>
            <p:cNvSpPr>
              <a:spLocks/>
            </p:cNvSpPr>
            <p:nvPr/>
          </p:nvSpPr>
          <p:spPr bwMode="auto">
            <a:xfrm>
              <a:off x="6048" y="2783"/>
              <a:ext cx="5" cy="3"/>
            </a:xfrm>
            <a:custGeom>
              <a:avLst/>
              <a:gdLst>
                <a:gd name="T0" fmla="*/ 0 w 2"/>
                <a:gd name="T1" fmla="*/ 1 h 1"/>
                <a:gd name="T2" fmla="*/ 2 w 2"/>
                <a:gd name="T3" fmla="*/ 0 h 1"/>
                <a:gd name="T4" fmla="*/ 0 w 2"/>
                <a:gd name="T5" fmla="*/ 1 h 1"/>
              </a:gdLst>
              <a:ahLst/>
              <a:cxnLst>
                <a:cxn ang="0">
                  <a:pos x="T0" y="T1"/>
                </a:cxn>
                <a:cxn ang="0">
                  <a:pos x="T2" y="T3"/>
                </a:cxn>
                <a:cxn ang="0">
                  <a:pos x="T4" y="T5"/>
                </a:cxn>
              </a:cxnLst>
              <a:rect l="0" t="0" r="r" b="b"/>
              <a:pathLst>
                <a:path w="2" h="1">
                  <a:moveTo>
                    <a:pt x="0" y="1"/>
                  </a:moveTo>
                  <a:cubicBezTo>
                    <a:pt x="1" y="1"/>
                    <a:pt x="1" y="0"/>
                    <a:pt x="2" y="0"/>
                  </a:cubicBezTo>
                  <a:cubicBezTo>
                    <a:pt x="1" y="0"/>
                    <a:pt x="0"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25" name="Freeform 2378">
              <a:extLst>
                <a:ext uri="{FF2B5EF4-FFF2-40B4-BE49-F238E27FC236}">
                  <a16:creationId xmlns:a16="http://schemas.microsoft.com/office/drawing/2014/main" id="{E79C090B-1CE9-48F1-941D-23D2AA4518AA}"/>
                </a:ext>
              </a:extLst>
            </p:cNvPr>
            <p:cNvSpPr>
              <a:spLocks/>
            </p:cNvSpPr>
            <p:nvPr/>
          </p:nvSpPr>
          <p:spPr bwMode="auto">
            <a:xfrm>
              <a:off x="6086" y="2812"/>
              <a:ext cx="43" cy="42"/>
            </a:xfrm>
            <a:custGeom>
              <a:avLst/>
              <a:gdLst>
                <a:gd name="T0" fmla="*/ 3 w 18"/>
                <a:gd name="T1" fmla="*/ 4 h 18"/>
                <a:gd name="T2" fmla="*/ 2 w 18"/>
                <a:gd name="T3" fmla="*/ 7 h 18"/>
                <a:gd name="T4" fmla="*/ 3 w 18"/>
                <a:gd name="T5" fmla="*/ 7 h 18"/>
                <a:gd name="T6" fmla="*/ 4 w 18"/>
                <a:gd name="T7" fmla="*/ 7 h 18"/>
                <a:gd name="T8" fmla="*/ 5 w 18"/>
                <a:gd name="T9" fmla="*/ 7 h 18"/>
                <a:gd name="T10" fmla="*/ 6 w 18"/>
                <a:gd name="T11" fmla="*/ 7 h 18"/>
                <a:gd name="T12" fmla="*/ 7 w 18"/>
                <a:gd name="T13" fmla="*/ 7 h 18"/>
                <a:gd name="T14" fmla="*/ 8 w 18"/>
                <a:gd name="T15" fmla="*/ 10 h 18"/>
                <a:gd name="T16" fmla="*/ 9 w 18"/>
                <a:gd name="T17" fmla="*/ 11 h 18"/>
                <a:gd name="T18" fmla="*/ 9 w 18"/>
                <a:gd name="T19" fmla="*/ 14 h 18"/>
                <a:gd name="T20" fmla="*/ 10 w 18"/>
                <a:gd name="T21" fmla="*/ 14 h 18"/>
                <a:gd name="T22" fmla="*/ 11 w 18"/>
                <a:gd name="T23" fmla="*/ 15 h 18"/>
                <a:gd name="T24" fmla="*/ 17 w 18"/>
                <a:gd name="T25" fmla="*/ 17 h 18"/>
                <a:gd name="T26" fmla="*/ 16 w 18"/>
                <a:gd name="T27" fmla="*/ 15 h 18"/>
                <a:gd name="T28" fmla="*/ 18 w 18"/>
                <a:gd name="T29" fmla="*/ 12 h 18"/>
                <a:gd name="T30" fmla="*/ 13 w 18"/>
                <a:gd name="T31" fmla="*/ 10 h 18"/>
                <a:gd name="T32" fmla="*/ 11 w 18"/>
                <a:gd name="T33" fmla="*/ 6 h 18"/>
                <a:gd name="T34" fmla="*/ 10 w 18"/>
                <a:gd name="T35" fmla="*/ 1 h 18"/>
                <a:gd name="T36" fmla="*/ 7 w 18"/>
                <a:gd name="T37" fmla="*/ 1 h 18"/>
                <a:gd name="T38" fmla="*/ 7 w 18"/>
                <a:gd name="T39" fmla="*/ 4 h 18"/>
                <a:gd name="T40" fmla="*/ 4 w 18"/>
                <a:gd name="T41" fmla="*/ 1 h 18"/>
                <a:gd name="T42" fmla="*/ 3 w 18"/>
                <a:gd name="T43" fmla="*/ 2 h 18"/>
                <a:gd name="T44" fmla="*/ 3 w 18"/>
                <a:gd name="T4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18">
                  <a:moveTo>
                    <a:pt x="3" y="4"/>
                  </a:moveTo>
                  <a:cubicBezTo>
                    <a:pt x="1" y="6"/>
                    <a:pt x="0" y="6"/>
                    <a:pt x="2" y="7"/>
                  </a:cubicBezTo>
                  <a:cubicBezTo>
                    <a:pt x="2" y="7"/>
                    <a:pt x="3" y="7"/>
                    <a:pt x="3" y="7"/>
                  </a:cubicBezTo>
                  <a:cubicBezTo>
                    <a:pt x="3" y="7"/>
                    <a:pt x="4" y="7"/>
                    <a:pt x="4" y="7"/>
                  </a:cubicBezTo>
                  <a:cubicBezTo>
                    <a:pt x="4" y="7"/>
                    <a:pt x="5" y="7"/>
                    <a:pt x="5" y="7"/>
                  </a:cubicBezTo>
                  <a:cubicBezTo>
                    <a:pt x="5" y="7"/>
                    <a:pt x="6" y="7"/>
                    <a:pt x="6" y="7"/>
                  </a:cubicBezTo>
                  <a:cubicBezTo>
                    <a:pt x="6" y="7"/>
                    <a:pt x="7" y="7"/>
                    <a:pt x="7" y="7"/>
                  </a:cubicBezTo>
                  <a:cubicBezTo>
                    <a:pt x="7" y="8"/>
                    <a:pt x="7" y="9"/>
                    <a:pt x="8" y="10"/>
                  </a:cubicBezTo>
                  <a:cubicBezTo>
                    <a:pt x="8" y="10"/>
                    <a:pt x="9" y="10"/>
                    <a:pt x="9" y="11"/>
                  </a:cubicBezTo>
                  <a:cubicBezTo>
                    <a:pt x="9" y="12"/>
                    <a:pt x="9" y="13"/>
                    <a:pt x="9" y="14"/>
                  </a:cubicBezTo>
                  <a:cubicBezTo>
                    <a:pt x="9" y="14"/>
                    <a:pt x="9" y="14"/>
                    <a:pt x="10" y="14"/>
                  </a:cubicBezTo>
                  <a:cubicBezTo>
                    <a:pt x="10" y="15"/>
                    <a:pt x="11" y="15"/>
                    <a:pt x="11" y="15"/>
                  </a:cubicBezTo>
                  <a:cubicBezTo>
                    <a:pt x="12" y="15"/>
                    <a:pt x="17" y="18"/>
                    <a:pt x="17" y="17"/>
                  </a:cubicBezTo>
                  <a:cubicBezTo>
                    <a:pt x="17" y="16"/>
                    <a:pt x="16" y="16"/>
                    <a:pt x="16" y="15"/>
                  </a:cubicBezTo>
                  <a:cubicBezTo>
                    <a:pt x="15" y="14"/>
                    <a:pt x="18" y="12"/>
                    <a:pt x="18" y="12"/>
                  </a:cubicBezTo>
                  <a:cubicBezTo>
                    <a:pt x="17" y="11"/>
                    <a:pt x="14" y="11"/>
                    <a:pt x="13" y="10"/>
                  </a:cubicBezTo>
                  <a:cubicBezTo>
                    <a:pt x="12" y="9"/>
                    <a:pt x="12" y="7"/>
                    <a:pt x="11" y="6"/>
                  </a:cubicBezTo>
                  <a:cubicBezTo>
                    <a:pt x="11" y="4"/>
                    <a:pt x="11" y="2"/>
                    <a:pt x="10" y="1"/>
                  </a:cubicBezTo>
                  <a:cubicBezTo>
                    <a:pt x="9" y="0"/>
                    <a:pt x="8" y="1"/>
                    <a:pt x="7" y="1"/>
                  </a:cubicBezTo>
                  <a:cubicBezTo>
                    <a:pt x="7" y="2"/>
                    <a:pt x="7" y="3"/>
                    <a:pt x="7" y="4"/>
                  </a:cubicBezTo>
                  <a:cubicBezTo>
                    <a:pt x="6" y="2"/>
                    <a:pt x="6" y="0"/>
                    <a:pt x="4" y="1"/>
                  </a:cubicBezTo>
                  <a:cubicBezTo>
                    <a:pt x="3" y="2"/>
                    <a:pt x="3" y="2"/>
                    <a:pt x="3" y="2"/>
                  </a:cubicBezTo>
                  <a:cubicBezTo>
                    <a:pt x="3" y="3"/>
                    <a:pt x="4" y="3"/>
                    <a:pt x="3"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26" name="Freeform 2379">
              <a:extLst>
                <a:ext uri="{FF2B5EF4-FFF2-40B4-BE49-F238E27FC236}">
                  <a16:creationId xmlns:a16="http://schemas.microsoft.com/office/drawing/2014/main" id="{7ECA2FDF-21C6-4D87-9869-E400A4F088E7}"/>
                </a:ext>
              </a:extLst>
            </p:cNvPr>
            <p:cNvSpPr>
              <a:spLocks/>
            </p:cNvSpPr>
            <p:nvPr/>
          </p:nvSpPr>
          <p:spPr bwMode="auto">
            <a:xfrm>
              <a:off x="6145" y="2838"/>
              <a:ext cx="19" cy="19"/>
            </a:xfrm>
            <a:custGeom>
              <a:avLst/>
              <a:gdLst>
                <a:gd name="T0" fmla="*/ 2 w 8"/>
                <a:gd name="T1" fmla="*/ 1 h 8"/>
                <a:gd name="T2" fmla="*/ 1 w 8"/>
                <a:gd name="T3" fmla="*/ 2 h 8"/>
                <a:gd name="T4" fmla="*/ 1 w 8"/>
                <a:gd name="T5" fmla="*/ 4 h 8"/>
                <a:gd name="T6" fmla="*/ 1 w 8"/>
                <a:gd name="T7" fmla="*/ 7 h 8"/>
                <a:gd name="T8" fmla="*/ 4 w 8"/>
                <a:gd name="T9" fmla="*/ 6 h 8"/>
                <a:gd name="T10" fmla="*/ 6 w 8"/>
                <a:gd name="T11" fmla="*/ 7 h 8"/>
                <a:gd name="T12" fmla="*/ 7 w 8"/>
                <a:gd name="T13" fmla="*/ 6 h 8"/>
                <a:gd name="T14" fmla="*/ 8 w 8"/>
                <a:gd name="T15" fmla="*/ 3 h 8"/>
                <a:gd name="T16" fmla="*/ 7 w 8"/>
                <a:gd name="T17" fmla="*/ 2 h 8"/>
                <a:gd name="T18" fmla="*/ 2 w 8"/>
                <a:gd name="T1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8">
                  <a:moveTo>
                    <a:pt x="2" y="1"/>
                  </a:moveTo>
                  <a:cubicBezTo>
                    <a:pt x="1" y="1"/>
                    <a:pt x="1" y="2"/>
                    <a:pt x="1" y="2"/>
                  </a:cubicBezTo>
                  <a:cubicBezTo>
                    <a:pt x="1" y="2"/>
                    <a:pt x="0" y="4"/>
                    <a:pt x="1" y="4"/>
                  </a:cubicBezTo>
                  <a:cubicBezTo>
                    <a:pt x="1" y="5"/>
                    <a:pt x="1" y="7"/>
                    <a:pt x="1" y="7"/>
                  </a:cubicBezTo>
                  <a:cubicBezTo>
                    <a:pt x="2" y="8"/>
                    <a:pt x="3" y="6"/>
                    <a:pt x="4" y="6"/>
                  </a:cubicBezTo>
                  <a:cubicBezTo>
                    <a:pt x="4" y="6"/>
                    <a:pt x="5" y="7"/>
                    <a:pt x="6" y="7"/>
                  </a:cubicBezTo>
                  <a:cubicBezTo>
                    <a:pt x="6" y="7"/>
                    <a:pt x="7" y="7"/>
                    <a:pt x="7" y="6"/>
                  </a:cubicBezTo>
                  <a:cubicBezTo>
                    <a:pt x="7" y="5"/>
                    <a:pt x="8" y="4"/>
                    <a:pt x="8" y="3"/>
                  </a:cubicBezTo>
                  <a:cubicBezTo>
                    <a:pt x="8" y="2"/>
                    <a:pt x="7" y="2"/>
                    <a:pt x="7" y="2"/>
                  </a:cubicBezTo>
                  <a:cubicBezTo>
                    <a:pt x="5" y="1"/>
                    <a:pt x="3" y="0"/>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27" name="Freeform 2380">
              <a:extLst>
                <a:ext uri="{FF2B5EF4-FFF2-40B4-BE49-F238E27FC236}">
                  <a16:creationId xmlns:a16="http://schemas.microsoft.com/office/drawing/2014/main" id="{75FAB716-F3F4-4555-B93E-47D8160C92EF}"/>
                </a:ext>
              </a:extLst>
            </p:cNvPr>
            <p:cNvSpPr>
              <a:spLocks/>
            </p:cNvSpPr>
            <p:nvPr/>
          </p:nvSpPr>
          <p:spPr bwMode="auto">
            <a:xfrm>
              <a:off x="6722" y="2873"/>
              <a:ext cx="0" cy="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28" name="Freeform 2381">
              <a:extLst>
                <a:ext uri="{FF2B5EF4-FFF2-40B4-BE49-F238E27FC236}">
                  <a16:creationId xmlns:a16="http://schemas.microsoft.com/office/drawing/2014/main" id="{0EFE1C85-9C9D-4779-A5F1-B7338B410A82}"/>
                </a:ext>
              </a:extLst>
            </p:cNvPr>
            <p:cNvSpPr>
              <a:spLocks/>
            </p:cNvSpPr>
            <p:nvPr/>
          </p:nvSpPr>
          <p:spPr bwMode="auto">
            <a:xfrm>
              <a:off x="6637" y="2845"/>
              <a:ext cx="73" cy="26"/>
            </a:xfrm>
            <a:custGeom>
              <a:avLst/>
              <a:gdLst>
                <a:gd name="T0" fmla="*/ 5 w 31"/>
                <a:gd name="T1" fmla="*/ 1 h 11"/>
                <a:gd name="T2" fmla="*/ 2 w 31"/>
                <a:gd name="T3" fmla="*/ 2 h 11"/>
                <a:gd name="T4" fmla="*/ 0 w 31"/>
                <a:gd name="T5" fmla="*/ 4 h 11"/>
                <a:gd name="T6" fmla="*/ 1 w 31"/>
                <a:gd name="T7" fmla="*/ 6 h 11"/>
                <a:gd name="T8" fmla="*/ 0 w 31"/>
                <a:gd name="T9" fmla="*/ 8 h 11"/>
                <a:gd name="T10" fmla="*/ 2 w 31"/>
                <a:gd name="T11" fmla="*/ 6 h 11"/>
                <a:gd name="T12" fmla="*/ 2 w 31"/>
                <a:gd name="T13" fmla="*/ 4 h 11"/>
                <a:gd name="T14" fmla="*/ 3 w 31"/>
                <a:gd name="T15" fmla="*/ 3 h 11"/>
                <a:gd name="T16" fmla="*/ 3 w 31"/>
                <a:gd name="T17" fmla="*/ 4 h 11"/>
                <a:gd name="T18" fmla="*/ 3 w 31"/>
                <a:gd name="T19" fmla="*/ 4 h 11"/>
                <a:gd name="T20" fmla="*/ 4 w 31"/>
                <a:gd name="T21" fmla="*/ 5 h 11"/>
                <a:gd name="T22" fmla="*/ 6 w 31"/>
                <a:gd name="T23" fmla="*/ 7 h 11"/>
                <a:gd name="T24" fmla="*/ 9 w 31"/>
                <a:gd name="T25" fmla="*/ 5 h 11"/>
                <a:gd name="T26" fmla="*/ 11 w 31"/>
                <a:gd name="T27" fmla="*/ 5 h 11"/>
                <a:gd name="T28" fmla="*/ 17 w 31"/>
                <a:gd name="T29" fmla="*/ 6 h 11"/>
                <a:gd name="T30" fmla="*/ 19 w 31"/>
                <a:gd name="T31" fmla="*/ 5 h 11"/>
                <a:gd name="T32" fmla="*/ 30 w 31"/>
                <a:gd name="T33" fmla="*/ 11 h 11"/>
                <a:gd name="T34" fmla="*/ 30 w 31"/>
                <a:gd name="T35" fmla="*/ 7 h 11"/>
                <a:gd name="T36" fmla="*/ 29 w 31"/>
                <a:gd name="T37" fmla="*/ 6 h 11"/>
                <a:gd name="T38" fmla="*/ 28 w 31"/>
                <a:gd name="T39" fmla="*/ 5 h 11"/>
                <a:gd name="T40" fmla="*/ 25 w 31"/>
                <a:gd name="T41" fmla="*/ 2 h 11"/>
                <a:gd name="T42" fmla="*/ 20 w 31"/>
                <a:gd name="T43" fmla="*/ 1 h 11"/>
                <a:gd name="T44" fmla="*/ 18 w 31"/>
                <a:gd name="T45" fmla="*/ 0 h 11"/>
                <a:gd name="T46" fmla="*/ 15 w 31"/>
                <a:gd name="T47" fmla="*/ 1 h 11"/>
                <a:gd name="T48" fmla="*/ 12 w 31"/>
                <a:gd name="T49" fmla="*/ 1 h 11"/>
                <a:gd name="T50" fmla="*/ 12 w 31"/>
                <a:gd name="T51" fmla="*/ 0 h 11"/>
                <a:gd name="T52" fmla="*/ 11 w 31"/>
                <a:gd name="T53" fmla="*/ 1 h 11"/>
                <a:gd name="T54" fmla="*/ 5 w 31"/>
                <a:gd name="T55"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 h="11">
                  <a:moveTo>
                    <a:pt x="5" y="1"/>
                  </a:moveTo>
                  <a:cubicBezTo>
                    <a:pt x="4" y="1"/>
                    <a:pt x="2" y="0"/>
                    <a:pt x="2" y="2"/>
                  </a:cubicBezTo>
                  <a:cubicBezTo>
                    <a:pt x="2" y="3"/>
                    <a:pt x="1" y="4"/>
                    <a:pt x="0" y="4"/>
                  </a:cubicBezTo>
                  <a:cubicBezTo>
                    <a:pt x="0" y="5"/>
                    <a:pt x="1" y="5"/>
                    <a:pt x="1" y="6"/>
                  </a:cubicBezTo>
                  <a:cubicBezTo>
                    <a:pt x="1" y="7"/>
                    <a:pt x="0" y="7"/>
                    <a:pt x="0" y="8"/>
                  </a:cubicBezTo>
                  <a:cubicBezTo>
                    <a:pt x="1" y="7"/>
                    <a:pt x="1" y="6"/>
                    <a:pt x="2" y="6"/>
                  </a:cubicBezTo>
                  <a:cubicBezTo>
                    <a:pt x="2" y="5"/>
                    <a:pt x="2" y="5"/>
                    <a:pt x="2" y="4"/>
                  </a:cubicBezTo>
                  <a:cubicBezTo>
                    <a:pt x="2" y="4"/>
                    <a:pt x="2" y="3"/>
                    <a:pt x="3" y="3"/>
                  </a:cubicBezTo>
                  <a:cubicBezTo>
                    <a:pt x="3" y="3"/>
                    <a:pt x="3" y="3"/>
                    <a:pt x="3" y="4"/>
                  </a:cubicBezTo>
                  <a:cubicBezTo>
                    <a:pt x="3" y="4"/>
                    <a:pt x="3" y="4"/>
                    <a:pt x="3" y="4"/>
                  </a:cubicBezTo>
                  <a:cubicBezTo>
                    <a:pt x="3" y="4"/>
                    <a:pt x="4" y="4"/>
                    <a:pt x="4" y="5"/>
                  </a:cubicBezTo>
                  <a:cubicBezTo>
                    <a:pt x="5" y="5"/>
                    <a:pt x="5" y="6"/>
                    <a:pt x="6" y="7"/>
                  </a:cubicBezTo>
                  <a:cubicBezTo>
                    <a:pt x="7" y="7"/>
                    <a:pt x="8" y="5"/>
                    <a:pt x="9" y="5"/>
                  </a:cubicBezTo>
                  <a:cubicBezTo>
                    <a:pt x="10" y="4"/>
                    <a:pt x="10" y="4"/>
                    <a:pt x="11" y="5"/>
                  </a:cubicBezTo>
                  <a:cubicBezTo>
                    <a:pt x="11" y="6"/>
                    <a:pt x="16" y="6"/>
                    <a:pt x="17" y="6"/>
                  </a:cubicBezTo>
                  <a:cubicBezTo>
                    <a:pt x="16" y="5"/>
                    <a:pt x="18" y="5"/>
                    <a:pt x="19" y="5"/>
                  </a:cubicBezTo>
                  <a:cubicBezTo>
                    <a:pt x="23" y="6"/>
                    <a:pt x="27" y="9"/>
                    <a:pt x="30" y="11"/>
                  </a:cubicBezTo>
                  <a:cubicBezTo>
                    <a:pt x="30" y="9"/>
                    <a:pt x="31" y="8"/>
                    <a:pt x="30" y="7"/>
                  </a:cubicBezTo>
                  <a:cubicBezTo>
                    <a:pt x="30" y="6"/>
                    <a:pt x="30" y="7"/>
                    <a:pt x="29" y="6"/>
                  </a:cubicBezTo>
                  <a:cubicBezTo>
                    <a:pt x="28" y="6"/>
                    <a:pt x="28" y="6"/>
                    <a:pt x="28" y="5"/>
                  </a:cubicBezTo>
                  <a:cubicBezTo>
                    <a:pt x="28" y="3"/>
                    <a:pt x="26" y="2"/>
                    <a:pt x="25" y="2"/>
                  </a:cubicBezTo>
                  <a:cubicBezTo>
                    <a:pt x="23" y="2"/>
                    <a:pt x="21" y="2"/>
                    <a:pt x="20" y="1"/>
                  </a:cubicBezTo>
                  <a:cubicBezTo>
                    <a:pt x="19" y="1"/>
                    <a:pt x="19" y="0"/>
                    <a:pt x="18" y="0"/>
                  </a:cubicBezTo>
                  <a:cubicBezTo>
                    <a:pt x="16" y="0"/>
                    <a:pt x="16" y="0"/>
                    <a:pt x="15" y="1"/>
                  </a:cubicBezTo>
                  <a:cubicBezTo>
                    <a:pt x="14" y="1"/>
                    <a:pt x="13" y="2"/>
                    <a:pt x="12" y="1"/>
                  </a:cubicBezTo>
                  <a:cubicBezTo>
                    <a:pt x="12" y="1"/>
                    <a:pt x="13" y="0"/>
                    <a:pt x="12" y="0"/>
                  </a:cubicBezTo>
                  <a:cubicBezTo>
                    <a:pt x="12" y="0"/>
                    <a:pt x="11" y="0"/>
                    <a:pt x="11" y="1"/>
                  </a:cubicBezTo>
                  <a:cubicBezTo>
                    <a:pt x="9" y="1"/>
                    <a:pt x="7" y="1"/>
                    <a:pt x="5"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29" name="Freeform 2382">
              <a:extLst>
                <a:ext uri="{FF2B5EF4-FFF2-40B4-BE49-F238E27FC236}">
                  <a16:creationId xmlns:a16="http://schemas.microsoft.com/office/drawing/2014/main" id="{F0759A49-D4A9-4FC0-9A2F-9DAFE5BAF3DB}"/>
                </a:ext>
              </a:extLst>
            </p:cNvPr>
            <p:cNvSpPr>
              <a:spLocks/>
            </p:cNvSpPr>
            <p:nvPr/>
          </p:nvSpPr>
          <p:spPr bwMode="auto">
            <a:xfrm>
              <a:off x="6043" y="2750"/>
              <a:ext cx="3" cy="3"/>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1" y="0"/>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30" name="Freeform 2383">
              <a:extLst>
                <a:ext uri="{FF2B5EF4-FFF2-40B4-BE49-F238E27FC236}">
                  <a16:creationId xmlns:a16="http://schemas.microsoft.com/office/drawing/2014/main" id="{F2FFAE36-15BE-46B6-89EF-9A910A439E15}"/>
                </a:ext>
              </a:extLst>
            </p:cNvPr>
            <p:cNvSpPr>
              <a:spLocks/>
            </p:cNvSpPr>
            <p:nvPr/>
          </p:nvSpPr>
          <p:spPr bwMode="auto">
            <a:xfrm>
              <a:off x="6053" y="2755"/>
              <a:ext cx="2" cy="2"/>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31" name="Freeform 2384">
              <a:extLst>
                <a:ext uri="{FF2B5EF4-FFF2-40B4-BE49-F238E27FC236}">
                  <a16:creationId xmlns:a16="http://schemas.microsoft.com/office/drawing/2014/main" id="{1FFE90AB-B4A8-4D67-9C55-39D96B6FF7D8}"/>
                </a:ext>
              </a:extLst>
            </p:cNvPr>
            <p:cNvSpPr>
              <a:spLocks/>
            </p:cNvSpPr>
            <p:nvPr/>
          </p:nvSpPr>
          <p:spPr bwMode="auto">
            <a:xfrm>
              <a:off x="6590" y="2852"/>
              <a:ext cx="33" cy="19"/>
            </a:xfrm>
            <a:custGeom>
              <a:avLst/>
              <a:gdLst>
                <a:gd name="T0" fmla="*/ 11 w 14"/>
                <a:gd name="T1" fmla="*/ 1 h 8"/>
                <a:gd name="T2" fmla="*/ 5 w 14"/>
                <a:gd name="T3" fmla="*/ 0 h 8"/>
                <a:gd name="T4" fmla="*/ 1 w 14"/>
                <a:gd name="T5" fmla="*/ 3 h 8"/>
                <a:gd name="T6" fmla="*/ 3 w 14"/>
                <a:gd name="T7" fmla="*/ 5 h 8"/>
                <a:gd name="T8" fmla="*/ 8 w 14"/>
                <a:gd name="T9" fmla="*/ 8 h 8"/>
                <a:gd name="T10" fmla="*/ 14 w 14"/>
                <a:gd name="T11" fmla="*/ 5 h 8"/>
                <a:gd name="T12" fmla="*/ 14 w 14"/>
                <a:gd name="T13" fmla="*/ 3 h 8"/>
                <a:gd name="T14" fmla="*/ 12 w 14"/>
                <a:gd name="T15" fmla="*/ 2 h 8"/>
                <a:gd name="T16" fmla="*/ 11 w 14"/>
                <a:gd name="T1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8">
                  <a:moveTo>
                    <a:pt x="11" y="1"/>
                  </a:moveTo>
                  <a:cubicBezTo>
                    <a:pt x="9" y="0"/>
                    <a:pt x="8" y="0"/>
                    <a:pt x="5" y="0"/>
                  </a:cubicBezTo>
                  <a:cubicBezTo>
                    <a:pt x="3" y="0"/>
                    <a:pt x="0" y="0"/>
                    <a:pt x="1" y="3"/>
                  </a:cubicBezTo>
                  <a:cubicBezTo>
                    <a:pt x="2" y="4"/>
                    <a:pt x="3" y="5"/>
                    <a:pt x="3" y="5"/>
                  </a:cubicBezTo>
                  <a:cubicBezTo>
                    <a:pt x="4" y="6"/>
                    <a:pt x="7" y="8"/>
                    <a:pt x="8" y="8"/>
                  </a:cubicBezTo>
                  <a:cubicBezTo>
                    <a:pt x="9" y="8"/>
                    <a:pt x="13" y="6"/>
                    <a:pt x="14" y="5"/>
                  </a:cubicBezTo>
                  <a:cubicBezTo>
                    <a:pt x="14" y="5"/>
                    <a:pt x="14" y="3"/>
                    <a:pt x="14" y="3"/>
                  </a:cubicBezTo>
                  <a:cubicBezTo>
                    <a:pt x="13" y="2"/>
                    <a:pt x="13" y="3"/>
                    <a:pt x="12" y="2"/>
                  </a:cubicBezTo>
                  <a:cubicBezTo>
                    <a:pt x="12" y="1"/>
                    <a:pt x="12" y="1"/>
                    <a:pt x="1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32" name="Freeform 2385">
              <a:extLst>
                <a:ext uri="{FF2B5EF4-FFF2-40B4-BE49-F238E27FC236}">
                  <a16:creationId xmlns:a16="http://schemas.microsoft.com/office/drawing/2014/main" id="{6C207645-1857-4D5E-9404-F306DC8A1B38}"/>
                </a:ext>
              </a:extLst>
            </p:cNvPr>
            <p:cNvSpPr>
              <a:spLocks/>
            </p:cNvSpPr>
            <p:nvPr/>
          </p:nvSpPr>
          <p:spPr bwMode="auto">
            <a:xfrm>
              <a:off x="6422" y="3003"/>
              <a:ext cx="47" cy="24"/>
            </a:xfrm>
            <a:custGeom>
              <a:avLst/>
              <a:gdLst>
                <a:gd name="T0" fmla="*/ 1 w 20"/>
                <a:gd name="T1" fmla="*/ 3 h 10"/>
                <a:gd name="T2" fmla="*/ 4 w 20"/>
                <a:gd name="T3" fmla="*/ 5 h 10"/>
                <a:gd name="T4" fmla="*/ 8 w 20"/>
                <a:gd name="T5" fmla="*/ 5 h 10"/>
                <a:gd name="T6" fmla="*/ 15 w 20"/>
                <a:gd name="T7" fmla="*/ 10 h 10"/>
                <a:gd name="T8" fmla="*/ 16 w 20"/>
                <a:gd name="T9" fmla="*/ 9 h 10"/>
                <a:gd name="T10" fmla="*/ 19 w 20"/>
                <a:gd name="T11" fmla="*/ 7 h 10"/>
                <a:gd name="T12" fmla="*/ 17 w 20"/>
                <a:gd name="T13" fmla="*/ 5 h 10"/>
                <a:gd name="T14" fmla="*/ 16 w 20"/>
                <a:gd name="T15" fmla="*/ 4 h 10"/>
                <a:gd name="T16" fmla="*/ 15 w 20"/>
                <a:gd name="T17" fmla="*/ 3 h 10"/>
                <a:gd name="T18" fmla="*/ 13 w 20"/>
                <a:gd name="T19" fmla="*/ 3 h 10"/>
                <a:gd name="T20" fmla="*/ 13 w 20"/>
                <a:gd name="T21" fmla="*/ 2 h 10"/>
                <a:gd name="T22" fmla="*/ 12 w 20"/>
                <a:gd name="T23" fmla="*/ 1 h 10"/>
                <a:gd name="T24" fmla="*/ 9 w 20"/>
                <a:gd name="T25" fmla="*/ 0 h 10"/>
                <a:gd name="T26" fmla="*/ 0 w 20"/>
                <a:gd name="T27" fmla="*/ 2 h 10"/>
                <a:gd name="T28" fmla="*/ 1 w 20"/>
                <a:gd name="T29"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10">
                  <a:moveTo>
                    <a:pt x="1" y="3"/>
                  </a:moveTo>
                  <a:cubicBezTo>
                    <a:pt x="1" y="4"/>
                    <a:pt x="3" y="5"/>
                    <a:pt x="4" y="5"/>
                  </a:cubicBezTo>
                  <a:cubicBezTo>
                    <a:pt x="5" y="5"/>
                    <a:pt x="6" y="4"/>
                    <a:pt x="8" y="5"/>
                  </a:cubicBezTo>
                  <a:cubicBezTo>
                    <a:pt x="10" y="7"/>
                    <a:pt x="13" y="8"/>
                    <a:pt x="15" y="10"/>
                  </a:cubicBezTo>
                  <a:cubicBezTo>
                    <a:pt x="15" y="10"/>
                    <a:pt x="16" y="9"/>
                    <a:pt x="16" y="9"/>
                  </a:cubicBezTo>
                  <a:cubicBezTo>
                    <a:pt x="17" y="9"/>
                    <a:pt x="20" y="9"/>
                    <a:pt x="19" y="7"/>
                  </a:cubicBezTo>
                  <a:cubicBezTo>
                    <a:pt x="19" y="6"/>
                    <a:pt x="18" y="6"/>
                    <a:pt x="17" y="5"/>
                  </a:cubicBezTo>
                  <a:cubicBezTo>
                    <a:pt x="17" y="5"/>
                    <a:pt x="17" y="4"/>
                    <a:pt x="16" y="4"/>
                  </a:cubicBezTo>
                  <a:cubicBezTo>
                    <a:pt x="15" y="3"/>
                    <a:pt x="15" y="3"/>
                    <a:pt x="15" y="3"/>
                  </a:cubicBezTo>
                  <a:cubicBezTo>
                    <a:pt x="14" y="3"/>
                    <a:pt x="14" y="4"/>
                    <a:pt x="13" y="3"/>
                  </a:cubicBezTo>
                  <a:cubicBezTo>
                    <a:pt x="13" y="3"/>
                    <a:pt x="13" y="2"/>
                    <a:pt x="13" y="2"/>
                  </a:cubicBezTo>
                  <a:cubicBezTo>
                    <a:pt x="13" y="1"/>
                    <a:pt x="12" y="2"/>
                    <a:pt x="12" y="1"/>
                  </a:cubicBezTo>
                  <a:cubicBezTo>
                    <a:pt x="11" y="1"/>
                    <a:pt x="11" y="0"/>
                    <a:pt x="9" y="0"/>
                  </a:cubicBezTo>
                  <a:cubicBezTo>
                    <a:pt x="6" y="0"/>
                    <a:pt x="3" y="0"/>
                    <a:pt x="0" y="2"/>
                  </a:cubicBezTo>
                  <a:cubicBezTo>
                    <a:pt x="0" y="2"/>
                    <a:pt x="0" y="3"/>
                    <a:pt x="1" y="3"/>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33" name="Freeform 2386">
              <a:extLst>
                <a:ext uri="{FF2B5EF4-FFF2-40B4-BE49-F238E27FC236}">
                  <a16:creationId xmlns:a16="http://schemas.microsoft.com/office/drawing/2014/main" id="{39636157-D946-46E9-8BD4-96A4D723E405}"/>
                </a:ext>
              </a:extLst>
            </p:cNvPr>
            <p:cNvSpPr>
              <a:spLocks/>
            </p:cNvSpPr>
            <p:nvPr/>
          </p:nvSpPr>
          <p:spPr bwMode="auto">
            <a:xfrm>
              <a:off x="6509" y="2880"/>
              <a:ext cx="17" cy="34"/>
            </a:xfrm>
            <a:custGeom>
              <a:avLst/>
              <a:gdLst>
                <a:gd name="T0" fmla="*/ 2 w 7"/>
                <a:gd name="T1" fmla="*/ 14 h 14"/>
                <a:gd name="T2" fmla="*/ 3 w 7"/>
                <a:gd name="T3" fmla="*/ 14 h 14"/>
                <a:gd name="T4" fmla="*/ 6 w 7"/>
                <a:gd name="T5" fmla="*/ 10 h 14"/>
                <a:gd name="T6" fmla="*/ 5 w 7"/>
                <a:gd name="T7" fmla="*/ 9 h 14"/>
                <a:gd name="T8" fmla="*/ 5 w 7"/>
                <a:gd name="T9" fmla="*/ 5 h 14"/>
                <a:gd name="T10" fmla="*/ 6 w 7"/>
                <a:gd name="T11" fmla="*/ 6 h 14"/>
                <a:gd name="T12" fmla="*/ 3 w 7"/>
                <a:gd name="T13" fmla="*/ 2 h 14"/>
                <a:gd name="T14" fmla="*/ 3 w 7"/>
                <a:gd name="T15" fmla="*/ 5 h 14"/>
                <a:gd name="T16" fmla="*/ 2 w 7"/>
                <a:gd name="T17" fmla="*/ 9 h 14"/>
                <a:gd name="T18" fmla="*/ 1 w 7"/>
                <a:gd name="T19" fmla="*/ 12 h 14"/>
                <a:gd name="T20" fmla="*/ 0 w 7"/>
                <a:gd name="T21" fmla="*/ 13 h 14"/>
                <a:gd name="T22" fmla="*/ 2 w 7"/>
                <a:gd name="T2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4">
                  <a:moveTo>
                    <a:pt x="2" y="14"/>
                  </a:moveTo>
                  <a:cubicBezTo>
                    <a:pt x="3" y="14"/>
                    <a:pt x="2" y="14"/>
                    <a:pt x="3" y="14"/>
                  </a:cubicBezTo>
                  <a:cubicBezTo>
                    <a:pt x="4" y="13"/>
                    <a:pt x="7" y="11"/>
                    <a:pt x="6" y="10"/>
                  </a:cubicBezTo>
                  <a:cubicBezTo>
                    <a:pt x="6" y="10"/>
                    <a:pt x="5" y="9"/>
                    <a:pt x="5" y="9"/>
                  </a:cubicBezTo>
                  <a:cubicBezTo>
                    <a:pt x="4" y="8"/>
                    <a:pt x="4" y="6"/>
                    <a:pt x="5" y="5"/>
                  </a:cubicBezTo>
                  <a:cubicBezTo>
                    <a:pt x="6" y="4"/>
                    <a:pt x="6" y="5"/>
                    <a:pt x="6" y="6"/>
                  </a:cubicBezTo>
                  <a:cubicBezTo>
                    <a:pt x="7" y="4"/>
                    <a:pt x="5" y="0"/>
                    <a:pt x="3" y="2"/>
                  </a:cubicBezTo>
                  <a:cubicBezTo>
                    <a:pt x="3" y="3"/>
                    <a:pt x="3" y="4"/>
                    <a:pt x="3" y="5"/>
                  </a:cubicBezTo>
                  <a:cubicBezTo>
                    <a:pt x="3" y="6"/>
                    <a:pt x="2" y="8"/>
                    <a:pt x="2" y="9"/>
                  </a:cubicBezTo>
                  <a:cubicBezTo>
                    <a:pt x="2" y="10"/>
                    <a:pt x="1" y="11"/>
                    <a:pt x="1" y="12"/>
                  </a:cubicBezTo>
                  <a:cubicBezTo>
                    <a:pt x="0" y="12"/>
                    <a:pt x="0" y="13"/>
                    <a:pt x="0" y="13"/>
                  </a:cubicBezTo>
                  <a:cubicBezTo>
                    <a:pt x="1" y="13"/>
                    <a:pt x="1" y="14"/>
                    <a:pt x="2" y="1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grpSp>
      <p:grpSp>
        <p:nvGrpSpPr>
          <p:cNvPr id="108" name="Group 2588">
            <a:extLst>
              <a:ext uri="{FF2B5EF4-FFF2-40B4-BE49-F238E27FC236}">
                <a16:creationId xmlns:a16="http://schemas.microsoft.com/office/drawing/2014/main" id="{C211DEBE-6D69-45BD-AB5D-DDDBF07A09CD}"/>
              </a:ext>
            </a:extLst>
          </p:cNvPr>
          <p:cNvGrpSpPr>
            <a:grpSpLocks/>
          </p:cNvGrpSpPr>
          <p:nvPr/>
        </p:nvGrpSpPr>
        <p:grpSpPr bwMode="auto">
          <a:xfrm>
            <a:off x="3217591" y="2723948"/>
            <a:ext cx="2276605" cy="1880509"/>
            <a:chOff x="3301" y="1033"/>
            <a:chExt cx="4594" cy="3168"/>
          </a:xfrm>
          <a:solidFill>
            <a:schemeClr val="tx1">
              <a:lumMod val="40000"/>
              <a:lumOff val="60000"/>
            </a:schemeClr>
          </a:solidFill>
        </p:grpSpPr>
        <p:sp>
          <p:nvSpPr>
            <p:cNvPr id="734" name="Freeform 2388">
              <a:extLst>
                <a:ext uri="{FF2B5EF4-FFF2-40B4-BE49-F238E27FC236}">
                  <a16:creationId xmlns:a16="http://schemas.microsoft.com/office/drawing/2014/main" id="{72465821-9DC4-4DF2-A12B-C42847616586}"/>
                </a:ext>
              </a:extLst>
            </p:cNvPr>
            <p:cNvSpPr>
              <a:spLocks/>
            </p:cNvSpPr>
            <p:nvPr/>
          </p:nvSpPr>
          <p:spPr bwMode="auto">
            <a:xfrm>
              <a:off x="5968" y="2845"/>
              <a:ext cx="9" cy="12"/>
            </a:xfrm>
            <a:custGeom>
              <a:avLst/>
              <a:gdLst>
                <a:gd name="T0" fmla="*/ 0 w 4"/>
                <a:gd name="T1" fmla="*/ 0 h 5"/>
                <a:gd name="T2" fmla="*/ 3 w 4"/>
                <a:gd name="T3" fmla="*/ 5 h 5"/>
                <a:gd name="T4" fmla="*/ 2 w 4"/>
                <a:gd name="T5" fmla="*/ 4 h 5"/>
                <a:gd name="T6" fmla="*/ 0 w 4"/>
                <a:gd name="T7" fmla="*/ 0 h 5"/>
              </a:gdLst>
              <a:ahLst/>
              <a:cxnLst>
                <a:cxn ang="0">
                  <a:pos x="T0" y="T1"/>
                </a:cxn>
                <a:cxn ang="0">
                  <a:pos x="T2" y="T3"/>
                </a:cxn>
                <a:cxn ang="0">
                  <a:pos x="T4" y="T5"/>
                </a:cxn>
                <a:cxn ang="0">
                  <a:pos x="T6" y="T7"/>
                </a:cxn>
              </a:cxnLst>
              <a:rect l="0" t="0" r="r" b="b"/>
              <a:pathLst>
                <a:path w="4" h="5">
                  <a:moveTo>
                    <a:pt x="0" y="0"/>
                  </a:moveTo>
                  <a:cubicBezTo>
                    <a:pt x="1" y="2"/>
                    <a:pt x="2" y="4"/>
                    <a:pt x="3" y="5"/>
                  </a:cubicBezTo>
                  <a:cubicBezTo>
                    <a:pt x="3" y="5"/>
                    <a:pt x="2" y="4"/>
                    <a:pt x="2" y="4"/>
                  </a:cubicBezTo>
                  <a:cubicBezTo>
                    <a:pt x="4" y="3"/>
                    <a:pt x="2"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35" name="Freeform 2389">
              <a:extLst>
                <a:ext uri="{FF2B5EF4-FFF2-40B4-BE49-F238E27FC236}">
                  <a16:creationId xmlns:a16="http://schemas.microsoft.com/office/drawing/2014/main" id="{F8567787-6FC5-4D9D-83B5-A164C1977EE9}"/>
                </a:ext>
              </a:extLst>
            </p:cNvPr>
            <p:cNvSpPr>
              <a:spLocks/>
            </p:cNvSpPr>
            <p:nvPr/>
          </p:nvSpPr>
          <p:spPr bwMode="auto">
            <a:xfrm>
              <a:off x="6358" y="2859"/>
              <a:ext cx="2" cy="7"/>
            </a:xfrm>
            <a:custGeom>
              <a:avLst/>
              <a:gdLst>
                <a:gd name="T0" fmla="*/ 0 w 1"/>
                <a:gd name="T1" fmla="*/ 1 h 3"/>
                <a:gd name="T2" fmla="*/ 0 w 1"/>
                <a:gd name="T3" fmla="*/ 1 h 3"/>
                <a:gd name="T4" fmla="*/ 0 w 1"/>
                <a:gd name="T5" fmla="*/ 1 h 3"/>
                <a:gd name="T6" fmla="*/ 1 w 1"/>
                <a:gd name="T7" fmla="*/ 3 h 3"/>
                <a:gd name="T8" fmla="*/ 1 w 1"/>
                <a:gd name="T9" fmla="*/ 0 h 3"/>
                <a:gd name="T10" fmla="*/ 0 w 1"/>
                <a:gd name="T11" fmla="*/ 1 h 3"/>
              </a:gdLst>
              <a:ahLst/>
              <a:cxnLst>
                <a:cxn ang="0">
                  <a:pos x="T0" y="T1"/>
                </a:cxn>
                <a:cxn ang="0">
                  <a:pos x="T2" y="T3"/>
                </a:cxn>
                <a:cxn ang="0">
                  <a:pos x="T4" y="T5"/>
                </a:cxn>
                <a:cxn ang="0">
                  <a:pos x="T6" y="T7"/>
                </a:cxn>
                <a:cxn ang="0">
                  <a:pos x="T8" y="T9"/>
                </a:cxn>
                <a:cxn ang="0">
                  <a:pos x="T10" y="T11"/>
                </a:cxn>
              </a:cxnLst>
              <a:rect l="0" t="0" r="r" b="b"/>
              <a:pathLst>
                <a:path w="1" h="3">
                  <a:moveTo>
                    <a:pt x="0" y="1"/>
                  </a:moveTo>
                  <a:cubicBezTo>
                    <a:pt x="0" y="1"/>
                    <a:pt x="0" y="1"/>
                    <a:pt x="0" y="1"/>
                  </a:cubicBezTo>
                  <a:cubicBezTo>
                    <a:pt x="0" y="1"/>
                    <a:pt x="0" y="1"/>
                    <a:pt x="0" y="1"/>
                  </a:cubicBezTo>
                  <a:cubicBezTo>
                    <a:pt x="0" y="1"/>
                    <a:pt x="0" y="2"/>
                    <a:pt x="1" y="3"/>
                  </a:cubicBezTo>
                  <a:cubicBezTo>
                    <a:pt x="1" y="2"/>
                    <a:pt x="1" y="1"/>
                    <a:pt x="1" y="0"/>
                  </a:cubicBezTo>
                  <a:cubicBezTo>
                    <a:pt x="1" y="0"/>
                    <a:pt x="1"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36" name="Freeform 2390">
              <a:extLst>
                <a:ext uri="{FF2B5EF4-FFF2-40B4-BE49-F238E27FC236}">
                  <a16:creationId xmlns:a16="http://schemas.microsoft.com/office/drawing/2014/main" id="{E49797C1-7BBE-468B-A8BC-462189D3316D}"/>
                </a:ext>
              </a:extLst>
            </p:cNvPr>
            <p:cNvSpPr>
              <a:spLocks/>
            </p:cNvSpPr>
            <p:nvPr/>
          </p:nvSpPr>
          <p:spPr bwMode="auto">
            <a:xfrm>
              <a:off x="6788" y="2909"/>
              <a:ext cx="17" cy="23"/>
            </a:xfrm>
            <a:custGeom>
              <a:avLst/>
              <a:gdLst>
                <a:gd name="T0" fmla="*/ 6 w 7"/>
                <a:gd name="T1" fmla="*/ 6 h 10"/>
                <a:gd name="T2" fmla="*/ 5 w 7"/>
                <a:gd name="T3" fmla="*/ 1 h 10"/>
                <a:gd name="T4" fmla="*/ 5 w 7"/>
                <a:gd name="T5" fmla="*/ 0 h 10"/>
                <a:gd name="T6" fmla="*/ 4 w 7"/>
                <a:gd name="T7" fmla="*/ 0 h 10"/>
                <a:gd name="T8" fmla="*/ 4 w 7"/>
                <a:gd name="T9" fmla="*/ 1 h 10"/>
                <a:gd name="T10" fmla="*/ 3 w 7"/>
                <a:gd name="T11" fmla="*/ 1 h 10"/>
                <a:gd name="T12" fmla="*/ 2 w 7"/>
                <a:gd name="T13" fmla="*/ 2 h 10"/>
                <a:gd name="T14" fmla="*/ 1 w 7"/>
                <a:gd name="T15" fmla="*/ 3 h 10"/>
                <a:gd name="T16" fmla="*/ 2 w 7"/>
                <a:gd name="T17" fmla="*/ 4 h 10"/>
                <a:gd name="T18" fmla="*/ 2 w 7"/>
                <a:gd name="T19" fmla="*/ 5 h 10"/>
                <a:gd name="T20" fmla="*/ 1 w 7"/>
                <a:gd name="T21" fmla="*/ 7 h 10"/>
                <a:gd name="T22" fmla="*/ 5 w 7"/>
                <a:gd name="T23" fmla="*/ 9 h 10"/>
                <a:gd name="T24" fmla="*/ 6 w 7"/>
                <a:gd name="T25" fmla="*/ 8 h 10"/>
                <a:gd name="T26" fmla="*/ 6 w 7"/>
                <a:gd name="T2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0">
                  <a:moveTo>
                    <a:pt x="6" y="6"/>
                  </a:moveTo>
                  <a:cubicBezTo>
                    <a:pt x="6" y="4"/>
                    <a:pt x="7" y="2"/>
                    <a:pt x="5" y="1"/>
                  </a:cubicBezTo>
                  <a:cubicBezTo>
                    <a:pt x="5" y="0"/>
                    <a:pt x="5" y="0"/>
                    <a:pt x="5" y="0"/>
                  </a:cubicBezTo>
                  <a:cubicBezTo>
                    <a:pt x="3" y="0"/>
                    <a:pt x="4" y="0"/>
                    <a:pt x="4" y="0"/>
                  </a:cubicBezTo>
                  <a:cubicBezTo>
                    <a:pt x="3" y="1"/>
                    <a:pt x="4" y="1"/>
                    <a:pt x="4" y="1"/>
                  </a:cubicBezTo>
                  <a:cubicBezTo>
                    <a:pt x="4" y="1"/>
                    <a:pt x="3" y="1"/>
                    <a:pt x="3" y="1"/>
                  </a:cubicBezTo>
                  <a:cubicBezTo>
                    <a:pt x="3" y="2"/>
                    <a:pt x="3" y="2"/>
                    <a:pt x="2" y="2"/>
                  </a:cubicBezTo>
                  <a:cubicBezTo>
                    <a:pt x="1" y="3"/>
                    <a:pt x="0" y="3"/>
                    <a:pt x="1" y="3"/>
                  </a:cubicBezTo>
                  <a:cubicBezTo>
                    <a:pt x="2" y="4"/>
                    <a:pt x="2" y="3"/>
                    <a:pt x="2" y="4"/>
                  </a:cubicBezTo>
                  <a:cubicBezTo>
                    <a:pt x="2" y="4"/>
                    <a:pt x="2" y="4"/>
                    <a:pt x="2" y="5"/>
                  </a:cubicBezTo>
                  <a:cubicBezTo>
                    <a:pt x="2" y="5"/>
                    <a:pt x="1" y="7"/>
                    <a:pt x="1" y="7"/>
                  </a:cubicBezTo>
                  <a:cubicBezTo>
                    <a:pt x="1" y="8"/>
                    <a:pt x="4" y="10"/>
                    <a:pt x="5" y="9"/>
                  </a:cubicBezTo>
                  <a:cubicBezTo>
                    <a:pt x="6" y="9"/>
                    <a:pt x="7" y="7"/>
                    <a:pt x="6" y="8"/>
                  </a:cubicBezTo>
                  <a:cubicBezTo>
                    <a:pt x="7" y="7"/>
                    <a:pt x="6" y="6"/>
                    <a:pt x="6" y="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37" name="Freeform 2391">
              <a:extLst>
                <a:ext uri="{FF2B5EF4-FFF2-40B4-BE49-F238E27FC236}">
                  <a16:creationId xmlns:a16="http://schemas.microsoft.com/office/drawing/2014/main" id="{CEE915C8-5626-4DE7-BF13-AFBB8987F290}"/>
                </a:ext>
              </a:extLst>
            </p:cNvPr>
            <p:cNvSpPr>
              <a:spLocks/>
            </p:cNvSpPr>
            <p:nvPr/>
          </p:nvSpPr>
          <p:spPr bwMode="auto">
            <a:xfrm>
              <a:off x="6698" y="2788"/>
              <a:ext cx="5" cy="2"/>
            </a:xfrm>
            <a:custGeom>
              <a:avLst/>
              <a:gdLst>
                <a:gd name="T0" fmla="*/ 0 w 2"/>
                <a:gd name="T1" fmla="*/ 1 h 1"/>
                <a:gd name="T2" fmla="*/ 2 w 2"/>
                <a:gd name="T3" fmla="*/ 0 h 1"/>
                <a:gd name="T4" fmla="*/ 0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0"/>
                    <a:pt x="2" y="0"/>
                    <a:pt x="2" y="0"/>
                  </a:cubicBezTo>
                  <a:cubicBezTo>
                    <a:pt x="1" y="0"/>
                    <a:pt x="1" y="0"/>
                    <a:pt x="0" y="0"/>
                  </a:cubicBezTo>
                  <a:cubicBezTo>
                    <a:pt x="0" y="0"/>
                    <a:pt x="0"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38" name="Freeform 2392">
              <a:extLst>
                <a:ext uri="{FF2B5EF4-FFF2-40B4-BE49-F238E27FC236}">
                  <a16:creationId xmlns:a16="http://schemas.microsoft.com/office/drawing/2014/main" id="{5EFA537C-CD47-4E8B-AB84-4125F449933D}"/>
                </a:ext>
              </a:extLst>
            </p:cNvPr>
            <p:cNvSpPr>
              <a:spLocks/>
            </p:cNvSpPr>
            <p:nvPr/>
          </p:nvSpPr>
          <p:spPr bwMode="auto">
            <a:xfrm>
              <a:off x="6514" y="2805"/>
              <a:ext cx="19" cy="14"/>
            </a:xfrm>
            <a:custGeom>
              <a:avLst/>
              <a:gdLst>
                <a:gd name="T0" fmla="*/ 5 w 8"/>
                <a:gd name="T1" fmla="*/ 2 h 6"/>
                <a:gd name="T2" fmla="*/ 4 w 8"/>
                <a:gd name="T3" fmla="*/ 0 h 6"/>
                <a:gd name="T4" fmla="*/ 3 w 8"/>
                <a:gd name="T5" fmla="*/ 0 h 6"/>
                <a:gd name="T6" fmla="*/ 1 w 8"/>
                <a:gd name="T7" fmla="*/ 1 h 6"/>
                <a:gd name="T8" fmla="*/ 0 w 8"/>
                <a:gd name="T9" fmla="*/ 3 h 6"/>
                <a:gd name="T10" fmla="*/ 4 w 8"/>
                <a:gd name="T11" fmla="*/ 2 h 6"/>
                <a:gd name="T12" fmla="*/ 4 w 8"/>
                <a:gd name="T13" fmla="*/ 3 h 6"/>
                <a:gd name="T14" fmla="*/ 5 w 8"/>
                <a:gd name="T15" fmla="*/ 5 h 6"/>
                <a:gd name="T16" fmla="*/ 8 w 8"/>
                <a:gd name="T17" fmla="*/ 1 h 6"/>
                <a:gd name="T18" fmla="*/ 5 w 8"/>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6">
                  <a:moveTo>
                    <a:pt x="5" y="2"/>
                  </a:moveTo>
                  <a:cubicBezTo>
                    <a:pt x="5" y="1"/>
                    <a:pt x="5" y="0"/>
                    <a:pt x="4" y="0"/>
                  </a:cubicBezTo>
                  <a:cubicBezTo>
                    <a:pt x="4" y="0"/>
                    <a:pt x="3" y="0"/>
                    <a:pt x="3" y="0"/>
                  </a:cubicBezTo>
                  <a:cubicBezTo>
                    <a:pt x="2" y="0"/>
                    <a:pt x="1" y="0"/>
                    <a:pt x="1" y="1"/>
                  </a:cubicBezTo>
                  <a:cubicBezTo>
                    <a:pt x="0" y="2"/>
                    <a:pt x="0" y="3"/>
                    <a:pt x="0" y="3"/>
                  </a:cubicBezTo>
                  <a:cubicBezTo>
                    <a:pt x="1" y="6"/>
                    <a:pt x="3" y="2"/>
                    <a:pt x="4" y="2"/>
                  </a:cubicBezTo>
                  <a:cubicBezTo>
                    <a:pt x="4" y="2"/>
                    <a:pt x="4" y="3"/>
                    <a:pt x="4" y="3"/>
                  </a:cubicBezTo>
                  <a:cubicBezTo>
                    <a:pt x="4" y="5"/>
                    <a:pt x="3" y="4"/>
                    <a:pt x="5" y="5"/>
                  </a:cubicBezTo>
                  <a:cubicBezTo>
                    <a:pt x="5" y="2"/>
                    <a:pt x="6" y="3"/>
                    <a:pt x="8" y="1"/>
                  </a:cubicBezTo>
                  <a:cubicBezTo>
                    <a:pt x="7" y="1"/>
                    <a:pt x="6" y="0"/>
                    <a:pt x="5"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39" name="Freeform 2393">
              <a:extLst>
                <a:ext uri="{FF2B5EF4-FFF2-40B4-BE49-F238E27FC236}">
                  <a16:creationId xmlns:a16="http://schemas.microsoft.com/office/drawing/2014/main" id="{7EE74E7B-190F-4B31-BDDB-AF9E6110B8FF}"/>
                </a:ext>
              </a:extLst>
            </p:cNvPr>
            <p:cNvSpPr>
              <a:spLocks/>
            </p:cNvSpPr>
            <p:nvPr/>
          </p:nvSpPr>
          <p:spPr bwMode="auto">
            <a:xfrm>
              <a:off x="6651" y="2949"/>
              <a:ext cx="5" cy="2"/>
            </a:xfrm>
            <a:custGeom>
              <a:avLst/>
              <a:gdLst>
                <a:gd name="T0" fmla="*/ 2 w 2"/>
                <a:gd name="T1" fmla="*/ 1 h 1"/>
                <a:gd name="T2" fmla="*/ 2 w 2"/>
                <a:gd name="T3" fmla="*/ 0 h 1"/>
                <a:gd name="T4" fmla="*/ 2 w 2"/>
                <a:gd name="T5" fmla="*/ 1 h 1"/>
              </a:gdLst>
              <a:ahLst/>
              <a:cxnLst>
                <a:cxn ang="0">
                  <a:pos x="T0" y="T1"/>
                </a:cxn>
                <a:cxn ang="0">
                  <a:pos x="T2" y="T3"/>
                </a:cxn>
                <a:cxn ang="0">
                  <a:pos x="T4" y="T5"/>
                </a:cxn>
              </a:cxnLst>
              <a:rect l="0" t="0" r="r" b="b"/>
              <a:pathLst>
                <a:path w="2" h="1">
                  <a:moveTo>
                    <a:pt x="2" y="1"/>
                  </a:moveTo>
                  <a:cubicBezTo>
                    <a:pt x="2" y="1"/>
                    <a:pt x="2" y="0"/>
                    <a:pt x="2" y="0"/>
                  </a:cubicBezTo>
                  <a:cubicBezTo>
                    <a:pt x="0" y="0"/>
                    <a:pt x="1"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40" name="Freeform 2394">
              <a:extLst>
                <a:ext uri="{FF2B5EF4-FFF2-40B4-BE49-F238E27FC236}">
                  <a16:creationId xmlns:a16="http://schemas.microsoft.com/office/drawing/2014/main" id="{19F30000-37F9-495C-9E21-AF6ED92930B0}"/>
                </a:ext>
              </a:extLst>
            </p:cNvPr>
            <p:cNvSpPr>
              <a:spLocks/>
            </p:cNvSpPr>
            <p:nvPr/>
          </p:nvSpPr>
          <p:spPr bwMode="auto">
            <a:xfrm>
              <a:off x="6625" y="2809"/>
              <a:ext cx="19" cy="10"/>
            </a:xfrm>
            <a:custGeom>
              <a:avLst/>
              <a:gdLst>
                <a:gd name="T0" fmla="*/ 3 w 8"/>
                <a:gd name="T1" fmla="*/ 4 h 4"/>
                <a:gd name="T2" fmla="*/ 6 w 8"/>
                <a:gd name="T3" fmla="*/ 4 h 4"/>
                <a:gd name="T4" fmla="*/ 6 w 8"/>
                <a:gd name="T5" fmla="*/ 2 h 4"/>
                <a:gd name="T6" fmla="*/ 1 w 8"/>
                <a:gd name="T7" fmla="*/ 1 h 4"/>
                <a:gd name="T8" fmla="*/ 0 w 8"/>
                <a:gd name="T9" fmla="*/ 3 h 4"/>
                <a:gd name="T10" fmla="*/ 3 w 8"/>
                <a:gd name="T11" fmla="*/ 4 h 4"/>
              </a:gdLst>
              <a:ahLst/>
              <a:cxnLst>
                <a:cxn ang="0">
                  <a:pos x="T0" y="T1"/>
                </a:cxn>
                <a:cxn ang="0">
                  <a:pos x="T2" y="T3"/>
                </a:cxn>
                <a:cxn ang="0">
                  <a:pos x="T4" y="T5"/>
                </a:cxn>
                <a:cxn ang="0">
                  <a:pos x="T6" y="T7"/>
                </a:cxn>
                <a:cxn ang="0">
                  <a:pos x="T8" y="T9"/>
                </a:cxn>
                <a:cxn ang="0">
                  <a:pos x="T10" y="T11"/>
                </a:cxn>
              </a:cxnLst>
              <a:rect l="0" t="0" r="r" b="b"/>
              <a:pathLst>
                <a:path w="8" h="4">
                  <a:moveTo>
                    <a:pt x="3" y="4"/>
                  </a:moveTo>
                  <a:cubicBezTo>
                    <a:pt x="4" y="4"/>
                    <a:pt x="5" y="4"/>
                    <a:pt x="6" y="4"/>
                  </a:cubicBezTo>
                  <a:cubicBezTo>
                    <a:pt x="8" y="4"/>
                    <a:pt x="8" y="4"/>
                    <a:pt x="6" y="2"/>
                  </a:cubicBezTo>
                  <a:cubicBezTo>
                    <a:pt x="4" y="0"/>
                    <a:pt x="3" y="0"/>
                    <a:pt x="1" y="1"/>
                  </a:cubicBezTo>
                  <a:cubicBezTo>
                    <a:pt x="0" y="1"/>
                    <a:pt x="0" y="3"/>
                    <a:pt x="0" y="3"/>
                  </a:cubicBezTo>
                  <a:cubicBezTo>
                    <a:pt x="1" y="4"/>
                    <a:pt x="2" y="4"/>
                    <a:pt x="3"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41" name="Freeform 2395">
              <a:extLst>
                <a:ext uri="{FF2B5EF4-FFF2-40B4-BE49-F238E27FC236}">
                  <a16:creationId xmlns:a16="http://schemas.microsoft.com/office/drawing/2014/main" id="{E57181C1-5D70-4EAC-91AC-B2F127784604}"/>
                </a:ext>
              </a:extLst>
            </p:cNvPr>
            <p:cNvSpPr>
              <a:spLocks/>
            </p:cNvSpPr>
            <p:nvPr/>
          </p:nvSpPr>
          <p:spPr bwMode="auto">
            <a:xfrm>
              <a:off x="5892" y="2741"/>
              <a:ext cx="21" cy="23"/>
            </a:xfrm>
            <a:custGeom>
              <a:avLst/>
              <a:gdLst>
                <a:gd name="T0" fmla="*/ 3 w 9"/>
                <a:gd name="T1" fmla="*/ 0 h 10"/>
                <a:gd name="T2" fmla="*/ 0 w 9"/>
                <a:gd name="T3" fmla="*/ 1 h 10"/>
                <a:gd name="T4" fmla="*/ 5 w 9"/>
                <a:gd name="T5" fmla="*/ 6 h 10"/>
                <a:gd name="T6" fmla="*/ 8 w 9"/>
                <a:gd name="T7" fmla="*/ 10 h 10"/>
                <a:gd name="T8" fmla="*/ 9 w 9"/>
                <a:gd name="T9" fmla="*/ 8 h 10"/>
                <a:gd name="T10" fmla="*/ 8 w 9"/>
                <a:gd name="T11" fmla="*/ 5 h 10"/>
                <a:gd name="T12" fmla="*/ 3 w 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0"/>
                  </a:moveTo>
                  <a:cubicBezTo>
                    <a:pt x="3" y="1"/>
                    <a:pt x="1" y="1"/>
                    <a:pt x="0" y="1"/>
                  </a:cubicBezTo>
                  <a:cubicBezTo>
                    <a:pt x="2" y="2"/>
                    <a:pt x="3" y="5"/>
                    <a:pt x="5" y="6"/>
                  </a:cubicBezTo>
                  <a:cubicBezTo>
                    <a:pt x="6" y="7"/>
                    <a:pt x="7" y="9"/>
                    <a:pt x="8" y="10"/>
                  </a:cubicBezTo>
                  <a:cubicBezTo>
                    <a:pt x="9" y="9"/>
                    <a:pt x="9" y="8"/>
                    <a:pt x="9" y="8"/>
                  </a:cubicBezTo>
                  <a:cubicBezTo>
                    <a:pt x="9" y="6"/>
                    <a:pt x="9" y="6"/>
                    <a:pt x="8" y="5"/>
                  </a:cubicBezTo>
                  <a:cubicBezTo>
                    <a:pt x="7" y="3"/>
                    <a:pt x="5" y="1"/>
                    <a:pt x="3"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42" name="Freeform 2396">
              <a:extLst>
                <a:ext uri="{FF2B5EF4-FFF2-40B4-BE49-F238E27FC236}">
                  <a16:creationId xmlns:a16="http://schemas.microsoft.com/office/drawing/2014/main" id="{AB248E65-D235-4DF8-B2F4-676B754D20C3}"/>
                </a:ext>
              </a:extLst>
            </p:cNvPr>
            <p:cNvSpPr>
              <a:spLocks/>
            </p:cNvSpPr>
            <p:nvPr/>
          </p:nvSpPr>
          <p:spPr bwMode="auto">
            <a:xfrm>
              <a:off x="6793" y="2826"/>
              <a:ext cx="2" cy="2"/>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1" y="0"/>
                    <a:pt x="1" y="0"/>
                  </a:cubicBezTo>
                  <a:cubicBezTo>
                    <a:pt x="0" y="0"/>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43" name="Freeform 2397">
              <a:extLst>
                <a:ext uri="{FF2B5EF4-FFF2-40B4-BE49-F238E27FC236}">
                  <a16:creationId xmlns:a16="http://schemas.microsoft.com/office/drawing/2014/main" id="{DC291754-90E3-4FC5-AEA2-687DCC51EBEB}"/>
                </a:ext>
              </a:extLst>
            </p:cNvPr>
            <p:cNvSpPr>
              <a:spLocks/>
            </p:cNvSpPr>
            <p:nvPr/>
          </p:nvSpPr>
          <p:spPr bwMode="auto">
            <a:xfrm>
              <a:off x="6623" y="2757"/>
              <a:ext cx="2" cy="3"/>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0"/>
                    <a:pt x="0" y="0"/>
                    <a:pt x="1" y="0"/>
                  </a:cubicBezTo>
                  <a:cubicBezTo>
                    <a:pt x="0" y="0"/>
                    <a:pt x="0"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44" name="Freeform 2398">
              <a:extLst>
                <a:ext uri="{FF2B5EF4-FFF2-40B4-BE49-F238E27FC236}">
                  <a16:creationId xmlns:a16="http://schemas.microsoft.com/office/drawing/2014/main" id="{A90EE037-AA61-46CF-9C5F-CF0F03EC8739}"/>
                </a:ext>
              </a:extLst>
            </p:cNvPr>
            <p:cNvSpPr>
              <a:spLocks/>
            </p:cNvSpPr>
            <p:nvPr/>
          </p:nvSpPr>
          <p:spPr bwMode="auto">
            <a:xfrm>
              <a:off x="6623" y="2786"/>
              <a:ext cx="14" cy="12"/>
            </a:xfrm>
            <a:custGeom>
              <a:avLst/>
              <a:gdLst>
                <a:gd name="T0" fmla="*/ 1 w 6"/>
                <a:gd name="T1" fmla="*/ 2 h 5"/>
                <a:gd name="T2" fmla="*/ 2 w 6"/>
                <a:gd name="T3" fmla="*/ 3 h 5"/>
                <a:gd name="T4" fmla="*/ 2 w 6"/>
                <a:gd name="T5" fmla="*/ 4 h 5"/>
                <a:gd name="T6" fmla="*/ 2 w 6"/>
                <a:gd name="T7" fmla="*/ 5 h 5"/>
                <a:gd name="T8" fmla="*/ 5 w 6"/>
                <a:gd name="T9" fmla="*/ 5 h 5"/>
                <a:gd name="T10" fmla="*/ 6 w 6"/>
                <a:gd name="T11" fmla="*/ 5 h 5"/>
                <a:gd name="T12" fmla="*/ 4 w 6"/>
                <a:gd name="T13" fmla="*/ 4 h 5"/>
                <a:gd name="T14" fmla="*/ 4 w 6"/>
                <a:gd name="T15" fmla="*/ 3 h 5"/>
                <a:gd name="T16" fmla="*/ 2 w 6"/>
                <a:gd name="T17" fmla="*/ 0 h 5"/>
                <a:gd name="T18" fmla="*/ 2 w 6"/>
                <a:gd name="T19" fmla="*/ 1 h 5"/>
                <a:gd name="T20" fmla="*/ 1 w 6"/>
                <a:gd name="T21" fmla="*/ 0 h 5"/>
                <a:gd name="T22" fmla="*/ 1 w 6"/>
                <a:gd name="T2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1" y="2"/>
                  </a:moveTo>
                  <a:cubicBezTo>
                    <a:pt x="1" y="3"/>
                    <a:pt x="2" y="3"/>
                    <a:pt x="2" y="3"/>
                  </a:cubicBezTo>
                  <a:cubicBezTo>
                    <a:pt x="2" y="3"/>
                    <a:pt x="2" y="4"/>
                    <a:pt x="2" y="4"/>
                  </a:cubicBezTo>
                  <a:cubicBezTo>
                    <a:pt x="2" y="4"/>
                    <a:pt x="1" y="5"/>
                    <a:pt x="2" y="5"/>
                  </a:cubicBezTo>
                  <a:cubicBezTo>
                    <a:pt x="4" y="4"/>
                    <a:pt x="3" y="5"/>
                    <a:pt x="5" y="5"/>
                  </a:cubicBezTo>
                  <a:cubicBezTo>
                    <a:pt x="5" y="5"/>
                    <a:pt x="6" y="5"/>
                    <a:pt x="6" y="5"/>
                  </a:cubicBezTo>
                  <a:cubicBezTo>
                    <a:pt x="6" y="4"/>
                    <a:pt x="5" y="4"/>
                    <a:pt x="4" y="4"/>
                  </a:cubicBezTo>
                  <a:cubicBezTo>
                    <a:pt x="4" y="3"/>
                    <a:pt x="4" y="4"/>
                    <a:pt x="4" y="3"/>
                  </a:cubicBezTo>
                  <a:cubicBezTo>
                    <a:pt x="3" y="2"/>
                    <a:pt x="3" y="1"/>
                    <a:pt x="2" y="0"/>
                  </a:cubicBezTo>
                  <a:cubicBezTo>
                    <a:pt x="2" y="0"/>
                    <a:pt x="2" y="1"/>
                    <a:pt x="2" y="1"/>
                  </a:cubicBezTo>
                  <a:cubicBezTo>
                    <a:pt x="1" y="1"/>
                    <a:pt x="1" y="0"/>
                    <a:pt x="1" y="0"/>
                  </a:cubicBezTo>
                  <a:cubicBezTo>
                    <a:pt x="0" y="0"/>
                    <a:pt x="0" y="2"/>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45" name="Freeform 2399">
              <a:extLst>
                <a:ext uri="{FF2B5EF4-FFF2-40B4-BE49-F238E27FC236}">
                  <a16:creationId xmlns:a16="http://schemas.microsoft.com/office/drawing/2014/main" id="{3B2BF5CA-EF6F-4567-83B9-7E01031CEFFD}"/>
                </a:ext>
              </a:extLst>
            </p:cNvPr>
            <p:cNvSpPr>
              <a:spLocks/>
            </p:cNvSpPr>
            <p:nvPr/>
          </p:nvSpPr>
          <p:spPr bwMode="auto">
            <a:xfrm>
              <a:off x="6268" y="2916"/>
              <a:ext cx="2" cy="2"/>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0"/>
                    <a:pt x="0" y="1"/>
                  </a:cubicBezTo>
                  <a:cubicBezTo>
                    <a:pt x="0" y="1"/>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46" name="Freeform 2400">
              <a:extLst>
                <a:ext uri="{FF2B5EF4-FFF2-40B4-BE49-F238E27FC236}">
                  <a16:creationId xmlns:a16="http://schemas.microsoft.com/office/drawing/2014/main" id="{40A28767-F997-4330-8217-2FCE2D354640}"/>
                </a:ext>
              </a:extLst>
            </p:cNvPr>
            <p:cNvSpPr>
              <a:spLocks/>
            </p:cNvSpPr>
            <p:nvPr/>
          </p:nvSpPr>
          <p:spPr bwMode="auto">
            <a:xfrm>
              <a:off x="5847" y="2641"/>
              <a:ext cx="263" cy="280"/>
            </a:xfrm>
            <a:custGeom>
              <a:avLst/>
              <a:gdLst>
                <a:gd name="T0" fmla="*/ 109 w 111"/>
                <a:gd name="T1" fmla="*/ 116 h 118"/>
                <a:gd name="T2" fmla="*/ 110 w 111"/>
                <a:gd name="T3" fmla="*/ 98 h 118"/>
                <a:gd name="T4" fmla="*/ 109 w 111"/>
                <a:gd name="T5" fmla="*/ 93 h 118"/>
                <a:gd name="T6" fmla="*/ 107 w 111"/>
                <a:gd name="T7" fmla="*/ 82 h 118"/>
                <a:gd name="T8" fmla="*/ 99 w 111"/>
                <a:gd name="T9" fmla="*/ 81 h 118"/>
                <a:gd name="T10" fmla="*/ 98 w 111"/>
                <a:gd name="T11" fmla="*/ 83 h 118"/>
                <a:gd name="T12" fmla="*/ 96 w 111"/>
                <a:gd name="T13" fmla="*/ 82 h 118"/>
                <a:gd name="T14" fmla="*/ 96 w 111"/>
                <a:gd name="T15" fmla="*/ 78 h 118"/>
                <a:gd name="T16" fmla="*/ 95 w 111"/>
                <a:gd name="T17" fmla="*/ 74 h 118"/>
                <a:gd name="T18" fmla="*/ 92 w 111"/>
                <a:gd name="T19" fmla="*/ 68 h 118"/>
                <a:gd name="T20" fmla="*/ 87 w 111"/>
                <a:gd name="T21" fmla="*/ 67 h 118"/>
                <a:gd name="T22" fmla="*/ 86 w 111"/>
                <a:gd name="T23" fmla="*/ 62 h 118"/>
                <a:gd name="T24" fmla="*/ 85 w 111"/>
                <a:gd name="T25" fmla="*/ 60 h 118"/>
                <a:gd name="T26" fmla="*/ 85 w 111"/>
                <a:gd name="T27" fmla="*/ 58 h 118"/>
                <a:gd name="T28" fmla="*/ 86 w 111"/>
                <a:gd name="T29" fmla="*/ 58 h 118"/>
                <a:gd name="T30" fmla="*/ 86 w 111"/>
                <a:gd name="T31" fmla="*/ 54 h 118"/>
                <a:gd name="T32" fmla="*/ 74 w 111"/>
                <a:gd name="T33" fmla="*/ 55 h 118"/>
                <a:gd name="T34" fmla="*/ 79 w 111"/>
                <a:gd name="T35" fmla="*/ 54 h 118"/>
                <a:gd name="T36" fmla="*/ 79 w 111"/>
                <a:gd name="T37" fmla="*/ 50 h 118"/>
                <a:gd name="T38" fmla="*/ 74 w 111"/>
                <a:gd name="T39" fmla="*/ 49 h 118"/>
                <a:gd name="T40" fmla="*/ 68 w 111"/>
                <a:gd name="T41" fmla="*/ 41 h 118"/>
                <a:gd name="T42" fmla="*/ 63 w 111"/>
                <a:gd name="T43" fmla="*/ 39 h 118"/>
                <a:gd name="T44" fmla="*/ 58 w 111"/>
                <a:gd name="T45" fmla="*/ 35 h 118"/>
                <a:gd name="T46" fmla="*/ 59 w 111"/>
                <a:gd name="T47" fmla="*/ 39 h 118"/>
                <a:gd name="T48" fmla="*/ 55 w 111"/>
                <a:gd name="T49" fmla="*/ 35 h 118"/>
                <a:gd name="T50" fmla="*/ 51 w 111"/>
                <a:gd name="T51" fmla="*/ 31 h 118"/>
                <a:gd name="T52" fmla="*/ 49 w 111"/>
                <a:gd name="T53" fmla="*/ 30 h 118"/>
                <a:gd name="T54" fmla="*/ 41 w 111"/>
                <a:gd name="T55" fmla="*/ 21 h 118"/>
                <a:gd name="T56" fmla="*/ 38 w 111"/>
                <a:gd name="T57" fmla="*/ 21 h 118"/>
                <a:gd name="T58" fmla="*/ 33 w 111"/>
                <a:gd name="T59" fmla="*/ 21 h 118"/>
                <a:gd name="T60" fmla="*/ 36 w 111"/>
                <a:gd name="T61" fmla="*/ 18 h 118"/>
                <a:gd name="T62" fmla="*/ 31 w 111"/>
                <a:gd name="T63" fmla="*/ 15 h 118"/>
                <a:gd name="T64" fmla="*/ 29 w 111"/>
                <a:gd name="T65" fmla="*/ 11 h 118"/>
                <a:gd name="T66" fmla="*/ 24 w 111"/>
                <a:gd name="T67" fmla="*/ 4 h 118"/>
                <a:gd name="T68" fmla="*/ 19 w 111"/>
                <a:gd name="T69" fmla="*/ 4 h 118"/>
                <a:gd name="T70" fmla="*/ 4 w 111"/>
                <a:gd name="T71" fmla="*/ 0 h 118"/>
                <a:gd name="T72" fmla="*/ 1 w 111"/>
                <a:gd name="T73" fmla="*/ 2 h 118"/>
                <a:gd name="T74" fmla="*/ 15 w 111"/>
                <a:gd name="T75" fmla="*/ 20 h 118"/>
                <a:gd name="T76" fmla="*/ 23 w 111"/>
                <a:gd name="T77" fmla="*/ 26 h 118"/>
                <a:gd name="T78" fmla="*/ 25 w 111"/>
                <a:gd name="T79" fmla="*/ 30 h 118"/>
                <a:gd name="T80" fmla="*/ 28 w 111"/>
                <a:gd name="T81" fmla="*/ 35 h 118"/>
                <a:gd name="T82" fmla="*/ 36 w 111"/>
                <a:gd name="T83" fmla="*/ 40 h 118"/>
                <a:gd name="T84" fmla="*/ 37 w 111"/>
                <a:gd name="T85" fmla="*/ 41 h 118"/>
                <a:gd name="T86" fmla="*/ 40 w 111"/>
                <a:gd name="T87" fmla="*/ 53 h 118"/>
                <a:gd name="T88" fmla="*/ 46 w 111"/>
                <a:gd name="T89" fmla="*/ 58 h 118"/>
                <a:gd name="T90" fmla="*/ 57 w 111"/>
                <a:gd name="T91" fmla="*/ 75 h 118"/>
                <a:gd name="T92" fmla="*/ 65 w 111"/>
                <a:gd name="T93" fmla="*/ 90 h 118"/>
                <a:gd name="T94" fmla="*/ 73 w 111"/>
                <a:gd name="T95" fmla="*/ 98 h 118"/>
                <a:gd name="T96" fmla="*/ 84 w 111"/>
                <a:gd name="T97" fmla="*/ 106 h 118"/>
                <a:gd name="T98" fmla="*/ 95 w 111"/>
                <a:gd name="T99" fmla="*/ 117 h 118"/>
                <a:gd name="T100" fmla="*/ 97 w 111"/>
                <a:gd name="T101" fmla="*/ 114 h 118"/>
                <a:gd name="T102" fmla="*/ 100 w 111"/>
                <a:gd name="T103" fmla="*/ 116 h 118"/>
                <a:gd name="T104" fmla="*/ 104 w 111"/>
                <a:gd name="T105" fmla="*/ 11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1" h="118">
                  <a:moveTo>
                    <a:pt x="108" y="118"/>
                  </a:moveTo>
                  <a:cubicBezTo>
                    <a:pt x="108" y="117"/>
                    <a:pt x="109" y="116"/>
                    <a:pt x="109" y="116"/>
                  </a:cubicBezTo>
                  <a:cubicBezTo>
                    <a:pt x="109" y="111"/>
                    <a:pt x="109" y="107"/>
                    <a:pt x="109" y="102"/>
                  </a:cubicBezTo>
                  <a:cubicBezTo>
                    <a:pt x="109" y="100"/>
                    <a:pt x="109" y="100"/>
                    <a:pt x="110" y="98"/>
                  </a:cubicBezTo>
                  <a:cubicBezTo>
                    <a:pt x="110" y="97"/>
                    <a:pt x="110" y="97"/>
                    <a:pt x="110" y="96"/>
                  </a:cubicBezTo>
                  <a:cubicBezTo>
                    <a:pt x="110" y="95"/>
                    <a:pt x="108" y="95"/>
                    <a:pt x="109" y="93"/>
                  </a:cubicBezTo>
                  <a:cubicBezTo>
                    <a:pt x="110" y="92"/>
                    <a:pt x="111" y="91"/>
                    <a:pt x="111" y="91"/>
                  </a:cubicBezTo>
                  <a:cubicBezTo>
                    <a:pt x="111" y="87"/>
                    <a:pt x="109" y="85"/>
                    <a:pt x="107" y="82"/>
                  </a:cubicBezTo>
                  <a:cubicBezTo>
                    <a:pt x="106" y="81"/>
                    <a:pt x="104" y="82"/>
                    <a:pt x="103" y="81"/>
                  </a:cubicBezTo>
                  <a:cubicBezTo>
                    <a:pt x="102" y="81"/>
                    <a:pt x="100" y="81"/>
                    <a:pt x="99" y="81"/>
                  </a:cubicBezTo>
                  <a:cubicBezTo>
                    <a:pt x="99" y="81"/>
                    <a:pt x="98" y="82"/>
                    <a:pt x="98" y="82"/>
                  </a:cubicBezTo>
                  <a:cubicBezTo>
                    <a:pt x="98" y="82"/>
                    <a:pt x="98" y="83"/>
                    <a:pt x="98" y="83"/>
                  </a:cubicBezTo>
                  <a:cubicBezTo>
                    <a:pt x="97" y="84"/>
                    <a:pt x="97" y="85"/>
                    <a:pt x="96" y="86"/>
                  </a:cubicBezTo>
                  <a:cubicBezTo>
                    <a:pt x="96" y="83"/>
                    <a:pt x="99" y="84"/>
                    <a:pt x="96" y="82"/>
                  </a:cubicBezTo>
                  <a:cubicBezTo>
                    <a:pt x="97" y="81"/>
                    <a:pt x="98" y="81"/>
                    <a:pt x="98" y="81"/>
                  </a:cubicBezTo>
                  <a:cubicBezTo>
                    <a:pt x="100" y="79"/>
                    <a:pt x="96" y="79"/>
                    <a:pt x="96" y="78"/>
                  </a:cubicBezTo>
                  <a:cubicBezTo>
                    <a:pt x="95" y="77"/>
                    <a:pt x="95" y="77"/>
                    <a:pt x="95" y="76"/>
                  </a:cubicBezTo>
                  <a:cubicBezTo>
                    <a:pt x="95" y="75"/>
                    <a:pt x="96" y="75"/>
                    <a:pt x="95" y="74"/>
                  </a:cubicBezTo>
                  <a:cubicBezTo>
                    <a:pt x="95" y="72"/>
                    <a:pt x="95" y="71"/>
                    <a:pt x="94" y="69"/>
                  </a:cubicBezTo>
                  <a:cubicBezTo>
                    <a:pt x="94" y="67"/>
                    <a:pt x="93" y="68"/>
                    <a:pt x="92" y="68"/>
                  </a:cubicBezTo>
                  <a:cubicBezTo>
                    <a:pt x="91" y="68"/>
                    <a:pt x="90" y="68"/>
                    <a:pt x="90" y="67"/>
                  </a:cubicBezTo>
                  <a:cubicBezTo>
                    <a:pt x="89" y="67"/>
                    <a:pt x="88" y="67"/>
                    <a:pt x="87" y="67"/>
                  </a:cubicBezTo>
                  <a:cubicBezTo>
                    <a:pt x="85" y="66"/>
                    <a:pt x="84" y="64"/>
                    <a:pt x="84" y="62"/>
                  </a:cubicBezTo>
                  <a:cubicBezTo>
                    <a:pt x="84" y="63"/>
                    <a:pt x="85" y="62"/>
                    <a:pt x="86" y="62"/>
                  </a:cubicBezTo>
                  <a:cubicBezTo>
                    <a:pt x="85" y="61"/>
                    <a:pt x="84" y="61"/>
                    <a:pt x="83" y="61"/>
                  </a:cubicBezTo>
                  <a:cubicBezTo>
                    <a:pt x="84" y="61"/>
                    <a:pt x="85" y="60"/>
                    <a:pt x="85" y="60"/>
                  </a:cubicBezTo>
                  <a:cubicBezTo>
                    <a:pt x="84" y="60"/>
                    <a:pt x="84" y="60"/>
                    <a:pt x="83" y="60"/>
                  </a:cubicBezTo>
                  <a:cubicBezTo>
                    <a:pt x="84" y="60"/>
                    <a:pt x="84" y="59"/>
                    <a:pt x="85" y="58"/>
                  </a:cubicBezTo>
                  <a:cubicBezTo>
                    <a:pt x="86" y="58"/>
                    <a:pt x="86" y="58"/>
                    <a:pt x="86" y="58"/>
                  </a:cubicBezTo>
                  <a:cubicBezTo>
                    <a:pt x="86" y="57"/>
                    <a:pt x="86" y="58"/>
                    <a:pt x="86" y="58"/>
                  </a:cubicBezTo>
                  <a:cubicBezTo>
                    <a:pt x="87" y="58"/>
                    <a:pt x="88" y="58"/>
                    <a:pt x="88" y="57"/>
                  </a:cubicBezTo>
                  <a:cubicBezTo>
                    <a:pt x="88" y="57"/>
                    <a:pt x="88" y="53"/>
                    <a:pt x="86" y="54"/>
                  </a:cubicBezTo>
                  <a:cubicBezTo>
                    <a:pt x="86" y="53"/>
                    <a:pt x="85" y="52"/>
                    <a:pt x="84" y="52"/>
                  </a:cubicBezTo>
                  <a:cubicBezTo>
                    <a:pt x="81" y="51"/>
                    <a:pt x="77" y="58"/>
                    <a:pt x="74" y="55"/>
                  </a:cubicBezTo>
                  <a:cubicBezTo>
                    <a:pt x="76" y="55"/>
                    <a:pt x="76" y="55"/>
                    <a:pt x="77" y="55"/>
                  </a:cubicBezTo>
                  <a:cubicBezTo>
                    <a:pt x="78" y="54"/>
                    <a:pt x="78" y="54"/>
                    <a:pt x="79" y="54"/>
                  </a:cubicBezTo>
                  <a:cubicBezTo>
                    <a:pt x="79" y="54"/>
                    <a:pt x="81" y="53"/>
                    <a:pt x="81" y="53"/>
                  </a:cubicBezTo>
                  <a:cubicBezTo>
                    <a:pt x="81" y="52"/>
                    <a:pt x="80" y="50"/>
                    <a:pt x="79" y="50"/>
                  </a:cubicBezTo>
                  <a:cubicBezTo>
                    <a:pt x="78" y="50"/>
                    <a:pt x="77" y="50"/>
                    <a:pt x="75" y="50"/>
                  </a:cubicBezTo>
                  <a:cubicBezTo>
                    <a:pt x="74" y="49"/>
                    <a:pt x="74" y="49"/>
                    <a:pt x="74" y="49"/>
                  </a:cubicBezTo>
                  <a:cubicBezTo>
                    <a:pt x="72" y="48"/>
                    <a:pt x="72" y="47"/>
                    <a:pt x="71" y="45"/>
                  </a:cubicBezTo>
                  <a:cubicBezTo>
                    <a:pt x="71" y="44"/>
                    <a:pt x="69" y="43"/>
                    <a:pt x="68" y="41"/>
                  </a:cubicBezTo>
                  <a:cubicBezTo>
                    <a:pt x="67" y="40"/>
                    <a:pt x="66" y="40"/>
                    <a:pt x="64" y="40"/>
                  </a:cubicBezTo>
                  <a:cubicBezTo>
                    <a:pt x="63" y="40"/>
                    <a:pt x="64" y="40"/>
                    <a:pt x="63" y="39"/>
                  </a:cubicBezTo>
                  <a:cubicBezTo>
                    <a:pt x="63" y="38"/>
                    <a:pt x="62" y="37"/>
                    <a:pt x="62" y="37"/>
                  </a:cubicBezTo>
                  <a:cubicBezTo>
                    <a:pt x="61" y="35"/>
                    <a:pt x="60" y="35"/>
                    <a:pt x="58" y="35"/>
                  </a:cubicBezTo>
                  <a:cubicBezTo>
                    <a:pt x="57" y="34"/>
                    <a:pt x="57" y="35"/>
                    <a:pt x="58" y="36"/>
                  </a:cubicBezTo>
                  <a:cubicBezTo>
                    <a:pt x="58" y="37"/>
                    <a:pt x="59" y="37"/>
                    <a:pt x="59" y="39"/>
                  </a:cubicBezTo>
                  <a:cubicBezTo>
                    <a:pt x="58" y="38"/>
                    <a:pt x="58" y="37"/>
                    <a:pt x="58" y="37"/>
                  </a:cubicBezTo>
                  <a:cubicBezTo>
                    <a:pt x="57" y="36"/>
                    <a:pt x="56" y="36"/>
                    <a:pt x="55" y="35"/>
                  </a:cubicBezTo>
                  <a:cubicBezTo>
                    <a:pt x="54" y="35"/>
                    <a:pt x="54" y="34"/>
                    <a:pt x="54" y="34"/>
                  </a:cubicBezTo>
                  <a:cubicBezTo>
                    <a:pt x="52" y="32"/>
                    <a:pt x="53" y="31"/>
                    <a:pt x="51" y="31"/>
                  </a:cubicBezTo>
                  <a:cubicBezTo>
                    <a:pt x="51" y="31"/>
                    <a:pt x="51" y="31"/>
                    <a:pt x="51" y="32"/>
                  </a:cubicBezTo>
                  <a:cubicBezTo>
                    <a:pt x="50" y="31"/>
                    <a:pt x="50" y="31"/>
                    <a:pt x="49" y="30"/>
                  </a:cubicBezTo>
                  <a:cubicBezTo>
                    <a:pt x="49" y="29"/>
                    <a:pt x="50" y="28"/>
                    <a:pt x="48" y="27"/>
                  </a:cubicBezTo>
                  <a:cubicBezTo>
                    <a:pt x="46" y="25"/>
                    <a:pt x="43" y="23"/>
                    <a:pt x="41" y="21"/>
                  </a:cubicBezTo>
                  <a:cubicBezTo>
                    <a:pt x="40" y="21"/>
                    <a:pt x="39" y="21"/>
                    <a:pt x="38" y="20"/>
                  </a:cubicBezTo>
                  <a:cubicBezTo>
                    <a:pt x="38" y="20"/>
                    <a:pt x="38" y="21"/>
                    <a:pt x="38" y="21"/>
                  </a:cubicBezTo>
                  <a:cubicBezTo>
                    <a:pt x="38" y="22"/>
                    <a:pt x="37" y="24"/>
                    <a:pt x="36" y="24"/>
                  </a:cubicBezTo>
                  <a:cubicBezTo>
                    <a:pt x="34" y="24"/>
                    <a:pt x="33" y="22"/>
                    <a:pt x="33" y="21"/>
                  </a:cubicBezTo>
                  <a:cubicBezTo>
                    <a:pt x="33" y="19"/>
                    <a:pt x="34" y="18"/>
                    <a:pt x="36" y="18"/>
                  </a:cubicBezTo>
                  <a:cubicBezTo>
                    <a:pt x="36" y="18"/>
                    <a:pt x="36" y="18"/>
                    <a:pt x="36" y="18"/>
                  </a:cubicBezTo>
                  <a:cubicBezTo>
                    <a:pt x="35" y="17"/>
                    <a:pt x="34" y="17"/>
                    <a:pt x="33" y="16"/>
                  </a:cubicBezTo>
                  <a:cubicBezTo>
                    <a:pt x="32" y="16"/>
                    <a:pt x="31" y="15"/>
                    <a:pt x="31" y="15"/>
                  </a:cubicBezTo>
                  <a:cubicBezTo>
                    <a:pt x="31" y="15"/>
                    <a:pt x="32" y="14"/>
                    <a:pt x="31" y="13"/>
                  </a:cubicBezTo>
                  <a:cubicBezTo>
                    <a:pt x="31" y="13"/>
                    <a:pt x="30" y="11"/>
                    <a:pt x="29" y="11"/>
                  </a:cubicBezTo>
                  <a:cubicBezTo>
                    <a:pt x="28" y="11"/>
                    <a:pt x="29" y="9"/>
                    <a:pt x="28" y="8"/>
                  </a:cubicBezTo>
                  <a:cubicBezTo>
                    <a:pt x="28" y="7"/>
                    <a:pt x="26" y="5"/>
                    <a:pt x="24" y="4"/>
                  </a:cubicBezTo>
                  <a:cubicBezTo>
                    <a:pt x="23" y="3"/>
                    <a:pt x="23" y="4"/>
                    <a:pt x="22" y="4"/>
                  </a:cubicBezTo>
                  <a:cubicBezTo>
                    <a:pt x="20" y="5"/>
                    <a:pt x="20" y="5"/>
                    <a:pt x="19" y="4"/>
                  </a:cubicBezTo>
                  <a:cubicBezTo>
                    <a:pt x="18" y="3"/>
                    <a:pt x="16" y="4"/>
                    <a:pt x="14" y="4"/>
                  </a:cubicBezTo>
                  <a:cubicBezTo>
                    <a:pt x="10" y="4"/>
                    <a:pt x="8" y="1"/>
                    <a:pt x="4" y="0"/>
                  </a:cubicBezTo>
                  <a:cubicBezTo>
                    <a:pt x="3" y="0"/>
                    <a:pt x="2" y="0"/>
                    <a:pt x="1" y="0"/>
                  </a:cubicBezTo>
                  <a:cubicBezTo>
                    <a:pt x="0" y="1"/>
                    <a:pt x="0" y="1"/>
                    <a:pt x="1" y="2"/>
                  </a:cubicBezTo>
                  <a:cubicBezTo>
                    <a:pt x="1" y="4"/>
                    <a:pt x="2" y="5"/>
                    <a:pt x="3" y="7"/>
                  </a:cubicBezTo>
                  <a:cubicBezTo>
                    <a:pt x="6" y="12"/>
                    <a:pt x="10" y="17"/>
                    <a:pt x="15" y="20"/>
                  </a:cubicBezTo>
                  <a:cubicBezTo>
                    <a:pt x="17" y="20"/>
                    <a:pt x="18" y="21"/>
                    <a:pt x="19" y="22"/>
                  </a:cubicBezTo>
                  <a:cubicBezTo>
                    <a:pt x="20" y="23"/>
                    <a:pt x="22" y="25"/>
                    <a:pt x="23" y="26"/>
                  </a:cubicBezTo>
                  <a:cubicBezTo>
                    <a:pt x="23" y="27"/>
                    <a:pt x="24" y="28"/>
                    <a:pt x="25" y="28"/>
                  </a:cubicBezTo>
                  <a:cubicBezTo>
                    <a:pt x="25" y="29"/>
                    <a:pt x="25" y="30"/>
                    <a:pt x="25" y="30"/>
                  </a:cubicBezTo>
                  <a:cubicBezTo>
                    <a:pt x="25" y="31"/>
                    <a:pt x="25" y="33"/>
                    <a:pt x="26" y="34"/>
                  </a:cubicBezTo>
                  <a:cubicBezTo>
                    <a:pt x="27" y="34"/>
                    <a:pt x="27" y="34"/>
                    <a:pt x="28" y="35"/>
                  </a:cubicBezTo>
                  <a:cubicBezTo>
                    <a:pt x="30" y="35"/>
                    <a:pt x="31" y="36"/>
                    <a:pt x="32" y="36"/>
                  </a:cubicBezTo>
                  <a:cubicBezTo>
                    <a:pt x="34" y="37"/>
                    <a:pt x="35" y="38"/>
                    <a:pt x="36" y="40"/>
                  </a:cubicBezTo>
                  <a:cubicBezTo>
                    <a:pt x="36" y="39"/>
                    <a:pt x="36" y="39"/>
                    <a:pt x="36" y="39"/>
                  </a:cubicBezTo>
                  <a:cubicBezTo>
                    <a:pt x="37" y="39"/>
                    <a:pt x="37" y="40"/>
                    <a:pt x="37" y="41"/>
                  </a:cubicBezTo>
                  <a:cubicBezTo>
                    <a:pt x="37" y="43"/>
                    <a:pt x="37" y="44"/>
                    <a:pt x="38" y="46"/>
                  </a:cubicBezTo>
                  <a:cubicBezTo>
                    <a:pt x="39" y="48"/>
                    <a:pt x="39" y="51"/>
                    <a:pt x="40" y="53"/>
                  </a:cubicBezTo>
                  <a:cubicBezTo>
                    <a:pt x="41" y="55"/>
                    <a:pt x="42" y="55"/>
                    <a:pt x="44" y="56"/>
                  </a:cubicBezTo>
                  <a:cubicBezTo>
                    <a:pt x="45" y="56"/>
                    <a:pt x="45" y="57"/>
                    <a:pt x="46" y="58"/>
                  </a:cubicBezTo>
                  <a:cubicBezTo>
                    <a:pt x="48" y="61"/>
                    <a:pt x="52" y="64"/>
                    <a:pt x="53" y="68"/>
                  </a:cubicBezTo>
                  <a:cubicBezTo>
                    <a:pt x="53" y="71"/>
                    <a:pt x="56" y="73"/>
                    <a:pt x="57" y="75"/>
                  </a:cubicBezTo>
                  <a:cubicBezTo>
                    <a:pt x="58" y="78"/>
                    <a:pt x="59" y="80"/>
                    <a:pt x="60" y="82"/>
                  </a:cubicBezTo>
                  <a:cubicBezTo>
                    <a:pt x="60" y="85"/>
                    <a:pt x="63" y="87"/>
                    <a:pt x="65" y="90"/>
                  </a:cubicBezTo>
                  <a:cubicBezTo>
                    <a:pt x="67" y="92"/>
                    <a:pt x="70" y="94"/>
                    <a:pt x="72" y="95"/>
                  </a:cubicBezTo>
                  <a:cubicBezTo>
                    <a:pt x="73" y="96"/>
                    <a:pt x="72" y="98"/>
                    <a:pt x="73" y="98"/>
                  </a:cubicBezTo>
                  <a:cubicBezTo>
                    <a:pt x="74" y="99"/>
                    <a:pt x="76" y="100"/>
                    <a:pt x="77" y="101"/>
                  </a:cubicBezTo>
                  <a:cubicBezTo>
                    <a:pt x="79" y="103"/>
                    <a:pt x="82" y="105"/>
                    <a:pt x="84" y="106"/>
                  </a:cubicBezTo>
                  <a:cubicBezTo>
                    <a:pt x="86" y="108"/>
                    <a:pt x="88" y="110"/>
                    <a:pt x="90" y="112"/>
                  </a:cubicBezTo>
                  <a:cubicBezTo>
                    <a:pt x="92" y="113"/>
                    <a:pt x="93" y="115"/>
                    <a:pt x="95" y="117"/>
                  </a:cubicBezTo>
                  <a:cubicBezTo>
                    <a:pt x="95" y="117"/>
                    <a:pt x="96" y="118"/>
                    <a:pt x="97" y="118"/>
                  </a:cubicBezTo>
                  <a:cubicBezTo>
                    <a:pt x="97" y="117"/>
                    <a:pt x="95" y="113"/>
                    <a:pt x="97" y="114"/>
                  </a:cubicBezTo>
                  <a:cubicBezTo>
                    <a:pt x="98" y="114"/>
                    <a:pt x="98" y="115"/>
                    <a:pt x="99" y="115"/>
                  </a:cubicBezTo>
                  <a:cubicBezTo>
                    <a:pt x="99" y="115"/>
                    <a:pt x="100" y="115"/>
                    <a:pt x="100" y="116"/>
                  </a:cubicBezTo>
                  <a:cubicBezTo>
                    <a:pt x="101" y="116"/>
                    <a:pt x="102" y="117"/>
                    <a:pt x="102" y="116"/>
                  </a:cubicBezTo>
                  <a:cubicBezTo>
                    <a:pt x="103" y="115"/>
                    <a:pt x="103" y="114"/>
                    <a:pt x="104" y="114"/>
                  </a:cubicBezTo>
                  <a:cubicBezTo>
                    <a:pt x="105" y="114"/>
                    <a:pt x="107" y="117"/>
                    <a:pt x="108" y="118"/>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47" name="Freeform 2401">
              <a:extLst>
                <a:ext uri="{FF2B5EF4-FFF2-40B4-BE49-F238E27FC236}">
                  <a16:creationId xmlns:a16="http://schemas.microsoft.com/office/drawing/2014/main" id="{DF35838D-9175-4811-AA9C-B792D9CDD240}"/>
                </a:ext>
              </a:extLst>
            </p:cNvPr>
            <p:cNvSpPr>
              <a:spLocks/>
            </p:cNvSpPr>
            <p:nvPr/>
          </p:nvSpPr>
          <p:spPr bwMode="auto">
            <a:xfrm>
              <a:off x="6819" y="2793"/>
              <a:ext cx="12" cy="5"/>
            </a:xfrm>
            <a:custGeom>
              <a:avLst/>
              <a:gdLst>
                <a:gd name="T0" fmla="*/ 0 w 5"/>
                <a:gd name="T1" fmla="*/ 0 h 2"/>
                <a:gd name="T2" fmla="*/ 3 w 5"/>
                <a:gd name="T3" fmla="*/ 2 h 2"/>
                <a:gd name="T4" fmla="*/ 0 w 5"/>
                <a:gd name="T5" fmla="*/ 0 h 2"/>
              </a:gdLst>
              <a:ahLst/>
              <a:cxnLst>
                <a:cxn ang="0">
                  <a:pos x="T0" y="T1"/>
                </a:cxn>
                <a:cxn ang="0">
                  <a:pos x="T2" y="T3"/>
                </a:cxn>
                <a:cxn ang="0">
                  <a:pos x="T4" y="T5"/>
                </a:cxn>
              </a:cxnLst>
              <a:rect l="0" t="0" r="r" b="b"/>
              <a:pathLst>
                <a:path w="5" h="2">
                  <a:moveTo>
                    <a:pt x="0" y="0"/>
                  </a:moveTo>
                  <a:cubicBezTo>
                    <a:pt x="1" y="1"/>
                    <a:pt x="2" y="1"/>
                    <a:pt x="3" y="2"/>
                  </a:cubicBezTo>
                  <a:cubicBezTo>
                    <a:pt x="5" y="0"/>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48" name="Freeform 2402">
              <a:extLst>
                <a:ext uri="{FF2B5EF4-FFF2-40B4-BE49-F238E27FC236}">
                  <a16:creationId xmlns:a16="http://schemas.microsoft.com/office/drawing/2014/main" id="{D735B3EB-1F37-49D3-BAEB-6A4E27648B51}"/>
                </a:ext>
              </a:extLst>
            </p:cNvPr>
            <p:cNvSpPr>
              <a:spLocks/>
            </p:cNvSpPr>
            <p:nvPr/>
          </p:nvSpPr>
          <p:spPr bwMode="auto">
            <a:xfrm>
              <a:off x="6625" y="2724"/>
              <a:ext cx="36" cy="76"/>
            </a:xfrm>
            <a:custGeom>
              <a:avLst/>
              <a:gdLst>
                <a:gd name="T0" fmla="*/ 1 w 15"/>
                <a:gd name="T1" fmla="*/ 9 h 32"/>
                <a:gd name="T2" fmla="*/ 1 w 15"/>
                <a:gd name="T3" fmla="*/ 12 h 32"/>
                <a:gd name="T4" fmla="*/ 2 w 15"/>
                <a:gd name="T5" fmla="*/ 14 h 32"/>
                <a:gd name="T6" fmla="*/ 2 w 15"/>
                <a:gd name="T7" fmla="*/ 16 h 32"/>
                <a:gd name="T8" fmla="*/ 3 w 15"/>
                <a:gd name="T9" fmla="*/ 20 h 32"/>
                <a:gd name="T10" fmla="*/ 3 w 15"/>
                <a:gd name="T11" fmla="*/ 25 h 32"/>
                <a:gd name="T12" fmla="*/ 6 w 15"/>
                <a:gd name="T13" fmla="*/ 29 h 32"/>
                <a:gd name="T14" fmla="*/ 11 w 15"/>
                <a:gd name="T15" fmla="*/ 32 h 32"/>
                <a:gd name="T16" fmla="*/ 6 w 15"/>
                <a:gd name="T17" fmla="*/ 23 h 32"/>
                <a:gd name="T18" fmla="*/ 5 w 15"/>
                <a:gd name="T19" fmla="*/ 20 h 32"/>
                <a:gd name="T20" fmla="*/ 6 w 15"/>
                <a:gd name="T21" fmla="*/ 18 h 32"/>
                <a:gd name="T22" fmla="*/ 13 w 15"/>
                <a:gd name="T23" fmla="*/ 19 h 32"/>
                <a:gd name="T24" fmla="*/ 15 w 15"/>
                <a:gd name="T25" fmla="*/ 20 h 32"/>
                <a:gd name="T26" fmla="*/ 11 w 15"/>
                <a:gd name="T27" fmla="*/ 16 h 32"/>
                <a:gd name="T28" fmla="*/ 10 w 15"/>
                <a:gd name="T29" fmla="*/ 16 h 32"/>
                <a:gd name="T30" fmla="*/ 12 w 15"/>
                <a:gd name="T31" fmla="*/ 12 h 32"/>
                <a:gd name="T32" fmla="*/ 14 w 15"/>
                <a:gd name="T33" fmla="*/ 10 h 32"/>
                <a:gd name="T34" fmla="*/ 14 w 15"/>
                <a:gd name="T35" fmla="*/ 9 h 32"/>
                <a:gd name="T36" fmla="*/ 14 w 15"/>
                <a:gd name="T37" fmla="*/ 7 h 32"/>
                <a:gd name="T38" fmla="*/ 10 w 15"/>
                <a:gd name="T39" fmla="*/ 7 h 32"/>
                <a:gd name="T40" fmla="*/ 8 w 15"/>
                <a:gd name="T41" fmla="*/ 8 h 32"/>
                <a:gd name="T42" fmla="*/ 7 w 15"/>
                <a:gd name="T43" fmla="*/ 9 h 32"/>
                <a:gd name="T44" fmla="*/ 8 w 15"/>
                <a:gd name="T45" fmla="*/ 11 h 32"/>
                <a:gd name="T46" fmla="*/ 6 w 15"/>
                <a:gd name="T47" fmla="*/ 12 h 32"/>
                <a:gd name="T48" fmla="*/ 5 w 15"/>
                <a:gd name="T49" fmla="*/ 14 h 32"/>
                <a:gd name="T50" fmla="*/ 3 w 15"/>
                <a:gd name="T51" fmla="*/ 13 h 32"/>
                <a:gd name="T52" fmla="*/ 4 w 15"/>
                <a:gd name="T53" fmla="*/ 11 h 32"/>
                <a:gd name="T54" fmla="*/ 5 w 15"/>
                <a:gd name="T55" fmla="*/ 11 h 32"/>
                <a:gd name="T56" fmla="*/ 5 w 15"/>
                <a:gd name="T57" fmla="*/ 10 h 32"/>
                <a:gd name="T58" fmla="*/ 6 w 15"/>
                <a:gd name="T59" fmla="*/ 9 h 32"/>
                <a:gd name="T60" fmla="*/ 6 w 15"/>
                <a:gd name="T61" fmla="*/ 4 h 32"/>
                <a:gd name="T62" fmla="*/ 6 w 15"/>
                <a:gd name="T63" fmla="*/ 2 h 32"/>
                <a:gd name="T64" fmla="*/ 7 w 15"/>
                <a:gd name="T65" fmla="*/ 0 h 32"/>
                <a:gd name="T66" fmla="*/ 3 w 15"/>
                <a:gd name="T67" fmla="*/ 2 h 32"/>
                <a:gd name="T68" fmla="*/ 2 w 15"/>
                <a:gd name="T69" fmla="*/ 5 h 32"/>
                <a:gd name="T70" fmla="*/ 1 w 15"/>
                <a:gd name="T71" fmla="*/ 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 h="32">
                  <a:moveTo>
                    <a:pt x="1" y="9"/>
                  </a:moveTo>
                  <a:cubicBezTo>
                    <a:pt x="0" y="10"/>
                    <a:pt x="0" y="11"/>
                    <a:pt x="1" y="12"/>
                  </a:cubicBezTo>
                  <a:cubicBezTo>
                    <a:pt x="1" y="12"/>
                    <a:pt x="2" y="13"/>
                    <a:pt x="2" y="14"/>
                  </a:cubicBezTo>
                  <a:cubicBezTo>
                    <a:pt x="2" y="14"/>
                    <a:pt x="2" y="15"/>
                    <a:pt x="2" y="16"/>
                  </a:cubicBezTo>
                  <a:cubicBezTo>
                    <a:pt x="1" y="17"/>
                    <a:pt x="3" y="18"/>
                    <a:pt x="3" y="20"/>
                  </a:cubicBezTo>
                  <a:cubicBezTo>
                    <a:pt x="3" y="21"/>
                    <a:pt x="3" y="23"/>
                    <a:pt x="3" y="25"/>
                  </a:cubicBezTo>
                  <a:cubicBezTo>
                    <a:pt x="3" y="26"/>
                    <a:pt x="5" y="28"/>
                    <a:pt x="6" y="29"/>
                  </a:cubicBezTo>
                  <a:cubicBezTo>
                    <a:pt x="7" y="30"/>
                    <a:pt x="9" y="31"/>
                    <a:pt x="11" y="32"/>
                  </a:cubicBezTo>
                  <a:cubicBezTo>
                    <a:pt x="9" y="29"/>
                    <a:pt x="7" y="26"/>
                    <a:pt x="6" y="23"/>
                  </a:cubicBezTo>
                  <a:cubicBezTo>
                    <a:pt x="5" y="22"/>
                    <a:pt x="5" y="21"/>
                    <a:pt x="5" y="20"/>
                  </a:cubicBezTo>
                  <a:cubicBezTo>
                    <a:pt x="5" y="19"/>
                    <a:pt x="5" y="18"/>
                    <a:pt x="6" y="18"/>
                  </a:cubicBezTo>
                  <a:cubicBezTo>
                    <a:pt x="9" y="18"/>
                    <a:pt x="11" y="19"/>
                    <a:pt x="13" y="19"/>
                  </a:cubicBezTo>
                  <a:cubicBezTo>
                    <a:pt x="14" y="20"/>
                    <a:pt x="15" y="20"/>
                    <a:pt x="15" y="20"/>
                  </a:cubicBezTo>
                  <a:cubicBezTo>
                    <a:pt x="14" y="19"/>
                    <a:pt x="13" y="17"/>
                    <a:pt x="11" y="16"/>
                  </a:cubicBezTo>
                  <a:cubicBezTo>
                    <a:pt x="11" y="16"/>
                    <a:pt x="10" y="16"/>
                    <a:pt x="10" y="16"/>
                  </a:cubicBezTo>
                  <a:cubicBezTo>
                    <a:pt x="7" y="14"/>
                    <a:pt x="11" y="13"/>
                    <a:pt x="12" y="12"/>
                  </a:cubicBezTo>
                  <a:cubicBezTo>
                    <a:pt x="14" y="11"/>
                    <a:pt x="13" y="11"/>
                    <a:pt x="14" y="10"/>
                  </a:cubicBezTo>
                  <a:cubicBezTo>
                    <a:pt x="14" y="9"/>
                    <a:pt x="14" y="9"/>
                    <a:pt x="14" y="9"/>
                  </a:cubicBezTo>
                  <a:cubicBezTo>
                    <a:pt x="14" y="8"/>
                    <a:pt x="13" y="7"/>
                    <a:pt x="14" y="7"/>
                  </a:cubicBezTo>
                  <a:cubicBezTo>
                    <a:pt x="13" y="6"/>
                    <a:pt x="11" y="7"/>
                    <a:pt x="10" y="7"/>
                  </a:cubicBezTo>
                  <a:cubicBezTo>
                    <a:pt x="10" y="7"/>
                    <a:pt x="9" y="8"/>
                    <a:pt x="8" y="8"/>
                  </a:cubicBezTo>
                  <a:cubicBezTo>
                    <a:pt x="8" y="8"/>
                    <a:pt x="7" y="9"/>
                    <a:pt x="7" y="9"/>
                  </a:cubicBezTo>
                  <a:cubicBezTo>
                    <a:pt x="7" y="10"/>
                    <a:pt x="9" y="10"/>
                    <a:pt x="8" y="11"/>
                  </a:cubicBezTo>
                  <a:cubicBezTo>
                    <a:pt x="7" y="11"/>
                    <a:pt x="6" y="11"/>
                    <a:pt x="6" y="12"/>
                  </a:cubicBezTo>
                  <a:cubicBezTo>
                    <a:pt x="5" y="13"/>
                    <a:pt x="6" y="14"/>
                    <a:pt x="5" y="14"/>
                  </a:cubicBezTo>
                  <a:cubicBezTo>
                    <a:pt x="4" y="15"/>
                    <a:pt x="3" y="14"/>
                    <a:pt x="3" y="13"/>
                  </a:cubicBezTo>
                  <a:cubicBezTo>
                    <a:pt x="3" y="12"/>
                    <a:pt x="4" y="11"/>
                    <a:pt x="4" y="11"/>
                  </a:cubicBezTo>
                  <a:cubicBezTo>
                    <a:pt x="5" y="11"/>
                    <a:pt x="5" y="11"/>
                    <a:pt x="5" y="11"/>
                  </a:cubicBezTo>
                  <a:cubicBezTo>
                    <a:pt x="5" y="11"/>
                    <a:pt x="5" y="10"/>
                    <a:pt x="5" y="10"/>
                  </a:cubicBezTo>
                  <a:cubicBezTo>
                    <a:pt x="6" y="10"/>
                    <a:pt x="6" y="9"/>
                    <a:pt x="6" y="9"/>
                  </a:cubicBezTo>
                  <a:cubicBezTo>
                    <a:pt x="7" y="8"/>
                    <a:pt x="6" y="6"/>
                    <a:pt x="6" y="4"/>
                  </a:cubicBezTo>
                  <a:cubicBezTo>
                    <a:pt x="5" y="3"/>
                    <a:pt x="5" y="3"/>
                    <a:pt x="6" y="2"/>
                  </a:cubicBezTo>
                  <a:cubicBezTo>
                    <a:pt x="6" y="2"/>
                    <a:pt x="7" y="1"/>
                    <a:pt x="7" y="0"/>
                  </a:cubicBezTo>
                  <a:cubicBezTo>
                    <a:pt x="6" y="1"/>
                    <a:pt x="5" y="2"/>
                    <a:pt x="3" y="2"/>
                  </a:cubicBezTo>
                  <a:cubicBezTo>
                    <a:pt x="3" y="3"/>
                    <a:pt x="2" y="4"/>
                    <a:pt x="2" y="5"/>
                  </a:cubicBezTo>
                  <a:cubicBezTo>
                    <a:pt x="1" y="7"/>
                    <a:pt x="1" y="8"/>
                    <a:pt x="1" y="9"/>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49" name="Freeform 2403">
              <a:extLst>
                <a:ext uri="{FF2B5EF4-FFF2-40B4-BE49-F238E27FC236}">
                  <a16:creationId xmlns:a16="http://schemas.microsoft.com/office/drawing/2014/main" id="{DF1AC9C9-3E5B-4E97-B2C6-D8FCC87DC89B}"/>
                </a:ext>
              </a:extLst>
            </p:cNvPr>
            <p:cNvSpPr>
              <a:spLocks/>
            </p:cNvSpPr>
            <p:nvPr/>
          </p:nvSpPr>
          <p:spPr bwMode="auto">
            <a:xfrm>
              <a:off x="6176" y="2963"/>
              <a:ext cx="7" cy="3"/>
            </a:xfrm>
            <a:custGeom>
              <a:avLst/>
              <a:gdLst>
                <a:gd name="T0" fmla="*/ 3 w 3"/>
                <a:gd name="T1" fmla="*/ 1 h 1"/>
                <a:gd name="T2" fmla="*/ 0 w 3"/>
                <a:gd name="T3" fmla="*/ 0 h 1"/>
                <a:gd name="T4" fmla="*/ 3 w 3"/>
                <a:gd name="T5" fmla="*/ 1 h 1"/>
              </a:gdLst>
              <a:ahLst/>
              <a:cxnLst>
                <a:cxn ang="0">
                  <a:pos x="T0" y="T1"/>
                </a:cxn>
                <a:cxn ang="0">
                  <a:pos x="T2" y="T3"/>
                </a:cxn>
                <a:cxn ang="0">
                  <a:pos x="T4" y="T5"/>
                </a:cxn>
              </a:cxnLst>
              <a:rect l="0" t="0" r="r" b="b"/>
              <a:pathLst>
                <a:path w="3" h="1">
                  <a:moveTo>
                    <a:pt x="3" y="1"/>
                  </a:moveTo>
                  <a:cubicBezTo>
                    <a:pt x="2" y="1"/>
                    <a:pt x="1" y="0"/>
                    <a:pt x="0" y="0"/>
                  </a:cubicBezTo>
                  <a:cubicBezTo>
                    <a:pt x="1" y="1"/>
                    <a:pt x="2" y="1"/>
                    <a:pt x="3"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50" name="Freeform 2404">
              <a:extLst>
                <a:ext uri="{FF2B5EF4-FFF2-40B4-BE49-F238E27FC236}">
                  <a16:creationId xmlns:a16="http://schemas.microsoft.com/office/drawing/2014/main" id="{DAB7A1FD-9BF2-4CF1-A099-BAAB254AA8B2}"/>
                </a:ext>
              </a:extLst>
            </p:cNvPr>
            <p:cNvSpPr>
              <a:spLocks/>
            </p:cNvSpPr>
            <p:nvPr/>
          </p:nvSpPr>
          <p:spPr bwMode="auto">
            <a:xfrm>
              <a:off x="6753" y="2914"/>
              <a:ext cx="2" cy="7"/>
            </a:xfrm>
            <a:custGeom>
              <a:avLst/>
              <a:gdLst>
                <a:gd name="T0" fmla="*/ 1 w 1"/>
                <a:gd name="T1" fmla="*/ 3 h 3"/>
                <a:gd name="T2" fmla="*/ 1 w 1"/>
                <a:gd name="T3" fmla="*/ 0 h 3"/>
                <a:gd name="T4" fmla="*/ 0 w 1"/>
                <a:gd name="T5" fmla="*/ 0 h 3"/>
                <a:gd name="T6" fmla="*/ 1 w 1"/>
                <a:gd name="T7" fmla="*/ 3 h 3"/>
              </a:gdLst>
              <a:ahLst/>
              <a:cxnLst>
                <a:cxn ang="0">
                  <a:pos x="T0" y="T1"/>
                </a:cxn>
                <a:cxn ang="0">
                  <a:pos x="T2" y="T3"/>
                </a:cxn>
                <a:cxn ang="0">
                  <a:pos x="T4" y="T5"/>
                </a:cxn>
                <a:cxn ang="0">
                  <a:pos x="T6" y="T7"/>
                </a:cxn>
              </a:cxnLst>
              <a:rect l="0" t="0" r="r" b="b"/>
              <a:pathLst>
                <a:path w="1" h="3">
                  <a:moveTo>
                    <a:pt x="1" y="3"/>
                  </a:moveTo>
                  <a:cubicBezTo>
                    <a:pt x="1" y="2"/>
                    <a:pt x="1" y="1"/>
                    <a:pt x="1" y="0"/>
                  </a:cubicBezTo>
                  <a:cubicBezTo>
                    <a:pt x="0" y="0"/>
                    <a:pt x="0" y="0"/>
                    <a:pt x="0" y="0"/>
                  </a:cubicBezTo>
                  <a:cubicBezTo>
                    <a:pt x="0" y="1"/>
                    <a:pt x="0" y="3"/>
                    <a:pt x="1"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51" name="Freeform 2405">
              <a:extLst>
                <a:ext uri="{FF2B5EF4-FFF2-40B4-BE49-F238E27FC236}">
                  <a16:creationId xmlns:a16="http://schemas.microsoft.com/office/drawing/2014/main" id="{F5D7716F-C46F-4EF2-BB43-5D58B3AABE39}"/>
                </a:ext>
              </a:extLst>
            </p:cNvPr>
            <p:cNvSpPr>
              <a:spLocks/>
            </p:cNvSpPr>
            <p:nvPr/>
          </p:nvSpPr>
          <p:spPr bwMode="auto">
            <a:xfrm>
              <a:off x="5928" y="2798"/>
              <a:ext cx="19" cy="23"/>
            </a:xfrm>
            <a:custGeom>
              <a:avLst/>
              <a:gdLst>
                <a:gd name="T0" fmla="*/ 4 w 8"/>
                <a:gd name="T1" fmla="*/ 1 h 10"/>
                <a:gd name="T2" fmla="*/ 2 w 8"/>
                <a:gd name="T3" fmla="*/ 2 h 10"/>
                <a:gd name="T4" fmla="*/ 3 w 8"/>
                <a:gd name="T5" fmla="*/ 6 h 10"/>
                <a:gd name="T6" fmla="*/ 6 w 8"/>
                <a:gd name="T7" fmla="*/ 10 h 10"/>
                <a:gd name="T8" fmla="*/ 7 w 8"/>
                <a:gd name="T9" fmla="*/ 6 h 10"/>
                <a:gd name="T10" fmla="*/ 4 w 8"/>
                <a:gd name="T11" fmla="*/ 1 h 10"/>
              </a:gdLst>
              <a:ahLst/>
              <a:cxnLst>
                <a:cxn ang="0">
                  <a:pos x="T0" y="T1"/>
                </a:cxn>
                <a:cxn ang="0">
                  <a:pos x="T2" y="T3"/>
                </a:cxn>
                <a:cxn ang="0">
                  <a:pos x="T4" y="T5"/>
                </a:cxn>
                <a:cxn ang="0">
                  <a:pos x="T6" y="T7"/>
                </a:cxn>
                <a:cxn ang="0">
                  <a:pos x="T8" y="T9"/>
                </a:cxn>
                <a:cxn ang="0">
                  <a:pos x="T10" y="T11"/>
                </a:cxn>
              </a:cxnLst>
              <a:rect l="0" t="0" r="r" b="b"/>
              <a:pathLst>
                <a:path w="8" h="10">
                  <a:moveTo>
                    <a:pt x="4" y="1"/>
                  </a:moveTo>
                  <a:cubicBezTo>
                    <a:pt x="4" y="0"/>
                    <a:pt x="2" y="1"/>
                    <a:pt x="2" y="2"/>
                  </a:cubicBezTo>
                  <a:cubicBezTo>
                    <a:pt x="0" y="3"/>
                    <a:pt x="2" y="5"/>
                    <a:pt x="3" y="6"/>
                  </a:cubicBezTo>
                  <a:cubicBezTo>
                    <a:pt x="4" y="8"/>
                    <a:pt x="4" y="9"/>
                    <a:pt x="6" y="10"/>
                  </a:cubicBezTo>
                  <a:cubicBezTo>
                    <a:pt x="8" y="8"/>
                    <a:pt x="8" y="8"/>
                    <a:pt x="7" y="6"/>
                  </a:cubicBezTo>
                  <a:cubicBezTo>
                    <a:pt x="6" y="4"/>
                    <a:pt x="5" y="3"/>
                    <a:pt x="4"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52" name="Freeform 2406">
              <a:extLst>
                <a:ext uri="{FF2B5EF4-FFF2-40B4-BE49-F238E27FC236}">
                  <a16:creationId xmlns:a16="http://schemas.microsoft.com/office/drawing/2014/main" id="{1A80E8F4-97E5-4B6A-AE55-45C7D50F55EC}"/>
                </a:ext>
              </a:extLst>
            </p:cNvPr>
            <p:cNvSpPr>
              <a:spLocks/>
            </p:cNvSpPr>
            <p:nvPr/>
          </p:nvSpPr>
          <p:spPr bwMode="auto">
            <a:xfrm>
              <a:off x="6587" y="2961"/>
              <a:ext cx="26" cy="9"/>
            </a:xfrm>
            <a:custGeom>
              <a:avLst/>
              <a:gdLst>
                <a:gd name="T0" fmla="*/ 0 w 11"/>
                <a:gd name="T1" fmla="*/ 4 h 4"/>
                <a:gd name="T2" fmla="*/ 5 w 11"/>
                <a:gd name="T3" fmla="*/ 3 h 4"/>
                <a:gd name="T4" fmla="*/ 9 w 11"/>
                <a:gd name="T5" fmla="*/ 2 h 4"/>
                <a:gd name="T6" fmla="*/ 9 w 11"/>
                <a:gd name="T7" fmla="*/ 0 h 4"/>
                <a:gd name="T8" fmla="*/ 7 w 11"/>
                <a:gd name="T9" fmla="*/ 0 h 4"/>
                <a:gd name="T10" fmla="*/ 6 w 11"/>
                <a:gd name="T11" fmla="*/ 1 h 4"/>
                <a:gd name="T12" fmla="*/ 3 w 11"/>
                <a:gd name="T13" fmla="*/ 1 h 4"/>
                <a:gd name="T14" fmla="*/ 1 w 11"/>
                <a:gd name="T15" fmla="*/ 2 h 4"/>
                <a:gd name="T16" fmla="*/ 0 w 11"/>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
                  <a:moveTo>
                    <a:pt x="0" y="4"/>
                  </a:moveTo>
                  <a:cubicBezTo>
                    <a:pt x="2" y="3"/>
                    <a:pt x="3" y="3"/>
                    <a:pt x="5" y="3"/>
                  </a:cubicBezTo>
                  <a:cubicBezTo>
                    <a:pt x="7" y="4"/>
                    <a:pt x="7" y="3"/>
                    <a:pt x="9" y="2"/>
                  </a:cubicBezTo>
                  <a:cubicBezTo>
                    <a:pt x="11" y="1"/>
                    <a:pt x="10" y="1"/>
                    <a:pt x="9" y="0"/>
                  </a:cubicBezTo>
                  <a:cubicBezTo>
                    <a:pt x="8" y="0"/>
                    <a:pt x="8" y="0"/>
                    <a:pt x="7" y="0"/>
                  </a:cubicBezTo>
                  <a:cubicBezTo>
                    <a:pt x="7" y="0"/>
                    <a:pt x="6" y="0"/>
                    <a:pt x="6" y="1"/>
                  </a:cubicBezTo>
                  <a:cubicBezTo>
                    <a:pt x="5" y="1"/>
                    <a:pt x="4" y="1"/>
                    <a:pt x="3" y="1"/>
                  </a:cubicBezTo>
                  <a:cubicBezTo>
                    <a:pt x="2" y="1"/>
                    <a:pt x="2" y="1"/>
                    <a:pt x="1" y="2"/>
                  </a:cubicBezTo>
                  <a:cubicBezTo>
                    <a:pt x="0" y="3"/>
                    <a:pt x="0" y="3"/>
                    <a:pt x="0"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53" name="Freeform 2407">
              <a:extLst>
                <a:ext uri="{FF2B5EF4-FFF2-40B4-BE49-F238E27FC236}">
                  <a16:creationId xmlns:a16="http://schemas.microsoft.com/office/drawing/2014/main" id="{C385D2E5-5D12-4E52-978E-690C8F649F10}"/>
                </a:ext>
              </a:extLst>
            </p:cNvPr>
            <p:cNvSpPr>
              <a:spLocks/>
            </p:cNvSpPr>
            <p:nvPr/>
          </p:nvSpPr>
          <p:spPr bwMode="auto">
            <a:xfrm>
              <a:off x="6715" y="2949"/>
              <a:ext cx="14" cy="24"/>
            </a:xfrm>
            <a:custGeom>
              <a:avLst/>
              <a:gdLst>
                <a:gd name="T0" fmla="*/ 6 w 6"/>
                <a:gd name="T1" fmla="*/ 1 h 10"/>
                <a:gd name="T2" fmla="*/ 6 w 6"/>
                <a:gd name="T3" fmla="*/ 0 h 10"/>
                <a:gd name="T4" fmla="*/ 1 w 6"/>
                <a:gd name="T5" fmla="*/ 4 h 10"/>
                <a:gd name="T6" fmla="*/ 0 w 6"/>
                <a:gd name="T7" fmla="*/ 6 h 10"/>
                <a:gd name="T8" fmla="*/ 0 w 6"/>
                <a:gd name="T9" fmla="*/ 7 h 10"/>
                <a:gd name="T10" fmla="*/ 0 w 6"/>
                <a:gd name="T11" fmla="*/ 9 h 10"/>
                <a:gd name="T12" fmla="*/ 1 w 6"/>
                <a:gd name="T13" fmla="*/ 9 h 10"/>
                <a:gd name="T14" fmla="*/ 2 w 6"/>
                <a:gd name="T15" fmla="*/ 9 h 10"/>
                <a:gd name="T16" fmla="*/ 3 w 6"/>
                <a:gd name="T17" fmla="*/ 8 h 10"/>
                <a:gd name="T18" fmla="*/ 3 w 6"/>
                <a:gd name="T19" fmla="*/ 7 h 10"/>
                <a:gd name="T20" fmla="*/ 5 w 6"/>
                <a:gd name="T21" fmla="*/ 6 h 10"/>
                <a:gd name="T22" fmla="*/ 6 w 6"/>
                <a:gd name="T23" fmla="*/ 3 h 10"/>
                <a:gd name="T24" fmla="*/ 6 w 6"/>
                <a:gd name="T25"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10">
                  <a:moveTo>
                    <a:pt x="6" y="1"/>
                  </a:moveTo>
                  <a:cubicBezTo>
                    <a:pt x="6" y="1"/>
                    <a:pt x="6" y="0"/>
                    <a:pt x="6" y="0"/>
                  </a:cubicBezTo>
                  <a:cubicBezTo>
                    <a:pt x="4" y="1"/>
                    <a:pt x="2" y="3"/>
                    <a:pt x="1" y="4"/>
                  </a:cubicBezTo>
                  <a:cubicBezTo>
                    <a:pt x="1" y="5"/>
                    <a:pt x="1" y="6"/>
                    <a:pt x="0" y="6"/>
                  </a:cubicBezTo>
                  <a:cubicBezTo>
                    <a:pt x="0" y="6"/>
                    <a:pt x="0" y="7"/>
                    <a:pt x="0" y="7"/>
                  </a:cubicBezTo>
                  <a:cubicBezTo>
                    <a:pt x="0" y="7"/>
                    <a:pt x="0" y="8"/>
                    <a:pt x="0" y="9"/>
                  </a:cubicBezTo>
                  <a:cubicBezTo>
                    <a:pt x="0" y="10"/>
                    <a:pt x="0" y="9"/>
                    <a:pt x="1" y="9"/>
                  </a:cubicBezTo>
                  <a:cubicBezTo>
                    <a:pt x="1" y="10"/>
                    <a:pt x="2" y="9"/>
                    <a:pt x="2" y="9"/>
                  </a:cubicBezTo>
                  <a:cubicBezTo>
                    <a:pt x="2" y="9"/>
                    <a:pt x="3" y="8"/>
                    <a:pt x="3" y="8"/>
                  </a:cubicBezTo>
                  <a:cubicBezTo>
                    <a:pt x="3" y="8"/>
                    <a:pt x="3" y="8"/>
                    <a:pt x="3" y="7"/>
                  </a:cubicBezTo>
                  <a:cubicBezTo>
                    <a:pt x="4" y="7"/>
                    <a:pt x="5" y="6"/>
                    <a:pt x="5" y="6"/>
                  </a:cubicBezTo>
                  <a:cubicBezTo>
                    <a:pt x="6" y="5"/>
                    <a:pt x="6" y="4"/>
                    <a:pt x="6" y="3"/>
                  </a:cubicBezTo>
                  <a:cubicBezTo>
                    <a:pt x="5" y="3"/>
                    <a:pt x="5" y="2"/>
                    <a:pt x="6"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54" name="Freeform 2408">
              <a:extLst>
                <a:ext uri="{FF2B5EF4-FFF2-40B4-BE49-F238E27FC236}">
                  <a16:creationId xmlns:a16="http://schemas.microsoft.com/office/drawing/2014/main" id="{E92A600A-5999-404E-BFC4-0FAFFD5ACB9C}"/>
                </a:ext>
              </a:extLst>
            </p:cNvPr>
            <p:cNvSpPr>
              <a:spLocks/>
            </p:cNvSpPr>
            <p:nvPr/>
          </p:nvSpPr>
          <p:spPr bwMode="auto">
            <a:xfrm>
              <a:off x="6821" y="2817"/>
              <a:ext cx="33" cy="9"/>
            </a:xfrm>
            <a:custGeom>
              <a:avLst/>
              <a:gdLst>
                <a:gd name="T0" fmla="*/ 11 w 14"/>
                <a:gd name="T1" fmla="*/ 3 h 4"/>
                <a:gd name="T2" fmla="*/ 14 w 14"/>
                <a:gd name="T3" fmla="*/ 2 h 4"/>
                <a:gd name="T4" fmla="*/ 13 w 14"/>
                <a:gd name="T5" fmla="*/ 1 h 4"/>
                <a:gd name="T6" fmla="*/ 10 w 14"/>
                <a:gd name="T7" fmla="*/ 1 h 4"/>
                <a:gd name="T8" fmla="*/ 7 w 14"/>
                <a:gd name="T9" fmla="*/ 0 h 4"/>
                <a:gd name="T10" fmla="*/ 0 w 14"/>
                <a:gd name="T11" fmla="*/ 0 h 4"/>
                <a:gd name="T12" fmla="*/ 11 w 14"/>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14" h="4">
                  <a:moveTo>
                    <a:pt x="11" y="3"/>
                  </a:moveTo>
                  <a:cubicBezTo>
                    <a:pt x="12" y="3"/>
                    <a:pt x="13" y="2"/>
                    <a:pt x="14" y="2"/>
                  </a:cubicBezTo>
                  <a:cubicBezTo>
                    <a:pt x="14" y="1"/>
                    <a:pt x="13" y="1"/>
                    <a:pt x="13" y="1"/>
                  </a:cubicBezTo>
                  <a:cubicBezTo>
                    <a:pt x="12" y="1"/>
                    <a:pt x="11" y="1"/>
                    <a:pt x="10" y="1"/>
                  </a:cubicBezTo>
                  <a:cubicBezTo>
                    <a:pt x="9" y="1"/>
                    <a:pt x="8" y="1"/>
                    <a:pt x="7" y="0"/>
                  </a:cubicBezTo>
                  <a:cubicBezTo>
                    <a:pt x="5" y="0"/>
                    <a:pt x="2" y="0"/>
                    <a:pt x="0" y="0"/>
                  </a:cubicBezTo>
                  <a:cubicBezTo>
                    <a:pt x="0" y="0"/>
                    <a:pt x="10" y="4"/>
                    <a:pt x="11"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55" name="Freeform 2409">
              <a:extLst>
                <a:ext uri="{FF2B5EF4-FFF2-40B4-BE49-F238E27FC236}">
                  <a16:creationId xmlns:a16="http://schemas.microsoft.com/office/drawing/2014/main" id="{5F0F30EA-80D7-451A-B14F-E2CE29E9A5D1}"/>
                </a:ext>
              </a:extLst>
            </p:cNvPr>
            <p:cNvSpPr>
              <a:spLocks/>
            </p:cNvSpPr>
            <p:nvPr/>
          </p:nvSpPr>
          <p:spPr bwMode="auto">
            <a:xfrm>
              <a:off x="6490" y="2899"/>
              <a:ext cx="5" cy="10"/>
            </a:xfrm>
            <a:custGeom>
              <a:avLst/>
              <a:gdLst>
                <a:gd name="T0" fmla="*/ 0 w 2"/>
                <a:gd name="T1" fmla="*/ 2 h 4"/>
                <a:gd name="T2" fmla="*/ 2 w 2"/>
                <a:gd name="T3" fmla="*/ 4 h 4"/>
                <a:gd name="T4" fmla="*/ 2 w 2"/>
                <a:gd name="T5" fmla="*/ 0 h 4"/>
                <a:gd name="T6" fmla="*/ 0 w 2"/>
                <a:gd name="T7" fmla="*/ 2 h 4"/>
              </a:gdLst>
              <a:ahLst/>
              <a:cxnLst>
                <a:cxn ang="0">
                  <a:pos x="T0" y="T1"/>
                </a:cxn>
                <a:cxn ang="0">
                  <a:pos x="T2" y="T3"/>
                </a:cxn>
                <a:cxn ang="0">
                  <a:pos x="T4" y="T5"/>
                </a:cxn>
                <a:cxn ang="0">
                  <a:pos x="T6" y="T7"/>
                </a:cxn>
              </a:cxnLst>
              <a:rect l="0" t="0" r="r" b="b"/>
              <a:pathLst>
                <a:path w="2" h="4">
                  <a:moveTo>
                    <a:pt x="0" y="2"/>
                  </a:moveTo>
                  <a:cubicBezTo>
                    <a:pt x="0" y="3"/>
                    <a:pt x="1" y="4"/>
                    <a:pt x="2" y="4"/>
                  </a:cubicBezTo>
                  <a:cubicBezTo>
                    <a:pt x="2" y="3"/>
                    <a:pt x="2" y="2"/>
                    <a:pt x="2" y="0"/>
                  </a:cubicBezTo>
                  <a:cubicBezTo>
                    <a:pt x="1" y="0"/>
                    <a:pt x="0"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56" name="Freeform 2410">
              <a:extLst>
                <a:ext uri="{FF2B5EF4-FFF2-40B4-BE49-F238E27FC236}">
                  <a16:creationId xmlns:a16="http://schemas.microsoft.com/office/drawing/2014/main" id="{8E4203C9-67A6-404C-A69D-CE29A09D878F}"/>
                </a:ext>
              </a:extLst>
            </p:cNvPr>
            <p:cNvSpPr>
              <a:spLocks/>
            </p:cNvSpPr>
            <p:nvPr/>
          </p:nvSpPr>
          <p:spPr bwMode="auto">
            <a:xfrm>
              <a:off x="6417" y="2734"/>
              <a:ext cx="156" cy="182"/>
            </a:xfrm>
            <a:custGeom>
              <a:avLst/>
              <a:gdLst>
                <a:gd name="T0" fmla="*/ 0 w 66"/>
                <a:gd name="T1" fmla="*/ 46 h 77"/>
                <a:gd name="T2" fmla="*/ 0 w 66"/>
                <a:gd name="T3" fmla="*/ 50 h 77"/>
                <a:gd name="T4" fmla="*/ 4 w 66"/>
                <a:gd name="T5" fmla="*/ 54 h 77"/>
                <a:gd name="T6" fmla="*/ 8 w 66"/>
                <a:gd name="T7" fmla="*/ 58 h 77"/>
                <a:gd name="T8" fmla="*/ 7 w 66"/>
                <a:gd name="T9" fmla="*/ 70 h 77"/>
                <a:gd name="T10" fmla="*/ 9 w 66"/>
                <a:gd name="T11" fmla="*/ 76 h 77"/>
                <a:gd name="T12" fmla="*/ 15 w 66"/>
                <a:gd name="T13" fmla="*/ 75 h 77"/>
                <a:gd name="T14" fmla="*/ 16 w 66"/>
                <a:gd name="T15" fmla="*/ 69 h 77"/>
                <a:gd name="T16" fmla="*/ 17 w 66"/>
                <a:gd name="T17" fmla="*/ 58 h 77"/>
                <a:gd name="T18" fmla="*/ 15 w 66"/>
                <a:gd name="T19" fmla="*/ 49 h 77"/>
                <a:gd name="T20" fmla="*/ 22 w 66"/>
                <a:gd name="T21" fmla="*/ 45 h 77"/>
                <a:gd name="T22" fmla="*/ 22 w 66"/>
                <a:gd name="T23" fmla="*/ 53 h 77"/>
                <a:gd name="T24" fmla="*/ 25 w 66"/>
                <a:gd name="T25" fmla="*/ 57 h 77"/>
                <a:gd name="T26" fmla="*/ 27 w 66"/>
                <a:gd name="T27" fmla="*/ 59 h 77"/>
                <a:gd name="T28" fmla="*/ 29 w 66"/>
                <a:gd name="T29" fmla="*/ 61 h 77"/>
                <a:gd name="T30" fmla="*/ 31 w 66"/>
                <a:gd name="T31" fmla="*/ 68 h 77"/>
                <a:gd name="T32" fmla="*/ 35 w 66"/>
                <a:gd name="T33" fmla="*/ 64 h 77"/>
                <a:gd name="T34" fmla="*/ 39 w 66"/>
                <a:gd name="T35" fmla="*/ 63 h 77"/>
                <a:gd name="T36" fmla="*/ 40 w 66"/>
                <a:gd name="T37" fmla="*/ 61 h 77"/>
                <a:gd name="T38" fmla="*/ 40 w 66"/>
                <a:gd name="T39" fmla="*/ 58 h 77"/>
                <a:gd name="T40" fmla="*/ 37 w 66"/>
                <a:gd name="T41" fmla="*/ 57 h 77"/>
                <a:gd name="T42" fmla="*/ 37 w 66"/>
                <a:gd name="T43" fmla="*/ 54 h 77"/>
                <a:gd name="T44" fmla="*/ 38 w 66"/>
                <a:gd name="T45" fmla="*/ 51 h 77"/>
                <a:gd name="T46" fmla="*/ 33 w 66"/>
                <a:gd name="T47" fmla="*/ 46 h 77"/>
                <a:gd name="T48" fmla="*/ 29 w 66"/>
                <a:gd name="T49" fmla="*/ 41 h 77"/>
                <a:gd name="T50" fmla="*/ 26 w 66"/>
                <a:gd name="T51" fmla="*/ 39 h 77"/>
                <a:gd name="T52" fmla="*/ 31 w 66"/>
                <a:gd name="T53" fmla="*/ 37 h 77"/>
                <a:gd name="T54" fmla="*/ 41 w 66"/>
                <a:gd name="T55" fmla="*/ 28 h 77"/>
                <a:gd name="T56" fmla="*/ 47 w 66"/>
                <a:gd name="T57" fmla="*/ 29 h 77"/>
                <a:gd name="T58" fmla="*/ 45 w 66"/>
                <a:gd name="T59" fmla="*/ 24 h 77"/>
                <a:gd name="T60" fmla="*/ 40 w 66"/>
                <a:gd name="T61" fmla="*/ 26 h 77"/>
                <a:gd name="T62" fmla="*/ 32 w 66"/>
                <a:gd name="T63" fmla="*/ 28 h 77"/>
                <a:gd name="T64" fmla="*/ 29 w 66"/>
                <a:gd name="T65" fmla="*/ 27 h 77"/>
                <a:gd name="T66" fmla="*/ 25 w 66"/>
                <a:gd name="T67" fmla="*/ 30 h 77"/>
                <a:gd name="T68" fmla="*/ 19 w 66"/>
                <a:gd name="T69" fmla="*/ 33 h 77"/>
                <a:gd name="T70" fmla="*/ 17 w 66"/>
                <a:gd name="T71" fmla="*/ 28 h 77"/>
                <a:gd name="T72" fmla="*/ 14 w 66"/>
                <a:gd name="T73" fmla="*/ 26 h 77"/>
                <a:gd name="T74" fmla="*/ 13 w 66"/>
                <a:gd name="T75" fmla="*/ 21 h 77"/>
                <a:gd name="T76" fmla="*/ 26 w 66"/>
                <a:gd name="T77" fmla="*/ 14 h 77"/>
                <a:gd name="T78" fmla="*/ 44 w 66"/>
                <a:gd name="T79" fmla="*/ 14 h 77"/>
                <a:gd name="T80" fmla="*/ 52 w 66"/>
                <a:gd name="T81" fmla="*/ 15 h 77"/>
                <a:gd name="T82" fmla="*/ 60 w 66"/>
                <a:gd name="T83" fmla="*/ 10 h 77"/>
                <a:gd name="T84" fmla="*/ 65 w 66"/>
                <a:gd name="T85" fmla="*/ 4 h 77"/>
                <a:gd name="T86" fmla="*/ 62 w 66"/>
                <a:gd name="T87" fmla="*/ 2 h 77"/>
                <a:gd name="T88" fmla="*/ 59 w 66"/>
                <a:gd name="T89" fmla="*/ 6 h 77"/>
                <a:gd name="T90" fmla="*/ 53 w 66"/>
                <a:gd name="T91" fmla="*/ 10 h 77"/>
                <a:gd name="T92" fmla="*/ 42 w 66"/>
                <a:gd name="T93" fmla="*/ 10 h 77"/>
                <a:gd name="T94" fmla="*/ 30 w 66"/>
                <a:gd name="T95" fmla="*/ 8 h 77"/>
                <a:gd name="T96" fmla="*/ 26 w 66"/>
                <a:gd name="T97" fmla="*/ 5 h 77"/>
                <a:gd name="T98" fmla="*/ 21 w 66"/>
                <a:gd name="T99" fmla="*/ 7 h 77"/>
                <a:gd name="T100" fmla="*/ 17 w 66"/>
                <a:gd name="T101" fmla="*/ 10 h 77"/>
                <a:gd name="T102" fmla="*/ 16 w 66"/>
                <a:gd name="T103" fmla="*/ 8 h 77"/>
                <a:gd name="T104" fmla="*/ 14 w 66"/>
                <a:gd name="T105" fmla="*/ 11 h 77"/>
                <a:gd name="T106" fmla="*/ 12 w 66"/>
                <a:gd name="T107" fmla="*/ 13 h 77"/>
                <a:gd name="T108" fmla="*/ 10 w 66"/>
                <a:gd name="T109" fmla="*/ 18 h 77"/>
                <a:gd name="T110" fmla="*/ 11 w 66"/>
                <a:gd name="T111" fmla="*/ 21 h 77"/>
                <a:gd name="T112" fmla="*/ 10 w 66"/>
                <a:gd name="T113" fmla="*/ 25 h 77"/>
                <a:gd name="T114" fmla="*/ 6 w 66"/>
                <a:gd name="T115" fmla="*/ 31 h 77"/>
                <a:gd name="T116" fmla="*/ 1 w 66"/>
                <a:gd name="T117" fmla="*/ 4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6" h="77">
                  <a:moveTo>
                    <a:pt x="1" y="46"/>
                  </a:moveTo>
                  <a:cubicBezTo>
                    <a:pt x="1" y="45"/>
                    <a:pt x="0" y="45"/>
                    <a:pt x="0" y="46"/>
                  </a:cubicBezTo>
                  <a:cubicBezTo>
                    <a:pt x="0" y="46"/>
                    <a:pt x="1" y="47"/>
                    <a:pt x="1" y="47"/>
                  </a:cubicBezTo>
                  <a:cubicBezTo>
                    <a:pt x="1" y="49"/>
                    <a:pt x="0" y="49"/>
                    <a:pt x="0" y="50"/>
                  </a:cubicBezTo>
                  <a:cubicBezTo>
                    <a:pt x="0" y="51"/>
                    <a:pt x="1" y="52"/>
                    <a:pt x="2" y="53"/>
                  </a:cubicBezTo>
                  <a:cubicBezTo>
                    <a:pt x="2" y="54"/>
                    <a:pt x="2" y="54"/>
                    <a:pt x="4" y="54"/>
                  </a:cubicBezTo>
                  <a:cubicBezTo>
                    <a:pt x="5" y="54"/>
                    <a:pt x="6" y="54"/>
                    <a:pt x="7" y="54"/>
                  </a:cubicBezTo>
                  <a:cubicBezTo>
                    <a:pt x="7" y="56"/>
                    <a:pt x="7" y="56"/>
                    <a:pt x="8" y="58"/>
                  </a:cubicBezTo>
                  <a:cubicBezTo>
                    <a:pt x="9" y="60"/>
                    <a:pt x="8" y="63"/>
                    <a:pt x="8" y="65"/>
                  </a:cubicBezTo>
                  <a:cubicBezTo>
                    <a:pt x="8" y="66"/>
                    <a:pt x="8" y="68"/>
                    <a:pt x="7" y="70"/>
                  </a:cubicBezTo>
                  <a:cubicBezTo>
                    <a:pt x="6" y="72"/>
                    <a:pt x="6" y="74"/>
                    <a:pt x="7" y="76"/>
                  </a:cubicBezTo>
                  <a:cubicBezTo>
                    <a:pt x="8" y="75"/>
                    <a:pt x="8" y="76"/>
                    <a:pt x="9" y="76"/>
                  </a:cubicBezTo>
                  <a:cubicBezTo>
                    <a:pt x="10" y="77"/>
                    <a:pt x="10" y="76"/>
                    <a:pt x="11" y="76"/>
                  </a:cubicBezTo>
                  <a:cubicBezTo>
                    <a:pt x="12" y="75"/>
                    <a:pt x="13" y="76"/>
                    <a:pt x="15" y="75"/>
                  </a:cubicBezTo>
                  <a:cubicBezTo>
                    <a:pt x="16" y="75"/>
                    <a:pt x="16" y="75"/>
                    <a:pt x="17" y="76"/>
                  </a:cubicBezTo>
                  <a:cubicBezTo>
                    <a:pt x="17" y="74"/>
                    <a:pt x="15" y="72"/>
                    <a:pt x="16" y="69"/>
                  </a:cubicBezTo>
                  <a:cubicBezTo>
                    <a:pt x="16" y="68"/>
                    <a:pt x="17" y="66"/>
                    <a:pt x="17" y="65"/>
                  </a:cubicBezTo>
                  <a:cubicBezTo>
                    <a:pt x="16" y="63"/>
                    <a:pt x="17" y="61"/>
                    <a:pt x="17" y="58"/>
                  </a:cubicBezTo>
                  <a:cubicBezTo>
                    <a:pt x="17" y="56"/>
                    <a:pt x="17" y="54"/>
                    <a:pt x="17" y="52"/>
                  </a:cubicBezTo>
                  <a:cubicBezTo>
                    <a:pt x="16" y="51"/>
                    <a:pt x="15" y="50"/>
                    <a:pt x="15" y="49"/>
                  </a:cubicBezTo>
                  <a:cubicBezTo>
                    <a:pt x="15" y="48"/>
                    <a:pt x="16" y="48"/>
                    <a:pt x="17" y="47"/>
                  </a:cubicBezTo>
                  <a:cubicBezTo>
                    <a:pt x="19" y="46"/>
                    <a:pt x="20" y="45"/>
                    <a:pt x="22" y="45"/>
                  </a:cubicBezTo>
                  <a:cubicBezTo>
                    <a:pt x="24" y="46"/>
                    <a:pt x="24" y="49"/>
                    <a:pt x="23" y="51"/>
                  </a:cubicBezTo>
                  <a:cubicBezTo>
                    <a:pt x="23" y="52"/>
                    <a:pt x="22" y="52"/>
                    <a:pt x="22" y="53"/>
                  </a:cubicBezTo>
                  <a:cubicBezTo>
                    <a:pt x="21" y="54"/>
                    <a:pt x="21" y="54"/>
                    <a:pt x="22" y="55"/>
                  </a:cubicBezTo>
                  <a:cubicBezTo>
                    <a:pt x="23" y="56"/>
                    <a:pt x="24" y="57"/>
                    <a:pt x="25" y="57"/>
                  </a:cubicBezTo>
                  <a:cubicBezTo>
                    <a:pt x="25" y="57"/>
                    <a:pt x="25" y="57"/>
                    <a:pt x="25" y="57"/>
                  </a:cubicBezTo>
                  <a:cubicBezTo>
                    <a:pt x="26" y="58"/>
                    <a:pt x="26" y="59"/>
                    <a:pt x="27" y="59"/>
                  </a:cubicBezTo>
                  <a:cubicBezTo>
                    <a:pt x="27" y="59"/>
                    <a:pt x="28" y="59"/>
                    <a:pt x="28" y="59"/>
                  </a:cubicBezTo>
                  <a:cubicBezTo>
                    <a:pt x="29" y="60"/>
                    <a:pt x="29" y="60"/>
                    <a:pt x="29" y="61"/>
                  </a:cubicBezTo>
                  <a:cubicBezTo>
                    <a:pt x="29" y="62"/>
                    <a:pt x="27" y="65"/>
                    <a:pt x="28" y="65"/>
                  </a:cubicBezTo>
                  <a:cubicBezTo>
                    <a:pt x="29" y="67"/>
                    <a:pt x="30" y="68"/>
                    <a:pt x="31" y="68"/>
                  </a:cubicBezTo>
                  <a:cubicBezTo>
                    <a:pt x="32" y="68"/>
                    <a:pt x="33" y="68"/>
                    <a:pt x="33" y="68"/>
                  </a:cubicBezTo>
                  <a:cubicBezTo>
                    <a:pt x="34" y="68"/>
                    <a:pt x="34" y="66"/>
                    <a:pt x="35" y="64"/>
                  </a:cubicBezTo>
                  <a:cubicBezTo>
                    <a:pt x="35" y="64"/>
                    <a:pt x="37" y="64"/>
                    <a:pt x="38" y="64"/>
                  </a:cubicBezTo>
                  <a:cubicBezTo>
                    <a:pt x="38" y="64"/>
                    <a:pt x="39" y="63"/>
                    <a:pt x="39" y="63"/>
                  </a:cubicBezTo>
                  <a:cubicBezTo>
                    <a:pt x="40" y="64"/>
                    <a:pt x="40" y="65"/>
                    <a:pt x="41" y="64"/>
                  </a:cubicBezTo>
                  <a:cubicBezTo>
                    <a:pt x="43" y="63"/>
                    <a:pt x="43" y="59"/>
                    <a:pt x="40" y="61"/>
                  </a:cubicBezTo>
                  <a:cubicBezTo>
                    <a:pt x="40" y="60"/>
                    <a:pt x="40" y="59"/>
                    <a:pt x="39" y="59"/>
                  </a:cubicBezTo>
                  <a:cubicBezTo>
                    <a:pt x="39" y="59"/>
                    <a:pt x="39" y="59"/>
                    <a:pt x="40" y="58"/>
                  </a:cubicBezTo>
                  <a:cubicBezTo>
                    <a:pt x="39" y="58"/>
                    <a:pt x="38" y="57"/>
                    <a:pt x="37" y="57"/>
                  </a:cubicBezTo>
                  <a:cubicBezTo>
                    <a:pt x="37" y="56"/>
                    <a:pt x="37" y="57"/>
                    <a:pt x="37" y="57"/>
                  </a:cubicBezTo>
                  <a:cubicBezTo>
                    <a:pt x="37" y="56"/>
                    <a:pt x="36" y="56"/>
                    <a:pt x="36" y="56"/>
                  </a:cubicBezTo>
                  <a:cubicBezTo>
                    <a:pt x="35" y="54"/>
                    <a:pt x="36" y="55"/>
                    <a:pt x="37" y="54"/>
                  </a:cubicBezTo>
                  <a:cubicBezTo>
                    <a:pt x="37" y="53"/>
                    <a:pt x="36" y="52"/>
                    <a:pt x="37" y="51"/>
                  </a:cubicBezTo>
                  <a:cubicBezTo>
                    <a:pt x="37" y="51"/>
                    <a:pt x="38" y="51"/>
                    <a:pt x="38" y="51"/>
                  </a:cubicBezTo>
                  <a:cubicBezTo>
                    <a:pt x="36" y="50"/>
                    <a:pt x="36" y="49"/>
                    <a:pt x="35" y="48"/>
                  </a:cubicBezTo>
                  <a:cubicBezTo>
                    <a:pt x="34" y="47"/>
                    <a:pt x="34" y="47"/>
                    <a:pt x="33" y="46"/>
                  </a:cubicBezTo>
                  <a:cubicBezTo>
                    <a:pt x="32" y="44"/>
                    <a:pt x="32" y="42"/>
                    <a:pt x="30" y="41"/>
                  </a:cubicBezTo>
                  <a:cubicBezTo>
                    <a:pt x="30" y="40"/>
                    <a:pt x="29" y="41"/>
                    <a:pt x="29" y="41"/>
                  </a:cubicBezTo>
                  <a:cubicBezTo>
                    <a:pt x="28" y="40"/>
                    <a:pt x="28" y="39"/>
                    <a:pt x="28" y="39"/>
                  </a:cubicBezTo>
                  <a:cubicBezTo>
                    <a:pt x="27" y="38"/>
                    <a:pt x="27" y="38"/>
                    <a:pt x="26" y="39"/>
                  </a:cubicBezTo>
                  <a:cubicBezTo>
                    <a:pt x="26" y="38"/>
                    <a:pt x="26" y="38"/>
                    <a:pt x="26" y="37"/>
                  </a:cubicBezTo>
                  <a:cubicBezTo>
                    <a:pt x="29" y="38"/>
                    <a:pt x="29" y="39"/>
                    <a:pt x="31" y="37"/>
                  </a:cubicBezTo>
                  <a:cubicBezTo>
                    <a:pt x="34" y="35"/>
                    <a:pt x="37" y="33"/>
                    <a:pt x="40" y="30"/>
                  </a:cubicBezTo>
                  <a:cubicBezTo>
                    <a:pt x="40" y="30"/>
                    <a:pt x="41" y="29"/>
                    <a:pt x="41" y="28"/>
                  </a:cubicBezTo>
                  <a:cubicBezTo>
                    <a:pt x="42" y="28"/>
                    <a:pt x="42" y="28"/>
                    <a:pt x="43" y="27"/>
                  </a:cubicBezTo>
                  <a:cubicBezTo>
                    <a:pt x="45" y="27"/>
                    <a:pt x="45" y="28"/>
                    <a:pt x="47" y="29"/>
                  </a:cubicBezTo>
                  <a:cubicBezTo>
                    <a:pt x="47" y="27"/>
                    <a:pt x="48" y="25"/>
                    <a:pt x="46" y="24"/>
                  </a:cubicBezTo>
                  <a:cubicBezTo>
                    <a:pt x="46" y="24"/>
                    <a:pt x="46" y="24"/>
                    <a:pt x="45" y="24"/>
                  </a:cubicBezTo>
                  <a:cubicBezTo>
                    <a:pt x="44" y="24"/>
                    <a:pt x="43" y="25"/>
                    <a:pt x="42" y="26"/>
                  </a:cubicBezTo>
                  <a:cubicBezTo>
                    <a:pt x="44" y="26"/>
                    <a:pt x="40" y="26"/>
                    <a:pt x="40" y="26"/>
                  </a:cubicBezTo>
                  <a:cubicBezTo>
                    <a:pt x="39" y="26"/>
                    <a:pt x="37" y="26"/>
                    <a:pt x="35" y="26"/>
                  </a:cubicBezTo>
                  <a:cubicBezTo>
                    <a:pt x="34" y="26"/>
                    <a:pt x="33" y="27"/>
                    <a:pt x="32" y="28"/>
                  </a:cubicBezTo>
                  <a:cubicBezTo>
                    <a:pt x="31" y="28"/>
                    <a:pt x="30" y="27"/>
                    <a:pt x="30" y="27"/>
                  </a:cubicBezTo>
                  <a:cubicBezTo>
                    <a:pt x="29" y="27"/>
                    <a:pt x="30" y="26"/>
                    <a:pt x="29" y="27"/>
                  </a:cubicBezTo>
                  <a:cubicBezTo>
                    <a:pt x="28" y="27"/>
                    <a:pt x="28" y="28"/>
                    <a:pt x="27" y="28"/>
                  </a:cubicBezTo>
                  <a:cubicBezTo>
                    <a:pt x="26" y="29"/>
                    <a:pt x="26" y="30"/>
                    <a:pt x="25" y="30"/>
                  </a:cubicBezTo>
                  <a:cubicBezTo>
                    <a:pt x="25" y="31"/>
                    <a:pt x="25" y="32"/>
                    <a:pt x="24" y="32"/>
                  </a:cubicBezTo>
                  <a:cubicBezTo>
                    <a:pt x="23" y="34"/>
                    <a:pt x="21" y="31"/>
                    <a:pt x="19" y="33"/>
                  </a:cubicBezTo>
                  <a:cubicBezTo>
                    <a:pt x="19" y="31"/>
                    <a:pt x="19" y="29"/>
                    <a:pt x="17" y="28"/>
                  </a:cubicBezTo>
                  <a:cubicBezTo>
                    <a:pt x="17" y="28"/>
                    <a:pt x="17" y="28"/>
                    <a:pt x="17" y="28"/>
                  </a:cubicBezTo>
                  <a:cubicBezTo>
                    <a:pt x="16" y="28"/>
                    <a:pt x="16" y="28"/>
                    <a:pt x="16" y="28"/>
                  </a:cubicBezTo>
                  <a:cubicBezTo>
                    <a:pt x="15" y="28"/>
                    <a:pt x="14" y="27"/>
                    <a:pt x="14" y="26"/>
                  </a:cubicBezTo>
                  <a:cubicBezTo>
                    <a:pt x="13" y="25"/>
                    <a:pt x="13" y="24"/>
                    <a:pt x="13" y="23"/>
                  </a:cubicBezTo>
                  <a:cubicBezTo>
                    <a:pt x="13" y="23"/>
                    <a:pt x="13" y="22"/>
                    <a:pt x="13" y="21"/>
                  </a:cubicBezTo>
                  <a:cubicBezTo>
                    <a:pt x="13" y="18"/>
                    <a:pt x="14" y="15"/>
                    <a:pt x="16" y="14"/>
                  </a:cubicBezTo>
                  <a:cubicBezTo>
                    <a:pt x="19" y="12"/>
                    <a:pt x="23" y="14"/>
                    <a:pt x="26" y="14"/>
                  </a:cubicBezTo>
                  <a:cubicBezTo>
                    <a:pt x="29" y="14"/>
                    <a:pt x="32" y="13"/>
                    <a:pt x="35" y="13"/>
                  </a:cubicBezTo>
                  <a:cubicBezTo>
                    <a:pt x="38" y="13"/>
                    <a:pt x="41" y="13"/>
                    <a:pt x="44" y="14"/>
                  </a:cubicBezTo>
                  <a:cubicBezTo>
                    <a:pt x="45" y="14"/>
                    <a:pt x="47" y="15"/>
                    <a:pt x="48" y="15"/>
                  </a:cubicBezTo>
                  <a:cubicBezTo>
                    <a:pt x="50" y="16"/>
                    <a:pt x="50" y="16"/>
                    <a:pt x="52" y="15"/>
                  </a:cubicBezTo>
                  <a:cubicBezTo>
                    <a:pt x="53" y="15"/>
                    <a:pt x="56" y="15"/>
                    <a:pt x="56" y="14"/>
                  </a:cubicBezTo>
                  <a:cubicBezTo>
                    <a:pt x="58" y="13"/>
                    <a:pt x="59" y="12"/>
                    <a:pt x="60" y="10"/>
                  </a:cubicBezTo>
                  <a:cubicBezTo>
                    <a:pt x="61" y="10"/>
                    <a:pt x="62" y="9"/>
                    <a:pt x="63" y="8"/>
                  </a:cubicBezTo>
                  <a:cubicBezTo>
                    <a:pt x="63" y="7"/>
                    <a:pt x="64" y="6"/>
                    <a:pt x="65" y="4"/>
                  </a:cubicBezTo>
                  <a:cubicBezTo>
                    <a:pt x="65" y="3"/>
                    <a:pt x="66" y="2"/>
                    <a:pt x="64" y="1"/>
                  </a:cubicBezTo>
                  <a:cubicBezTo>
                    <a:pt x="63" y="0"/>
                    <a:pt x="62" y="2"/>
                    <a:pt x="62" y="2"/>
                  </a:cubicBezTo>
                  <a:cubicBezTo>
                    <a:pt x="61" y="4"/>
                    <a:pt x="61" y="4"/>
                    <a:pt x="59" y="4"/>
                  </a:cubicBezTo>
                  <a:cubicBezTo>
                    <a:pt x="60" y="6"/>
                    <a:pt x="60" y="6"/>
                    <a:pt x="59" y="6"/>
                  </a:cubicBezTo>
                  <a:cubicBezTo>
                    <a:pt x="58" y="7"/>
                    <a:pt x="56" y="8"/>
                    <a:pt x="55" y="9"/>
                  </a:cubicBezTo>
                  <a:cubicBezTo>
                    <a:pt x="55" y="9"/>
                    <a:pt x="53" y="9"/>
                    <a:pt x="53" y="10"/>
                  </a:cubicBezTo>
                  <a:cubicBezTo>
                    <a:pt x="51" y="10"/>
                    <a:pt x="49" y="9"/>
                    <a:pt x="47" y="9"/>
                  </a:cubicBezTo>
                  <a:cubicBezTo>
                    <a:pt x="45" y="9"/>
                    <a:pt x="44" y="9"/>
                    <a:pt x="42" y="10"/>
                  </a:cubicBezTo>
                  <a:cubicBezTo>
                    <a:pt x="40" y="10"/>
                    <a:pt x="37" y="9"/>
                    <a:pt x="35" y="8"/>
                  </a:cubicBezTo>
                  <a:cubicBezTo>
                    <a:pt x="34" y="7"/>
                    <a:pt x="31" y="8"/>
                    <a:pt x="30" y="8"/>
                  </a:cubicBezTo>
                  <a:cubicBezTo>
                    <a:pt x="28" y="8"/>
                    <a:pt x="29" y="6"/>
                    <a:pt x="28" y="6"/>
                  </a:cubicBezTo>
                  <a:cubicBezTo>
                    <a:pt x="27" y="5"/>
                    <a:pt x="27" y="5"/>
                    <a:pt x="26" y="5"/>
                  </a:cubicBezTo>
                  <a:cubicBezTo>
                    <a:pt x="24" y="6"/>
                    <a:pt x="23" y="5"/>
                    <a:pt x="21" y="5"/>
                  </a:cubicBezTo>
                  <a:cubicBezTo>
                    <a:pt x="21" y="6"/>
                    <a:pt x="21" y="7"/>
                    <a:pt x="21" y="7"/>
                  </a:cubicBezTo>
                  <a:cubicBezTo>
                    <a:pt x="20" y="8"/>
                    <a:pt x="20" y="8"/>
                    <a:pt x="19" y="9"/>
                  </a:cubicBezTo>
                  <a:cubicBezTo>
                    <a:pt x="18" y="10"/>
                    <a:pt x="19" y="11"/>
                    <a:pt x="17" y="10"/>
                  </a:cubicBezTo>
                  <a:cubicBezTo>
                    <a:pt x="17" y="10"/>
                    <a:pt x="16" y="9"/>
                    <a:pt x="16" y="9"/>
                  </a:cubicBezTo>
                  <a:cubicBezTo>
                    <a:pt x="16" y="9"/>
                    <a:pt x="16" y="8"/>
                    <a:pt x="16" y="8"/>
                  </a:cubicBezTo>
                  <a:cubicBezTo>
                    <a:pt x="16" y="8"/>
                    <a:pt x="15" y="9"/>
                    <a:pt x="15" y="9"/>
                  </a:cubicBezTo>
                  <a:cubicBezTo>
                    <a:pt x="15" y="10"/>
                    <a:pt x="14" y="10"/>
                    <a:pt x="14" y="11"/>
                  </a:cubicBezTo>
                  <a:cubicBezTo>
                    <a:pt x="14" y="11"/>
                    <a:pt x="13" y="11"/>
                    <a:pt x="13" y="11"/>
                  </a:cubicBezTo>
                  <a:cubicBezTo>
                    <a:pt x="13" y="12"/>
                    <a:pt x="12" y="13"/>
                    <a:pt x="12" y="13"/>
                  </a:cubicBezTo>
                  <a:cubicBezTo>
                    <a:pt x="12" y="13"/>
                    <a:pt x="12" y="13"/>
                    <a:pt x="12" y="14"/>
                  </a:cubicBezTo>
                  <a:cubicBezTo>
                    <a:pt x="11" y="15"/>
                    <a:pt x="10" y="17"/>
                    <a:pt x="10" y="18"/>
                  </a:cubicBezTo>
                  <a:cubicBezTo>
                    <a:pt x="9" y="18"/>
                    <a:pt x="9" y="18"/>
                    <a:pt x="9" y="18"/>
                  </a:cubicBezTo>
                  <a:cubicBezTo>
                    <a:pt x="10" y="19"/>
                    <a:pt x="10" y="19"/>
                    <a:pt x="11" y="21"/>
                  </a:cubicBezTo>
                  <a:cubicBezTo>
                    <a:pt x="11" y="22"/>
                    <a:pt x="12" y="25"/>
                    <a:pt x="10" y="26"/>
                  </a:cubicBezTo>
                  <a:cubicBezTo>
                    <a:pt x="10" y="26"/>
                    <a:pt x="10" y="25"/>
                    <a:pt x="10" y="25"/>
                  </a:cubicBezTo>
                  <a:cubicBezTo>
                    <a:pt x="8" y="26"/>
                    <a:pt x="7" y="28"/>
                    <a:pt x="6" y="30"/>
                  </a:cubicBezTo>
                  <a:cubicBezTo>
                    <a:pt x="6" y="31"/>
                    <a:pt x="6" y="31"/>
                    <a:pt x="6" y="31"/>
                  </a:cubicBezTo>
                  <a:cubicBezTo>
                    <a:pt x="5" y="33"/>
                    <a:pt x="6" y="36"/>
                    <a:pt x="5" y="38"/>
                  </a:cubicBezTo>
                  <a:cubicBezTo>
                    <a:pt x="4" y="40"/>
                    <a:pt x="3" y="43"/>
                    <a:pt x="1" y="46"/>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57" name="Freeform 2411">
              <a:extLst>
                <a:ext uri="{FF2B5EF4-FFF2-40B4-BE49-F238E27FC236}">
                  <a16:creationId xmlns:a16="http://schemas.microsoft.com/office/drawing/2014/main" id="{4C49DF7A-1E70-45EB-92ED-9A89970E94BC}"/>
                </a:ext>
              </a:extLst>
            </p:cNvPr>
            <p:cNvSpPr>
              <a:spLocks/>
            </p:cNvSpPr>
            <p:nvPr/>
          </p:nvSpPr>
          <p:spPr bwMode="auto">
            <a:xfrm>
              <a:off x="6682" y="2805"/>
              <a:ext cx="2" cy="2"/>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0"/>
                    <a:pt x="0" y="1"/>
                  </a:cubicBezTo>
                  <a:cubicBezTo>
                    <a:pt x="1" y="1"/>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58" name="Freeform 2412">
              <a:extLst>
                <a:ext uri="{FF2B5EF4-FFF2-40B4-BE49-F238E27FC236}">
                  <a16:creationId xmlns:a16="http://schemas.microsoft.com/office/drawing/2014/main" id="{84EC5788-03C8-4666-8B29-41BF3DC207CA}"/>
                </a:ext>
              </a:extLst>
            </p:cNvPr>
            <p:cNvSpPr>
              <a:spLocks/>
            </p:cNvSpPr>
            <p:nvPr/>
          </p:nvSpPr>
          <p:spPr bwMode="auto">
            <a:xfrm>
              <a:off x="6346" y="2975"/>
              <a:ext cx="26" cy="19"/>
            </a:xfrm>
            <a:custGeom>
              <a:avLst/>
              <a:gdLst>
                <a:gd name="T0" fmla="*/ 8 w 11"/>
                <a:gd name="T1" fmla="*/ 1 h 8"/>
                <a:gd name="T2" fmla="*/ 2 w 11"/>
                <a:gd name="T3" fmla="*/ 4 h 8"/>
                <a:gd name="T4" fmla="*/ 0 w 11"/>
                <a:gd name="T5" fmla="*/ 7 h 8"/>
                <a:gd name="T6" fmla="*/ 1 w 11"/>
                <a:gd name="T7" fmla="*/ 7 h 8"/>
                <a:gd name="T8" fmla="*/ 2 w 11"/>
                <a:gd name="T9" fmla="*/ 7 h 8"/>
                <a:gd name="T10" fmla="*/ 4 w 11"/>
                <a:gd name="T11" fmla="*/ 8 h 8"/>
                <a:gd name="T12" fmla="*/ 6 w 11"/>
                <a:gd name="T13" fmla="*/ 8 h 8"/>
                <a:gd name="T14" fmla="*/ 7 w 11"/>
                <a:gd name="T15" fmla="*/ 7 h 8"/>
                <a:gd name="T16" fmla="*/ 8 w 11"/>
                <a:gd name="T17" fmla="*/ 7 h 8"/>
                <a:gd name="T18" fmla="*/ 8 w 11"/>
                <a:gd name="T1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8">
                  <a:moveTo>
                    <a:pt x="8" y="1"/>
                  </a:moveTo>
                  <a:cubicBezTo>
                    <a:pt x="7" y="0"/>
                    <a:pt x="2" y="1"/>
                    <a:pt x="2" y="4"/>
                  </a:cubicBezTo>
                  <a:cubicBezTo>
                    <a:pt x="3" y="5"/>
                    <a:pt x="1" y="6"/>
                    <a:pt x="0" y="7"/>
                  </a:cubicBezTo>
                  <a:cubicBezTo>
                    <a:pt x="1" y="7"/>
                    <a:pt x="1" y="7"/>
                    <a:pt x="1" y="7"/>
                  </a:cubicBezTo>
                  <a:cubicBezTo>
                    <a:pt x="1" y="7"/>
                    <a:pt x="2" y="7"/>
                    <a:pt x="2" y="7"/>
                  </a:cubicBezTo>
                  <a:cubicBezTo>
                    <a:pt x="2" y="8"/>
                    <a:pt x="3" y="7"/>
                    <a:pt x="4" y="8"/>
                  </a:cubicBezTo>
                  <a:cubicBezTo>
                    <a:pt x="5" y="8"/>
                    <a:pt x="5" y="8"/>
                    <a:pt x="6" y="8"/>
                  </a:cubicBezTo>
                  <a:cubicBezTo>
                    <a:pt x="7" y="8"/>
                    <a:pt x="6" y="7"/>
                    <a:pt x="7" y="7"/>
                  </a:cubicBezTo>
                  <a:cubicBezTo>
                    <a:pt x="7" y="7"/>
                    <a:pt x="8" y="7"/>
                    <a:pt x="8" y="7"/>
                  </a:cubicBezTo>
                  <a:cubicBezTo>
                    <a:pt x="6" y="7"/>
                    <a:pt x="11" y="2"/>
                    <a:pt x="8" y="1"/>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59" name="Freeform 2413">
              <a:extLst>
                <a:ext uri="{FF2B5EF4-FFF2-40B4-BE49-F238E27FC236}">
                  <a16:creationId xmlns:a16="http://schemas.microsoft.com/office/drawing/2014/main" id="{96A64A90-D1C0-49B2-B7B0-89EED9E40C0C}"/>
                </a:ext>
              </a:extLst>
            </p:cNvPr>
            <p:cNvSpPr>
              <a:spLocks/>
            </p:cNvSpPr>
            <p:nvPr/>
          </p:nvSpPr>
          <p:spPr bwMode="auto">
            <a:xfrm>
              <a:off x="6367" y="2973"/>
              <a:ext cx="59" cy="26"/>
            </a:xfrm>
            <a:custGeom>
              <a:avLst/>
              <a:gdLst>
                <a:gd name="T0" fmla="*/ 3 w 25"/>
                <a:gd name="T1" fmla="*/ 10 h 11"/>
                <a:gd name="T2" fmla="*/ 4 w 25"/>
                <a:gd name="T3" fmla="*/ 11 h 11"/>
                <a:gd name="T4" fmla="*/ 11 w 25"/>
                <a:gd name="T5" fmla="*/ 9 h 11"/>
                <a:gd name="T6" fmla="*/ 15 w 25"/>
                <a:gd name="T7" fmla="*/ 8 h 11"/>
                <a:gd name="T8" fmla="*/ 17 w 25"/>
                <a:gd name="T9" fmla="*/ 5 h 11"/>
                <a:gd name="T10" fmla="*/ 18 w 25"/>
                <a:gd name="T11" fmla="*/ 6 h 11"/>
                <a:gd name="T12" fmla="*/ 18 w 25"/>
                <a:gd name="T13" fmla="*/ 8 h 11"/>
                <a:gd name="T14" fmla="*/ 21 w 25"/>
                <a:gd name="T15" fmla="*/ 8 h 11"/>
                <a:gd name="T16" fmla="*/ 25 w 25"/>
                <a:gd name="T17" fmla="*/ 6 h 11"/>
                <a:gd name="T18" fmla="*/ 25 w 25"/>
                <a:gd name="T19" fmla="*/ 5 h 11"/>
                <a:gd name="T20" fmla="*/ 24 w 25"/>
                <a:gd name="T21" fmla="*/ 5 h 11"/>
                <a:gd name="T22" fmla="*/ 24 w 25"/>
                <a:gd name="T23" fmla="*/ 4 h 11"/>
                <a:gd name="T24" fmla="*/ 22 w 25"/>
                <a:gd name="T25" fmla="*/ 3 h 11"/>
                <a:gd name="T26" fmla="*/ 20 w 25"/>
                <a:gd name="T27" fmla="*/ 4 h 11"/>
                <a:gd name="T28" fmla="*/ 16 w 25"/>
                <a:gd name="T29" fmla="*/ 3 h 11"/>
                <a:gd name="T30" fmla="*/ 11 w 25"/>
                <a:gd name="T31" fmla="*/ 1 h 11"/>
                <a:gd name="T32" fmla="*/ 12 w 25"/>
                <a:gd name="T33" fmla="*/ 3 h 11"/>
                <a:gd name="T34" fmla="*/ 16 w 25"/>
                <a:gd name="T35" fmla="*/ 5 h 11"/>
                <a:gd name="T36" fmla="*/ 11 w 25"/>
                <a:gd name="T37" fmla="*/ 7 h 11"/>
                <a:gd name="T38" fmla="*/ 10 w 25"/>
                <a:gd name="T39" fmla="*/ 6 h 11"/>
                <a:gd name="T40" fmla="*/ 7 w 25"/>
                <a:gd name="T41" fmla="*/ 4 h 11"/>
                <a:gd name="T42" fmla="*/ 3 w 25"/>
                <a:gd name="T43" fmla="*/ 4 h 11"/>
                <a:gd name="T44" fmla="*/ 1 w 25"/>
                <a:gd name="T45" fmla="*/ 5 h 11"/>
                <a:gd name="T46" fmla="*/ 1 w 25"/>
                <a:gd name="T47" fmla="*/ 7 h 11"/>
                <a:gd name="T48" fmla="*/ 3 w 25"/>
                <a:gd name="T49"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11">
                  <a:moveTo>
                    <a:pt x="3" y="10"/>
                  </a:moveTo>
                  <a:cubicBezTo>
                    <a:pt x="3" y="11"/>
                    <a:pt x="3" y="11"/>
                    <a:pt x="4" y="11"/>
                  </a:cubicBezTo>
                  <a:cubicBezTo>
                    <a:pt x="6" y="11"/>
                    <a:pt x="9" y="10"/>
                    <a:pt x="11" y="9"/>
                  </a:cubicBezTo>
                  <a:cubicBezTo>
                    <a:pt x="12" y="9"/>
                    <a:pt x="13" y="8"/>
                    <a:pt x="15" y="8"/>
                  </a:cubicBezTo>
                  <a:cubicBezTo>
                    <a:pt x="16" y="7"/>
                    <a:pt x="16" y="6"/>
                    <a:pt x="17" y="5"/>
                  </a:cubicBezTo>
                  <a:cubicBezTo>
                    <a:pt x="18" y="6"/>
                    <a:pt x="18" y="6"/>
                    <a:pt x="18" y="6"/>
                  </a:cubicBezTo>
                  <a:cubicBezTo>
                    <a:pt x="18" y="7"/>
                    <a:pt x="18" y="8"/>
                    <a:pt x="18" y="8"/>
                  </a:cubicBezTo>
                  <a:cubicBezTo>
                    <a:pt x="19" y="8"/>
                    <a:pt x="20" y="8"/>
                    <a:pt x="21" y="8"/>
                  </a:cubicBezTo>
                  <a:cubicBezTo>
                    <a:pt x="22" y="7"/>
                    <a:pt x="25" y="7"/>
                    <a:pt x="25" y="6"/>
                  </a:cubicBezTo>
                  <a:cubicBezTo>
                    <a:pt x="25" y="6"/>
                    <a:pt x="25" y="6"/>
                    <a:pt x="25" y="5"/>
                  </a:cubicBezTo>
                  <a:cubicBezTo>
                    <a:pt x="24" y="6"/>
                    <a:pt x="24" y="6"/>
                    <a:pt x="24" y="5"/>
                  </a:cubicBezTo>
                  <a:cubicBezTo>
                    <a:pt x="24" y="5"/>
                    <a:pt x="24" y="4"/>
                    <a:pt x="24" y="4"/>
                  </a:cubicBezTo>
                  <a:cubicBezTo>
                    <a:pt x="24" y="3"/>
                    <a:pt x="23" y="3"/>
                    <a:pt x="22" y="3"/>
                  </a:cubicBezTo>
                  <a:cubicBezTo>
                    <a:pt x="21" y="3"/>
                    <a:pt x="21" y="3"/>
                    <a:pt x="20" y="4"/>
                  </a:cubicBezTo>
                  <a:cubicBezTo>
                    <a:pt x="20" y="2"/>
                    <a:pt x="19" y="1"/>
                    <a:pt x="16" y="3"/>
                  </a:cubicBezTo>
                  <a:cubicBezTo>
                    <a:pt x="14" y="1"/>
                    <a:pt x="14" y="0"/>
                    <a:pt x="11" y="1"/>
                  </a:cubicBezTo>
                  <a:cubicBezTo>
                    <a:pt x="11" y="2"/>
                    <a:pt x="11" y="3"/>
                    <a:pt x="12" y="3"/>
                  </a:cubicBezTo>
                  <a:cubicBezTo>
                    <a:pt x="13" y="4"/>
                    <a:pt x="16" y="5"/>
                    <a:pt x="16" y="5"/>
                  </a:cubicBezTo>
                  <a:cubicBezTo>
                    <a:pt x="16" y="6"/>
                    <a:pt x="12" y="7"/>
                    <a:pt x="11" y="7"/>
                  </a:cubicBezTo>
                  <a:cubicBezTo>
                    <a:pt x="11" y="6"/>
                    <a:pt x="11" y="6"/>
                    <a:pt x="10" y="6"/>
                  </a:cubicBezTo>
                  <a:cubicBezTo>
                    <a:pt x="9" y="5"/>
                    <a:pt x="8" y="5"/>
                    <a:pt x="7" y="4"/>
                  </a:cubicBezTo>
                  <a:cubicBezTo>
                    <a:pt x="5" y="3"/>
                    <a:pt x="5" y="3"/>
                    <a:pt x="3" y="4"/>
                  </a:cubicBezTo>
                  <a:cubicBezTo>
                    <a:pt x="2" y="4"/>
                    <a:pt x="1" y="5"/>
                    <a:pt x="1" y="5"/>
                  </a:cubicBezTo>
                  <a:cubicBezTo>
                    <a:pt x="1" y="6"/>
                    <a:pt x="1" y="7"/>
                    <a:pt x="1" y="7"/>
                  </a:cubicBezTo>
                  <a:cubicBezTo>
                    <a:pt x="1" y="10"/>
                    <a:pt x="0" y="10"/>
                    <a:pt x="3" y="1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60" name="Freeform 2414">
              <a:extLst>
                <a:ext uri="{FF2B5EF4-FFF2-40B4-BE49-F238E27FC236}">
                  <a16:creationId xmlns:a16="http://schemas.microsoft.com/office/drawing/2014/main" id="{15CE7FAE-8BE1-4904-8694-E4949E17CE49}"/>
                </a:ext>
              </a:extLst>
            </p:cNvPr>
            <p:cNvSpPr>
              <a:spLocks/>
            </p:cNvSpPr>
            <p:nvPr/>
          </p:nvSpPr>
          <p:spPr bwMode="auto">
            <a:xfrm>
              <a:off x="6625" y="2958"/>
              <a:ext cx="0" cy="5"/>
            </a:xfrm>
            <a:custGeom>
              <a:avLst/>
              <a:gdLst>
                <a:gd name="T0" fmla="*/ 0 h 2"/>
                <a:gd name="T1" fmla="*/ 2 h 2"/>
                <a:gd name="T2" fmla="*/ 0 h 2"/>
              </a:gdLst>
              <a:ahLst/>
              <a:cxnLst>
                <a:cxn ang="0">
                  <a:pos x="0" y="T0"/>
                </a:cxn>
                <a:cxn ang="0">
                  <a:pos x="0" y="T1"/>
                </a:cxn>
                <a:cxn ang="0">
                  <a:pos x="0" y="T2"/>
                </a:cxn>
              </a:cxnLst>
              <a:rect l="0" t="0" r="r" b="b"/>
              <a:pathLst>
                <a:path h="2">
                  <a:moveTo>
                    <a:pt x="0" y="0"/>
                  </a:moveTo>
                  <a:cubicBezTo>
                    <a:pt x="0" y="1"/>
                    <a:pt x="0" y="1"/>
                    <a:pt x="0" y="2"/>
                  </a:cubicBezTo>
                  <a:cubicBezTo>
                    <a:pt x="0" y="1"/>
                    <a:pt x="0"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61" name="Freeform 2415">
              <a:extLst>
                <a:ext uri="{FF2B5EF4-FFF2-40B4-BE49-F238E27FC236}">
                  <a16:creationId xmlns:a16="http://schemas.microsoft.com/office/drawing/2014/main" id="{0B461EEA-1A05-4CA5-AEBB-B970090F326B}"/>
                </a:ext>
              </a:extLst>
            </p:cNvPr>
            <p:cNvSpPr>
              <a:spLocks/>
            </p:cNvSpPr>
            <p:nvPr/>
          </p:nvSpPr>
          <p:spPr bwMode="auto">
            <a:xfrm>
              <a:off x="6330" y="2942"/>
              <a:ext cx="9" cy="5"/>
            </a:xfrm>
            <a:custGeom>
              <a:avLst/>
              <a:gdLst>
                <a:gd name="T0" fmla="*/ 2 w 4"/>
                <a:gd name="T1" fmla="*/ 2 h 2"/>
                <a:gd name="T2" fmla="*/ 4 w 4"/>
                <a:gd name="T3" fmla="*/ 1 h 2"/>
                <a:gd name="T4" fmla="*/ 4 w 4"/>
                <a:gd name="T5" fmla="*/ 1 h 2"/>
                <a:gd name="T6" fmla="*/ 1 w 4"/>
                <a:gd name="T7" fmla="*/ 0 h 2"/>
                <a:gd name="T8" fmla="*/ 2 w 4"/>
                <a:gd name="T9" fmla="*/ 2 h 2"/>
              </a:gdLst>
              <a:ahLst/>
              <a:cxnLst>
                <a:cxn ang="0">
                  <a:pos x="T0" y="T1"/>
                </a:cxn>
                <a:cxn ang="0">
                  <a:pos x="T2" y="T3"/>
                </a:cxn>
                <a:cxn ang="0">
                  <a:pos x="T4" y="T5"/>
                </a:cxn>
                <a:cxn ang="0">
                  <a:pos x="T6" y="T7"/>
                </a:cxn>
                <a:cxn ang="0">
                  <a:pos x="T8" y="T9"/>
                </a:cxn>
              </a:cxnLst>
              <a:rect l="0" t="0" r="r" b="b"/>
              <a:pathLst>
                <a:path w="4" h="2">
                  <a:moveTo>
                    <a:pt x="2" y="2"/>
                  </a:moveTo>
                  <a:cubicBezTo>
                    <a:pt x="2" y="2"/>
                    <a:pt x="4" y="1"/>
                    <a:pt x="4" y="1"/>
                  </a:cubicBezTo>
                  <a:cubicBezTo>
                    <a:pt x="4" y="1"/>
                    <a:pt x="4" y="1"/>
                    <a:pt x="4" y="1"/>
                  </a:cubicBezTo>
                  <a:cubicBezTo>
                    <a:pt x="3" y="1"/>
                    <a:pt x="2" y="1"/>
                    <a:pt x="1" y="0"/>
                  </a:cubicBezTo>
                  <a:cubicBezTo>
                    <a:pt x="0" y="1"/>
                    <a:pt x="1" y="2"/>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62" name="Freeform 2416">
              <a:extLst>
                <a:ext uri="{FF2B5EF4-FFF2-40B4-BE49-F238E27FC236}">
                  <a16:creationId xmlns:a16="http://schemas.microsoft.com/office/drawing/2014/main" id="{704C4B1D-4E48-4710-A974-EC6E92A9596C}"/>
                </a:ext>
              </a:extLst>
            </p:cNvPr>
            <p:cNvSpPr>
              <a:spLocks/>
            </p:cNvSpPr>
            <p:nvPr/>
          </p:nvSpPr>
          <p:spPr bwMode="auto">
            <a:xfrm>
              <a:off x="6422" y="2975"/>
              <a:ext cx="2" cy="2"/>
            </a:xfrm>
            <a:custGeom>
              <a:avLst/>
              <a:gdLst>
                <a:gd name="T0" fmla="*/ 1 w 1"/>
                <a:gd name="T1" fmla="*/ 1 h 1"/>
                <a:gd name="T2" fmla="*/ 1 w 1"/>
                <a:gd name="T3" fmla="*/ 0 h 1"/>
                <a:gd name="T4" fmla="*/ 1 w 1"/>
                <a:gd name="T5" fmla="*/ 1 h 1"/>
              </a:gdLst>
              <a:ahLst/>
              <a:cxnLst>
                <a:cxn ang="0">
                  <a:pos x="T0" y="T1"/>
                </a:cxn>
                <a:cxn ang="0">
                  <a:pos x="T2" y="T3"/>
                </a:cxn>
                <a:cxn ang="0">
                  <a:pos x="T4" y="T5"/>
                </a:cxn>
              </a:cxnLst>
              <a:rect l="0" t="0" r="r" b="b"/>
              <a:pathLst>
                <a:path w="1" h="1">
                  <a:moveTo>
                    <a:pt x="1" y="1"/>
                  </a:moveTo>
                  <a:cubicBezTo>
                    <a:pt x="1" y="1"/>
                    <a:pt x="1" y="0"/>
                    <a:pt x="1" y="0"/>
                  </a:cubicBezTo>
                  <a:cubicBezTo>
                    <a:pt x="1" y="0"/>
                    <a:pt x="0" y="0"/>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63" name="Freeform 2417">
              <a:extLst>
                <a:ext uri="{FF2B5EF4-FFF2-40B4-BE49-F238E27FC236}">
                  <a16:creationId xmlns:a16="http://schemas.microsoft.com/office/drawing/2014/main" id="{923B7072-9457-414F-9AFA-CEBB81AB5A95}"/>
                </a:ext>
              </a:extLst>
            </p:cNvPr>
            <p:cNvSpPr>
              <a:spLocks/>
            </p:cNvSpPr>
            <p:nvPr/>
          </p:nvSpPr>
          <p:spPr bwMode="auto">
            <a:xfrm>
              <a:off x="6176" y="2814"/>
              <a:ext cx="5" cy="3"/>
            </a:xfrm>
            <a:custGeom>
              <a:avLst/>
              <a:gdLst>
                <a:gd name="T0" fmla="*/ 0 w 2"/>
                <a:gd name="T1" fmla="*/ 0 h 1"/>
                <a:gd name="T2" fmla="*/ 2 w 2"/>
                <a:gd name="T3" fmla="*/ 0 h 1"/>
                <a:gd name="T4" fmla="*/ 0 w 2"/>
                <a:gd name="T5" fmla="*/ 0 h 1"/>
              </a:gdLst>
              <a:ahLst/>
              <a:cxnLst>
                <a:cxn ang="0">
                  <a:pos x="T0" y="T1"/>
                </a:cxn>
                <a:cxn ang="0">
                  <a:pos x="T2" y="T3"/>
                </a:cxn>
                <a:cxn ang="0">
                  <a:pos x="T4" y="T5"/>
                </a:cxn>
              </a:cxnLst>
              <a:rect l="0" t="0" r="r" b="b"/>
              <a:pathLst>
                <a:path w="2" h="1">
                  <a:moveTo>
                    <a:pt x="0" y="0"/>
                  </a:moveTo>
                  <a:cubicBezTo>
                    <a:pt x="1" y="1"/>
                    <a:pt x="1" y="0"/>
                    <a:pt x="2" y="0"/>
                  </a:cubicBezTo>
                  <a:cubicBezTo>
                    <a:pt x="1" y="0"/>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64" name="Freeform 2418">
              <a:extLst>
                <a:ext uri="{FF2B5EF4-FFF2-40B4-BE49-F238E27FC236}">
                  <a16:creationId xmlns:a16="http://schemas.microsoft.com/office/drawing/2014/main" id="{8F4CF663-462D-4D05-B545-A95F706269AE}"/>
                </a:ext>
              </a:extLst>
            </p:cNvPr>
            <p:cNvSpPr>
              <a:spLocks/>
            </p:cNvSpPr>
            <p:nvPr/>
          </p:nvSpPr>
          <p:spPr bwMode="auto">
            <a:xfrm>
              <a:off x="6708" y="2973"/>
              <a:ext cx="9" cy="7"/>
            </a:xfrm>
            <a:custGeom>
              <a:avLst/>
              <a:gdLst>
                <a:gd name="T0" fmla="*/ 0 w 4"/>
                <a:gd name="T1" fmla="*/ 3 h 3"/>
                <a:gd name="T2" fmla="*/ 2 w 4"/>
                <a:gd name="T3" fmla="*/ 2 h 3"/>
                <a:gd name="T4" fmla="*/ 4 w 4"/>
                <a:gd name="T5" fmla="*/ 1 h 3"/>
                <a:gd name="T6" fmla="*/ 0 w 4"/>
                <a:gd name="T7" fmla="*/ 3 h 3"/>
              </a:gdLst>
              <a:ahLst/>
              <a:cxnLst>
                <a:cxn ang="0">
                  <a:pos x="T0" y="T1"/>
                </a:cxn>
                <a:cxn ang="0">
                  <a:pos x="T2" y="T3"/>
                </a:cxn>
                <a:cxn ang="0">
                  <a:pos x="T4" y="T5"/>
                </a:cxn>
                <a:cxn ang="0">
                  <a:pos x="T6" y="T7"/>
                </a:cxn>
              </a:cxnLst>
              <a:rect l="0" t="0" r="r" b="b"/>
              <a:pathLst>
                <a:path w="4" h="3">
                  <a:moveTo>
                    <a:pt x="0" y="3"/>
                  </a:moveTo>
                  <a:cubicBezTo>
                    <a:pt x="1" y="2"/>
                    <a:pt x="1" y="2"/>
                    <a:pt x="2" y="2"/>
                  </a:cubicBezTo>
                  <a:cubicBezTo>
                    <a:pt x="3" y="1"/>
                    <a:pt x="3" y="1"/>
                    <a:pt x="4" y="1"/>
                  </a:cubicBezTo>
                  <a:cubicBezTo>
                    <a:pt x="2" y="0"/>
                    <a:pt x="1" y="1"/>
                    <a:pt x="0"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65" name="Freeform 2419">
              <a:extLst>
                <a:ext uri="{FF2B5EF4-FFF2-40B4-BE49-F238E27FC236}">
                  <a16:creationId xmlns:a16="http://schemas.microsoft.com/office/drawing/2014/main" id="{4F0CD1DB-6D48-483B-B07D-28A2990503BD}"/>
                </a:ext>
              </a:extLst>
            </p:cNvPr>
            <p:cNvSpPr>
              <a:spLocks/>
            </p:cNvSpPr>
            <p:nvPr/>
          </p:nvSpPr>
          <p:spPr bwMode="auto">
            <a:xfrm>
              <a:off x="6625" y="2760"/>
              <a:ext cx="2" cy="2"/>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0" y="0"/>
                    <a:pt x="1" y="0"/>
                  </a:cubicBezTo>
                  <a:cubicBezTo>
                    <a:pt x="0" y="0"/>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66" name="Freeform 2420">
              <a:extLst>
                <a:ext uri="{FF2B5EF4-FFF2-40B4-BE49-F238E27FC236}">
                  <a16:creationId xmlns:a16="http://schemas.microsoft.com/office/drawing/2014/main" id="{6B622F2D-913F-4A01-A413-8EF6176387B6}"/>
                </a:ext>
              </a:extLst>
            </p:cNvPr>
            <p:cNvSpPr>
              <a:spLocks/>
            </p:cNvSpPr>
            <p:nvPr/>
          </p:nvSpPr>
          <p:spPr bwMode="auto">
            <a:xfrm>
              <a:off x="6637" y="2864"/>
              <a:ext cx="9" cy="5"/>
            </a:xfrm>
            <a:custGeom>
              <a:avLst/>
              <a:gdLst>
                <a:gd name="T0" fmla="*/ 1 w 4"/>
                <a:gd name="T1" fmla="*/ 1 h 2"/>
                <a:gd name="T2" fmla="*/ 2 w 4"/>
                <a:gd name="T3" fmla="*/ 1 h 2"/>
                <a:gd name="T4" fmla="*/ 4 w 4"/>
                <a:gd name="T5" fmla="*/ 0 h 2"/>
                <a:gd name="T6" fmla="*/ 1 w 4"/>
                <a:gd name="T7" fmla="*/ 1 h 2"/>
              </a:gdLst>
              <a:ahLst/>
              <a:cxnLst>
                <a:cxn ang="0">
                  <a:pos x="T0" y="T1"/>
                </a:cxn>
                <a:cxn ang="0">
                  <a:pos x="T2" y="T3"/>
                </a:cxn>
                <a:cxn ang="0">
                  <a:pos x="T4" y="T5"/>
                </a:cxn>
                <a:cxn ang="0">
                  <a:pos x="T6" y="T7"/>
                </a:cxn>
              </a:cxnLst>
              <a:rect l="0" t="0" r="r" b="b"/>
              <a:pathLst>
                <a:path w="4" h="2">
                  <a:moveTo>
                    <a:pt x="1" y="1"/>
                  </a:moveTo>
                  <a:cubicBezTo>
                    <a:pt x="0" y="2"/>
                    <a:pt x="1" y="2"/>
                    <a:pt x="2" y="1"/>
                  </a:cubicBezTo>
                  <a:cubicBezTo>
                    <a:pt x="3" y="1"/>
                    <a:pt x="3" y="1"/>
                    <a:pt x="4" y="0"/>
                  </a:cubicBezTo>
                  <a:cubicBezTo>
                    <a:pt x="3" y="0"/>
                    <a:pt x="1" y="0"/>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67" name="Freeform 2421">
              <a:extLst>
                <a:ext uri="{FF2B5EF4-FFF2-40B4-BE49-F238E27FC236}">
                  <a16:creationId xmlns:a16="http://schemas.microsoft.com/office/drawing/2014/main" id="{9A13A96B-7C2C-4075-97F4-BAACCDAEE7AE}"/>
                </a:ext>
              </a:extLst>
            </p:cNvPr>
            <p:cNvSpPr>
              <a:spLocks/>
            </p:cNvSpPr>
            <p:nvPr/>
          </p:nvSpPr>
          <p:spPr bwMode="auto">
            <a:xfrm>
              <a:off x="6609" y="2667"/>
              <a:ext cx="4" cy="15"/>
            </a:xfrm>
            <a:custGeom>
              <a:avLst/>
              <a:gdLst>
                <a:gd name="T0" fmla="*/ 1 w 2"/>
                <a:gd name="T1" fmla="*/ 0 h 6"/>
                <a:gd name="T2" fmla="*/ 1 w 2"/>
                <a:gd name="T3" fmla="*/ 6 h 6"/>
                <a:gd name="T4" fmla="*/ 2 w 2"/>
                <a:gd name="T5" fmla="*/ 4 h 6"/>
                <a:gd name="T6" fmla="*/ 2 w 2"/>
                <a:gd name="T7" fmla="*/ 3 h 6"/>
                <a:gd name="T8" fmla="*/ 2 w 2"/>
                <a:gd name="T9" fmla="*/ 2 h 6"/>
                <a:gd name="T10" fmla="*/ 2 w 2"/>
                <a:gd name="T11" fmla="*/ 1 h 6"/>
                <a:gd name="T12" fmla="*/ 1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1" y="0"/>
                  </a:moveTo>
                  <a:cubicBezTo>
                    <a:pt x="0" y="2"/>
                    <a:pt x="1" y="4"/>
                    <a:pt x="1" y="6"/>
                  </a:cubicBezTo>
                  <a:cubicBezTo>
                    <a:pt x="1" y="5"/>
                    <a:pt x="1" y="4"/>
                    <a:pt x="2" y="4"/>
                  </a:cubicBezTo>
                  <a:cubicBezTo>
                    <a:pt x="2" y="3"/>
                    <a:pt x="2" y="3"/>
                    <a:pt x="2" y="3"/>
                  </a:cubicBezTo>
                  <a:cubicBezTo>
                    <a:pt x="2" y="2"/>
                    <a:pt x="2" y="2"/>
                    <a:pt x="2" y="2"/>
                  </a:cubicBezTo>
                  <a:cubicBezTo>
                    <a:pt x="2" y="2"/>
                    <a:pt x="2" y="1"/>
                    <a:pt x="2" y="1"/>
                  </a:cubicBezTo>
                  <a:cubicBezTo>
                    <a:pt x="1" y="0"/>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68" name="Freeform 2422">
              <a:extLst>
                <a:ext uri="{FF2B5EF4-FFF2-40B4-BE49-F238E27FC236}">
                  <a16:creationId xmlns:a16="http://schemas.microsoft.com/office/drawing/2014/main" id="{1A35D292-5523-4A4C-9E30-7407311146C8}"/>
                </a:ext>
              </a:extLst>
            </p:cNvPr>
            <p:cNvSpPr>
              <a:spLocks/>
            </p:cNvSpPr>
            <p:nvPr/>
          </p:nvSpPr>
          <p:spPr bwMode="auto">
            <a:xfrm>
              <a:off x="6157" y="2675"/>
              <a:ext cx="9" cy="14"/>
            </a:xfrm>
            <a:custGeom>
              <a:avLst/>
              <a:gdLst>
                <a:gd name="T0" fmla="*/ 1 w 4"/>
                <a:gd name="T1" fmla="*/ 6 h 6"/>
                <a:gd name="T2" fmla="*/ 3 w 4"/>
                <a:gd name="T3" fmla="*/ 6 h 6"/>
                <a:gd name="T4" fmla="*/ 4 w 4"/>
                <a:gd name="T5" fmla="*/ 4 h 6"/>
                <a:gd name="T6" fmla="*/ 2 w 4"/>
                <a:gd name="T7" fmla="*/ 0 h 6"/>
                <a:gd name="T8" fmla="*/ 0 w 4"/>
                <a:gd name="T9" fmla="*/ 2 h 6"/>
                <a:gd name="T10" fmla="*/ 1 w 4"/>
                <a:gd name="T11" fmla="*/ 4 h 6"/>
                <a:gd name="T12" fmla="*/ 3 w 4"/>
                <a:gd name="T13" fmla="*/ 5 h 6"/>
                <a:gd name="T14" fmla="*/ 1 w 4"/>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
                  <a:moveTo>
                    <a:pt x="1" y="6"/>
                  </a:moveTo>
                  <a:cubicBezTo>
                    <a:pt x="1" y="6"/>
                    <a:pt x="3" y="6"/>
                    <a:pt x="3" y="6"/>
                  </a:cubicBezTo>
                  <a:cubicBezTo>
                    <a:pt x="3" y="6"/>
                    <a:pt x="4" y="5"/>
                    <a:pt x="4" y="4"/>
                  </a:cubicBezTo>
                  <a:cubicBezTo>
                    <a:pt x="4" y="2"/>
                    <a:pt x="3" y="2"/>
                    <a:pt x="2" y="0"/>
                  </a:cubicBezTo>
                  <a:cubicBezTo>
                    <a:pt x="2" y="1"/>
                    <a:pt x="0" y="1"/>
                    <a:pt x="0" y="2"/>
                  </a:cubicBezTo>
                  <a:cubicBezTo>
                    <a:pt x="0" y="3"/>
                    <a:pt x="0" y="3"/>
                    <a:pt x="1" y="4"/>
                  </a:cubicBezTo>
                  <a:cubicBezTo>
                    <a:pt x="1" y="4"/>
                    <a:pt x="3" y="4"/>
                    <a:pt x="3" y="5"/>
                  </a:cubicBezTo>
                  <a:cubicBezTo>
                    <a:pt x="3" y="5"/>
                    <a:pt x="1" y="5"/>
                    <a:pt x="1" y="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69" name="Freeform 2423">
              <a:extLst>
                <a:ext uri="{FF2B5EF4-FFF2-40B4-BE49-F238E27FC236}">
                  <a16:creationId xmlns:a16="http://schemas.microsoft.com/office/drawing/2014/main" id="{689AE28A-9C6C-461E-8287-346968102F39}"/>
                </a:ext>
              </a:extLst>
            </p:cNvPr>
            <p:cNvSpPr>
              <a:spLocks/>
            </p:cNvSpPr>
            <p:nvPr/>
          </p:nvSpPr>
          <p:spPr bwMode="auto">
            <a:xfrm>
              <a:off x="6039" y="2760"/>
              <a:ext cx="4" cy="4"/>
            </a:xfrm>
            <a:custGeom>
              <a:avLst/>
              <a:gdLst>
                <a:gd name="T0" fmla="*/ 0 w 2"/>
                <a:gd name="T1" fmla="*/ 2 h 2"/>
                <a:gd name="T2" fmla="*/ 2 w 2"/>
                <a:gd name="T3" fmla="*/ 1 h 2"/>
                <a:gd name="T4" fmla="*/ 0 w 2"/>
                <a:gd name="T5" fmla="*/ 2 h 2"/>
              </a:gdLst>
              <a:ahLst/>
              <a:cxnLst>
                <a:cxn ang="0">
                  <a:pos x="T0" y="T1"/>
                </a:cxn>
                <a:cxn ang="0">
                  <a:pos x="T2" y="T3"/>
                </a:cxn>
                <a:cxn ang="0">
                  <a:pos x="T4" y="T5"/>
                </a:cxn>
              </a:cxnLst>
              <a:rect l="0" t="0" r="r" b="b"/>
              <a:pathLst>
                <a:path w="2" h="2">
                  <a:moveTo>
                    <a:pt x="0" y="2"/>
                  </a:moveTo>
                  <a:cubicBezTo>
                    <a:pt x="1" y="2"/>
                    <a:pt x="1" y="2"/>
                    <a:pt x="2" y="1"/>
                  </a:cubicBezTo>
                  <a:cubicBezTo>
                    <a:pt x="1" y="0"/>
                    <a:pt x="0" y="0"/>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70" name="Freeform 2424">
              <a:extLst>
                <a:ext uri="{FF2B5EF4-FFF2-40B4-BE49-F238E27FC236}">
                  <a16:creationId xmlns:a16="http://schemas.microsoft.com/office/drawing/2014/main" id="{052FC802-41E8-4257-B72E-3DE17A8D8FDB}"/>
                </a:ext>
              </a:extLst>
            </p:cNvPr>
            <p:cNvSpPr>
              <a:spLocks/>
            </p:cNvSpPr>
            <p:nvPr/>
          </p:nvSpPr>
          <p:spPr bwMode="auto">
            <a:xfrm>
              <a:off x="6022" y="2748"/>
              <a:ext cx="19" cy="12"/>
            </a:xfrm>
            <a:custGeom>
              <a:avLst/>
              <a:gdLst>
                <a:gd name="T0" fmla="*/ 5 w 8"/>
                <a:gd name="T1" fmla="*/ 1 h 5"/>
                <a:gd name="T2" fmla="*/ 4 w 8"/>
                <a:gd name="T3" fmla="*/ 1 h 5"/>
                <a:gd name="T4" fmla="*/ 2 w 8"/>
                <a:gd name="T5" fmla="*/ 2 h 5"/>
                <a:gd name="T6" fmla="*/ 2 w 8"/>
                <a:gd name="T7" fmla="*/ 2 h 5"/>
                <a:gd name="T8" fmla="*/ 1 w 8"/>
                <a:gd name="T9" fmla="*/ 1 h 5"/>
                <a:gd name="T10" fmla="*/ 1 w 8"/>
                <a:gd name="T11" fmla="*/ 3 h 5"/>
                <a:gd name="T12" fmla="*/ 0 w 8"/>
                <a:gd name="T13" fmla="*/ 3 h 5"/>
                <a:gd name="T14" fmla="*/ 6 w 8"/>
                <a:gd name="T15" fmla="*/ 4 h 5"/>
                <a:gd name="T16" fmla="*/ 3 w 8"/>
                <a:gd name="T17" fmla="*/ 2 h 5"/>
                <a:gd name="T18" fmla="*/ 2 w 8"/>
                <a:gd name="T19" fmla="*/ 2 h 5"/>
                <a:gd name="T20" fmla="*/ 3 w 8"/>
                <a:gd name="T21" fmla="*/ 2 h 5"/>
                <a:gd name="T22" fmla="*/ 8 w 8"/>
                <a:gd name="T23" fmla="*/ 4 h 5"/>
                <a:gd name="T24" fmla="*/ 5 w 8"/>
                <a:gd name="T2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5">
                  <a:moveTo>
                    <a:pt x="5" y="1"/>
                  </a:moveTo>
                  <a:cubicBezTo>
                    <a:pt x="5" y="1"/>
                    <a:pt x="4" y="0"/>
                    <a:pt x="4" y="1"/>
                  </a:cubicBezTo>
                  <a:cubicBezTo>
                    <a:pt x="3" y="1"/>
                    <a:pt x="3" y="1"/>
                    <a:pt x="2" y="2"/>
                  </a:cubicBezTo>
                  <a:cubicBezTo>
                    <a:pt x="2" y="2"/>
                    <a:pt x="2" y="2"/>
                    <a:pt x="2" y="2"/>
                  </a:cubicBezTo>
                  <a:cubicBezTo>
                    <a:pt x="2" y="1"/>
                    <a:pt x="2" y="1"/>
                    <a:pt x="1" y="1"/>
                  </a:cubicBezTo>
                  <a:cubicBezTo>
                    <a:pt x="0" y="1"/>
                    <a:pt x="1" y="2"/>
                    <a:pt x="1" y="3"/>
                  </a:cubicBezTo>
                  <a:cubicBezTo>
                    <a:pt x="1" y="3"/>
                    <a:pt x="0" y="3"/>
                    <a:pt x="0" y="3"/>
                  </a:cubicBezTo>
                  <a:cubicBezTo>
                    <a:pt x="0" y="5"/>
                    <a:pt x="6" y="4"/>
                    <a:pt x="6" y="4"/>
                  </a:cubicBezTo>
                  <a:cubicBezTo>
                    <a:pt x="5" y="3"/>
                    <a:pt x="4" y="3"/>
                    <a:pt x="3" y="2"/>
                  </a:cubicBezTo>
                  <a:cubicBezTo>
                    <a:pt x="2" y="2"/>
                    <a:pt x="2" y="2"/>
                    <a:pt x="2" y="2"/>
                  </a:cubicBezTo>
                  <a:cubicBezTo>
                    <a:pt x="2" y="2"/>
                    <a:pt x="3" y="2"/>
                    <a:pt x="3" y="2"/>
                  </a:cubicBezTo>
                  <a:cubicBezTo>
                    <a:pt x="4" y="2"/>
                    <a:pt x="7" y="3"/>
                    <a:pt x="8" y="4"/>
                  </a:cubicBezTo>
                  <a:cubicBezTo>
                    <a:pt x="7" y="2"/>
                    <a:pt x="6" y="2"/>
                    <a:pt x="5"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71" name="Freeform 2425">
              <a:extLst>
                <a:ext uri="{FF2B5EF4-FFF2-40B4-BE49-F238E27FC236}">
                  <a16:creationId xmlns:a16="http://schemas.microsoft.com/office/drawing/2014/main" id="{852484EC-E214-411A-9AAA-FAC12C3C78FB}"/>
                </a:ext>
              </a:extLst>
            </p:cNvPr>
            <p:cNvSpPr>
              <a:spLocks/>
            </p:cNvSpPr>
            <p:nvPr/>
          </p:nvSpPr>
          <p:spPr bwMode="auto">
            <a:xfrm>
              <a:off x="6769" y="2876"/>
              <a:ext cx="5" cy="4"/>
            </a:xfrm>
            <a:custGeom>
              <a:avLst/>
              <a:gdLst>
                <a:gd name="T0" fmla="*/ 2 w 2"/>
                <a:gd name="T1" fmla="*/ 2 h 2"/>
                <a:gd name="T2" fmla="*/ 0 w 2"/>
                <a:gd name="T3" fmla="*/ 0 h 2"/>
                <a:gd name="T4" fmla="*/ 2 w 2"/>
                <a:gd name="T5" fmla="*/ 2 h 2"/>
              </a:gdLst>
              <a:ahLst/>
              <a:cxnLst>
                <a:cxn ang="0">
                  <a:pos x="T0" y="T1"/>
                </a:cxn>
                <a:cxn ang="0">
                  <a:pos x="T2" y="T3"/>
                </a:cxn>
                <a:cxn ang="0">
                  <a:pos x="T4" y="T5"/>
                </a:cxn>
              </a:cxnLst>
              <a:rect l="0" t="0" r="r" b="b"/>
              <a:pathLst>
                <a:path w="2" h="2">
                  <a:moveTo>
                    <a:pt x="2" y="2"/>
                  </a:moveTo>
                  <a:cubicBezTo>
                    <a:pt x="1" y="1"/>
                    <a:pt x="0" y="1"/>
                    <a:pt x="0" y="0"/>
                  </a:cubicBezTo>
                  <a:cubicBezTo>
                    <a:pt x="0" y="1"/>
                    <a:pt x="1" y="2"/>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72" name="Freeform 2426">
              <a:extLst>
                <a:ext uri="{FF2B5EF4-FFF2-40B4-BE49-F238E27FC236}">
                  <a16:creationId xmlns:a16="http://schemas.microsoft.com/office/drawing/2014/main" id="{BCBABE47-B08F-46EF-862E-D4186B1448D2}"/>
                </a:ext>
              </a:extLst>
            </p:cNvPr>
            <p:cNvSpPr>
              <a:spLocks/>
            </p:cNvSpPr>
            <p:nvPr/>
          </p:nvSpPr>
          <p:spPr bwMode="auto">
            <a:xfrm>
              <a:off x="6493" y="2786"/>
              <a:ext cx="2"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73" name="Freeform 2427">
              <a:extLst>
                <a:ext uri="{FF2B5EF4-FFF2-40B4-BE49-F238E27FC236}">
                  <a16:creationId xmlns:a16="http://schemas.microsoft.com/office/drawing/2014/main" id="{F4F9BB50-D761-486B-9936-BBE650681A46}"/>
                </a:ext>
              </a:extLst>
            </p:cNvPr>
            <p:cNvSpPr>
              <a:spLocks/>
            </p:cNvSpPr>
            <p:nvPr/>
          </p:nvSpPr>
          <p:spPr bwMode="auto">
            <a:xfrm>
              <a:off x="6625" y="2769"/>
              <a:ext cx="0" cy="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74" name="Freeform 2428">
              <a:extLst>
                <a:ext uri="{FF2B5EF4-FFF2-40B4-BE49-F238E27FC236}">
                  <a16:creationId xmlns:a16="http://schemas.microsoft.com/office/drawing/2014/main" id="{CD1F8869-EC01-4563-8CA0-19AF8081D563}"/>
                </a:ext>
              </a:extLst>
            </p:cNvPr>
            <p:cNvSpPr>
              <a:spLocks/>
            </p:cNvSpPr>
            <p:nvPr/>
          </p:nvSpPr>
          <p:spPr bwMode="auto">
            <a:xfrm>
              <a:off x="6538" y="2824"/>
              <a:ext cx="2"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75" name="Freeform 2429">
              <a:extLst>
                <a:ext uri="{FF2B5EF4-FFF2-40B4-BE49-F238E27FC236}">
                  <a16:creationId xmlns:a16="http://schemas.microsoft.com/office/drawing/2014/main" id="{1A5A51B8-3CF2-45CA-A1FC-164CD8EC5D14}"/>
                </a:ext>
              </a:extLst>
            </p:cNvPr>
            <p:cNvSpPr>
              <a:spLocks/>
            </p:cNvSpPr>
            <p:nvPr/>
          </p:nvSpPr>
          <p:spPr bwMode="auto">
            <a:xfrm>
              <a:off x="6055" y="2755"/>
              <a:ext cx="5" cy="2"/>
            </a:xfrm>
            <a:custGeom>
              <a:avLst/>
              <a:gdLst>
                <a:gd name="T0" fmla="*/ 0 w 2"/>
                <a:gd name="T1" fmla="*/ 0 h 1"/>
                <a:gd name="T2" fmla="*/ 2 w 2"/>
                <a:gd name="T3" fmla="*/ 1 h 1"/>
                <a:gd name="T4" fmla="*/ 0 w 2"/>
                <a:gd name="T5" fmla="*/ 0 h 1"/>
              </a:gdLst>
              <a:ahLst/>
              <a:cxnLst>
                <a:cxn ang="0">
                  <a:pos x="T0" y="T1"/>
                </a:cxn>
                <a:cxn ang="0">
                  <a:pos x="T2" y="T3"/>
                </a:cxn>
                <a:cxn ang="0">
                  <a:pos x="T4" y="T5"/>
                </a:cxn>
              </a:cxnLst>
              <a:rect l="0" t="0" r="r" b="b"/>
              <a:pathLst>
                <a:path w="2" h="1">
                  <a:moveTo>
                    <a:pt x="0" y="0"/>
                  </a:moveTo>
                  <a:cubicBezTo>
                    <a:pt x="1" y="1"/>
                    <a:pt x="1" y="1"/>
                    <a:pt x="2" y="1"/>
                  </a:cubicBezTo>
                  <a:cubicBezTo>
                    <a:pt x="1" y="1"/>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76" name="Freeform 2430">
              <a:extLst>
                <a:ext uri="{FF2B5EF4-FFF2-40B4-BE49-F238E27FC236}">
                  <a16:creationId xmlns:a16="http://schemas.microsoft.com/office/drawing/2014/main" id="{828F6424-6BA5-4DED-A585-1EFF76B7B165}"/>
                </a:ext>
              </a:extLst>
            </p:cNvPr>
            <p:cNvSpPr>
              <a:spLocks/>
            </p:cNvSpPr>
            <p:nvPr/>
          </p:nvSpPr>
          <p:spPr bwMode="auto">
            <a:xfrm>
              <a:off x="6065" y="2757"/>
              <a:ext cx="2" cy="3"/>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1"/>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77" name="Freeform 2431">
              <a:extLst>
                <a:ext uri="{FF2B5EF4-FFF2-40B4-BE49-F238E27FC236}">
                  <a16:creationId xmlns:a16="http://schemas.microsoft.com/office/drawing/2014/main" id="{609459B4-3E3F-4DAA-BFD9-9B04F460010B}"/>
                </a:ext>
              </a:extLst>
            </p:cNvPr>
            <p:cNvSpPr>
              <a:spLocks/>
            </p:cNvSpPr>
            <p:nvPr/>
          </p:nvSpPr>
          <p:spPr bwMode="auto">
            <a:xfrm>
              <a:off x="6043" y="2755"/>
              <a:ext cx="5" cy="7"/>
            </a:xfrm>
            <a:custGeom>
              <a:avLst/>
              <a:gdLst>
                <a:gd name="T0" fmla="*/ 2 w 2"/>
                <a:gd name="T1" fmla="*/ 2 h 3"/>
                <a:gd name="T2" fmla="*/ 1 w 2"/>
                <a:gd name="T3" fmla="*/ 0 h 3"/>
                <a:gd name="T4" fmla="*/ 2 w 2"/>
                <a:gd name="T5" fmla="*/ 2 h 3"/>
              </a:gdLst>
              <a:ahLst/>
              <a:cxnLst>
                <a:cxn ang="0">
                  <a:pos x="T0" y="T1"/>
                </a:cxn>
                <a:cxn ang="0">
                  <a:pos x="T2" y="T3"/>
                </a:cxn>
                <a:cxn ang="0">
                  <a:pos x="T4" y="T5"/>
                </a:cxn>
              </a:cxnLst>
              <a:rect l="0" t="0" r="r" b="b"/>
              <a:pathLst>
                <a:path w="2" h="3">
                  <a:moveTo>
                    <a:pt x="2" y="2"/>
                  </a:moveTo>
                  <a:cubicBezTo>
                    <a:pt x="2" y="1"/>
                    <a:pt x="1" y="1"/>
                    <a:pt x="1" y="0"/>
                  </a:cubicBezTo>
                  <a:cubicBezTo>
                    <a:pt x="0" y="1"/>
                    <a:pt x="1" y="3"/>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78" name="Freeform 2432">
              <a:extLst>
                <a:ext uri="{FF2B5EF4-FFF2-40B4-BE49-F238E27FC236}">
                  <a16:creationId xmlns:a16="http://schemas.microsoft.com/office/drawing/2014/main" id="{4BDC6283-DED9-4A53-B9E2-5B9585BADCBF}"/>
                </a:ext>
              </a:extLst>
            </p:cNvPr>
            <p:cNvSpPr>
              <a:spLocks/>
            </p:cNvSpPr>
            <p:nvPr/>
          </p:nvSpPr>
          <p:spPr bwMode="auto">
            <a:xfrm>
              <a:off x="6635" y="2973"/>
              <a:ext cx="9" cy="4"/>
            </a:xfrm>
            <a:custGeom>
              <a:avLst/>
              <a:gdLst>
                <a:gd name="T0" fmla="*/ 2 w 4"/>
                <a:gd name="T1" fmla="*/ 2 h 2"/>
                <a:gd name="T2" fmla="*/ 4 w 4"/>
                <a:gd name="T3" fmla="*/ 1 h 2"/>
                <a:gd name="T4" fmla="*/ 0 w 4"/>
                <a:gd name="T5" fmla="*/ 0 h 2"/>
                <a:gd name="T6" fmla="*/ 2 w 4"/>
                <a:gd name="T7" fmla="*/ 2 h 2"/>
              </a:gdLst>
              <a:ahLst/>
              <a:cxnLst>
                <a:cxn ang="0">
                  <a:pos x="T0" y="T1"/>
                </a:cxn>
                <a:cxn ang="0">
                  <a:pos x="T2" y="T3"/>
                </a:cxn>
                <a:cxn ang="0">
                  <a:pos x="T4" y="T5"/>
                </a:cxn>
                <a:cxn ang="0">
                  <a:pos x="T6" y="T7"/>
                </a:cxn>
              </a:cxnLst>
              <a:rect l="0" t="0" r="r" b="b"/>
              <a:pathLst>
                <a:path w="4" h="2">
                  <a:moveTo>
                    <a:pt x="2" y="2"/>
                  </a:moveTo>
                  <a:cubicBezTo>
                    <a:pt x="3" y="2"/>
                    <a:pt x="3" y="2"/>
                    <a:pt x="4" y="1"/>
                  </a:cubicBezTo>
                  <a:cubicBezTo>
                    <a:pt x="2" y="1"/>
                    <a:pt x="1" y="1"/>
                    <a:pt x="0" y="0"/>
                  </a:cubicBezTo>
                  <a:cubicBezTo>
                    <a:pt x="0" y="1"/>
                    <a:pt x="1" y="2"/>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79" name="Freeform 2433">
              <a:extLst>
                <a:ext uri="{FF2B5EF4-FFF2-40B4-BE49-F238E27FC236}">
                  <a16:creationId xmlns:a16="http://schemas.microsoft.com/office/drawing/2014/main" id="{221804FB-839B-4B60-8579-09F45F63E5EC}"/>
                </a:ext>
              </a:extLst>
            </p:cNvPr>
            <p:cNvSpPr>
              <a:spLocks/>
            </p:cNvSpPr>
            <p:nvPr/>
          </p:nvSpPr>
          <p:spPr bwMode="auto">
            <a:xfrm>
              <a:off x="6455" y="2918"/>
              <a:ext cx="5" cy="17"/>
            </a:xfrm>
            <a:custGeom>
              <a:avLst/>
              <a:gdLst>
                <a:gd name="T0" fmla="*/ 1 w 2"/>
                <a:gd name="T1" fmla="*/ 7 h 7"/>
                <a:gd name="T2" fmla="*/ 2 w 2"/>
                <a:gd name="T3" fmla="*/ 0 h 7"/>
                <a:gd name="T4" fmla="*/ 1 w 2"/>
                <a:gd name="T5" fmla="*/ 7 h 7"/>
              </a:gdLst>
              <a:ahLst/>
              <a:cxnLst>
                <a:cxn ang="0">
                  <a:pos x="T0" y="T1"/>
                </a:cxn>
                <a:cxn ang="0">
                  <a:pos x="T2" y="T3"/>
                </a:cxn>
                <a:cxn ang="0">
                  <a:pos x="T4" y="T5"/>
                </a:cxn>
              </a:cxnLst>
              <a:rect l="0" t="0" r="r" b="b"/>
              <a:pathLst>
                <a:path w="2" h="7">
                  <a:moveTo>
                    <a:pt x="1" y="7"/>
                  </a:moveTo>
                  <a:cubicBezTo>
                    <a:pt x="2" y="4"/>
                    <a:pt x="2" y="2"/>
                    <a:pt x="2" y="0"/>
                  </a:cubicBezTo>
                  <a:cubicBezTo>
                    <a:pt x="0" y="1"/>
                    <a:pt x="1" y="5"/>
                    <a:pt x="1" y="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80" name="Freeform 2434">
              <a:extLst>
                <a:ext uri="{FF2B5EF4-FFF2-40B4-BE49-F238E27FC236}">
                  <a16:creationId xmlns:a16="http://schemas.microsoft.com/office/drawing/2014/main" id="{D630ABA0-F82F-4DCC-BF74-79A97151F15C}"/>
                </a:ext>
              </a:extLst>
            </p:cNvPr>
            <p:cNvSpPr>
              <a:spLocks/>
            </p:cNvSpPr>
            <p:nvPr/>
          </p:nvSpPr>
          <p:spPr bwMode="auto">
            <a:xfrm>
              <a:off x="6074" y="2772"/>
              <a:ext cx="3" cy="4"/>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1" y="1"/>
                    <a:pt x="0" y="1"/>
                    <a:pt x="0" y="0"/>
                  </a:cubicBezTo>
                  <a:cubicBezTo>
                    <a:pt x="0" y="1"/>
                    <a:pt x="1" y="2"/>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81" name="Freeform 2435">
              <a:extLst>
                <a:ext uri="{FF2B5EF4-FFF2-40B4-BE49-F238E27FC236}">
                  <a16:creationId xmlns:a16="http://schemas.microsoft.com/office/drawing/2014/main" id="{070446D1-9173-4EA6-9AFC-A6403E374CB5}"/>
                </a:ext>
              </a:extLst>
            </p:cNvPr>
            <p:cNvSpPr>
              <a:spLocks/>
            </p:cNvSpPr>
            <p:nvPr/>
          </p:nvSpPr>
          <p:spPr bwMode="auto">
            <a:xfrm>
              <a:off x="6734" y="2951"/>
              <a:ext cx="2" cy="3"/>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0"/>
                    <a:pt x="0" y="0"/>
                    <a:pt x="0" y="0"/>
                  </a:cubicBezTo>
                  <a:cubicBezTo>
                    <a:pt x="0" y="0"/>
                    <a:pt x="1" y="1"/>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82" name="Freeform 2436">
              <a:extLst>
                <a:ext uri="{FF2B5EF4-FFF2-40B4-BE49-F238E27FC236}">
                  <a16:creationId xmlns:a16="http://schemas.microsoft.com/office/drawing/2014/main" id="{439890F6-4D10-4674-AA5B-7F674D8CA7CE}"/>
                </a:ext>
              </a:extLst>
            </p:cNvPr>
            <p:cNvSpPr>
              <a:spLocks/>
            </p:cNvSpPr>
            <p:nvPr/>
          </p:nvSpPr>
          <p:spPr bwMode="auto">
            <a:xfrm>
              <a:off x="6731" y="2949"/>
              <a:ext cx="3" cy="2"/>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1"/>
                    <a:pt x="1" y="1"/>
                  </a:cubicBezTo>
                  <a:cubicBezTo>
                    <a:pt x="1" y="0"/>
                    <a:pt x="0"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83" name="Freeform 2437">
              <a:extLst>
                <a:ext uri="{FF2B5EF4-FFF2-40B4-BE49-F238E27FC236}">
                  <a16:creationId xmlns:a16="http://schemas.microsoft.com/office/drawing/2014/main" id="{2485F37D-E313-487B-A87D-FE9E1A989CB1}"/>
                </a:ext>
              </a:extLst>
            </p:cNvPr>
            <p:cNvSpPr>
              <a:spLocks/>
            </p:cNvSpPr>
            <p:nvPr/>
          </p:nvSpPr>
          <p:spPr bwMode="auto">
            <a:xfrm>
              <a:off x="6502" y="2890"/>
              <a:ext cx="12" cy="19"/>
            </a:xfrm>
            <a:custGeom>
              <a:avLst/>
              <a:gdLst>
                <a:gd name="T0" fmla="*/ 1 w 5"/>
                <a:gd name="T1" fmla="*/ 8 h 8"/>
                <a:gd name="T2" fmla="*/ 3 w 5"/>
                <a:gd name="T3" fmla="*/ 7 h 8"/>
                <a:gd name="T4" fmla="*/ 4 w 5"/>
                <a:gd name="T5" fmla="*/ 6 h 8"/>
                <a:gd name="T6" fmla="*/ 4 w 5"/>
                <a:gd name="T7" fmla="*/ 5 h 8"/>
                <a:gd name="T8" fmla="*/ 5 w 5"/>
                <a:gd name="T9" fmla="*/ 3 h 8"/>
                <a:gd name="T10" fmla="*/ 4 w 5"/>
                <a:gd name="T11" fmla="*/ 0 h 8"/>
                <a:gd name="T12" fmla="*/ 3 w 5"/>
                <a:gd name="T13" fmla="*/ 1 h 8"/>
                <a:gd name="T14" fmla="*/ 1 w 5"/>
                <a:gd name="T15" fmla="*/ 1 h 8"/>
                <a:gd name="T16" fmla="*/ 0 w 5"/>
                <a:gd name="T17" fmla="*/ 5 h 8"/>
                <a:gd name="T18" fmla="*/ 1 w 5"/>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1" y="8"/>
                  </a:moveTo>
                  <a:cubicBezTo>
                    <a:pt x="3" y="8"/>
                    <a:pt x="3" y="8"/>
                    <a:pt x="3" y="7"/>
                  </a:cubicBezTo>
                  <a:cubicBezTo>
                    <a:pt x="4" y="7"/>
                    <a:pt x="4" y="7"/>
                    <a:pt x="4" y="6"/>
                  </a:cubicBezTo>
                  <a:cubicBezTo>
                    <a:pt x="4" y="5"/>
                    <a:pt x="3" y="6"/>
                    <a:pt x="4" y="5"/>
                  </a:cubicBezTo>
                  <a:cubicBezTo>
                    <a:pt x="4" y="4"/>
                    <a:pt x="4" y="4"/>
                    <a:pt x="5" y="3"/>
                  </a:cubicBezTo>
                  <a:cubicBezTo>
                    <a:pt x="5" y="2"/>
                    <a:pt x="4" y="1"/>
                    <a:pt x="4" y="0"/>
                  </a:cubicBezTo>
                  <a:cubicBezTo>
                    <a:pt x="3" y="0"/>
                    <a:pt x="3" y="0"/>
                    <a:pt x="3" y="1"/>
                  </a:cubicBezTo>
                  <a:cubicBezTo>
                    <a:pt x="2" y="1"/>
                    <a:pt x="1" y="1"/>
                    <a:pt x="1" y="1"/>
                  </a:cubicBezTo>
                  <a:cubicBezTo>
                    <a:pt x="0" y="2"/>
                    <a:pt x="2" y="4"/>
                    <a:pt x="0" y="5"/>
                  </a:cubicBezTo>
                  <a:cubicBezTo>
                    <a:pt x="0" y="7"/>
                    <a:pt x="0" y="7"/>
                    <a:pt x="1" y="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84" name="Freeform 2438">
              <a:extLst>
                <a:ext uri="{FF2B5EF4-FFF2-40B4-BE49-F238E27FC236}">
                  <a16:creationId xmlns:a16="http://schemas.microsoft.com/office/drawing/2014/main" id="{28546681-3139-47B9-AE26-A98E4D400E23}"/>
                </a:ext>
              </a:extLst>
            </p:cNvPr>
            <p:cNvSpPr>
              <a:spLocks/>
            </p:cNvSpPr>
            <p:nvPr/>
          </p:nvSpPr>
          <p:spPr bwMode="auto">
            <a:xfrm>
              <a:off x="6516" y="2977"/>
              <a:ext cx="15" cy="5"/>
            </a:xfrm>
            <a:custGeom>
              <a:avLst/>
              <a:gdLst>
                <a:gd name="T0" fmla="*/ 4 w 6"/>
                <a:gd name="T1" fmla="*/ 1 h 2"/>
                <a:gd name="T2" fmla="*/ 5 w 6"/>
                <a:gd name="T3" fmla="*/ 1 h 2"/>
                <a:gd name="T4" fmla="*/ 2 w 6"/>
                <a:gd name="T5" fmla="*/ 0 h 2"/>
                <a:gd name="T6" fmla="*/ 4 w 6"/>
                <a:gd name="T7" fmla="*/ 1 h 2"/>
              </a:gdLst>
              <a:ahLst/>
              <a:cxnLst>
                <a:cxn ang="0">
                  <a:pos x="T0" y="T1"/>
                </a:cxn>
                <a:cxn ang="0">
                  <a:pos x="T2" y="T3"/>
                </a:cxn>
                <a:cxn ang="0">
                  <a:pos x="T4" y="T5"/>
                </a:cxn>
                <a:cxn ang="0">
                  <a:pos x="T6" y="T7"/>
                </a:cxn>
              </a:cxnLst>
              <a:rect l="0" t="0" r="r" b="b"/>
              <a:pathLst>
                <a:path w="6" h="2">
                  <a:moveTo>
                    <a:pt x="4" y="1"/>
                  </a:moveTo>
                  <a:cubicBezTo>
                    <a:pt x="4" y="1"/>
                    <a:pt x="4" y="2"/>
                    <a:pt x="5" y="1"/>
                  </a:cubicBezTo>
                  <a:cubicBezTo>
                    <a:pt x="6" y="0"/>
                    <a:pt x="3" y="0"/>
                    <a:pt x="2" y="0"/>
                  </a:cubicBezTo>
                  <a:cubicBezTo>
                    <a:pt x="0" y="2"/>
                    <a:pt x="3" y="2"/>
                    <a:pt x="4"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85" name="Freeform 2439">
              <a:extLst>
                <a:ext uri="{FF2B5EF4-FFF2-40B4-BE49-F238E27FC236}">
                  <a16:creationId xmlns:a16="http://schemas.microsoft.com/office/drawing/2014/main" id="{B525F3BD-292C-44C9-BDE0-D3448AAFD011}"/>
                </a:ext>
              </a:extLst>
            </p:cNvPr>
            <p:cNvSpPr>
              <a:spLocks/>
            </p:cNvSpPr>
            <p:nvPr/>
          </p:nvSpPr>
          <p:spPr bwMode="auto">
            <a:xfrm>
              <a:off x="6488" y="3032"/>
              <a:ext cx="7" cy="2"/>
            </a:xfrm>
            <a:custGeom>
              <a:avLst/>
              <a:gdLst>
                <a:gd name="T0" fmla="*/ 3 w 3"/>
                <a:gd name="T1" fmla="*/ 0 h 1"/>
                <a:gd name="T2" fmla="*/ 0 w 3"/>
                <a:gd name="T3" fmla="*/ 0 h 1"/>
                <a:gd name="T4" fmla="*/ 3 w 3"/>
                <a:gd name="T5" fmla="*/ 0 h 1"/>
              </a:gdLst>
              <a:ahLst/>
              <a:cxnLst>
                <a:cxn ang="0">
                  <a:pos x="T0" y="T1"/>
                </a:cxn>
                <a:cxn ang="0">
                  <a:pos x="T2" y="T3"/>
                </a:cxn>
                <a:cxn ang="0">
                  <a:pos x="T4" y="T5"/>
                </a:cxn>
              </a:cxnLst>
              <a:rect l="0" t="0" r="r" b="b"/>
              <a:pathLst>
                <a:path w="3" h="1">
                  <a:moveTo>
                    <a:pt x="3" y="0"/>
                  </a:moveTo>
                  <a:cubicBezTo>
                    <a:pt x="2" y="0"/>
                    <a:pt x="1" y="0"/>
                    <a:pt x="0" y="0"/>
                  </a:cubicBezTo>
                  <a:cubicBezTo>
                    <a:pt x="1" y="1"/>
                    <a:pt x="3" y="1"/>
                    <a:pt x="3"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86" name="Freeform 2440">
              <a:extLst>
                <a:ext uri="{FF2B5EF4-FFF2-40B4-BE49-F238E27FC236}">
                  <a16:creationId xmlns:a16="http://schemas.microsoft.com/office/drawing/2014/main" id="{3F6FB096-D263-4E1E-B050-2A0BD0C33708}"/>
                </a:ext>
              </a:extLst>
            </p:cNvPr>
            <p:cNvSpPr>
              <a:spLocks/>
            </p:cNvSpPr>
            <p:nvPr/>
          </p:nvSpPr>
          <p:spPr bwMode="auto">
            <a:xfrm>
              <a:off x="6618" y="2793"/>
              <a:ext cx="5" cy="5"/>
            </a:xfrm>
            <a:custGeom>
              <a:avLst/>
              <a:gdLst>
                <a:gd name="T0" fmla="*/ 2 w 2"/>
                <a:gd name="T1" fmla="*/ 0 h 2"/>
                <a:gd name="T2" fmla="*/ 1 w 2"/>
                <a:gd name="T3" fmla="*/ 1 h 2"/>
                <a:gd name="T4" fmla="*/ 2 w 2"/>
                <a:gd name="T5" fmla="*/ 2 h 2"/>
                <a:gd name="T6" fmla="*/ 2 w 2"/>
                <a:gd name="T7" fmla="*/ 0 h 2"/>
              </a:gdLst>
              <a:ahLst/>
              <a:cxnLst>
                <a:cxn ang="0">
                  <a:pos x="T0" y="T1"/>
                </a:cxn>
                <a:cxn ang="0">
                  <a:pos x="T2" y="T3"/>
                </a:cxn>
                <a:cxn ang="0">
                  <a:pos x="T4" y="T5"/>
                </a:cxn>
                <a:cxn ang="0">
                  <a:pos x="T6" y="T7"/>
                </a:cxn>
              </a:cxnLst>
              <a:rect l="0" t="0" r="r" b="b"/>
              <a:pathLst>
                <a:path w="2" h="2">
                  <a:moveTo>
                    <a:pt x="2" y="0"/>
                  </a:moveTo>
                  <a:cubicBezTo>
                    <a:pt x="1" y="0"/>
                    <a:pt x="0" y="1"/>
                    <a:pt x="1" y="1"/>
                  </a:cubicBezTo>
                  <a:cubicBezTo>
                    <a:pt x="1" y="1"/>
                    <a:pt x="2" y="2"/>
                    <a:pt x="2" y="2"/>
                  </a:cubicBezTo>
                  <a:cubicBezTo>
                    <a:pt x="2" y="1"/>
                    <a:pt x="2" y="0"/>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87" name="Freeform 2441">
              <a:extLst>
                <a:ext uri="{FF2B5EF4-FFF2-40B4-BE49-F238E27FC236}">
                  <a16:creationId xmlns:a16="http://schemas.microsoft.com/office/drawing/2014/main" id="{DABC6D7D-E649-44DD-AE63-28ACA237D75C}"/>
                </a:ext>
              </a:extLst>
            </p:cNvPr>
            <p:cNvSpPr>
              <a:spLocks/>
            </p:cNvSpPr>
            <p:nvPr/>
          </p:nvSpPr>
          <p:spPr bwMode="auto">
            <a:xfrm>
              <a:off x="6672" y="2776"/>
              <a:ext cx="5" cy="7"/>
            </a:xfrm>
            <a:custGeom>
              <a:avLst/>
              <a:gdLst>
                <a:gd name="T0" fmla="*/ 0 w 2"/>
                <a:gd name="T1" fmla="*/ 0 h 3"/>
                <a:gd name="T2" fmla="*/ 2 w 2"/>
                <a:gd name="T3" fmla="*/ 3 h 3"/>
                <a:gd name="T4" fmla="*/ 0 w 2"/>
                <a:gd name="T5" fmla="*/ 0 h 3"/>
              </a:gdLst>
              <a:ahLst/>
              <a:cxnLst>
                <a:cxn ang="0">
                  <a:pos x="T0" y="T1"/>
                </a:cxn>
                <a:cxn ang="0">
                  <a:pos x="T2" y="T3"/>
                </a:cxn>
                <a:cxn ang="0">
                  <a:pos x="T4" y="T5"/>
                </a:cxn>
              </a:cxnLst>
              <a:rect l="0" t="0" r="r" b="b"/>
              <a:pathLst>
                <a:path w="2" h="3">
                  <a:moveTo>
                    <a:pt x="0" y="0"/>
                  </a:moveTo>
                  <a:cubicBezTo>
                    <a:pt x="0" y="1"/>
                    <a:pt x="1" y="2"/>
                    <a:pt x="2" y="3"/>
                  </a:cubicBezTo>
                  <a:cubicBezTo>
                    <a:pt x="2" y="2"/>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88" name="Freeform 2442">
              <a:extLst>
                <a:ext uri="{FF2B5EF4-FFF2-40B4-BE49-F238E27FC236}">
                  <a16:creationId xmlns:a16="http://schemas.microsoft.com/office/drawing/2014/main" id="{25828124-8DD5-4444-962E-88C82FF00FCB}"/>
                </a:ext>
              </a:extLst>
            </p:cNvPr>
            <p:cNvSpPr>
              <a:spLocks/>
            </p:cNvSpPr>
            <p:nvPr/>
          </p:nvSpPr>
          <p:spPr bwMode="auto">
            <a:xfrm>
              <a:off x="5850" y="2634"/>
              <a:ext cx="2" cy="3"/>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1"/>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89" name="Freeform 2443">
              <a:extLst>
                <a:ext uri="{FF2B5EF4-FFF2-40B4-BE49-F238E27FC236}">
                  <a16:creationId xmlns:a16="http://schemas.microsoft.com/office/drawing/2014/main" id="{A0A4950B-FB21-42E3-BB69-5EFEC26D6B8C}"/>
                </a:ext>
              </a:extLst>
            </p:cNvPr>
            <p:cNvSpPr>
              <a:spLocks/>
            </p:cNvSpPr>
            <p:nvPr/>
          </p:nvSpPr>
          <p:spPr bwMode="auto">
            <a:xfrm>
              <a:off x="5996" y="2727"/>
              <a:ext cx="10" cy="11"/>
            </a:xfrm>
            <a:custGeom>
              <a:avLst/>
              <a:gdLst>
                <a:gd name="T0" fmla="*/ 4 w 4"/>
                <a:gd name="T1" fmla="*/ 2 h 5"/>
                <a:gd name="T2" fmla="*/ 3 w 4"/>
                <a:gd name="T3" fmla="*/ 0 h 5"/>
                <a:gd name="T4" fmla="*/ 2 w 4"/>
                <a:gd name="T5" fmla="*/ 0 h 5"/>
                <a:gd name="T6" fmla="*/ 1 w 4"/>
                <a:gd name="T7" fmla="*/ 0 h 5"/>
                <a:gd name="T8" fmla="*/ 1 w 4"/>
                <a:gd name="T9" fmla="*/ 3 h 5"/>
                <a:gd name="T10" fmla="*/ 4 w 4"/>
                <a:gd name="T11" fmla="*/ 2 h 5"/>
              </a:gdLst>
              <a:ahLst/>
              <a:cxnLst>
                <a:cxn ang="0">
                  <a:pos x="T0" y="T1"/>
                </a:cxn>
                <a:cxn ang="0">
                  <a:pos x="T2" y="T3"/>
                </a:cxn>
                <a:cxn ang="0">
                  <a:pos x="T4" y="T5"/>
                </a:cxn>
                <a:cxn ang="0">
                  <a:pos x="T6" y="T7"/>
                </a:cxn>
                <a:cxn ang="0">
                  <a:pos x="T8" y="T9"/>
                </a:cxn>
                <a:cxn ang="0">
                  <a:pos x="T10" y="T11"/>
                </a:cxn>
              </a:cxnLst>
              <a:rect l="0" t="0" r="r" b="b"/>
              <a:pathLst>
                <a:path w="4" h="5">
                  <a:moveTo>
                    <a:pt x="4" y="2"/>
                  </a:moveTo>
                  <a:cubicBezTo>
                    <a:pt x="4" y="0"/>
                    <a:pt x="4" y="0"/>
                    <a:pt x="3" y="0"/>
                  </a:cubicBezTo>
                  <a:cubicBezTo>
                    <a:pt x="3" y="0"/>
                    <a:pt x="2" y="0"/>
                    <a:pt x="2" y="0"/>
                  </a:cubicBezTo>
                  <a:cubicBezTo>
                    <a:pt x="1" y="0"/>
                    <a:pt x="1" y="0"/>
                    <a:pt x="1" y="0"/>
                  </a:cubicBezTo>
                  <a:cubicBezTo>
                    <a:pt x="0" y="1"/>
                    <a:pt x="1" y="3"/>
                    <a:pt x="1" y="3"/>
                  </a:cubicBezTo>
                  <a:cubicBezTo>
                    <a:pt x="3" y="5"/>
                    <a:pt x="4" y="3"/>
                    <a:pt x="4"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90" name="Freeform 2444">
              <a:extLst>
                <a:ext uri="{FF2B5EF4-FFF2-40B4-BE49-F238E27FC236}">
                  <a16:creationId xmlns:a16="http://schemas.microsoft.com/office/drawing/2014/main" id="{5D67093F-DEE8-47E2-B7C9-3BD02E44D8D7}"/>
                </a:ext>
              </a:extLst>
            </p:cNvPr>
            <p:cNvSpPr>
              <a:spLocks/>
            </p:cNvSpPr>
            <p:nvPr/>
          </p:nvSpPr>
          <p:spPr bwMode="auto">
            <a:xfrm>
              <a:off x="6575" y="2710"/>
              <a:ext cx="3" cy="2"/>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1" y="1"/>
                    <a:pt x="1" y="1"/>
                    <a:pt x="1" y="0"/>
                  </a:cubicBezTo>
                  <a:cubicBezTo>
                    <a:pt x="1" y="0"/>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91" name="Freeform 2445">
              <a:extLst>
                <a:ext uri="{FF2B5EF4-FFF2-40B4-BE49-F238E27FC236}">
                  <a16:creationId xmlns:a16="http://schemas.microsoft.com/office/drawing/2014/main" id="{F68EAADF-3C55-42A5-8472-858AD8F0092F}"/>
                </a:ext>
              </a:extLst>
            </p:cNvPr>
            <p:cNvSpPr>
              <a:spLocks/>
            </p:cNvSpPr>
            <p:nvPr/>
          </p:nvSpPr>
          <p:spPr bwMode="auto">
            <a:xfrm>
              <a:off x="6181" y="2715"/>
              <a:ext cx="2" cy="2"/>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1"/>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92" name="Freeform 2446">
              <a:extLst>
                <a:ext uri="{FF2B5EF4-FFF2-40B4-BE49-F238E27FC236}">
                  <a16:creationId xmlns:a16="http://schemas.microsoft.com/office/drawing/2014/main" id="{CA36B3C2-F80E-48B2-B52E-F400E43CEF48}"/>
                </a:ext>
              </a:extLst>
            </p:cNvPr>
            <p:cNvSpPr>
              <a:spLocks/>
            </p:cNvSpPr>
            <p:nvPr/>
          </p:nvSpPr>
          <p:spPr bwMode="auto">
            <a:xfrm>
              <a:off x="6013" y="2738"/>
              <a:ext cx="12" cy="8"/>
            </a:xfrm>
            <a:custGeom>
              <a:avLst/>
              <a:gdLst>
                <a:gd name="T0" fmla="*/ 2 w 5"/>
                <a:gd name="T1" fmla="*/ 0 h 3"/>
                <a:gd name="T2" fmla="*/ 0 w 5"/>
                <a:gd name="T3" fmla="*/ 0 h 3"/>
                <a:gd name="T4" fmla="*/ 2 w 5"/>
                <a:gd name="T5" fmla="*/ 2 h 3"/>
                <a:gd name="T6" fmla="*/ 5 w 5"/>
                <a:gd name="T7" fmla="*/ 3 h 3"/>
                <a:gd name="T8" fmla="*/ 2 w 5"/>
                <a:gd name="T9" fmla="*/ 0 h 3"/>
              </a:gdLst>
              <a:ahLst/>
              <a:cxnLst>
                <a:cxn ang="0">
                  <a:pos x="T0" y="T1"/>
                </a:cxn>
                <a:cxn ang="0">
                  <a:pos x="T2" y="T3"/>
                </a:cxn>
                <a:cxn ang="0">
                  <a:pos x="T4" y="T5"/>
                </a:cxn>
                <a:cxn ang="0">
                  <a:pos x="T6" y="T7"/>
                </a:cxn>
                <a:cxn ang="0">
                  <a:pos x="T8" y="T9"/>
                </a:cxn>
              </a:cxnLst>
              <a:rect l="0" t="0" r="r" b="b"/>
              <a:pathLst>
                <a:path w="5" h="3">
                  <a:moveTo>
                    <a:pt x="2" y="0"/>
                  </a:moveTo>
                  <a:cubicBezTo>
                    <a:pt x="1" y="0"/>
                    <a:pt x="0" y="0"/>
                    <a:pt x="0" y="0"/>
                  </a:cubicBezTo>
                  <a:cubicBezTo>
                    <a:pt x="0" y="1"/>
                    <a:pt x="1" y="2"/>
                    <a:pt x="2" y="2"/>
                  </a:cubicBezTo>
                  <a:cubicBezTo>
                    <a:pt x="3" y="2"/>
                    <a:pt x="4" y="3"/>
                    <a:pt x="5" y="3"/>
                  </a:cubicBezTo>
                  <a:cubicBezTo>
                    <a:pt x="5" y="1"/>
                    <a:pt x="4" y="1"/>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93" name="Freeform 2447">
              <a:extLst>
                <a:ext uri="{FF2B5EF4-FFF2-40B4-BE49-F238E27FC236}">
                  <a16:creationId xmlns:a16="http://schemas.microsoft.com/office/drawing/2014/main" id="{8E1C3529-980A-4CE4-8E93-D932FCC30C71}"/>
                </a:ext>
              </a:extLst>
            </p:cNvPr>
            <p:cNvSpPr>
              <a:spLocks/>
            </p:cNvSpPr>
            <p:nvPr/>
          </p:nvSpPr>
          <p:spPr bwMode="auto">
            <a:xfrm>
              <a:off x="6649" y="2861"/>
              <a:ext cx="4" cy="3"/>
            </a:xfrm>
            <a:custGeom>
              <a:avLst/>
              <a:gdLst>
                <a:gd name="T0" fmla="*/ 1 w 2"/>
                <a:gd name="T1" fmla="*/ 0 h 1"/>
                <a:gd name="T2" fmla="*/ 0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0" y="1"/>
                    <a:pt x="0" y="1"/>
                  </a:cubicBezTo>
                  <a:cubicBezTo>
                    <a:pt x="1" y="1"/>
                    <a:pt x="1" y="1"/>
                    <a:pt x="2" y="1"/>
                  </a:cubicBezTo>
                  <a:cubicBezTo>
                    <a:pt x="2" y="1"/>
                    <a:pt x="1" y="1"/>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94" name="Freeform 2448">
              <a:extLst>
                <a:ext uri="{FF2B5EF4-FFF2-40B4-BE49-F238E27FC236}">
                  <a16:creationId xmlns:a16="http://schemas.microsoft.com/office/drawing/2014/main" id="{4C20CEEB-DED2-47F5-9B47-8F9B108B5706}"/>
                </a:ext>
              </a:extLst>
            </p:cNvPr>
            <p:cNvSpPr>
              <a:spLocks/>
            </p:cNvSpPr>
            <p:nvPr/>
          </p:nvSpPr>
          <p:spPr bwMode="auto">
            <a:xfrm>
              <a:off x="6800" y="2800"/>
              <a:ext cx="12" cy="7"/>
            </a:xfrm>
            <a:custGeom>
              <a:avLst/>
              <a:gdLst>
                <a:gd name="T0" fmla="*/ 3 w 5"/>
                <a:gd name="T1" fmla="*/ 0 h 3"/>
                <a:gd name="T2" fmla="*/ 3 w 5"/>
                <a:gd name="T3" fmla="*/ 0 h 3"/>
              </a:gdLst>
              <a:ahLst/>
              <a:cxnLst>
                <a:cxn ang="0">
                  <a:pos x="T0" y="T1"/>
                </a:cxn>
                <a:cxn ang="0">
                  <a:pos x="T2" y="T3"/>
                </a:cxn>
              </a:cxnLst>
              <a:rect l="0" t="0" r="r" b="b"/>
              <a:pathLst>
                <a:path w="5" h="3">
                  <a:moveTo>
                    <a:pt x="3" y="0"/>
                  </a:moveTo>
                  <a:cubicBezTo>
                    <a:pt x="0" y="1"/>
                    <a:pt x="5" y="3"/>
                    <a:pt x="3"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95" name="Freeform 2449">
              <a:extLst>
                <a:ext uri="{FF2B5EF4-FFF2-40B4-BE49-F238E27FC236}">
                  <a16:creationId xmlns:a16="http://schemas.microsoft.com/office/drawing/2014/main" id="{04750B74-DC10-4316-9899-D8C82387275A}"/>
                </a:ext>
              </a:extLst>
            </p:cNvPr>
            <p:cNvSpPr>
              <a:spLocks/>
            </p:cNvSpPr>
            <p:nvPr/>
          </p:nvSpPr>
          <p:spPr bwMode="auto">
            <a:xfrm>
              <a:off x="6798" y="2833"/>
              <a:ext cx="0" cy="2"/>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96" name="Freeform 2450">
              <a:extLst>
                <a:ext uri="{FF2B5EF4-FFF2-40B4-BE49-F238E27FC236}">
                  <a16:creationId xmlns:a16="http://schemas.microsoft.com/office/drawing/2014/main" id="{CCC9CA54-AA44-493E-9292-8EBAEA1A4C6E}"/>
                </a:ext>
              </a:extLst>
            </p:cNvPr>
            <p:cNvSpPr>
              <a:spLocks/>
            </p:cNvSpPr>
            <p:nvPr/>
          </p:nvSpPr>
          <p:spPr bwMode="auto">
            <a:xfrm>
              <a:off x="6058" y="2748"/>
              <a:ext cx="7" cy="7"/>
            </a:xfrm>
            <a:custGeom>
              <a:avLst/>
              <a:gdLst>
                <a:gd name="T0" fmla="*/ 1 w 3"/>
                <a:gd name="T1" fmla="*/ 1 h 3"/>
                <a:gd name="T2" fmla="*/ 0 w 3"/>
                <a:gd name="T3" fmla="*/ 1 h 3"/>
                <a:gd name="T4" fmla="*/ 3 w 3"/>
                <a:gd name="T5" fmla="*/ 1 h 3"/>
                <a:gd name="T6" fmla="*/ 1 w 3"/>
                <a:gd name="T7" fmla="*/ 1 h 3"/>
              </a:gdLst>
              <a:ahLst/>
              <a:cxnLst>
                <a:cxn ang="0">
                  <a:pos x="T0" y="T1"/>
                </a:cxn>
                <a:cxn ang="0">
                  <a:pos x="T2" y="T3"/>
                </a:cxn>
                <a:cxn ang="0">
                  <a:pos x="T4" y="T5"/>
                </a:cxn>
                <a:cxn ang="0">
                  <a:pos x="T6" y="T7"/>
                </a:cxn>
              </a:cxnLst>
              <a:rect l="0" t="0" r="r" b="b"/>
              <a:pathLst>
                <a:path w="3" h="3">
                  <a:moveTo>
                    <a:pt x="1" y="1"/>
                  </a:moveTo>
                  <a:cubicBezTo>
                    <a:pt x="0" y="1"/>
                    <a:pt x="0" y="1"/>
                    <a:pt x="0" y="1"/>
                  </a:cubicBezTo>
                  <a:cubicBezTo>
                    <a:pt x="1" y="3"/>
                    <a:pt x="2" y="3"/>
                    <a:pt x="3" y="1"/>
                  </a:cubicBezTo>
                  <a:cubicBezTo>
                    <a:pt x="2" y="1"/>
                    <a:pt x="1" y="0"/>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97" name="Freeform 2451">
              <a:extLst>
                <a:ext uri="{FF2B5EF4-FFF2-40B4-BE49-F238E27FC236}">
                  <a16:creationId xmlns:a16="http://schemas.microsoft.com/office/drawing/2014/main" id="{6EDBF792-B69B-4973-A8B9-79C6C1DFD2C9}"/>
                </a:ext>
              </a:extLst>
            </p:cNvPr>
            <p:cNvSpPr>
              <a:spLocks/>
            </p:cNvSpPr>
            <p:nvPr/>
          </p:nvSpPr>
          <p:spPr bwMode="auto">
            <a:xfrm>
              <a:off x="6067" y="2748"/>
              <a:ext cx="10" cy="12"/>
            </a:xfrm>
            <a:custGeom>
              <a:avLst/>
              <a:gdLst>
                <a:gd name="T0" fmla="*/ 0 w 4"/>
                <a:gd name="T1" fmla="*/ 1 h 5"/>
                <a:gd name="T2" fmla="*/ 1 w 4"/>
                <a:gd name="T3" fmla="*/ 2 h 5"/>
                <a:gd name="T4" fmla="*/ 3 w 4"/>
                <a:gd name="T5" fmla="*/ 3 h 5"/>
                <a:gd name="T6" fmla="*/ 4 w 4"/>
                <a:gd name="T7" fmla="*/ 3 h 5"/>
                <a:gd name="T8" fmla="*/ 4 w 4"/>
                <a:gd name="T9" fmla="*/ 1 h 5"/>
                <a:gd name="T10" fmla="*/ 3 w 4"/>
                <a:gd name="T11" fmla="*/ 0 h 5"/>
                <a:gd name="T12" fmla="*/ 0 w 4"/>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0" y="1"/>
                  </a:moveTo>
                  <a:cubicBezTo>
                    <a:pt x="0" y="1"/>
                    <a:pt x="0" y="2"/>
                    <a:pt x="1" y="2"/>
                  </a:cubicBezTo>
                  <a:cubicBezTo>
                    <a:pt x="2" y="2"/>
                    <a:pt x="2" y="5"/>
                    <a:pt x="3" y="3"/>
                  </a:cubicBezTo>
                  <a:cubicBezTo>
                    <a:pt x="4" y="3"/>
                    <a:pt x="4" y="3"/>
                    <a:pt x="4" y="3"/>
                  </a:cubicBezTo>
                  <a:cubicBezTo>
                    <a:pt x="4" y="2"/>
                    <a:pt x="4" y="2"/>
                    <a:pt x="4" y="1"/>
                  </a:cubicBezTo>
                  <a:cubicBezTo>
                    <a:pt x="4" y="1"/>
                    <a:pt x="3" y="0"/>
                    <a:pt x="3" y="0"/>
                  </a:cubicBezTo>
                  <a:cubicBezTo>
                    <a:pt x="2" y="0"/>
                    <a:pt x="1"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98" name="Freeform 2452">
              <a:extLst>
                <a:ext uri="{FF2B5EF4-FFF2-40B4-BE49-F238E27FC236}">
                  <a16:creationId xmlns:a16="http://schemas.microsoft.com/office/drawing/2014/main" id="{94C7C8B1-5154-4B94-9C79-3D69BD9B4569}"/>
                </a:ext>
              </a:extLst>
            </p:cNvPr>
            <p:cNvSpPr>
              <a:spLocks/>
            </p:cNvSpPr>
            <p:nvPr/>
          </p:nvSpPr>
          <p:spPr bwMode="auto">
            <a:xfrm>
              <a:off x="5923" y="2779"/>
              <a:ext cx="5" cy="7"/>
            </a:xfrm>
            <a:custGeom>
              <a:avLst/>
              <a:gdLst>
                <a:gd name="T0" fmla="*/ 0 w 2"/>
                <a:gd name="T1" fmla="*/ 0 h 3"/>
                <a:gd name="T2" fmla="*/ 2 w 2"/>
                <a:gd name="T3" fmla="*/ 3 h 3"/>
                <a:gd name="T4" fmla="*/ 0 w 2"/>
                <a:gd name="T5" fmla="*/ 0 h 3"/>
              </a:gdLst>
              <a:ahLst/>
              <a:cxnLst>
                <a:cxn ang="0">
                  <a:pos x="T0" y="T1"/>
                </a:cxn>
                <a:cxn ang="0">
                  <a:pos x="T2" y="T3"/>
                </a:cxn>
                <a:cxn ang="0">
                  <a:pos x="T4" y="T5"/>
                </a:cxn>
              </a:cxnLst>
              <a:rect l="0" t="0" r="r" b="b"/>
              <a:pathLst>
                <a:path w="2" h="3">
                  <a:moveTo>
                    <a:pt x="0" y="0"/>
                  </a:moveTo>
                  <a:cubicBezTo>
                    <a:pt x="1" y="1"/>
                    <a:pt x="2" y="2"/>
                    <a:pt x="2" y="3"/>
                  </a:cubicBezTo>
                  <a:cubicBezTo>
                    <a:pt x="2" y="3"/>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99" name="Freeform 2453">
              <a:extLst>
                <a:ext uri="{FF2B5EF4-FFF2-40B4-BE49-F238E27FC236}">
                  <a16:creationId xmlns:a16="http://schemas.microsoft.com/office/drawing/2014/main" id="{592A14D9-E0C2-43A2-A7C0-2B67314C51F8}"/>
                </a:ext>
              </a:extLst>
            </p:cNvPr>
            <p:cNvSpPr>
              <a:spLocks/>
            </p:cNvSpPr>
            <p:nvPr/>
          </p:nvSpPr>
          <p:spPr bwMode="auto">
            <a:xfrm>
              <a:off x="6578" y="2686"/>
              <a:ext cx="7" cy="10"/>
            </a:xfrm>
            <a:custGeom>
              <a:avLst/>
              <a:gdLst>
                <a:gd name="T0" fmla="*/ 0 w 3"/>
                <a:gd name="T1" fmla="*/ 0 h 4"/>
                <a:gd name="T2" fmla="*/ 2 w 3"/>
                <a:gd name="T3" fmla="*/ 4 h 4"/>
                <a:gd name="T4" fmla="*/ 2 w 3"/>
                <a:gd name="T5" fmla="*/ 2 h 4"/>
                <a:gd name="T6" fmla="*/ 0 w 3"/>
                <a:gd name="T7" fmla="*/ 0 h 4"/>
              </a:gdLst>
              <a:ahLst/>
              <a:cxnLst>
                <a:cxn ang="0">
                  <a:pos x="T0" y="T1"/>
                </a:cxn>
                <a:cxn ang="0">
                  <a:pos x="T2" y="T3"/>
                </a:cxn>
                <a:cxn ang="0">
                  <a:pos x="T4" y="T5"/>
                </a:cxn>
                <a:cxn ang="0">
                  <a:pos x="T6" y="T7"/>
                </a:cxn>
              </a:cxnLst>
              <a:rect l="0" t="0" r="r" b="b"/>
              <a:pathLst>
                <a:path w="3" h="4">
                  <a:moveTo>
                    <a:pt x="0" y="0"/>
                  </a:moveTo>
                  <a:cubicBezTo>
                    <a:pt x="1" y="2"/>
                    <a:pt x="2" y="3"/>
                    <a:pt x="2" y="4"/>
                  </a:cubicBezTo>
                  <a:cubicBezTo>
                    <a:pt x="3" y="3"/>
                    <a:pt x="3" y="3"/>
                    <a:pt x="2" y="2"/>
                  </a:cubicBezTo>
                  <a:cubicBezTo>
                    <a:pt x="2" y="1"/>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00" name="Freeform 2454">
              <a:extLst>
                <a:ext uri="{FF2B5EF4-FFF2-40B4-BE49-F238E27FC236}">
                  <a16:creationId xmlns:a16="http://schemas.microsoft.com/office/drawing/2014/main" id="{C83C7726-D1AD-41A2-8503-1CA25FF93DA9}"/>
                </a:ext>
              </a:extLst>
            </p:cNvPr>
            <p:cNvSpPr>
              <a:spLocks/>
            </p:cNvSpPr>
            <p:nvPr/>
          </p:nvSpPr>
          <p:spPr bwMode="auto">
            <a:xfrm>
              <a:off x="6486" y="2788"/>
              <a:ext cx="7" cy="2"/>
            </a:xfrm>
            <a:custGeom>
              <a:avLst/>
              <a:gdLst>
                <a:gd name="T0" fmla="*/ 0 w 3"/>
                <a:gd name="T1" fmla="*/ 1 h 1"/>
                <a:gd name="T2" fmla="*/ 3 w 3"/>
                <a:gd name="T3" fmla="*/ 0 h 1"/>
                <a:gd name="T4" fmla="*/ 1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1" y="1"/>
                    <a:pt x="2" y="1"/>
                    <a:pt x="3" y="0"/>
                  </a:cubicBezTo>
                  <a:cubicBezTo>
                    <a:pt x="2" y="0"/>
                    <a:pt x="2" y="0"/>
                    <a:pt x="1" y="0"/>
                  </a:cubicBezTo>
                  <a:cubicBezTo>
                    <a:pt x="1" y="0"/>
                    <a:pt x="1"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01" name="Freeform 2455">
              <a:extLst>
                <a:ext uri="{FF2B5EF4-FFF2-40B4-BE49-F238E27FC236}">
                  <a16:creationId xmlns:a16="http://schemas.microsoft.com/office/drawing/2014/main" id="{02ADB245-D576-4F6E-879D-38A6323AD9B6}"/>
                </a:ext>
              </a:extLst>
            </p:cNvPr>
            <p:cNvSpPr>
              <a:spLocks/>
            </p:cNvSpPr>
            <p:nvPr/>
          </p:nvSpPr>
          <p:spPr bwMode="auto">
            <a:xfrm>
              <a:off x="6176" y="2705"/>
              <a:ext cx="2" cy="3"/>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1" y="1"/>
                    <a:pt x="1" y="1"/>
                    <a:pt x="1" y="0"/>
                  </a:cubicBezTo>
                  <a:cubicBezTo>
                    <a:pt x="1" y="0"/>
                    <a:pt x="0"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02" name="Freeform 2456">
              <a:extLst>
                <a:ext uri="{FF2B5EF4-FFF2-40B4-BE49-F238E27FC236}">
                  <a16:creationId xmlns:a16="http://schemas.microsoft.com/office/drawing/2014/main" id="{97F936F8-BE75-4FC3-8064-50F8F35EDF4A}"/>
                </a:ext>
              </a:extLst>
            </p:cNvPr>
            <p:cNvSpPr>
              <a:spLocks/>
            </p:cNvSpPr>
            <p:nvPr/>
          </p:nvSpPr>
          <p:spPr bwMode="auto">
            <a:xfrm>
              <a:off x="6412" y="2722"/>
              <a:ext cx="3" cy="2"/>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1"/>
                    <a:pt x="0" y="0"/>
                    <a:pt x="0" y="0"/>
                  </a:cubicBezTo>
                  <a:cubicBezTo>
                    <a:pt x="0" y="0"/>
                    <a:pt x="1" y="1"/>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03" name="Freeform 2457">
              <a:extLst>
                <a:ext uri="{FF2B5EF4-FFF2-40B4-BE49-F238E27FC236}">
                  <a16:creationId xmlns:a16="http://schemas.microsoft.com/office/drawing/2014/main" id="{B49B67BA-CFF0-4E1E-B973-B29B75DBF4F1}"/>
                </a:ext>
              </a:extLst>
            </p:cNvPr>
            <p:cNvSpPr>
              <a:spLocks/>
            </p:cNvSpPr>
            <p:nvPr/>
          </p:nvSpPr>
          <p:spPr bwMode="auto">
            <a:xfrm>
              <a:off x="6190" y="2800"/>
              <a:ext cx="9" cy="7"/>
            </a:xfrm>
            <a:custGeom>
              <a:avLst/>
              <a:gdLst>
                <a:gd name="T0" fmla="*/ 3 w 4"/>
                <a:gd name="T1" fmla="*/ 1 h 3"/>
                <a:gd name="T2" fmla="*/ 3 w 4"/>
                <a:gd name="T3" fmla="*/ 0 h 3"/>
                <a:gd name="T4" fmla="*/ 1 w 4"/>
                <a:gd name="T5" fmla="*/ 0 h 3"/>
                <a:gd name="T6" fmla="*/ 1 w 4"/>
                <a:gd name="T7" fmla="*/ 0 h 3"/>
                <a:gd name="T8" fmla="*/ 1 w 4"/>
                <a:gd name="T9" fmla="*/ 0 h 3"/>
                <a:gd name="T10" fmla="*/ 1 w 4"/>
                <a:gd name="T11" fmla="*/ 0 h 3"/>
                <a:gd name="T12" fmla="*/ 1 w 4"/>
                <a:gd name="T13" fmla="*/ 0 h 3"/>
                <a:gd name="T14" fmla="*/ 1 w 4"/>
                <a:gd name="T15" fmla="*/ 1 h 3"/>
                <a:gd name="T16" fmla="*/ 0 w 4"/>
                <a:gd name="T17" fmla="*/ 3 h 3"/>
                <a:gd name="T18" fmla="*/ 4 w 4"/>
                <a:gd name="T19" fmla="*/ 2 h 3"/>
                <a:gd name="T20" fmla="*/ 4 w 4"/>
                <a:gd name="T21" fmla="*/ 2 h 3"/>
                <a:gd name="T22" fmla="*/ 4 w 4"/>
                <a:gd name="T23" fmla="*/ 1 h 3"/>
                <a:gd name="T24" fmla="*/ 4 w 4"/>
                <a:gd name="T25" fmla="*/ 1 h 3"/>
                <a:gd name="T26" fmla="*/ 4 w 4"/>
                <a:gd name="T27" fmla="*/ 1 h 3"/>
                <a:gd name="T28" fmla="*/ 3 w 4"/>
                <a:gd name="T2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3">
                  <a:moveTo>
                    <a:pt x="3" y="1"/>
                  </a:moveTo>
                  <a:cubicBezTo>
                    <a:pt x="3" y="1"/>
                    <a:pt x="3" y="1"/>
                    <a:pt x="3" y="0"/>
                  </a:cubicBezTo>
                  <a:cubicBezTo>
                    <a:pt x="2" y="0"/>
                    <a:pt x="2" y="0"/>
                    <a:pt x="1" y="0"/>
                  </a:cubicBezTo>
                  <a:cubicBezTo>
                    <a:pt x="1" y="0"/>
                    <a:pt x="1" y="0"/>
                    <a:pt x="1" y="0"/>
                  </a:cubicBezTo>
                  <a:cubicBezTo>
                    <a:pt x="1" y="0"/>
                    <a:pt x="1" y="0"/>
                    <a:pt x="1" y="0"/>
                  </a:cubicBezTo>
                  <a:cubicBezTo>
                    <a:pt x="1" y="0"/>
                    <a:pt x="1" y="0"/>
                    <a:pt x="1" y="0"/>
                  </a:cubicBezTo>
                  <a:cubicBezTo>
                    <a:pt x="1" y="0"/>
                    <a:pt x="1" y="0"/>
                    <a:pt x="1" y="0"/>
                  </a:cubicBezTo>
                  <a:cubicBezTo>
                    <a:pt x="1" y="0"/>
                    <a:pt x="1" y="1"/>
                    <a:pt x="1" y="1"/>
                  </a:cubicBezTo>
                  <a:cubicBezTo>
                    <a:pt x="1" y="1"/>
                    <a:pt x="1" y="2"/>
                    <a:pt x="0" y="3"/>
                  </a:cubicBezTo>
                  <a:cubicBezTo>
                    <a:pt x="1" y="3"/>
                    <a:pt x="3" y="3"/>
                    <a:pt x="4" y="2"/>
                  </a:cubicBezTo>
                  <a:cubicBezTo>
                    <a:pt x="4" y="2"/>
                    <a:pt x="4" y="2"/>
                    <a:pt x="4" y="2"/>
                  </a:cubicBezTo>
                  <a:cubicBezTo>
                    <a:pt x="4" y="2"/>
                    <a:pt x="4" y="2"/>
                    <a:pt x="4" y="1"/>
                  </a:cubicBezTo>
                  <a:cubicBezTo>
                    <a:pt x="4" y="1"/>
                    <a:pt x="4" y="1"/>
                    <a:pt x="4" y="1"/>
                  </a:cubicBezTo>
                  <a:cubicBezTo>
                    <a:pt x="4" y="1"/>
                    <a:pt x="4" y="1"/>
                    <a:pt x="4" y="1"/>
                  </a:cubicBezTo>
                  <a:cubicBezTo>
                    <a:pt x="4" y="1"/>
                    <a:pt x="3" y="1"/>
                    <a:pt x="3"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04" name="Freeform 2458">
              <a:extLst>
                <a:ext uri="{FF2B5EF4-FFF2-40B4-BE49-F238E27FC236}">
                  <a16:creationId xmlns:a16="http://schemas.microsoft.com/office/drawing/2014/main" id="{C3207A6D-F8C8-4A58-85F2-B1F52AF95C8C}"/>
                </a:ext>
              </a:extLst>
            </p:cNvPr>
            <p:cNvSpPr>
              <a:spLocks/>
            </p:cNvSpPr>
            <p:nvPr/>
          </p:nvSpPr>
          <p:spPr bwMode="auto">
            <a:xfrm>
              <a:off x="6618" y="2783"/>
              <a:ext cx="5" cy="7"/>
            </a:xfrm>
            <a:custGeom>
              <a:avLst/>
              <a:gdLst>
                <a:gd name="T0" fmla="*/ 0 w 2"/>
                <a:gd name="T1" fmla="*/ 2 h 3"/>
                <a:gd name="T2" fmla="*/ 0 w 2"/>
                <a:gd name="T3" fmla="*/ 3 h 3"/>
                <a:gd name="T4" fmla="*/ 2 w 2"/>
                <a:gd name="T5" fmla="*/ 0 h 3"/>
                <a:gd name="T6" fmla="*/ 0 w 2"/>
                <a:gd name="T7" fmla="*/ 2 h 3"/>
              </a:gdLst>
              <a:ahLst/>
              <a:cxnLst>
                <a:cxn ang="0">
                  <a:pos x="T0" y="T1"/>
                </a:cxn>
                <a:cxn ang="0">
                  <a:pos x="T2" y="T3"/>
                </a:cxn>
                <a:cxn ang="0">
                  <a:pos x="T4" y="T5"/>
                </a:cxn>
                <a:cxn ang="0">
                  <a:pos x="T6" y="T7"/>
                </a:cxn>
              </a:cxnLst>
              <a:rect l="0" t="0" r="r" b="b"/>
              <a:pathLst>
                <a:path w="2" h="3">
                  <a:moveTo>
                    <a:pt x="0" y="2"/>
                  </a:moveTo>
                  <a:cubicBezTo>
                    <a:pt x="0" y="2"/>
                    <a:pt x="0" y="3"/>
                    <a:pt x="0" y="3"/>
                  </a:cubicBezTo>
                  <a:cubicBezTo>
                    <a:pt x="2" y="3"/>
                    <a:pt x="2" y="1"/>
                    <a:pt x="2" y="0"/>
                  </a:cubicBezTo>
                  <a:cubicBezTo>
                    <a:pt x="0" y="0"/>
                    <a:pt x="0"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05" name="Freeform 2459">
              <a:extLst>
                <a:ext uri="{FF2B5EF4-FFF2-40B4-BE49-F238E27FC236}">
                  <a16:creationId xmlns:a16="http://schemas.microsoft.com/office/drawing/2014/main" id="{BDEAFE51-16A7-4B17-9258-43DAF6B10F19}"/>
                </a:ext>
              </a:extLst>
            </p:cNvPr>
            <p:cNvSpPr>
              <a:spLocks/>
            </p:cNvSpPr>
            <p:nvPr/>
          </p:nvSpPr>
          <p:spPr bwMode="auto">
            <a:xfrm>
              <a:off x="6015" y="2904"/>
              <a:ext cx="7" cy="5"/>
            </a:xfrm>
            <a:custGeom>
              <a:avLst/>
              <a:gdLst>
                <a:gd name="T0" fmla="*/ 0 w 3"/>
                <a:gd name="T1" fmla="*/ 1 h 2"/>
                <a:gd name="T2" fmla="*/ 3 w 3"/>
                <a:gd name="T3" fmla="*/ 2 h 2"/>
                <a:gd name="T4" fmla="*/ 0 w 3"/>
                <a:gd name="T5" fmla="*/ 1 h 2"/>
              </a:gdLst>
              <a:ahLst/>
              <a:cxnLst>
                <a:cxn ang="0">
                  <a:pos x="T0" y="T1"/>
                </a:cxn>
                <a:cxn ang="0">
                  <a:pos x="T2" y="T3"/>
                </a:cxn>
                <a:cxn ang="0">
                  <a:pos x="T4" y="T5"/>
                </a:cxn>
              </a:cxnLst>
              <a:rect l="0" t="0" r="r" b="b"/>
              <a:pathLst>
                <a:path w="3" h="2">
                  <a:moveTo>
                    <a:pt x="0" y="1"/>
                  </a:moveTo>
                  <a:cubicBezTo>
                    <a:pt x="1" y="1"/>
                    <a:pt x="2" y="2"/>
                    <a:pt x="3" y="2"/>
                  </a:cubicBezTo>
                  <a:cubicBezTo>
                    <a:pt x="3" y="1"/>
                    <a:pt x="1"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06" name="Freeform 2460">
              <a:extLst>
                <a:ext uri="{FF2B5EF4-FFF2-40B4-BE49-F238E27FC236}">
                  <a16:creationId xmlns:a16="http://schemas.microsoft.com/office/drawing/2014/main" id="{7F6EE6D7-E4BF-4334-9AEF-8999F7754DBD}"/>
                </a:ext>
              </a:extLst>
            </p:cNvPr>
            <p:cNvSpPr>
              <a:spLocks/>
            </p:cNvSpPr>
            <p:nvPr/>
          </p:nvSpPr>
          <p:spPr bwMode="auto">
            <a:xfrm>
              <a:off x="6812" y="2812"/>
              <a:ext cx="5" cy="2"/>
            </a:xfrm>
            <a:custGeom>
              <a:avLst/>
              <a:gdLst>
                <a:gd name="T0" fmla="*/ 0 w 2"/>
                <a:gd name="T1" fmla="*/ 0 h 1"/>
                <a:gd name="T2" fmla="*/ 2 w 2"/>
                <a:gd name="T3" fmla="*/ 1 h 1"/>
                <a:gd name="T4" fmla="*/ 0 w 2"/>
                <a:gd name="T5" fmla="*/ 0 h 1"/>
              </a:gdLst>
              <a:ahLst/>
              <a:cxnLst>
                <a:cxn ang="0">
                  <a:pos x="T0" y="T1"/>
                </a:cxn>
                <a:cxn ang="0">
                  <a:pos x="T2" y="T3"/>
                </a:cxn>
                <a:cxn ang="0">
                  <a:pos x="T4" y="T5"/>
                </a:cxn>
              </a:cxnLst>
              <a:rect l="0" t="0" r="r" b="b"/>
              <a:pathLst>
                <a:path w="2" h="1">
                  <a:moveTo>
                    <a:pt x="0" y="0"/>
                  </a:moveTo>
                  <a:cubicBezTo>
                    <a:pt x="1" y="1"/>
                    <a:pt x="1" y="1"/>
                    <a:pt x="2" y="1"/>
                  </a:cubicBezTo>
                  <a:cubicBezTo>
                    <a:pt x="1" y="1"/>
                    <a:pt x="1"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07" name="Freeform 2461">
              <a:extLst>
                <a:ext uri="{FF2B5EF4-FFF2-40B4-BE49-F238E27FC236}">
                  <a16:creationId xmlns:a16="http://schemas.microsoft.com/office/drawing/2014/main" id="{E37E576C-84AB-43ED-A224-E0A39BC40FBC}"/>
                </a:ext>
              </a:extLst>
            </p:cNvPr>
            <p:cNvSpPr>
              <a:spLocks/>
            </p:cNvSpPr>
            <p:nvPr/>
          </p:nvSpPr>
          <p:spPr bwMode="auto">
            <a:xfrm>
              <a:off x="6526" y="3022"/>
              <a:ext cx="2" cy="5"/>
            </a:xfrm>
            <a:custGeom>
              <a:avLst/>
              <a:gdLst>
                <a:gd name="T0" fmla="*/ 0 w 1"/>
                <a:gd name="T1" fmla="*/ 2 h 2"/>
                <a:gd name="T2" fmla="*/ 1 w 1"/>
                <a:gd name="T3" fmla="*/ 0 h 2"/>
                <a:gd name="T4" fmla="*/ 0 w 1"/>
                <a:gd name="T5" fmla="*/ 2 h 2"/>
              </a:gdLst>
              <a:ahLst/>
              <a:cxnLst>
                <a:cxn ang="0">
                  <a:pos x="T0" y="T1"/>
                </a:cxn>
                <a:cxn ang="0">
                  <a:pos x="T2" y="T3"/>
                </a:cxn>
                <a:cxn ang="0">
                  <a:pos x="T4" y="T5"/>
                </a:cxn>
              </a:cxnLst>
              <a:rect l="0" t="0" r="r" b="b"/>
              <a:pathLst>
                <a:path w="1" h="2">
                  <a:moveTo>
                    <a:pt x="0" y="2"/>
                  </a:moveTo>
                  <a:cubicBezTo>
                    <a:pt x="1" y="2"/>
                    <a:pt x="1" y="1"/>
                    <a:pt x="1" y="0"/>
                  </a:cubicBezTo>
                  <a:cubicBezTo>
                    <a:pt x="1" y="1"/>
                    <a:pt x="0"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08" name="Freeform 2462">
              <a:extLst>
                <a:ext uri="{FF2B5EF4-FFF2-40B4-BE49-F238E27FC236}">
                  <a16:creationId xmlns:a16="http://schemas.microsoft.com/office/drawing/2014/main" id="{25C2CEC1-F7E9-4A0E-B962-1C16599DFF55}"/>
                </a:ext>
              </a:extLst>
            </p:cNvPr>
            <p:cNvSpPr>
              <a:spLocks/>
            </p:cNvSpPr>
            <p:nvPr/>
          </p:nvSpPr>
          <p:spPr bwMode="auto">
            <a:xfrm>
              <a:off x="6058" y="2753"/>
              <a:ext cx="2" cy="2"/>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1" y="1"/>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09" name="Freeform 2463">
              <a:extLst>
                <a:ext uri="{FF2B5EF4-FFF2-40B4-BE49-F238E27FC236}">
                  <a16:creationId xmlns:a16="http://schemas.microsoft.com/office/drawing/2014/main" id="{F8BFE99D-F3D5-40B7-9356-5B6FDFF98877}"/>
                </a:ext>
              </a:extLst>
            </p:cNvPr>
            <p:cNvSpPr>
              <a:spLocks/>
            </p:cNvSpPr>
            <p:nvPr/>
          </p:nvSpPr>
          <p:spPr bwMode="auto">
            <a:xfrm>
              <a:off x="6788" y="2819"/>
              <a:ext cx="3" cy="5"/>
            </a:xfrm>
            <a:custGeom>
              <a:avLst/>
              <a:gdLst>
                <a:gd name="T0" fmla="*/ 0 w 1"/>
                <a:gd name="T1" fmla="*/ 2 h 2"/>
                <a:gd name="T2" fmla="*/ 1 w 1"/>
                <a:gd name="T3" fmla="*/ 0 h 2"/>
                <a:gd name="T4" fmla="*/ 0 w 1"/>
                <a:gd name="T5" fmla="*/ 2 h 2"/>
              </a:gdLst>
              <a:ahLst/>
              <a:cxnLst>
                <a:cxn ang="0">
                  <a:pos x="T0" y="T1"/>
                </a:cxn>
                <a:cxn ang="0">
                  <a:pos x="T2" y="T3"/>
                </a:cxn>
                <a:cxn ang="0">
                  <a:pos x="T4" y="T5"/>
                </a:cxn>
              </a:cxnLst>
              <a:rect l="0" t="0" r="r" b="b"/>
              <a:pathLst>
                <a:path w="1" h="2">
                  <a:moveTo>
                    <a:pt x="0" y="2"/>
                  </a:moveTo>
                  <a:cubicBezTo>
                    <a:pt x="1" y="2"/>
                    <a:pt x="1" y="1"/>
                    <a:pt x="1" y="0"/>
                  </a:cubicBezTo>
                  <a:cubicBezTo>
                    <a:pt x="0" y="1"/>
                    <a:pt x="0"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10" name="Freeform 2464">
              <a:extLst>
                <a:ext uri="{FF2B5EF4-FFF2-40B4-BE49-F238E27FC236}">
                  <a16:creationId xmlns:a16="http://schemas.microsoft.com/office/drawing/2014/main" id="{BBD5D0F6-CDC5-432D-9B43-0D1232DC844F}"/>
                </a:ext>
              </a:extLst>
            </p:cNvPr>
            <p:cNvSpPr>
              <a:spLocks/>
            </p:cNvSpPr>
            <p:nvPr/>
          </p:nvSpPr>
          <p:spPr bwMode="auto">
            <a:xfrm>
              <a:off x="6088" y="2935"/>
              <a:ext cx="3" cy="2"/>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0" y="1"/>
                  </a:cubicBezTo>
                  <a:cubicBezTo>
                    <a:pt x="0" y="1"/>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11" name="Freeform 2465">
              <a:extLst>
                <a:ext uri="{FF2B5EF4-FFF2-40B4-BE49-F238E27FC236}">
                  <a16:creationId xmlns:a16="http://schemas.microsoft.com/office/drawing/2014/main" id="{AC9D83E2-430E-409A-BA0D-7B768999F990}"/>
                </a:ext>
              </a:extLst>
            </p:cNvPr>
            <p:cNvSpPr>
              <a:spLocks/>
            </p:cNvSpPr>
            <p:nvPr/>
          </p:nvSpPr>
          <p:spPr bwMode="auto">
            <a:xfrm>
              <a:off x="6062" y="2755"/>
              <a:ext cx="5" cy="2"/>
            </a:xfrm>
            <a:custGeom>
              <a:avLst/>
              <a:gdLst>
                <a:gd name="T0" fmla="*/ 1 w 2"/>
                <a:gd name="T1" fmla="*/ 1 h 1"/>
                <a:gd name="T2" fmla="*/ 2 w 2"/>
                <a:gd name="T3" fmla="*/ 1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2" y="1"/>
                    <a:pt x="2" y="1"/>
                  </a:cubicBezTo>
                  <a:cubicBezTo>
                    <a:pt x="1" y="0"/>
                    <a:pt x="1" y="0"/>
                    <a:pt x="0" y="0"/>
                  </a:cubicBezTo>
                  <a:cubicBezTo>
                    <a:pt x="0" y="0"/>
                    <a:pt x="1" y="1"/>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12" name="Freeform 2466">
              <a:extLst>
                <a:ext uri="{FF2B5EF4-FFF2-40B4-BE49-F238E27FC236}">
                  <a16:creationId xmlns:a16="http://schemas.microsoft.com/office/drawing/2014/main" id="{CFBD68B7-3745-4425-BDF1-A9022D29386F}"/>
                </a:ext>
              </a:extLst>
            </p:cNvPr>
            <p:cNvSpPr>
              <a:spLocks/>
            </p:cNvSpPr>
            <p:nvPr/>
          </p:nvSpPr>
          <p:spPr bwMode="auto">
            <a:xfrm>
              <a:off x="6677" y="2966"/>
              <a:ext cx="10" cy="7"/>
            </a:xfrm>
            <a:custGeom>
              <a:avLst/>
              <a:gdLst>
                <a:gd name="T0" fmla="*/ 2 w 4"/>
                <a:gd name="T1" fmla="*/ 3 h 3"/>
                <a:gd name="T2" fmla="*/ 3 w 4"/>
                <a:gd name="T3" fmla="*/ 2 h 3"/>
                <a:gd name="T4" fmla="*/ 1 w 4"/>
                <a:gd name="T5" fmla="*/ 0 h 3"/>
                <a:gd name="T6" fmla="*/ 2 w 4"/>
                <a:gd name="T7" fmla="*/ 3 h 3"/>
              </a:gdLst>
              <a:ahLst/>
              <a:cxnLst>
                <a:cxn ang="0">
                  <a:pos x="T0" y="T1"/>
                </a:cxn>
                <a:cxn ang="0">
                  <a:pos x="T2" y="T3"/>
                </a:cxn>
                <a:cxn ang="0">
                  <a:pos x="T4" y="T5"/>
                </a:cxn>
                <a:cxn ang="0">
                  <a:pos x="T6" y="T7"/>
                </a:cxn>
              </a:cxnLst>
              <a:rect l="0" t="0" r="r" b="b"/>
              <a:pathLst>
                <a:path w="4" h="3">
                  <a:moveTo>
                    <a:pt x="2" y="3"/>
                  </a:moveTo>
                  <a:cubicBezTo>
                    <a:pt x="2" y="3"/>
                    <a:pt x="3" y="3"/>
                    <a:pt x="3" y="2"/>
                  </a:cubicBezTo>
                  <a:cubicBezTo>
                    <a:pt x="4" y="0"/>
                    <a:pt x="2" y="0"/>
                    <a:pt x="1" y="0"/>
                  </a:cubicBezTo>
                  <a:cubicBezTo>
                    <a:pt x="0" y="1"/>
                    <a:pt x="1" y="2"/>
                    <a:pt x="2"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13" name="Freeform 2467">
              <a:extLst>
                <a:ext uri="{FF2B5EF4-FFF2-40B4-BE49-F238E27FC236}">
                  <a16:creationId xmlns:a16="http://schemas.microsoft.com/office/drawing/2014/main" id="{E6B7AFA5-345A-4D0D-A177-5E14C3AD7A33}"/>
                </a:ext>
              </a:extLst>
            </p:cNvPr>
            <p:cNvSpPr>
              <a:spLocks/>
            </p:cNvSpPr>
            <p:nvPr/>
          </p:nvSpPr>
          <p:spPr bwMode="auto">
            <a:xfrm>
              <a:off x="6653" y="2861"/>
              <a:ext cx="5" cy="5"/>
            </a:xfrm>
            <a:custGeom>
              <a:avLst/>
              <a:gdLst>
                <a:gd name="T0" fmla="*/ 2 w 2"/>
                <a:gd name="T1" fmla="*/ 1 h 2"/>
                <a:gd name="T2" fmla="*/ 0 w 2"/>
                <a:gd name="T3" fmla="*/ 0 h 2"/>
                <a:gd name="T4" fmla="*/ 2 w 2"/>
                <a:gd name="T5" fmla="*/ 1 h 2"/>
              </a:gdLst>
              <a:ahLst/>
              <a:cxnLst>
                <a:cxn ang="0">
                  <a:pos x="T0" y="T1"/>
                </a:cxn>
                <a:cxn ang="0">
                  <a:pos x="T2" y="T3"/>
                </a:cxn>
                <a:cxn ang="0">
                  <a:pos x="T4" y="T5"/>
                </a:cxn>
              </a:cxnLst>
              <a:rect l="0" t="0" r="r" b="b"/>
              <a:pathLst>
                <a:path w="2" h="2">
                  <a:moveTo>
                    <a:pt x="2" y="1"/>
                  </a:moveTo>
                  <a:cubicBezTo>
                    <a:pt x="1" y="1"/>
                    <a:pt x="1" y="0"/>
                    <a:pt x="0" y="0"/>
                  </a:cubicBezTo>
                  <a:cubicBezTo>
                    <a:pt x="0" y="1"/>
                    <a:pt x="1" y="2"/>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14" name="Freeform 2468">
              <a:extLst>
                <a:ext uri="{FF2B5EF4-FFF2-40B4-BE49-F238E27FC236}">
                  <a16:creationId xmlns:a16="http://schemas.microsoft.com/office/drawing/2014/main" id="{74727EB8-830C-4E18-B2B1-E3C2B888DA22}"/>
                </a:ext>
              </a:extLst>
            </p:cNvPr>
            <p:cNvSpPr>
              <a:spLocks/>
            </p:cNvSpPr>
            <p:nvPr/>
          </p:nvSpPr>
          <p:spPr bwMode="auto">
            <a:xfrm>
              <a:off x="6100" y="2703"/>
              <a:ext cx="5" cy="5"/>
            </a:xfrm>
            <a:custGeom>
              <a:avLst/>
              <a:gdLst>
                <a:gd name="T0" fmla="*/ 2 w 2"/>
                <a:gd name="T1" fmla="*/ 1 h 2"/>
                <a:gd name="T2" fmla="*/ 1 w 2"/>
                <a:gd name="T3" fmla="*/ 0 h 2"/>
                <a:gd name="T4" fmla="*/ 1 w 2"/>
                <a:gd name="T5" fmla="*/ 2 h 2"/>
                <a:gd name="T6" fmla="*/ 2 w 2"/>
                <a:gd name="T7" fmla="*/ 1 h 2"/>
              </a:gdLst>
              <a:ahLst/>
              <a:cxnLst>
                <a:cxn ang="0">
                  <a:pos x="T0" y="T1"/>
                </a:cxn>
                <a:cxn ang="0">
                  <a:pos x="T2" y="T3"/>
                </a:cxn>
                <a:cxn ang="0">
                  <a:pos x="T4" y="T5"/>
                </a:cxn>
                <a:cxn ang="0">
                  <a:pos x="T6" y="T7"/>
                </a:cxn>
              </a:cxnLst>
              <a:rect l="0" t="0" r="r" b="b"/>
              <a:pathLst>
                <a:path w="2" h="2">
                  <a:moveTo>
                    <a:pt x="2" y="1"/>
                  </a:moveTo>
                  <a:cubicBezTo>
                    <a:pt x="2" y="1"/>
                    <a:pt x="1" y="1"/>
                    <a:pt x="1" y="0"/>
                  </a:cubicBezTo>
                  <a:cubicBezTo>
                    <a:pt x="0" y="1"/>
                    <a:pt x="1" y="2"/>
                    <a:pt x="1" y="2"/>
                  </a:cubicBezTo>
                  <a:cubicBezTo>
                    <a:pt x="1" y="2"/>
                    <a:pt x="2" y="2"/>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15" name="Freeform 2469">
              <a:extLst>
                <a:ext uri="{FF2B5EF4-FFF2-40B4-BE49-F238E27FC236}">
                  <a16:creationId xmlns:a16="http://schemas.microsoft.com/office/drawing/2014/main" id="{20BF88B0-AD08-466F-A0D6-B412B62EFBE8}"/>
                </a:ext>
              </a:extLst>
            </p:cNvPr>
            <p:cNvSpPr>
              <a:spLocks/>
            </p:cNvSpPr>
            <p:nvPr/>
          </p:nvSpPr>
          <p:spPr bwMode="auto">
            <a:xfrm>
              <a:off x="6627" y="2805"/>
              <a:ext cx="5" cy="2"/>
            </a:xfrm>
            <a:custGeom>
              <a:avLst/>
              <a:gdLst>
                <a:gd name="T0" fmla="*/ 0 w 2"/>
                <a:gd name="T1" fmla="*/ 1 h 1"/>
                <a:gd name="T2" fmla="*/ 2 w 2"/>
                <a:gd name="T3" fmla="*/ 1 h 1"/>
                <a:gd name="T4" fmla="*/ 1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0" y="1"/>
                    <a:pt x="1" y="1"/>
                    <a:pt x="2" y="1"/>
                  </a:cubicBezTo>
                  <a:cubicBezTo>
                    <a:pt x="2" y="1"/>
                    <a:pt x="1" y="1"/>
                    <a:pt x="1" y="0"/>
                  </a:cubicBezTo>
                  <a:cubicBezTo>
                    <a:pt x="0" y="0"/>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16" name="Freeform 2470">
              <a:extLst>
                <a:ext uri="{FF2B5EF4-FFF2-40B4-BE49-F238E27FC236}">
                  <a16:creationId xmlns:a16="http://schemas.microsoft.com/office/drawing/2014/main" id="{77767DA3-1176-4EE9-9CAD-7F02FBBE5804}"/>
                </a:ext>
              </a:extLst>
            </p:cNvPr>
            <p:cNvSpPr>
              <a:spLocks/>
            </p:cNvSpPr>
            <p:nvPr/>
          </p:nvSpPr>
          <p:spPr bwMode="auto">
            <a:xfrm>
              <a:off x="5963" y="2838"/>
              <a:ext cx="7" cy="9"/>
            </a:xfrm>
            <a:custGeom>
              <a:avLst/>
              <a:gdLst>
                <a:gd name="T0" fmla="*/ 0 w 3"/>
                <a:gd name="T1" fmla="*/ 0 h 4"/>
                <a:gd name="T2" fmla="*/ 1 w 3"/>
                <a:gd name="T3" fmla="*/ 3 h 4"/>
                <a:gd name="T4" fmla="*/ 2 w 3"/>
                <a:gd name="T5" fmla="*/ 2 h 4"/>
                <a:gd name="T6" fmla="*/ 0 w 3"/>
                <a:gd name="T7" fmla="*/ 0 h 4"/>
              </a:gdLst>
              <a:ahLst/>
              <a:cxnLst>
                <a:cxn ang="0">
                  <a:pos x="T0" y="T1"/>
                </a:cxn>
                <a:cxn ang="0">
                  <a:pos x="T2" y="T3"/>
                </a:cxn>
                <a:cxn ang="0">
                  <a:pos x="T4" y="T5"/>
                </a:cxn>
                <a:cxn ang="0">
                  <a:pos x="T6" y="T7"/>
                </a:cxn>
              </a:cxnLst>
              <a:rect l="0" t="0" r="r" b="b"/>
              <a:pathLst>
                <a:path w="3" h="4">
                  <a:moveTo>
                    <a:pt x="0" y="0"/>
                  </a:moveTo>
                  <a:cubicBezTo>
                    <a:pt x="0" y="1"/>
                    <a:pt x="0" y="2"/>
                    <a:pt x="1" y="3"/>
                  </a:cubicBezTo>
                  <a:cubicBezTo>
                    <a:pt x="2" y="4"/>
                    <a:pt x="3" y="3"/>
                    <a:pt x="2" y="2"/>
                  </a:cubicBezTo>
                  <a:cubicBezTo>
                    <a:pt x="2" y="1"/>
                    <a:pt x="1"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17" name="Freeform 2471">
              <a:extLst>
                <a:ext uri="{FF2B5EF4-FFF2-40B4-BE49-F238E27FC236}">
                  <a16:creationId xmlns:a16="http://schemas.microsoft.com/office/drawing/2014/main" id="{FC3B6ABF-24DE-4518-BDCB-8D4DD07B6167}"/>
                </a:ext>
              </a:extLst>
            </p:cNvPr>
            <p:cNvSpPr>
              <a:spLocks/>
            </p:cNvSpPr>
            <p:nvPr/>
          </p:nvSpPr>
          <p:spPr bwMode="auto">
            <a:xfrm>
              <a:off x="5923" y="2781"/>
              <a:ext cx="5" cy="9"/>
            </a:xfrm>
            <a:custGeom>
              <a:avLst/>
              <a:gdLst>
                <a:gd name="T0" fmla="*/ 1 w 2"/>
                <a:gd name="T1" fmla="*/ 2 h 4"/>
                <a:gd name="T2" fmla="*/ 0 w 2"/>
                <a:gd name="T3" fmla="*/ 4 h 4"/>
                <a:gd name="T4" fmla="*/ 2 w 2"/>
                <a:gd name="T5" fmla="*/ 3 h 4"/>
                <a:gd name="T6" fmla="*/ 1 w 2"/>
                <a:gd name="T7" fmla="*/ 2 h 4"/>
              </a:gdLst>
              <a:ahLst/>
              <a:cxnLst>
                <a:cxn ang="0">
                  <a:pos x="T0" y="T1"/>
                </a:cxn>
                <a:cxn ang="0">
                  <a:pos x="T2" y="T3"/>
                </a:cxn>
                <a:cxn ang="0">
                  <a:pos x="T4" y="T5"/>
                </a:cxn>
                <a:cxn ang="0">
                  <a:pos x="T6" y="T7"/>
                </a:cxn>
              </a:cxnLst>
              <a:rect l="0" t="0" r="r" b="b"/>
              <a:pathLst>
                <a:path w="2" h="4">
                  <a:moveTo>
                    <a:pt x="1" y="2"/>
                  </a:moveTo>
                  <a:cubicBezTo>
                    <a:pt x="0" y="3"/>
                    <a:pt x="1" y="4"/>
                    <a:pt x="0" y="4"/>
                  </a:cubicBezTo>
                  <a:cubicBezTo>
                    <a:pt x="1" y="4"/>
                    <a:pt x="1" y="4"/>
                    <a:pt x="2" y="3"/>
                  </a:cubicBezTo>
                  <a:cubicBezTo>
                    <a:pt x="2" y="2"/>
                    <a:pt x="1" y="0"/>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18" name="Freeform 2472">
              <a:extLst>
                <a:ext uri="{FF2B5EF4-FFF2-40B4-BE49-F238E27FC236}">
                  <a16:creationId xmlns:a16="http://schemas.microsoft.com/office/drawing/2014/main" id="{F1E14992-9340-4E22-BC67-299325477317}"/>
                </a:ext>
              </a:extLst>
            </p:cNvPr>
            <p:cNvSpPr>
              <a:spLocks/>
            </p:cNvSpPr>
            <p:nvPr/>
          </p:nvSpPr>
          <p:spPr bwMode="auto">
            <a:xfrm>
              <a:off x="6587" y="2826"/>
              <a:ext cx="5" cy="12"/>
            </a:xfrm>
            <a:custGeom>
              <a:avLst/>
              <a:gdLst>
                <a:gd name="T0" fmla="*/ 1 w 2"/>
                <a:gd name="T1" fmla="*/ 0 h 5"/>
                <a:gd name="T2" fmla="*/ 1 w 2"/>
                <a:gd name="T3" fmla="*/ 3 h 5"/>
                <a:gd name="T4" fmla="*/ 2 w 2"/>
                <a:gd name="T5" fmla="*/ 5 h 5"/>
                <a:gd name="T6" fmla="*/ 1 w 2"/>
                <a:gd name="T7" fmla="*/ 0 h 5"/>
              </a:gdLst>
              <a:ahLst/>
              <a:cxnLst>
                <a:cxn ang="0">
                  <a:pos x="T0" y="T1"/>
                </a:cxn>
                <a:cxn ang="0">
                  <a:pos x="T2" y="T3"/>
                </a:cxn>
                <a:cxn ang="0">
                  <a:pos x="T4" y="T5"/>
                </a:cxn>
                <a:cxn ang="0">
                  <a:pos x="T6" y="T7"/>
                </a:cxn>
              </a:cxnLst>
              <a:rect l="0" t="0" r="r" b="b"/>
              <a:pathLst>
                <a:path w="2" h="5">
                  <a:moveTo>
                    <a:pt x="1" y="0"/>
                  </a:moveTo>
                  <a:cubicBezTo>
                    <a:pt x="0" y="0"/>
                    <a:pt x="1" y="1"/>
                    <a:pt x="1" y="3"/>
                  </a:cubicBezTo>
                  <a:cubicBezTo>
                    <a:pt x="1" y="3"/>
                    <a:pt x="1" y="4"/>
                    <a:pt x="2" y="5"/>
                  </a:cubicBezTo>
                  <a:cubicBezTo>
                    <a:pt x="2" y="3"/>
                    <a:pt x="2" y="1"/>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19" name="Freeform 2473">
              <a:extLst>
                <a:ext uri="{FF2B5EF4-FFF2-40B4-BE49-F238E27FC236}">
                  <a16:creationId xmlns:a16="http://schemas.microsoft.com/office/drawing/2014/main" id="{1815B52D-723A-4E5E-9240-9A2976A26DAA}"/>
                </a:ext>
              </a:extLst>
            </p:cNvPr>
            <p:cNvSpPr>
              <a:spLocks/>
            </p:cNvSpPr>
            <p:nvPr/>
          </p:nvSpPr>
          <p:spPr bwMode="auto">
            <a:xfrm>
              <a:off x="5895" y="2722"/>
              <a:ext cx="4" cy="5"/>
            </a:xfrm>
            <a:custGeom>
              <a:avLst/>
              <a:gdLst>
                <a:gd name="T0" fmla="*/ 0 w 2"/>
                <a:gd name="T1" fmla="*/ 1 h 2"/>
                <a:gd name="T2" fmla="*/ 2 w 2"/>
                <a:gd name="T3" fmla="*/ 2 h 2"/>
                <a:gd name="T4" fmla="*/ 0 w 2"/>
                <a:gd name="T5" fmla="*/ 1 h 2"/>
              </a:gdLst>
              <a:ahLst/>
              <a:cxnLst>
                <a:cxn ang="0">
                  <a:pos x="T0" y="T1"/>
                </a:cxn>
                <a:cxn ang="0">
                  <a:pos x="T2" y="T3"/>
                </a:cxn>
                <a:cxn ang="0">
                  <a:pos x="T4" y="T5"/>
                </a:cxn>
              </a:cxnLst>
              <a:rect l="0" t="0" r="r" b="b"/>
              <a:pathLst>
                <a:path w="2" h="2">
                  <a:moveTo>
                    <a:pt x="0" y="1"/>
                  </a:moveTo>
                  <a:cubicBezTo>
                    <a:pt x="1" y="1"/>
                    <a:pt x="1" y="2"/>
                    <a:pt x="2" y="2"/>
                  </a:cubicBezTo>
                  <a:cubicBezTo>
                    <a:pt x="2" y="0"/>
                    <a:pt x="1"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20" name="Freeform 2474">
              <a:extLst>
                <a:ext uri="{FF2B5EF4-FFF2-40B4-BE49-F238E27FC236}">
                  <a16:creationId xmlns:a16="http://schemas.microsoft.com/office/drawing/2014/main" id="{9077E899-7957-4F4C-901A-3624601246FB}"/>
                </a:ext>
              </a:extLst>
            </p:cNvPr>
            <p:cNvSpPr>
              <a:spLocks/>
            </p:cNvSpPr>
            <p:nvPr/>
          </p:nvSpPr>
          <p:spPr bwMode="auto">
            <a:xfrm>
              <a:off x="6531" y="2814"/>
              <a:ext cx="2" cy="7"/>
            </a:xfrm>
            <a:custGeom>
              <a:avLst/>
              <a:gdLst>
                <a:gd name="T0" fmla="*/ 0 w 1"/>
                <a:gd name="T1" fmla="*/ 2 h 3"/>
                <a:gd name="T2" fmla="*/ 1 w 1"/>
                <a:gd name="T3" fmla="*/ 0 h 3"/>
                <a:gd name="T4" fmla="*/ 0 w 1"/>
                <a:gd name="T5" fmla="*/ 2 h 3"/>
              </a:gdLst>
              <a:ahLst/>
              <a:cxnLst>
                <a:cxn ang="0">
                  <a:pos x="T0" y="T1"/>
                </a:cxn>
                <a:cxn ang="0">
                  <a:pos x="T2" y="T3"/>
                </a:cxn>
                <a:cxn ang="0">
                  <a:pos x="T4" y="T5"/>
                </a:cxn>
              </a:cxnLst>
              <a:rect l="0" t="0" r="r" b="b"/>
              <a:pathLst>
                <a:path w="1" h="3">
                  <a:moveTo>
                    <a:pt x="0" y="2"/>
                  </a:moveTo>
                  <a:cubicBezTo>
                    <a:pt x="1" y="3"/>
                    <a:pt x="1" y="0"/>
                    <a:pt x="1" y="0"/>
                  </a:cubicBezTo>
                  <a:cubicBezTo>
                    <a:pt x="0" y="0"/>
                    <a:pt x="0"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21" name="Freeform 2475">
              <a:extLst>
                <a:ext uri="{FF2B5EF4-FFF2-40B4-BE49-F238E27FC236}">
                  <a16:creationId xmlns:a16="http://schemas.microsoft.com/office/drawing/2014/main" id="{BA7100DD-8D8F-4A4B-94C4-D45BF11F192D}"/>
                </a:ext>
              </a:extLst>
            </p:cNvPr>
            <p:cNvSpPr>
              <a:spLocks/>
            </p:cNvSpPr>
            <p:nvPr/>
          </p:nvSpPr>
          <p:spPr bwMode="auto">
            <a:xfrm>
              <a:off x="6516" y="2873"/>
              <a:ext cx="10" cy="7"/>
            </a:xfrm>
            <a:custGeom>
              <a:avLst/>
              <a:gdLst>
                <a:gd name="T0" fmla="*/ 4 w 4"/>
                <a:gd name="T1" fmla="*/ 2 h 3"/>
                <a:gd name="T2" fmla="*/ 2 w 4"/>
                <a:gd name="T3" fmla="*/ 0 h 3"/>
                <a:gd name="T4" fmla="*/ 2 w 4"/>
                <a:gd name="T5" fmla="*/ 3 h 3"/>
                <a:gd name="T6" fmla="*/ 4 w 4"/>
                <a:gd name="T7" fmla="*/ 2 h 3"/>
              </a:gdLst>
              <a:ahLst/>
              <a:cxnLst>
                <a:cxn ang="0">
                  <a:pos x="T0" y="T1"/>
                </a:cxn>
                <a:cxn ang="0">
                  <a:pos x="T2" y="T3"/>
                </a:cxn>
                <a:cxn ang="0">
                  <a:pos x="T4" y="T5"/>
                </a:cxn>
                <a:cxn ang="0">
                  <a:pos x="T6" y="T7"/>
                </a:cxn>
              </a:cxnLst>
              <a:rect l="0" t="0" r="r" b="b"/>
              <a:pathLst>
                <a:path w="4" h="3">
                  <a:moveTo>
                    <a:pt x="4" y="2"/>
                  </a:moveTo>
                  <a:cubicBezTo>
                    <a:pt x="4" y="1"/>
                    <a:pt x="3" y="1"/>
                    <a:pt x="2" y="0"/>
                  </a:cubicBezTo>
                  <a:cubicBezTo>
                    <a:pt x="0" y="1"/>
                    <a:pt x="1" y="2"/>
                    <a:pt x="2" y="3"/>
                  </a:cubicBezTo>
                  <a:cubicBezTo>
                    <a:pt x="3" y="3"/>
                    <a:pt x="3" y="3"/>
                    <a:pt x="4" y="2"/>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22" name="Freeform 2476">
              <a:extLst>
                <a:ext uri="{FF2B5EF4-FFF2-40B4-BE49-F238E27FC236}">
                  <a16:creationId xmlns:a16="http://schemas.microsoft.com/office/drawing/2014/main" id="{5B906A36-7B8D-4351-B63E-D98E83705EAD}"/>
                </a:ext>
              </a:extLst>
            </p:cNvPr>
            <p:cNvSpPr>
              <a:spLocks/>
            </p:cNvSpPr>
            <p:nvPr/>
          </p:nvSpPr>
          <p:spPr bwMode="auto">
            <a:xfrm>
              <a:off x="6431" y="2982"/>
              <a:ext cx="5" cy="10"/>
            </a:xfrm>
            <a:custGeom>
              <a:avLst/>
              <a:gdLst>
                <a:gd name="T0" fmla="*/ 0 w 2"/>
                <a:gd name="T1" fmla="*/ 2 h 4"/>
                <a:gd name="T2" fmla="*/ 1 w 2"/>
                <a:gd name="T3" fmla="*/ 2 h 4"/>
                <a:gd name="T4" fmla="*/ 1 w 2"/>
                <a:gd name="T5" fmla="*/ 0 h 4"/>
                <a:gd name="T6" fmla="*/ 0 w 2"/>
                <a:gd name="T7" fmla="*/ 2 h 4"/>
              </a:gdLst>
              <a:ahLst/>
              <a:cxnLst>
                <a:cxn ang="0">
                  <a:pos x="T0" y="T1"/>
                </a:cxn>
                <a:cxn ang="0">
                  <a:pos x="T2" y="T3"/>
                </a:cxn>
                <a:cxn ang="0">
                  <a:pos x="T4" y="T5"/>
                </a:cxn>
                <a:cxn ang="0">
                  <a:pos x="T6" y="T7"/>
                </a:cxn>
              </a:cxnLst>
              <a:rect l="0" t="0" r="r" b="b"/>
              <a:pathLst>
                <a:path w="2" h="4">
                  <a:moveTo>
                    <a:pt x="0" y="2"/>
                  </a:moveTo>
                  <a:cubicBezTo>
                    <a:pt x="1" y="2"/>
                    <a:pt x="0" y="4"/>
                    <a:pt x="1" y="2"/>
                  </a:cubicBezTo>
                  <a:cubicBezTo>
                    <a:pt x="2" y="1"/>
                    <a:pt x="2" y="1"/>
                    <a:pt x="1" y="0"/>
                  </a:cubicBezTo>
                  <a:cubicBezTo>
                    <a:pt x="1" y="1"/>
                    <a:pt x="0" y="1"/>
                    <a:pt x="0" y="2"/>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23" name="Freeform 2477">
              <a:extLst>
                <a:ext uri="{FF2B5EF4-FFF2-40B4-BE49-F238E27FC236}">
                  <a16:creationId xmlns:a16="http://schemas.microsoft.com/office/drawing/2014/main" id="{0E4987E2-EB37-4ED9-83F4-37C816DF3724}"/>
                </a:ext>
              </a:extLst>
            </p:cNvPr>
            <p:cNvSpPr>
              <a:spLocks/>
            </p:cNvSpPr>
            <p:nvPr/>
          </p:nvSpPr>
          <p:spPr bwMode="auto">
            <a:xfrm>
              <a:off x="6895" y="2975"/>
              <a:ext cx="9" cy="7"/>
            </a:xfrm>
            <a:custGeom>
              <a:avLst/>
              <a:gdLst>
                <a:gd name="T0" fmla="*/ 3 w 4"/>
                <a:gd name="T1" fmla="*/ 2 h 3"/>
                <a:gd name="T2" fmla="*/ 3 w 4"/>
                <a:gd name="T3" fmla="*/ 0 h 3"/>
                <a:gd name="T4" fmla="*/ 0 w 4"/>
                <a:gd name="T5" fmla="*/ 2 h 3"/>
                <a:gd name="T6" fmla="*/ 3 w 4"/>
                <a:gd name="T7" fmla="*/ 2 h 3"/>
              </a:gdLst>
              <a:ahLst/>
              <a:cxnLst>
                <a:cxn ang="0">
                  <a:pos x="T0" y="T1"/>
                </a:cxn>
                <a:cxn ang="0">
                  <a:pos x="T2" y="T3"/>
                </a:cxn>
                <a:cxn ang="0">
                  <a:pos x="T4" y="T5"/>
                </a:cxn>
                <a:cxn ang="0">
                  <a:pos x="T6" y="T7"/>
                </a:cxn>
              </a:cxnLst>
              <a:rect l="0" t="0" r="r" b="b"/>
              <a:pathLst>
                <a:path w="4" h="3">
                  <a:moveTo>
                    <a:pt x="3" y="2"/>
                  </a:moveTo>
                  <a:cubicBezTo>
                    <a:pt x="4" y="2"/>
                    <a:pt x="3" y="2"/>
                    <a:pt x="3" y="0"/>
                  </a:cubicBezTo>
                  <a:cubicBezTo>
                    <a:pt x="2" y="0"/>
                    <a:pt x="0" y="1"/>
                    <a:pt x="0" y="2"/>
                  </a:cubicBezTo>
                  <a:cubicBezTo>
                    <a:pt x="0" y="2"/>
                    <a:pt x="2" y="3"/>
                    <a:pt x="3"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24" name="Freeform 2478">
              <a:extLst>
                <a:ext uri="{FF2B5EF4-FFF2-40B4-BE49-F238E27FC236}">
                  <a16:creationId xmlns:a16="http://schemas.microsoft.com/office/drawing/2014/main" id="{0434E019-92AB-4F10-A9A8-08BF22F59FA7}"/>
                </a:ext>
              </a:extLst>
            </p:cNvPr>
            <p:cNvSpPr>
              <a:spLocks/>
            </p:cNvSpPr>
            <p:nvPr/>
          </p:nvSpPr>
          <p:spPr bwMode="auto">
            <a:xfrm>
              <a:off x="6828" y="2795"/>
              <a:ext cx="15" cy="12"/>
            </a:xfrm>
            <a:custGeom>
              <a:avLst/>
              <a:gdLst>
                <a:gd name="T0" fmla="*/ 3 w 6"/>
                <a:gd name="T1" fmla="*/ 5 h 5"/>
                <a:gd name="T2" fmla="*/ 6 w 6"/>
                <a:gd name="T3" fmla="*/ 4 h 5"/>
                <a:gd name="T4" fmla="*/ 5 w 6"/>
                <a:gd name="T5" fmla="*/ 3 h 5"/>
                <a:gd name="T6" fmla="*/ 4 w 6"/>
                <a:gd name="T7" fmla="*/ 3 h 5"/>
                <a:gd name="T8" fmla="*/ 3 w 6"/>
                <a:gd name="T9" fmla="*/ 2 h 5"/>
                <a:gd name="T10" fmla="*/ 0 w 6"/>
                <a:gd name="T11" fmla="*/ 0 h 5"/>
                <a:gd name="T12" fmla="*/ 1 w 6"/>
                <a:gd name="T13" fmla="*/ 5 h 5"/>
                <a:gd name="T14" fmla="*/ 3 w 6"/>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5">
                  <a:moveTo>
                    <a:pt x="3" y="5"/>
                  </a:moveTo>
                  <a:cubicBezTo>
                    <a:pt x="4" y="5"/>
                    <a:pt x="5" y="5"/>
                    <a:pt x="6" y="4"/>
                  </a:cubicBezTo>
                  <a:cubicBezTo>
                    <a:pt x="6" y="4"/>
                    <a:pt x="5" y="4"/>
                    <a:pt x="5" y="3"/>
                  </a:cubicBezTo>
                  <a:cubicBezTo>
                    <a:pt x="5" y="3"/>
                    <a:pt x="4" y="3"/>
                    <a:pt x="4" y="3"/>
                  </a:cubicBezTo>
                  <a:cubicBezTo>
                    <a:pt x="3" y="3"/>
                    <a:pt x="3" y="2"/>
                    <a:pt x="3" y="2"/>
                  </a:cubicBezTo>
                  <a:cubicBezTo>
                    <a:pt x="3" y="1"/>
                    <a:pt x="0" y="0"/>
                    <a:pt x="0" y="0"/>
                  </a:cubicBezTo>
                  <a:cubicBezTo>
                    <a:pt x="0" y="1"/>
                    <a:pt x="0" y="4"/>
                    <a:pt x="1" y="5"/>
                  </a:cubicBezTo>
                  <a:cubicBezTo>
                    <a:pt x="1" y="5"/>
                    <a:pt x="3" y="5"/>
                    <a:pt x="3"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25" name="Freeform 2479">
              <a:extLst>
                <a:ext uri="{FF2B5EF4-FFF2-40B4-BE49-F238E27FC236}">
                  <a16:creationId xmlns:a16="http://schemas.microsoft.com/office/drawing/2014/main" id="{2568E772-0405-498E-B373-6B1728691975}"/>
                </a:ext>
              </a:extLst>
            </p:cNvPr>
            <p:cNvSpPr>
              <a:spLocks/>
            </p:cNvSpPr>
            <p:nvPr/>
          </p:nvSpPr>
          <p:spPr bwMode="auto">
            <a:xfrm>
              <a:off x="6549" y="2973"/>
              <a:ext cx="22" cy="9"/>
            </a:xfrm>
            <a:custGeom>
              <a:avLst/>
              <a:gdLst>
                <a:gd name="T0" fmla="*/ 3 w 9"/>
                <a:gd name="T1" fmla="*/ 4 h 4"/>
                <a:gd name="T2" fmla="*/ 6 w 9"/>
                <a:gd name="T3" fmla="*/ 3 h 4"/>
                <a:gd name="T4" fmla="*/ 9 w 9"/>
                <a:gd name="T5" fmla="*/ 3 h 4"/>
                <a:gd name="T6" fmla="*/ 9 w 9"/>
                <a:gd name="T7" fmla="*/ 1 h 4"/>
                <a:gd name="T8" fmla="*/ 2 w 9"/>
                <a:gd name="T9" fmla="*/ 1 h 4"/>
                <a:gd name="T10" fmla="*/ 3 w 9"/>
                <a:gd name="T11" fmla="*/ 2 h 4"/>
                <a:gd name="T12" fmla="*/ 2 w 9"/>
                <a:gd name="T13" fmla="*/ 3 h 4"/>
                <a:gd name="T14" fmla="*/ 3 w 9"/>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4">
                  <a:moveTo>
                    <a:pt x="3" y="4"/>
                  </a:moveTo>
                  <a:cubicBezTo>
                    <a:pt x="4" y="4"/>
                    <a:pt x="5" y="4"/>
                    <a:pt x="6" y="3"/>
                  </a:cubicBezTo>
                  <a:cubicBezTo>
                    <a:pt x="6" y="3"/>
                    <a:pt x="8" y="3"/>
                    <a:pt x="9" y="3"/>
                  </a:cubicBezTo>
                  <a:cubicBezTo>
                    <a:pt x="9" y="3"/>
                    <a:pt x="9" y="2"/>
                    <a:pt x="9" y="1"/>
                  </a:cubicBezTo>
                  <a:cubicBezTo>
                    <a:pt x="8" y="0"/>
                    <a:pt x="4" y="1"/>
                    <a:pt x="2" y="1"/>
                  </a:cubicBezTo>
                  <a:cubicBezTo>
                    <a:pt x="1" y="2"/>
                    <a:pt x="1" y="2"/>
                    <a:pt x="3" y="2"/>
                  </a:cubicBezTo>
                  <a:cubicBezTo>
                    <a:pt x="2" y="2"/>
                    <a:pt x="2" y="2"/>
                    <a:pt x="2" y="3"/>
                  </a:cubicBezTo>
                  <a:cubicBezTo>
                    <a:pt x="0" y="4"/>
                    <a:pt x="1" y="4"/>
                    <a:pt x="3"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26" name="Freeform 2480">
              <a:extLst>
                <a:ext uri="{FF2B5EF4-FFF2-40B4-BE49-F238E27FC236}">
                  <a16:creationId xmlns:a16="http://schemas.microsoft.com/office/drawing/2014/main" id="{45A11A71-BD5D-4729-BF64-185DDD1B8F88}"/>
                </a:ext>
              </a:extLst>
            </p:cNvPr>
            <p:cNvSpPr>
              <a:spLocks/>
            </p:cNvSpPr>
            <p:nvPr/>
          </p:nvSpPr>
          <p:spPr bwMode="auto">
            <a:xfrm>
              <a:off x="6703" y="2800"/>
              <a:ext cx="12" cy="9"/>
            </a:xfrm>
            <a:custGeom>
              <a:avLst/>
              <a:gdLst>
                <a:gd name="T0" fmla="*/ 2 w 5"/>
                <a:gd name="T1" fmla="*/ 4 h 4"/>
                <a:gd name="T2" fmla="*/ 4 w 5"/>
                <a:gd name="T3" fmla="*/ 1 h 4"/>
                <a:gd name="T4" fmla="*/ 2 w 5"/>
                <a:gd name="T5" fmla="*/ 0 h 4"/>
                <a:gd name="T6" fmla="*/ 1 w 5"/>
                <a:gd name="T7" fmla="*/ 2 h 4"/>
                <a:gd name="T8" fmla="*/ 2 w 5"/>
                <a:gd name="T9" fmla="*/ 4 h 4"/>
              </a:gdLst>
              <a:ahLst/>
              <a:cxnLst>
                <a:cxn ang="0">
                  <a:pos x="T0" y="T1"/>
                </a:cxn>
                <a:cxn ang="0">
                  <a:pos x="T2" y="T3"/>
                </a:cxn>
                <a:cxn ang="0">
                  <a:pos x="T4" y="T5"/>
                </a:cxn>
                <a:cxn ang="0">
                  <a:pos x="T6" y="T7"/>
                </a:cxn>
                <a:cxn ang="0">
                  <a:pos x="T8" y="T9"/>
                </a:cxn>
              </a:cxnLst>
              <a:rect l="0" t="0" r="r" b="b"/>
              <a:pathLst>
                <a:path w="5" h="4">
                  <a:moveTo>
                    <a:pt x="2" y="4"/>
                  </a:moveTo>
                  <a:cubicBezTo>
                    <a:pt x="4" y="4"/>
                    <a:pt x="5" y="2"/>
                    <a:pt x="4" y="1"/>
                  </a:cubicBezTo>
                  <a:cubicBezTo>
                    <a:pt x="4" y="0"/>
                    <a:pt x="4" y="0"/>
                    <a:pt x="2" y="0"/>
                  </a:cubicBezTo>
                  <a:cubicBezTo>
                    <a:pt x="1" y="0"/>
                    <a:pt x="0" y="0"/>
                    <a:pt x="1" y="2"/>
                  </a:cubicBezTo>
                  <a:cubicBezTo>
                    <a:pt x="1" y="2"/>
                    <a:pt x="2" y="4"/>
                    <a:pt x="2"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27" name="Freeform 2481">
              <a:extLst>
                <a:ext uri="{FF2B5EF4-FFF2-40B4-BE49-F238E27FC236}">
                  <a16:creationId xmlns:a16="http://schemas.microsoft.com/office/drawing/2014/main" id="{A9AB95B3-4E46-4A49-90E0-3847859C07C3}"/>
                </a:ext>
              </a:extLst>
            </p:cNvPr>
            <p:cNvSpPr>
              <a:spLocks/>
            </p:cNvSpPr>
            <p:nvPr/>
          </p:nvSpPr>
          <p:spPr bwMode="auto">
            <a:xfrm>
              <a:off x="6698" y="2798"/>
              <a:ext cx="7" cy="2"/>
            </a:xfrm>
            <a:custGeom>
              <a:avLst/>
              <a:gdLst>
                <a:gd name="T0" fmla="*/ 2 w 3"/>
                <a:gd name="T1" fmla="*/ 0 h 1"/>
                <a:gd name="T2" fmla="*/ 0 w 3"/>
                <a:gd name="T3" fmla="*/ 0 h 1"/>
                <a:gd name="T4" fmla="*/ 0 w 3"/>
                <a:gd name="T5" fmla="*/ 1 h 1"/>
                <a:gd name="T6" fmla="*/ 3 w 3"/>
                <a:gd name="T7" fmla="*/ 0 h 1"/>
                <a:gd name="T8" fmla="*/ 2 w 3"/>
                <a:gd name="T9" fmla="*/ 0 h 1"/>
              </a:gdLst>
              <a:ahLst/>
              <a:cxnLst>
                <a:cxn ang="0">
                  <a:pos x="T0" y="T1"/>
                </a:cxn>
                <a:cxn ang="0">
                  <a:pos x="T2" y="T3"/>
                </a:cxn>
                <a:cxn ang="0">
                  <a:pos x="T4" y="T5"/>
                </a:cxn>
                <a:cxn ang="0">
                  <a:pos x="T6" y="T7"/>
                </a:cxn>
                <a:cxn ang="0">
                  <a:pos x="T8" y="T9"/>
                </a:cxn>
              </a:cxnLst>
              <a:rect l="0" t="0" r="r" b="b"/>
              <a:pathLst>
                <a:path w="3" h="1">
                  <a:moveTo>
                    <a:pt x="2" y="0"/>
                  </a:moveTo>
                  <a:cubicBezTo>
                    <a:pt x="1" y="0"/>
                    <a:pt x="1" y="0"/>
                    <a:pt x="0" y="0"/>
                  </a:cubicBezTo>
                  <a:cubicBezTo>
                    <a:pt x="0" y="0"/>
                    <a:pt x="0" y="0"/>
                    <a:pt x="0" y="1"/>
                  </a:cubicBezTo>
                  <a:cubicBezTo>
                    <a:pt x="1" y="0"/>
                    <a:pt x="2" y="0"/>
                    <a:pt x="3" y="0"/>
                  </a:cubicBezTo>
                  <a:cubicBezTo>
                    <a:pt x="2" y="0"/>
                    <a:pt x="2" y="0"/>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28" name="Freeform 2482">
              <a:extLst>
                <a:ext uri="{FF2B5EF4-FFF2-40B4-BE49-F238E27FC236}">
                  <a16:creationId xmlns:a16="http://schemas.microsoft.com/office/drawing/2014/main" id="{EEF005D0-CE36-43F9-A6C1-72E58CBBC2D4}"/>
                </a:ext>
              </a:extLst>
            </p:cNvPr>
            <p:cNvSpPr>
              <a:spLocks/>
            </p:cNvSpPr>
            <p:nvPr/>
          </p:nvSpPr>
          <p:spPr bwMode="auto">
            <a:xfrm>
              <a:off x="6072" y="2776"/>
              <a:ext cx="12" cy="10"/>
            </a:xfrm>
            <a:custGeom>
              <a:avLst/>
              <a:gdLst>
                <a:gd name="T0" fmla="*/ 5 w 5"/>
                <a:gd name="T1" fmla="*/ 4 h 4"/>
                <a:gd name="T2" fmla="*/ 1 w 5"/>
                <a:gd name="T3" fmla="*/ 0 h 4"/>
                <a:gd name="T4" fmla="*/ 0 w 5"/>
                <a:gd name="T5" fmla="*/ 3 h 4"/>
                <a:gd name="T6" fmla="*/ 1 w 5"/>
                <a:gd name="T7" fmla="*/ 3 h 4"/>
                <a:gd name="T8" fmla="*/ 3 w 5"/>
                <a:gd name="T9" fmla="*/ 3 h 4"/>
                <a:gd name="T10" fmla="*/ 5 w 5"/>
                <a:gd name="T11" fmla="*/ 4 h 4"/>
              </a:gdLst>
              <a:ahLst/>
              <a:cxnLst>
                <a:cxn ang="0">
                  <a:pos x="T0" y="T1"/>
                </a:cxn>
                <a:cxn ang="0">
                  <a:pos x="T2" y="T3"/>
                </a:cxn>
                <a:cxn ang="0">
                  <a:pos x="T4" y="T5"/>
                </a:cxn>
                <a:cxn ang="0">
                  <a:pos x="T6" y="T7"/>
                </a:cxn>
                <a:cxn ang="0">
                  <a:pos x="T8" y="T9"/>
                </a:cxn>
                <a:cxn ang="0">
                  <a:pos x="T10" y="T11"/>
                </a:cxn>
              </a:cxnLst>
              <a:rect l="0" t="0" r="r" b="b"/>
              <a:pathLst>
                <a:path w="5" h="4">
                  <a:moveTo>
                    <a:pt x="5" y="4"/>
                  </a:moveTo>
                  <a:cubicBezTo>
                    <a:pt x="3" y="3"/>
                    <a:pt x="2" y="1"/>
                    <a:pt x="1" y="0"/>
                  </a:cubicBezTo>
                  <a:cubicBezTo>
                    <a:pt x="0" y="1"/>
                    <a:pt x="0" y="2"/>
                    <a:pt x="0" y="3"/>
                  </a:cubicBezTo>
                  <a:cubicBezTo>
                    <a:pt x="0" y="3"/>
                    <a:pt x="1" y="3"/>
                    <a:pt x="1" y="3"/>
                  </a:cubicBezTo>
                  <a:cubicBezTo>
                    <a:pt x="1" y="3"/>
                    <a:pt x="2" y="2"/>
                    <a:pt x="3" y="3"/>
                  </a:cubicBezTo>
                  <a:cubicBezTo>
                    <a:pt x="3" y="3"/>
                    <a:pt x="4" y="4"/>
                    <a:pt x="5"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29" name="Freeform 2483">
              <a:extLst>
                <a:ext uri="{FF2B5EF4-FFF2-40B4-BE49-F238E27FC236}">
                  <a16:creationId xmlns:a16="http://schemas.microsoft.com/office/drawing/2014/main" id="{5FF8F3CA-BC3D-4614-A0DF-C5C39C775FE7}"/>
                </a:ext>
              </a:extLst>
            </p:cNvPr>
            <p:cNvSpPr>
              <a:spLocks/>
            </p:cNvSpPr>
            <p:nvPr/>
          </p:nvSpPr>
          <p:spPr bwMode="auto">
            <a:xfrm>
              <a:off x="6644" y="2712"/>
              <a:ext cx="12" cy="17"/>
            </a:xfrm>
            <a:custGeom>
              <a:avLst/>
              <a:gdLst>
                <a:gd name="T0" fmla="*/ 1 w 5"/>
                <a:gd name="T1" fmla="*/ 4 h 7"/>
                <a:gd name="T2" fmla="*/ 1 w 5"/>
                <a:gd name="T3" fmla="*/ 5 h 7"/>
                <a:gd name="T4" fmla="*/ 1 w 5"/>
                <a:gd name="T5" fmla="*/ 7 h 7"/>
                <a:gd name="T6" fmla="*/ 4 w 5"/>
                <a:gd name="T7" fmla="*/ 6 h 7"/>
                <a:gd name="T8" fmla="*/ 4 w 5"/>
                <a:gd name="T9" fmla="*/ 0 h 7"/>
                <a:gd name="T10" fmla="*/ 1 w 5"/>
                <a:gd name="T11" fmla="*/ 4 h 7"/>
              </a:gdLst>
              <a:ahLst/>
              <a:cxnLst>
                <a:cxn ang="0">
                  <a:pos x="T0" y="T1"/>
                </a:cxn>
                <a:cxn ang="0">
                  <a:pos x="T2" y="T3"/>
                </a:cxn>
                <a:cxn ang="0">
                  <a:pos x="T4" y="T5"/>
                </a:cxn>
                <a:cxn ang="0">
                  <a:pos x="T6" y="T7"/>
                </a:cxn>
                <a:cxn ang="0">
                  <a:pos x="T8" y="T9"/>
                </a:cxn>
                <a:cxn ang="0">
                  <a:pos x="T10" y="T11"/>
                </a:cxn>
              </a:cxnLst>
              <a:rect l="0" t="0" r="r" b="b"/>
              <a:pathLst>
                <a:path w="5" h="7">
                  <a:moveTo>
                    <a:pt x="1" y="4"/>
                  </a:moveTo>
                  <a:cubicBezTo>
                    <a:pt x="1" y="4"/>
                    <a:pt x="0" y="5"/>
                    <a:pt x="1" y="5"/>
                  </a:cubicBezTo>
                  <a:cubicBezTo>
                    <a:pt x="1" y="6"/>
                    <a:pt x="1" y="7"/>
                    <a:pt x="1" y="7"/>
                  </a:cubicBezTo>
                  <a:cubicBezTo>
                    <a:pt x="2" y="7"/>
                    <a:pt x="3" y="7"/>
                    <a:pt x="4" y="6"/>
                  </a:cubicBezTo>
                  <a:cubicBezTo>
                    <a:pt x="5" y="5"/>
                    <a:pt x="5" y="2"/>
                    <a:pt x="4" y="0"/>
                  </a:cubicBezTo>
                  <a:cubicBezTo>
                    <a:pt x="3" y="1"/>
                    <a:pt x="1" y="2"/>
                    <a:pt x="1"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30" name="Freeform 2484">
              <a:extLst>
                <a:ext uri="{FF2B5EF4-FFF2-40B4-BE49-F238E27FC236}">
                  <a16:creationId xmlns:a16="http://schemas.microsoft.com/office/drawing/2014/main" id="{E188AC3F-1BBD-4B55-9366-0831B6D96527}"/>
                </a:ext>
              </a:extLst>
            </p:cNvPr>
            <p:cNvSpPr>
              <a:spLocks/>
            </p:cNvSpPr>
            <p:nvPr/>
          </p:nvSpPr>
          <p:spPr bwMode="auto">
            <a:xfrm>
              <a:off x="6573" y="2821"/>
              <a:ext cx="26" cy="3"/>
            </a:xfrm>
            <a:custGeom>
              <a:avLst/>
              <a:gdLst>
                <a:gd name="T0" fmla="*/ 2 w 11"/>
                <a:gd name="T1" fmla="*/ 1 h 1"/>
                <a:gd name="T2" fmla="*/ 5 w 11"/>
                <a:gd name="T3" fmla="*/ 1 h 1"/>
                <a:gd name="T4" fmla="*/ 7 w 11"/>
                <a:gd name="T5" fmla="*/ 1 h 1"/>
                <a:gd name="T6" fmla="*/ 11 w 11"/>
                <a:gd name="T7" fmla="*/ 0 h 1"/>
                <a:gd name="T8" fmla="*/ 2 w 11"/>
                <a:gd name="T9" fmla="*/ 0 h 1"/>
                <a:gd name="T10" fmla="*/ 2 w 11"/>
                <a:gd name="T11" fmla="*/ 1 h 1"/>
              </a:gdLst>
              <a:ahLst/>
              <a:cxnLst>
                <a:cxn ang="0">
                  <a:pos x="T0" y="T1"/>
                </a:cxn>
                <a:cxn ang="0">
                  <a:pos x="T2" y="T3"/>
                </a:cxn>
                <a:cxn ang="0">
                  <a:pos x="T4" y="T5"/>
                </a:cxn>
                <a:cxn ang="0">
                  <a:pos x="T6" y="T7"/>
                </a:cxn>
                <a:cxn ang="0">
                  <a:pos x="T8" y="T9"/>
                </a:cxn>
                <a:cxn ang="0">
                  <a:pos x="T10" y="T11"/>
                </a:cxn>
              </a:cxnLst>
              <a:rect l="0" t="0" r="r" b="b"/>
              <a:pathLst>
                <a:path w="11" h="1">
                  <a:moveTo>
                    <a:pt x="2" y="1"/>
                  </a:moveTo>
                  <a:cubicBezTo>
                    <a:pt x="3" y="1"/>
                    <a:pt x="4" y="1"/>
                    <a:pt x="5" y="1"/>
                  </a:cubicBezTo>
                  <a:cubicBezTo>
                    <a:pt x="6" y="1"/>
                    <a:pt x="7" y="1"/>
                    <a:pt x="7" y="1"/>
                  </a:cubicBezTo>
                  <a:cubicBezTo>
                    <a:pt x="8" y="1"/>
                    <a:pt x="11" y="1"/>
                    <a:pt x="11" y="0"/>
                  </a:cubicBezTo>
                  <a:cubicBezTo>
                    <a:pt x="8" y="0"/>
                    <a:pt x="5" y="0"/>
                    <a:pt x="2" y="0"/>
                  </a:cubicBezTo>
                  <a:cubicBezTo>
                    <a:pt x="0" y="0"/>
                    <a:pt x="2"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31" name="Freeform 2485">
              <a:extLst>
                <a:ext uri="{FF2B5EF4-FFF2-40B4-BE49-F238E27FC236}">
                  <a16:creationId xmlns:a16="http://schemas.microsoft.com/office/drawing/2014/main" id="{BD27FE1F-5407-4D1B-A5C1-F6E230F3893A}"/>
                </a:ext>
              </a:extLst>
            </p:cNvPr>
            <p:cNvSpPr>
              <a:spLocks/>
            </p:cNvSpPr>
            <p:nvPr/>
          </p:nvSpPr>
          <p:spPr bwMode="auto">
            <a:xfrm>
              <a:off x="6512" y="3029"/>
              <a:ext cx="16" cy="15"/>
            </a:xfrm>
            <a:custGeom>
              <a:avLst/>
              <a:gdLst>
                <a:gd name="T0" fmla="*/ 4 w 7"/>
                <a:gd name="T1" fmla="*/ 4 h 6"/>
                <a:gd name="T2" fmla="*/ 6 w 7"/>
                <a:gd name="T3" fmla="*/ 4 h 6"/>
                <a:gd name="T4" fmla="*/ 7 w 7"/>
                <a:gd name="T5" fmla="*/ 0 h 6"/>
                <a:gd name="T6" fmla="*/ 3 w 7"/>
                <a:gd name="T7" fmla="*/ 3 h 6"/>
                <a:gd name="T8" fmla="*/ 2 w 7"/>
                <a:gd name="T9" fmla="*/ 4 h 6"/>
                <a:gd name="T10" fmla="*/ 4 w 7"/>
                <a:gd name="T11" fmla="*/ 4 h 6"/>
              </a:gdLst>
              <a:ahLst/>
              <a:cxnLst>
                <a:cxn ang="0">
                  <a:pos x="T0" y="T1"/>
                </a:cxn>
                <a:cxn ang="0">
                  <a:pos x="T2" y="T3"/>
                </a:cxn>
                <a:cxn ang="0">
                  <a:pos x="T4" y="T5"/>
                </a:cxn>
                <a:cxn ang="0">
                  <a:pos x="T6" y="T7"/>
                </a:cxn>
                <a:cxn ang="0">
                  <a:pos x="T8" y="T9"/>
                </a:cxn>
                <a:cxn ang="0">
                  <a:pos x="T10" y="T11"/>
                </a:cxn>
              </a:cxnLst>
              <a:rect l="0" t="0" r="r" b="b"/>
              <a:pathLst>
                <a:path w="7" h="6">
                  <a:moveTo>
                    <a:pt x="4" y="4"/>
                  </a:moveTo>
                  <a:cubicBezTo>
                    <a:pt x="5" y="4"/>
                    <a:pt x="5" y="4"/>
                    <a:pt x="6" y="4"/>
                  </a:cubicBezTo>
                  <a:cubicBezTo>
                    <a:pt x="7" y="3"/>
                    <a:pt x="7" y="3"/>
                    <a:pt x="7" y="0"/>
                  </a:cubicBezTo>
                  <a:cubicBezTo>
                    <a:pt x="6" y="1"/>
                    <a:pt x="5" y="2"/>
                    <a:pt x="3" y="3"/>
                  </a:cubicBezTo>
                  <a:cubicBezTo>
                    <a:pt x="3" y="3"/>
                    <a:pt x="2" y="3"/>
                    <a:pt x="2" y="4"/>
                  </a:cubicBezTo>
                  <a:cubicBezTo>
                    <a:pt x="0" y="6"/>
                    <a:pt x="4" y="5"/>
                    <a:pt x="4"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32" name="Freeform 2486">
              <a:extLst>
                <a:ext uri="{FF2B5EF4-FFF2-40B4-BE49-F238E27FC236}">
                  <a16:creationId xmlns:a16="http://schemas.microsoft.com/office/drawing/2014/main" id="{E27A27D0-A04C-43D1-9074-A2C1B1EC41C8}"/>
                </a:ext>
              </a:extLst>
            </p:cNvPr>
            <p:cNvSpPr>
              <a:spLocks/>
            </p:cNvSpPr>
            <p:nvPr/>
          </p:nvSpPr>
          <p:spPr bwMode="auto">
            <a:xfrm>
              <a:off x="6682" y="2817"/>
              <a:ext cx="16" cy="9"/>
            </a:xfrm>
            <a:custGeom>
              <a:avLst/>
              <a:gdLst>
                <a:gd name="T0" fmla="*/ 4 w 7"/>
                <a:gd name="T1" fmla="*/ 4 h 4"/>
                <a:gd name="T2" fmla="*/ 5 w 7"/>
                <a:gd name="T3" fmla="*/ 4 h 4"/>
                <a:gd name="T4" fmla="*/ 6 w 7"/>
                <a:gd name="T5" fmla="*/ 4 h 4"/>
                <a:gd name="T6" fmla="*/ 7 w 7"/>
                <a:gd name="T7" fmla="*/ 4 h 4"/>
                <a:gd name="T8" fmla="*/ 7 w 7"/>
                <a:gd name="T9" fmla="*/ 2 h 4"/>
                <a:gd name="T10" fmla="*/ 6 w 7"/>
                <a:gd name="T11" fmla="*/ 1 h 4"/>
                <a:gd name="T12" fmla="*/ 2 w 7"/>
                <a:gd name="T13" fmla="*/ 1 h 4"/>
                <a:gd name="T14" fmla="*/ 0 w 7"/>
                <a:gd name="T15" fmla="*/ 3 h 4"/>
                <a:gd name="T16" fmla="*/ 4 w 7"/>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4">
                  <a:moveTo>
                    <a:pt x="4" y="4"/>
                  </a:moveTo>
                  <a:cubicBezTo>
                    <a:pt x="4" y="4"/>
                    <a:pt x="5" y="4"/>
                    <a:pt x="5" y="4"/>
                  </a:cubicBezTo>
                  <a:cubicBezTo>
                    <a:pt x="5" y="4"/>
                    <a:pt x="6" y="4"/>
                    <a:pt x="6" y="4"/>
                  </a:cubicBezTo>
                  <a:cubicBezTo>
                    <a:pt x="6" y="3"/>
                    <a:pt x="6" y="4"/>
                    <a:pt x="7" y="4"/>
                  </a:cubicBezTo>
                  <a:cubicBezTo>
                    <a:pt x="7" y="4"/>
                    <a:pt x="7" y="2"/>
                    <a:pt x="7" y="2"/>
                  </a:cubicBezTo>
                  <a:cubicBezTo>
                    <a:pt x="7" y="2"/>
                    <a:pt x="6" y="1"/>
                    <a:pt x="6" y="1"/>
                  </a:cubicBezTo>
                  <a:cubicBezTo>
                    <a:pt x="6" y="0"/>
                    <a:pt x="3" y="1"/>
                    <a:pt x="2" y="1"/>
                  </a:cubicBezTo>
                  <a:cubicBezTo>
                    <a:pt x="2" y="2"/>
                    <a:pt x="1" y="2"/>
                    <a:pt x="0" y="3"/>
                  </a:cubicBezTo>
                  <a:cubicBezTo>
                    <a:pt x="1" y="3"/>
                    <a:pt x="3" y="4"/>
                    <a:pt x="4"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33" name="Freeform 2487">
              <a:extLst>
                <a:ext uri="{FF2B5EF4-FFF2-40B4-BE49-F238E27FC236}">
                  <a16:creationId xmlns:a16="http://schemas.microsoft.com/office/drawing/2014/main" id="{37046BD4-42A7-4873-A12B-CC920D98A46F}"/>
                </a:ext>
              </a:extLst>
            </p:cNvPr>
            <p:cNvSpPr>
              <a:spLocks/>
            </p:cNvSpPr>
            <p:nvPr/>
          </p:nvSpPr>
          <p:spPr bwMode="auto">
            <a:xfrm>
              <a:off x="5859" y="2705"/>
              <a:ext cx="19" cy="17"/>
            </a:xfrm>
            <a:custGeom>
              <a:avLst/>
              <a:gdLst>
                <a:gd name="T0" fmla="*/ 6 w 8"/>
                <a:gd name="T1" fmla="*/ 4 h 7"/>
                <a:gd name="T2" fmla="*/ 1 w 8"/>
                <a:gd name="T3" fmla="*/ 0 h 7"/>
                <a:gd name="T4" fmla="*/ 1 w 8"/>
                <a:gd name="T5" fmla="*/ 2 h 7"/>
                <a:gd name="T6" fmla="*/ 2 w 8"/>
                <a:gd name="T7" fmla="*/ 3 h 7"/>
                <a:gd name="T8" fmla="*/ 3 w 8"/>
                <a:gd name="T9" fmla="*/ 4 h 7"/>
                <a:gd name="T10" fmla="*/ 8 w 8"/>
                <a:gd name="T11" fmla="*/ 6 h 7"/>
                <a:gd name="T12" fmla="*/ 6 w 8"/>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6" y="4"/>
                  </a:moveTo>
                  <a:cubicBezTo>
                    <a:pt x="4" y="3"/>
                    <a:pt x="3" y="1"/>
                    <a:pt x="1" y="0"/>
                  </a:cubicBezTo>
                  <a:cubicBezTo>
                    <a:pt x="1" y="1"/>
                    <a:pt x="0" y="2"/>
                    <a:pt x="1" y="2"/>
                  </a:cubicBezTo>
                  <a:cubicBezTo>
                    <a:pt x="1" y="3"/>
                    <a:pt x="1" y="3"/>
                    <a:pt x="2" y="3"/>
                  </a:cubicBezTo>
                  <a:cubicBezTo>
                    <a:pt x="2" y="4"/>
                    <a:pt x="3" y="4"/>
                    <a:pt x="3" y="4"/>
                  </a:cubicBezTo>
                  <a:cubicBezTo>
                    <a:pt x="5" y="4"/>
                    <a:pt x="7" y="7"/>
                    <a:pt x="8" y="6"/>
                  </a:cubicBezTo>
                  <a:cubicBezTo>
                    <a:pt x="8" y="4"/>
                    <a:pt x="7" y="5"/>
                    <a:pt x="6"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34" name="Freeform 2488">
              <a:extLst>
                <a:ext uri="{FF2B5EF4-FFF2-40B4-BE49-F238E27FC236}">
                  <a16:creationId xmlns:a16="http://schemas.microsoft.com/office/drawing/2014/main" id="{2DEC9269-50B3-4BCD-90AC-FC01DE5F151C}"/>
                </a:ext>
              </a:extLst>
            </p:cNvPr>
            <p:cNvSpPr>
              <a:spLocks/>
            </p:cNvSpPr>
            <p:nvPr/>
          </p:nvSpPr>
          <p:spPr bwMode="auto">
            <a:xfrm>
              <a:off x="6351" y="2857"/>
              <a:ext cx="7" cy="19"/>
            </a:xfrm>
            <a:custGeom>
              <a:avLst/>
              <a:gdLst>
                <a:gd name="T0" fmla="*/ 0 w 3"/>
                <a:gd name="T1" fmla="*/ 7 h 8"/>
                <a:gd name="T2" fmla="*/ 0 w 3"/>
                <a:gd name="T3" fmla="*/ 8 h 8"/>
                <a:gd name="T4" fmla="*/ 1 w 3"/>
                <a:gd name="T5" fmla="*/ 8 h 8"/>
                <a:gd name="T6" fmla="*/ 1 w 3"/>
                <a:gd name="T7" fmla="*/ 8 h 8"/>
                <a:gd name="T8" fmla="*/ 3 w 3"/>
                <a:gd name="T9" fmla="*/ 6 h 8"/>
                <a:gd name="T10" fmla="*/ 2 w 3"/>
                <a:gd name="T11" fmla="*/ 0 h 8"/>
                <a:gd name="T12" fmla="*/ 2 w 3"/>
                <a:gd name="T13" fmla="*/ 0 h 8"/>
                <a:gd name="T14" fmla="*/ 1 w 3"/>
                <a:gd name="T15" fmla="*/ 0 h 8"/>
                <a:gd name="T16" fmla="*/ 1 w 3"/>
                <a:gd name="T17" fmla="*/ 0 h 8"/>
                <a:gd name="T18" fmla="*/ 1 w 3"/>
                <a:gd name="T19" fmla="*/ 1 h 8"/>
                <a:gd name="T20" fmla="*/ 1 w 3"/>
                <a:gd name="T21" fmla="*/ 1 h 8"/>
                <a:gd name="T22" fmla="*/ 1 w 3"/>
                <a:gd name="T23" fmla="*/ 1 h 8"/>
                <a:gd name="T24" fmla="*/ 0 w 3"/>
                <a:gd name="T25" fmla="*/ 5 h 8"/>
                <a:gd name="T26" fmla="*/ 0 w 3"/>
                <a:gd name="T27" fmla="*/ 7 h 8"/>
                <a:gd name="T28" fmla="*/ 0 w 3"/>
                <a:gd name="T29" fmla="*/ 7 h 8"/>
                <a:gd name="T30" fmla="*/ 0 w 3"/>
                <a:gd name="T31"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8">
                  <a:moveTo>
                    <a:pt x="0" y="7"/>
                  </a:moveTo>
                  <a:cubicBezTo>
                    <a:pt x="0" y="7"/>
                    <a:pt x="0" y="8"/>
                    <a:pt x="0" y="8"/>
                  </a:cubicBezTo>
                  <a:cubicBezTo>
                    <a:pt x="0" y="8"/>
                    <a:pt x="0" y="8"/>
                    <a:pt x="1" y="8"/>
                  </a:cubicBezTo>
                  <a:cubicBezTo>
                    <a:pt x="1" y="8"/>
                    <a:pt x="1" y="8"/>
                    <a:pt x="1" y="8"/>
                  </a:cubicBezTo>
                  <a:cubicBezTo>
                    <a:pt x="1" y="8"/>
                    <a:pt x="2" y="6"/>
                    <a:pt x="3" y="6"/>
                  </a:cubicBezTo>
                  <a:cubicBezTo>
                    <a:pt x="3" y="4"/>
                    <a:pt x="3" y="2"/>
                    <a:pt x="2" y="0"/>
                  </a:cubicBezTo>
                  <a:cubicBezTo>
                    <a:pt x="2" y="0"/>
                    <a:pt x="2" y="0"/>
                    <a:pt x="2" y="0"/>
                  </a:cubicBezTo>
                  <a:cubicBezTo>
                    <a:pt x="2" y="0"/>
                    <a:pt x="1" y="0"/>
                    <a:pt x="1" y="0"/>
                  </a:cubicBezTo>
                  <a:cubicBezTo>
                    <a:pt x="1" y="0"/>
                    <a:pt x="1" y="0"/>
                    <a:pt x="1" y="0"/>
                  </a:cubicBezTo>
                  <a:cubicBezTo>
                    <a:pt x="1" y="1"/>
                    <a:pt x="1" y="1"/>
                    <a:pt x="1" y="1"/>
                  </a:cubicBezTo>
                  <a:cubicBezTo>
                    <a:pt x="1" y="1"/>
                    <a:pt x="1" y="1"/>
                    <a:pt x="1" y="1"/>
                  </a:cubicBezTo>
                  <a:cubicBezTo>
                    <a:pt x="1" y="1"/>
                    <a:pt x="1" y="1"/>
                    <a:pt x="1" y="1"/>
                  </a:cubicBezTo>
                  <a:cubicBezTo>
                    <a:pt x="0" y="2"/>
                    <a:pt x="0" y="4"/>
                    <a:pt x="0" y="5"/>
                  </a:cubicBezTo>
                  <a:cubicBezTo>
                    <a:pt x="0" y="5"/>
                    <a:pt x="0" y="6"/>
                    <a:pt x="0" y="7"/>
                  </a:cubicBezTo>
                  <a:cubicBezTo>
                    <a:pt x="0" y="7"/>
                    <a:pt x="0" y="7"/>
                    <a:pt x="0" y="7"/>
                  </a:cubicBezTo>
                  <a:cubicBezTo>
                    <a:pt x="0" y="7"/>
                    <a:pt x="0" y="7"/>
                    <a:pt x="0" y="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35" name="Freeform 2489">
              <a:extLst>
                <a:ext uri="{FF2B5EF4-FFF2-40B4-BE49-F238E27FC236}">
                  <a16:creationId xmlns:a16="http://schemas.microsoft.com/office/drawing/2014/main" id="{7A7507F6-2A48-4AD2-9B44-0CE0884CB960}"/>
                </a:ext>
              </a:extLst>
            </p:cNvPr>
            <p:cNvSpPr>
              <a:spLocks/>
            </p:cNvSpPr>
            <p:nvPr/>
          </p:nvSpPr>
          <p:spPr bwMode="auto">
            <a:xfrm>
              <a:off x="3894" y="1605"/>
              <a:ext cx="5" cy="17"/>
            </a:xfrm>
            <a:custGeom>
              <a:avLst/>
              <a:gdLst>
                <a:gd name="T0" fmla="*/ 1 w 2"/>
                <a:gd name="T1" fmla="*/ 1 h 7"/>
                <a:gd name="T2" fmla="*/ 0 w 2"/>
                <a:gd name="T3" fmla="*/ 0 h 7"/>
                <a:gd name="T4" fmla="*/ 2 w 2"/>
                <a:gd name="T5" fmla="*/ 7 h 7"/>
                <a:gd name="T6" fmla="*/ 2 w 2"/>
                <a:gd name="T7" fmla="*/ 4 h 7"/>
                <a:gd name="T8" fmla="*/ 2 w 2"/>
                <a:gd name="T9" fmla="*/ 3 h 7"/>
                <a:gd name="T10" fmla="*/ 1 w 2"/>
                <a:gd name="T11" fmla="*/ 1 h 7"/>
              </a:gdLst>
              <a:ahLst/>
              <a:cxnLst>
                <a:cxn ang="0">
                  <a:pos x="T0" y="T1"/>
                </a:cxn>
                <a:cxn ang="0">
                  <a:pos x="T2" y="T3"/>
                </a:cxn>
                <a:cxn ang="0">
                  <a:pos x="T4" y="T5"/>
                </a:cxn>
                <a:cxn ang="0">
                  <a:pos x="T6" y="T7"/>
                </a:cxn>
                <a:cxn ang="0">
                  <a:pos x="T8" y="T9"/>
                </a:cxn>
                <a:cxn ang="0">
                  <a:pos x="T10" y="T11"/>
                </a:cxn>
              </a:cxnLst>
              <a:rect l="0" t="0" r="r" b="b"/>
              <a:pathLst>
                <a:path w="2" h="7">
                  <a:moveTo>
                    <a:pt x="1" y="1"/>
                  </a:moveTo>
                  <a:cubicBezTo>
                    <a:pt x="0" y="1"/>
                    <a:pt x="1" y="0"/>
                    <a:pt x="0" y="0"/>
                  </a:cubicBezTo>
                  <a:cubicBezTo>
                    <a:pt x="1" y="2"/>
                    <a:pt x="1" y="5"/>
                    <a:pt x="2" y="7"/>
                  </a:cubicBezTo>
                  <a:cubicBezTo>
                    <a:pt x="2" y="6"/>
                    <a:pt x="2" y="5"/>
                    <a:pt x="2" y="4"/>
                  </a:cubicBezTo>
                  <a:cubicBezTo>
                    <a:pt x="2" y="4"/>
                    <a:pt x="2" y="3"/>
                    <a:pt x="2" y="3"/>
                  </a:cubicBezTo>
                  <a:cubicBezTo>
                    <a:pt x="2" y="2"/>
                    <a:pt x="1" y="2"/>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36" name="Freeform 2490">
              <a:extLst>
                <a:ext uri="{FF2B5EF4-FFF2-40B4-BE49-F238E27FC236}">
                  <a16:creationId xmlns:a16="http://schemas.microsoft.com/office/drawing/2014/main" id="{D177C2D4-F907-4D24-8F81-32183488AB31}"/>
                </a:ext>
              </a:extLst>
            </p:cNvPr>
            <p:cNvSpPr>
              <a:spLocks/>
            </p:cNvSpPr>
            <p:nvPr/>
          </p:nvSpPr>
          <p:spPr bwMode="auto">
            <a:xfrm>
              <a:off x="3953" y="1671"/>
              <a:ext cx="10" cy="0"/>
            </a:xfrm>
            <a:custGeom>
              <a:avLst/>
              <a:gdLst>
                <a:gd name="T0" fmla="*/ 4 w 4"/>
                <a:gd name="T1" fmla="*/ 0 w 4"/>
                <a:gd name="T2" fmla="*/ 1 w 4"/>
                <a:gd name="T3" fmla="*/ 4 w 4"/>
              </a:gdLst>
              <a:ahLst/>
              <a:cxnLst>
                <a:cxn ang="0">
                  <a:pos x="T0" y="0"/>
                </a:cxn>
                <a:cxn ang="0">
                  <a:pos x="T1" y="0"/>
                </a:cxn>
                <a:cxn ang="0">
                  <a:pos x="T2" y="0"/>
                </a:cxn>
                <a:cxn ang="0">
                  <a:pos x="T3" y="0"/>
                </a:cxn>
              </a:cxnLst>
              <a:rect l="0" t="0" r="r" b="b"/>
              <a:pathLst>
                <a:path w="4">
                  <a:moveTo>
                    <a:pt x="4" y="0"/>
                  </a:moveTo>
                  <a:cubicBezTo>
                    <a:pt x="3" y="0"/>
                    <a:pt x="2" y="0"/>
                    <a:pt x="0" y="0"/>
                  </a:cubicBezTo>
                  <a:cubicBezTo>
                    <a:pt x="1" y="0"/>
                    <a:pt x="1" y="0"/>
                    <a:pt x="1" y="0"/>
                  </a:cubicBezTo>
                  <a:cubicBezTo>
                    <a:pt x="2" y="0"/>
                    <a:pt x="3" y="0"/>
                    <a:pt x="4"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37" name="Freeform 2491">
              <a:extLst>
                <a:ext uri="{FF2B5EF4-FFF2-40B4-BE49-F238E27FC236}">
                  <a16:creationId xmlns:a16="http://schemas.microsoft.com/office/drawing/2014/main" id="{9719E603-63EE-431F-A447-D51590152B0F}"/>
                </a:ext>
              </a:extLst>
            </p:cNvPr>
            <p:cNvSpPr>
              <a:spLocks/>
            </p:cNvSpPr>
            <p:nvPr/>
          </p:nvSpPr>
          <p:spPr bwMode="auto">
            <a:xfrm>
              <a:off x="3956" y="1676"/>
              <a:ext cx="0" cy="2"/>
            </a:xfrm>
            <a:custGeom>
              <a:avLst/>
              <a:gdLst>
                <a:gd name="T0" fmla="*/ 0 h 1"/>
                <a:gd name="T1" fmla="*/ 1 h 1"/>
                <a:gd name="T2" fmla="*/ 0 h 1"/>
                <a:gd name="T3" fmla="*/ 0 h 1"/>
              </a:gdLst>
              <a:ahLst/>
              <a:cxnLst>
                <a:cxn ang="0">
                  <a:pos x="0" y="T0"/>
                </a:cxn>
                <a:cxn ang="0">
                  <a:pos x="0" y="T1"/>
                </a:cxn>
                <a:cxn ang="0">
                  <a:pos x="0" y="T2"/>
                </a:cxn>
                <a:cxn ang="0">
                  <a:pos x="0" y="T3"/>
                </a:cxn>
              </a:cxnLst>
              <a:rect l="0" t="0" r="r" b="b"/>
              <a:pathLst>
                <a:path h="1">
                  <a:moveTo>
                    <a:pt x="0" y="0"/>
                  </a:moveTo>
                  <a:cubicBezTo>
                    <a:pt x="0" y="0"/>
                    <a:pt x="0" y="0"/>
                    <a:pt x="0" y="1"/>
                  </a:cubicBez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38" name="Freeform 2492">
              <a:extLst>
                <a:ext uri="{FF2B5EF4-FFF2-40B4-BE49-F238E27FC236}">
                  <a16:creationId xmlns:a16="http://schemas.microsoft.com/office/drawing/2014/main" id="{8AEA82A0-1A00-46EB-BFF1-5F7A9B787F94}"/>
                </a:ext>
              </a:extLst>
            </p:cNvPr>
            <p:cNvSpPr>
              <a:spLocks/>
            </p:cNvSpPr>
            <p:nvPr/>
          </p:nvSpPr>
          <p:spPr bwMode="auto">
            <a:xfrm>
              <a:off x="3946" y="1657"/>
              <a:ext cx="12" cy="5"/>
            </a:xfrm>
            <a:custGeom>
              <a:avLst/>
              <a:gdLst>
                <a:gd name="T0" fmla="*/ 2 w 5"/>
                <a:gd name="T1" fmla="*/ 1 h 2"/>
                <a:gd name="T2" fmla="*/ 0 w 5"/>
                <a:gd name="T3" fmla="*/ 0 h 2"/>
                <a:gd name="T4" fmla="*/ 2 w 5"/>
                <a:gd name="T5" fmla="*/ 2 h 2"/>
                <a:gd name="T6" fmla="*/ 2 w 5"/>
                <a:gd name="T7" fmla="*/ 1 h 2"/>
              </a:gdLst>
              <a:ahLst/>
              <a:cxnLst>
                <a:cxn ang="0">
                  <a:pos x="T0" y="T1"/>
                </a:cxn>
                <a:cxn ang="0">
                  <a:pos x="T2" y="T3"/>
                </a:cxn>
                <a:cxn ang="0">
                  <a:pos x="T4" y="T5"/>
                </a:cxn>
                <a:cxn ang="0">
                  <a:pos x="T6" y="T7"/>
                </a:cxn>
              </a:cxnLst>
              <a:rect l="0" t="0" r="r" b="b"/>
              <a:pathLst>
                <a:path w="5" h="2">
                  <a:moveTo>
                    <a:pt x="2" y="1"/>
                  </a:moveTo>
                  <a:cubicBezTo>
                    <a:pt x="1" y="0"/>
                    <a:pt x="0" y="0"/>
                    <a:pt x="0" y="0"/>
                  </a:cubicBezTo>
                  <a:cubicBezTo>
                    <a:pt x="0" y="1"/>
                    <a:pt x="1" y="2"/>
                    <a:pt x="2" y="2"/>
                  </a:cubicBezTo>
                  <a:cubicBezTo>
                    <a:pt x="5" y="2"/>
                    <a:pt x="5"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39" name="Freeform 2493">
              <a:extLst>
                <a:ext uri="{FF2B5EF4-FFF2-40B4-BE49-F238E27FC236}">
                  <a16:creationId xmlns:a16="http://schemas.microsoft.com/office/drawing/2014/main" id="{C72AC7B2-2DE6-4A23-9BFB-5150E818B918}"/>
                </a:ext>
              </a:extLst>
            </p:cNvPr>
            <p:cNvSpPr>
              <a:spLocks/>
            </p:cNvSpPr>
            <p:nvPr/>
          </p:nvSpPr>
          <p:spPr bwMode="auto">
            <a:xfrm>
              <a:off x="3968" y="1676"/>
              <a:ext cx="9" cy="2"/>
            </a:xfrm>
            <a:custGeom>
              <a:avLst/>
              <a:gdLst>
                <a:gd name="T0" fmla="*/ 0 w 4"/>
                <a:gd name="T1" fmla="*/ 0 h 1"/>
                <a:gd name="T2" fmla="*/ 4 w 4"/>
                <a:gd name="T3" fmla="*/ 1 h 1"/>
                <a:gd name="T4" fmla="*/ 0 w 4"/>
                <a:gd name="T5" fmla="*/ 0 h 1"/>
              </a:gdLst>
              <a:ahLst/>
              <a:cxnLst>
                <a:cxn ang="0">
                  <a:pos x="T0" y="T1"/>
                </a:cxn>
                <a:cxn ang="0">
                  <a:pos x="T2" y="T3"/>
                </a:cxn>
                <a:cxn ang="0">
                  <a:pos x="T4" y="T5"/>
                </a:cxn>
              </a:cxnLst>
              <a:rect l="0" t="0" r="r" b="b"/>
              <a:pathLst>
                <a:path w="4" h="1">
                  <a:moveTo>
                    <a:pt x="0" y="0"/>
                  </a:moveTo>
                  <a:cubicBezTo>
                    <a:pt x="1" y="0"/>
                    <a:pt x="3" y="1"/>
                    <a:pt x="4" y="1"/>
                  </a:cubicBezTo>
                  <a:cubicBezTo>
                    <a:pt x="3" y="0"/>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40" name="Freeform 2494">
              <a:extLst>
                <a:ext uri="{FF2B5EF4-FFF2-40B4-BE49-F238E27FC236}">
                  <a16:creationId xmlns:a16="http://schemas.microsoft.com/office/drawing/2014/main" id="{AC9049EC-A6E6-4308-8777-5CE8ACFBF045}"/>
                </a:ext>
              </a:extLst>
            </p:cNvPr>
            <p:cNvSpPr>
              <a:spLocks/>
            </p:cNvSpPr>
            <p:nvPr/>
          </p:nvSpPr>
          <p:spPr bwMode="auto">
            <a:xfrm>
              <a:off x="3935" y="1667"/>
              <a:ext cx="4" cy="4"/>
            </a:xfrm>
            <a:custGeom>
              <a:avLst/>
              <a:gdLst>
                <a:gd name="T0" fmla="*/ 2 w 2"/>
                <a:gd name="T1" fmla="*/ 0 h 2"/>
                <a:gd name="T2" fmla="*/ 2 w 2"/>
                <a:gd name="T3" fmla="*/ 0 h 2"/>
              </a:gdLst>
              <a:ahLst/>
              <a:cxnLst>
                <a:cxn ang="0">
                  <a:pos x="T0" y="T1"/>
                </a:cxn>
                <a:cxn ang="0">
                  <a:pos x="T2" y="T3"/>
                </a:cxn>
              </a:cxnLst>
              <a:rect l="0" t="0" r="r" b="b"/>
              <a:pathLst>
                <a:path w="2" h="2">
                  <a:moveTo>
                    <a:pt x="2" y="0"/>
                  </a:moveTo>
                  <a:cubicBezTo>
                    <a:pt x="0" y="0"/>
                    <a:pt x="1" y="2"/>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41" name="Freeform 2495">
              <a:extLst>
                <a:ext uri="{FF2B5EF4-FFF2-40B4-BE49-F238E27FC236}">
                  <a16:creationId xmlns:a16="http://schemas.microsoft.com/office/drawing/2014/main" id="{008788A4-659A-44CB-81A9-F57E1E0A8324}"/>
                </a:ext>
              </a:extLst>
            </p:cNvPr>
            <p:cNvSpPr>
              <a:spLocks/>
            </p:cNvSpPr>
            <p:nvPr/>
          </p:nvSpPr>
          <p:spPr bwMode="auto">
            <a:xfrm>
              <a:off x="3913" y="1641"/>
              <a:ext cx="3" cy="2"/>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1"/>
                    <a:pt x="0" y="1"/>
                    <a:pt x="0" y="0"/>
                  </a:cubicBezTo>
                  <a:cubicBezTo>
                    <a:pt x="0" y="1"/>
                    <a:pt x="1" y="1"/>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42" name="Freeform 2496">
              <a:extLst>
                <a:ext uri="{FF2B5EF4-FFF2-40B4-BE49-F238E27FC236}">
                  <a16:creationId xmlns:a16="http://schemas.microsoft.com/office/drawing/2014/main" id="{367FED48-4869-4E64-A820-4A435FA5D947}"/>
                </a:ext>
              </a:extLst>
            </p:cNvPr>
            <p:cNvSpPr>
              <a:spLocks/>
            </p:cNvSpPr>
            <p:nvPr/>
          </p:nvSpPr>
          <p:spPr bwMode="auto">
            <a:xfrm>
              <a:off x="3908" y="1636"/>
              <a:ext cx="5" cy="5"/>
            </a:xfrm>
            <a:custGeom>
              <a:avLst/>
              <a:gdLst>
                <a:gd name="T0" fmla="*/ 0 w 2"/>
                <a:gd name="T1" fmla="*/ 0 h 2"/>
                <a:gd name="T2" fmla="*/ 2 w 2"/>
                <a:gd name="T3" fmla="*/ 2 h 2"/>
                <a:gd name="T4" fmla="*/ 0 w 2"/>
                <a:gd name="T5" fmla="*/ 0 h 2"/>
              </a:gdLst>
              <a:ahLst/>
              <a:cxnLst>
                <a:cxn ang="0">
                  <a:pos x="T0" y="T1"/>
                </a:cxn>
                <a:cxn ang="0">
                  <a:pos x="T2" y="T3"/>
                </a:cxn>
                <a:cxn ang="0">
                  <a:pos x="T4" y="T5"/>
                </a:cxn>
              </a:cxnLst>
              <a:rect l="0" t="0" r="r" b="b"/>
              <a:pathLst>
                <a:path w="2" h="2">
                  <a:moveTo>
                    <a:pt x="0" y="0"/>
                  </a:moveTo>
                  <a:cubicBezTo>
                    <a:pt x="0" y="1"/>
                    <a:pt x="1" y="1"/>
                    <a:pt x="2" y="2"/>
                  </a:cubicBezTo>
                  <a:cubicBezTo>
                    <a:pt x="1" y="1"/>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43" name="Freeform 2497">
              <a:extLst>
                <a:ext uri="{FF2B5EF4-FFF2-40B4-BE49-F238E27FC236}">
                  <a16:creationId xmlns:a16="http://schemas.microsoft.com/office/drawing/2014/main" id="{2ED9C987-4DC2-4A21-9205-AD3A978BE17D}"/>
                </a:ext>
              </a:extLst>
            </p:cNvPr>
            <p:cNvSpPr>
              <a:spLocks/>
            </p:cNvSpPr>
            <p:nvPr/>
          </p:nvSpPr>
          <p:spPr bwMode="auto">
            <a:xfrm>
              <a:off x="3904" y="1619"/>
              <a:ext cx="12" cy="12"/>
            </a:xfrm>
            <a:custGeom>
              <a:avLst/>
              <a:gdLst>
                <a:gd name="T0" fmla="*/ 2 w 5"/>
                <a:gd name="T1" fmla="*/ 1 h 5"/>
                <a:gd name="T2" fmla="*/ 2 w 5"/>
                <a:gd name="T3" fmla="*/ 1 h 5"/>
                <a:gd name="T4" fmla="*/ 0 w 5"/>
                <a:gd name="T5" fmla="*/ 0 h 5"/>
                <a:gd name="T6" fmla="*/ 5 w 5"/>
                <a:gd name="T7" fmla="*/ 5 h 5"/>
                <a:gd name="T8" fmla="*/ 2 w 5"/>
                <a:gd name="T9" fmla="*/ 2 h 5"/>
                <a:gd name="T10" fmla="*/ 2 w 5"/>
                <a:gd name="T11" fmla="*/ 1 h 5"/>
              </a:gdLst>
              <a:ahLst/>
              <a:cxnLst>
                <a:cxn ang="0">
                  <a:pos x="T0" y="T1"/>
                </a:cxn>
                <a:cxn ang="0">
                  <a:pos x="T2" y="T3"/>
                </a:cxn>
                <a:cxn ang="0">
                  <a:pos x="T4" y="T5"/>
                </a:cxn>
                <a:cxn ang="0">
                  <a:pos x="T6" y="T7"/>
                </a:cxn>
                <a:cxn ang="0">
                  <a:pos x="T8" y="T9"/>
                </a:cxn>
                <a:cxn ang="0">
                  <a:pos x="T10" y="T11"/>
                </a:cxn>
              </a:cxnLst>
              <a:rect l="0" t="0" r="r" b="b"/>
              <a:pathLst>
                <a:path w="5" h="5">
                  <a:moveTo>
                    <a:pt x="2" y="1"/>
                  </a:moveTo>
                  <a:cubicBezTo>
                    <a:pt x="2" y="1"/>
                    <a:pt x="2" y="1"/>
                    <a:pt x="2" y="1"/>
                  </a:cubicBezTo>
                  <a:cubicBezTo>
                    <a:pt x="1" y="1"/>
                    <a:pt x="1" y="0"/>
                    <a:pt x="0" y="0"/>
                  </a:cubicBezTo>
                  <a:cubicBezTo>
                    <a:pt x="2" y="2"/>
                    <a:pt x="3" y="3"/>
                    <a:pt x="5" y="5"/>
                  </a:cubicBezTo>
                  <a:cubicBezTo>
                    <a:pt x="5" y="2"/>
                    <a:pt x="3" y="3"/>
                    <a:pt x="2" y="2"/>
                  </a:cubicBezTo>
                  <a:cubicBezTo>
                    <a:pt x="2" y="2"/>
                    <a:pt x="3" y="2"/>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44" name="Freeform 2498">
              <a:extLst>
                <a:ext uri="{FF2B5EF4-FFF2-40B4-BE49-F238E27FC236}">
                  <a16:creationId xmlns:a16="http://schemas.microsoft.com/office/drawing/2014/main" id="{6F7EDD00-6D76-4571-BEA8-61E3BEEB6D7A}"/>
                </a:ext>
              </a:extLst>
            </p:cNvPr>
            <p:cNvSpPr>
              <a:spLocks/>
            </p:cNvSpPr>
            <p:nvPr/>
          </p:nvSpPr>
          <p:spPr bwMode="auto">
            <a:xfrm>
              <a:off x="3897" y="1603"/>
              <a:ext cx="7" cy="9"/>
            </a:xfrm>
            <a:custGeom>
              <a:avLst/>
              <a:gdLst>
                <a:gd name="T0" fmla="*/ 0 w 3"/>
                <a:gd name="T1" fmla="*/ 2 h 4"/>
                <a:gd name="T2" fmla="*/ 3 w 3"/>
                <a:gd name="T3" fmla="*/ 4 h 4"/>
                <a:gd name="T4" fmla="*/ 2 w 3"/>
                <a:gd name="T5" fmla="*/ 1 h 4"/>
                <a:gd name="T6" fmla="*/ 2 w 3"/>
                <a:gd name="T7" fmla="*/ 0 h 4"/>
                <a:gd name="T8" fmla="*/ 0 w 3"/>
                <a:gd name="T9" fmla="*/ 2 h 4"/>
              </a:gdLst>
              <a:ahLst/>
              <a:cxnLst>
                <a:cxn ang="0">
                  <a:pos x="T0" y="T1"/>
                </a:cxn>
                <a:cxn ang="0">
                  <a:pos x="T2" y="T3"/>
                </a:cxn>
                <a:cxn ang="0">
                  <a:pos x="T4" y="T5"/>
                </a:cxn>
                <a:cxn ang="0">
                  <a:pos x="T6" y="T7"/>
                </a:cxn>
                <a:cxn ang="0">
                  <a:pos x="T8" y="T9"/>
                </a:cxn>
              </a:cxnLst>
              <a:rect l="0" t="0" r="r" b="b"/>
              <a:pathLst>
                <a:path w="3" h="4">
                  <a:moveTo>
                    <a:pt x="0" y="2"/>
                  </a:moveTo>
                  <a:cubicBezTo>
                    <a:pt x="1" y="3"/>
                    <a:pt x="2" y="3"/>
                    <a:pt x="3" y="4"/>
                  </a:cubicBezTo>
                  <a:cubicBezTo>
                    <a:pt x="3" y="3"/>
                    <a:pt x="3" y="1"/>
                    <a:pt x="2" y="1"/>
                  </a:cubicBezTo>
                  <a:cubicBezTo>
                    <a:pt x="2" y="1"/>
                    <a:pt x="2" y="0"/>
                    <a:pt x="2" y="0"/>
                  </a:cubicBezTo>
                  <a:cubicBezTo>
                    <a:pt x="1" y="1"/>
                    <a:pt x="1" y="2"/>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45" name="Freeform 2499">
              <a:extLst>
                <a:ext uri="{FF2B5EF4-FFF2-40B4-BE49-F238E27FC236}">
                  <a16:creationId xmlns:a16="http://schemas.microsoft.com/office/drawing/2014/main" id="{2092E601-C5AF-4FA7-BA46-DE92A60A57ED}"/>
                </a:ext>
              </a:extLst>
            </p:cNvPr>
            <p:cNvSpPr>
              <a:spLocks/>
            </p:cNvSpPr>
            <p:nvPr/>
          </p:nvSpPr>
          <p:spPr bwMode="auto">
            <a:xfrm>
              <a:off x="3944" y="1662"/>
              <a:ext cx="19" cy="5"/>
            </a:xfrm>
            <a:custGeom>
              <a:avLst/>
              <a:gdLst>
                <a:gd name="T0" fmla="*/ 3 w 8"/>
                <a:gd name="T1" fmla="*/ 1 h 2"/>
                <a:gd name="T2" fmla="*/ 0 w 8"/>
                <a:gd name="T3" fmla="*/ 1 h 2"/>
                <a:gd name="T4" fmla="*/ 8 w 8"/>
                <a:gd name="T5" fmla="*/ 2 h 2"/>
                <a:gd name="T6" fmla="*/ 3 w 8"/>
                <a:gd name="T7" fmla="*/ 1 h 2"/>
              </a:gdLst>
              <a:ahLst/>
              <a:cxnLst>
                <a:cxn ang="0">
                  <a:pos x="T0" y="T1"/>
                </a:cxn>
                <a:cxn ang="0">
                  <a:pos x="T2" y="T3"/>
                </a:cxn>
                <a:cxn ang="0">
                  <a:pos x="T4" y="T5"/>
                </a:cxn>
                <a:cxn ang="0">
                  <a:pos x="T6" y="T7"/>
                </a:cxn>
              </a:cxnLst>
              <a:rect l="0" t="0" r="r" b="b"/>
              <a:pathLst>
                <a:path w="8" h="2">
                  <a:moveTo>
                    <a:pt x="3" y="1"/>
                  </a:moveTo>
                  <a:cubicBezTo>
                    <a:pt x="2" y="0"/>
                    <a:pt x="2" y="0"/>
                    <a:pt x="0" y="1"/>
                  </a:cubicBezTo>
                  <a:cubicBezTo>
                    <a:pt x="3" y="1"/>
                    <a:pt x="6" y="2"/>
                    <a:pt x="8" y="2"/>
                  </a:cubicBezTo>
                  <a:cubicBezTo>
                    <a:pt x="7" y="1"/>
                    <a:pt x="5" y="1"/>
                    <a:pt x="3"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46" name="Freeform 2500">
              <a:extLst>
                <a:ext uri="{FF2B5EF4-FFF2-40B4-BE49-F238E27FC236}">
                  <a16:creationId xmlns:a16="http://schemas.microsoft.com/office/drawing/2014/main" id="{420F53B8-E8D7-4396-82C7-E35410C49CC8}"/>
                </a:ext>
              </a:extLst>
            </p:cNvPr>
            <p:cNvSpPr>
              <a:spLocks/>
            </p:cNvSpPr>
            <p:nvPr/>
          </p:nvSpPr>
          <p:spPr bwMode="auto">
            <a:xfrm>
              <a:off x="5318" y="4194"/>
              <a:ext cx="14" cy="7"/>
            </a:xfrm>
            <a:custGeom>
              <a:avLst/>
              <a:gdLst>
                <a:gd name="T0" fmla="*/ 1 w 6"/>
                <a:gd name="T1" fmla="*/ 1 h 3"/>
                <a:gd name="T2" fmla="*/ 2 w 6"/>
                <a:gd name="T3" fmla="*/ 2 h 3"/>
                <a:gd name="T4" fmla="*/ 6 w 6"/>
                <a:gd name="T5" fmla="*/ 2 h 3"/>
                <a:gd name="T6" fmla="*/ 0 w 6"/>
                <a:gd name="T7" fmla="*/ 0 h 3"/>
                <a:gd name="T8" fmla="*/ 1 w 6"/>
                <a:gd name="T9" fmla="*/ 1 h 3"/>
              </a:gdLst>
              <a:ahLst/>
              <a:cxnLst>
                <a:cxn ang="0">
                  <a:pos x="T0" y="T1"/>
                </a:cxn>
                <a:cxn ang="0">
                  <a:pos x="T2" y="T3"/>
                </a:cxn>
                <a:cxn ang="0">
                  <a:pos x="T4" y="T5"/>
                </a:cxn>
                <a:cxn ang="0">
                  <a:pos x="T6" y="T7"/>
                </a:cxn>
                <a:cxn ang="0">
                  <a:pos x="T8" y="T9"/>
                </a:cxn>
              </a:cxnLst>
              <a:rect l="0" t="0" r="r" b="b"/>
              <a:pathLst>
                <a:path w="6" h="3">
                  <a:moveTo>
                    <a:pt x="1" y="1"/>
                  </a:moveTo>
                  <a:cubicBezTo>
                    <a:pt x="1" y="1"/>
                    <a:pt x="1" y="2"/>
                    <a:pt x="2" y="2"/>
                  </a:cubicBezTo>
                  <a:cubicBezTo>
                    <a:pt x="3" y="3"/>
                    <a:pt x="4" y="2"/>
                    <a:pt x="6" y="2"/>
                  </a:cubicBezTo>
                  <a:cubicBezTo>
                    <a:pt x="4" y="1"/>
                    <a:pt x="2" y="1"/>
                    <a:pt x="0" y="0"/>
                  </a:cubicBezTo>
                  <a:cubicBezTo>
                    <a:pt x="0" y="1"/>
                    <a:pt x="1" y="0"/>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47" name="Freeform 2501">
              <a:extLst>
                <a:ext uri="{FF2B5EF4-FFF2-40B4-BE49-F238E27FC236}">
                  <a16:creationId xmlns:a16="http://schemas.microsoft.com/office/drawing/2014/main" id="{30653CB8-0683-435D-B4A4-5958E717259A}"/>
                </a:ext>
              </a:extLst>
            </p:cNvPr>
            <p:cNvSpPr>
              <a:spLocks/>
            </p:cNvSpPr>
            <p:nvPr/>
          </p:nvSpPr>
          <p:spPr bwMode="auto">
            <a:xfrm>
              <a:off x="4161" y="1832"/>
              <a:ext cx="8" cy="10"/>
            </a:xfrm>
            <a:custGeom>
              <a:avLst/>
              <a:gdLst>
                <a:gd name="T0" fmla="*/ 2 w 3"/>
                <a:gd name="T1" fmla="*/ 2 h 4"/>
                <a:gd name="T2" fmla="*/ 0 w 3"/>
                <a:gd name="T3" fmla="*/ 2 h 4"/>
                <a:gd name="T4" fmla="*/ 1 w 3"/>
                <a:gd name="T5" fmla="*/ 4 h 4"/>
                <a:gd name="T6" fmla="*/ 2 w 3"/>
                <a:gd name="T7" fmla="*/ 2 h 4"/>
              </a:gdLst>
              <a:ahLst/>
              <a:cxnLst>
                <a:cxn ang="0">
                  <a:pos x="T0" y="T1"/>
                </a:cxn>
                <a:cxn ang="0">
                  <a:pos x="T2" y="T3"/>
                </a:cxn>
                <a:cxn ang="0">
                  <a:pos x="T4" y="T5"/>
                </a:cxn>
                <a:cxn ang="0">
                  <a:pos x="T6" y="T7"/>
                </a:cxn>
              </a:cxnLst>
              <a:rect l="0" t="0" r="r" b="b"/>
              <a:pathLst>
                <a:path w="3" h="4">
                  <a:moveTo>
                    <a:pt x="2" y="2"/>
                  </a:moveTo>
                  <a:cubicBezTo>
                    <a:pt x="2" y="0"/>
                    <a:pt x="0" y="2"/>
                    <a:pt x="0" y="2"/>
                  </a:cubicBezTo>
                  <a:cubicBezTo>
                    <a:pt x="0" y="3"/>
                    <a:pt x="0" y="4"/>
                    <a:pt x="1" y="4"/>
                  </a:cubicBezTo>
                  <a:cubicBezTo>
                    <a:pt x="2" y="4"/>
                    <a:pt x="3" y="3"/>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48" name="Freeform 2502">
              <a:extLst>
                <a:ext uri="{FF2B5EF4-FFF2-40B4-BE49-F238E27FC236}">
                  <a16:creationId xmlns:a16="http://schemas.microsoft.com/office/drawing/2014/main" id="{05B47C42-BD32-4318-B9DE-9F2F57DAAAC5}"/>
                </a:ext>
              </a:extLst>
            </p:cNvPr>
            <p:cNvSpPr>
              <a:spLocks/>
            </p:cNvSpPr>
            <p:nvPr/>
          </p:nvSpPr>
          <p:spPr bwMode="auto">
            <a:xfrm>
              <a:off x="4159" y="1846"/>
              <a:ext cx="2" cy="5"/>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49" name="Freeform 2503">
              <a:extLst>
                <a:ext uri="{FF2B5EF4-FFF2-40B4-BE49-F238E27FC236}">
                  <a16:creationId xmlns:a16="http://schemas.microsoft.com/office/drawing/2014/main" id="{CFD80E15-14AD-4418-AB47-4302636BC34E}"/>
                </a:ext>
              </a:extLst>
            </p:cNvPr>
            <p:cNvSpPr>
              <a:spLocks/>
            </p:cNvSpPr>
            <p:nvPr/>
          </p:nvSpPr>
          <p:spPr bwMode="auto">
            <a:xfrm>
              <a:off x="4114" y="1813"/>
              <a:ext cx="3" cy="3"/>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0"/>
                    <a:pt x="1" y="0"/>
                    <a:pt x="1" y="0"/>
                  </a:cubicBezTo>
                  <a:cubicBezTo>
                    <a:pt x="1" y="0"/>
                    <a:pt x="0"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50" name="Freeform 2504">
              <a:extLst>
                <a:ext uri="{FF2B5EF4-FFF2-40B4-BE49-F238E27FC236}">
                  <a16:creationId xmlns:a16="http://schemas.microsoft.com/office/drawing/2014/main" id="{7F65D62E-B931-4136-84F7-F7B2109E8ED0}"/>
                </a:ext>
              </a:extLst>
            </p:cNvPr>
            <p:cNvSpPr>
              <a:spLocks/>
            </p:cNvSpPr>
            <p:nvPr/>
          </p:nvSpPr>
          <p:spPr bwMode="auto">
            <a:xfrm>
              <a:off x="4152" y="1754"/>
              <a:ext cx="12" cy="7"/>
            </a:xfrm>
            <a:custGeom>
              <a:avLst/>
              <a:gdLst>
                <a:gd name="T0" fmla="*/ 3 w 5"/>
                <a:gd name="T1" fmla="*/ 1 h 3"/>
                <a:gd name="T2" fmla="*/ 3 w 5"/>
                <a:gd name="T3" fmla="*/ 1 h 3"/>
                <a:gd name="T4" fmla="*/ 2 w 5"/>
                <a:gd name="T5" fmla="*/ 1 h 3"/>
                <a:gd name="T6" fmla="*/ 1 w 5"/>
                <a:gd name="T7" fmla="*/ 1 h 3"/>
                <a:gd name="T8" fmla="*/ 1 w 5"/>
                <a:gd name="T9" fmla="*/ 3 h 3"/>
                <a:gd name="T10" fmla="*/ 4 w 5"/>
                <a:gd name="T11" fmla="*/ 3 h 3"/>
                <a:gd name="T12" fmla="*/ 5 w 5"/>
                <a:gd name="T13" fmla="*/ 0 h 3"/>
                <a:gd name="T14" fmla="*/ 3 w 5"/>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3" y="1"/>
                  </a:moveTo>
                  <a:cubicBezTo>
                    <a:pt x="3" y="1"/>
                    <a:pt x="3" y="1"/>
                    <a:pt x="3" y="1"/>
                  </a:cubicBezTo>
                  <a:cubicBezTo>
                    <a:pt x="3" y="1"/>
                    <a:pt x="2" y="1"/>
                    <a:pt x="2" y="1"/>
                  </a:cubicBezTo>
                  <a:cubicBezTo>
                    <a:pt x="2" y="1"/>
                    <a:pt x="2" y="1"/>
                    <a:pt x="1" y="1"/>
                  </a:cubicBezTo>
                  <a:cubicBezTo>
                    <a:pt x="0" y="1"/>
                    <a:pt x="1" y="1"/>
                    <a:pt x="1" y="3"/>
                  </a:cubicBezTo>
                  <a:cubicBezTo>
                    <a:pt x="3" y="2"/>
                    <a:pt x="3" y="1"/>
                    <a:pt x="4" y="3"/>
                  </a:cubicBezTo>
                  <a:cubicBezTo>
                    <a:pt x="3" y="2"/>
                    <a:pt x="5" y="2"/>
                    <a:pt x="5" y="0"/>
                  </a:cubicBezTo>
                  <a:cubicBezTo>
                    <a:pt x="4" y="1"/>
                    <a:pt x="4" y="1"/>
                    <a:pt x="3"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51" name="Freeform 2505">
              <a:extLst>
                <a:ext uri="{FF2B5EF4-FFF2-40B4-BE49-F238E27FC236}">
                  <a16:creationId xmlns:a16="http://schemas.microsoft.com/office/drawing/2014/main" id="{409940D5-ABD3-4342-A378-1410D87780EC}"/>
                </a:ext>
              </a:extLst>
            </p:cNvPr>
            <p:cNvSpPr>
              <a:spLocks/>
            </p:cNvSpPr>
            <p:nvPr/>
          </p:nvSpPr>
          <p:spPr bwMode="auto">
            <a:xfrm>
              <a:off x="4154" y="1837"/>
              <a:ext cx="5" cy="5"/>
            </a:xfrm>
            <a:custGeom>
              <a:avLst/>
              <a:gdLst>
                <a:gd name="T0" fmla="*/ 1 w 2"/>
                <a:gd name="T1" fmla="*/ 2 h 2"/>
                <a:gd name="T2" fmla="*/ 2 w 2"/>
                <a:gd name="T3" fmla="*/ 0 h 2"/>
                <a:gd name="T4" fmla="*/ 1 w 2"/>
                <a:gd name="T5" fmla="*/ 2 h 2"/>
              </a:gdLst>
              <a:ahLst/>
              <a:cxnLst>
                <a:cxn ang="0">
                  <a:pos x="T0" y="T1"/>
                </a:cxn>
                <a:cxn ang="0">
                  <a:pos x="T2" y="T3"/>
                </a:cxn>
                <a:cxn ang="0">
                  <a:pos x="T4" y="T5"/>
                </a:cxn>
              </a:cxnLst>
              <a:rect l="0" t="0" r="r" b="b"/>
              <a:pathLst>
                <a:path w="2" h="2">
                  <a:moveTo>
                    <a:pt x="1" y="2"/>
                  </a:moveTo>
                  <a:cubicBezTo>
                    <a:pt x="2" y="1"/>
                    <a:pt x="2" y="1"/>
                    <a:pt x="2" y="0"/>
                  </a:cubicBezTo>
                  <a:cubicBezTo>
                    <a:pt x="1" y="0"/>
                    <a:pt x="0" y="0"/>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52" name="Freeform 2506">
              <a:extLst>
                <a:ext uri="{FF2B5EF4-FFF2-40B4-BE49-F238E27FC236}">
                  <a16:creationId xmlns:a16="http://schemas.microsoft.com/office/drawing/2014/main" id="{8EF5F181-D7C3-48D4-B92A-4C8B1619BF36}"/>
                </a:ext>
              </a:extLst>
            </p:cNvPr>
            <p:cNvSpPr>
              <a:spLocks/>
            </p:cNvSpPr>
            <p:nvPr/>
          </p:nvSpPr>
          <p:spPr bwMode="auto">
            <a:xfrm>
              <a:off x="4161" y="1856"/>
              <a:ext cx="3" cy="2"/>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1"/>
                    <a:pt x="1" y="1"/>
                  </a:cubicBezTo>
                  <a:cubicBezTo>
                    <a:pt x="1" y="0"/>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53" name="Freeform 2507">
              <a:extLst>
                <a:ext uri="{FF2B5EF4-FFF2-40B4-BE49-F238E27FC236}">
                  <a16:creationId xmlns:a16="http://schemas.microsoft.com/office/drawing/2014/main" id="{9BAB2F38-8E10-4FE1-9709-A6100F5E61B5}"/>
                </a:ext>
              </a:extLst>
            </p:cNvPr>
            <p:cNvSpPr>
              <a:spLocks/>
            </p:cNvSpPr>
            <p:nvPr/>
          </p:nvSpPr>
          <p:spPr bwMode="auto">
            <a:xfrm>
              <a:off x="4176" y="1820"/>
              <a:ext cx="9" cy="5"/>
            </a:xfrm>
            <a:custGeom>
              <a:avLst/>
              <a:gdLst>
                <a:gd name="T0" fmla="*/ 4 w 4"/>
                <a:gd name="T1" fmla="*/ 0 h 2"/>
                <a:gd name="T2" fmla="*/ 0 w 4"/>
                <a:gd name="T3" fmla="*/ 2 h 2"/>
                <a:gd name="T4" fmla="*/ 4 w 4"/>
                <a:gd name="T5" fmla="*/ 0 h 2"/>
              </a:gdLst>
              <a:ahLst/>
              <a:cxnLst>
                <a:cxn ang="0">
                  <a:pos x="T0" y="T1"/>
                </a:cxn>
                <a:cxn ang="0">
                  <a:pos x="T2" y="T3"/>
                </a:cxn>
                <a:cxn ang="0">
                  <a:pos x="T4" y="T5"/>
                </a:cxn>
              </a:cxnLst>
              <a:rect l="0" t="0" r="r" b="b"/>
              <a:pathLst>
                <a:path w="4" h="2">
                  <a:moveTo>
                    <a:pt x="4" y="0"/>
                  </a:moveTo>
                  <a:cubicBezTo>
                    <a:pt x="3" y="1"/>
                    <a:pt x="2" y="2"/>
                    <a:pt x="0" y="2"/>
                  </a:cubicBezTo>
                  <a:cubicBezTo>
                    <a:pt x="2" y="2"/>
                    <a:pt x="3" y="2"/>
                    <a:pt x="4"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54" name="Freeform 2508">
              <a:extLst>
                <a:ext uri="{FF2B5EF4-FFF2-40B4-BE49-F238E27FC236}">
                  <a16:creationId xmlns:a16="http://schemas.microsoft.com/office/drawing/2014/main" id="{66F94D29-78D9-4BE6-9239-3D9CE36F5785}"/>
                </a:ext>
              </a:extLst>
            </p:cNvPr>
            <p:cNvSpPr>
              <a:spLocks/>
            </p:cNvSpPr>
            <p:nvPr/>
          </p:nvSpPr>
          <p:spPr bwMode="auto">
            <a:xfrm>
              <a:off x="4150" y="1825"/>
              <a:ext cx="2" cy="5"/>
            </a:xfrm>
            <a:custGeom>
              <a:avLst/>
              <a:gdLst>
                <a:gd name="T0" fmla="*/ 0 w 1"/>
                <a:gd name="T1" fmla="*/ 2 h 2"/>
                <a:gd name="T2" fmla="*/ 0 w 1"/>
                <a:gd name="T3" fmla="*/ 2 h 2"/>
              </a:gdLst>
              <a:ahLst/>
              <a:cxnLst>
                <a:cxn ang="0">
                  <a:pos x="T0" y="T1"/>
                </a:cxn>
                <a:cxn ang="0">
                  <a:pos x="T2" y="T3"/>
                </a:cxn>
              </a:cxnLst>
              <a:rect l="0" t="0" r="r" b="b"/>
              <a:pathLst>
                <a:path w="1" h="2">
                  <a:moveTo>
                    <a:pt x="0" y="2"/>
                  </a:moveTo>
                  <a:cubicBezTo>
                    <a:pt x="1" y="1"/>
                    <a:pt x="0" y="0"/>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55" name="Freeform 2509">
              <a:extLst>
                <a:ext uri="{FF2B5EF4-FFF2-40B4-BE49-F238E27FC236}">
                  <a16:creationId xmlns:a16="http://schemas.microsoft.com/office/drawing/2014/main" id="{0DA302BF-8D9F-46A5-96E4-8A3A6E0050C7}"/>
                </a:ext>
              </a:extLst>
            </p:cNvPr>
            <p:cNvSpPr>
              <a:spLocks/>
            </p:cNvSpPr>
            <p:nvPr/>
          </p:nvSpPr>
          <p:spPr bwMode="auto">
            <a:xfrm>
              <a:off x="4119" y="1778"/>
              <a:ext cx="2" cy="5"/>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1"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56" name="Freeform 2510">
              <a:extLst>
                <a:ext uri="{FF2B5EF4-FFF2-40B4-BE49-F238E27FC236}">
                  <a16:creationId xmlns:a16="http://schemas.microsoft.com/office/drawing/2014/main" id="{84E2B8D2-4E42-43CC-B10A-871628F4C735}"/>
                </a:ext>
              </a:extLst>
            </p:cNvPr>
            <p:cNvSpPr>
              <a:spLocks/>
            </p:cNvSpPr>
            <p:nvPr/>
          </p:nvSpPr>
          <p:spPr bwMode="auto">
            <a:xfrm>
              <a:off x="4173" y="1773"/>
              <a:ext cx="22" cy="12"/>
            </a:xfrm>
            <a:custGeom>
              <a:avLst/>
              <a:gdLst>
                <a:gd name="T0" fmla="*/ 8 w 9"/>
                <a:gd name="T1" fmla="*/ 4 h 5"/>
                <a:gd name="T2" fmla="*/ 6 w 9"/>
                <a:gd name="T3" fmla="*/ 2 h 5"/>
                <a:gd name="T4" fmla="*/ 5 w 9"/>
                <a:gd name="T5" fmla="*/ 0 h 5"/>
                <a:gd name="T6" fmla="*/ 2 w 9"/>
                <a:gd name="T7" fmla="*/ 1 h 5"/>
                <a:gd name="T8" fmla="*/ 0 w 9"/>
                <a:gd name="T9" fmla="*/ 2 h 5"/>
                <a:gd name="T10" fmla="*/ 4 w 9"/>
                <a:gd name="T11" fmla="*/ 2 h 5"/>
                <a:gd name="T12" fmla="*/ 2 w 9"/>
                <a:gd name="T13" fmla="*/ 4 h 5"/>
                <a:gd name="T14" fmla="*/ 6 w 9"/>
                <a:gd name="T15" fmla="*/ 5 h 5"/>
                <a:gd name="T16" fmla="*/ 6 w 9"/>
                <a:gd name="T17" fmla="*/ 3 h 5"/>
                <a:gd name="T18" fmla="*/ 8 w 9"/>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5">
                  <a:moveTo>
                    <a:pt x="8" y="4"/>
                  </a:moveTo>
                  <a:cubicBezTo>
                    <a:pt x="8" y="3"/>
                    <a:pt x="6" y="2"/>
                    <a:pt x="6" y="2"/>
                  </a:cubicBezTo>
                  <a:cubicBezTo>
                    <a:pt x="5" y="1"/>
                    <a:pt x="6" y="1"/>
                    <a:pt x="5" y="0"/>
                  </a:cubicBezTo>
                  <a:cubicBezTo>
                    <a:pt x="4" y="0"/>
                    <a:pt x="3" y="1"/>
                    <a:pt x="2" y="1"/>
                  </a:cubicBezTo>
                  <a:cubicBezTo>
                    <a:pt x="1" y="2"/>
                    <a:pt x="1" y="1"/>
                    <a:pt x="0" y="2"/>
                  </a:cubicBezTo>
                  <a:cubicBezTo>
                    <a:pt x="1" y="2"/>
                    <a:pt x="3" y="2"/>
                    <a:pt x="4" y="2"/>
                  </a:cubicBezTo>
                  <a:cubicBezTo>
                    <a:pt x="4" y="3"/>
                    <a:pt x="3" y="4"/>
                    <a:pt x="2" y="4"/>
                  </a:cubicBezTo>
                  <a:cubicBezTo>
                    <a:pt x="3" y="4"/>
                    <a:pt x="5" y="5"/>
                    <a:pt x="6" y="5"/>
                  </a:cubicBezTo>
                  <a:cubicBezTo>
                    <a:pt x="9" y="5"/>
                    <a:pt x="5" y="4"/>
                    <a:pt x="6" y="3"/>
                  </a:cubicBezTo>
                  <a:cubicBezTo>
                    <a:pt x="7" y="3"/>
                    <a:pt x="7" y="5"/>
                    <a:pt x="8"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57" name="Freeform 2511">
              <a:extLst>
                <a:ext uri="{FF2B5EF4-FFF2-40B4-BE49-F238E27FC236}">
                  <a16:creationId xmlns:a16="http://schemas.microsoft.com/office/drawing/2014/main" id="{5CA870CD-6518-4226-B743-CB809D7188F3}"/>
                </a:ext>
              </a:extLst>
            </p:cNvPr>
            <p:cNvSpPr>
              <a:spLocks/>
            </p:cNvSpPr>
            <p:nvPr/>
          </p:nvSpPr>
          <p:spPr bwMode="auto">
            <a:xfrm>
              <a:off x="4164" y="1742"/>
              <a:ext cx="5" cy="3"/>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2" y="0"/>
                    <a:pt x="1" y="0"/>
                    <a:pt x="0" y="0"/>
                  </a:cubicBezTo>
                  <a:cubicBezTo>
                    <a:pt x="1" y="1"/>
                    <a:pt x="1"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58" name="Freeform 2512">
              <a:extLst>
                <a:ext uri="{FF2B5EF4-FFF2-40B4-BE49-F238E27FC236}">
                  <a16:creationId xmlns:a16="http://schemas.microsoft.com/office/drawing/2014/main" id="{015058BD-827A-454D-AD3B-A93ABE09AE60}"/>
                </a:ext>
              </a:extLst>
            </p:cNvPr>
            <p:cNvSpPr>
              <a:spLocks/>
            </p:cNvSpPr>
            <p:nvPr/>
          </p:nvSpPr>
          <p:spPr bwMode="auto">
            <a:xfrm>
              <a:off x="4145" y="1839"/>
              <a:ext cx="2" cy="5"/>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0"/>
                    <a:pt x="0" y="1"/>
                    <a:pt x="0" y="2"/>
                  </a:cubicBezTo>
                  <a:cubicBezTo>
                    <a:pt x="0" y="1"/>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59" name="Freeform 2513">
              <a:extLst>
                <a:ext uri="{FF2B5EF4-FFF2-40B4-BE49-F238E27FC236}">
                  <a16:creationId xmlns:a16="http://schemas.microsoft.com/office/drawing/2014/main" id="{B2FA5DDF-396F-4A7F-B49C-F4250745120D}"/>
                </a:ext>
              </a:extLst>
            </p:cNvPr>
            <p:cNvSpPr>
              <a:spLocks/>
            </p:cNvSpPr>
            <p:nvPr/>
          </p:nvSpPr>
          <p:spPr bwMode="auto">
            <a:xfrm>
              <a:off x="4117" y="1877"/>
              <a:ext cx="68" cy="22"/>
            </a:xfrm>
            <a:custGeom>
              <a:avLst/>
              <a:gdLst>
                <a:gd name="T0" fmla="*/ 25 w 29"/>
                <a:gd name="T1" fmla="*/ 6 h 9"/>
                <a:gd name="T2" fmla="*/ 24 w 29"/>
                <a:gd name="T3" fmla="*/ 6 h 9"/>
                <a:gd name="T4" fmla="*/ 23 w 29"/>
                <a:gd name="T5" fmla="*/ 4 h 9"/>
                <a:gd name="T6" fmla="*/ 20 w 29"/>
                <a:gd name="T7" fmla="*/ 4 h 9"/>
                <a:gd name="T8" fmla="*/ 15 w 29"/>
                <a:gd name="T9" fmla="*/ 3 h 9"/>
                <a:gd name="T10" fmla="*/ 8 w 29"/>
                <a:gd name="T11" fmla="*/ 3 h 9"/>
                <a:gd name="T12" fmla="*/ 6 w 29"/>
                <a:gd name="T13" fmla="*/ 2 h 9"/>
                <a:gd name="T14" fmla="*/ 7 w 29"/>
                <a:gd name="T15" fmla="*/ 1 h 9"/>
                <a:gd name="T16" fmla="*/ 3 w 29"/>
                <a:gd name="T17" fmla="*/ 1 h 9"/>
                <a:gd name="T18" fmla="*/ 2 w 29"/>
                <a:gd name="T19" fmla="*/ 0 h 9"/>
                <a:gd name="T20" fmla="*/ 0 w 29"/>
                <a:gd name="T21" fmla="*/ 4 h 9"/>
                <a:gd name="T22" fmla="*/ 10 w 29"/>
                <a:gd name="T23" fmla="*/ 6 h 9"/>
                <a:gd name="T24" fmla="*/ 13 w 29"/>
                <a:gd name="T25" fmla="*/ 9 h 9"/>
                <a:gd name="T26" fmla="*/ 21 w 29"/>
                <a:gd name="T27" fmla="*/ 8 h 9"/>
                <a:gd name="T28" fmla="*/ 27 w 29"/>
                <a:gd name="T29" fmla="*/ 7 h 9"/>
                <a:gd name="T30" fmla="*/ 28 w 29"/>
                <a:gd name="T31" fmla="*/ 6 h 9"/>
                <a:gd name="T32" fmla="*/ 29 w 29"/>
                <a:gd name="T33" fmla="*/ 6 h 9"/>
                <a:gd name="T34" fmla="*/ 28 w 29"/>
                <a:gd name="T35" fmla="*/ 5 h 9"/>
                <a:gd name="T36" fmla="*/ 29 w 29"/>
                <a:gd name="T37" fmla="*/ 4 h 9"/>
                <a:gd name="T38" fmla="*/ 25 w 29"/>
                <a:gd name="T39"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9">
                  <a:moveTo>
                    <a:pt x="25" y="6"/>
                  </a:moveTo>
                  <a:cubicBezTo>
                    <a:pt x="24" y="6"/>
                    <a:pt x="24" y="6"/>
                    <a:pt x="24" y="6"/>
                  </a:cubicBezTo>
                  <a:cubicBezTo>
                    <a:pt x="23" y="6"/>
                    <a:pt x="23" y="4"/>
                    <a:pt x="23" y="4"/>
                  </a:cubicBezTo>
                  <a:cubicBezTo>
                    <a:pt x="22" y="4"/>
                    <a:pt x="21" y="4"/>
                    <a:pt x="20" y="4"/>
                  </a:cubicBezTo>
                  <a:cubicBezTo>
                    <a:pt x="19" y="4"/>
                    <a:pt x="17" y="3"/>
                    <a:pt x="15" y="3"/>
                  </a:cubicBezTo>
                  <a:cubicBezTo>
                    <a:pt x="13" y="3"/>
                    <a:pt x="9" y="5"/>
                    <a:pt x="8" y="3"/>
                  </a:cubicBezTo>
                  <a:cubicBezTo>
                    <a:pt x="8" y="2"/>
                    <a:pt x="5" y="2"/>
                    <a:pt x="6" y="2"/>
                  </a:cubicBezTo>
                  <a:cubicBezTo>
                    <a:pt x="7" y="2"/>
                    <a:pt x="7" y="2"/>
                    <a:pt x="7" y="1"/>
                  </a:cubicBezTo>
                  <a:cubicBezTo>
                    <a:pt x="6" y="0"/>
                    <a:pt x="4" y="1"/>
                    <a:pt x="3" y="1"/>
                  </a:cubicBezTo>
                  <a:cubicBezTo>
                    <a:pt x="2" y="1"/>
                    <a:pt x="3" y="0"/>
                    <a:pt x="2" y="0"/>
                  </a:cubicBezTo>
                  <a:cubicBezTo>
                    <a:pt x="2" y="1"/>
                    <a:pt x="1" y="3"/>
                    <a:pt x="0" y="4"/>
                  </a:cubicBezTo>
                  <a:cubicBezTo>
                    <a:pt x="3" y="5"/>
                    <a:pt x="6" y="5"/>
                    <a:pt x="10" y="6"/>
                  </a:cubicBezTo>
                  <a:cubicBezTo>
                    <a:pt x="11" y="6"/>
                    <a:pt x="14" y="7"/>
                    <a:pt x="13" y="9"/>
                  </a:cubicBezTo>
                  <a:cubicBezTo>
                    <a:pt x="16" y="8"/>
                    <a:pt x="18" y="8"/>
                    <a:pt x="21" y="8"/>
                  </a:cubicBezTo>
                  <a:cubicBezTo>
                    <a:pt x="23" y="8"/>
                    <a:pt x="25" y="7"/>
                    <a:pt x="27" y="7"/>
                  </a:cubicBezTo>
                  <a:cubicBezTo>
                    <a:pt x="28" y="7"/>
                    <a:pt x="28" y="7"/>
                    <a:pt x="28" y="6"/>
                  </a:cubicBezTo>
                  <a:cubicBezTo>
                    <a:pt x="28" y="6"/>
                    <a:pt x="29" y="6"/>
                    <a:pt x="29" y="6"/>
                  </a:cubicBezTo>
                  <a:cubicBezTo>
                    <a:pt x="29" y="5"/>
                    <a:pt x="28" y="5"/>
                    <a:pt x="28" y="5"/>
                  </a:cubicBezTo>
                  <a:cubicBezTo>
                    <a:pt x="28" y="5"/>
                    <a:pt x="28" y="4"/>
                    <a:pt x="29" y="4"/>
                  </a:cubicBezTo>
                  <a:cubicBezTo>
                    <a:pt x="27" y="6"/>
                    <a:pt x="27" y="5"/>
                    <a:pt x="25" y="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60" name="Freeform 2514">
              <a:extLst>
                <a:ext uri="{FF2B5EF4-FFF2-40B4-BE49-F238E27FC236}">
                  <a16:creationId xmlns:a16="http://schemas.microsoft.com/office/drawing/2014/main" id="{DA5CD3EB-5EF4-4FDF-BA02-835027120467}"/>
                </a:ext>
              </a:extLst>
            </p:cNvPr>
            <p:cNvSpPr>
              <a:spLocks/>
            </p:cNvSpPr>
            <p:nvPr/>
          </p:nvSpPr>
          <p:spPr bwMode="auto">
            <a:xfrm>
              <a:off x="4218" y="1856"/>
              <a:ext cx="14" cy="14"/>
            </a:xfrm>
            <a:custGeom>
              <a:avLst/>
              <a:gdLst>
                <a:gd name="T0" fmla="*/ 2 w 6"/>
                <a:gd name="T1" fmla="*/ 1 h 6"/>
                <a:gd name="T2" fmla="*/ 0 w 6"/>
                <a:gd name="T3" fmla="*/ 3 h 6"/>
                <a:gd name="T4" fmla="*/ 0 w 6"/>
                <a:gd name="T5" fmla="*/ 5 h 6"/>
                <a:gd name="T6" fmla="*/ 0 w 6"/>
                <a:gd name="T7" fmla="*/ 6 h 6"/>
                <a:gd name="T8" fmla="*/ 2 w 6"/>
                <a:gd name="T9" fmla="*/ 5 h 6"/>
                <a:gd name="T10" fmla="*/ 4 w 6"/>
                <a:gd name="T11" fmla="*/ 5 h 6"/>
                <a:gd name="T12" fmla="*/ 5 w 6"/>
                <a:gd name="T13" fmla="*/ 2 h 6"/>
                <a:gd name="T14" fmla="*/ 5 w 6"/>
                <a:gd name="T15" fmla="*/ 0 h 6"/>
                <a:gd name="T16" fmla="*/ 2 w 6"/>
                <a:gd name="T1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2" y="1"/>
                  </a:moveTo>
                  <a:cubicBezTo>
                    <a:pt x="2" y="2"/>
                    <a:pt x="1" y="2"/>
                    <a:pt x="0" y="3"/>
                  </a:cubicBezTo>
                  <a:cubicBezTo>
                    <a:pt x="0" y="4"/>
                    <a:pt x="0" y="5"/>
                    <a:pt x="0" y="5"/>
                  </a:cubicBezTo>
                  <a:cubicBezTo>
                    <a:pt x="0" y="6"/>
                    <a:pt x="0" y="6"/>
                    <a:pt x="0" y="6"/>
                  </a:cubicBezTo>
                  <a:cubicBezTo>
                    <a:pt x="0" y="6"/>
                    <a:pt x="2" y="5"/>
                    <a:pt x="2" y="5"/>
                  </a:cubicBezTo>
                  <a:cubicBezTo>
                    <a:pt x="3" y="5"/>
                    <a:pt x="3" y="4"/>
                    <a:pt x="4" y="5"/>
                  </a:cubicBezTo>
                  <a:cubicBezTo>
                    <a:pt x="4" y="3"/>
                    <a:pt x="4" y="3"/>
                    <a:pt x="5" y="2"/>
                  </a:cubicBezTo>
                  <a:cubicBezTo>
                    <a:pt x="5" y="2"/>
                    <a:pt x="6" y="1"/>
                    <a:pt x="5" y="0"/>
                  </a:cubicBezTo>
                  <a:cubicBezTo>
                    <a:pt x="5" y="0"/>
                    <a:pt x="3"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61" name="Freeform 2515">
              <a:extLst>
                <a:ext uri="{FF2B5EF4-FFF2-40B4-BE49-F238E27FC236}">
                  <a16:creationId xmlns:a16="http://schemas.microsoft.com/office/drawing/2014/main" id="{7A9E1BDE-FE6E-4DE9-9F63-477DF79A1A1E}"/>
                </a:ext>
              </a:extLst>
            </p:cNvPr>
            <p:cNvSpPr>
              <a:spLocks/>
            </p:cNvSpPr>
            <p:nvPr/>
          </p:nvSpPr>
          <p:spPr bwMode="auto">
            <a:xfrm>
              <a:off x="4145" y="1811"/>
              <a:ext cx="7" cy="9"/>
            </a:xfrm>
            <a:custGeom>
              <a:avLst/>
              <a:gdLst>
                <a:gd name="T0" fmla="*/ 3 w 3"/>
                <a:gd name="T1" fmla="*/ 2 h 4"/>
                <a:gd name="T2" fmla="*/ 2 w 3"/>
                <a:gd name="T3" fmla="*/ 2 h 4"/>
                <a:gd name="T4" fmla="*/ 0 w 3"/>
                <a:gd name="T5" fmla="*/ 1 h 4"/>
                <a:gd name="T6" fmla="*/ 3 w 3"/>
                <a:gd name="T7" fmla="*/ 4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2" y="2"/>
                    <a:pt x="2" y="2"/>
                  </a:cubicBezTo>
                  <a:cubicBezTo>
                    <a:pt x="1" y="1"/>
                    <a:pt x="1" y="0"/>
                    <a:pt x="0" y="1"/>
                  </a:cubicBezTo>
                  <a:cubicBezTo>
                    <a:pt x="1" y="2"/>
                    <a:pt x="2" y="3"/>
                    <a:pt x="3" y="4"/>
                  </a:cubicBezTo>
                  <a:cubicBezTo>
                    <a:pt x="3" y="4"/>
                    <a:pt x="3" y="3"/>
                    <a:pt x="3"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62" name="Freeform 2516">
              <a:extLst>
                <a:ext uri="{FF2B5EF4-FFF2-40B4-BE49-F238E27FC236}">
                  <a16:creationId xmlns:a16="http://schemas.microsoft.com/office/drawing/2014/main" id="{9098763A-4C1A-49E7-84F5-D7289B3DB373}"/>
                </a:ext>
              </a:extLst>
            </p:cNvPr>
            <p:cNvSpPr>
              <a:spLocks/>
            </p:cNvSpPr>
            <p:nvPr/>
          </p:nvSpPr>
          <p:spPr bwMode="auto">
            <a:xfrm>
              <a:off x="4100" y="1783"/>
              <a:ext cx="43" cy="30"/>
            </a:xfrm>
            <a:custGeom>
              <a:avLst/>
              <a:gdLst>
                <a:gd name="T0" fmla="*/ 5 w 18"/>
                <a:gd name="T1" fmla="*/ 0 h 13"/>
                <a:gd name="T2" fmla="*/ 0 w 18"/>
                <a:gd name="T3" fmla="*/ 2 h 13"/>
                <a:gd name="T4" fmla="*/ 3 w 18"/>
                <a:gd name="T5" fmla="*/ 3 h 13"/>
                <a:gd name="T6" fmla="*/ 8 w 18"/>
                <a:gd name="T7" fmla="*/ 7 h 13"/>
                <a:gd name="T8" fmla="*/ 12 w 18"/>
                <a:gd name="T9" fmla="*/ 8 h 13"/>
                <a:gd name="T10" fmla="*/ 14 w 18"/>
                <a:gd name="T11" fmla="*/ 11 h 13"/>
                <a:gd name="T12" fmla="*/ 17 w 18"/>
                <a:gd name="T13" fmla="*/ 13 h 13"/>
                <a:gd name="T14" fmla="*/ 18 w 18"/>
                <a:gd name="T15" fmla="*/ 11 h 13"/>
                <a:gd name="T16" fmla="*/ 15 w 18"/>
                <a:gd name="T17" fmla="*/ 9 h 13"/>
                <a:gd name="T18" fmla="*/ 14 w 18"/>
                <a:gd name="T19" fmla="*/ 8 h 13"/>
                <a:gd name="T20" fmla="*/ 14 w 18"/>
                <a:gd name="T21" fmla="*/ 6 h 13"/>
                <a:gd name="T22" fmla="*/ 13 w 18"/>
                <a:gd name="T23" fmla="*/ 6 h 13"/>
                <a:gd name="T24" fmla="*/ 13 w 18"/>
                <a:gd name="T25" fmla="*/ 5 h 13"/>
                <a:gd name="T26" fmla="*/ 11 w 18"/>
                <a:gd name="T27" fmla="*/ 5 h 13"/>
                <a:gd name="T28" fmla="*/ 9 w 18"/>
                <a:gd name="T29" fmla="*/ 4 h 13"/>
                <a:gd name="T30" fmla="*/ 7 w 18"/>
                <a:gd name="T31" fmla="*/ 3 h 13"/>
                <a:gd name="T32" fmla="*/ 5 w 18"/>
                <a:gd name="T3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3">
                  <a:moveTo>
                    <a:pt x="5" y="0"/>
                  </a:moveTo>
                  <a:cubicBezTo>
                    <a:pt x="3" y="0"/>
                    <a:pt x="2" y="2"/>
                    <a:pt x="0" y="2"/>
                  </a:cubicBezTo>
                  <a:cubicBezTo>
                    <a:pt x="1" y="2"/>
                    <a:pt x="2" y="2"/>
                    <a:pt x="3" y="3"/>
                  </a:cubicBezTo>
                  <a:cubicBezTo>
                    <a:pt x="5" y="4"/>
                    <a:pt x="6" y="6"/>
                    <a:pt x="8" y="7"/>
                  </a:cubicBezTo>
                  <a:cubicBezTo>
                    <a:pt x="10" y="8"/>
                    <a:pt x="11" y="8"/>
                    <a:pt x="12" y="8"/>
                  </a:cubicBezTo>
                  <a:cubicBezTo>
                    <a:pt x="13" y="8"/>
                    <a:pt x="13" y="10"/>
                    <a:pt x="14" y="11"/>
                  </a:cubicBezTo>
                  <a:cubicBezTo>
                    <a:pt x="15" y="12"/>
                    <a:pt x="16" y="12"/>
                    <a:pt x="17" y="13"/>
                  </a:cubicBezTo>
                  <a:cubicBezTo>
                    <a:pt x="18" y="12"/>
                    <a:pt x="18" y="12"/>
                    <a:pt x="18" y="11"/>
                  </a:cubicBezTo>
                  <a:cubicBezTo>
                    <a:pt x="16" y="11"/>
                    <a:pt x="15" y="11"/>
                    <a:pt x="15" y="9"/>
                  </a:cubicBezTo>
                  <a:cubicBezTo>
                    <a:pt x="14" y="9"/>
                    <a:pt x="14" y="8"/>
                    <a:pt x="14" y="8"/>
                  </a:cubicBezTo>
                  <a:cubicBezTo>
                    <a:pt x="14" y="7"/>
                    <a:pt x="14" y="7"/>
                    <a:pt x="14" y="6"/>
                  </a:cubicBezTo>
                  <a:cubicBezTo>
                    <a:pt x="14" y="6"/>
                    <a:pt x="13" y="6"/>
                    <a:pt x="13" y="6"/>
                  </a:cubicBezTo>
                  <a:cubicBezTo>
                    <a:pt x="13" y="5"/>
                    <a:pt x="14" y="5"/>
                    <a:pt x="13" y="5"/>
                  </a:cubicBezTo>
                  <a:cubicBezTo>
                    <a:pt x="12" y="4"/>
                    <a:pt x="11" y="5"/>
                    <a:pt x="11" y="5"/>
                  </a:cubicBezTo>
                  <a:cubicBezTo>
                    <a:pt x="10" y="4"/>
                    <a:pt x="10" y="4"/>
                    <a:pt x="9" y="4"/>
                  </a:cubicBezTo>
                  <a:cubicBezTo>
                    <a:pt x="8" y="3"/>
                    <a:pt x="8" y="4"/>
                    <a:pt x="7" y="3"/>
                  </a:cubicBezTo>
                  <a:cubicBezTo>
                    <a:pt x="6" y="2"/>
                    <a:pt x="6" y="0"/>
                    <a:pt x="5"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63" name="Freeform 2517">
              <a:extLst>
                <a:ext uri="{FF2B5EF4-FFF2-40B4-BE49-F238E27FC236}">
                  <a16:creationId xmlns:a16="http://schemas.microsoft.com/office/drawing/2014/main" id="{F8F54C69-F81A-4E6E-9923-59B82D9718D8}"/>
                </a:ext>
              </a:extLst>
            </p:cNvPr>
            <p:cNvSpPr>
              <a:spLocks/>
            </p:cNvSpPr>
            <p:nvPr/>
          </p:nvSpPr>
          <p:spPr bwMode="auto">
            <a:xfrm>
              <a:off x="4192" y="1818"/>
              <a:ext cx="12" cy="5"/>
            </a:xfrm>
            <a:custGeom>
              <a:avLst/>
              <a:gdLst>
                <a:gd name="T0" fmla="*/ 4 w 5"/>
                <a:gd name="T1" fmla="*/ 0 h 2"/>
                <a:gd name="T2" fmla="*/ 0 w 5"/>
                <a:gd name="T3" fmla="*/ 0 h 2"/>
                <a:gd name="T4" fmla="*/ 2 w 5"/>
                <a:gd name="T5" fmla="*/ 2 h 2"/>
                <a:gd name="T6" fmla="*/ 4 w 5"/>
                <a:gd name="T7" fmla="*/ 0 h 2"/>
              </a:gdLst>
              <a:ahLst/>
              <a:cxnLst>
                <a:cxn ang="0">
                  <a:pos x="T0" y="T1"/>
                </a:cxn>
                <a:cxn ang="0">
                  <a:pos x="T2" y="T3"/>
                </a:cxn>
                <a:cxn ang="0">
                  <a:pos x="T4" y="T5"/>
                </a:cxn>
                <a:cxn ang="0">
                  <a:pos x="T6" y="T7"/>
                </a:cxn>
              </a:cxnLst>
              <a:rect l="0" t="0" r="r" b="b"/>
              <a:pathLst>
                <a:path w="5" h="2">
                  <a:moveTo>
                    <a:pt x="4" y="0"/>
                  </a:moveTo>
                  <a:cubicBezTo>
                    <a:pt x="3" y="0"/>
                    <a:pt x="1" y="0"/>
                    <a:pt x="0" y="0"/>
                  </a:cubicBezTo>
                  <a:cubicBezTo>
                    <a:pt x="0" y="1"/>
                    <a:pt x="1" y="1"/>
                    <a:pt x="2" y="2"/>
                  </a:cubicBezTo>
                  <a:cubicBezTo>
                    <a:pt x="3" y="1"/>
                    <a:pt x="5" y="1"/>
                    <a:pt x="4"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64" name="Freeform 2518">
              <a:extLst>
                <a:ext uri="{FF2B5EF4-FFF2-40B4-BE49-F238E27FC236}">
                  <a16:creationId xmlns:a16="http://schemas.microsoft.com/office/drawing/2014/main" id="{068A0C8E-2852-47F3-8E86-4D94D181C906}"/>
                </a:ext>
              </a:extLst>
            </p:cNvPr>
            <p:cNvSpPr>
              <a:spLocks/>
            </p:cNvSpPr>
            <p:nvPr/>
          </p:nvSpPr>
          <p:spPr bwMode="auto">
            <a:xfrm>
              <a:off x="4114" y="1818"/>
              <a:ext cx="5" cy="2"/>
            </a:xfrm>
            <a:custGeom>
              <a:avLst/>
              <a:gdLst>
                <a:gd name="T0" fmla="*/ 2 w 2"/>
                <a:gd name="T1" fmla="*/ 1 h 1"/>
                <a:gd name="T2" fmla="*/ 0 w 2"/>
                <a:gd name="T3" fmla="*/ 1 h 1"/>
                <a:gd name="T4" fmla="*/ 1 w 2"/>
                <a:gd name="T5" fmla="*/ 1 h 1"/>
                <a:gd name="T6" fmla="*/ 2 w 2"/>
                <a:gd name="T7" fmla="*/ 1 h 1"/>
              </a:gdLst>
              <a:ahLst/>
              <a:cxnLst>
                <a:cxn ang="0">
                  <a:pos x="T0" y="T1"/>
                </a:cxn>
                <a:cxn ang="0">
                  <a:pos x="T2" y="T3"/>
                </a:cxn>
                <a:cxn ang="0">
                  <a:pos x="T4" y="T5"/>
                </a:cxn>
                <a:cxn ang="0">
                  <a:pos x="T6" y="T7"/>
                </a:cxn>
              </a:cxnLst>
              <a:rect l="0" t="0" r="r" b="b"/>
              <a:pathLst>
                <a:path w="2" h="1">
                  <a:moveTo>
                    <a:pt x="2" y="1"/>
                  </a:moveTo>
                  <a:cubicBezTo>
                    <a:pt x="1" y="0"/>
                    <a:pt x="1" y="0"/>
                    <a:pt x="0" y="1"/>
                  </a:cubicBezTo>
                  <a:cubicBezTo>
                    <a:pt x="1" y="1"/>
                    <a:pt x="1" y="1"/>
                    <a:pt x="1" y="1"/>
                  </a:cubicBezTo>
                  <a:cubicBezTo>
                    <a:pt x="1" y="1"/>
                    <a:pt x="1"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65" name="Freeform 2519">
              <a:extLst>
                <a:ext uri="{FF2B5EF4-FFF2-40B4-BE49-F238E27FC236}">
                  <a16:creationId xmlns:a16="http://schemas.microsoft.com/office/drawing/2014/main" id="{7920C188-2EE7-4177-926F-C85EE791B94C}"/>
                </a:ext>
              </a:extLst>
            </p:cNvPr>
            <p:cNvSpPr>
              <a:spLocks/>
            </p:cNvSpPr>
            <p:nvPr/>
          </p:nvSpPr>
          <p:spPr bwMode="auto">
            <a:xfrm>
              <a:off x="4202" y="1872"/>
              <a:ext cx="4" cy="12"/>
            </a:xfrm>
            <a:custGeom>
              <a:avLst/>
              <a:gdLst>
                <a:gd name="T0" fmla="*/ 1 w 2"/>
                <a:gd name="T1" fmla="*/ 5 h 5"/>
                <a:gd name="T2" fmla="*/ 2 w 2"/>
                <a:gd name="T3" fmla="*/ 3 h 5"/>
                <a:gd name="T4" fmla="*/ 1 w 2"/>
                <a:gd name="T5" fmla="*/ 3 h 5"/>
                <a:gd name="T6" fmla="*/ 2 w 2"/>
                <a:gd name="T7" fmla="*/ 0 h 5"/>
                <a:gd name="T8" fmla="*/ 1 w 2"/>
                <a:gd name="T9" fmla="*/ 5 h 5"/>
              </a:gdLst>
              <a:ahLst/>
              <a:cxnLst>
                <a:cxn ang="0">
                  <a:pos x="T0" y="T1"/>
                </a:cxn>
                <a:cxn ang="0">
                  <a:pos x="T2" y="T3"/>
                </a:cxn>
                <a:cxn ang="0">
                  <a:pos x="T4" y="T5"/>
                </a:cxn>
                <a:cxn ang="0">
                  <a:pos x="T6" y="T7"/>
                </a:cxn>
                <a:cxn ang="0">
                  <a:pos x="T8" y="T9"/>
                </a:cxn>
              </a:cxnLst>
              <a:rect l="0" t="0" r="r" b="b"/>
              <a:pathLst>
                <a:path w="2" h="5">
                  <a:moveTo>
                    <a:pt x="1" y="5"/>
                  </a:moveTo>
                  <a:cubicBezTo>
                    <a:pt x="2" y="4"/>
                    <a:pt x="2" y="5"/>
                    <a:pt x="2" y="3"/>
                  </a:cubicBezTo>
                  <a:cubicBezTo>
                    <a:pt x="2" y="3"/>
                    <a:pt x="1" y="3"/>
                    <a:pt x="1" y="3"/>
                  </a:cubicBezTo>
                  <a:cubicBezTo>
                    <a:pt x="1" y="2"/>
                    <a:pt x="2" y="1"/>
                    <a:pt x="2" y="0"/>
                  </a:cubicBezTo>
                  <a:cubicBezTo>
                    <a:pt x="0" y="2"/>
                    <a:pt x="0" y="3"/>
                    <a:pt x="1"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66" name="Freeform 2520">
              <a:extLst>
                <a:ext uri="{FF2B5EF4-FFF2-40B4-BE49-F238E27FC236}">
                  <a16:creationId xmlns:a16="http://schemas.microsoft.com/office/drawing/2014/main" id="{3AC7EC74-E159-4F85-856C-19384D65006D}"/>
                </a:ext>
              </a:extLst>
            </p:cNvPr>
            <p:cNvSpPr>
              <a:spLocks/>
            </p:cNvSpPr>
            <p:nvPr/>
          </p:nvSpPr>
          <p:spPr bwMode="auto">
            <a:xfrm>
              <a:off x="4135" y="1846"/>
              <a:ext cx="8" cy="5"/>
            </a:xfrm>
            <a:custGeom>
              <a:avLst/>
              <a:gdLst>
                <a:gd name="T0" fmla="*/ 3 w 3"/>
                <a:gd name="T1" fmla="*/ 0 h 2"/>
                <a:gd name="T2" fmla="*/ 0 w 3"/>
                <a:gd name="T3" fmla="*/ 2 h 2"/>
                <a:gd name="T4" fmla="*/ 3 w 3"/>
                <a:gd name="T5" fmla="*/ 0 h 2"/>
              </a:gdLst>
              <a:ahLst/>
              <a:cxnLst>
                <a:cxn ang="0">
                  <a:pos x="T0" y="T1"/>
                </a:cxn>
                <a:cxn ang="0">
                  <a:pos x="T2" y="T3"/>
                </a:cxn>
                <a:cxn ang="0">
                  <a:pos x="T4" y="T5"/>
                </a:cxn>
              </a:cxnLst>
              <a:rect l="0" t="0" r="r" b="b"/>
              <a:pathLst>
                <a:path w="3" h="2">
                  <a:moveTo>
                    <a:pt x="3" y="0"/>
                  </a:moveTo>
                  <a:cubicBezTo>
                    <a:pt x="2" y="1"/>
                    <a:pt x="1" y="1"/>
                    <a:pt x="0" y="2"/>
                  </a:cubicBezTo>
                  <a:cubicBezTo>
                    <a:pt x="1" y="1"/>
                    <a:pt x="3" y="2"/>
                    <a:pt x="3"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67" name="Freeform 2521">
              <a:extLst>
                <a:ext uri="{FF2B5EF4-FFF2-40B4-BE49-F238E27FC236}">
                  <a16:creationId xmlns:a16="http://schemas.microsoft.com/office/drawing/2014/main" id="{2481CC44-6FEC-4BAD-859E-022E4C7E1788}"/>
                </a:ext>
              </a:extLst>
            </p:cNvPr>
            <p:cNvSpPr>
              <a:spLocks/>
            </p:cNvSpPr>
            <p:nvPr/>
          </p:nvSpPr>
          <p:spPr bwMode="auto">
            <a:xfrm>
              <a:off x="4100" y="1858"/>
              <a:ext cx="5" cy="7"/>
            </a:xfrm>
            <a:custGeom>
              <a:avLst/>
              <a:gdLst>
                <a:gd name="T0" fmla="*/ 2 w 2"/>
                <a:gd name="T1" fmla="*/ 3 h 3"/>
                <a:gd name="T2" fmla="*/ 1 w 2"/>
                <a:gd name="T3" fmla="*/ 0 h 3"/>
                <a:gd name="T4" fmla="*/ 2 w 2"/>
                <a:gd name="T5" fmla="*/ 3 h 3"/>
              </a:gdLst>
              <a:ahLst/>
              <a:cxnLst>
                <a:cxn ang="0">
                  <a:pos x="T0" y="T1"/>
                </a:cxn>
                <a:cxn ang="0">
                  <a:pos x="T2" y="T3"/>
                </a:cxn>
                <a:cxn ang="0">
                  <a:pos x="T4" y="T5"/>
                </a:cxn>
              </a:cxnLst>
              <a:rect l="0" t="0" r="r" b="b"/>
              <a:pathLst>
                <a:path w="2" h="3">
                  <a:moveTo>
                    <a:pt x="2" y="3"/>
                  </a:moveTo>
                  <a:cubicBezTo>
                    <a:pt x="2" y="2"/>
                    <a:pt x="2" y="1"/>
                    <a:pt x="1" y="0"/>
                  </a:cubicBezTo>
                  <a:cubicBezTo>
                    <a:pt x="1" y="1"/>
                    <a:pt x="0" y="2"/>
                    <a:pt x="2"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68" name="Freeform 2522">
              <a:extLst>
                <a:ext uri="{FF2B5EF4-FFF2-40B4-BE49-F238E27FC236}">
                  <a16:creationId xmlns:a16="http://schemas.microsoft.com/office/drawing/2014/main" id="{B444A056-89EB-4EA2-9F21-AD21D0C8580E}"/>
                </a:ext>
              </a:extLst>
            </p:cNvPr>
            <p:cNvSpPr>
              <a:spLocks/>
            </p:cNvSpPr>
            <p:nvPr/>
          </p:nvSpPr>
          <p:spPr bwMode="auto">
            <a:xfrm>
              <a:off x="4046" y="1816"/>
              <a:ext cx="9" cy="7"/>
            </a:xfrm>
            <a:custGeom>
              <a:avLst/>
              <a:gdLst>
                <a:gd name="T0" fmla="*/ 1 w 4"/>
                <a:gd name="T1" fmla="*/ 0 h 3"/>
                <a:gd name="T2" fmla="*/ 3 w 4"/>
                <a:gd name="T3" fmla="*/ 3 h 3"/>
                <a:gd name="T4" fmla="*/ 4 w 4"/>
                <a:gd name="T5" fmla="*/ 2 h 3"/>
                <a:gd name="T6" fmla="*/ 2 w 4"/>
                <a:gd name="T7" fmla="*/ 0 h 3"/>
                <a:gd name="T8" fmla="*/ 1 w 4"/>
                <a:gd name="T9" fmla="*/ 0 h 3"/>
              </a:gdLst>
              <a:ahLst/>
              <a:cxnLst>
                <a:cxn ang="0">
                  <a:pos x="T0" y="T1"/>
                </a:cxn>
                <a:cxn ang="0">
                  <a:pos x="T2" y="T3"/>
                </a:cxn>
                <a:cxn ang="0">
                  <a:pos x="T4" y="T5"/>
                </a:cxn>
                <a:cxn ang="0">
                  <a:pos x="T6" y="T7"/>
                </a:cxn>
                <a:cxn ang="0">
                  <a:pos x="T8" y="T9"/>
                </a:cxn>
              </a:cxnLst>
              <a:rect l="0" t="0" r="r" b="b"/>
              <a:pathLst>
                <a:path w="4" h="3">
                  <a:moveTo>
                    <a:pt x="1" y="0"/>
                  </a:moveTo>
                  <a:cubicBezTo>
                    <a:pt x="0" y="0"/>
                    <a:pt x="2" y="2"/>
                    <a:pt x="3" y="3"/>
                  </a:cubicBezTo>
                  <a:cubicBezTo>
                    <a:pt x="3" y="2"/>
                    <a:pt x="4" y="2"/>
                    <a:pt x="4" y="2"/>
                  </a:cubicBezTo>
                  <a:cubicBezTo>
                    <a:pt x="3" y="1"/>
                    <a:pt x="3" y="1"/>
                    <a:pt x="2" y="0"/>
                  </a:cubicBezTo>
                  <a:cubicBezTo>
                    <a:pt x="2" y="0"/>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69" name="Freeform 2523">
              <a:extLst>
                <a:ext uri="{FF2B5EF4-FFF2-40B4-BE49-F238E27FC236}">
                  <a16:creationId xmlns:a16="http://schemas.microsoft.com/office/drawing/2014/main" id="{FFB38823-AFC9-4072-B678-83E468D82EC7}"/>
                </a:ext>
              </a:extLst>
            </p:cNvPr>
            <p:cNvSpPr>
              <a:spLocks/>
            </p:cNvSpPr>
            <p:nvPr/>
          </p:nvSpPr>
          <p:spPr bwMode="auto">
            <a:xfrm>
              <a:off x="4140" y="1733"/>
              <a:ext cx="10" cy="7"/>
            </a:xfrm>
            <a:custGeom>
              <a:avLst/>
              <a:gdLst>
                <a:gd name="T0" fmla="*/ 1 w 4"/>
                <a:gd name="T1" fmla="*/ 1 h 3"/>
                <a:gd name="T2" fmla="*/ 2 w 4"/>
                <a:gd name="T3" fmla="*/ 3 h 3"/>
                <a:gd name="T4" fmla="*/ 3 w 4"/>
                <a:gd name="T5" fmla="*/ 1 h 3"/>
                <a:gd name="T6" fmla="*/ 1 w 4"/>
                <a:gd name="T7" fmla="*/ 1 h 3"/>
              </a:gdLst>
              <a:ahLst/>
              <a:cxnLst>
                <a:cxn ang="0">
                  <a:pos x="T0" y="T1"/>
                </a:cxn>
                <a:cxn ang="0">
                  <a:pos x="T2" y="T3"/>
                </a:cxn>
                <a:cxn ang="0">
                  <a:pos x="T4" y="T5"/>
                </a:cxn>
                <a:cxn ang="0">
                  <a:pos x="T6" y="T7"/>
                </a:cxn>
              </a:cxnLst>
              <a:rect l="0" t="0" r="r" b="b"/>
              <a:pathLst>
                <a:path w="4" h="3">
                  <a:moveTo>
                    <a:pt x="1" y="1"/>
                  </a:moveTo>
                  <a:cubicBezTo>
                    <a:pt x="0" y="1"/>
                    <a:pt x="1" y="2"/>
                    <a:pt x="2" y="3"/>
                  </a:cubicBezTo>
                  <a:cubicBezTo>
                    <a:pt x="2" y="2"/>
                    <a:pt x="4" y="2"/>
                    <a:pt x="3" y="1"/>
                  </a:cubicBezTo>
                  <a:cubicBezTo>
                    <a:pt x="3" y="0"/>
                    <a:pt x="1" y="0"/>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70" name="Freeform 2524">
              <a:extLst>
                <a:ext uri="{FF2B5EF4-FFF2-40B4-BE49-F238E27FC236}">
                  <a16:creationId xmlns:a16="http://schemas.microsoft.com/office/drawing/2014/main" id="{6A183CE0-87DE-4874-8B4D-046CDDA941F6}"/>
                </a:ext>
              </a:extLst>
            </p:cNvPr>
            <p:cNvSpPr>
              <a:spLocks/>
            </p:cNvSpPr>
            <p:nvPr/>
          </p:nvSpPr>
          <p:spPr bwMode="auto">
            <a:xfrm>
              <a:off x="4138" y="1828"/>
              <a:ext cx="2" cy="2"/>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0" y="0"/>
                    <a:pt x="1" y="0"/>
                  </a:cubicBezTo>
                  <a:cubicBezTo>
                    <a:pt x="0" y="0"/>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71" name="Freeform 2525">
              <a:extLst>
                <a:ext uri="{FF2B5EF4-FFF2-40B4-BE49-F238E27FC236}">
                  <a16:creationId xmlns:a16="http://schemas.microsoft.com/office/drawing/2014/main" id="{EABF95CB-56DB-4A6F-97BF-AAE765EEC697}"/>
                </a:ext>
              </a:extLst>
            </p:cNvPr>
            <p:cNvSpPr>
              <a:spLocks/>
            </p:cNvSpPr>
            <p:nvPr/>
          </p:nvSpPr>
          <p:spPr bwMode="auto">
            <a:xfrm>
              <a:off x="4199" y="1839"/>
              <a:ext cx="5" cy="3"/>
            </a:xfrm>
            <a:custGeom>
              <a:avLst/>
              <a:gdLst>
                <a:gd name="T0" fmla="*/ 0 w 2"/>
                <a:gd name="T1" fmla="*/ 0 h 1"/>
                <a:gd name="T2" fmla="*/ 0 w 2"/>
                <a:gd name="T3" fmla="*/ 1 h 1"/>
                <a:gd name="T4" fmla="*/ 0 w 2"/>
                <a:gd name="T5" fmla="*/ 0 h 1"/>
              </a:gdLst>
              <a:ahLst/>
              <a:cxnLst>
                <a:cxn ang="0">
                  <a:pos x="T0" y="T1"/>
                </a:cxn>
                <a:cxn ang="0">
                  <a:pos x="T2" y="T3"/>
                </a:cxn>
                <a:cxn ang="0">
                  <a:pos x="T4" y="T5"/>
                </a:cxn>
              </a:cxnLst>
              <a:rect l="0" t="0" r="r" b="b"/>
              <a:pathLst>
                <a:path w="2" h="1">
                  <a:moveTo>
                    <a:pt x="0" y="0"/>
                  </a:moveTo>
                  <a:cubicBezTo>
                    <a:pt x="0" y="0"/>
                    <a:pt x="0" y="1"/>
                    <a:pt x="0" y="1"/>
                  </a:cubicBezTo>
                  <a:cubicBezTo>
                    <a:pt x="2" y="1"/>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72" name="Freeform 2526">
              <a:extLst>
                <a:ext uri="{FF2B5EF4-FFF2-40B4-BE49-F238E27FC236}">
                  <a16:creationId xmlns:a16="http://schemas.microsoft.com/office/drawing/2014/main" id="{8E6DC925-93A2-4B9F-996A-5D583B1A0A6A}"/>
                </a:ext>
              </a:extLst>
            </p:cNvPr>
            <p:cNvSpPr>
              <a:spLocks/>
            </p:cNvSpPr>
            <p:nvPr/>
          </p:nvSpPr>
          <p:spPr bwMode="auto">
            <a:xfrm>
              <a:off x="4135" y="1823"/>
              <a:ext cx="3" cy="2"/>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1"/>
                    <a:pt x="0" y="1"/>
                  </a:cubicBezTo>
                  <a:cubicBezTo>
                    <a:pt x="1" y="1"/>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73" name="Freeform 2527">
              <a:extLst>
                <a:ext uri="{FF2B5EF4-FFF2-40B4-BE49-F238E27FC236}">
                  <a16:creationId xmlns:a16="http://schemas.microsoft.com/office/drawing/2014/main" id="{6937464C-A03A-4700-8154-B3030274965B}"/>
                </a:ext>
              </a:extLst>
            </p:cNvPr>
            <p:cNvSpPr>
              <a:spLocks/>
            </p:cNvSpPr>
            <p:nvPr/>
          </p:nvSpPr>
          <p:spPr bwMode="auto">
            <a:xfrm>
              <a:off x="4041" y="1799"/>
              <a:ext cx="9" cy="12"/>
            </a:xfrm>
            <a:custGeom>
              <a:avLst/>
              <a:gdLst>
                <a:gd name="T0" fmla="*/ 2 w 4"/>
                <a:gd name="T1" fmla="*/ 0 h 5"/>
                <a:gd name="T2" fmla="*/ 1 w 4"/>
                <a:gd name="T3" fmla="*/ 2 h 5"/>
                <a:gd name="T4" fmla="*/ 0 w 4"/>
                <a:gd name="T5" fmla="*/ 3 h 5"/>
                <a:gd name="T6" fmla="*/ 1 w 4"/>
                <a:gd name="T7" fmla="*/ 4 h 5"/>
                <a:gd name="T8" fmla="*/ 1 w 4"/>
                <a:gd name="T9" fmla="*/ 4 h 5"/>
                <a:gd name="T10" fmla="*/ 2 w 4"/>
                <a:gd name="T11" fmla="*/ 4 h 5"/>
                <a:gd name="T12" fmla="*/ 4 w 4"/>
                <a:gd name="T13" fmla="*/ 5 h 5"/>
                <a:gd name="T14" fmla="*/ 2 w 4"/>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2" y="0"/>
                  </a:moveTo>
                  <a:cubicBezTo>
                    <a:pt x="2" y="1"/>
                    <a:pt x="1" y="1"/>
                    <a:pt x="1" y="2"/>
                  </a:cubicBezTo>
                  <a:cubicBezTo>
                    <a:pt x="0" y="2"/>
                    <a:pt x="0" y="3"/>
                    <a:pt x="0" y="3"/>
                  </a:cubicBezTo>
                  <a:cubicBezTo>
                    <a:pt x="0" y="3"/>
                    <a:pt x="1" y="3"/>
                    <a:pt x="1" y="4"/>
                  </a:cubicBezTo>
                  <a:cubicBezTo>
                    <a:pt x="1" y="4"/>
                    <a:pt x="1" y="4"/>
                    <a:pt x="1" y="4"/>
                  </a:cubicBezTo>
                  <a:cubicBezTo>
                    <a:pt x="2" y="4"/>
                    <a:pt x="2" y="4"/>
                    <a:pt x="2" y="4"/>
                  </a:cubicBezTo>
                  <a:cubicBezTo>
                    <a:pt x="3" y="4"/>
                    <a:pt x="4" y="5"/>
                    <a:pt x="4" y="5"/>
                  </a:cubicBezTo>
                  <a:cubicBezTo>
                    <a:pt x="4" y="3"/>
                    <a:pt x="3" y="2"/>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74" name="Freeform 2528">
              <a:extLst>
                <a:ext uri="{FF2B5EF4-FFF2-40B4-BE49-F238E27FC236}">
                  <a16:creationId xmlns:a16="http://schemas.microsoft.com/office/drawing/2014/main" id="{B823DBCB-DDBE-413D-8C04-CB76113E51EC}"/>
                </a:ext>
              </a:extLst>
            </p:cNvPr>
            <p:cNvSpPr>
              <a:spLocks/>
            </p:cNvSpPr>
            <p:nvPr/>
          </p:nvSpPr>
          <p:spPr bwMode="auto">
            <a:xfrm>
              <a:off x="4161" y="1828"/>
              <a:ext cx="3" cy="2"/>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0"/>
                    <a:pt x="0" y="1"/>
                  </a:cubicBezTo>
                  <a:cubicBezTo>
                    <a:pt x="0" y="1"/>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75" name="Freeform 2529">
              <a:extLst>
                <a:ext uri="{FF2B5EF4-FFF2-40B4-BE49-F238E27FC236}">
                  <a16:creationId xmlns:a16="http://schemas.microsoft.com/office/drawing/2014/main" id="{F27B790F-C480-4EE3-8223-032F4E307C78}"/>
                </a:ext>
              </a:extLst>
            </p:cNvPr>
            <p:cNvSpPr>
              <a:spLocks/>
            </p:cNvSpPr>
            <p:nvPr/>
          </p:nvSpPr>
          <p:spPr bwMode="auto">
            <a:xfrm>
              <a:off x="4202" y="1844"/>
              <a:ext cx="7" cy="5"/>
            </a:xfrm>
            <a:custGeom>
              <a:avLst/>
              <a:gdLst>
                <a:gd name="T0" fmla="*/ 0 w 3"/>
                <a:gd name="T1" fmla="*/ 2 h 2"/>
                <a:gd name="T2" fmla="*/ 3 w 3"/>
                <a:gd name="T3" fmla="*/ 0 h 2"/>
                <a:gd name="T4" fmla="*/ 0 w 3"/>
                <a:gd name="T5" fmla="*/ 2 h 2"/>
              </a:gdLst>
              <a:ahLst/>
              <a:cxnLst>
                <a:cxn ang="0">
                  <a:pos x="T0" y="T1"/>
                </a:cxn>
                <a:cxn ang="0">
                  <a:pos x="T2" y="T3"/>
                </a:cxn>
                <a:cxn ang="0">
                  <a:pos x="T4" y="T5"/>
                </a:cxn>
              </a:cxnLst>
              <a:rect l="0" t="0" r="r" b="b"/>
              <a:pathLst>
                <a:path w="3" h="2">
                  <a:moveTo>
                    <a:pt x="0" y="2"/>
                  </a:moveTo>
                  <a:cubicBezTo>
                    <a:pt x="0" y="1"/>
                    <a:pt x="2" y="1"/>
                    <a:pt x="3" y="0"/>
                  </a:cubicBezTo>
                  <a:cubicBezTo>
                    <a:pt x="1" y="0"/>
                    <a:pt x="0" y="0"/>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76" name="Freeform 2530">
              <a:extLst>
                <a:ext uri="{FF2B5EF4-FFF2-40B4-BE49-F238E27FC236}">
                  <a16:creationId xmlns:a16="http://schemas.microsoft.com/office/drawing/2014/main" id="{1A59F05B-889E-4A5F-9100-A0AC7A831882}"/>
                </a:ext>
              </a:extLst>
            </p:cNvPr>
            <p:cNvSpPr>
              <a:spLocks/>
            </p:cNvSpPr>
            <p:nvPr/>
          </p:nvSpPr>
          <p:spPr bwMode="auto">
            <a:xfrm>
              <a:off x="4221" y="1851"/>
              <a:ext cx="0" cy="3"/>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77" name="Freeform 2531">
              <a:extLst>
                <a:ext uri="{FF2B5EF4-FFF2-40B4-BE49-F238E27FC236}">
                  <a16:creationId xmlns:a16="http://schemas.microsoft.com/office/drawing/2014/main" id="{593BD0FD-349F-4FCC-AD0E-EE2B863BB68E}"/>
                </a:ext>
              </a:extLst>
            </p:cNvPr>
            <p:cNvSpPr>
              <a:spLocks/>
            </p:cNvSpPr>
            <p:nvPr/>
          </p:nvSpPr>
          <p:spPr bwMode="auto">
            <a:xfrm>
              <a:off x="4046" y="1790"/>
              <a:ext cx="4" cy="7"/>
            </a:xfrm>
            <a:custGeom>
              <a:avLst/>
              <a:gdLst>
                <a:gd name="T0" fmla="*/ 1 w 2"/>
                <a:gd name="T1" fmla="*/ 0 h 3"/>
                <a:gd name="T2" fmla="*/ 0 w 2"/>
                <a:gd name="T3" fmla="*/ 3 h 3"/>
                <a:gd name="T4" fmla="*/ 1 w 2"/>
                <a:gd name="T5" fmla="*/ 0 h 3"/>
              </a:gdLst>
              <a:ahLst/>
              <a:cxnLst>
                <a:cxn ang="0">
                  <a:pos x="T0" y="T1"/>
                </a:cxn>
                <a:cxn ang="0">
                  <a:pos x="T2" y="T3"/>
                </a:cxn>
                <a:cxn ang="0">
                  <a:pos x="T4" y="T5"/>
                </a:cxn>
              </a:cxnLst>
              <a:rect l="0" t="0" r="r" b="b"/>
              <a:pathLst>
                <a:path w="2" h="3">
                  <a:moveTo>
                    <a:pt x="1" y="0"/>
                  </a:moveTo>
                  <a:cubicBezTo>
                    <a:pt x="0" y="0"/>
                    <a:pt x="0" y="2"/>
                    <a:pt x="0" y="3"/>
                  </a:cubicBezTo>
                  <a:cubicBezTo>
                    <a:pt x="2" y="3"/>
                    <a:pt x="2" y="2"/>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78" name="Freeform 2532">
              <a:extLst>
                <a:ext uri="{FF2B5EF4-FFF2-40B4-BE49-F238E27FC236}">
                  <a16:creationId xmlns:a16="http://schemas.microsoft.com/office/drawing/2014/main" id="{F690AF61-6627-45ED-9C18-0773529AB04B}"/>
                </a:ext>
              </a:extLst>
            </p:cNvPr>
            <p:cNvSpPr>
              <a:spLocks/>
            </p:cNvSpPr>
            <p:nvPr/>
          </p:nvSpPr>
          <p:spPr bwMode="auto">
            <a:xfrm>
              <a:off x="4140" y="1785"/>
              <a:ext cx="7" cy="7"/>
            </a:xfrm>
            <a:custGeom>
              <a:avLst/>
              <a:gdLst>
                <a:gd name="T0" fmla="*/ 0 w 3"/>
                <a:gd name="T1" fmla="*/ 0 h 3"/>
                <a:gd name="T2" fmla="*/ 1 w 3"/>
                <a:gd name="T3" fmla="*/ 3 h 3"/>
                <a:gd name="T4" fmla="*/ 1 w 3"/>
                <a:gd name="T5" fmla="*/ 1 h 3"/>
                <a:gd name="T6" fmla="*/ 1 w 3"/>
                <a:gd name="T7" fmla="*/ 1 h 3"/>
                <a:gd name="T8" fmla="*/ 0 w 3"/>
                <a:gd name="T9" fmla="*/ 0 h 3"/>
              </a:gdLst>
              <a:ahLst/>
              <a:cxnLst>
                <a:cxn ang="0">
                  <a:pos x="T0" y="T1"/>
                </a:cxn>
                <a:cxn ang="0">
                  <a:pos x="T2" y="T3"/>
                </a:cxn>
                <a:cxn ang="0">
                  <a:pos x="T4" y="T5"/>
                </a:cxn>
                <a:cxn ang="0">
                  <a:pos x="T6" y="T7"/>
                </a:cxn>
                <a:cxn ang="0">
                  <a:pos x="T8" y="T9"/>
                </a:cxn>
              </a:cxnLst>
              <a:rect l="0" t="0" r="r" b="b"/>
              <a:pathLst>
                <a:path w="3" h="3">
                  <a:moveTo>
                    <a:pt x="0" y="0"/>
                  </a:moveTo>
                  <a:cubicBezTo>
                    <a:pt x="0" y="1"/>
                    <a:pt x="1" y="2"/>
                    <a:pt x="1" y="3"/>
                  </a:cubicBezTo>
                  <a:cubicBezTo>
                    <a:pt x="3" y="3"/>
                    <a:pt x="2" y="2"/>
                    <a:pt x="1" y="1"/>
                  </a:cubicBezTo>
                  <a:cubicBezTo>
                    <a:pt x="1" y="1"/>
                    <a:pt x="1" y="1"/>
                    <a:pt x="1" y="1"/>
                  </a:cubicBezTo>
                  <a:cubicBezTo>
                    <a:pt x="1" y="1"/>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79" name="Freeform 2533">
              <a:extLst>
                <a:ext uri="{FF2B5EF4-FFF2-40B4-BE49-F238E27FC236}">
                  <a16:creationId xmlns:a16="http://schemas.microsoft.com/office/drawing/2014/main" id="{18793403-C7D4-4A27-B8C7-FE1582911F14}"/>
                </a:ext>
              </a:extLst>
            </p:cNvPr>
            <p:cNvSpPr>
              <a:spLocks/>
            </p:cNvSpPr>
            <p:nvPr/>
          </p:nvSpPr>
          <p:spPr bwMode="auto">
            <a:xfrm>
              <a:off x="4173" y="1794"/>
              <a:ext cx="10" cy="15"/>
            </a:xfrm>
            <a:custGeom>
              <a:avLst/>
              <a:gdLst>
                <a:gd name="T0" fmla="*/ 2 w 4"/>
                <a:gd name="T1" fmla="*/ 1 h 6"/>
                <a:gd name="T2" fmla="*/ 0 w 4"/>
                <a:gd name="T3" fmla="*/ 1 h 6"/>
                <a:gd name="T4" fmla="*/ 2 w 4"/>
                <a:gd name="T5" fmla="*/ 6 h 6"/>
                <a:gd name="T6" fmla="*/ 3 w 4"/>
                <a:gd name="T7" fmla="*/ 2 h 6"/>
                <a:gd name="T8" fmla="*/ 2 w 4"/>
                <a:gd name="T9" fmla="*/ 1 h 6"/>
              </a:gdLst>
              <a:ahLst/>
              <a:cxnLst>
                <a:cxn ang="0">
                  <a:pos x="T0" y="T1"/>
                </a:cxn>
                <a:cxn ang="0">
                  <a:pos x="T2" y="T3"/>
                </a:cxn>
                <a:cxn ang="0">
                  <a:pos x="T4" y="T5"/>
                </a:cxn>
                <a:cxn ang="0">
                  <a:pos x="T6" y="T7"/>
                </a:cxn>
                <a:cxn ang="0">
                  <a:pos x="T8" y="T9"/>
                </a:cxn>
              </a:cxnLst>
              <a:rect l="0" t="0" r="r" b="b"/>
              <a:pathLst>
                <a:path w="4" h="6">
                  <a:moveTo>
                    <a:pt x="2" y="1"/>
                  </a:moveTo>
                  <a:cubicBezTo>
                    <a:pt x="1" y="0"/>
                    <a:pt x="0" y="0"/>
                    <a:pt x="0" y="1"/>
                  </a:cubicBezTo>
                  <a:cubicBezTo>
                    <a:pt x="0" y="4"/>
                    <a:pt x="0" y="4"/>
                    <a:pt x="2" y="6"/>
                  </a:cubicBezTo>
                  <a:cubicBezTo>
                    <a:pt x="3" y="5"/>
                    <a:pt x="3" y="3"/>
                    <a:pt x="3" y="2"/>
                  </a:cubicBezTo>
                  <a:cubicBezTo>
                    <a:pt x="4" y="1"/>
                    <a:pt x="3"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80" name="Freeform 2534">
              <a:extLst>
                <a:ext uri="{FF2B5EF4-FFF2-40B4-BE49-F238E27FC236}">
                  <a16:creationId xmlns:a16="http://schemas.microsoft.com/office/drawing/2014/main" id="{90A95BD2-04BB-4442-A41C-15E198BCCC99}"/>
                </a:ext>
              </a:extLst>
            </p:cNvPr>
            <p:cNvSpPr>
              <a:spLocks/>
            </p:cNvSpPr>
            <p:nvPr/>
          </p:nvSpPr>
          <p:spPr bwMode="auto">
            <a:xfrm>
              <a:off x="4022" y="1761"/>
              <a:ext cx="12" cy="10"/>
            </a:xfrm>
            <a:custGeom>
              <a:avLst/>
              <a:gdLst>
                <a:gd name="T0" fmla="*/ 3 w 5"/>
                <a:gd name="T1" fmla="*/ 0 h 4"/>
                <a:gd name="T2" fmla="*/ 1 w 5"/>
                <a:gd name="T3" fmla="*/ 0 h 4"/>
                <a:gd name="T4" fmla="*/ 1 w 5"/>
                <a:gd name="T5" fmla="*/ 0 h 4"/>
                <a:gd name="T6" fmla="*/ 3 w 5"/>
                <a:gd name="T7" fmla="*/ 4 h 4"/>
                <a:gd name="T8" fmla="*/ 3 w 5"/>
                <a:gd name="T9" fmla="*/ 2 h 4"/>
                <a:gd name="T10" fmla="*/ 3 w 5"/>
                <a:gd name="T11" fmla="*/ 0 h 4"/>
              </a:gdLst>
              <a:ahLst/>
              <a:cxnLst>
                <a:cxn ang="0">
                  <a:pos x="T0" y="T1"/>
                </a:cxn>
                <a:cxn ang="0">
                  <a:pos x="T2" y="T3"/>
                </a:cxn>
                <a:cxn ang="0">
                  <a:pos x="T4" y="T5"/>
                </a:cxn>
                <a:cxn ang="0">
                  <a:pos x="T6" y="T7"/>
                </a:cxn>
                <a:cxn ang="0">
                  <a:pos x="T8" y="T9"/>
                </a:cxn>
                <a:cxn ang="0">
                  <a:pos x="T10" y="T11"/>
                </a:cxn>
              </a:cxnLst>
              <a:rect l="0" t="0" r="r" b="b"/>
              <a:pathLst>
                <a:path w="5" h="4">
                  <a:moveTo>
                    <a:pt x="3" y="0"/>
                  </a:moveTo>
                  <a:cubicBezTo>
                    <a:pt x="3" y="0"/>
                    <a:pt x="2" y="0"/>
                    <a:pt x="1" y="0"/>
                  </a:cubicBezTo>
                  <a:cubicBezTo>
                    <a:pt x="1" y="0"/>
                    <a:pt x="1" y="0"/>
                    <a:pt x="1" y="0"/>
                  </a:cubicBezTo>
                  <a:cubicBezTo>
                    <a:pt x="0" y="1"/>
                    <a:pt x="3" y="3"/>
                    <a:pt x="3" y="4"/>
                  </a:cubicBezTo>
                  <a:cubicBezTo>
                    <a:pt x="3" y="3"/>
                    <a:pt x="3" y="3"/>
                    <a:pt x="3" y="2"/>
                  </a:cubicBezTo>
                  <a:cubicBezTo>
                    <a:pt x="1" y="2"/>
                    <a:pt x="5" y="1"/>
                    <a:pt x="3"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81" name="Freeform 2535">
              <a:extLst>
                <a:ext uri="{FF2B5EF4-FFF2-40B4-BE49-F238E27FC236}">
                  <a16:creationId xmlns:a16="http://schemas.microsoft.com/office/drawing/2014/main" id="{63789D8A-3EAC-4BF3-B516-CE8FD540E1B5}"/>
                </a:ext>
              </a:extLst>
            </p:cNvPr>
            <p:cNvSpPr>
              <a:spLocks/>
            </p:cNvSpPr>
            <p:nvPr/>
          </p:nvSpPr>
          <p:spPr bwMode="auto">
            <a:xfrm>
              <a:off x="4152" y="1820"/>
              <a:ext cx="7" cy="5"/>
            </a:xfrm>
            <a:custGeom>
              <a:avLst/>
              <a:gdLst>
                <a:gd name="T0" fmla="*/ 0 w 3"/>
                <a:gd name="T1" fmla="*/ 0 h 2"/>
                <a:gd name="T2" fmla="*/ 2 w 3"/>
                <a:gd name="T3" fmla="*/ 2 h 2"/>
                <a:gd name="T4" fmla="*/ 0 w 3"/>
                <a:gd name="T5" fmla="*/ 0 h 2"/>
              </a:gdLst>
              <a:ahLst/>
              <a:cxnLst>
                <a:cxn ang="0">
                  <a:pos x="T0" y="T1"/>
                </a:cxn>
                <a:cxn ang="0">
                  <a:pos x="T2" y="T3"/>
                </a:cxn>
                <a:cxn ang="0">
                  <a:pos x="T4" y="T5"/>
                </a:cxn>
              </a:cxnLst>
              <a:rect l="0" t="0" r="r" b="b"/>
              <a:pathLst>
                <a:path w="3" h="2">
                  <a:moveTo>
                    <a:pt x="0" y="0"/>
                  </a:moveTo>
                  <a:cubicBezTo>
                    <a:pt x="1" y="1"/>
                    <a:pt x="2" y="2"/>
                    <a:pt x="2" y="2"/>
                  </a:cubicBezTo>
                  <a:cubicBezTo>
                    <a:pt x="3" y="1"/>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82" name="Freeform 2536">
              <a:extLst>
                <a:ext uri="{FF2B5EF4-FFF2-40B4-BE49-F238E27FC236}">
                  <a16:creationId xmlns:a16="http://schemas.microsoft.com/office/drawing/2014/main" id="{956BC5C9-1B05-4B76-AA8A-3C31A105F51F}"/>
                </a:ext>
              </a:extLst>
            </p:cNvPr>
            <p:cNvSpPr>
              <a:spLocks/>
            </p:cNvSpPr>
            <p:nvPr/>
          </p:nvSpPr>
          <p:spPr bwMode="auto">
            <a:xfrm>
              <a:off x="7041" y="2447"/>
              <a:ext cx="7" cy="8"/>
            </a:xfrm>
            <a:custGeom>
              <a:avLst/>
              <a:gdLst>
                <a:gd name="T0" fmla="*/ 3 w 3"/>
                <a:gd name="T1" fmla="*/ 0 h 3"/>
                <a:gd name="T2" fmla="*/ 2 w 3"/>
                <a:gd name="T3" fmla="*/ 0 h 3"/>
                <a:gd name="T4" fmla="*/ 0 w 3"/>
                <a:gd name="T5" fmla="*/ 1 h 3"/>
                <a:gd name="T6" fmla="*/ 1 w 3"/>
                <a:gd name="T7" fmla="*/ 3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cubicBezTo>
                    <a:pt x="3" y="0"/>
                    <a:pt x="2" y="0"/>
                    <a:pt x="2" y="0"/>
                  </a:cubicBezTo>
                  <a:cubicBezTo>
                    <a:pt x="1" y="1"/>
                    <a:pt x="1" y="1"/>
                    <a:pt x="0" y="1"/>
                  </a:cubicBezTo>
                  <a:cubicBezTo>
                    <a:pt x="0" y="2"/>
                    <a:pt x="0" y="3"/>
                    <a:pt x="1" y="3"/>
                  </a:cubicBezTo>
                  <a:cubicBezTo>
                    <a:pt x="1" y="3"/>
                    <a:pt x="3" y="1"/>
                    <a:pt x="3"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83" name="Freeform 2537">
              <a:extLst>
                <a:ext uri="{FF2B5EF4-FFF2-40B4-BE49-F238E27FC236}">
                  <a16:creationId xmlns:a16="http://schemas.microsoft.com/office/drawing/2014/main" id="{66751114-0F9F-48CA-BDDE-BBD4486AEBC7}"/>
                </a:ext>
              </a:extLst>
            </p:cNvPr>
            <p:cNvSpPr>
              <a:spLocks/>
            </p:cNvSpPr>
            <p:nvPr/>
          </p:nvSpPr>
          <p:spPr bwMode="auto">
            <a:xfrm>
              <a:off x="3812" y="1309"/>
              <a:ext cx="9" cy="5"/>
            </a:xfrm>
            <a:custGeom>
              <a:avLst/>
              <a:gdLst>
                <a:gd name="T0" fmla="*/ 2 w 4"/>
                <a:gd name="T1" fmla="*/ 0 h 2"/>
                <a:gd name="T2" fmla="*/ 4 w 4"/>
                <a:gd name="T3" fmla="*/ 2 h 2"/>
                <a:gd name="T4" fmla="*/ 2 w 4"/>
                <a:gd name="T5" fmla="*/ 0 h 2"/>
              </a:gdLst>
              <a:ahLst/>
              <a:cxnLst>
                <a:cxn ang="0">
                  <a:pos x="T0" y="T1"/>
                </a:cxn>
                <a:cxn ang="0">
                  <a:pos x="T2" y="T3"/>
                </a:cxn>
                <a:cxn ang="0">
                  <a:pos x="T4" y="T5"/>
                </a:cxn>
              </a:cxnLst>
              <a:rect l="0" t="0" r="r" b="b"/>
              <a:pathLst>
                <a:path w="4" h="2">
                  <a:moveTo>
                    <a:pt x="2" y="0"/>
                  </a:moveTo>
                  <a:cubicBezTo>
                    <a:pt x="0" y="1"/>
                    <a:pt x="3" y="2"/>
                    <a:pt x="4" y="2"/>
                  </a:cubicBezTo>
                  <a:cubicBezTo>
                    <a:pt x="3" y="1"/>
                    <a:pt x="3" y="0"/>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84" name="Freeform 2538">
              <a:extLst>
                <a:ext uri="{FF2B5EF4-FFF2-40B4-BE49-F238E27FC236}">
                  <a16:creationId xmlns:a16="http://schemas.microsoft.com/office/drawing/2014/main" id="{35441A9E-3857-4F40-A40D-092BC776076E}"/>
                </a:ext>
              </a:extLst>
            </p:cNvPr>
            <p:cNvSpPr>
              <a:spLocks/>
            </p:cNvSpPr>
            <p:nvPr/>
          </p:nvSpPr>
          <p:spPr bwMode="auto">
            <a:xfrm>
              <a:off x="3729" y="1335"/>
              <a:ext cx="5" cy="0"/>
            </a:xfrm>
            <a:custGeom>
              <a:avLst/>
              <a:gdLst>
                <a:gd name="T0" fmla="*/ 0 w 2"/>
                <a:gd name="T1" fmla="*/ 2 w 2"/>
                <a:gd name="T2" fmla="*/ 0 w 2"/>
                <a:gd name="T3" fmla="*/ 0 w 2"/>
              </a:gdLst>
              <a:ahLst/>
              <a:cxnLst>
                <a:cxn ang="0">
                  <a:pos x="T0" y="0"/>
                </a:cxn>
                <a:cxn ang="0">
                  <a:pos x="T1" y="0"/>
                </a:cxn>
                <a:cxn ang="0">
                  <a:pos x="T2" y="0"/>
                </a:cxn>
                <a:cxn ang="0">
                  <a:pos x="T3" y="0"/>
                </a:cxn>
              </a:cxnLst>
              <a:rect l="0" t="0" r="r" b="b"/>
              <a:pathLst>
                <a:path w="2">
                  <a:moveTo>
                    <a:pt x="0" y="0"/>
                  </a:moveTo>
                  <a:cubicBezTo>
                    <a:pt x="1" y="0"/>
                    <a:pt x="1" y="0"/>
                    <a:pt x="2" y="0"/>
                  </a:cubicBezTo>
                  <a:cubicBezTo>
                    <a:pt x="1" y="0"/>
                    <a:pt x="1"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85" name="Freeform 2539">
              <a:extLst>
                <a:ext uri="{FF2B5EF4-FFF2-40B4-BE49-F238E27FC236}">
                  <a16:creationId xmlns:a16="http://schemas.microsoft.com/office/drawing/2014/main" id="{5D09CAE0-1543-4727-846E-BE9FC9F93B63}"/>
                </a:ext>
              </a:extLst>
            </p:cNvPr>
            <p:cNvSpPr>
              <a:spLocks/>
            </p:cNvSpPr>
            <p:nvPr/>
          </p:nvSpPr>
          <p:spPr bwMode="auto">
            <a:xfrm>
              <a:off x="3866" y="1305"/>
              <a:ext cx="16" cy="16"/>
            </a:xfrm>
            <a:custGeom>
              <a:avLst/>
              <a:gdLst>
                <a:gd name="T0" fmla="*/ 2 w 7"/>
                <a:gd name="T1" fmla="*/ 2 h 7"/>
                <a:gd name="T2" fmla="*/ 2 w 7"/>
                <a:gd name="T3" fmla="*/ 2 h 7"/>
                <a:gd name="T4" fmla="*/ 2 w 7"/>
                <a:gd name="T5" fmla="*/ 2 h 7"/>
                <a:gd name="T6" fmla="*/ 0 w 7"/>
                <a:gd name="T7" fmla="*/ 2 h 7"/>
                <a:gd name="T8" fmla="*/ 3 w 7"/>
                <a:gd name="T9" fmla="*/ 7 h 7"/>
                <a:gd name="T10" fmla="*/ 5 w 7"/>
                <a:gd name="T11" fmla="*/ 5 h 7"/>
                <a:gd name="T12" fmla="*/ 6 w 7"/>
                <a:gd name="T13" fmla="*/ 6 h 7"/>
                <a:gd name="T14" fmla="*/ 6 w 7"/>
                <a:gd name="T15" fmla="*/ 5 h 7"/>
                <a:gd name="T16" fmla="*/ 5 w 7"/>
                <a:gd name="T17" fmla="*/ 3 h 7"/>
                <a:gd name="T18" fmla="*/ 5 w 7"/>
                <a:gd name="T19" fmla="*/ 2 h 7"/>
                <a:gd name="T20" fmla="*/ 3 w 7"/>
                <a:gd name="T21" fmla="*/ 1 h 7"/>
                <a:gd name="T22" fmla="*/ 3 w 7"/>
                <a:gd name="T23" fmla="*/ 0 h 7"/>
                <a:gd name="T24" fmla="*/ 1 w 7"/>
                <a:gd name="T25" fmla="*/ 1 h 7"/>
                <a:gd name="T26" fmla="*/ 2 w 7"/>
                <a:gd name="T27" fmla="*/ 1 h 7"/>
                <a:gd name="T28" fmla="*/ 3 w 7"/>
                <a:gd name="T29" fmla="*/ 2 h 7"/>
                <a:gd name="T30" fmla="*/ 2 w 7"/>
                <a:gd name="T31"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7">
                  <a:moveTo>
                    <a:pt x="2" y="2"/>
                  </a:moveTo>
                  <a:cubicBezTo>
                    <a:pt x="2" y="2"/>
                    <a:pt x="2" y="2"/>
                    <a:pt x="2" y="2"/>
                  </a:cubicBezTo>
                  <a:cubicBezTo>
                    <a:pt x="2" y="2"/>
                    <a:pt x="2" y="2"/>
                    <a:pt x="2" y="2"/>
                  </a:cubicBezTo>
                  <a:cubicBezTo>
                    <a:pt x="2" y="2"/>
                    <a:pt x="0" y="2"/>
                    <a:pt x="0" y="2"/>
                  </a:cubicBezTo>
                  <a:cubicBezTo>
                    <a:pt x="0" y="5"/>
                    <a:pt x="0" y="5"/>
                    <a:pt x="3" y="7"/>
                  </a:cubicBezTo>
                  <a:cubicBezTo>
                    <a:pt x="3" y="5"/>
                    <a:pt x="3" y="5"/>
                    <a:pt x="5" y="5"/>
                  </a:cubicBezTo>
                  <a:cubicBezTo>
                    <a:pt x="5" y="5"/>
                    <a:pt x="6" y="5"/>
                    <a:pt x="6" y="6"/>
                  </a:cubicBezTo>
                  <a:cubicBezTo>
                    <a:pt x="6" y="5"/>
                    <a:pt x="6" y="5"/>
                    <a:pt x="6" y="5"/>
                  </a:cubicBezTo>
                  <a:cubicBezTo>
                    <a:pt x="6" y="4"/>
                    <a:pt x="4" y="4"/>
                    <a:pt x="5" y="3"/>
                  </a:cubicBezTo>
                  <a:cubicBezTo>
                    <a:pt x="5" y="2"/>
                    <a:pt x="7" y="2"/>
                    <a:pt x="5" y="2"/>
                  </a:cubicBezTo>
                  <a:cubicBezTo>
                    <a:pt x="4" y="1"/>
                    <a:pt x="3" y="2"/>
                    <a:pt x="3" y="1"/>
                  </a:cubicBezTo>
                  <a:cubicBezTo>
                    <a:pt x="2" y="1"/>
                    <a:pt x="3" y="0"/>
                    <a:pt x="3" y="0"/>
                  </a:cubicBezTo>
                  <a:cubicBezTo>
                    <a:pt x="3" y="0"/>
                    <a:pt x="1" y="0"/>
                    <a:pt x="1" y="1"/>
                  </a:cubicBezTo>
                  <a:cubicBezTo>
                    <a:pt x="2" y="0"/>
                    <a:pt x="2" y="1"/>
                    <a:pt x="2" y="1"/>
                  </a:cubicBezTo>
                  <a:cubicBezTo>
                    <a:pt x="3" y="1"/>
                    <a:pt x="3" y="1"/>
                    <a:pt x="3" y="2"/>
                  </a:cubicBezTo>
                  <a:cubicBezTo>
                    <a:pt x="3" y="2"/>
                    <a:pt x="2" y="2"/>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86" name="Freeform 2540">
              <a:extLst>
                <a:ext uri="{FF2B5EF4-FFF2-40B4-BE49-F238E27FC236}">
                  <a16:creationId xmlns:a16="http://schemas.microsoft.com/office/drawing/2014/main" id="{600BAB36-C7CB-4EEE-A0A5-A15101E227F6}"/>
                </a:ext>
              </a:extLst>
            </p:cNvPr>
            <p:cNvSpPr>
              <a:spLocks/>
            </p:cNvSpPr>
            <p:nvPr/>
          </p:nvSpPr>
          <p:spPr bwMode="auto">
            <a:xfrm>
              <a:off x="3495" y="1548"/>
              <a:ext cx="2" cy="5"/>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87" name="Freeform 2541">
              <a:extLst>
                <a:ext uri="{FF2B5EF4-FFF2-40B4-BE49-F238E27FC236}">
                  <a16:creationId xmlns:a16="http://schemas.microsoft.com/office/drawing/2014/main" id="{F8BA5AB9-0476-4533-8810-A4B89B032708}"/>
                </a:ext>
              </a:extLst>
            </p:cNvPr>
            <p:cNvSpPr>
              <a:spLocks/>
            </p:cNvSpPr>
            <p:nvPr/>
          </p:nvSpPr>
          <p:spPr bwMode="auto">
            <a:xfrm>
              <a:off x="4795" y="3985"/>
              <a:ext cx="5" cy="3"/>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2" y="1"/>
                    <a:pt x="1" y="0"/>
                    <a:pt x="0" y="0"/>
                  </a:cubicBezTo>
                  <a:cubicBezTo>
                    <a:pt x="1" y="1"/>
                    <a:pt x="1"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88" name="Freeform 2542">
              <a:extLst>
                <a:ext uri="{FF2B5EF4-FFF2-40B4-BE49-F238E27FC236}">
                  <a16:creationId xmlns:a16="http://schemas.microsoft.com/office/drawing/2014/main" id="{FBE7D23A-A808-4BF9-9269-E12D574A0C92}"/>
                </a:ext>
              </a:extLst>
            </p:cNvPr>
            <p:cNvSpPr>
              <a:spLocks/>
            </p:cNvSpPr>
            <p:nvPr/>
          </p:nvSpPr>
          <p:spPr bwMode="auto">
            <a:xfrm>
              <a:off x="4760" y="3976"/>
              <a:ext cx="2" cy="2"/>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89" name="Freeform 2543">
              <a:extLst>
                <a:ext uri="{FF2B5EF4-FFF2-40B4-BE49-F238E27FC236}">
                  <a16:creationId xmlns:a16="http://schemas.microsoft.com/office/drawing/2014/main" id="{4C54ADE7-EB33-4594-85F1-DF19C3290625}"/>
                </a:ext>
              </a:extLst>
            </p:cNvPr>
            <p:cNvSpPr>
              <a:spLocks/>
            </p:cNvSpPr>
            <p:nvPr/>
          </p:nvSpPr>
          <p:spPr bwMode="auto">
            <a:xfrm>
              <a:off x="3471" y="1539"/>
              <a:ext cx="2" cy="2"/>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0"/>
                    <a:pt x="1" y="1"/>
                  </a:cubicBezTo>
                  <a:cubicBezTo>
                    <a:pt x="1" y="0"/>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90" name="Freeform 2544">
              <a:extLst>
                <a:ext uri="{FF2B5EF4-FFF2-40B4-BE49-F238E27FC236}">
                  <a16:creationId xmlns:a16="http://schemas.microsoft.com/office/drawing/2014/main" id="{3949283C-2FAE-491D-BD4C-98A74AF13253}"/>
                </a:ext>
              </a:extLst>
            </p:cNvPr>
            <p:cNvSpPr>
              <a:spLocks/>
            </p:cNvSpPr>
            <p:nvPr/>
          </p:nvSpPr>
          <p:spPr bwMode="auto">
            <a:xfrm>
              <a:off x="3514" y="1572"/>
              <a:ext cx="4" cy="2"/>
            </a:xfrm>
            <a:custGeom>
              <a:avLst/>
              <a:gdLst>
                <a:gd name="T0" fmla="*/ 0 w 2"/>
                <a:gd name="T1" fmla="*/ 1 h 1"/>
                <a:gd name="T2" fmla="*/ 2 w 2"/>
                <a:gd name="T3" fmla="*/ 1 h 1"/>
                <a:gd name="T4" fmla="*/ 0 w 2"/>
                <a:gd name="T5" fmla="*/ 1 h 1"/>
              </a:gdLst>
              <a:ahLst/>
              <a:cxnLst>
                <a:cxn ang="0">
                  <a:pos x="T0" y="T1"/>
                </a:cxn>
                <a:cxn ang="0">
                  <a:pos x="T2" y="T3"/>
                </a:cxn>
                <a:cxn ang="0">
                  <a:pos x="T4" y="T5"/>
                </a:cxn>
              </a:cxnLst>
              <a:rect l="0" t="0" r="r" b="b"/>
              <a:pathLst>
                <a:path w="2" h="1">
                  <a:moveTo>
                    <a:pt x="0" y="1"/>
                  </a:moveTo>
                  <a:cubicBezTo>
                    <a:pt x="0" y="1"/>
                    <a:pt x="1" y="1"/>
                    <a:pt x="2" y="1"/>
                  </a:cubicBezTo>
                  <a:cubicBezTo>
                    <a:pt x="1" y="1"/>
                    <a:pt x="0"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91" name="Freeform 2545">
              <a:extLst>
                <a:ext uri="{FF2B5EF4-FFF2-40B4-BE49-F238E27FC236}">
                  <a16:creationId xmlns:a16="http://schemas.microsoft.com/office/drawing/2014/main" id="{324586FA-D6F2-4C1F-9F3B-A09496C4E96A}"/>
                </a:ext>
              </a:extLst>
            </p:cNvPr>
            <p:cNvSpPr>
              <a:spLocks/>
            </p:cNvSpPr>
            <p:nvPr/>
          </p:nvSpPr>
          <p:spPr bwMode="auto">
            <a:xfrm>
              <a:off x="3516" y="1579"/>
              <a:ext cx="5" cy="7"/>
            </a:xfrm>
            <a:custGeom>
              <a:avLst/>
              <a:gdLst>
                <a:gd name="T0" fmla="*/ 0 w 2"/>
                <a:gd name="T1" fmla="*/ 0 h 3"/>
                <a:gd name="T2" fmla="*/ 2 w 2"/>
                <a:gd name="T3" fmla="*/ 3 h 3"/>
                <a:gd name="T4" fmla="*/ 0 w 2"/>
                <a:gd name="T5" fmla="*/ 0 h 3"/>
              </a:gdLst>
              <a:ahLst/>
              <a:cxnLst>
                <a:cxn ang="0">
                  <a:pos x="T0" y="T1"/>
                </a:cxn>
                <a:cxn ang="0">
                  <a:pos x="T2" y="T3"/>
                </a:cxn>
                <a:cxn ang="0">
                  <a:pos x="T4" y="T5"/>
                </a:cxn>
              </a:cxnLst>
              <a:rect l="0" t="0" r="r" b="b"/>
              <a:pathLst>
                <a:path w="2" h="3">
                  <a:moveTo>
                    <a:pt x="0" y="0"/>
                  </a:moveTo>
                  <a:cubicBezTo>
                    <a:pt x="0" y="1"/>
                    <a:pt x="1" y="2"/>
                    <a:pt x="2" y="3"/>
                  </a:cubicBezTo>
                  <a:cubicBezTo>
                    <a:pt x="2" y="1"/>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92" name="Freeform 2546">
              <a:extLst>
                <a:ext uri="{FF2B5EF4-FFF2-40B4-BE49-F238E27FC236}">
                  <a16:creationId xmlns:a16="http://schemas.microsoft.com/office/drawing/2014/main" id="{04C63C19-C0B6-450B-AF94-E47DA5C8401F}"/>
                </a:ext>
              </a:extLst>
            </p:cNvPr>
            <p:cNvSpPr>
              <a:spLocks/>
            </p:cNvSpPr>
            <p:nvPr/>
          </p:nvSpPr>
          <p:spPr bwMode="auto">
            <a:xfrm>
              <a:off x="3755" y="1669"/>
              <a:ext cx="26" cy="47"/>
            </a:xfrm>
            <a:custGeom>
              <a:avLst/>
              <a:gdLst>
                <a:gd name="T0" fmla="*/ 7 w 11"/>
                <a:gd name="T1" fmla="*/ 4 h 20"/>
                <a:gd name="T2" fmla="*/ 1 w 11"/>
                <a:gd name="T3" fmla="*/ 8 h 20"/>
                <a:gd name="T4" fmla="*/ 1 w 11"/>
                <a:gd name="T5" fmla="*/ 13 h 20"/>
                <a:gd name="T6" fmla="*/ 2 w 11"/>
                <a:gd name="T7" fmla="*/ 14 h 20"/>
                <a:gd name="T8" fmla="*/ 1 w 11"/>
                <a:gd name="T9" fmla="*/ 15 h 20"/>
                <a:gd name="T10" fmla="*/ 3 w 11"/>
                <a:gd name="T11" fmla="*/ 16 h 20"/>
                <a:gd name="T12" fmla="*/ 7 w 11"/>
                <a:gd name="T13" fmla="*/ 20 h 20"/>
                <a:gd name="T14" fmla="*/ 10 w 11"/>
                <a:gd name="T15" fmla="*/ 9 h 20"/>
                <a:gd name="T16" fmla="*/ 10 w 11"/>
                <a:gd name="T17" fmla="*/ 5 h 20"/>
                <a:gd name="T18" fmla="*/ 8 w 11"/>
                <a:gd name="T19" fmla="*/ 0 h 20"/>
                <a:gd name="T20" fmla="*/ 7 w 11"/>
                <a:gd name="T21"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20">
                  <a:moveTo>
                    <a:pt x="7" y="4"/>
                  </a:moveTo>
                  <a:cubicBezTo>
                    <a:pt x="4" y="4"/>
                    <a:pt x="3" y="6"/>
                    <a:pt x="1" y="8"/>
                  </a:cubicBezTo>
                  <a:cubicBezTo>
                    <a:pt x="0" y="8"/>
                    <a:pt x="2" y="12"/>
                    <a:pt x="1" y="13"/>
                  </a:cubicBezTo>
                  <a:cubicBezTo>
                    <a:pt x="2" y="13"/>
                    <a:pt x="3" y="13"/>
                    <a:pt x="2" y="14"/>
                  </a:cubicBezTo>
                  <a:cubicBezTo>
                    <a:pt x="2" y="15"/>
                    <a:pt x="2" y="15"/>
                    <a:pt x="1" y="15"/>
                  </a:cubicBezTo>
                  <a:cubicBezTo>
                    <a:pt x="2" y="16"/>
                    <a:pt x="2" y="16"/>
                    <a:pt x="3" y="16"/>
                  </a:cubicBezTo>
                  <a:cubicBezTo>
                    <a:pt x="2" y="19"/>
                    <a:pt x="5" y="19"/>
                    <a:pt x="7" y="20"/>
                  </a:cubicBezTo>
                  <a:cubicBezTo>
                    <a:pt x="8" y="17"/>
                    <a:pt x="9" y="13"/>
                    <a:pt x="10" y="9"/>
                  </a:cubicBezTo>
                  <a:cubicBezTo>
                    <a:pt x="11" y="8"/>
                    <a:pt x="10" y="6"/>
                    <a:pt x="10" y="5"/>
                  </a:cubicBezTo>
                  <a:cubicBezTo>
                    <a:pt x="10" y="3"/>
                    <a:pt x="10" y="0"/>
                    <a:pt x="8" y="0"/>
                  </a:cubicBezTo>
                  <a:cubicBezTo>
                    <a:pt x="8" y="2"/>
                    <a:pt x="9" y="4"/>
                    <a:pt x="7" y="4"/>
                  </a:cubicBezTo>
                  <a:close/>
                </a:path>
              </a:pathLst>
            </a:custGeom>
            <a:solidFill>
              <a:srgbClr val="00A5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93" name="Freeform 2547">
              <a:extLst>
                <a:ext uri="{FF2B5EF4-FFF2-40B4-BE49-F238E27FC236}">
                  <a16:creationId xmlns:a16="http://schemas.microsoft.com/office/drawing/2014/main" id="{46BFA3F8-FF71-4AD9-9CD2-3578F76A7CF0}"/>
                </a:ext>
              </a:extLst>
            </p:cNvPr>
            <p:cNvSpPr>
              <a:spLocks/>
            </p:cNvSpPr>
            <p:nvPr/>
          </p:nvSpPr>
          <p:spPr bwMode="auto">
            <a:xfrm>
              <a:off x="3379" y="1033"/>
              <a:ext cx="12" cy="11"/>
            </a:xfrm>
            <a:custGeom>
              <a:avLst/>
              <a:gdLst>
                <a:gd name="T0" fmla="*/ 1 w 5"/>
                <a:gd name="T1" fmla="*/ 3 h 5"/>
                <a:gd name="T2" fmla="*/ 3 w 5"/>
                <a:gd name="T3" fmla="*/ 3 h 5"/>
                <a:gd name="T4" fmla="*/ 4 w 5"/>
                <a:gd name="T5" fmla="*/ 5 h 5"/>
                <a:gd name="T6" fmla="*/ 4 w 5"/>
                <a:gd name="T7" fmla="*/ 3 h 5"/>
                <a:gd name="T8" fmla="*/ 4 w 5"/>
                <a:gd name="T9" fmla="*/ 3 h 5"/>
                <a:gd name="T10" fmla="*/ 0 w 5"/>
                <a:gd name="T11" fmla="*/ 1 h 5"/>
                <a:gd name="T12" fmla="*/ 1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1" y="3"/>
                  </a:moveTo>
                  <a:cubicBezTo>
                    <a:pt x="2" y="4"/>
                    <a:pt x="2" y="3"/>
                    <a:pt x="3" y="3"/>
                  </a:cubicBezTo>
                  <a:cubicBezTo>
                    <a:pt x="3" y="3"/>
                    <a:pt x="4" y="5"/>
                    <a:pt x="4" y="5"/>
                  </a:cubicBezTo>
                  <a:cubicBezTo>
                    <a:pt x="5" y="4"/>
                    <a:pt x="5" y="4"/>
                    <a:pt x="4" y="3"/>
                  </a:cubicBezTo>
                  <a:cubicBezTo>
                    <a:pt x="4" y="3"/>
                    <a:pt x="4" y="3"/>
                    <a:pt x="4" y="3"/>
                  </a:cubicBezTo>
                  <a:cubicBezTo>
                    <a:pt x="3" y="2"/>
                    <a:pt x="2" y="0"/>
                    <a:pt x="0" y="1"/>
                  </a:cubicBezTo>
                  <a:cubicBezTo>
                    <a:pt x="0" y="2"/>
                    <a:pt x="0" y="3"/>
                    <a:pt x="1" y="3"/>
                  </a:cubicBez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94" name="Freeform 2548">
              <a:extLst>
                <a:ext uri="{FF2B5EF4-FFF2-40B4-BE49-F238E27FC236}">
                  <a16:creationId xmlns:a16="http://schemas.microsoft.com/office/drawing/2014/main" id="{D2B0091A-D4AE-44EC-811B-BC148515ABE9}"/>
                </a:ext>
              </a:extLst>
            </p:cNvPr>
            <p:cNvSpPr>
              <a:spLocks/>
            </p:cNvSpPr>
            <p:nvPr/>
          </p:nvSpPr>
          <p:spPr bwMode="auto">
            <a:xfrm>
              <a:off x="3381" y="1049"/>
              <a:ext cx="7" cy="7"/>
            </a:xfrm>
            <a:custGeom>
              <a:avLst/>
              <a:gdLst>
                <a:gd name="T0" fmla="*/ 0 w 3"/>
                <a:gd name="T1" fmla="*/ 0 h 3"/>
                <a:gd name="T2" fmla="*/ 3 w 3"/>
                <a:gd name="T3" fmla="*/ 3 h 3"/>
                <a:gd name="T4" fmla="*/ 0 w 3"/>
                <a:gd name="T5" fmla="*/ 0 h 3"/>
              </a:gdLst>
              <a:ahLst/>
              <a:cxnLst>
                <a:cxn ang="0">
                  <a:pos x="T0" y="T1"/>
                </a:cxn>
                <a:cxn ang="0">
                  <a:pos x="T2" y="T3"/>
                </a:cxn>
                <a:cxn ang="0">
                  <a:pos x="T4" y="T5"/>
                </a:cxn>
              </a:cxnLst>
              <a:rect l="0" t="0" r="r" b="b"/>
              <a:pathLst>
                <a:path w="3" h="3">
                  <a:moveTo>
                    <a:pt x="0" y="0"/>
                  </a:moveTo>
                  <a:cubicBezTo>
                    <a:pt x="1" y="1"/>
                    <a:pt x="2" y="2"/>
                    <a:pt x="3" y="3"/>
                  </a:cubicBezTo>
                  <a:cubicBezTo>
                    <a:pt x="3" y="1"/>
                    <a:pt x="2"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95" name="Freeform 2549">
              <a:extLst>
                <a:ext uri="{FF2B5EF4-FFF2-40B4-BE49-F238E27FC236}">
                  <a16:creationId xmlns:a16="http://schemas.microsoft.com/office/drawing/2014/main" id="{B89F6BCC-7298-4D6B-B5A8-A93A949E5D47}"/>
                </a:ext>
              </a:extLst>
            </p:cNvPr>
            <p:cNvSpPr>
              <a:spLocks/>
            </p:cNvSpPr>
            <p:nvPr/>
          </p:nvSpPr>
          <p:spPr bwMode="auto">
            <a:xfrm>
              <a:off x="3381" y="1061"/>
              <a:ext cx="7" cy="9"/>
            </a:xfrm>
            <a:custGeom>
              <a:avLst/>
              <a:gdLst>
                <a:gd name="T0" fmla="*/ 3 w 3"/>
                <a:gd name="T1" fmla="*/ 4 h 4"/>
                <a:gd name="T2" fmla="*/ 0 w 3"/>
                <a:gd name="T3" fmla="*/ 0 h 4"/>
                <a:gd name="T4" fmla="*/ 3 w 3"/>
                <a:gd name="T5" fmla="*/ 4 h 4"/>
              </a:gdLst>
              <a:ahLst/>
              <a:cxnLst>
                <a:cxn ang="0">
                  <a:pos x="T0" y="T1"/>
                </a:cxn>
                <a:cxn ang="0">
                  <a:pos x="T2" y="T3"/>
                </a:cxn>
                <a:cxn ang="0">
                  <a:pos x="T4" y="T5"/>
                </a:cxn>
              </a:cxnLst>
              <a:rect l="0" t="0" r="r" b="b"/>
              <a:pathLst>
                <a:path w="3" h="4">
                  <a:moveTo>
                    <a:pt x="3" y="4"/>
                  </a:moveTo>
                  <a:cubicBezTo>
                    <a:pt x="2" y="1"/>
                    <a:pt x="2" y="0"/>
                    <a:pt x="0" y="0"/>
                  </a:cubicBezTo>
                  <a:cubicBezTo>
                    <a:pt x="0" y="2"/>
                    <a:pt x="2" y="2"/>
                    <a:pt x="3"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96" name="Freeform 2550">
              <a:extLst>
                <a:ext uri="{FF2B5EF4-FFF2-40B4-BE49-F238E27FC236}">
                  <a16:creationId xmlns:a16="http://schemas.microsoft.com/office/drawing/2014/main" id="{C0B8CCC1-EFDB-4044-9A80-0FAE00218544}"/>
                </a:ext>
              </a:extLst>
            </p:cNvPr>
            <p:cNvSpPr>
              <a:spLocks/>
            </p:cNvSpPr>
            <p:nvPr/>
          </p:nvSpPr>
          <p:spPr bwMode="auto">
            <a:xfrm>
              <a:off x="3391" y="1033"/>
              <a:ext cx="4" cy="7"/>
            </a:xfrm>
            <a:custGeom>
              <a:avLst/>
              <a:gdLst>
                <a:gd name="T0" fmla="*/ 1 w 2"/>
                <a:gd name="T1" fmla="*/ 1 h 3"/>
                <a:gd name="T2" fmla="*/ 0 w 2"/>
                <a:gd name="T3" fmla="*/ 0 h 3"/>
                <a:gd name="T4" fmla="*/ 0 w 2"/>
                <a:gd name="T5" fmla="*/ 3 h 3"/>
                <a:gd name="T6" fmla="*/ 1 w 2"/>
                <a:gd name="T7" fmla="*/ 1 h 3"/>
              </a:gdLst>
              <a:ahLst/>
              <a:cxnLst>
                <a:cxn ang="0">
                  <a:pos x="T0" y="T1"/>
                </a:cxn>
                <a:cxn ang="0">
                  <a:pos x="T2" y="T3"/>
                </a:cxn>
                <a:cxn ang="0">
                  <a:pos x="T4" y="T5"/>
                </a:cxn>
                <a:cxn ang="0">
                  <a:pos x="T6" y="T7"/>
                </a:cxn>
              </a:cxnLst>
              <a:rect l="0" t="0" r="r" b="b"/>
              <a:pathLst>
                <a:path w="2" h="3">
                  <a:moveTo>
                    <a:pt x="1" y="1"/>
                  </a:moveTo>
                  <a:cubicBezTo>
                    <a:pt x="0" y="1"/>
                    <a:pt x="0" y="1"/>
                    <a:pt x="0" y="0"/>
                  </a:cubicBezTo>
                  <a:cubicBezTo>
                    <a:pt x="0" y="1"/>
                    <a:pt x="0" y="2"/>
                    <a:pt x="0" y="3"/>
                  </a:cubicBezTo>
                  <a:cubicBezTo>
                    <a:pt x="2" y="3"/>
                    <a:pt x="1" y="2"/>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97" name="Freeform 2551">
              <a:extLst>
                <a:ext uri="{FF2B5EF4-FFF2-40B4-BE49-F238E27FC236}">
                  <a16:creationId xmlns:a16="http://schemas.microsoft.com/office/drawing/2014/main" id="{20629D9E-45CA-471E-BE9A-67D86992D289}"/>
                </a:ext>
              </a:extLst>
            </p:cNvPr>
            <p:cNvSpPr>
              <a:spLocks/>
            </p:cNvSpPr>
            <p:nvPr/>
          </p:nvSpPr>
          <p:spPr bwMode="auto">
            <a:xfrm>
              <a:off x="3369" y="1042"/>
              <a:ext cx="12" cy="5"/>
            </a:xfrm>
            <a:custGeom>
              <a:avLst/>
              <a:gdLst>
                <a:gd name="T0" fmla="*/ 2 w 5"/>
                <a:gd name="T1" fmla="*/ 2 h 2"/>
                <a:gd name="T2" fmla="*/ 2 w 5"/>
                <a:gd name="T3" fmla="*/ 0 h 2"/>
                <a:gd name="T4" fmla="*/ 0 w 5"/>
                <a:gd name="T5" fmla="*/ 0 h 2"/>
                <a:gd name="T6" fmla="*/ 2 w 5"/>
                <a:gd name="T7" fmla="*/ 2 h 2"/>
              </a:gdLst>
              <a:ahLst/>
              <a:cxnLst>
                <a:cxn ang="0">
                  <a:pos x="T0" y="T1"/>
                </a:cxn>
                <a:cxn ang="0">
                  <a:pos x="T2" y="T3"/>
                </a:cxn>
                <a:cxn ang="0">
                  <a:pos x="T4" y="T5"/>
                </a:cxn>
                <a:cxn ang="0">
                  <a:pos x="T6" y="T7"/>
                </a:cxn>
              </a:cxnLst>
              <a:rect l="0" t="0" r="r" b="b"/>
              <a:pathLst>
                <a:path w="5" h="2">
                  <a:moveTo>
                    <a:pt x="2" y="2"/>
                  </a:moveTo>
                  <a:cubicBezTo>
                    <a:pt x="4" y="1"/>
                    <a:pt x="5" y="0"/>
                    <a:pt x="2" y="0"/>
                  </a:cubicBezTo>
                  <a:cubicBezTo>
                    <a:pt x="2" y="0"/>
                    <a:pt x="1" y="0"/>
                    <a:pt x="0" y="0"/>
                  </a:cubicBezTo>
                  <a:cubicBezTo>
                    <a:pt x="1" y="0"/>
                    <a:pt x="2" y="1"/>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98" name="Freeform 2552">
              <a:extLst>
                <a:ext uri="{FF2B5EF4-FFF2-40B4-BE49-F238E27FC236}">
                  <a16:creationId xmlns:a16="http://schemas.microsoft.com/office/drawing/2014/main" id="{7C3379C0-23C4-4F53-A30A-AE23D5B3BA0B}"/>
                </a:ext>
              </a:extLst>
            </p:cNvPr>
            <p:cNvSpPr>
              <a:spLocks/>
            </p:cNvSpPr>
            <p:nvPr/>
          </p:nvSpPr>
          <p:spPr bwMode="auto">
            <a:xfrm>
              <a:off x="3369" y="1035"/>
              <a:ext cx="17" cy="14"/>
            </a:xfrm>
            <a:custGeom>
              <a:avLst/>
              <a:gdLst>
                <a:gd name="T0" fmla="*/ 7 w 7"/>
                <a:gd name="T1" fmla="*/ 6 h 6"/>
                <a:gd name="T2" fmla="*/ 7 w 7"/>
                <a:gd name="T3" fmla="*/ 4 h 6"/>
                <a:gd name="T4" fmla="*/ 6 w 7"/>
                <a:gd name="T5" fmla="*/ 4 h 6"/>
                <a:gd name="T6" fmla="*/ 5 w 7"/>
                <a:gd name="T7" fmla="*/ 3 h 6"/>
                <a:gd name="T8" fmla="*/ 5 w 7"/>
                <a:gd name="T9" fmla="*/ 2 h 6"/>
                <a:gd name="T10" fmla="*/ 4 w 7"/>
                <a:gd name="T11" fmla="*/ 1 h 6"/>
                <a:gd name="T12" fmla="*/ 2 w 7"/>
                <a:gd name="T13" fmla="*/ 0 h 6"/>
                <a:gd name="T14" fmla="*/ 7 w 7"/>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7" y="6"/>
                  </a:moveTo>
                  <a:cubicBezTo>
                    <a:pt x="7" y="5"/>
                    <a:pt x="7" y="5"/>
                    <a:pt x="7" y="4"/>
                  </a:cubicBezTo>
                  <a:cubicBezTo>
                    <a:pt x="7" y="4"/>
                    <a:pt x="6" y="4"/>
                    <a:pt x="6" y="4"/>
                  </a:cubicBezTo>
                  <a:cubicBezTo>
                    <a:pt x="6" y="4"/>
                    <a:pt x="7" y="3"/>
                    <a:pt x="5" y="3"/>
                  </a:cubicBezTo>
                  <a:cubicBezTo>
                    <a:pt x="6" y="2"/>
                    <a:pt x="5" y="3"/>
                    <a:pt x="5" y="2"/>
                  </a:cubicBezTo>
                  <a:cubicBezTo>
                    <a:pt x="4" y="2"/>
                    <a:pt x="4" y="1"/>
                    <a:pt x="4" y="1"/>
                  </a:cubicBezTo>
                  <a:cubicBezTo>
                    <a:pt x="4" y="1"/>
                    <a:pt x="3" y="0"/>
                    <a:pt x="2" y="0"/>
                  </a:cubicBezTo>
                  <a:cubicBezTo>
                    <a:pt x="0" y="2"/>
                    <a:pt x="7" y="6"/>
                    <a:pt x="7" y="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899" name="Freeform 2553">
              <a:extLst>
                <a:ext uri="{FF2B5EF4-FFF2-40B4-BE49-F238E27FC236}">
                  <a16:creationId xmlns:a16="http://schemas.microsoft.com/office/drawing/2014/main" id="{B477B146-F1BB-4987-A3E6-DD2A2BE8B2B7}"/>
                </a:ext>
              </a:extLst>
            </p:cNvPr>
            <p:cNvSpPr>
              <a:spLocks/>
            </p:cNvSpPr>
            <p:nvPr/>
          </p:nvSpPr>
          <p:spPr bwMode="auto">
            <a:xfrm>
              <a:off x="6883" y="2547"/>
              <a:ext cx="2" cy="2"/>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0"/>
                    <a:pt x="0" y="1"/>
                  </a:cubicBezTo>
                  <a:cubicBezTo>
                    <a:pt x="0" y="1"/>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00" name="Freeform 2554">
              <a:extLst>
                <a:ext uri="{FF2B5EF4-FFF2-40B4-BE49-F238E27FC236}">
                  <a16:creationId xmlns:a16="http://schemas.microsoft.com/office/drawing/2014/main" id="{4061BE88-14EF-4638-AF64-0AD11EACA514}"/>
                </a:ext>
              </a:extLst>
            </p:cNvPr>
            <p:cNvSpPr>
              <a:spLocks/>
            </p:cNvSpPr>
            <p:nvPr/>
          </p:nvSpPr>
          <p:spPr bwMode="auto">
            <a:xfrm>
              <a:off x="7483" y="2646"/>
              <a:ext cx="3" cy="5"/>
            </a:xfrm>
            <a:custGeom>
              <a:avLst/>
              <a:gdLst>
                <a:gd name="T0" fmla="*/ 1 w 1"/>
                <a:gd name="T1" fmla="*/ 2 h 2"/>
                <a:gd name="T2" fmla="*/ 1 w 1"/>
                <a:gd name="T3" fmla="*/ 0 h 2"/>
                <a:gd name="T4" fmla="*/ 0 w 1"/>
                <a:gd name="T5" fmla="*/ 1 h 2"/>
                <a:gd name="T6" fmla="*/ 1 w 1"/>
                <a:gd name="T7" fmla="*/ 2 h 2"/>
              </a:gdLst>
              <a:ahLst/>
              <a:cxnLst>
                <a:cxn ang="0">
                  <a:pos x="T0" y="T1"/>
                </a:cxn>
                <a:cxn ang="0">
                  <a:pos x="T2" y="T3"/>
                </a:cxn>
                <a:cxn ang="0">
                  <a:pos x="T4" y="T5"/>
                </a:cxn>
                <a:cxn ang="0">
                  <a:pos x="T6" y="T7"/>
                </a:cxn>
              </a:cxnLst>
              <a:rect l="0" t="0" r="r" b="b"/>
              <a:pathLst>
                <a:path w="1" h="2">
                  <a:moveTo>
                    <a:pt x="1" y="2"/>
                  </a:moveTo>
                  <a:cubicBezTo>
                    <a:pt x="1" y="1"/>
                    <a:pt x="1" y="1"/>
                    <a:pt x="1" y="0"/>
                  </a:cubicBezTo>
                  <a:cubicBezTo>
                    <a:pt x="1" y="1"/>
                    <a:pt x="0" y="1"/>
                    <a:pt x="0" y="1"/>
                  </a:cubicBezTo>
                  <a:cubicBezTo>
                    <a:pt x="0" y="1"/>
                    <a:pt x="1" y="2"/>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01" name="Freeform 2555">
              <a:extLst>
                <a:ext uri="{FF2B5EF4-FFF2-40B4-BE49-F238E27FC236}">
                  <a16:creationId xmlns:a16="http://schemas.microsoft.com/office/drawing/2014/main" id="{27A14A6A-25BC-4DA3-838D-E69879229481}"/>
                </a:ext>
              </a:extLst>
            </p:cNvPr>
            <p:cNvSpPr>
              <a:spLocks/>
            </p:cNvSpPr>
            <p:nvPr/>
          </p:nvSpPr>
          <p:spPr bwMode="auto">
            <a:xfrm>
              <a:off x="7370" y="2608"/>
              <a:ext cx="5" cy="5"/>
            </a:xfrm>
            <a:custGeom>
              <a:avLst/>
              <a:gdLst>
                <a:gd name="T0" fmla="*/ 1 w 2"/>
                <a:gd name="T1" fmla="*/ 1 h 2"/>
                <a:gd name="T2" fmla="*/ 0 w 2"/>
                <a:gd name="T3" fmla="*/ 0 h 2"/>
                <a:gd name="T4" fmla="*/ 0 w 2"/>
                <a:gd name="T5" fmla="*/ 2 h 2"/>
                <a:gd name="T6" fmla="*/ 1 w 2"/>
                <a:gd name="T7" fmla="*/ 1 h 2"/>
              </a:gdLst>
              <a:ahLst/>
              <a:cxnLst>
                <a:cxn ang="0">
                  <a:pos x="T0" y="T1"/>
                </a:cxn>
                <a:cxn ang="0">
                  <a:pos x="T2" y="T3"/>
                </a:cxn>
                <a:cxn ang="0">
                  <a:pos x="T4" y="T5"/>
                </a:cxn>
                <a:cxn ang="0">
                  <a:pos x="T6" y="T7"/>
                </a:cxn>
              </a:cxnLst>
              <a:rect l="0" t="0" r="r" b="b"/>
              <a:pathLst>
                <a:path w="2" h="2">
                  <a:moveTo>
                    <a:pt x="1" y="1"/>
                  </a:moveTo>
                  <a:cubicBezTo>
                    <a:pt x="2" y="1"/>
                    <a:pt x="0" y="0"/>
                    <a:pt x="0" y="0"/>
                  </a:cubicBezTo>
                  <a:cubicBezTo>
                    <a:pt x="0" y="1"/>
                    <a:pt x="0" y="1"/>
                    <a:pt x="0" y="2"/>
                  </a:cubicBezTo>
                  <a:cubicBezTo>
                    <a:pt x="1" y="2"/>
                    <a:pt x="1" y="2"/>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02" name="Freeform 2556">
              <a:extLst>
                <a:ext uri="{FF2B5EF4-FFF2-40B4-BE49-F238E27FC236}">
                  <a16:creationId xmlns:a16="http://schemas.microsoft.com/office/drawing/2014/main" id="{91CED127-6258-4E0E-AE91-C1A159A038F5}"/>
                </a:ext>
              </a:extLst>
            </p:cNvPr>
            <p:cNvSpPr>
              <a:spLocks/>
            </p:cNvSpPr>
            <p:nvPr/>
          </p:nvSpPr>
          <p:spPr bwMode="auto">
            <a:xfrm>
              <a:off x="7838" y="3231"/>
              <a:ext cx="2"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03" name="Freeform 2557">
              <a:extLst>
                <a:ext uri="{FF2B5EF4-FFF2-40B4-BE49-F238E27FC236}">
                  <a16:creationId xmlns:a16="http://schemas.microsoft.com/office/drawing/2014/main" id="{E7FF051E-78E7-40FE-A424-ECDB41021C6B}"/>
                </a:ext>
              </a:extLst>
            </p:cNvPr>
            <p:cNvSpPr>
              <a:spLocks/>
            </p:cNvSpPr>
            <p:nvPr/>
          </p:nvSpPr>
          <p:spPr bwMode="auto">
            <a:xfrm>
              <a:off x="7826" y="3200"/>
              <a:ext cx="38" cy="23"/>
            </a:xfrm>
            <a:custGeom>
              <a:avLst/>
              <a:gdLst>
                <a:gd name="T0" fmla="*/ 15 w 16"/>
                <a:gd name="T1" fmla="*/ 5 h 10"/>
                <a:gd name="T2" fmla="*/ 15 w 16"/>
                <a:gd name="T3" fmla="*/ 4 h 10"/>
                <a:gd name="T4" fmla="*/ 15 w 16"/>
                <a:gd name="T5" fmla="*/ 3 h 10"/>
                <a:gd name="T6" fmla="*/ 14 w 16"/>
                <a:gd name="T7" fmla="*/ 3 h 10"/>
                <a:gd name="T8" fmla="*/ 11 w 16"/>
                <a:gd name="T9" fmla="*/ 0 h 10"/>
                <a:gd name="T10" fmla="*/ 7 w 16"/>
                <a:gd name="T11" fmla="*/ 1 h 10"/>
                <a:gd name="T12" fmla="*/ 2 w 16"/>
                <a:gd name="T13" fmla="*/ 8 h 10"/>
                <a:gd name="T14" fmla="*/ 4 w 16"/>
                <a:gd name="T15" fmla="*/ 9 h 10"/>
                <a:gd name="T16" fmla="*/ 7 w 16"/>
                <a:gd name="T17" fmla="*/ 10 h 10"/>
                <a:gd name="T18" fmla="*/ 14 w 16"/>
                <a:gd name="T19" fmla="*/ 8 h 10"/>
                <a:gd name="T20" fmla="*/ 16 w 16"/>
                <a:gd name="T21" fmla="*/ 7 h 10"/>
                <a:gd name="T22" fmla="*/ 15 w 16"/>
                <a:gd name="T23"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0">
                  <a:moveTo>
                    <a:pt x="15" y="5"/>
                  </a:moveTo>
                  <a:cubicBezTo>
                    <a:pt x="15" y="5"/>
                    <a:pt x="15" y="4"/>
                    <a:pt x="15" y="4"/>
                  </a:cubicBezTo>
                  <a:cubicBezTo>
                    <a:pt x="15" y="4"/>
                    <a:pt x="15" y="4"/>
                    <a:pt x="15" y="3"/>
                  </a:cubicBezTo>
                  <a:cubicBezTo>
                    <a:pt x="15" y="3"/>
                    <a:pt x="14" y="3"/>
                    <a:pt x="14" y="3"/>
                  </a:cubicBezTo>
                  <a:cubicBezTo>
                    <a:pt x="13" y="2"/>
                    <a:pt x="12" y="1"/>
                    <a:pt x="11" y="0"/>
                  </a:cubicBezTo>
                  <a:cubicBezTo>
                    <a:pt x="10" y="1"/>
                    <a:pt x="7" y="1"/>
                    <a:pt x="7" y="1"/>
                  </a:cubicBezTo>
                  <a:cubicBezTo>
                    <a:pt x="5" y="2"/>
                    <a:pt x="0" y="5"/>
                    <a:pt x="2" y="8"/>
                  </a:cubicBezTo>
                  <a:cubicBezTo>
                    <a:pt x="2" y="8"/>
                    <a:pt x="3" y="9"/>
                    <a:pt x="4" y="9"/>
                  </a:cubicBezTo>
                  <a:cubicBezTo>
                    <a:pt x="5" y="9"/>
                    <a:pt x="6" y="10"/>
                    <a:pt x="7" y="10"/>
                  </a:cubicBezTo>
                  <a:cubicBezTo>
                    <a:pt x="9" y="10"/>
                    <a:pt x="12" y="9"/>
                    <a:pt x="14" y="8"/>
                  </a:cubicBezTo>
                  <a:cubicBezTo>
                    <a:pt x="15" y="8"/>
                    <a:pt x="16" y="8"/>
                    <a:pt x="16" y="7"/>
                  </a:cubicBezTo>
                  <a:cubicBezTo>
                    <a:pt x="15" y="7"/>
                    <a:pt x="15" y="6"/>
                    <a:pt x="15"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04" name="Freeform 2558">
              <a:extLst>
                <a:ext uri="{FF2B5EF4-FFF2-40B4-BE49-F238E27FC236}">
                  <a16:creationId xmlns:a16="http://schemas.microsoft.com/office/drawing/2014/main" id="{EE81F3C7-AB75-4C49-A646-F1FFEE013C69}"/>
                </a:ext>
              </a:extLst>
            </p:cNvPr>
            <p:cNvSpPr>
              <a:spLocks/>
            </p:cNvSpPr>
            <p:nvPr/>
          </p:nvSpPr>
          <p:spPr bwMode="auto">
            <a:xfrm>
              <a:off x="7866" y="3207"/>
              <a:ext cx="0" cy="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0"/>
                    <a:pt x="0"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05" name="Freeform 2559">
              <a:extLst>
                <a:ext uri="{FF2B5EF4-FFF2-40B4-BE49-F238E27FC236}">
                  <a16:creationId xmlns:a16="http://schemas.microsoft.com/office/drawing/2014/main" id="{8CBD0235-89AC-4761-BBC5-AD006EA89334}"/>
                </a:ext>
              </a:extLst>
            </p:cNvPr>
            <p:cNvSpPr>
              <a:spLocks/>
            </p:cNvSpPr>
            <p:nvPr/>
          </p:nvSpPr>
          <p:spPr bwMode="auto">
            <a:xfrm>
              <a:off x="7859" y="3171"/>
              <a:ext cx="36" cy="22"/>
            </a:xfrm>
            <a:custGeom>
              <a:avLst/>
              <a:gdLst>
                <a:gd name="T0" fmla="*/ 14 w 15"/>
                <a:gd name="T1" fmla="*/ 4 h 9"/>
                <a:gd name="T2" fmla="*/ 10 w 15"/>
                <a:gd name="T3" fmla="*/ 6 h 9"/>
                <a:gd name="T4" fmla="*/ 15 w 15"/>
                <a:gd name="T5" fmla="*/ 0 h 9"/>
                <a:gd name="T6" fmla="*/ 14 w 15"/>
                <a:gd name="T7" fmla="*/ 1 h 9"/>
                <a:gd name="T8" fmla="*/ 13 w 15"/>
                <a:gd name="T9" fmla="*/ 0 h 9"/>
                <a:gd name="T10" fmla="*/ 12 w 15"/>
                <a:gd name="T11" fmla="*/ 1 h 9"/>
                <a:gd name="T12" fmla="*/ 11 w 15"/>
                <a:gd name="T13" fmla="*/ 1 h 9"/>
                <a:gd name="T14" fmla="*/ 11 w 15"/>
                <a:gd name="T15" fmla="*/ 1 h 9"/>
                <a:gd name="T16" fmla="*/ 9 w 15"/>
                <a:gd name="T17" fmla="*/ 2 h 9"/>
                <a:gd name="T18" fmla="*/ 6 w 15"/>
                <a:gd name="T19" fmla="*/ 3 h 9"/>
                <a:gd name="T20" fmla="*/ 5 w 15"/>
                <a:gd name="T21" fmla="*/ 3 h 9"/>
                <a:gd name="T22" fmla="*/ 4 w 15"/>
                <a:gd name="T23" fmla="*/ 4 h 9"/>
                <a:gd name="T24" fmla="*/ 3 w 15"/>
                <a:gd name="T25" fmla="*/ 5 h 9"/>
                <a:gd name="T26" fmla="*/ 2 w 15"/>
                <a:gd name="T27" fmla="*/ 5 h 9"/>
                <a:gd name="T28" fmla="*/ 1 w 15"/>
                <a:gd name="T29" fmla="*/ 5 h 9"/>
                <a:gd name="T30" fmla="*/ 1 w 15"/>
                <a:gd name="T31" fmla="*/ 5 h 9"/>
                <a:gd name="T32" fmla="*/ 0 w 15"/>
                <a:gd name="T33" fmla="*/ 6 h 9"/>
                <a:gd name="T34" fmla="*/ 2 w 15"/>
                <a:gd name="T35" fmla="*/ 8 h 9"/>
                <a:gd name="T36" fmla="*/ 2 w 15"/>
                <a:gd name="T37" fmla="*/ 9 h 9"/>
                <a:gd name="T38" fmla="*/ 5 w 15"/>
                <a:gd name="T39" fmla="*/ 8 h 9"/>
                <a:gd name="T40" fmla="*/ 11 w 15"/>
                <a:gd name="T41" fmla="*/ 7 h 9"/>
                <a:gd name="T42" fmla="*/ 14 w 15"/>
                <a:gd name="T43" fmla="*/ 6 h 9"/>
                <a:gd name="T44" fmla="*/ 14 w 15"/>
                <a:gd name="T45" fmla="*/ 6 h 9"/>
                <a:gd name="T46" fmla="*/ 14 w 15"/>
                <a:gd name="T4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 h="9">
                  <a:moveTo>
                    <a:pt x="14" y="4"/>
                  </a:moveTo>
                  <a:cubicBezTo>
                    <a:pt x="13" y="5"/>
                    <a:pt x="11" y="6"/>
                    <a:pt x="10" y="6"/>
                  </a:cubicBezTo>
                  <a:cubicBezTo>
                    <a:pt x="10" y="4"/>
                    <a:pt x="15" y="2"/>
                    <a:pt x="15" y="0"/>
                  </a:cubicBezTo>
                  <a:cubicBezTo>
                    <a:pt x="15" y="0"/>
                    <a:pt x="14" y="1"/>
                    <a:pt x="14" y="1"/>
                  </a:cubicBezTo>
                  <a:cubicBezTo>
                    <a:pt x="14" y="1"/>
                    <a:pt x="13" y="0"/>
                    <a:pt x="13" y="0"/>
                  </a:cubicBezTo>
                  <a:cubicBezTo>
                    <a:pt x="12" y="0"/>
                    <a:pt x="12" y="1"/>
                    <a:pt x="12" y="1"/>
                  </a:cubicBezTo>
                  <a:cubicBezTo>
                    <a:pt x="11" y="1"/>
                    <a:pt x="11" y="1"/>
                    <a:pt x="11" y="1"/>
                  </a:cubicBezTo>
                  <a:cubicBezTo>
                    <a:pt x="11" y="1"/>
                    <a:pt x="11" y="1"/>
                    <a:pt x="11" y="1"/>
                  </a:cubicBezTo>
                  <a:cubicBezTo>
                    <a:pt x="10" y="1"/>
                    <a:pt x="9" y="2"/>
                    <a:pt x="9" y="2"/>
                  </a:cubicBezTo>
                  <a:cubicBezTo>
                    <a:pt x="8" y="2"/>
                    <a:pt x="7" y="2"/>
                    <a:pt x="6" y="3"/>
                  </a:cubicBezTo>
                  <a:cubicBezTo>
                    <a:pt x="6" y="3"/>
                    <a:pt x="5" y="3"/>
                    <a:pt x="5" y="3"/>
                  </a:cubicBezTo>
                  <a:cubicBezTo>
                    <a:pt x="4" y="3"/>
                    <a:pt x="4" y="4"/>
                    <a:pt x="4" y="4"/>
                  </a:cubicBezTo>
                  <a:cubicBezTo>
                    <a:pt x="4" y="4"/>
                    <a:pt x="3" y="4"/>
                    <a:pt x="3" y="5"/>
                  </a:cubicBezTo>
                  <a:cubicBezTo>
                    <a:pt x="3" y="4"/>
                    <a:pt x="3" y="5"/>
                    <a:pt x="2" y="5"/>
                  </a:cubicBezTo>
                  <a:cubicBezTo>
                    <a:pt x="2" y="5"/>
                    <a:pt x="2" y="5"/>
                    <a:pt x="1" y="5"/>
                  </a:cubicBezTo>
                  <a:cubicBezTo>
                    <a:pt x="1" y="5"/>
                    <a:pt x="1" y="5"/>
                    <a:pt x="1" y="5"/>
                  </a:cubicBezTo>
                  <a:cubicBezTo>
                    <a:pt x="0" y="5"/>
                    <a:pt x="0" y="6"/>
                    <a:pt x="0" y="6"/>
                  </a:cubicBezTo>
                  <a:cubicBezTo>
                    <a:pt x="1" y="7"/>
                    <a:pt x="1" y="7"/>
                    <a:pt x="2" y="8"/>
                  </a:cubicBezTo>
                  <a:cubicBezTo>
                    <a:pt x="2" y="8"/>
                    <a:pt x="2" y="9"/>
                    <a:pt x="2" y="9"/>
                  </a:cubicBezTo>
                  <a:cubicBezTo>
                    <a:pt x="3" y="9"/>
                    <a:pt x="5" y="8"/>
                    <a:pt x="5" y="8"/>
                  </a:cubicBezTo>
                  <a:cubicBezTo>
                    <a:pt x="7" y="7"/>
                    <a:pt x="9" y="7"/>
                    <a:pt x="11" y="7"/>
                  </a:cubicBezTo>
                  <a:cubicBezTo>
                    <a:pt x="12" y="6"/>
                    <a:pt x="13" y="6"/>
                    <a:pt x="14" y="6"/>
                  </a:cubicBezTo>
                  <a:cubicBezTo>
                    <a:pt x="14" y="6"/>
                    <a:pt x="14" y="6"/>
                    <a:pt x="14" y="6"/>
                  </a:cubicBezTo>
                  <a:cubicBezTo>
                    <a:pt x="14" y="5"/>
                    <a:pt x="14" y="4"/>
                    <a:pt x="14"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06" name="Freeform 2560">
              <a:extLst>
                <a:ext uri="{FF2B5EF4-FFF2-40B4-BE49-F238E27FC236}">
                  <a16:creationId xmlns:a16="http://schemas.microsoft.com/office/drawing/2014/main" id="{8CE19579-F667-471B-8540-195371CC9DAC}"/>
                </a:ext>
              </a:extLst>
            </p:cNvPr>
            <p:cNvSpPr>
              <a:spLocks/>
            </p:cNvSpPr>
            <p:nvPr/>
          </p:nvSpPr>
          <p:spPr bwMode="auto">
            <a:xfrm>
              <a:off x="7829" y="3193"/>
              <a:ext cx="2" cy="2"/>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0" y="1"/>
                    <a:pt x="1" y="0"/>
                  </a:cubicBezTo>
                  <a:cubicBezTo>
                    <a:pt x="0" y="0"/>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07" name="Freeform 2561">
              <a:extLst>
                <a:ext uri="{FF2B5EF4-FFF2-40B4-BE49-F238E27FC236}">
                  <a16:creationId xmlns:a16="http://schemas.microsoft.com/office/drawing/2014/main" id="{C516FD05-25CE-4E94-B164-3C8933BCB45A}"/>
                </a:ext>
              </a:extLst>
            </p:cNvPr>
            <p:cNvSpPr>
              <a:spLocks/>
            </p:cNvSpPr>
            <p:nvPr/>
          </p:nvSpPr>
          <p:spPr bwMode="auto">
            <a:xfrm>
              <a:off x="7881" y="3197"/>
              <a:ext cx="2" cy="5"/>
            </a:xfrm>
            <a:custGeom>
              <a:avLst/>
              <a:gdLst>
                <a:gd name="T0" fmla="*/ 0 w 1"/>
                <a:gd name="T1" fmla="*/ 2 h 2"/>
                <a:gd name="T2" fmla="*/ 1 w 1"/>
                <a:gd name="T3" fmla="*/ 0 h 2"/>
                <a:gd name="T4" fmla="*/ 0 w 1"/>
                <a:gd name="T5" fmla="*/ 2 h 2"/>
              </a:gdLst>
              <a:ahLst/>
              <a:cxnLst>
                <a:cxn ang="0">
                  <a:pos x="T0" y="T1"/>
                </a:cxn>
                <a:cxn ang="0">
                  <a:pos x="T2" y="T3"/>
                </a:cxn>
                <a:cxn ang="0">
                  <a:pos x="T4" y="T5"/>
                </a:cxn>
              </a:cxnLst>
              <a:rect l="0" t="0" r="r" b="b"/>
              <a:pathLst>
                <a:path w="1" h="2">
                  <a:moveTo>
                    <a:pt x="0" y="2"/>
                  </a:moveTo>
                  <a:cubicBezTo>
                    <a:pt x="1" y="1"/>
                    <a:pt x="1" y="1"/>
                    <a:pt x="1" y="0"/>
                  </a:cubicBezTo>
                  <a:cubicBezTo>
                    <a:pt x="0" y="1"/>
                    <a:pt x="0"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08" name="Freeform 2562">
              <a:extLst>
                <a:ext uri="{FF2B5EF4-FFF2-40B4-BE49-F238E27FC236}">
                  <a16:creationId xmlns:a16="http://schemas.microsoft.com/office/drawing/2014/main" id="{33A0F17E-603E-456D-A5D2-730CE09F1E4E}"/>
                </a:ext>
              </a:extLst>
            </p:cNvPr>
            <p:cNvSpPr>
              <a:spLocks/>
            </p:cNvSpPr>
            <p:nvPr/>
          </p:nvSpPr>
          <p:spPr bwMode="auto">
            <a:xfrm>
              <a:off x="7876" y="3212"/>
              <a:ext cx="5" cy="7"/>
            </a:xfrm>
            <a:custGeom>
              <a:avLst/>
              <a:gdLst>
                <a:gd name="T0" fmla="*/ 2 w 2"/>
                <a:gd name="T1" fmla="*/ 3 h 3"/>
                <a:gd name="T2" fmla="*/ 2 w 2"/>
                <a:gd name="T3" fmla="*/ 3 h 3"/>
              </a:gdLst>
              <a:ahLst/>
              <a:cxnLst>
                <a:cxn ang="0">
                  <a:pos x="T0" y="T1"/>
                </a:cxn>
                <a:cxn ang="0">
                  <a:pos x="T2" y="T3"/>
                </a:cxn>
              </a:cxnLst>
              <a:rect l="0" t="0" r="r" b="b"/>
              <a:pathLst>
                <a:path w="2" h="3">
                  <a:moveTo>
                    <a:pt x="2" y="3"/>
                  </a:moveTo>
                  <a:cubicBezTo>
                    <a:pt x="2" y="2"/>
                    <a:pt x="0" y="0"/>
                    <a:pt x="2"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09" name="Freeform 2563">
              <a:extLst>
                <a:ext uri="{FF2B5EF4-FFF2-40B4-BE49-F238E27FC236}">
                  <a16:creationId xmlns:a16="http://schemas.microsoft.com/office/drawing/2014/main" id="{C3DA23A5-7E51-476A-99B8-E1E235CF6869}"/>
                </a:ext>
              </a:extLst>
            </p:cNvPr>
            <p:cNvSpPr>
              <a:spLocks/>
            </p:cNvSpPr>
            <p:nvPr/>
          </p:nvSpPr>
          <p:spPr bwMode="auto">
            <a:xfrm>
              <a:off x="7833" y="3186"/>
              <a:ext cx="3" cy="2"/>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1" y="1"/>
                    <a:pt x="1" y="0"/>
                    <a:pt x="1" y="0"/>
                  </a:cubicBezTo>
                  <a:cubicBezTo>
                    <a:pt x="1" y="0"/>
                    <a:pt x="1"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10" name="Freeform 2564">
              <a:extLst>
                <a:ext uri="{FF2B5EF4-FFF2-40B4-BE49-F238E27FC236}">
                  <a16:creationId xmlns:a16="http://schemas.microsoft.com/office/drawing/2014/main" id="{31532EAB-7AC9-469D-9845-178D46844E3B}"/>
                </a:ext>
              </a:extLst>
            </p:cNvPr>
            <p:cNvSpPr>
              <a:spLocks/>
            </p:cNvSpPr>
            <p:nvPr/>
          </p:nvSpPr>
          <p:spPr bwMode="auto">
            <a:xfrm>
              <a:off x="7847" y="3240"/>
              <a:ext cx="12" cy="7"/>
            </a:xfrm>
            <a:custGeom>
              <a:avLst/>
              <a:gdLst>
                <a:gd name="T0" fmla="*/ 3 w 5"/>
                <a:gd name="T1" fmla="*/ 1 h 3"/>
                <a:gd name="T2" fmla="*/ 4 w 5"/>
                <a:gd name="T3" fmla="*/ 1 h 3"/>
                <a:gd name="T4" fmla="*/ 4 w 5"/>
                <a:gd name="T5" fmla="*/ 0 h 3"/>
                <a:gd name="T6" fmla="*/ 0 w 5"/>
                <a:gd name="T7" fmla="*/ 2 h 3"/>
                <a:gd name="T8" fmla="*/ 1 w 5"/>
                <a:gd name="T9" fmla="*/ 2 h 3"/>
                <a:gd name="T10" fmla="*/ 3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3" y="1"/>
                  </a:moveTo>
                  <a:cubicBezTo>
                    <a:pt x="3" y="1"/>
                    <a:pt x="4" y="1"/>
                    <a:pt x="4" y="1"/>
                  </a:cubicBezTo>
                  <a:cubicBezTo>
                    <a:pt x="5" y="1"/>
                    <a:pt x="5" y="0"/>
                    <a:pt x="4" y="0"/>
                  </a:cubicBezTo>
                  <a:cubicBezTo>
                    <a:pt x="2" y="0"/>
                    <a:pt x="1" y="1"/>
                    <a:pt x="0" y="2"/>
                  </a:cubicBezTo>
                  <a:cubicBezTo>
                    <a:pt x="0" y="2"/>
                    <a:pt x="0" y="2"/>
                    <a:pt x="1" y="2"/>
                  </a:cubicBezTo>
                  <a:cubicBezTo>
                    <a:pt x="3" y="3"/>
                    <a:pt x="1" y="1"/>
                    <a:pt x="3"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11" name="Freeform 2565">
              <a:extLst>
                <a:ext uri="{FF2B5EF4-FFF2-40B4-BE49-F238E27FC236}">
                  <a16:creationId xmlns:a16="http://schemas.microsoft.com/office/drawing/2014/main" id="{7B17F4DE-C293-4CE2-90B9-EED64399D296}"/>
                </a:ext>
              </a:extLst>
            </p:cNvPr>
            <p:cNvSpPr>
              <a:spLocks/>
            </p:cNvSpPr>
            <p:nvPr/>
          </p:nvSpPr>
          <p:spPr bwMode="auto">
            <a:xfrm>
              <a:off x="4088" y="1106"/>
              <a:ext cx="3" cy="2"/>
            </a:xfrm>
            <a:custGeom>
              <a:avLst/>
              <a:gdLst>
                <a:gd name="T0" fmla="*/ 1 w 1"/>
                <a:gd name="T1" fmla="*/ 0 h 1"/>
                <a:gd name="T2" fmla="*/ 0 w 1"/>
                <a:gd name="T3" fmla="*/ 1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1" y="1"/>
                    <a:pt x="0" y="1"/>
                  </a:cubicBezTo>
                  <a:cubicBezTo>
                    <a:pt x="1" y="1"/>
                    <a:pt x="1" y="1"/>
                    <a:pt x="1" y="1"/>
                  </a:cubicBezTo>
                  <a:cubicBezTo>
                    <a:pt x="1" y="1"/>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12" name="Freeform 2566">
              <a:extLst>
                <a:ext uri="{FF2B5EF4-FFF2-40B4-BE49-F238E27FC236}">
                  <a16:creationId xmlns:a16="http://schemas.microsoft.com/office/drawing/2014/main" id="{10813795-92A0-4BD9-8A54-5DA10A30743C}"/>
                </a:ext>
              </a:extLst>
            </p:cNvPr>
            <p:cNvSpPr>
              <a:spLocks/>
            </p:cNvSpPr>
            <p:nvPr/>
          </p:nvSpPr>
          <p:spPr bwMode="auto">
            <a:xfrm>
              <a:off x="4074" y="1115"/>
              <a:ext cx="2"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13" name="Freeform 2567">
              <a:extLst>
                <a:ext uri="{FF2B5EF4-FFF2-40B4-BE49-F238E27FC236}">
                  <a16:creationId xmlns:a16="http://schemas.microsoft.com/office/drawing/2014/main" id="{7DAF21C4-EA99-4B14-B899-68082BBEC188}"/>
                </a:ext>
              </a:extLst>
            </p:cNvPr>
            <p:cNvSpPr>
              <a:spLocks/>
            </p:cNvSpPr>
            <p:nvPr/>
          </p:nvSpPr>
          <p:spPr bwMode="auto">
            <a:xfrm>
              <a:off x="4039" y="1113"/>
              <a:ext cx="0" cy="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14" name="Freeform 2568">
              <a:extLst>
                <a:ext uri="{FF2B5EF4-FFF2-40B4-BE49-F238E27FC236}">
                  <a16:creationId xmlns:a16="http://schemas.microsoft.com/office/drawing/2014/main" id="{EE943F14-C252-474F-ADCD-CB0890564BA0}"/>
                </a:ext>
              </a:extLst>
            </p:cNvPr>
            <p:cNvSpPr>
              <a:spLocks/>
            </p:cNvSpPr>
            <p:nvPr/>
          </p:nvSpPr>
          <p:spPr bwMode="auto">
            <a:xfrm>
              <a:off x="4022" y="1108"/>
              <a:ext cx="5" cy="7"/>
            </a:xfrm>
            <a:custGeom>
              <a:avLst/>
              <a:gdLst>
                <a:gd name="T0" fmla="*/ 0 w 2"/>
                <a:gd name="T1" fmla="*/ 3 h 3"/>
                <a:gd name="T2" fmla="*/ 0 w 2"/>
                <a:gd name="T3" fmla="*/ 0 h 3"/>
                <a:gd name="T4" fmla="*/ 0 w 2"/>
                <a:gd name="T5" fmla="*/ 3 h 3"/>
              </a:gdLst>
              <a:ahLst/>
              <a:cxnLst>
                <a:cxn ang="0">
                  <a:pos x="T0" y="T1"/>
                </a:cxn>
                <a:cxn ang="0">
                  <a:pos x="T2" y="T3"/>
                </a:cxn>
                <a:cxn ang="0">
                  <a:pos x="T4" y="T5"/>
                </a:cxn>
              </a:cxnLst>
              <a:rect l="0" t="0" r="r" b="b"/>
              <a:pathLst>
                <a:path w="2" h="3">
                  <a:moveTo>
                    <a:pt x="0" y="3"/>
                  </a:moveTo>
                  <a:cubicBezTo>
                    <a:pt x="2" y="2"/>
                    <a:pt x="1" y="1"/>
                    <a:pt x="0" y="0"/>
                  </a:cubicBezTo>
                  <a:cubicBezTo>
                    <a:pt x="0" y="1"/>
                    <a:pt x="0" y="2"/>
                    <a:pt x="0"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15" name="Freeform 2569">
              <a:extLst>
                <a:ext uri="{FF2B5EF4-FFF2-40B4-BE49-F238E27FC236}">
                  <a16:creationId xmlns:a16="http://schemas.microsoft.com/office/drawing/2014/main" id="{EF65D89E-354D-4419-8AC7-D72F004F48A8}"/>
                </a:ext>
              </a:extLst>
            </p:cNvPr>
            <p:cNvSpPr>
              <a:spLocks/>
            </p:cNvSpPr>
            <p:nvPr/>
          </p:nvSpPr>
          <p:spPr bwMode="auto">
            <a:xfrm>
              <a:off x="4079" y="1113"/>
              <a:ext cx="4" cy="2"/>
            </a:xfrm>
            <a:custGeom>
              <a:avLst/>
              <a:gdLst>
                <a:gd name="T0" fmla="*/ 2 w 2"/>
                <a:gd name="T1" fmla="*/ 0 h 1"/>
                <a:gd name="T2" fmla="*/ 2 w 2"/>
                <a:gd name="T3" fmla="*/ 0 h 1"/>
              </a:gdLst>
              <a:ahLst/>
              <a:cxnLst>
                <a:cxn ang="0">
                  <a:pos x="T0" y="T1"/>
                </a:cxn>
                <a:cxn ang="0">
                  <a:pos x="T2" y="T3"/>
                </a:cxn>
              </a:cxnLst>
              <a:rect l="0" t="0" r="r" b="b"/>
              <a:pathLst>
                <a:path w="2" h="1">
                  <a:moveTo>
                    <a:pt x="2" y="0"/>
                  </a:moveTo>
                  <a:cubicBezTo>
                    <a:pt x="0" y="1"/>
                    <a:pt x="1" y="1"/>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16" name="Freeform 2570">
              <a:extLst>
                <a:ext uri="{FF2B5EF4-FFF2-40B4-BE49-F238E27FC236}">
                  <a16:creationId xmlns:a16="http://schemas.microsoft.com/office/drawing/2014/main" id="{C911D578-0149-4A2A-A982-B1FC2F328C41}"/>
                </a:ext>
              </a:extLst>
            </p:cNvPr>
            <p:cNvSpPr>
              <a:spLocks/>
            </p:cNvSpPr>
            <p:nvPr/>
          </p:nvSpPr>
          <p:spPr bwMode="auto">
            <a:xfrm>
              <a:off x="4031" y="1115"/>
              <a:ext cx="8" cy="5"/>
            </a:xfrm>
            <a:custGeom>
              <a:avLst/>
              <a:gdLst>
                <a:gd name="T0" fmla="*/ 0 w 3"/>
                <a:gd name="T1" fmla="*/ 1 h 2"/>
                <a:gd name="T2" fmla="*/ 2 w 3"/>
                <a:gd name="T3" fmla="*/ 2 h 2"/>
                <a:gd name="T4" fmla="*/ 0 w 3"/>
                <a:gd name="T5" fmla="*/ 1 h 2"/>
              </a:gdLst>
              <a:ahLst/>
              <a:cxnLst>
                <a:cxn ang="0">
                  <a:pos x="T0" y="T1"/>
                </a:cxn>
                <a:cxn ang="0">
                  <a:pos x="T2" y="T3"/>
                </a:cxn>
                <a:cxn ang="0">
                  <a:pos x="T4" y="T5"/>
                </a:cxn>
              </a:cxnLst>
              <a:rect l="0" t="0" r="r" b="b"/>
              <a:pathLst>
                <a:path w="3" h="2">
                  <a:moveTo>
                    <a:pt x="0" y="1"/>
                  </a:moveTo>
                  <a:cubicBezTo>
                    <a:pt x="1" y="1"/>
                    <a:pt x="1" y="1"/>
                    <a:pt x="2" y="2"/>
                  </a:cubicBezTo>
                  <a:cubicBezTo>
                    <a:pt x="3" y="1"/>
                    <a:pt x="2"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17" name="Freeform 2571">
              <a:extLst>
                <a:ext uri="{FF2B5EF4-FFF2-40B4-BE49-F238E27FC236}">
                  <a16:creationId xmlns:a16="http://schemas.microsoft.com/office/drawing/2014/main" id="{EFFD2C0B-AD83-43F6-9A18-7F1FCDF00CFC}"/>
                </a:ext>
              </a:extLst>
            </p:cNvPr>
            <p:cNvSpPr>
              <a:spLocks/>
            </p:cNvSpPr>
            <p:nvPr/>
          </p:nvSpPr>
          <p:spPr bwMode="auto">
            <a:xfrm>
              <a:off x="4083" y="1108"/>
              <a:ext cx="5" cy="3"/>
            </a:xfrm>
            <a:custGeom>
              <a:avLst/>
              <a:gdLst>
                <a:gd name="T0" fmla="*/ 2 w 2"/>
                <a:gd name="T1" fmla="*/ 0 h 1"/>
                <a:gd name="T2" fmla="*/ 0 w 2"/>
                <a:gd name="T3" fmla="*/ 1 h 1"/>
                <a:gd name="T4" fmla="*/ 1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2" y="0"/>
                    <a:pt x="1" y="0"/>
                    <a:pt x="0" y="1"/>
                  </a:cubicBezTo>
                  <a:cubicBezTo>
                    <a:pt x="0" y="1"/>
                    <a:pt x="1" y="1"/>
                    <a:pt x="1" y="1"/>
                  </a:cubicBezTo>
                  <a:cubicBezTo>
                    <a:pt x="1" y="1"/>
                    <a:pt x="2" y="0"/>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18" name="Freeform 2572">
              <a:extLst>
                <a:ext uri="{FF2B5EF4-FFF2-40B4-BE49-F238E27FC236}">
                  <a16:creationId xmlns:a16="http://schemas.microsoft.com/office/drawing/2014/main" id="{F5EE53DA-A1E6-498A-AAD5-AEE86F28A78B}"/>
                </a:ext>
              </a:extLst>
            </p:cNvPr>
            <p:cNvSpPr>
              <a:spLocks/>
            </p:cNvSpPr>
            <p:nvPr/>
          </p:nvSpPr>
          <p:spPr bwMode="auto">
            <a:xfrm>
              <a:off x="4024" y="1104"/>
              <a:ext cx="15" cy="14"/>
            </a:xfrm>
            <a:custGeom>
              <a:avLst/>
              <a:gdLst>
                <a:gd name="T0" fmla="*/ 3 w 6"/>
                <a:gd name="T1" fmla="*/ 1 h 6"/>
                <a:gd name="T2" fmla="*/ 2 w 6"/>
                <a:gd name="T3" fmla="*/ 1 h 6"/>
                <a:gd name="T4" fmla="*/ 0 w 6"/>
                <a:gd name="T5" fmla="*/ 2 h 6"/>
                <a:gd name="T6" fmla="*/ 3 w 6"/>
                <a:gd name="T7" fmla="*/ 6 h 6"/>
                <a:gd name="T8" fmla="*/ 4 w 6"/>
                <a:gd name="T9" fmla="*/ 3 h 6"/>
                <a:gd name="T10" fmla="*/ 4 w 6"/>
                <a:gd name="T11" fmla="*/ 2 h 6"/>
                <a:gd name="T12" fmla="*/ 6 w 6"/>
                <a:gd name="T13" fmla="*/ 4 h 6"/>
                <a:gd name="T14" fmla="*/ 4 w 6"/>
                <a:gd name="T15" fmla="*/ 2 h 6"/>
                <a:gd name="T16" fmla="*/ 4 w 6"/>
                <a:gd name="T17" fmla="*/ 1 h 6"/>
                <a:gd name="T18" fmla="*/ 3 w 6"/>
                <a:gd name="T19" fmla="*/ 1 h 6"/>
                <a:gd name="T20" fmla="*/ 3 w 6"/>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3" y="1"/>
                  </a:moveTo>
                  <a:cubicBezTo>
                    <a:pt x="2" y="1"/>
                    <a:pt x="2" y="0"/>
                    <a:pt x="2" y="1"/>
                  </a:cubicBezTo>
                  <a:cubicBezTo>
                    <a:pt x="1" y="1"/>
                    <a:pt x="1" y="3"/>
                    <a:pt x="0" y="2"/>
                  </a:cubicBezTo>
                  <a:cubicBezTo>
                    <a:pt x="1" y="4"/>
                    <a:pt x="2" y="5"/>
                    <a:pt x="3" y="6"/>
                  </a:cubicBezTo>
                  <a:cubicBezTo>
                    <a:pt x="4" y="5"/>
                    <a:pt x="4" y="4"/>
                    <a:pt x="4" y="3"/>
                  </a:cubicBezTo>
                  <a:cubicBezTo>
                    <a:pt x="3" y="2"/>
                    <a:pt x="3" y="3"/>
                    <a:pt x="4" y="2"/>
                  </a:cubicBezTo>
                  <a:cubicBezTo>
                    <a:pt x="4" y="3"/>
                    <a:pt x="5" y="5"/>
                    <a:pt x="6" y="4"/>
                  </a:cubicBezTo>
                  <a:cubicBezTo>
                    <a:pt x="6" y="3"/>
                    <a:pt x="6" y="1"/>
                    <a:pt x="4" y="2"/>
                  </a:cubicBezTo>
                  <a:cubicBezTo>
                    <a:pt x="5" y="1"/>
                    <a:pt x="4" y="1"/>
                    <a:pt x="4" y="1"/>
                  </a:cubicBezTo>
                  <a:cubicBezTo>
                    <a:pt x="4" y="1"/>
                    <a:pt x="3" y="1"/>
                    <a:pt x="3" y="1"/>
                  </a:cubicBezTo>
                  <a:cubicBezTo>
                    <a:pt x="3" y="1"/>
                    <a:pt x="3" y="1"/>
                    <a:pt x="3"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19" name="Freeform 2573">
              <a:extLst>
                <a:ext uri="{FF2B5EF4-FFF2-40B4-BE49-F238E27FC236}">
                  <a16:creationId xmlns:a16="http://schemas.microsoft.com/office/drawing/2014/main" id="{877A2A73-4FBF-4C53-B917-27D76E2FFF87}"/>
                </a:ext>
              </a:extLst>
            </p:cNvPr>
            <p:cNvSpPr>
              <a:spLocks/>
            </p:cNvSpPr>
            <p:nvPr/>
          </p:nvSpPr>
          <p:spPr bwMode="auto">
            <a:xfrm>
              <a:off x="4081" y="1153"/>
              <a:ext cx="21" cy="12"/>
            </a:xfrm>
            <a:custGeom>
              <a:avLst/>
              <a:gdLst>
                <a:gd name="T0" fmla="*/ 4 w 9"/>
                <a:gd name="T1" fmla="*/ 5 h 5"/>
                <a:gd name="T2" fmla="*/ 9 w 9"/>
                <a:gd name="T3" fmla="*/ 3 h 5"/>
                <a:gd name="T4" fmla="*/ 7 w 9"/>
                <a:gd name="T5" fmla="*/ 0 h 5"/>
                <a:gd name="T6" fmla="*/ 0 w 9"/>
                <a:gd name="T7" fmla="*/ 2 h 5"/>
                <a:gd name="T8" fmla="*/ 4 w 9"/>
                <a:gd name="T9" fmla="*/ 5 h 5"/>
              </a:gdLst>
              <a:ahLst/>
              <a:cxnLst>
                <a:cxn ang="0">
                  <a:pos x="T0" y="T1"/>
                </a:cxn>
                <a:cxn ang="0">
                  <a:pos x="T2" y="T3"/>
                </a:cxn>
                <a:cxn ang="0">
                  <a:pos x="T4" y="T5"/>
                </a:cxn>
                <a:cxn ang="0">
                  <a:pos x="T6" y="T7"/>
                </a:cxn>
                <a:cxn ang="0">
                  <a:pos x="T8" y="T9"/>
                </a:cxn>
              </a:cxnLst>
              <a:rect l="0" t="0" r="r" b="b"/>
              <a:pathLst>
                <a:path w="9" h="5">
                  <a:moveTo>
                    <a:pt x="4" y="5"/>
                  </a:moveTo>
                  <a:cubicBezTo>
                    <a:pt x="6" y="5"/>
                    <a:pt x="8" y="4"/>
                    <a:pt x="9" y="3"/>
                  </a:cubicBezTo>
                  <a:cubicBezTo>
                    <a:pt x="9" y="3"/>
                    <a:pt x="7" y="1"/>
                    <a:pt x="7" y="0"/>
                  </a:cubicBezTo>
                  <a:cubicBezTo>
                    <a:pt x="5" y="1"/>
                    <a:pt x="3" y="2"/>
                    <a:pt x="0" y="2"/>
                  </a:cubicBezTo>
                  <a:cubicBezTo>
                    <a:pt x="2" y="2"/>
                    <a:pt x="6" y="3"/>
                    <a:pt x="4"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20" name="Freeform 2574">
              <a:extLst>
                <a:ext uri="{FF2B5EF4-FFF2-40B4-BE49-F238E27FC236}">
                  <a16:creationId xmlns:a16="http://schemas.microsoft.com/office/drawing/2014/main" id="{533DAEC7-3B84-4328-B4D7-9FCA3F559157}"/>
                </a:ext>
              </a:extLst>
            </p:cNvPr>
            <p:cNvSpPr>
              <a:spLocks/>
            </p:cNvSpPr>
            <p:nvPr/>
          </p:nvSpPr>
          <p:spPr bwMode="auto">
            <a:xfrm>
              <a:off x="4076" y="1170"/>
              <a:ext cx="36" cy="26"/>
            </a:xfrm>
            <a:custGeom>
              <a:avLst/>
              <a:gdLst>
                <a:gd name="T0" fmla="*/ 1 w 15"/>
                <a:gd name="T1" fmla="*/ 3 h 11"/>
                <a:gd name="T2" fmla="*/ 0 w 15"/>
                <a:gd name="T3" fmla="*/ 5 h 11"/>
                <a:gd name="T4" fmla="*/ 1 w 15"/>
                <a:gd name="T5" fmla="*/ 5 h 11"/>
                <a:gd name="T6" fmla="*/ 3 w 15"/>
                <a:gd name="T7" fmla="*/ 7 h 11"/>
                <a:gd name="T8" fmla="*/ 2 w 15"/>
                <a:gd name="T9" fmla="*/ 10 h 11"/>
                <a:gd name="T10" fmla="*/ 4 w 15"/>
                <a:gd name="T11" fmla="*/ 8 h 11"/>
                <a:gd name="T12" fmla="*/ 7 w 15"/>
                <a:gd name="T13" fmla="*/ 5 h 11"/>
                <a:gd name="T14" fmla="*/ 10 w 15"/>
                <a:gd name="T15" fmla="*/ 5 h 11"/>
                <a:gd name="T16" fmla="*/ 11 w 15"/>
                <a:gd name="T17" fmla="*/ 3 h 11"/>
                <a:gd name="T18" fmla="*/ 15 w 15"/>
                <a:gd name="T19" fmla="*/ 2 h 11"/>
                <a:gd name="T20" fmla="*/ 10 w 15"/>
                <a:gd name="T21" fmla="*/ 0 h 11"/>
                <a:gd name="T22" fmla="*/ 4 w 15"/>
                <a:gd name="T23" fmla="*/ 1 h 11"/>
                <a:gd name="T24" fmla="*/ 0 w 15"/>
                <a:gd name="T25" fmla="*/ 2 h 11"/>
                <a:gd name="T26" fmla="*/ 1 w 15"/>
                <a:gd name="T27"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1">
                  <a:moveTo>
                    <a:pt x="1" y="3"/>
                  </a:moveTo>
                  <a:cubicBezTo>
                    <a:pt x="2" y="4"/>
                    <a:pt x="0" y="4"/>
                    <a:pt x="0" y="5"/>
                  </a:cubicBezTo>
                  <a:cubicBezTo>
                    <a:pt x="0" y="5"/>
                    <a:pt x="0" y="5"/>
                    <a:pt x="1" y="5"/>
                  </a:cubicBezTo>
                  <a:cubicBezTo>
                    <a:pt x="1" y="6"/>
                    <a:pt x="3" y="6"/>
                    <a:pt x="3" y="7"/>
                  </a:cubicBezTo>
                  <a:cubicBezTo>
                    <a:pt x="3" y="8"/>
                    <a:pt x="1" y="10"/>
                    <a:pt x="2" y="10"/>
                  </a:cubicBezTo>
                  <a:cubicBezTo>
                    <a:pt x="3" y="11"/>
                    <a:pt x="4" y="9"/>
                    <a:pt x="4" y="8"/>
                  </a:cubicBezTo>
                  <a:cubicBezTo>
                    <a:pt x="4" y="7"/>
                    <a:pt x="5" y="5"/>
                    <a:pt x="7" y="5"/>
                  </a:cubicBezTo>
                  <a:cubicBezTo>
                    <a:pt x="8" y="5"/>
                    <a:pt x="9" y="5"/>
                    <a:pt x="10" y="5"/>
                  </a:cubicBezTo>
                  <a:cubicBezTo>
                    <a:pt x="11" y="5"/>
                    <a:pt x="11" y="4"/>
                    <a:pt x="11" y="3"/>
                  </a:cubicBezTo>
                  <a:cubicBezTo>
                    <a:pt x="13" y="2"/>
                    <a:pt x="14" y="3"/>
                    <a:pt x="15" y="2"/>
                  </a:cubicBezTo>
                  <a:cubicBezTo>
                    <a:pt x="14" y="1"/>
                    <a:pt x="11" y="0"/>
                    <a:pt x="10" y="0"/>
                  </a:cubicBezTo>
                  <a:cubicBezTo>
                    <a:pt x="7" y="0"/>
                    <a:pt x="6" y="0"/>
                    <a:pt x="4" y="1"/>
                  </a:cubicBezTo>
                  <a:cubicBezTo>
                    <a:pt x="2" y="3"/>
                    <a:pt x="2" y="2"/>
                    <a:pt x="0" y="2"/>
                  </a:cubicBezTo>
                  <a:cubicBezTo>
                    <a:pt x="0" y="2"/>
                    <a:pt x="1" y="2"/>
                    <a:pt x="1"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21" name="Freeform 2575">
              <a:extLst>
                <a:ext uri="{FF2B5EF4-FFF2-40B4-BE49-F238E27FC236}">
                  <a16:creationId xmlns:a16="http://schemas.microsoft.com/office/drawing/2014/main" id="{4F54E729-C776-47D1-B316-85846E964C3B}"/>
                </a:ext>
              </a:extLst>
            </p:cNvPr>
            <p:cNvSpPr>
              <a:spLocks/>
            </p:cNvSpPr>
            <p:nvPr/>
          </p:nvSpPr>
          <p:spPr bwMode="auto">
            <a:xfrm>
              <a:off x="3301" y="1326"/>
              <a:ext cx="9" cy="5"/>
            </a:xfrm>
            <a:custGeom>
              <a:avLst/>
              <a:gdLst>
                <a:gd name="T0" fmla="*/ 2 w 4"/>
                <a:gd name="T1" fmla="*/ 0 h 2"/>
                <a:gd name="T2" fmla="*/ 0 w 4"/>
                <a:gd name="T3" fmla="*/ 1 h 2"/>
                <a:gd name="T4" fmla="*/ 3 w 4"/>
                <a:gd name="T5" fmla="*/ 2 h 2"/>
                <a:gd name="T6" fmla="*/ 2 w 4"/>
                <a:gd name="T7" fmla="*/ 0 h 2"/>
              </a:gdLst>
              <a:ahLst/>
              <a:cxnLst>
                <a:cxn ang="0">
                  <a:pos x="T0" y="T1"/>
                </a:cxn>
                <a:cxn ang="0">
                  <a:pos x="T2" y="T3"/>
                </a:cxn>
                <a:cxn ang="0">
                  <a:pos x="T4" y="T5"/>
                </a:cxn>
                <a:cxn ang="0">
                  <a:pos x="T6" y="T7"/>
                </a:cxn>
              </a:cxnLst>
              <a:rect l="0" t="0" r="r" b="b"/>
              <a:pathLst>
                <a:path w="4" h="2">
                  <a:moveTo>
                    <a:pt x="2" y="0"/>
                  </a:moveTo>
                  <a:cubicBezTo>
                    <a:pt x="2" y="0"/>
                    <a:pt x="1" y="1"/>
                    <a:pt x="0" y="1"/>
                  </a:cubicBezTo>
                  <a:cubicBezTo>
                    <a:pt x="1" y="2"/>
                    <a:pt x="2" y="2"/>
                    <a:pt x="3" y="2"/>
                  </a:cubicBezTo>
                  <a:cubicBezTo>
                    <a:pt x="3" y="1"/>
                    <a:pt x="4" y="0"/>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22" name="Freeform 2576">
              <a:extLst>
                <a:ext uri="{FF2B5EF4-FFF2-40B4-BE49-F238E27FC236}">
                  <a16:creationId xmlns:a16="http://schemas.microsoft.com/office/drawing/2014/main" id="{E899D282-824F-49F2-9A62-B6B47774BD65}"/>
                </a:ext>
              </a:extLst>
            </p:cNvPr>
            <p:cNvSpPr>
              <a:spLocks/>
            </p:cNvSpPr>
            <p:nvPr/>
          </p:nvSpPr>
          <p:spPr bwMode="auto">
            <a:xfrm>
              <a:off x="3781" y="1290"/>
              <a:ext cx="9" cy="10"/>
            </a:xfrm>
            <a:custGeom>
              <a:avLst/>
              <a:gdLst>
                <a:gd name="T0" fmla="*/ 2 w 4"/>
                <a:gd name="T1" fmla="*/ 1 h 4"/>
                <a:gd name="T2" fmla="*/ 2 w 4"/>
                <a:gd name="T3" fmla="*/ 0 h 4"/>
                <a:gd name="T4" fmla="*/ 0 w 4"/>
                <a:gd name="T5" fmla="*/ 1 h 4"/>
                <a:gd name="T6" fmla="*/ 2 w 4"/>
                <a:gd name="T7" fmla="*/ 2 h 4"/>
                <a:gd name="T8" fmla="*/ 4 w 4"/>
                <a:gd name="T9" fmla="*/ 4 h 4"/>
                <a:gd name="T10" fmla="*/ 2 w 4"/>
                <a:gd name="T11" fmla="*/ 1 h 4"/>
              </a:gdLst>
              <a:ahLst/>
              <a:cxnLst>
                <a:cxn ang="0">
                  <a:pos x="T0" y="T1"/>
                </a:cxn>
                <a:cxn ang="0">
                  <a:pos x="T2" y="T3"/>
                </a:cxn>
                <a:cxn ang="0">
                  <a:pos x="T4" y="T5"/>
                </a:cxn>
                <a:cxn ang="0">
                  <a:pos x="T6" y="T7"/>
                </a:cxn>
                <a:cxn ang="0">
                  <a:pos x="T8" y="T9"/>
                </a:cxn>
                <a:cxn ang="0">
                  <a:pos x="T10" y="T11"/>
                </a:cxn>
              </a:cxnLst>
              <a:rect l="0" t="0" r="r" b="b"/>
              <a:pathLst>
                <a:path w="4" h="4">
                  <a:moveTo>
                    <a:pt x="2" y="1"/>
                  </a:moveTo>
                  <a:cubicBezTo>
                    <a:pt x="2" y="1"/>
                    <a:pt x="2" y="0"/>
                    <a:pt x="2" y="0"/>
                  </a:cubicBezTo>
                  <a:cubicBezTo>
                    <a:pt x="1" y="0"/>
                    <a:pt x="1" y="0"/>
                    <a:pt x="0" y="1"/>
                  </a:cubicBezTo>
                  <a:cubicBezTo>
                    <a:pt x="1" y="1"/>
                    <a:pt x="2" y="1"/>
                    <a:pt x="2" y="2"/>
                  </a:cubicBezTo>
                  <a:cubicBezTo>
                    <a:pt x="2" y="3"/>
                    <a:pt x="3" y="3"/>
                    <a:pt x="4" y="4"/>
                  </a:cubicBezTo>
                  <a:cubicBezTo>
                    <a:pt x="4" y="2"/>
                    <a:pt x="4"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23" name="Freeform 2577">
              <a:extLst>
                <a:ext uri="{FF2B5EF4-FFF2-40B4-BE49-F238E27FC236}">
                  <a16:creationId xmlns:a16="http://schemas.microsoft.com/office/drawing/2014/main" id="{81470E22-5E8B-469B-8391-367F6501313D}"/>
                </a:ext>
              </a:extLst>
            </p:cNvPr>
            <p:cNvSpPr>
              <a:spLocks/>
            </p:cNvSpPr>
            <p:nvPr/>
          </p:nvSpPr>
          <p:spPr bwMode="auto">
            <a:xfrm>
              <a:off x="3748" y="1201"/>
              <a:ext cx="59" cy="40"/>
            </a:xfrm>
            <a:custGeom>
              <a:avLst/>
              <a:gdLst>
                <a:gd name="T0" fmla="*/ 25 w 25"/>
                <a:gd name="T1" fmla="*/ 0 h 17"/>
                <a:gd name="T2" fmla="*/ 17 w 25"/>
                <a:gd name="T3" fmla="*/ 3 h 17"/>
                <a:gd name="T4" fmla="*/ 12 w 25"/>
                <a:gd name="T5" fmla="*/ 9 h 17"/>
                <a:gd name="T6" fmla="*/ 4 w 25"/>
                <a:gd name="T7" fmla="*/ 9 h 17"/>
                <a:gd name="T8" fmla="*/ 0 w 25"/>
                <a:gd name="T9" fmla="*/ 15 h 17"/>
                <a:gd name="T10" fmla="*/ 3 w 25"/>
                <a:gd name="T11" fmla="*/ 17 h 17"/>
                <a:gd name="T12" fmla="*/ 2 w 25"/>
                <a:gd name="T13" fmla="*/ 15 h 17"/>
                <a:gd name="T14" fmla="*/ 4 w 25"/>
                <a:gd name="T15" fmla="*/ 13 h 17"/>
                <a:gd name="T16" fmla="*/ 5 w 25"/>
                <a:gd name="T17" fmla="*/ 15 h 17"/>
                <a:gd name="T18" fmla="*/ 6 w 25"/>
                <a:gd name="T19" fmla="*/ 15 h 17"/>
                <a:gd name="T20" fmla="*/ 7 w 25"/>
                <a:gd name="T21" fmla="*/ 13 h 17"/>
                <a:gd name="T22" fmla="*/ 7 w 25"/>
                <a:gd name="T23" fmla="*/ 11 h 17"/>
                <a:gd name="T24" fmla="*/ 14 w 25"/>
                <a:gd name="T25" fmla="*/ 10 h 17"/>
                <a:gd name="T26" fmla="*/ 20 w 25"/>
                <a:gd name="T27" fmla="*/ 10 h 17"/>
                <a:gd name="T28" fmla="*/ 22 w 25"/>
                <a:gd name="T29" fmla="*/ 8 h 17"/>
                <a:gd name="T30" fmla="*/ 23 w 25"/>
                <a:gd name="T31" fmla="*/ 5 h 17"/>
                <a:gd name="T32" fmla="*/ 23 w 25"/>
                <a:gd name="T33" fmla="*/ 2 h 17"/>
                <a:gd name="T34" fmla="*/ 25 w 25"/>
                <a:gd name="T3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17">
                  <a:moveTo>
                    <a:pt x="25" y="0"/>
                  </a:moveTo>
                  <a:cubicBezTo>
                    <a:pt x="22" y="1"/>
                    <a:pt x="19" y="2"/>
                    <a:pt x="17" y="3"/>
                  </a:cubicBezTo>
                  <a:cubicBezTo>
                    <a:pt x="15" y="4"/>
                    <a:pt x="14" y="8"/>
                    <a:pt x="12" y="9"/>
                  </a:cubicBezTo>
                  <a:cubicBezTo>
                    <a:pt x="9" y="9"/>
                    <a:pt x="6" y="8"/>
                    <a:pt x="4" y="9"/>
                  </a:cubicBezTo>
                  <a:cubicBezTo>
                    <a:pt x="2" y="10"/>
                    <a:pt x="1" y="13"/>
                    <a:pt x="0" y="15"/>
                  </a:cubicBezTo>
                  <a:cubicBezTo>
                    <a:pt x="1" y="15"/>
                    <a:pt x="2" y="16"/>
                    <a:pt x="3" y="17"/>
                  </a:cubicBezTo>
                  <a:cubicBezTo>
                    <a:pt x="4" y="17"/>
                    <a:pt x="2" y="16"/>
                    <a:pt x="2" y="15"/>
                  </a:cubicBezTo>
                  <a:cubicBezTo>
                    <a:pt x="3" y="15"/>
                    <a:pt x="3" y="14"/>
                    <a:pt x="4" y="13"/>
                  </a:cubicBezTo>
                  <a:cubicBezTo>
                    <a:pt x="3" y="14"/>
                    <a:pt x="4" y="16"/>
                    <a:pt x="5" y="15"/>
                  </a:cubicBezTo>
                  <a:cubicBezTo>
                    <a:pt x="5" y="15"/>
                    <a:pt x="6" y="15"/>
                    <a:pt x="6" y="15"/>
                  </a:cubicBezTo>
                  <a:cubicBezTo>
                    <a:pt x="7" y="14"/>
                    <a:pt x="6" y="12"/>
                    <a:pt x="7" y="13"/>
                  </a:cubicBezTo>
                  <a:cubicBezTo>
                    <a:pt x="7" y="12"/>
                    <a:pt x="7" y="12"/>
                    <a:pt x="7" y="11"/>
                  </a:cubicBezTo>
                  <a:cubicBezTo>
                    <a:pt x="9" y="10"/>
                    <a:pt x="11" y="10"/>
                    <a:pt x="14" y="10"/>
                  </a:cubicBezTo>
                  <a:cubicBezTo>
                    <a:pt x="16" y="9"/>
                    <a:pt x="18" y="10"/>
                    <a:pt x="20" y="10"/>
                  </a:cubicBezTo>
                  <a:cubicBezTo>
                    <a:pt x="21" y="10"/>
                    <a:pt x="22" y="10"/>
                    <a:pt x="22" y="8"/>
                  </a:cubicBezTo>
                  <a:cubicBezTo>
                    <a:pt x="23" y="7"/>
                    <a:pt x="23" y="6"/>
                    <a:pt x="23" y="5"/>
                  </a:cubicBezTo>
                  <a:cubicBezTo>
                    <a:pt x="23" y="5"/>
                    <a:pt x="22" y="3"/>
                    <a:pt x="23" y="2"/>
                  </a:cubicBezTo>
                  <a:cubicBezTo>
                    <a:pt x="23" y="2"/>
                    <a:pt x="24" y="1"/>
                    <a:pt x="25" y="0"/>
                  </a:cubicBezTo>
                  <a:close/>
                </a:path>
              </a:pathLst>
            </a:custGeom>
            <a:solidFill>
              <a:srgbClr val="00A5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24" name="Freeform 2578">
              <a:extLst>
                <a:ext uri="{FF2B5EF4-FFF2-40B4-BE49-F238E27FC236}">
                  <a16:creationId xmlns:a16="http://schemas.microsoft.com/office/drawing/2014/main" id="{A22A4799-5BD9-4F0D-9BC3-78BB7D85AFB4}"/>
                </a:ext>
              </a:extLst>
            </p:cNvPr>
            <p:cNvSpPr>
              <a:spLocks/>
            </p:cNvSpPr>
            <p:nvPr/>
          </p:nvSpPr>
          <p:spPr bwMode="auto">
            <a:xfrm>
              <a:off x="3783" y="1274"/>
              <a:ext cx="26" cy="19"/>
            </a:xfrm>
            <a:custGeom>
              <a:avLst/>
              <a:gdLst>
                <a:gd name="T0" fmla="*/ 8 w 11"/>
                <a:gd name="T1" fmla="*/ 8 h 8"/>
                <a:gd name="T2" fmla="*/ 11 w 11"/>
                <a:gd name="T3" fmla="*/ 5 h 8"/>
                <a:gd name="T4" fmla="*/ 11 w 11"/>
                <a:gd name="T5" fmla="*/ 3 h 8"/>
                <a:gd name="T6" fmla="*/ 9 w 11"/>
                <a:gd name="T7" fmla="*/ 2 h 8"/>
                <a:gd name="T8" fmla="*/ 11 w 11"/>
                <a:gd name="T9" fmla="*/ 1 h 8"/>
                <a:gd name="T10" fmla="*/ 10 w 11"/>
                <a:gd name="T11" fmla="*/ 0 h 8"/>
                <a:gd name="T12" fmla="*/ 9 w 11"/>
                <a:gd name="T13" fmla="*/ 2 h 8"/>
                <a:gd name="T14" fmla="*/ 7 w 11"/>
                <a:gd name="T15" fmla="*/ 2 h 8"/>
                <a:gd name="T16" fmla="*/ 8 w 11"/>
                <a:gd name="T17" fmla="*/ 1 h 8"/>
                <a:gd name="T18" fmla="*/ 3 w 11"/>
                <a:gd name="T19" fmla="*/ 1 h 8"/>
                <a:gd name="T20" fmla="*/ 0 w 11"/>
                <a:gd name="T21" fmla="*/ 1 h 8"/>
                <a:gd name="T22" fmla="*/ 1 w 11"/>
                <a:gd name="T23" fmla="*/ 3 h 8"/>
                <a:gd name="T24" fmla="*/ 3 w 11"/>
                <a:gd name="T25" fmla="*/ 5 h 8"/>
                <a:gd name="T26" fmla="*/ 5 w 11"/>
                <a:gd name="T27" fmla="*/ 7 h 8"/>
                <a:gd name="T28" fmla="*/ 8 w 11"/>
                <a:gd name="T2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8">
                  <a:moveTo>
                    <a:pt x="8" y="8"/>
                  </a:moveTo>
                  <a:cubicBezTo>
                    <a:pt x="9" y="8"/>
                    <a:pt x="11" y="7"/>
                    <a:pt x="11" y="5"/>
                  </a:cubicBezTo>
                  <a:cubicBezTo>
                    <a:pt x="11" y="5"/>
                    <a:pt x="11" y="4"/>
                    <a:pt x="11" y="3"/>
                  </a:cubicBezTo>
                  <a:cubicBezTo>
                    <a:pt x="10" y="2"/>
                    <a:pt x="9" y="2"/>
                    <a:pt x="9" y="2"/>
                  </a:cubicBezTo>
                  <a:cubicBezTo>
                    <a:pt x="9" y="2"/>
                    <a:pt x="10" y="2"/>
                    <a:pt x="11" y="1"/>
                  </a:cubicBezTo>
                  <a:cubicBezTo>
                    <a:pt x="11" y="1"/>
                    <a:pt x="10" y="0"/>
                    <a:pt x="10" y="0"/>
                  </a:cubicBezTo>
                  <a:cubicBezTo>
                    <a:pt x="9" y="0"/>
                    <a:pt x="9" y="1"/>
                    <a:pt x="9" y="2"/>
                  </a:cubicBezTo>
                  <a:cubicBezTo>
                    <a:pt x="8" y="2"/>
                    <a:pt x="8" y="2"/>
                    <a:pt x="7" y="2"/>
                  </a:cubicBezTo>
                  <a:cubicBezTo>
                    <a:pt x="8" y="2"/>
                    <a:pt x="8" y="1"/>
                    <a:pt x="8" y="1"/>
                  </a:cubicBezTo>
                  <a:cubicBezTo>
                    <a:pt x="7" y="0"/>
                    <a:pt x="5" y="0"/>
                    <a:pt x="3" y="1"/>
                  </a:cubicBezTo>
                  <a:cubicBezTo>
                    <a:pt x="2" y="1"/>
                    <a:pt x="1" y="1"/>
                    <a:pt x="0" y="1"/>
                  </a:cubicBezTo>
                  <a:cubicBezTo>
                    <a:pt x="1" y="2"/>
                    <a:pt x="1" y="2"/>
                    <a:pt x="1" y="3"/>
                  </a:cubicBezTo>
                  <a:cubicBezTo>
                    <a:pt x="2" y="4"/>
                    <a:pt x="2" y="5"/>
                    <a:pt x="3" y="5"/>
                  </a:cubicBezTo>
                  <a:cubicBezTo>
                    <a:pt x="3" y="6"/>
                    <a:pt x="4" y="6"/>
                    <a:pt x="5" y="7"/>
                  </a:cubicBezTo>
                  <a:cubicBezTo>
                    <a:pt x="6" y="7"/>
                    <a:pt x="7" y="8"/>
                    <a:pt x="8" y="8"/>
                  </a:cubicBezTo>
                  <a:close/>
                </a:path>
              </a:pathLst>
            </a:custGeom>
            <a:solidFill>
              <a:srgbClr val="00A5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25" name="Freeform 2579">
              <a:extLst>
                <a:ext uri="{FF2B5EF4-FFF2-40B4-BE49-F238E27FC236}">
                  <a16:creationId xmlns:a16="http://schemas.microsoft.com/office/drawing/2014/main" id="{837FED61-60AC-42D9-96D0-C4B0B6A3F35D}"/>
                </a:ext>
              </a:extLst>
            </p:cNvPr>
            <p:cNvSpPr>
              <a:spLocks/>
            </p:cNvSpPr>
            <p:nvPr/>
          </p:nvSpPr>
          <p:spPr bwMode="auto">
            <a:xfrm>
              <a:off x="3814" y="1255"/>
              <a:ext cx="40" cy="54"/>
            </a:xfrm>
            <a:custGeom>
              <a:avLst/>
              <a:gdLst>
                <a:gd name="T0" fmla="*/ 0 w 17"/>
                <a:gd name="T1" fmla="*/ 7 h 23"/>
                <a:gd name="T2" fmla="*/ 2 w 17"/>
                <a:gd name="T3" fmla="*/ 8 h 23"/>
                <a:gd name="T4" fmla="*/ 2 w 17"/>
                <a:gd name="T5" fmla="*/ 11 h 23"/>
                <a:gd name="T6" fmla="*/ 3 w 17"/>
                <a:gd name="T7" fmla="*/ 13 h 23"/>
                <a:gd name="T8" fmla="*/ 9 w 17"/>
                <a:gd name="T9" fmla="*/ 15 h 23"/>
                <a:gd name="T10" fmla="*/ 7 w 17"/>
                <a:gd name="T11" fmla="*/ 15 h 23"/>
                <a:gd name="T12" fmla="*/ 9 w 17"/>
                <a:gd name="T13" fmla="*/ 16 h 23"/>
                <a:gd name="T14" fmla="*/ 9 w 17"/>
                <a:gd name="T15" fmla="*/ 19 h 23"/>
                <a:gd name="T16" fmla="*/ 10 w 17"/>
                <a:gd name="T17" fmla="*/ 22 h 23"/>
                <a:gd name="T18" fmla="*/ 10 w 17"/>
                <a:gd name="T19" fmla="*/ 23 h 23"/>
                <a:gd name="T20" fmla="*/ 12 w 17"/>
                <a:gd name="T21" fmla="*/ 19 h 23"/>
                <a:gd name="T22" fmla="*/ 9 w 17"/>
                <a:gd name="T23" fmla="*/ 17 h 23"/>
                <a:gd name="T24" fmla="*/ 11 w 17"/>
                <a:gd name="T25" fmla="*/ 16 h 23"/>
                <a:gd name="T26" fmla="*/ 11 w 17"/>
                <a:gd name="T27" fmla="*/ 14 h 23"/>
                <a:gd name="T28" fmla="*/ 15 w 17"/>
                <a:gd name="T29" fmla="*/ 13 h 23"/>
                <a:gd name="T30" fmla="*/ 13 w 17"/>
                <a:gd name="T31" fmla="*/ 10 h 23"/>
                <a:gd name="T32" fmla="*/ 14 w 17"/>
                <a:gd name="T33" fmla="*/ 8 h 23"/>
                <a:gd name="T34" fmla="*/ 16 w 17"/>
                <a:gd name="T35" fmla="*/ 7 h 23"/>
                <a:gd name="T36" fmla="*/ 16 w 17"/>
                <a:gd name="T37" fmla="*/ 4 h 23"/>
                <a:gd name="T38" fmla="*/ 15 w 17"/>
                <a:gd name="T39" fmla="*/ 2 h 23"/>
                <a:gd name="T40" fmla="*/ 12 w 17"/>
                <a:gd name="T41" fmla="*/ 1 h 23"/>
                <a:gd name="T42" fmla="*/ 10 w 17"/>
                <a:gd name="T43" fmla="*/ 2 h 23"/>
                <a:gd name="T44" fmla="*/ 11 w 17"/>
                <a:gd name="T45" fmla="*/ 5 h 23"/>
                <a:gd name="T46" fmla="*/ 10 w 17"/>
                <a:gd name="T47" fmla="*/ 7 h 23"/>
                <a:gd name="T48" fmla="*/ 10 w 17"/>
                <a:gd name="T49" fmla="*/ 3 h 23"/>
                <a:gd name="T50" fmla="*/ 8 w 17"/>
                <a:gd name="T51" fmla="*/ 7 h 23"/>
                <a:gd name="T52" fmla="*/ 7 w 17"/>
                <a:gd name="T53" fmla="*/ 6 h 23"/>
                <a:gd name="T54" fmla="*/ 7 w 17"/>
                <a:gd name="T55" fmla="*/ 5 h 23"/>
                <a:gd name="T56" fmla="*/ 8 w 17"/>
                <a:gd name="T57" fmla="*/ 3 h 23"/>
                <a:gd name="T58" fmla="*/ 3 w 17"/>
                <a:gd name="T59" fmla="*/ 3 h 23"/>
                <a:gd name="T60" fmla="*/ 5 w 17"/>
                <a:gd name="T61" fmla="*/ 4 h 23"/>
                <a:gd name="T62" fmla="*/ 2 w 17"/>
                <a:gd name="T63" fmla="*/ 7 h 23"/>
                <a:gd name="T64" fmla="*/ 0 w 17"/>
                <a:gd name="T65" fmla="*/ 6 h 23"/>
                <a:gd name="T66" fmla="*/ 0 w 17"/>
                <a:gd name="T6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 h="23">
                  <a:moveTo>
                    <a:pt x="0" y="7"/>
                  </a:moveTo>
                  <a:cubicBezTo>
                    <a:pt x="0" y="8"/>
                    <a:pt x="1" y="7"/>
                    <a:pt x="2" y="8"/>
                  </a:cubicBezTo>
                  <a:cubicBezTo>
                    <a:pt x="2" y="9"/>
                    <a:pt x="2" y="10"/>
                    <a:pt x="2" y="11"/>
                  </a:cubicBezTo>
                  <a:cubicBezTo>
                    <a:pt x="3" y="12"/>
                    <a:pt x="0" y="11"/>
                    <a:pt x="3" y="13"/>
                  </a:cubicBezTo>
                  <a:cubicBezTo>
                    <a:pt x="5" y="13"/>
                    <a:pt x="7" y="14"/>
                    <a:pt x="9" y="15"/>
                  </a:cubicBezTo>
                  <a:cubicBezTo>
                    <a:pt x="8" y="15"/>
                    <a:pt x="7" y="16"/>
                    <a:pt x="7" y="15"/>
                  </a:cubicBezTo>
                  <a:cubicBezTo>
                    <a:pt x="7" y="16"/>
                    <a:pt x="8" y="16"/>
                    <a:pt x="9" y="16"/>
                  </a:cubicBezTo>
                  <a:cubicBezTo>
                    <a:pt x="7" y="18"/>
                    <a:pt x="7" y="17"/>
                    <a:pt x="9" y="19"/>
                  </a:cubicBezTo>
                  <a:cubicBezTo>
                    <a:pt x="9" y="20"/>
                    <a:pt x="9" y="21"/>
                    <a:pt x="10" y="22"/>
                  </a:cubicBezTo>
                  <a:cubicBezTo>
                    <a:pt x="10" y="22"/>
                    <a:pt x="10" y="23"/>
                    <a:pt x="10" y="23"/>
                  </a:cubicBezTo>
                  <a:cubicBezTo>
                    <a:pt x="11" y="21"/>
                    <a:pt x="11" y="20"/>
                    <a:pt x="12" y="19"/>
                  </a:cubicBezTo>
                  <a:cubicBezTo>
                    <a:pt x="11" y="18"/>
                    <a:pt x="10" y="18"/>
                    <a:pt x="9" y="17"/>
                  </a:cubicBezTo>
                  <a:cubicBezTo>
                    <a:pt x="10" y="17"/>
                    <a:pt x="11" y="17"/>
                    <a:pt x="11" y="16"/>
                  </a:cubicBezTo>
                  <a:cubicBezTo>
                    <a:pt x="12" y="15"/>
                    <a:pt x="11" y="15"/>
                    <a:pt x="11" y="14"/>
                  </a:cubicBezTo>
                  <a:cubicBezTo>
                    <a:pt x="11" y="14"/>
                    <a:pt x="15" y="13"/>
                    <a:pt x="15" y="13"/>
                  </a:cubicBezTo>
                  <a:cubicBezTo>
                    <a:pt x="15" y="11"/>
                    <a:pt x="13" y="11"/>
                    <a:pt x="13" y="10"/>
                  </a:cubicBezTo>
                  <a:cubicBezTo>
                    <a:pt x="12" y="9"/>
                    <a:pt x="13" y="8"/>
                    <a:pt x="14" y="8"/>
                  </a:cubicBezTo>
                  <a:cubicBezTo>
                    <a:pt x="15" y="8"/>
                    <a:pt x="16" y="8"/>
                    <a:pt x="16" y="7"/>
                  </a:cubicBezTo>
                  <a:cubicBezTo>
                    <a:pt x="17" y="6"/>
                    <a:pt x="17" y="5"/>
                    <a:pt x="16" y="4"/>
                  </a:cubicBezTo>
                  <a:cubicBezTo>
                    <a:pt x="16" y="3"/>
                    <a:pt x="16" y="3"/>
                    <a:pt x="15" y="2"/>
                  </a:cubicBezTo>
                  <a:cubicBezTo>
                    <a:pt x="14" y="0"/>
                    <a:pt x="13" y="1"/>
                    <a:pt x="12" y="1"/>
                  </a:cubicBezTo>
                  <a:cubicBezTo>
                    <a:pt x="11" y="1"/>
                    <a:pt x="11" y="2"/>
                    <a:pt x="10" y="2"/>
                  </a:cubicBezTo>
                  <a:cubicBezTo>
                    <a:pt x="11" y="3"/>
                    <a:pt x="11" y="4"/>
                    <a:pt x="11" y="5"/>
                  </a:cubicBezTo>
                  <a:cubicBezTo>
                    <a:pt x="11" y="7"/>
                    <a:pt x="11" y="7"/>
                    <a:pt x="10" y="7"/>
                  </a:cubicBezTo>
                  <a:cubicBezTo>
                    <a:pt x="11" y="5"/>
                    <a:pt x="11" y="5"/>
                    <a:pt x="10" y="3"/>
                  </a:cubicBezTo>
                  <a:cubicBezTo>
                    <a:pt x="10" y="4"/>
                    <a:pt x="9" y="6"/>
                    <a:pt x="8" y="7"/>
                  </a:cubicBezTo>
                  <a:cubicBezTo>
                    <a:pt x="8" y="7"/>
                    <a:pt x="7" y="6"/>
                    <a:pt x="7" y="6"/>
                  </a:cubicBezTo>
                  <a:cubicBezTo>
                    <a:pt x="7" y="5"/>
                    <a:pt x="7" y="5"/>
                    <a:pt x="7" y="5"/>
                  </a:cubicBezTo>
                  <a:cubicBezTo>
                    <a:pt x="7" y="4"/>
                    <a:pt x="8" y="4"/>
                    <a:pt x="8" y="3"/>
                  </a:cubicBezTo>
                  <a:cubicBezTo>
                    <a:pt x="6" y="3"/>
                    <a:pt x="5" y="2"/>
                    <a:pt x="3" y="3"/>
                  </a:cubicBezTo>
                  <a:cubicBezTo>
                    <a:pt x="4" y="3"/>
                    <a:pt x="6" y="3"/>
                    <a:pt x="5" y="4"/>
                  </a:cubicBezTo>
                  <a:cubicBezTo>
                    <a:pt x="5" y="5"/>
                    <a:pt x="3" y="6"/>
                    <a:pt x="2" y="7"/>
                  </a:cubicBezTo>
                  <a:cubicBezTo>
                    <a:pt x="1" y="7"/>
                    <a:pt x="0" y="6"/>
                    <a:pt x="0" y="6"/>
                  </a:cubicBezTo>
                  <a:cubicBezTo>
                    <a:pt x="0" y="6"/>
                    <a:pt x="0" y="7"/>
                    <a:pt x="0" y="7"/>
                  </a:cubicBezTo>
                  <a:close/>
                </a:path>
              </a:pathLst>
            </a:custGeom>
            <a:solidFill>
              <a:srgbClr val="00A5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26" name="Freeform 2580">
              <a:extLst>
                <a:ext uri="{FF2B5EF4-FFF2-40B4-BE49-F238E27FC236}">
                  <a16:creationId xmlns:a16="http://schemas.microsoft.com/office/drawing/2014/main" id="{EFE50E19-7D2F-4B5C-8C3B-5B361EEDE7CF}"/>
                </a:ext>
              </a:extLst>
            </p:cNvPr>
            <p:cNvSpPr>
              <a:spLocks/>
            </p:cNvSpPr>
            <p:nvPr/>
          </p:nvSpPr>
          <p:spPr bwMode="auto">
            <a:xfrm>
              <a:off x="3802" y="1260"/>
              <a:ext cx="5" cy="7"/>
            </a:xfrm>
            <a:custGeom>
              <a:avLst/>
              <a:gdLst>
                <a:gd name="T0" fmla="*/ 2 w 2"/>
                <a:gd name="T1" fmla="*/ 2 h 3"/>
                <a:gd name="T2" fmla="*/ 1 w 2"/>
                <a:gd name="T3" fmla="*/ 0 h 3"/>
                <a:gd name="T4" fmla="*/ 0 w 2"/>
                <a:gd name="T5" fmla="*/ 3 h 3"/>
                <a:gd name="T6" fmla="*/ 2 w 2"/>
                <a:gd name="T7" fmla="*/ 2 h 3"/>
              </a:gdLst>
              <a:ahLst/>
              <a:cxnLst>
                <a:cxn ang="0">
                  <a:pos x="T0" y="T1"/>
                </a:cxn>
                <a:cxn ang="0">
                  <a:pos x="T2" y="T3"/>
                </a:cxn>
                <a:cxn ang="0">
                  <a:pos x="T4" y="T5"/>
                </a:cxn>
                <a:cxn ang="0">
                  <a:pos x="T6" y="T7"/>
                </a:cxn>
              </a:cxnLst>
              <a:rect l="0" t="0" r="r" b="b"/>
              <a:pathLst>
                <a:path w="2" h="3">
                  <a:moveTo>
                    <a:pt x="2" y="2"/>
                  </a:moveTo>
                  <a:cubicBezTo>
                    <a:pt x="1" y="1"/>
                    <a:pt x="1" y="1"/>
                    <a:pt x="1" y="0"/>
                  </a:cubicBezTo>
                  <a:cubicBezTo>
                    <a:pt x="0" y="1"/>
                    <a:pt x="0" y="3"/>
                    <a:pt x="0" y="3"/>
                  </a:cubicBezTo>
                  <a:cubicBezTo>
                    <a:pt x="1" y="3"/>
                    <a:pt x="1" y="2"/>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27" name="Freeform 2581">
              <a:extLst>
                <a:ext uri="{FF2B5EF4-FFF2-40B4-BE49-F238E27FC236}">
                  <a16:creationId xmlns:a16="http://schemas.microsoft.com/office/drawing/2014/main" id="{E935F7F6-1533-47B9-9D6A-19415601DAC0}"/>
                </a:ext>
              </a:extLst>
            </p:cNvPr>
            <p:cNvSpPr>
              <a:spLocks/>
            </p:cNvSpPr>
            <p:nvPr/>
          </p:nvSpPr>
          <p:spPr bwMode="auto">
            <a:xfrm>
              <a:off x="3814" y="1217"/>
              <a:ext cx="2"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28" name="Freeform 2582">
              <a:extLst>
                <a:ext uri="{FF2B5EF4-FFF2-40B4-BE49-F238E27FC236}">
                  <a16:creationId xmlns:a16="http://schemas.microsoft.com/office/drawing/2014/main" id="{92A0C060-553B-4FB5-BB32-23AC8FD49C41}"/>
                </a:ext>
              </a:extLst>
            </p:cNvPr>
            <p:cNvSpPr>
              <a:spLocks/>
            </p:cNvSpPr>
            <p:nvPr/>
          </p:nvSpPr>
          <p:spPr bwMode="auto">
            <a:xfrm>
              <a:off x="3812" y="1298"/>
              <a:ext cx="23" cy="9"/>
            </a:xfrm>
            <a:custGeom>
              <a:avLst/>
              <a:gdLst>
                <a:gd name="T0" fmla="*/ 10 w 10"/>
                <a:gd name="T1" fmla="*/ 2 h 4"/>
                <a:gd name="T2" fmla="*/ 7 w 10"/>
                <a:gd name="T3" fmla="*/ 1 h 4"/>
                <a:gd name="T4" fmla="*/ 5 w 10"/>
                <a:gd name="T5" fmla="*/ 0 h 4"/>
                <a:gd name="T6" fmla="*/ 2 w 10"/>
                <a:gd name="T7" fmla="*/ 1 h 4"/>
                <a:gd name="T8" fmla="*/ 2 w 10"/>
                <a:gd name="T9" fmla="*/ 1 h 4"/>
                <a:gd name="T10" fmla="*/ 4 w 10"/>
                <a:gd name="T11" fmla="*/ 3 h 4"/>
                <a:gd name="T12" fmla="*/ 10 w 10"/>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10" y="2"/>
                  </a:moveTo>
                  <a:cubicBezTo>
                    <a:pt x="9" y="1"/>
                    <a:pt x="9" y="1"/>
                    <a:pt x="7" y="1"/>
                  </a:cubicBezTo>
                  <a:cubicBezTo>
                    <a:pt x="6" y="1"/>
                    <a:pt x="6" y="1"/>
                    <a:pt x="5" y="0"/>
                  </a:cubicBezTo>
                  <a:cubicBezTo>
                    <a:pt x="4" y="0"/>
                    <a:pt x="3" y="0"/>
                    <a:pt x="2" y="1"/>
                  </a:cubicBezTo>
                  <a:cubicBezTo>
                    <a:pt x="2" y="1"/>
                    <a:pt x="2" y="1"/>
                    <a:pt x="2" y="1"/>
                  </a:cubicBezTo>
                  <a:cubicBezTo>
                    <a:pt x="0" y="2"/>
                    <a:pt x="4" y="3"/>
                    <a:pt x="4" y="3"/>
                  </a:cubicBezTo>
                  <a:cubicBezTo>
                    <a:pt x="6" y="4"/>
                    <a:pt x="8" y="3"/>
                    <a:pt x="1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29" name="Freeform 2583">
              <a:extLst>
                <a:ext uri="{FF2B5EF4-FFF2-40B4-BE49-F238E27FC236}">
                  <a16:creationId xmlns:a16="http://schemas.microsoft.com/office/drawing/2014/main" id="{7E116452-9038-4D4E-B483-4AC492C46656}"/>
                </a:ext>
              </a:extLst>
            </p:cNvPr>
            <p:cNvSpPr>
              <a:spLocks/>
            </p:cNvSpPr>
            <p:nvPr/>
          </p:nvSpPr>
          <p:spPr bwMode="auto">
            <a:xfrm>
              <a:off x="3804" y="1288"/>
              <a:ext cx="10" cy="14"/>
            </a:xfrm>
            <a:custGeom>
              <a:avLst/>
              <a:gdLst>
                <a:gd name="T0" fmla="*/ 4 w 4"/>
                <a:gd name="T1" fmla="*/ 0 h 6"/>
                <a:gd name="T2" fmla="*/ 2 w 4"/>
                <a:gd name="T3" fmla="*/ 3 h 6"/>
                <a:gd name="T4" fmla="*/ 1 w 4"/>
                <a:gd name="T5" fmla="*/ 6 h 6"/>
                <a:gd name="T6" fmla="*/ 4 w 4"/>
                <a:gd name="T7" fmla="*/ 0 h 6"/>
              </a:gdLst>
              <a:ahLst/>
              <a:cxnLst>
                <a:cxn ang="0">
                  <a:pos x="T0" y="T1"/>
                </a:cxn>
                <a:cxn ang="0">
                  <a:pos x="T2" y="T3"/>
                </a:cxn>
                <a:cxn ang="0">
                  <a:pos x="T4" y="T5"/>
                </a:cxn>
                <a:cxn ang="0">
                  <a:pos x="T6" y="T7"/>
                </a:cxn>
              </a:cxnLst>
              <a:rect l="0" t="0" r="r" b="b"/>
              <a:pathLst>
                <a:path w="4" h="6">
                  <a:moveTo>
                    <a:pt x="4" y="0"/>
                  </a:moveTo>
                  <a:cubicBezTo>
                    <a:pt x="3" y="1"/>
                    <a:pt x="2" y="2"/>
                    <a:pt x="2" y="3"/>
                  </a:cubicBezTo>
                  <a:cubicBezTo>
                    <a:pt x="1" y="5"/>
                    <a:pt x="0" y="4"/>
                    <a:pt x="1" y="6"/>
                  </a:cubicBezTo>
                  <a:cubicBezTo>
                    <a:pt x="2" y="5"/>
                    <a:pt x="4" y="2"/>
                    <a:pt x="4"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30" name="Freeform 2584">
              <a:extLst>
                <a:ext uri="{FF2B5EF4-FFF2-40B4-BE49-F238E27FC236}">
                  <a16:creationId xmlns:a16="http://schemas.microsoft.com/office/drawing/2014/main" id="{A2520952-CEF2-46E5-B98B-1833E9EB3040}"/>
                </a:ext>
              </a:extLst>
            </p:cNvPr>
            <p:cNvSpPr>
              <a:spLocks/>
            </p:cNvSpPr>
            <p:nvPr/>
          </p:nvSpPr>
          <p:spPr bwMode="auto">
            <a:xfrm>
              <a:off x="3842" y="1293"/>
              <a:ext cx="12" cy="5"/>
            </a:xfrm>
            <a:custGeom>
              <a:avLst/>
              <a:gdLst>
                <a:gd name="T0" fmla="*/ 0 w 5"/>
                <a:gd name="T1" fmla="*/ 2 h 2"/>
                <a:gd name="T2" fmla="*/ 2 w 5"/>
                <a:gd name="T3" fmla="*/ 1 h 2"/>
                <a:gd name="T4" fmla="*/ 4 w 5"/>
                <a:gd name="T5" fmla="*/ 1 h 2"/>
                <a:gd name="T6" fmla="*/ 1 w 5"/>
                <a:gd name="T7" fmla="*/ 0 h 2"/>
                <a:gd name="T8" fmla="*/ 0 w 5"/>
                <a:gd name="T9" fmla="*/ 2 h 2"/>
              </a:gdLst>
              <a:ahLst/>
              <a:cxnLst>
                <a:cxn ang="0">
                  <a:pos x="T0" y="T1"/>
                </a:cxn>
                <a:cxn ang="0">
                  <a:pos x="T2" y="T3"/>
                </a:cxn>
                <a:cxn ang="0">
                  <a:pos x="T4" y="T5"/>
                </a:cxn>
                <a:cxn ang="0">
                  <a:pos x="T6" y="T7"/>
                </a:cxn>
                <a:cxn ang="0">
                  <a:pos x="T8" y="T9"/>
                </a:cxn>
              </a:cxnLst>
              <a:rect l="0" t="0" r="r" b="b"/>
              <a:pathLst>
                <a:path w="5" h="2">
                  <a:moveTo>
                    <a:pt x="0" y="2"/>
                  </a:moveTo>
                  <a:cubicBezTo>
                    <a:pt x="1" y="2"/>
                    <a:pt x="1" y="1"/>
                    <a:pt x="2" y="1"/>
                  </a:cubicBezTo>
                  <a:cubicBezTo>
                    <a:pt x="3" y="1"/>
                    <a:pt x="3" y="1"/>
                    <a:pt x="4" y="1"/>
                  </a:cubicBezTo>
                  <a:cubicBezTo>
                    <a:pt x="5" y="1"/>
                    <a:pt x="2" y="0"/>
                    <a:pt x="1" y="0"/>
                  </a:cubicBezTo>
                  <a:cubicBezTo>
                    <a:pt x="1" y="0"/>
                    <a:pt x="1"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31" name="Freeform 2585">
              <a:extLst>
                <a:ext uri="{FF2B5EF4-FFF2-40B4-BE49-F238E27FC236}">
                  <a16:creationId xmlns:a16="http://schemas.microsoft.com/office/drawing/2014/main" id="{FC4D20E3-683D-4E04-B5B3-69E7FE32651B}"/>
                </a:ext>
              </a:extLst>
            </p:cNvPr>
            <p:cNvSpPr>
              <a:spLocks/>
            </p:cNvSpPr>
            <p:nvPr/>
          </p:nvSpPr>
          <p:spPr bwMode="auto">
            <a:xfrm>
              <a:off x="7055" y="2433"/>
              <a:ext cx="3"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32" name="Freeform 2586">
              <a:extLst>
                <a:ext uri="{FF2B5EF4-FFF2-40B4-BE49-F238E27FC236}">
                  <a16:creationId xmlns:a16="http://schemas.microsoft.com/office/drawing/2014/main" id="{6089BEE3-31F2-4BDB-AC84-EDF08A374DC4}"/>
                </a:ext>
              </a:extLst>
            </p:cNvPr>
            <p:cNvSpPr>
              <a:spLocks/>
            </p:cNvSpPr>
            <p:nvPr/>
          </p:nvSpPr>
          <p:spPr bwMode="auto">
            <a:xfrm>
              <a:off x="7065" y="2410"/>
              <a:ext cx="2" cy="4"/>
            </a:xfrm>
            <a:custGeom>
              <a:avLst/>
              <a:gdLst>
                <a:gd name="T0" fmla="*/ 0 w 1"/>
                <a:gd name="T1" fmla="*/ 2 h 2"/>
                <a:gd name="T2" fmla="*/ 0 w 1"/>
                <a:gd name="T3" fmla="*/ 0 h 2"/>
                <a:gd name="T4" fmla="*/ 0 w 1"/>
                <a:gd name="T5" fmla="*/ 2 h 2"/>
              </a:gdLst>
              <a:ahLst/>
              <a:cxnLst>
                <a:cxn ang="0">
                  <a:pos x="T0" y="T1"/>
                </a:cxn>
                <a:cxn ang="0">
                  <a:pos x="T2" y="T3"/>
                </a:cxn>
                <a:cxn ang="0">
                  <a:pos x="T4" y="T5"/>
                </a:cxn>
              </a:cxnLst>
              <a:rect l="0" t="0" r="r" b="b"/>
              <a:pathLst>
                <a:path w="1" h="2">
                  <a:moveTo>
                    <a:pt x="0" y="2"/>
                  </a:moveTo>
                  <a:cubicBezTo>
                    <a:pt x="0" y="1"/>
                    <a:pt x="1" y="1"/>
                    <a:pt x="0" y="0"/>
                  </a:cubicBezTo>
                  <a:cubicBezTo>
                    <a:pt x="0" y="1"/>
                    <a:pt x="0"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933" name="Freeform 2587">
              <a:extLst>
                <a:ext uri="{FF2B5EF4-FFF2-40B4-BE49-F238E27FC236}">
                  <a16:creationId xmlns:a16="http://schemas.microsoft.com/office/drawing/2014/main" id="{7287AACB-5FC6-44D4-B6E7-6D6BDE965D09}"/>
                </a:ext>
              </a:extLst>
            </p:cNvPr>
            <p:cNvSpPr>
              <a:spLocks/>
            </p:cNvSpPr>
            <p:nvPr/>
          </p:nvSpPr>
          <p:spPr bwMode="auto">
            <a:xfrm>
              <a:off x="7067" y="2405"/>
              <a:ext cx="3" cy="5"/>
            </a:xfrm>
            <a:custGeom>
              <a:avLst/>
              <a:gdLst>
                <a:gd name="T0" fmla="*/ 1 w 1"/>
                <a:gd name="T1" fmla="*/ 0 h 2"/>
                <a:gd name="T2" fmla="*/ 1 w 1"/>
                <a:gd name="T3" fmla="*/ 0 h 2"/>
                <a:gd name="T4" fmla="*/ 1 w 1"/>
                <a:gd name="T5" fmla="*/ 0 h 2"/>
                <a:gd name="T6" fmla="*/ 0 w 1"/>
                <a:gd name="T7" fmla="*/ 2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1" y="0"/>
                    <a:pt x="1" y="0"/>
                    <a:pt x="1" y="0"/>
                  </a:cubicBezTo>
                  <a:cubicBezTo>
                    <a:pt x="1" y="0"/>
                    <a:pt x="1" y="0"/>
                    <a:pt x="1" y="0"/>
                  </a:cubicBezTo>
                  <a:cubicBezTo>
                    <a:pt x="1" y="1"/>
                    <a:pt x="1" y="1"/>
                    <a:pt x="0" y="2"/>
                  </a:cubicBezTo>
                  <a:cubicBezTo>
                    <a:pt x="1" y="2"/>
                    <a:pt x="1" y="1"/>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grpSp>
      <p:grpSp>
        <p:nvGrpSpPr>
          <p:cNvPr id="109" name="Group 2789">
            <a:extLst>
              <a:ext uri="{FF2B5EF4-FFF2-40B4-BE49-F238E27FC236}">
                <a16:creationId xmlns:a16="http://schemas.microsoft.com/office/drawing/2014/main" id="{BBFCB61B-B459-4834-95A2-48B22D1A18B4}"/>
              </a:ext>
            </a:extLst>
          </p:cNvPr>
          <p:cNvGrpSpPr>
            <a:grpSpLocks/>
          </p:cNvGrpSpPr>
          <p:nvPr/>
        </p:nvGrpSpPr>
        <p:grpSpPr bwMode="auto">
          <a:xfrm>
            <a:off x="3878173" y="2191494"/>
            <a:ext cx="1646252" cy="2443831"/>
            <a:chOff x="4634" y="136"/>
            <a:chExt cx="3322" cy="4117"/>
          </a:xfrm>
          <a:solidFill>
            <a:schemeClr val="tx1">
              <a:lumMod val="40000"/>
              <a:lumOff val="60000"/>
            </a:schemeClr>
          </a:solidFill>
        </p:grpSpPr>
        <p:sp>
          <p:nvSpPr>
            <p:cNvPr id="534" name="Freeform 2589">
              <a:extLst>
                <a:ext uri="{FF2B5EF4-FFF2-40B4-BE49-F238E27FC236}">
                  <a16:creationId xmlns:a16="http://schemas.microsoft.com/office/drawing/2014/main" id="{0BD5D8A3-D5AE-4086-82CF-B09CE6466C0F}"/>
                </a:ext>
              </a:extLst>
            </p:cNvPr>
            <p:cNvSpPr>
              <a:spLocks/>
            </p:cNvSpPr>
            <p:nvPr/>
          </p:nvSpPr>
          <p:spPr bwMode="auto">
            <a:xfrm>
              <a:off x="7067" y="2334"/>
              <a:ext cx="3" cy="2"/>
            </a:xfrm>
            <a:custGeom>
              <a:avLst/>
              <a:gdLst>
                <a:gd name="T0" fmla="*/ 0 w 1"/>
                <a:gd name="T1" fmla="*/ 1 h 1"/>
                <a:gd name="T2" fmla="*/ 0 w 1"/>
                <a:gd name="T3" fmla="*/ 1 h 1"/>
                <a:gd name="T4" fmla="*/ 1 w 1"/>
                <a:gd name="T5" fmla="*/ 1 h 1"/>
                <a:gd name="T6" fmla="*/ 1 w 1"/>
                <a:gd name="T7" fmla="*/ 0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1"/>
                    <a:pt x="0" y="1"/>
                    <a:pt x="0" y="1"/>
                  </a:cubicBezTo>
                  <a:cubicBezTo>
                    <a:pt x="0" y="1"/>
                    <a:pt x="1" y="1"/>
                    <a:pt x="1" y="1"/>
                  </a:cubicBezTo>
                  <a:cubicBezTo>
                    <a:pt x="1" y="1"/>
                    <a:pt x="1" y="0"/>
                    <a:pt x="1" y="0"/>
                  </a:cubicBezTo>
                  <a:cubicBezTo>
                    <a:pt x="1" y="0"/>
                    <a:pt x="1"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35" name="Freeform 2590">
              <a:extLst>
                <a:ext uri="{FF2B5EF4-FFF2-40B4-BE49-F238E27FC236}">
                  <a16:creationId xmlns:a16="http://schemas.microsoft.com/office/drawing/2014/main" id="{5FA9A0A6-BB55-4DD2-A0CE-BD708BE1DE3C}"/>
                </a:ext>
              </a:extLst>
            </p:cNvPr>
            <p:cNvSpPr>
              <a:spLocks/>
            </p:cNvSpPr>
            <p:nvPr/>
          </p:nvSpPr>
          <p:spPr bwMode="auto">
            <a:xfrm>
              <a:off x="6036" y="2499"/>
              <a:ext cx="0" cy="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2"/>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36" name="Freeform 2591">
              <a:extLst>
                <a:ext uri="{FF2B5EF4-FFF2-40B4-BE49-F238E27FC236}">
                  <a16:creationId xmlns:a16="http://schemas.microsoft.com/office/drawing/2014/main" id="{8F96BCA5-02A0-4DD6-BC90-7150D4059C43}"/>
                </a:ext>
              </a:extLst>
            </p:cNvPr>
            <p:cNvSpPr>
              <a:spLocks/>
            </p:cNvSpPr>
            <p:nvPr/>
          </p:nvSpPr>
          <p:spPr bwMode="auto">
            <a:xfrm>
              <a:off x="7375" y="2958"/>
              <a:ext cx="35" cy="26"/>
            </a:xfrm>
            <a:custGeom>
              <a:avLst/>
              <a:gdLst>
                <a:gd name="T0" fmla="*/ 15 w 15"/>
                <a:gd name="T1" fmla="*/ 10 h 11"/>
                <a:gd name="T2" fmla="*/ 14 w 15"/>
                <a:gd name="T3" fmla="*/ 10 h 11"/>
                <a:gd name="T4" fmla="*/ 14 w 15"/>
                <a:gd name="T5" fmla="*/ 9 h 11"/>
                <a:gd name="T6" fmla="*/ 14 w 15"/>
                <a:gd name="T7" fmla="*/ 8 h 11"/>
                <a:gd name="T8" fmla="*/ 11 w 15"/>
                <a:gd name="T9" fmla="*/ 6 h 11"/>
                <a:gd name="T10" fmla="*/ 8 w 15"/>
                <a:gd name="T11" fmla="*/ 4 h 11"/>
                <a:gd name="T12" fmla="*/ 7 w 15"/>
                <a:gd name="T13" fmla="*/ 4 h 11"/>
                <a:gd name="T14" fmla="*/ 5 w 15"/>
                <a:gd name="T15" fmla="*/ 3 h 11"/>
                <a:gd name="T16" fmla="*/ 2 w 15"/>
                <a:gd name="T17" fmla="*/ 1 h 11"/>
                <a:gd name="T18" fmla="*/ 0 w 15"/>
                <a:gd name="T19" fmla="*/ 1 h 11"/>
                <a:gd name="T20" fmla="*/ 1 w 15"/>
                <a:gd name="T21" fmla="*/ 1 h 11"/>
                <a:gd name="T22" fmla="*/ 2 w 15"/>
                <a:gd name="T23" fmla="*/ 2 h 11"/>
                <a:gd name="T24" fmla="*/ 2 w 15"/>
                <a:gd name="T25" fmla="*/ 3 h 11"/>
                <a:gd name="T26" fmla="*/ 3 w 15"/>
                <a:gd name="T27" fmla="*/ 3 h 11"/>
                <a:gd name="T28" fmla="*/ 7 w 15"/>
                <a:gd name="T29" fmla="*/ 6 h 11"/>
                <a:gd name="T30" fmla="*/ 15 w 15"/>
                <a:gd name="T31" fmla="*/ 11 h 11"/>
                <a:gd name="T32" fmla="*/ 15 w 15"/>
                <a:gd name="T33"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11">
                  <a:moveTo>
                    <a:pt x="15" y="10"/>
                  </a:moveTo>
                  <a:cubicBezTo>
                    <a:pt x="14" y="10"/>
                    <a:pt x="14" y="10"/>
                    <a:pt x="14" y="10"/>
                  </a:cubicBezTo>
                  <a:cubicBezTo>
                    <a:pt x="14" y="9"/>
                    <a:pt x="14" y="9"/>
                    <a:pt x="14" y="9"/>
                  </a:cubicBezTo>
                  <a:cubicBezTo>
                    <a:pt x="14" y="8"/>
                    <a:pt x="14" y="8"/>
                    <a:pt x="14" y="8"/>
                  </a:cubicBezTo>
                  <a:cubicBezTo>
                    <a:pt x="13" y="7"/>
                    <a:pt x="12" y="7"/>
                    <a:pt x="11" y="6"/>
                  </a:cubicBezTo>
                  <a:cubicBezTo>
                    <a:pt x="10" y="5"/>
                    <a:pt x="9" y="5"/>
                    <a:pt x="8" y="4"/>
                  </a:cubicBezTo>
                  <a:cubicBezTo>
                    <a:pt x="8" y="4"/>
                    <a:pt x="7" y="4"/>
                    <a:pt x="7" y="4"/>
                  </a:cubicBezTo>
                  <a:cubicBezTo>
                    <a:pt x="6" y="4"/>
                    <a:pt x="6" y="3"/>
                    <a:pt x="5" y="3"/>
                  </a:cubicBezTo>
                  <a:cubicBezTo>
                    <a:pt x="4" y="2"/>
                    <a:pt x="4" y="1"/>
                    <a:pt x="2" y="1"/>
                  </a:cubicBezTo>
                  <a:cubicBezTo>
                    <a:pt x="2" y="1"/>
                    <a:pt x="0" y="0"/>
                    <a:pt x="0" y="1"/>
                  </a:cubicBezTo>
                  <a:cubicBezTo>
                    <a:pt x="0" y="1"/>
                    <a:pt x="1" y="1"/>
                    <a:pt x="1" y="1"/>
                  </a:cubicBezTo>
                  <a:cubicBezTo>
                    <a:pt x="1" y="1"/>
                    <a:pt x="1" y="1"/>
                    <a:pt x="2" y="2"/>
                  </a:cubicBezTo>
                  <a:cubicBezTo>
                    <a:pt x="2" y="2"/>
                    <a:pt x="2" y="2"/>
                    <a:pt x="2" y="3"/>
                  </a:cubicBezTo>
                  <a:cubicBezTo>
                    <a:pt x="2" y="3"/>
                    <a:pt x="2" y="3"/>
                    <a:pt x="3" y="3"/>
                  </a:cubicBezTo>
                  <a:cubicBezTo>
                    <a:pt x="4" y="5"/>
                    <a:pt x="5" y="6"/>
                    <a:pt x="7" y="6"/>
                  </a:cubicBezTo>
                  <a:cubicBezTo>
                    <a:pt x="10" y="8"/>
                    <a:pt x="12" y="9"/>
                    <a:pt x="15" y="11"/>
                  </a:cubicBezTo>
                  <a:cubicBezTo>
                    <a:pt x="15" y="11"/>
                    <a:pt x="15" y="10"/>
                    <a:pt x="15" y="1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37" name="Freeform 2592">
              <a:extLst>
                <a:ext uri="{FF2B5EF4-FFF2-40B4-BE49-F238E27FC236}">
                  <a16:creationId xmlns:a16="http://schemas.microsoft.com/office/drawing/2014/main" id="{0ABF77A4-4357-4A72-95F0-9DA6B56FD941}"/>
                </a:ext>
              </a:extLst>
            </p:cNvPr>
            <p:cNvSpPr>
              <a:spLocks/>
            </p:cNvSpPr>
            <p:nvPr/>
          </p:nvSpPr>
          <p:spPr bwMode="auto">
            <a:xfrm>
              <a:off x="7346" y="2970"/>
              <a:ext cx="17" cy="14"/>
            </a:xfrm>
            <a:custGeom>
              <a:avLst/>
              <a:gdLst>
                <a:gd name="T0" fmla="*/ 3 w 7"/>
                <a:gd name="T1" fmla="*/ 0 h 6"/>
                <a:gd name="T2" fmla="*/ 0 w 7"/>
                <a:gd name="T3" fmla="*/ 2 h 6"/>
                <a:gd name="T4" fmla="*/ 0 w 7"/>
                <a:gd name="T5" fmla="*/ 3 h 6"/>
                <a:gd name="T6" fmla="*/ 1 w 7"/>
                <a:gd name="T7" fmla="*/ 3 h 6"/>
                <a:gd name="T8" fmla="*/ 3 w 7"/>
                <a:gd name="T9" fmla="*/ 3 h 6"/>
                <a:gd name="T10" fmla="*/ 3 w 7"/>
                <a:gd name="T11" fmla="*/ 4 h 6"/>
                <a:gd name="T12" fmla="*/ 6 w 7"/>
                <a:gd name="T13" fmla="*/ 6 h 6"/>
                <a:gd name="T14" fmla="*/ 5 w 7"/>
                <a:gd name="T15" fmla="*/ 3 h 6"/>
                <a:gd name="T16" fmla="*/ 3 w 7"/>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6">
                  <a:moveTo>
                    <a:pt x="3" y="0"/>
                  </a:moveTo>
                  <a:cubicBezTo>
                    <a:pt x="2" y="0"/>
                    <a:pt x="1" y="1"/>
                    <a:pt x="0" y="2"/>
                  </a:cubicBezTo>
                  <a:cubicBezTo>
                    <a:pt x="0" y="3"/>
                    <a:pt x="0" y="3"/>
                    <a:pt x="0" y="3"/>
                  </a:cubicBezTo>
                  <a:cubicBezTo>
                    <a:pt x="1" y="4"/>
                    <a:pt x="1" y="3"/>
                    <a:pt x="1" y="3"/>
                  </a:cubicBezTo>
                  <a:cubicBezTo>
                    <a:pt x="2" y="3"/>
                    <a:pt x="2" y="3"/>
                    <a:pt x="3" y="3"/>
                  </a:cubicBezTo>
                  <a:cubicBezTo>
                    <a:pt x="4" y="3"/>
                    <a:pt x="3" y="3"/>
                    <a:pt x="3" y="4"/>
                  </a:cubicBezTo>
                  <a:cubicBezTo>
                    <a:pt x="4" y="5"/>
                    <a:pt x="4" y="5"/>
                    <a:pt x="6" y="6"/>
                  </a:cubicBezTo>
                  <a:cubicBezTo>
                    <a:pt x="7" y="5"/>
                    <a:pt x="6" y="4"/>
                    <a:pt x="5" y="3"/>
                  </a:cubicBezTo>
                  <a:cubicBezTo>
                    <a:pt x="5" y="2"/>
                    <a:pt x="4" y="1"/>
                    <a:pt x="3"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38" name="Freeform 2593">
              <a:extLst>
                <a:ext uri="{FF2B5EF4-FFF2-40B4-BE49-F238E27FC236}">
                  <a16:creationId xmlns:a16="http://schemas.microsoft.com/office/drawing/2014/main" id="{BFDF4C61-7D70-42CF-8FC5-34C50D0ACAF2}"/>
                </a:ext>
              </a:extLst>
            </p:cNvPr>
            <p:cNvSpPr>
              <a:spLocks/>
            </p:cNvSpPr>
            <p:nvPr/>
          </p:nvSpPr>
          <p:spPr bwMode="auto">
            <a:xfrm>
              <a:off x="7443" y="3025"/>
              <a:ext cx="28" cy="16"/>
            </a:xfrm>
            <a:custGeom>
              <a:avLst/>
              <a:gdLst>
                <a:gd name="T0" fmla="*/ 8 w 12"/>
                <a:gd name="T1" fmla="*/ 3 h 7"/>
                <a:gd name="T2" fmla="*/ 4 w 12"/>
                <a:gd name="T3" fmla="*/ 1 h 7"/>
                <a:gd name="T4" fmla="*/ 1 w 12"/>
                <a:gd name="T5" fmla="*/ 0 h 7"/>
                <a:gd name="T6" fmla="*/ 1 w 12"/>
                <a:gd name="T7" fmla="*/ 1 h 7"/>
                <a:gd name="T8" fmla="*/ 2 w 12"/>
                <a:gd name="T9" fmla="*/ 1 h 7"/>
                <a:gd name="T10" fmla="*/ 3 w 12"/>
                <a:gd name="T11" fmla="*/ 4 h 7"/>
                <a:gd name="T12" fmla="*/ 4 w 12"/>
                <a:gd name="T13" fmla="*/ 4 h 7"/>
                <a:gd name="T14" fmla="*/ 6 w 12"/>
                <a:gd name="T15" fmla="*/ 6 h 7"/>
                <a:gd name="T16" fmla="*/ 8 w 12"/>
                <a:gd name="T17" fmla="*/ 6 h 7"/>
                <a:gd name="T18" fmla="*/ 12 w 12"/>
                <a:gd name="T19" fmla="*/ 7 h 7"/>
                <a:gd name="T20" fmla="*/ 9 w 12"/>
                <a:gd name="T21" fmla="*/ 3 h 7"/>
                <a:gd name="T22" fmla="*/ 8 w 12"/>
                <a:gd name="T2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7">
                  <a:moveTo>
                    <a:pt x="8" y="3"/>
                  </a:moveTo>
                  <a:cubicBezTo>
                    <a:pt x="6" y="2"/>
                    <a:pt x="5" y="2"/>
                    <a:pt x="4" y="1"/>
                  </a:cubicBezTo>
                  <a:cubicBezTo>
                    <a:pt x="3" y="1"/>
                    <a:pt x="2" y="0"/>
                    <a:pt x="1" y="0"/>
                  </a:cubicBezTo>
                  <a:cubicBezTo>
                    <a:pt x="0" y="0"/>
                    <a:pt x="0" y="1"/>
                    <a:pt x="1" y="1"/>
                  </a:cubicBezTo>
                  <a:cubicBezTo>
                    <a:pt x="1" y="2"/>
                    <a:pt x="2" y="1"/>
                    <a:pt x="2" y="1"/>
                  </a:cubicBezTo>
                  <a:cubicBezTo>
                    <a:pt x="3" y="2"/>
                    <a:pt x="3" y="3"/>
                    <a:pt x="3" y="4"/>
                  </a:cubicBezTo>
                  <a:cubicBezTo>
                    <a:pt x="3" y="4"/>
                    <a:pt x="4" y="4"/>
                    <a:pt x="4" y="4"/>
                  </a:cubicBezTo>
                  <a:cubicBezTo>
                    <a:pt x="5" y="5"/>
                    <a:pt x="5" y="5"/>
                    <a:pt x="6" y="6"/>
                  </a:cubicBezTo>
                  <a:cubicBezTo>
                    <a:pt x="7" y="6"/>
                    <a:pt x="8" y="6"/>
                    <a:pt x="8" y="6"/>
                  </a:cubicBezTo>
                  <a:cubicBezTo>
                    <a:pt x="9" y="6"/>
                    <a:pt x="11" y="7"/>
                    <a:pt x="12" y="7"/>
                  </a:cubicBezTo>
                  <a:cubicBezTo>
                    <a:pt x="11" y="5"/>
                    <a:pt x="10" y="4"/>
                    <a:pt x="9" y="3"/>
                  </a:cubicBezTo>
                  <a:cubicBezTo>
                    <a:pt x="8" y="2"/>
                    <a:pt x="8" y="3"/>
                    <a:pt x="8"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39" name="Freeform 2594">
              <a:extLst>
                <a:ext uri="{FF2B5EF4-FFF2-40B4-BE49-F238E27FC236}">
                  <a16:creationId xmlns:a16="http://schemas.microsoft.com/office/drawing/2014/main" id="{863F17DE-9BCE-4BFE-90D2-28B5D8161130}"/>
                </a:ext>
              </a:extLst>
            </p:cNvPr>
            <p:cNvSpPr>
              <a:spLocks/>
            </p:cNvSpPr>
            <p:nvPr/>
          </p:nvSpPr>
          <p:spPr bwMode="auto">
            <a:xfrm>
              <a:off x="7344" y="2975"/>
              <a:ext cx="2" cy="2"/>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1" y="1"/>
                  </a:cubicBezTo>
                  <a:cubicBezTo>
                    <a:pt x="1"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40" name="Freeform 2595">
              <a:extLst>
                <a:ext uri="{FF2B5EF4-FFF2-40B4-BE49-F238E27FC236}">
                  <a16:creationId xmlns:a16="http://schemas.microsoft.com/office/drawing/2014/main" id="{4A7B40B7-0D0E-4E3D-AAB5-0BEB7FB3B512}"/>
                </a:ext>
              </a:extLst>
            </p:cNvPr>
            <p:cNvSpPr>
              <a:spLocks/>
            </p:cNvSpPr>
            <p:nvPr/>
          </p:nvSpPr>
          <p:spPr bwMode="auto">
            <a:xfrm>
              <a:off x="7424" y="2977"/>
              <a:ext cx="21" cy="34"/>
            </a:xfrm>
            <a:custGeom>
              <a:avLst/>
              <a:gdLst>
                <a:gd name="T0" fmla="*/ 9 w 9"/>
                <a:gd name="T1" fmla="*/ 13 h 14"/>
                <a:gd name="T2" fmla="*/ 8 w 9"/>
                <a:gd name="T3" fmla="*/ 11 h 14"/>
                <a:gd name="T4" fmla="*/ 8 w 9"/>
                <a:gd name="T5" fmla="*/ 10 h 14"/>
                <a:gd name="T6" fmla="*/ 7 w 9"/>
                <a:gd name="T7" fmla="*/ 8 h 14"/>
                <a:gd name="T8" fmla="*/ 6 w 9"/>
                <a:gd name="T9" fmla="*/ 7 h 14"/>
                <a:gd name="T10" fmla="*/ 4 w 9"/>
                <a:gd name="T11" fmla="*/ 3 h 14"/>
                <a:gd name="T12" fmla="*/ 2 w 9"/>
                <a:gd name="T13" fmla="*/ 0 h 14"/>
                <a:gd name="T14" fmla="*/ 3 w 9"/>
                <a:gd name="T15" fmla="*/ 1 h 14"/>
                <a:gd name="T16" fmla="*/ 2 w 9"/>
                <a:gd name="T17" fmla="*/ 2 h 14"/>
                <a:gd name="T18" fmla="*/ 2 w 9"/>
                <a:gd name="T19" fmla="*/ 4 h 14"/>
                <a:gd name="T20" fmla="*/ 4 w 9"/>
                <a:gd name="T21" fmla="*/ 9 h 14"/>
                <a:gd name="T22" fmla="*/ 9 w 9"/>
                <a:gd name="T23" fmla="*/ 14 h 14"/>
                <a:gd name="T24" fmla="*/ 9 w 9"/>
                <a:gd name="T25"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4">
                  <a:moveTo>
                    <a:pt x="9" y="13"/>
                  </a:moveTo>
                  <a:cubicBezTo>
                    <a:pt x="9" y="12"/>
                    <a:pt x="9" y="12"/>
                    <a:pt x="8" y="11"/>
                  </a:cubicBezTo>
                  <a:cubicBezTo>
                    <a:pt x="8" y="11"/>
                    <a:pt x="8" y="11"/>
                    <a:pt x="8" y="10"/>
                  </a:cubicBezTo>
                  <a:cubicBezTo>
                    <a:pt x="8" y="9"/>
                    <a:pt x="8" y="8"/>
                    <a:pt x="7" y="8"/>
                  </a:cubicBezTo>
                  <a:cubicBezTo>
                    <a:pt x="7" y="7"/>
                    <a:pt x="6" y="7"/>
                    <a:pt x="6" y="7"/>
                  </a:cubicBezTo>
                  <a:cubicBezTo>
                    <a:pt x="5" y="5"/>
                    <a:pt x="5" y="4"/>
                    <a:pt x="4" y="3"/>
                  </a:cubicBezTo>
                  <a:cubicBezTo>
                    <a:pt x="4" y="2"/>
                    <a:pt x="3" y="1"/>
                    <a:pt x="2" y="0"/>
                  </a:cubicBezTo>
                  <a:cubicBezTo>
                    <a:pt x="3" y="1"/>
                    <a:pt x="3" y="1"/>
                    <a:pt x="3" y="1"/>
                  </a:cubicBezTo>
                  <a:cubicBezTo>
                    <a:pt x="0" y="0"/>
                    <a:pt x="1" y="1"/>
                    <a:pt x="2" y="2"/>
                  </a:cubicBezTo>
                  <a:cubicBezTo>
                    <a:pt x="3" y="3"/>
                    <a:pt x="2" y="3"/>
                    <a:pt x="2" y="4"/>
                  </a:cubicBezTo>
                  <a:cubicBezTo>
                    <a:pt x="2" y="5"/>
                    <a:pt x="3" y="8"/>
                    <a:pt x="4" y="9"/>
                  </a:cubicBezTo>
                  <a:cubicBezTo>
                    <a:pt x="6" y="11"/>
                    <a:pt x="7" y="12"/>
                    <a:pt x="9" y="14"/>
                  </a:cubicBezTo>
                  <a:cubicBezTo>
                    <a:pt x="9" y="13"/>
                    <a:pt x="9" y="13"/>
                    <a:pt x="9" y="1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41" name="Freeform 2596">
              <a:extLst>
                <a:ext uri="{FF2B5EF4-FFF2-40B4-BE49-F238E27FC236}">
                  <a16:creationId xmlns:a16="http://schemas.microsoft.com/office/drawing/2014/main" id="{13B10ED9-A100-492B-AFEB-E70571A5EA88}"/>
                </a:ext>
              </a:extLst>
            </p:cNvPr>
            <p:cNvSpPr>
              <a:spLocks/>
            </p:cNvSpPr>
            <p:nvPr/>
          </p:nvSpPr>
          <p:spPr bwMode="auto">
            <a:xfrm>
              <a:off x="7330" y="2970"/>
              <a:ext cx="2" cy="5"/>
            </a:xfrm>
            <a:custGeom>
              <a:avLst/>
              <a:gdLst>
                <a:gd name="T0" fmla="*/ 0 w 1"/>
                <a:gd name="T1" fmla="*/ 2 h 2"/>
                <a:gd name="T2" fmla="*/ 0 w 1"/>
                <a:gd name="T3" fmla="*/ 0 h 2"/>
                <a:gd name="T4" fmla="*/ 0 w 1"/>
                <a:gd name="T5" fmla="*/ 2 h 2"/>
              </a:gdLst>
              <a:ahLst/>
              <a:cxnLst>
                <a:cxn ang="0">
                  <a:pos x="T0" y="T1"/>
                </a:cxn>
                <a:cxn ang="0">
                  <a:pos x="T2" y="T3"/>
                </a:cxn>
                <a:cxn ang="0">
                  <a:pos x="T4" y="T5"/>
                </a:cxn>
              </a:cxnLst>
              <a:rect l="0" t="0" r="r" b="b"/>
              <a:pathLst>
                <a:path w="1" h="2">
                  <a:moveTo>
                    <a:pt x="0" y="2"/>
                  </a:moveTo>
                  <a:cubicBezTo>
                    <a:pt x="1" y="1"/>
                    <a:pt x="1" y="0"/>
                    <a:pt x="0" y="0"/>
                  </a:cubicBezTo>
                  <a:cubicBezTo>
                    <a:pt x="0" y="1"/>
                    <a:pt x="0"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42" name="Freeform 2597">
              <a:extLst>
                <a:ext uri="{FF2B5EF4-FFF2-40B4-BE49-F238E27FC236}">
                  <a16:creationId xmlns:a16="http://schemas.microsoft.com/office/drawing/2014/main" id="{CC4D4DB5-9ECF-4DD9-A2FB-03C8679E8F26}"/>
                </a:ext>
              </a:extLst>
            </p:cNvPr>
            <p:cNvSpPr>
              <a:spLocks/>
            </p:cNvSpPr>
            <p:nvPr/>
          </p:nvSpPr>
          <p:spPr bwMode="auto">
            <a:xfrm>
              <a:off x="7351" y="2987"/>
              <a:ext cx="5" cy="2"/>
            </a:xfrm>
            <a:custGeom>
              <a:avLst/>
              <a:gdLst>
                <a:gd name="T0" fmla="*/ 0 w 2"/>
                <a:gd name="T1" fmla="*/ 1 h 1"/>
                <a:gd name="T2" fmla="*/ 2 w 2"/>
                <a:gd name="T3" fmla="*/ 1 h 1"/>
                <a:gd name="T4" fmla="*/ 0 w 2"/>
                <a:gd name="T5" fmla="*/ 1 h 1"/>
              </a:gdLst>
              <a:ahLst/>
              <a:cxnLst>
                <a:cxn ang="0">
                  <a:pos x="T0" y="T1"/>
                </a:cxn>
                <a:cxn ang="0">
                  <a:pos x="T2" y="T3"/>
                </a:cxn>
                <a:cxn ang="0">
                  <a:pos x="T4" y="T5"/>
                </a:cxn>
              </a:cxnLst>
              <a:rect l="0" t="0" r="r" b="b"/>
              <a:pathLst>
                <a:path w="2" h="1">
                  <a:moveTo>
                    <a:pt x="0" y="1"/>
                  </a:moveTo>
                  <a:cubicBezTo>
                    <a:pt x="1" y="1"/>
                    <a:pt x="1" y="1"/>
                    <a:pt x="2" y="1"/>
                  </a:cubicBezTo>
                  <a:cubicBezTo>
                    <a:pt x="2" y="0"/>
                    <a:pt x="1"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43" name="Freeform 2598">
              <a:extLst>
                <a:ext uri="{FF2B5EF4-FFF2-40B4-BE49-F238E27FC236}">
                  <a16:creationId xmlns:a16="http://schemas.microsoft.com/office/drawing/2014/main" id="{7D927494-74F1-4E0E-AD26-949A7223C57C}"/>
                </a:ext>
              </a:extLst>
            </p:cNvPr>
            <p:cNvSpPr>
              <a:spLocks/>
            </p:cNvSpPr>
            <p:nvPr/>
          </p:nvSpPr>
          <p:spPr bwMode="auto">
            <a:xfrm>
              <a:off x="7344" y="2980"/>
              <a:ext cx="7" cy="9"/>
            </a:xfrm>
            <a:custGeom>
              <a:avLst/>
              <a:gdLst>
                <a:gd name="T0" fmla="*/ 3 w 3"/>
                <a:gd name="T1" fmla="*/ 1 h 4"/>
                <a:gd name="T2" fmla="*/ 1 w 3"/>
                <a:gd name="T3" fmla="*/ 2 h 4"/>
                <a:gd name="T4" fmla="*/ 2 w 3"/>
                <a:gd name="T5" fmla="*/ 4 h 4"/>
                <a:gd name="T6" fmla="*/ 3 w 3"/>
                <a:gd name="T7" fmla="*/ 1 h 4"/>
              </a:gdLst>
              <a:ahLst/>
              <a:cxnLst>
                <a:cxn ang="0">
                  <a:pos x="T0" y="T1"/>
                </a:cxn>
                <a:cxn ang="0">
                  <a:pos x="T2" y="T3"/>
                </a:cxn>
                <a:cxn ang="0">
                  <a:pos x="T4" y="T5"/>
                </a:cxn>
                <a:cxn ang="0">
                  <a:pos x="T6" y="T7"/>
                </a:cxn>
              </a:cxnLst>
              <a:rect l="0" t="0" r="r" b="b"/>
              <a:pathLst>
                <a:path w="3" h="4">
                  <a:moveTo>
                    <a:pt x="3" y="1"/>
                  </a:moveTo>
                  <a:cubicBezTo>
                    <a:pt x="2" y="0"/>
                    <a:pt x="1" y="1"/>
                    <a:pt x="1" y="2"/>
                  </a:cubicBezTo>
                  <a:cubicBezTo>
                    <a:pt x="0" y="3"/>
                    <a:pt x="2" y="3"/>
                    <a:pt x="2" y="4"/>
                  </a:cubicBezTo>
                  <a:cubicBezTo>
                    <a:pt x="1" y="2"/>
                    <a:pt x="3" y="2"/>
                    <a:pt x="3"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44" name="Freeform 2599">
              <a:extLst>
                <a:ext uri="{FF2B5EF4-FFF2-40B4-BE49-F238E27FC236}">
                  <a16:creationId xmlns:a16="http://schemas.microsoft.com/office/drawing/2014/main" id="{B4436C24-8E12-4537-B722-F1F4D5EF49AF}"/>
                </a:ext>
              </a:extLst>
            </p:cNvPr>
            <p:cNvSpPr>
              <a:spLocks/>
            </p:cNvSpPr>
            <p:nvPr/>
          </p:nvSpPr>
          <p:spPr bwMode="auto">
            <a:xfrm>
              <a:off x="7325" y="2937"/>
              <a:ext cx="31" cy="19"/>
            </a:xfrm>
            <a:custGeom>
              <a:avLst/>
              <a:gdLst>
                <a:gd name="T0" fmla="*/ 12 w 13"/>
                <a:gd name="T1" fmla="*/ 7 h 8"/>
                <a:gd name="T2" fmla="*/ 10 w 13"/>
                <a:gd name="T3" fmla="*/ 7 h 8"/>
                <a:gd name="T4" fmla="*/ 8 w 13"/>
                <a:gd name="T5" fmla="*/ 6 h 8"/>
                <a:gd name="T6" fmla="*/ 7 w 13"/>
                <a:gd name="T7" fmla="*/ 3 h 8"/>
                <a:gd name="T8" fmla="*/ 4 w 13"/>
                <a:gd name="T9" fmla="*/ 2 h 8"/>
                <a:gd name="T10" fmla="*/ 2 w 13"/>
                <a:gd name="T11" fmla="*/ 0 h 8"/>
                <a:gd name="T12" fmla="*/ 1 w 13"/>
                <a:gd name="T13" fmla="*/ 1 h 8"/>
                <a:gd name="T14" fmla="*/ 3 w 13"/>
                <a:gd name="T15" fmla="*/ 3 h 8"/>
                <a:gd name="T16" fmla="*/ 5 w 13"/>
                <a:gd name="T17" fmla="*/ 5 h 8"/>
                <a:gd name="T18" fmla="*/ 9 w 13"/>
                <a:gd name="T19" fmla="*/ 8 h 8"/>
                <a:gd name="T20" fmla="*/ 12 w 13"/>
                <a:gd name="T21"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8">
                  <a:moveTo>
                    <a:pt x="12" y="7"/>
                  </a:moveTo>
                  <a:cubicBezTo>
                    <a:pt x="12" y="7"/>
                    <a:pt x="10" y="7"/>
                    <a:pt x="10" y="7"/>
                  </a:cubicBezTo>
                  <a:cubicBezTo>
                    <a:pt x="9" y="7"/>
                    <a:pt x="9" y="6"/>
                    <a:pt x="8" y="6"/>
                  </a:cubicBezTo>
                  <a:cubicBezTo>
                    <a:pt x="8" y="5"/>
                    <a:pt x="8" y="4"/>
                    <a:pt x="7" y="3"/>
                  </a:cubicBezTo>
                  <a:cubicBezTo>
                    <a:pt x="6" y="2"/>
                    <a:pt x="5" y="2"/>
                    <a:pt x="4" y="2"/>
                  </a:cubicBezTo>
                  <a:cubicBezTo>
                    <a:pt x="3" y="1"/>
                    <a:pt x="3" y="1"/>
                    <a:pt x="2" y="0"/>
                  </a:cubicBezTo>
                  <a:cubicBezTo>
                    <a:pt x="1" y="0"/>
                    <a:pt x="0" y="0"/>
                    <a:pt x="1" y="1"/>
                  </a:cubicBezTo>
                  <a:cubicBezTo>
                    <a:pt x="1" y="2"/>
                    <a:pt x="2" y="2"/>
                    <a:pt x="3" y="3"/>
                  </a:cubicBezTo>
                  <a:cubicBezTo>
                    <a:pt x="4" y="3"/>
                    <a:pt x="4" y="4"/>
                    <a:pt x="5" y="5"/>
                  </a:cubicBezTo>
                  <a:cubicBezTo>
                    <a:pt x="6" y="7"/>
                    <a:pt x="7" y="7"/>
                    <a:pt x="9" y="8"/>
                  </a:cubicBezTo>
                  <a:cubicBezTo>
                    <a:pt x="10" y="8"/>
                    <a:pt x="13" y="8"/>
                    <a:pt x="12" y="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45" name="Freeform 2600">
              <a:extLst>
                <a:ext uri="{FF2B5EF4-FFF2-40B4-BE49-F238E27FC236}">
                  <a16:creationId xmlns:a16="http://schemas.microsoft.com/office/drawing/2014/main" id="{11975DBB-A8DC-44E8-AFA9-AA9C507D23B5}"/>
                </a:ext>
              </a:extLst>
            </p:cNvPr>
            <p:cNvSpPr>
              <a:spLocks/>
            </p:cNvSpPr>
            <p:nvPr/>
          </p:nvSpPr>
          <p:spPr bwMode="auto">
            <a:xfrm>
              <a:off x="7372" y="2958"/>
              <a:ext cx="3" cy="3"/>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0"/>
                    <a:pt x="1" y="1"/>
                  </a:cubicBezTo>
                  <a:cubicBezTo>
                    <a:pt x="1"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46" name="Freeform 2601">
              <a:extLst>
                <a:ext uri="{FF2B5EF4-FFF2-40B4-BE49-F238E27FC236}">
                  <a16:creationId xmlns:a16="http://schemas.microsoft.com/office/drawing/2014/main" id="{0A472910-2AB9-4C6D-9BF9-CDBF4D7DE84C}"/>
                </a:ext>
              </a:extLst>
            </p:cNvPr>
            <p:cNvSpPr>
              <a:spLocks/>
            </p:cNvSpPr>
            <p:nvPr/>
          </p:nvSpPr>
          <p:spPr bwMode="auto">
            <a:xfrm>
              <a:off x="7460" y="3013"/>
              <a:ext cx="0" cy="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47" name="Freeform 2602">
              <a:extLst>
                <a:ext uri="{FF2B5EF4-FFF2-40B4-BE49-F238E27FC236}">
                  <a16:creationId xmlns:a16="http://schemas.microsoft.com/office/drawing/2014/main" id="{503C74FF-D1D7-4C3B-92F2-FB854581686A}"/>
                </a:ext>
              </a:extLst>
            </p:cNvPr>
            <p:cNvSpPr>
              <a:spLocks/>
            </p:cNvSpPr>
            <p:nvPr/>
          </p:nvSpPr>
          <p:spPr bwMode="auto">
            <a:xfrm>
              <a:off x="7403" y="2999"/>
              <a:ext cx="28" cy="19"/>
            </a:xfrm>
            <a:custGeom>
              <a:avLst/>
              <a:gdLst>
                <a:gd name="T0" fmla="*/ 11 w 12"/>
                <a:gd name="T1" fmla="*/ 6 h 8"/>
                <a:gd name="T2" fmla="*/ 10 w 12"/>
                <a:gd name="T3" fmla="*/ 4 h 8"/>
                <a:gd name="T4" fmla="*/ 6 w 12"/>
                <a:gd name="T5" fmla="*/ 3 h 8"/>
                <a:gd name="T6" fmla="*/ 5 w 12"/>
                <a:gd name="T7" fmla="*/ 3 h 8"/>
                <a:gd name="T8" fmla="*/ 0 w 12"/>
                <a:gd name="T9" fmla="*/ 2 h 8"/>
                <a:gd name="T10" fmla="*/ 1 w 12"/>
                <a:gd name="T11" fmla="*/ 5 h 8"/>
                <a:gd name="T12" fmla="*/ 5 w 12"/>
                <a:gd name="T13" fmla="*/ 7 h 8"/>
                <a:gd name="T14" fmla="*/ 8 w 12"/>
                <a:gd name="T15" fmla="*/ 7 h 8"/>
                <a:gd name="T16" fmla="*/ 9 w 12"/>
                <a:gd name="T17" fmla="*/ 8 h 8"/>
                <a:gd name="T18" fmla="*/ 11 w 12"/>
                <a:gd name="T19" fmla="*/ 8 h 8"/>
                <a:gd name="T20" fmla="*/ 12 w 12"/>
                <a:gd name="T21" fmla="*/ 6 h 8"/>
                <a:gd name="T22" fmla="*/ 11 w 12"/>
                <a:gd name="T23"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8">
                  <a:moveTo>
                    <a:pt x="11" y="6"/>
                  </a:moveTo>
                  <a:cubicBezTo>
                    <a:pt x="11" y="5"/>
                    <a:pt x="11" y="5"/>
                    <a:pt x="10" y="4"/>
                  </a:cubicBezTo>
                  <a:cubicBezTo>
                    <a:pt x="9" y="3"/>
                    <a:pt x="7" y="3"/>
                    <a:pt x="6" y="3"/>
                  </a:cubicBezTo>
                  <a:cubicBezTo>
                    <a:pt x="5" y="3"/>
                    <a:pt x="5" y="3"/>
                    <a:pt x="5" y="3"/>
                  </a:cubicBezTo>
                  <a:cubicBezTo>
                    <a:pt x="3" y="3"/>
                    <a:pt x="1" y="0"/>
                    <a:pt x="0" y="2"/>
                  </a:cubicBezTo>
                  <a:cubicBezTo>
                    <a:pt x="0" y="3"/>
                    <a:pt x="0" y="4"/>
                    <a:pt x="1" y="5"/>
                  </a:cubicBezTo>
                  <a:cubicBezTo>
                    <a:pt x="2" y="6"/>
                    <a:pt x="3" y="7"/>
                    <a:pt x="5" y="7"/>
                  </a:cubicBezTo>
                  <a:cubicBezTo>
                    <a:pt x="5" y="7"/>
                    <a:pt x="7" y="7"/>
                    <a:pt x="8" y="7"/>
                  </a:cubicBezTo>
                  <a:cubicBezTo>
                    <a:pt x="8" y="7"/>
                    <a:pt x="8" y="8"/>
                    <a:pt x="9" y="8"/>
                  </a:cubicBezTo>
                  <a:cubicBezTo>
                    <a:pt x="9" y="8"/>
                    <a:pt x="10" y="8"/>
                    <a:pt x="11" y="8"/>
                  </a:cubicBezTo>
                  <a:cubicBezTo>
                    <a:pt x="11" y="8"/>
                    <a:pt x="12" y="7"/>
                    <a:pt x="12" y="6"/>
                  </a:cubicBezTo>
                  <a:cubicBezTo>
                    <a:pt x="12" y="6"/>
                    <a:pt x="12" y="6"/>
                    <a:pt x="11" y="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48" name="Freeform 2603">
              <a:extLst>
                <a:ext uri="{FF2B5EF4-FFF2-40B4-BE49-F238E27FC236}">
                  <a16:creationId xmlns:a16="http://schemas.microsoft.com/office/drawing/2014/main" id="{9C08CE1E-D4C8-453C-B98F-CB766032D247}"/>
                </a:ext>
              </a:extLst>
            </p:cNvPr>
            <p:cNvSpPr>
              <a:spLocks/>
            </p:cNvSpPr>
            <p:nvPr/>
          </p:nvSpPr>
          <p:spPr bwMode="auto">
            <a:xfrm>
              <a:off x="7445" y="3003"/>
              <a:ext cx="5" cy="12"/>
            </a:xfrm>
            <a:custGeom>
              <a:avLst/>
              <a:gdLst>
                <a:gd name="T0" fmla="*/ 0 w 2"/>
                <a:gd name="T1" fmla="*/ 0 h 5"/>
                <a:gd name="T2" fmla="*/ 2 w 2"/>
                <a:gd name="T3" fmla="*/ 5 h 5"/>
                <a:gd name="T4" fmla="*/ 0 w 2"/>
                <a:gd name="T5" fmla="*/ 0 h 5"/>
              </a:gdLst>
              <a:ahLst/>
              <a:cxnLst>
                <a:cxn ang="0">
                  <a:pos x="T0" y="T1"/>
                </a:cxn>
                <a:cxn ang="0">
                  <a:pos x="T2" y="T3"/>
                </a:cxn>
                <a:cxn ang="0">
                  <a:pos x="T4" y="T5"/>
                </a:cxn>
              </a:cxnLst>
              <a:rect l="0" t="0" r="r" b="b"/>
              <a:pathLst>
                <a:path w="2" h="5">
                  <a:moveTo>
                    <a:pt x="0" y="0"/>
                  </a:moveTo>
                  <a:cubicBezTo>
                    <a:pt x="1" y="2"/>
                    <a:pt x="1" y="3"/>
                    <a:pt x="2" y="5"/>
                  </a:cubicBezTo>
                  <a:cubicBezTo>
                    <a:pt x="2" y="3"/>
                    <a:pt x="1"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49" name="Freeform 2604">
              <a:extLst>
                <a:ext uri="{FF2B5EF4-FFF2-40B4-BE49-F238E27FC236}">
                  <a16:creationId xmlns:a16="http://schemas.microsoft.com/office/drawing/2014/main" id="{B54A8384-E67A-403A-803D-4E54C9EFC51A}"/>
                </a:ext>
              </a:extLst>
            </p:cNvPr>
            <p:cNvSpPr>
              <a:spLocks/>
            </p:cNvSpPr>
            <p:nvPr/>
          </p:nvSpPr>
          <p:spPr bwMode="auto">
            <a:xfrm>
              <a:off x="7403" y="2980"/>
              <a:ext cx="2" cy="4"/>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0" y="1"/>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50" name="Freeform 2605">
              <a:extLst>
                <a:ext uri="{FF2B5EF4-FFF2-40B4-BE49-F238E27FC236}">
                  <a16:creationId xmlns:a16="http://schemas.microsoft.com/office/drawing/2014/main" id="{90C159C5-675B-42D8-914B-12DAC8269069}"/>
                </a:ext>
              </a:extLst>
            </p:cNvPr>
            <p:cNvSpPr>
              <a:spLocks/>
            </p:cNvSpPr>
            <p:nvPr/>
          </p:nvSpPr>
          <p:spPr bwMode="auto">
            <a:xfrm>
              <a:off x="7372" y="2961"/>
              <a:ext cx="5" cy="2"/>
            </a:xfrm>
            <a:custGeom>
              <a:avLst/>
              <a:gdLst>
                <a:gd name="T0" fmla="*/ 0 w 2"/>
                <a:gd name="T1" fmla="*/ 0 h 1"/>
                <a:gd name="T2" fmla="*/ 2 w 2"/>
                <a:gd name="T3" fmla="*/ 1 h 1"/>
                <a:gd name="T4" fmla="*/ 0 w 2"/>
                <a:gd name="T5" fmla="*/ 0 h 1"/>
              </a:gdLst>
              <a:ahLst/>
              <a:cxnLst>
                <a:cxn ang="0">
                  <a:pos x="T0" y="T1"/>
                </a:cxn>
                <a:cxn ang="0">
                  <a:pos x="T2" y="T3"/>
                </a:cxn>
                <a:cxn ang="0">
                  <a:pos x="T4" y="T5"/>
                </a:cxn>
              </a:cxnLst>
              <a:rect l="0" t="0" r="r" b="b"/>
              <a:pathLst>
                <a:path w="2" h="1">
                  <a:moveTo>
                    <a:pt x="0" y="0"/>
                  </a:moveTo>
                  <a:cubicBezTo>
                    <a:pt x="1" y="0"/>
                    <a:pt x="1" y="0"/>
                    <a:pt x="2" y="1"/>
                  </a:cubicBezTo>
                  <a:cubicBezTo>
                    <a:pt x="1" y="0"/>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51" name="Freeform 2606">
              <a:extLst>
                <a:ext uri="{FF2B5EF4-FFF2-40B4-BE49-F238E27FC236}">
                  <a16:creationId xmlns:a16="http://schemas.microsoft.com/office/drawing/2014/main" id="{CE9BC642-465A-46A8-9676-47BAC6F5D421}"/>
                </a:ext>
              </a:extLst>
            </p:cNvPr>
            <p:cNvSpPr>
              <a:spLocks/>
            </p:cNvSpPr>
            <p:nvPr/>
          </p:nvSpPr>
          <p:spPr bwMode="auto">
            <a:xfrm>
              <a:off x="7337" y="2968"/>
              <a:ext cx="9" cy="7"/>
            </a:xfrm>
            <a:custGeom>
              <a:avLst/>
              <a:gdLst>
                <a:gd name="T0" fmla="*/ 3 w 4"/>
                <a:gd name="T1" fmla="*/ 0 h 3"/>
                <a:gd name="T2" fmla="*/ 1 w 4"/>
                <a:gd name="T3" fmla="*/ 1 h 3"/>
                <a:gd name="T4" fmla="*/ 3 w 4"/>
                <a:gd name="T5" fmla="*/ 3 h 3"/>
                <a:gd name="T6" fmla="*/ 3 w 4"/>
                <a:gd name="T7" fmla="*/ 0 h 3"/>
              </a:gdLst>
              <a:ahLst/>
              <a:cxnLst>
                <a:cxn ang="0">
                  <a:pos x="T0" y="T1"/>
                </a:cxn>
                <a:cxn ang="0">
                  <a:pos x="T2" y="T3"/>
                </a:cxn>
                <a:cxn ang="0">
                  <a:pos x="T4" y="T5"/>
                </a:cxn>
                <a:cxn ang="0">
                  <a:pos x="T6" y="T7"/>
                </a:cxn>
              </a:cxnLst>
              <a:rect l="0" t="0" r="r" b="b"/>
              <a:pathLst>
                <a:path w="4" h="3">
                  <a:moveTo>
                    <a:pt x="3" y="0"/>
                  </a:moveTo>
                  <a:cubicBezTo>
                    <a:pt x="2" y="0"/>
                    <a:pt x="2" y="0"/>
                    <a:pt x="1" y="1"/>
                  </a:cubicBezTo>
                  <a:cubicBezTo>
                    <a:pt x="0" y="2"/>
                    <a:pt x="2" y="2"/>
                    <a:pt x="3" y="3"/>
                  </a:cubicBezTo>
                  <a:cubicBezTo>
                    <a:pt x="4" y="2"/>
                    <a:pt x="4" y="1"/>
                    <a:pt x="3"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52" name="Freeform 2607">
              <a:extLst>
                <a:ext uri="{FF2B5EF4-FFF2-40B4-BE49-F238E27FC236}">
                  <a16:creationId xmlns:a16="http://schemas.microsoft.com/office/drawing/2014/main" id="{C531C1C0-AF63-4081-B1E9-95273FFABB14}"/>
                </a:ext>
              </a:extLst>
            </p:cNvPr>
            <p:cNvSpPr>
              <a:spLocks/>
            </p:cNvSpPr>
            <p:nvPr/>
          </p:nvSpPr>
          <p:spPr bwMode="auto">
            <a:xfrm>
              <a:off x="7370" y="2987"/>
              <a:ext cx="0" cy="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53" name="Freeform 2608">
              <a:extLst>
                <a:ext uri="{FF2B5EF4-FFF2-40B4-BE49-F238E27FC236}">
                  <a16:creationId xmlns:a16="http://schemas.microsoft.com/office/drawing/2014/main" id="{3E5E6717-2700-41C0-8268-F08831EFF574}"/>
                </a:ext>
              </a:extLst>
            </p:cNvPr>
            <p:cNvSpPr>
              <a:spLocks/>
            </p:cNvSpPr>
            <p:nvPr/>
          </p:nvSpPr>
          <p:spPr bwMode="auto">
            <a:xfrm>
              <a:off x="7311" y="2947"/>
              <a:ext cx="4" cy="2"/>
            </a:xfrm>
            <a:custGeom>
              <a:avLst/>
              <a:gdLst>
                <a:gd name="T0" fmla="*/ 0 w 2"/>
                <a:gd name="T1" fmla="*/ 0 h 1"/>
                <a:gd name="T2" fmla="*/ 0 w 2"/>
                <a:gd name="T3" fmla="*/ 1 h 1"/>
                <a:gd name="T4" fmla="*/ 0 w 2"/>
                <a:gd name="T5" fmla="*/ 0 h 1"/>
              </a:gdLst>
              <a:ahLst/>
              <a:cxnLst>
                <a:cxn ang="0">
                  <a:pos x="T0" y="T1"/>
                </a:cxn>
                <a:cxn ang="0">
                  <a:pos x="T2" y="T3"/>
                </a:cxn>
                <a:cxn ang="0">
                  <a:pos x="T4" y="T5"/>
                </a:cxn>
              </a:cxnLst>
              <a:rect l="0" t="0" r="r" b="b"/>
              <a:pathLst>
                <a:path w="2" h="1">
                  <a:moveTo>
                    <a:pt x="0" y="0"/>
                  </a:moveTo>
                  <a:cubicBezTo>
                    <a:pt x="0" y="0"/>
                    <a:pt x="0" y="1"/>
                    <a:pt x="0" y="1"/>
                  </a:cubicBezTo>
                  <a:cubicBezTo>
                    <a:pt x="2" y="1"/>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54" name="Freeform 2609">
              <a:extLst>
                <a:ext uri="{FF2B5EF4-FFF2-40B4-BE49-F238E27FC236}">
                  <a16:creationId xmlns:a16="http://schemas.microsoft.com/office/drawing/2014/main" id="{CF406B38-24C7-4F9A-8470-548D81A2064C}"/>
                </a:ext>
              </a:extLst>
            </p:cNvPr>
            <p:cNvSpPr>
              <a:spLocks/>
            </p:cNvSpPr>
            <p:nvPr/>
          </p:nvSpPr>
          <p:spPr bwMode="auto">
            <a:xfrm>
              <a:off x="7419" y="2996"/>
              <a:ext cx="5" cy="5"/>
            </a:xfrm>
            <a:custGeom>
              <a:avLst/>
              <a:gdLst>
                <a:gd name="T0" fmla="*/ 0 w 2"/>
                <a:gd name="T1" fmla="*/ 2 h 2"/>
                <a:gd name="T2" fmla="*/ 0 w 2"/>
                <a:gd name="T3" fmla="*/ 2 h 2"/>
              </a:gdLst>
              <a:ahLst/>
              <a:cxnLst>
                <a:cxn ang="0">
                  <a:pos x="T0" y="T1"/>
                </a:cxn>
                <a:cxn ang="0">
                  <a:pos x="T2" y="T3"/>
                </a:cxn>
              </a:cxnLst>
              <a:rect l="0" t="0" r="r" b="b"/>
              <a:pathLst>
                <a:path w="2" h="2">
                  <a:moveTo>
                    <a:pt x="0" y="2"/>
                  </a:moveTo>
                  <a:cubicBezTo>
                    <a:pt x="2" y="2"/>
                    <a:pt x="1" y="0"/>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55" name="Freeform 2610">
              <a:extLst>
                <a:ext uri="{FF2B5EF4-FFF2-40B4-BE49-F238E27FC236}">
                  <a16:creationId xmlns:a16="http://schemas.microsoft.com/office/drawing/2014/main" id="{A48534A3-4E89-48DC-9151-8D2D431AA04E}"/>
                </a:ext>
              </a:extLst>
            </p:cNvPr>
            <p:cNvSpPr>
              <a:spLocks/>
            </p:cNvSpPr>
            <p:nvPr/>
          </p:nvSpPr>
          <p:spPr bwMode="auto">
            <a:xfrm>
              <a:off x="7341" y="2975"/>
              <a:ext cx="3" cy="5"/>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56" name="Freeform 2611">
              <a:extLst>
                <a:ext uri="{FF2B5EF4-FFF2-40B4-BE49-F238E27FC236}">
                  <a16:creationId xmlns:a16="http://schemas.microsoft.com/office/drawing/2014/main" id="{3CBF2441-903C-4E4D-A415-E75D7CFA6F4B}"/>
                </a:ext>
              </a:extLst>
            </p:cNvPr>
            <p:cNvSpPr>
              <a:spLocks/>
            </p:cNvSpPr>
            <p:nvPr/>
          </p:nvSpPr>
          <p:spPr bwMode="auto">
            <a:xfrm>
              <a:off x="7415" y="2994"/>
              <a:ext cx="4" cy="5"/>
            </a:xfrm>
            <a:custGeom>
              <a:avLst/>
              <a:gdLst>
                <a:gd name="T0" fmla="*/ 0 w 2"/>
                <a:gd name="T1" fmla="*/ 1 h 2"/>
                <a:gd name="T2" fmla="*/ 2 w 2"/>
                <a:gd name="T3" fmla="*/ 2 h 2"/>
                <a:gd name="T4" fmla="*/ 0 w 2"/>
                <a:gd name="T5" fmla="*/ 1 h 2"/>
              </a:gdLst>
              <a:ahLst/>
              <a:cxnLst>
                <a:cxn ang="0">
                  <a:pos x="T0" y="T1"/>
                </a:cxn>
                <a:cxn ang="0">
                  <a:pos x="T2" y="T3"/>
                </a:cxn>
                <a:cxn ang="0">
                  <a:pos x="T4" y="T5"/>
                </a:cxn>
              </a:cxnLst>
              <a:rect l="0" t="0" r="r" b="b"/>
              <a:pathLst>
                <a:path w="2" h="2">
                  <a:moveTo>
                    <a:pt x="0" y="1"/>
                  </a:moveTo>
                  <a:cubicBezTo>
                    <a:pt x="1" y="1"/>
                    <a:pt x="1" y="2"/>
                    <a:pt x="2" y="2"/>
                  </a:cubicBezTo>
                  <a:cubicBezTo>
                    <a:pt x="2" y="0"/>
                    <a:pt x="1"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57" name="Freeform 2612">
              <a:extLst>
                <a:ext uri="{FF2B5EF4-FFF2-40B4-BE49-F238E27FC236}">
                  <a16:creationId xmlns:a16="http://schemas.microsoft.com/office/drawing/2014/main" id="{13E3B487-9C2D-4D6F-8082-E0E3A51D1505}"/>
                </a:ext>
              </a:extLst>
            </p:cNvPr>
            <p:cNvSpPr>
              <a:spLocks/>
            </p:cNvSpPr>
            <p:nvPr/>
          </p:nvSpPr>
          <p:spPr bwMode="auto">
            <a:xfrm>
              <a:off x="7363" y="2982"/>
              <a:ext cx="4" cy="7"/>
            </a:xfrm>
            <a:custGeom>
              <a:avLst/>
              <a:gdLst>
                <a:gd name="T0" fmla="*/ 0 w 2"/>
                <a:gd name="T1" fmla="*/ 1 h 3"/>
                <a:gd name="T2" fmla="*/ 1 w 2"/>
                <a:gd name="T3" fmla="*/ 3 h 3"/>
                <a:gd name="T4" fmla="*/ 2 w 2"/>
                <a:gd name="T5" fmla="*/ 2 h 3"/>
                <a:gd name="T6" fmla="*/ 2 w 2"/>
                <a:gd name="T7" fmla="*/ 1 h 3"/>
                <a:gd name="T8" fmla="*/ 0 w 2"/>
                <a:gd name="T9" fmla="*/ 1 h 3"/>
              </a:gdLst>
              <a:ahLst/>
              <a:cxnLst>
                <a:cxn ang="0">
                  <a:pos x="T0" y="T1"/>
                </a:cxn>
                <a:cxn ang="0">
                  <a:pos x="T2" y="T3"/>
                </a:cxn>
                <a:cxn ang="0">
                  <a:pos x="T4" y="T5"/>
                </a:cxn>
                <a:cxn ang="0">
                  <a:pos x="T6" y="T7"/>
                </a:cxn>
                <a:cxn ang="0">
                  <a:pos x="T8" y="T9"/>
                </a:cxn>
              </a:cxnLst>
              <a:rect l="0" t="0" r="r" b="b"/>
              <a:pathLst>
                <a:path w="2" h="3">
                  <a:moveTo>
                    <a:pt x="0" y="1"/>
                  </a:moveTo>
                  <a:cubicBezTo>
                    <a:pt x="0" y="2"/>
                    <a:pt x="0" y="3"/>
                    <a:pt x="1" y="3"/>
                  </a:cubicBezTo>
                  <a:cubicBezTo>
                    <a:pt x="2" y="2"/>
                    <a:pt x="1" y="3"/>
                    <a:pt x="2" y="2"/>
                  </a:cubicBezTo>
                  <a:cubicBezTo>
                    <a:pt x="2" y="2"/>
                    <a:pt x="2" y="1"/>
                    <a:pt x="2" y="1"/>
                  </a:cubicBezTo>
                  <a:cubicBezTo>
                    <a:pt x="2" y="0"/>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58" name="Freeform 2613">
              <a:extLst>
                <a:ext uri="{FF2B5EF4-FFF2-40B4-BE49-F238E27FC236}">
                  <a16:creationId xmlns:a16="http://schemas.microsoft.com/office/drawing/2014/main" id="{3FA3E574-C9EB-49C1-A1F0-E0ECE79B4477}"/>
                </a:ext>
              </a:extLst>
            </p:cNvPr>
            <p:cNvSpPr>
              <a:spLocks/>
            </p:cNvSpPr>
            <p:nvPr/>
          </p:nvSpPr>
          <p:spPr bwMode="auto">
            <a:xfrm>
              <a:off x="7330" y="2961"/>
              <a:ext cx="7" cy="9"/>
            </a:xfrm>
            <a:custGeom>
              <a:avLst/>
              <a:gdLst>
                <a:gd name="T0" fmla="*/ 0 w 3"/>
                <a:gd name="T1" fmla="*/ 0 h 4"/>
                <a:gd name="T2" fmla="*/ 1 w 3"/>
                <a:gd name="T3" fmla="*/ 4 h 4"/>
                <a:gd name="T4" fmla="*/ 2 w 3"/>
                <a:gd name="T5" fmla="*/ 1 h 4"/>
                <a:gd name="T6" fmla="*/ 0 w 3"/>
                <a:gd name="T7" fmla="*/ 0 h 4"/>
              </a:gdLst>
              <a:ahLst/>
              <a:cxnLst>
                <a:cxn ang="0">
                  <a:pos x="T0" y="T1"/>
                </a:cxn>
                <a:cxn ang="0">
                  <a:pos x="T2" y="T3"/>
                </a:cxn>
                <a:cxn ang="0">
                  <a:pos x="T4" y="T5"/>
                </a:cxn>
                <a:cxn ang="0">
                  <a:pos x="T6" y="T7"/>
                </a:cxn>
              </a:cxnLst>
              <a:rect l="0" t="0" r="r" b="b"/>
              <a:pathLst>
                <a:path w="3" h="4">
                  <a:moveTo>
                    <a:pt x="0" y="0"/>
                  </a:moveTo>
                  <a:cubicBezTo>
                    <a:pt x="0" y="1"/>
                    <a:pt x="1" y="3"/>
                    <a:pt x="1" y="4"/>
                  </a:cubicBezTo>
                  <a:cubicBezTo>
                    <a:pt x="1" y="2"/>
                    <a:pt x="3" y="2"/>
                    <a:pt x="2" y="1"/>
                  </a:cubicBezTo>
                  <a:cubicBezTo>
                    <a:pt x="2" y="1"/>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59" name="Freeform 2614">
              <a:extLst>
                <a:ext uri="{FF2B5EF4-FFF2-40B4-BE49-F238E27FC236}">
                  <a16:creationId xmlns:a16="http://schemas.microsoft.com/office/drawing/2014/main" id="{ADA04D95-0F44-4BB3-BB71-C77205415F91}"/>
                </a:ext>
              </a:extLst>
            </p:cNvPr>
            <p:cNvSpPr>
              <a:spLocks/>
            </p:cNvSpPr>
            <p:nvPr/>
          </p:nvSpPr>
          <p:spPr bwMode="auto">
            <a:xfrm>
              <a:off x="7412" y="3055"/>
              <a:ext cx="17" cy="10"/>
            </a:xfrm>
            <a:custGeom>
              <a:avLst/>
              <a:gdLst>
                <a:gd name="T0" fmla="*/ 3 w 7"/>
                <a:gd name="T1" fmla="*/ 1 h 4"/>
                <a:gd name="T2" fmla="*/ 0 w 7"/>
                <a:gd name="T3" fmla="*/ 0 h 4"/>
                <a:gd name="T4" fmla="*/ 5 w 7"/>
                <a:gd name="T5" fmla="*/ 4 h 4"/>
                <a:gd name="T6" fmla="*/ 3 w 7"/>
                <a:gd name="T7" fmla="*/ 1 h 4"/>
              </a:gdLst>
              <a:ahLst/>
              <a:cxnLst>
                <a:cxn ang="0">
                  <a:pos x="T0" y="T1"/>
                </a:cxn>
                <a:cxn ang="0">
                  <a:pos x="T2" y="T3"/>
                </a:cxn>
                <a:cxn ang="0">
                  <a:pos x="T4" y="T5"/>
                </a:cxn>
                <a:cxn ang="0">
                  <a:pos x="T6" y="T7"/>
                </a:cxn>
              </a:cxnLst>
              <a:rect l="0" t="0" r="r" b="b"/>
              <a:pathLst>
                <a:path w="7" h="4">
                  <a:moveTo>
                    <a:pt x="3" y="1"/>
                  </a:moveTo>
                  <a:cubicBezTo>
                    <a:pt x="2" y="1"/>
                    <a:pt x="1" y="0"/>
                    <a:pt x="0" y="0"/>
                  </a:cubicBezTo>
                  <a:cubicBezTo>
                    <a:pt x="2" y="2"/>
                    <a:pt x="3" y="3"/>
                    <a:pt x="5" y="4"/>
                  </a:cubicBezTo>
                  <a:cubicBezTo>
                    <a:pt x="7" y="3"/>
                    <a:pt x="3" y="2"/>
                    <a:pt x="3"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60" name="Freeform 2615">
              <a:extLst>
                <a:ext uri="{FF2B5EF4-FFF2-40B4-BE49-F238E27FC236}">
                  <a16:creationId xmlns:a16="http://schemas.microsoft.com/office/drawing/2014/main" id="{38673AB1-F242-45DB-B4C0-405AFE9DD7DE}"/>
                </a:ext>
              </a:extLst>
            </p:cNvPr>
            <p:cNvSpPr>
              <a:spLocks/>
            </p:cNvSpPr>
            <p:nvPr/>
          </p:nvSpPr>
          <p:spPr bwMode="auto">
            <a:xfrm>
              <a:off x="5921" y="2530"/>
              <a:ext cx="0" cy="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0"/>
                    <a:pt x="0" y="0"/>
                  </a:cubicBezTo>
                  <a:cubicBezTo>
                    <a:pt x="0" y="0"/>
                    <a:pt x="0"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61" name="Freeform 2616">
              <a:extLst>
                <a:ext uri="{FF2B5EF4-FFF2-40B4-BE49-F238E27FC236}">
                  <a16:creationId xmlns:a16="http://schemas.microsoft.com/office/drawing/2014/main" id="{86EBF447-1201-4445-A3E9-6D14004ED60C}"/>
                </a:ext>
              </a:extLst>
            </p:cNvPr>
            <p:cNvSpPr>
              <a:spLocks/>
            </p:cNvSpPr>
            <p:nvPr/>
          </p:nvSpPr>
          <p:spPr bwMode="auto">
            <a:xfrm>
              <a:off x="5921" y="2535"/>
              <a:ext cx="2" cy="2"/>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0"/>
                    <a:pt x="0" y="1"/>
                  </a:cubicBezTo>
                  <a:cubicBezTo>
                    <a:pt x="0" y="0"/>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62" name="Freeform 2617">
              <a:extLst>
                <a:ext uri="{FF2B5EF4-FFF2-40B4-BE49-F238E27FC236}">
                  <a16:creationId xmlns:a16="http://schemas.microsoft.com/office/drawing/2014/main" id="{6E1F63E2-5BF1-4B5E-A9E6-8C5F18B5046C}"/>
                </a:ext>
              </a:extLst>
            </p:cNvPr>
            <p:cNvSpPr>
              <a:spLocks/>
            </p:cNvSpPr>
            <p:nvPr/>
          </p:nvSpPr>
          <p:spPr bwMode="auto">
            <a:xfrm>
              <a:off x="5902" y="2374"/>
              <a:ext cx="2" cy="7"/>
            </a:xfrm>
            <a:custGeom>
              <a:avLst/>
              <a:gdLst>
                <a:gd name="T0" fmla="*/ 1 w 1"/>
                <a:gd name="T1" fmla="*/ 3 h 3"/>
                <a:gd name="T2" fmla="*/ 1 w 1"/>
                <a:gd name="T3" fmla="*/ 0 h 3"/>
                <a:gd name="T4" fmla="*/ 1 w 1"/>
                <a:gd name="T5" fmla="*/ 3 h 3"/>
              </a:gdLst>
              <a:ahLst/>
              <a:cxnLst>
                <a:cxn ang="0">
                  <a:pos x="T0" y="T1"/>
                </a:cxn>
                <a:cxn ang="0">
                  <a:pos x="T2" y="T3"/>
                </a:cxn>
                <a:cxn ang="0">
                  <a:pos x="T4" y="T5"/>
                </a:cxn>
              </a:cxnLst>
              <a:rect l="0" t="0" r="r" b="b"/>
              <a:pathLst>
                <a:path w="1" h="3">
                  <a:moveTo>
                    <a:pt x="1" y="3"/>
                  </a:moveTo>
                  <a:cubicBezTo>
                    <a:pt x="1" y="2"/>
                    <a:pt x="1" y="1"/>
                    <a:pt x="1" y="0"/>
                  </a:cubicBezTo>
                  <a:cubicBezTo>
                    <a:pt x="0" y="1"/>
                    <a:pt x="0" y="3"/>
                    <a:pt x="1"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63" name="Freeform 2618">
              <a:extLst>
                <a:ext uri="{FF2B5EF4-FFF2-40B4-BE49-F238E27FC236}">
                  <a16:creationId xmlns:a16="http://schemas.microsoft.com/office/drawing/2014/main" id="{C7A45596-4FE4-4108-B25B-D01220986FB8}"/>
                </a:ext>
              </a:extLst>
            </p:cNvPr>
            <p:cNvSpPr>
              <a:spLocks/>
            </p:cNvSpPr>
            <p:nvPr/>
          </p:nvSpPr>
          <p:spPr bwMode="auto">
            <a:xfrm>
              <a:off x="5916" y="2490"/>
              <a:ext cx="2" cy="5"/>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1"/>
                    <a:pt x="0" y="2"/>
                  </a:cubicBezTo>
                  <a:cubicBezTo>
                    <a:pt x="0" y="1"/>
                    <a:pt x="1"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64" name="Freeform 2619">
              <a:extLst>
                <a:ext uri="{FF2B5EF4-FFF2-40B4-BE49-F238E27FC236}">
                  <a16:creationId xmlns:a16="http://schemas.microsoft.com/office/drawing/2014/main" id="{9A43E8F2-72F0-4BB9-B3BC-E4BEEAC51EB7}"/>
                </a:ext>
              </a:extLst>
            </p:cNvPr>
            <p:cNvSpPr>
              <a:spLocks/>
            </p:cNvSpPr>
            <p:nvPr/>
          </p:nvSpPr>
          <p:spPr bwMode="auto">
            <a:xfrm>
              <a:off x="5923" y="2457"/>
              <a:ext cx="0" cy="5"/>
            </a:xfrm>
            <a:custGeom>
              <a:avLst/>
              <a:gdLst>
                <a:gd name="T0" fmla="*/ 2 h 2"/>
                <a:gd name="T1" fmla="*/ 2 h 2"/>
                <a:gd name="T2" fmla="*/ 1 h 2"/>
                <a:gd name="T3" fmla="*/ 0 h 2"/>
                <a:gd name="T4" fmla="*/ 2 h 2"/>
              </a:gdLst>
              <a:ahLst/>
              <a:cxnLst>
                <a:cxn ang="0">
                  <a:pos x="0" y="T0"/>
                </a:cxn>
                <a:cxn ang="0">
                  <a:pos x="0" y="T1"/>
                </a:cxn>
                <a:cxn ang="0">
                  <a:pos x="0" y="T2"/>
                </a:cxn>
                <a:cxn ang="0">
                  <a:pos x="0" y="T3"/>
                </a:cxn>
                <a:cxn ang="0">
                  <a:pos x="0" y="T4"/>
                </a:cxn>
              </a:cxnLst>
              <a:rect l="0" t="0" r="r" b="b"/>
              <a:pathLst>
                <a:path h="2">
                  <a:moveTo>
                    <a:pt x="0" y="2"/>
                  </a:moveTo>
                  <a:cubicBezTo>
                    <a:pt x="0" y="2"/>
                    <a:pt x="0" y="2"/>
                    <a:pt x="0" y="2"/>
                  </a:cubicBezTo>
                  <a:cubicBezTo>
                    <a:pt x="0" y="2"/>
                    <a:pt x="0" y="2"/>
                    <a:pt x="0" y="1"/>
                  </a:cubicBezTo>
                  <a:cubicBezTo>
                    <a:pt x="0" y="1"/>
                    <a:pt x="0" y="0"/>
                    <a:pt x="0" y="0"/>
                  </a:cubicBezTo>
                  <a:cubicBezTo>
                    <a:pt x="0" y="0"/>
                    <a:pt x="0"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65" name="Freeform 2620">
              <a:extLst>
                <a:ext uri="{FF2B5EF4-FFF2-40B4-BE49-F238E27FC236}">
                  <a16:creationId xmlns:a16="http://schemas.microsoft.com/office/drawing/2014/main" id="{0D1E4C4E-BDA0-4065-B95C-17C3024A9020}"/>
                </a:ext>
              </a:extLst>
            </p:cNvPr>
            <p:cNvSpPr>
              <a:spLocks/>
            </p:cNvSpPr>
            <p:nvPr/>
          </p:nvSpPr>
          <p:spPr bwMode="auto">
            <a:xfrm>
              <a:off x="5923" y="2469"/>
              <a:ext cx="5" cy="7"/>
            </a:xfrm>
            <a:custGeom>
              <a:avLst/>
              <a:gdLst>
                <a:gd name="T0" fmla="*/ 0 w 2"/>
                <a:gd name="T1" fmla="*/ 0 h 3"/>
                <a:gd name="T2" fmla="*/ 0 w 2"/>
                <a:gd name="T3" fmla="*/ 0 h 3"/>
                <a:gd name="T4" fmla="*/ 0 w 2"/>
                <a:gd name="T5" fmla="*/ 0 h 3"/>
                <a:gd name="T6" fmla="*/ 0 w 2"/>
                <a:gd name="T7" fmla="*/ 3 h 3"/>
                <a:gd name="T8" fmla="*/ 0 w 2"/>
                <a:gd name="T9" fmla="*/ 0 h 3"/>
              </a:gdLst>
              <a:ahLst/>
              <a:cxnLst>
                <a:cxn ang="0">
                  <a:pos x="T0" y="T1"/>
                </a:cxn>
                <a:cxn ang="0">
                  <a:pos x="T2" y="T3"/>
                </a:cxn>
                <a:cxn ang="0">
                  <a:pos x="T4" y="T5"/>
                </a:cxn>
                <a:cxn ang="0">
                  <a:pos x="T6" y="T7"/>
                </a:cxn>
                <a:cxn ang="0">
                  <a:pos x="T8" y="T9"/>
                </a:cxn>
              </a:cxnLst>
              <a:rect l="0" t="0" r="r" b="b"/>
              <a:pathLst>
                <a:path w="2" h="3">
                  <a:moveTo>
                    <a:pt x="0" y="0"/>
                  </a:moveTo>
                  <a:cubicBezTo>
                    <a:pt x="0" y="0"/>
                    <a:pt x="0" y="0"/>
                    <a:pt x="0" y="0"/>
                  </a:cubicBezTo>
                  <a:cubicBezTo>
                    <a:pt x="0" y="0"/>
                    <a:pt x="0" y="0"/>
                    <a:pt x="0" y="0"/>
                  </a:cubicBezTo>
                  <a:cubicBezTo>
                    <a:pt x="0" y="1"/>
                    <a:pt x="0" y="2"/>
                    <a:pt x="0" y="3"/>
                  </a:cubicBezTo>
                  <a:cubicBezTo>
                    <a:pt x="2" y="3"/>
                    <a:pt x="2"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66" name="Freeform 2621">
              <a:extLst>
                <a:ext uri="{FF2B5EF4-FFF2-40B4-BE49-F238E27FC236}">
                  <a16:creationId xmlns:a16="http://schemas.microsoft.com/office/drawing/2014/main" id="{33278BDF-0468-401C-A09C-BDEDAE22041D}"/>
                </a:ext>
              </a:extLst>
            </p:cNvPr>
            <p:cNvSpPr>
              <a:spLocks/>
            </p:cNvSpPr>
            <p:nvPr/>
          </p:nvSpPr>
          <p:spPr bwMode="auto">
            <a:xfrm>
              <a:off x="5921" y="2490"/>
              <a:ext cx="2" cy="9"/>
            </a:xfrm>
            <a:custGeom>
              <a:avLst/>
              <a:gdLst>
                <a:gd name="T0" fmla="*/ 1 w 1"/>
                <a:gd name="T1" fmla="*/ 2 h 4"/>
                <a:gd name="T2" fmla="*/ 1 w 1"/>
                <a:gd name="T3" fmla="*/ 0 h 4"/>
                <a:gd name="T4" fmla="*/ 0 w 1"/>
                <a:gd name="T5" fmla="*/ 4 h 4"/>
                <a:gd name="T6" fmla="*/ 1 w 1"/>
                <a:gd name="T7" fmla="*/ 2 h 4"/>
              </a:gdLst>
              <a:ahLst/>
              <a:cxnLst>
                <a:cxn ang="0">
                  <a:pos x="T0" y="T1"/>
                </a:cxn>
                <a:cxn ang="0">
                  <a:pos x="T2" y="T3"/>
                </a:cxn>
                <a:cxn ang="0">
                  <a:pos x="T4" y="T5"/>
                </a:cxn>
                <a:cxn ang="0">
                  <a:pos x="T6" y="T7"/>
                </a:cxn>
              </a:cxnLst>
              <a:rect l="0" t="0" r="r" b="b"/>
              <a:pathLst>
                <a:path w="1" h="4">
                  <a:moveTo>
                    <a:pt x="1" y="2"/>
                  </a:moveTo>
                  <a:cubicBezTo>
                    <a:pt x="1" y="1"/>
                    <a:pt x="1" y="1"/>
                    <a:pt x="1" y="0"/>
                  </a:cubicBezTo>
                  <a:cubicBezTo>
                    <a:pt x="0" y="1"/>
                    <a:pt x="0" y="3"/>
                    <a:pt x="0" y="4"/>
                  </a:cubicBezTo>
                  <a:cubicBezTo>
                    <a:pt x="1" y="4"/>
                    <a:pt x="1" y="3"/>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67" name="Freeform 2622">
              <a:extLst>
                <a:ext uri="{FF2B5EF4-FFF2-40B4-BE49-F238E27FC236}">
                  <a16:creationId xmlns:a16="http://schemas.microsoft.com/office/drawing/2014/main" id="{F0E99196-26FF-4562-8CA1-11E8D89A3996}"/>
                </a:ext>
              </a:extLst>
            </p:cNvPr>
            <p:cNvSpPr>
              <a:spLocks/>
            </p:cNvSpPr>
            <p:nvPr/>
          </p:nvSpPr>
          <p:spPr bwMode="auto">
            <a:xfrm>
              <a:off x="5923" y="2490"/>
              <a:ext cx="7" cy="7"/>
            </a:xfrm>
            <a:custGeom>
              <a:avLst/>
              <a:gdLst>
                <a:gd name="T0" fmla="*/ 1 w 3"/>
                <a:gd name="T1" fmla="*/ 2 h 3"/>
                <a:gd name="T2" fmla="*/ 1 w 3"/>
                <a:gd name="T3" fmla="*/ 2 h 3"/>
                <a:gd name="T4" fmla="*/ 2 w 3"/>
                <a:gd name="T5" fmla="*/ 3 h 3"/>
                <a:gd name="T6" fmla="*/ 3 w 3"/>
                <a:gd name="T7" fmla="*/ 1 h 3"/>
                <a:gd name="T8" fmla="*/ 3 w 3"/>
                <a:gd name="T9" fmla="*/ 1 h 3"/>
                <a:gd name="T10" fmla="*/ 1 w 3"/>
                <a:gd name="T11" fmla="*/ 0 h 3"/>
                <a:gd name="T12" fmla="*/ 1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1" y="2"/>
                  </a:moveTo>
                  <a:cubicBezTo>
                    <a:pt x="1" y="2"/>
                    <a:pt x="1" y="2"/>
                    <a:pt x="1" y="2"/>
                  </a:cubicBezTo>
                  <a:cubicBezTo>
                    <a:pt x="2" y="2"/>
                    <a:pt x="2" y="3"/>
                    <a:pt x="2" y="3"/>
                  </a:cubicBezTo>
                  <a:cubicBezTo>
                    <a:pt x="2" y="3"/>
                    <a:pt x="3" y="1"/>
                    <a:pt x="3" y="1"/>
                  </a:cubicBezTo>
                  <a:cubicBezTo>
                    <a:pt x="3" y="1"/>
                    <a:pt x="3" y="1"/>
                    <a:pt x="3" y="1"/>
                  </a:cubicBezTo>
                  <a:cubicBezTo>
                    <a:pt x="2" y="0"/>
                    <a:pt x="2" y="0"/>
                    <a:pt x="1" y="0"/>
                  </a:cubicBezTo>
                  <a:cubicBezTo>
                    <a:pt x="0" y="0"/>
                    <a:pt x="1" y="2"/>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68" name="Freeform 2623">
              <a:extLst>
                <a:ext uri="{FF2B5EF4-FFF2-40B4-BE49-F238E27FC236}">
                  <a16:creationId xmlns:a16="http://schemas.microsoft.com/office/drawing/2014/main" id="{E89E5FB8-A32D-420C-92DE-57338B4612B6}"/>
                </a:ext>
              </a:extLst>
            </p:cNvPr>
            <p:cNvSpPr>
              <a:spLocks/>
            </p:cNvSpPr>
            <p:nvPr/>
          </p:nvSpPr>
          <p:spPr bwMode="auto">
            <a:xfrm>
              <a:off x="5916" y="2476"/>
              <a:ext cx="2" cy="2"/>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0" y="1"/>
                  </a:cubicBezTo>
                  <a:cubicBezTo>
                    <a:pt x="0" y="0"/>
                    <a:pt x="1" y="1"/>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69" name="Freeform 2624">
              <a:extLst>
                <a:ext uri="{FF2B5EF4-FFF2-40B4-BE49-F238E27FC236}">
                  <a16:creationId xmlns:a16="http://schemas.microsoft.com/office/drawing/2014/main" id="{EBBDC030-328E-46AC-B3B5-AB83F95EA09B}"/>
                </a:ext>
              </a:extLst>
            </p:cNvPr>
            <p:cNvSpPr>
              <a:spLocks/>
            </p:cNvSpPr>
            <p:nvPr/>
          </p:nvSpPr>
          <p:spPr bwMode="auto">
            <a:xfrm>
              <a:off x="5734" y="2216"/>
              <a:ext cx="12" cy="21"/>
            </a:xfrm>
            <a:custGeom>
              <a:avLst/>
              <a:gdLst>
                <a:gd name="T0" fmla="*/ 2 w 5"/>
                <a:gd name="T1" fmla="*/ 3 h 9"/>
                <a:gd name="T2" fmla="*/ 2 w 5"/>
                <a:gd name="T3" fmla="*/ 6 h 9"/>
                <a:gd name="T4" fmla="*/ 2 w 5"/>
                <a:gd name="T5" fmla="*/ 9 h 9"/>
                <a:gd name="T6" fmla="*/ 2 w 5"/>
                <a:gd name="T7" fmla="*/ 9 h 9"/>
                <a:gd name="T8" fmla="*/ 3 w 5"/>
                <a:gd name="T9" fmla="*/ 8 h 9"/>
                <a:gd name="T10" fmla="*/ 2 w 5"/>
                <a:gd name="T11" fmla="*/ 1 h 9"/>
                <a:gd name="T12" fmla="*/ 2 w 5"/>
                <a:gd name="T13" fmla="*/ 3 h 9"/>
              </a:gdLst>
              <a:ahLst/>
              <a:cxnLst>
                <a:cxn ang="0">
                  <a:pos x="T0" y="T1"/>
                </a:cxn>
                <a:cxn ang="0">
                  <a:pos x="T2" y="T3"/>
                </a:cxn>
                <a:cxn ang="0">
                  <a:pos x="T4" y="T5"/>
                </a:cxn>
                <a:cxn ang="0">
                  <a:pos x="T6" y="T7"/>
                </a:cxn>
                <a:cxn ang="0">
                  <a:pos x="T8" y="T9"/>
                </a:cxn>
                <a:cxn ang="0">
                  <a:pos x="T10" y="T11"/>
                </a:cxn>
                <a:cxn ang="0">
                  <a:pos x="T12" y="T13"/>
                </a:cxn>
              </a:cxnLst>
              <a:rect l="0" t="0" r="r" b="b"/>
              <a:pathLst>
                <a:path w="5" h="9">
                  <a:moveTo>
                    <a:pt x="2" y="3"/>
                  </a:moveTo>
                  <a:cubicBezTo>
                    <a:pt x="2" y="4"/>
                    <a:pt x="2" y="5"/>
                    <a:pt x="2" y="6"/>
                  </a:cubicBezTo>
                  <a:cubicBezTo>
                    <a:pt x="2" y="7"/>
                    <a:pt x="2" y="8"/>
                    <a:pt x="2" y="9"/>
                  </a:cubicBezTo>
                  <a:cubicBezTo>
                    <a:pt x="2" y="9"/>
                    <a:pt x="2" y="9"/>
                    <a:pt x="2" y="9"/>
                  </a:cubicBezTo>
                  <a:cubicBezTo>
                    <a:pt x="2" y="9"/>
                    <a:pt x="3" y="8"/>
                    <a:pt x="3" y="8"/>
                  </a:cubicBezTo>
                  <a:cubicBezTo>
                    <a:pt x="5" y="6"/>
                    <a:pt x="4" y="4"/>
                    <a:pt x="2" y="1"/>
                  </a:cubicBezTo>
                  <a:cubicBezTo>
                    <a:pt x="2" y="0"/>
                    <a:pt x="0" y="2"/>
                    <a:pt x="2"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70" name="Freeform 2625">
              <a:extLst>
                <a:ext uri="{FF2B5EF4-FFF2-40B4-BE49-F238E27FC236}">
                  <a16:creationId xmlns:a16="http://schemas.microsoft.com/office/drawing/2014/main" id="{9E3EB9E7-77DC-4F6E-9DA5-B716702D0DC1}"/>
                </a:ext>
              </a:extLst>
            </p:cNvPr>
            <p:cNvSpPr>
              <a:spLocks/>
            </p:cNvSpPr>
            <p:nvPr/>
          </p:nvSpPr>
          <p:spPr bwMode="auto">
            <a:xfrm>
              <a:off x="5767" y="2239"/>
              <a:ext cx="0" cy="5"/>
            </a:xfrm>
            <a:custGeom>
              <a:avLst/>
              <a:gdLst>
                <a:gd name="T0" fmla="*/ 0 h 2"/>
                <a:gd name="T1" fmla="*/ 2 h 2"/>
                <a:gd name="T2" fmla="*/ 0 h 2"/>
              </a:gdLst>
              <a:ahLst/>
              <a:cxnLst>
                <a:cxn ang="0">
                  <a:pos x="0" y="T0"/>
                </a:cxn>
                <a:cxn ang="0">
                  <a:pos x="0" y="T1"/>
                </a:cxn>
                <a:cxn ang="0">
                  <a:pos x="0" y="T2"/>
                </a:cxn>
              </a:cxnLst>
              <a:rect l="0" t="0" r="r" b="b"/>
              <a:pathLst>
                <a:path h="2">
                  <a:moveTo>
                    <a:pt x="0" y="0"/>
                  </a:moveTo>
                  <a:cubicBezTo>
                    <a:pt x="0" y="1"/>
                    <a:pt x="0" y="1"/>
                    <a:pt x="0" y="2"/>
                  </a:cubicBezTo>
                  <a:cubicBezTo>
                    <a:pt x="0" y="1"/>
                    <a:pt x="0"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71" name="Freeform 2626">
              <a:extLst>
                <a:ext uri="{FF2B5EF4-FFF2-40B4-BE49-F238E27FC236}">
                  <a16:creationId xmlns:a16="http://schemas.microsoft.com/office/drawing/2014/main" id="{6A7F9256-B339-49B1-9934-BD403E6DF2DC}"/>
                </a:ext>
              </a:extLst>
            </p:cNvPr>
            <p:cNvSpPr>
              <a:spLocks/>
            </p:cNvSpPr>
            <p:nvPr/>
          </p:nvSpPr>
          <p:spPr bwMode="auto">
            <a:xfrm>
              <a:off x="5767" y="2244"/>
              <a:ext cx="5" cy="7"/>
            </a:xfrm>
            <a:custGeom>
              <a:avLst/>
              <a:gdLst>
                <a:gd name="T0" fmla="*/ 1 w 2"/>
                <a:gd name="T1" fmla="*/ 0 h 3"/>
                <a:gd name="T2" fmla="*/ 0 w 2"/>
                <a:gd name="T3" fmla="*/ 3 h 3"/>
                <a:gd name="T4" fmla="*/ 1 w 2"/>
                <a:gd name="T5" fmla="*/ 0 h 3"/>
              </a:gdLst>
              <a:ahLst/>
              <a:cxnLst>
                <a:cxn ang="0">
                  <a:pos x="T0" y="T1"/>
                </a:cxn>
                <a:cxn ang="0">
                  <a:pos x="T2" y="T3"/>
                </a:cxn>
                <a:cxn ang="0">
                  <a:pos x="T4" y="T5"/>
                </a:cxn>
              </a:cxnLst>
              <a:rect l="0" t="0" r="r" b="b"/>
              <a:pathLst>
                <a:path w="2" h="3">
                  <a:moveTo>
                    <a:pt x="1" y="0"/>
                  </a:moveTo>
                  <a:cubicBezTo>
                    <a:pt x="1" y="1"/>
                    <a:pt x="1" y="2"/>
                    <a:pt x="0" y="3"/>
                  </a:cubicBezTo>
                  <a:cubicBezTo>
                    <a:pt x="2" y="2"/>
                    <a:pt x="1" y="1"/>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72" name="Freeform 2627">
              <a:extLst>
                <a:ext uri="{FF2B5EF4-FFF2-40B4-BE49-F238E27FC236}">
                  <a16:creationId xmlns:a16="http://schemas.microsoft.com/office/drawing/2014/main" id="{440B8D87-CF32-4DC6-8639-E003E364FB4B}"/>
                </a:ext>
              </a:extLst>
            </p:cNvPr>
            <p:cNvSpPr>
              <a:spLocks/>
            </p:cNvSpPr>
            <p:nvPr/>
          </p:nvSpPr>
          <p:spPr bwMode="auto">
            <a:xfrm>
              <a:off x="5757" y="2220"/>
              <a:ext cx="3" cy="7"/>
            </a:xfrm>
            <a:custGeom>
              <a:avLst/>
              <a:gdLst>
                <a:gd name="T0" fmla="*/ 1 w 1"/>
                <a:gd name="T1" fmla="*/ 3 h 3"/>
                <a:gd name="T2" fmla="*/ 0 w 1"/>
                <a:gd name="T3" fmla="*/ 0 h 3"/>
                <a:gd name="T4" fmla="*/ 1 w 1"/>
                <a:gd name="T5" fmla="*/ 3 h 3"/>
              </a:gdLst>
              <a:ahLst/>
              <a:cxnLst>
                <a:cxn ang="0">
                  <a:pos x="T0" y="T1"/>
                </a:cxn>
                <a:cxn ang="0">
                  <a:pos x="T2" y="T3"/>
                </a:cxn>
                <a:cxn ang="0">
                  <a:pos x="T4" y="T5"/>
                </a:cxn>
              </a:cxnLst>
              <a:rect l="0" t="0" r="r" b="b"/>
              <a:pathLst>
                <a:path w="1" h="3">
                  <a:moveTo>
                    <a:pt x="1" y="3"/>
                  </a:moveTo>
                  <a:cubicBezTo>
                    <a:pt x="1" y="2"/>
                    <a:pt x="1" y="1"/>
                    <a:pt x="0" y="0"/>
                  </a:cubicBezTo>
                  <a:cubicBezTo>
                    <a:pt x="0" y="1"/>
                    <a:pt x="0" y="2"/>
                    <a:pt x="1"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73" name="Freeform 2628">
              <a:extLst>
                <a:ext uri="{FF2B5EF4-FFF2-40B4-BE49-F238E27FC236}">
                  <a16:creationId xmlns:a16="http://schemas.microsoft.com/office/drawing/2014/main" id="{ED993E13-CBCE-4991-ABE1-DB31BE8585F1}"/>
                </a:ext>
              </a:extLst>
            </p:cNvPr>
            <p:cNvSpPr>
              <a:spLocks/>
            </p:cNvSpPr>
            <p:nvPr/>
          </p:nvSpPr>
          <p:spPr bwMode="auto">
            <a:xfrm>
              <a:off x="5748" y="2223"/>
              <a:ext cx="5" cy="11"/>
            </a:xfrm>
            <a:custGeom>
              <a:avLst/>
              <a:gdLst>
                <a:gd name="T0" fmla="*/ 0 w 2"/>
                <a:gd name="T1" fmla="*/ 0 h 5"/>
                <a:gd name="T2" fmla="*/ 0 w 2"/>
                <a:gd name="T3" fmla="*/ 5 h 5"/>
                <a:gd name="T4" fmla="*/ 1 w 2"/>
                <a:gd name="T5" fmla="*/ 2 h 5"/>
                <a:gd name="T6" fmla="*/ 0 w 2"/>
                <a:gd name="T7" fmla="*/ 0 h 5"/>
              </a:gdLst>
              <a:ahLst/>
              <a:cxnLst>
                <a:cxn ang="0">
                  <a:pos x="T0" y="T1"/>
                </a:cxn>
                <a:cxn ang="0">
                  <a:pos x="T2" y="T3"/>
                </a:cxn>
                <a:cxn ang="0">
                  <a:pos x="T4" y="T5"/>
                </a:cxn>
                <a:cxn ang="0">
                  <a:pos x="T6" y="T7"/>
                </a:cxn>
              </a:cxnLst>
              <a:rect l="0" t="0" r="r" b="b"/>
              <a:pathLst>
                <a:path w="2" h="5">
                  <a:moveTo>
                    <a:pt x="0" y="0"/>
                  </a:moveTo>
                  <a:cubicBezTo>
                    <a:pt x="0" y="2"/>
                    <a:pt x="0" y="4"/>
                    <a:pt x="0" y="5"/>
                  </a:cubicBezTo>
                  <a:cubicBezTo>
                    <a:pt x="1" y="4"/>
                    <a:pt x="2" y="4"/>
                    <a:pt x="1" y="2"/>
                  </a:cubicBezTo>
                  <a:cubicBezTo>
                    <a:pt x="1" y="2"/>
                    <a:pt x="0"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74" name="Freeform 2629">
              <a:extLst>
                <a:ext uri="{FF2B5EF4-FFF2-40B4-BE49-F238E27FC236}">
                  <a16:creationId xmlns:a16="http://schemas.microsoft.com/office/drawing/2014/main" id="{94F0AC24-552E-486B-85B4-451AB1E31D7C}"/>
                </a:ext>
              </a:extLst>
            </p:cNvPr>
            <p:cNvSpPr>
              <a:spLocks/>
            </p:cNvSpPr>
            <p:nvPr/>
          </p:nvSpPr>
          <p:spPr bwMode="auto">
            <a:xfrm>
              <a:off x="4767" y="2128"/>
              <a:ext cx="4" cy="12"/>
            </a:xfrm>
            <a:custGeom>
              <a:avLst/>
              <a:gdLst>
                <a:gd name="T0" fmla="*/ 1 w 2"/>
                <a:gd name="T1" fmla="*/ 0 h 5"/>
                <a:gd name="T2" fmla="*/ 1 w 2"/>
                <a:gd name="T3" fmla="*/ 5 h 5"/>
                <a:gd name="T4" fmla="*/ 2 w 2"/>
                <a:gd name="T5" fmla="*/ 2 h 5"/>
                <a:gd name="T6" fmla="*/ 2 w 2"/>
                <a:gd name="T7" fmla="*/ 1 h 5"/>
                <a:gd name="T8" fmla="*/ 1 w 2"/>
                <a:gd name="T9" fmla="*/ 0 h 5"/>
              </a:gdLst>
              <a:ahLst/>
              <a:cxnLst>
                <a:cxn ang="0">
                  <a:pos x="T0" y="T1"/>
                </a:cxn>
                <a:cxn ang="0">
                  <a:pos x="T2" y="T3"/>
                </a:cxn>
                <a:cxn ang="0">
                  <a:pos x="T4" y="T5"/>
                </a:cxn>
                <a:cxn ang="0">
                  <a:pos x="T6" y="T7"/>
                </a:cxn>
                <a:cxn ang="0">
                  <a:pos x="T8" y="T9"/>
                </a:cxn>
              </a:cxnLst>
              <a:rect l="0" t="0" r="r" b="b"/>
              <a:pathLst>
                <a:path w="2" h="5">
                  <a:moveTo>
                    <a:pt x="1" y="0"/>
                  </a:moveTo>
                  <a:cubicBezTo>
                    <a:pt x="0" y="1"/>
                    <a:pt x="1" y="4"/>
                    <a:pt x="1" y="5"/>
                  </a:cubicBezTo>
                  <a:cubicBezTo>
                    <a:pt x="2" y="4"/>
                    <a:pt x="2" y="3"/>
                    <a:pt x="2" y="2"/>
                  </a:cubicBezTo>
                  <a:cubicBezTo>
                    <a:pt x="2" y="1"/>
                    <a:pt x="1" y="1"/>
                    <a:pt x="2" y="1"/>
                  </a:cubicBezTo>
                  <a:cubicBezTo>
                    <a:pt x="2" y="0"/>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75" name="Freeform 2630">
              <a:extLst>
                <a:ext uri="{FF2B5EF4-FFF2-40B4-BE49-F238E27FC236}">
                  <a16:creationId xmlns:a16="http://schemas.microsoft.com/office/drawing/2014/main" id="{5A216E03-1288-4576-A418-86252A3FF8CD}"/>
                </a:ext>
              </a:extLst>
            </p:cNvPr>
            <p:cNvSpPr>
              <a:spLocks/>
            </p:cNvSpPr>
            <p:nvPr/>
          </p:nvSpPr>
          <p:spPr bwMode="auto">
            <a:xfrm>
              <a:off x="7386" y="4243"/>
              <a:ext cx="3" cy="10"/>
            </a:xfrm>
            <a:custGeom>
              <a:avLst/>
              <a:gdLst>
                <a:gd name="T0" fmla="*/ 1 w 1"/>
                <a:gd name="T1" fmla="*/ 0 h 4"/>
                <a:gd name="T2" fmla="*/ 0 w 1"/>
                <a:gd name="T3" fmla="*/ 4 h 4"/>
                <a:gd name="T4" fmla="*/ 1 w 1"/>
                <a:gd name="T5" fmla="*/ 0 h 4"/>
              </a:gdLst>
              <a:ahLst/>
              <a:cxnLst>
                <a:cxn ang="0">
                  <a:pos x="T0" y="T1"/>
                </a:cxn>
                <a:cxn ang="0">
                  <a:pos x="T2" y="T3"/>
                </a:cxn>
                <a:cxn ang="0">
                  <a:pos x="T4" y="T5"/>
                </a:cxn>
              </a:cxnLst>
              <a:rect l="0" t="0" r="r" b="b"/>
              <a:pathLst>
                <a:path w="1" h="4">
                  <a:moveTo>
                    <a:pt x="1" y="0"/>
                  </a:moveTo>
                  <a:cubicBezTo>
                    <a:pt x="0" y="1"/>
                    <a:pt x="0" y="2"/>
                    <a:pt x="0" y="4"/>
                  </a:cubicBezTo>
                  <a:cubicBezTo>
                    <a:pt x="0" y="2"/>
                    <a:pt x="0" y="1"/>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76" name="Freeform 2631">
              <a:extLst>
                <a:ext uri="{FF2B5EF4-FFF2-40B4-BE49-F238E27FC236}">
                  <a16:creationId xmlns:a16="http://schemas.microsoft.com/office/drawing/2014/main" id="{6BF5EF47-2C4D-4CC5-A800-501166FBA526}"/>
                </a:ext>
              </a:extLst>
            </p:cNvPr>
            <p:cNvSpPr>
              <a:spLocks/>
            </p:cNvSpPr>
            <p:nvPr/>
          </p:nvSpPr>
          <p:spPr bwMode="auto">
            <a:xfrm>
              <a:off x="6843" y="3110"/>
              <a:ext cx="14" cy="14"/>
            </a:xfrm>
            <a:custGeom>
              <a:avLst/>
              <a:gdLst>
                <a:gd name="T0" fmla="*/ 6 w 6"/>
                <a:gd name="T1" fmla="*/ 5 h 6"/>
                <a:gd name="T2" fmla="*/ 4 w 6"/>
                <a:gd name="T3" fmla="*/ 5 h 6"/>
                <a:gd name="T4" fmla="*/ 4 w 6"/>
                <a:gd name="T5" fmla="*/ 4 h 6"/>
                <a:gd name="T6" fmla="*/ 4 w 6"/>
                <a:gd name="T7" fmla="*/ 3 h 6"/>
                <a:gd name="T8" fmla="*/ 5 w 6"/>
                <a:gd name="T9" fmla="*/ 1 h 6"/>
                <a:gd name="T10" fmla="*/ 4 w 6"/>
                <a:gd name="T11" fmla="*/ 2 h 6"/>
                <a:gd name="T12" fmla="*/ 3 w 6"/>
                <a:gd name="T13" fmla="*/ 0 h 6"/>
                <a:gd name="T14" fmla="*/ 2 w 6"/>
                <a:gd name="T15" fmla="*/ 0 h 6"/>
                <a:gd name="T16" fmla="*/ 0 w 6"/>
                <a:gd name="T17" fmla="*/ 2 h 6"/>
                <a:gd name="T18" fmla="*/ 0 w 6"/>
                <a:gd name="T19" fmla="*/ 5 h 6"/>
                <a:gd name="T20" fmla="*/ 6 w 6"/>
                <a:gd name="T21" fmla="*/ 6 h 6"/>
                <a:gd name="T22" fmla="*/ 6 w 6"/>
                <a:gd name="T23"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6">
                  <a:moveTo>
                    <a:pt x="6" y="5"/>
                  </a:moveTo>
                  <a:cubicBezTo>
                    <a:pt x="5" y="5"/>
                    <a:pt x="4" y="6"/>
                    <a:pt x="4" y="5"/>
                  </a:cubicBezTo>
                  <a:cubicBezTo>
                    <a:pt x="3" y="5"/>
                    <a:pt x="3" y="4"/>
                    <a:pt x="4" y="4"/>
                  </a:cubicBezTo>
                  <a:cubicBezTo>
                    <a:pt x="4" y="4"/>
                    <a:pt x="4" y="4"/>
                    <a:pt x="4" y="3"/>
                  </a:cubicBezTo>
                  <a:cubicBezTo>
                    <a:pt x="4" y="3"/>
                    <a:pt x="5" y="1"/>
                    <a:pt x="5" y="1"/>
                  </a:cubicBezTo>
                  <a:cubicBezTo>
                    <a:pt x="5" y="0"/>
                    <a:pt x="5" y="2"/>
                    <a:pt x="4" y="2"/>
                  </a:cubicBezTo>
                  <a:cubicBezTo>
                    <a:pt x="3" y="2"/>
                    <a:pt x="3" y="1"/>
                    <a:pt x="3" y="0"/>
                  </a:cubicBezTo>
                  <a:cubicBezTo>
                    <a:pt x="3" y="0"/>
                    <a:pt x="2" y="0"/>
                    <a:pt x="2" y="0"/>
                  </a:cubicBezTo>
                  <a:cubicBezTo>
                    <a:pt x="3" y="2"/>
                    <a:pt x="1" y="1"/>
                    <a:pt x="0" y="2"/>
                  </a:cubicBezTo>
                  <a:cubicBezTo>
                    <a:pt x="0" y="3"/>
                    <a:pt x="1" y="4"/>
                    <a:pt x="0" y="5"/>
                  </a:cubicBezTo>
                  <a:cubicBezTo>
                    <a:pt x="2" y="6"/>
                    <a:pt x="4" y="6"/>
                    <a:pt x="6" y="6"/>
                  </a:cubicBezTo>
                  <a:cubicBezTo>
                    <a:pt x="6" y="6"/>
                    <a:pt x="6" y="5"/>
                    <a:pt x="6"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77" name="Freeform 2632">
              <a:extLst>
                <a:ext uri="{FF2B5EF4-FFF2-40B4-BE49-F238E27FC236}">
                  <a16:creationId xmlns:a16="http://schemas.microsoft.com/office/drawing/2014/main" id="{B37A77B7-3C2B-43C7-B6F1-98A031FD31B9}"/>
                </a:ext>
              </a:extLst>
            </p:cNvPr>
            <p:cNvSpPr>
              <a:spLocks/>
            </p:cNvSpPr>
            <p:nvPr/>
          </p:nvSpPr>
          <p:spPr bwMode="auto">
            <a:xfrm>
              <a:off x="6838" y="3055"/>
              <a:ext cx="7" cy="5"/>
            </a:xfrm>
            <a:custGeom>
              <a:avLst/>
              <a:gdLst>
                <a:gd name="T0" fmla="*/ 3 w 3"/>
                <a:gd name="T1" fmla="*/ 0 h 2"/>
                <a:gd name="T2" fmla="*/ 0 w 3"/>
                <a:gd name="T3" fmla="*/ 2 h 2"/>
                <a:gd name="T4" fmla="*/ 3 w 3"/>
                <a:gd name="T5" fmla="*/ 0 h 2"/>
              </a:gdLst>
              <a:ahLst/>
              <a:cxnLst>
                <a:cxn ang="0">
                  <a:pos x="T0" y="T1"/>
                </a:cxn>
                <a:cxn ang="0">
                  <a:pos x="T2" y="T3"/>
                </a:cxn>
                <a:cxn ang="0">
                  <a:pos x="T4" y="T5"/>
                </a:cxn>
              </a:cxnLst>
              <a:rect l="0" t="0" r="r" b="b"/>
              <a:pathLst>
                <a:path w="3" h="2">
                  <a:moveTo>
                    <a:pt x="3" y="0"/>
                  </a:moveTo>
                  <a:cubicBezTo>
                    <a:pt x="2" y="1"/>
                    <a:pt x="1" y="2"/>
                    <a:pt x="0" y="2"/>
                  </a:cubicBezTo>
                  <a:cubicBezTo>
                    <a:pt x="1" y="2"/>
                    <a:pt x="3" y="1"/>
                    <a:pt x="3"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78" name="Freeform 2633">
              <a:extLst>
                <a:ext uri="{FF2B5EF4-FFF2-40B4-BE49-F238E27FC236}">
                  <a16:creationId xmlns:a16="http://schemas.microsoft.com/office/drawing/2014/main" id="{5B525164-4B28-46E0-8E3E-8DDB2DC19D97}"/>
                </a:ext>
              </a:extLst>
            </p:cNvPr>
            <p:cNvSpPr>
              <a:spLocks/>
            </p:cNvSpPr>
            <p:nvPr/>
          </p:nvSpPr>
          <p:spPr bwMode="auto">
            <a:xfrm>
              <a:off x="6982" y="3020"/>
              <a:ext cx="0" cy="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79" name="Freeform 2634">
              <a:extLst>
                <a:ext uri="{FF2B5EF4-FFF2-40B4-BE49-F238E27FC236}">
                  <a16:creationId xmlns:a16="http://schemas.microsoft.com/office/drawing/2014/main" id="{618D6FBD-7857-49FB-8D0A-D1CD31F7B810}"/>
                </a:ext>
              </a:extLst>
            </p:cNvPr>
            <p:cNvSpPr>
              <a:spLocks/>
            </p:cNvSpPr>
            <p:nvPr/>
          </p:nvSpPr>
          <p:spPr bwMode="auto">
            <a:xfrm>
              <a:off x="7077" y="3221"/>
              <a:ext cx="7" cy="7"/>
            </a:xfrm>
            <a:custGeom>
              <a:avLst/>
              <a:gdLst>
                <a:gd name="T0" fmla="*/ 0 w 3"/>
                <a:gd name="T1" fmla="*/ 1 h 3"/>
                <a:gd name="T2" fmla="*/ 2 w 3"/>
                <a:gd name="T3" fmla="*/ 3 h 3"/>
                <a:gd name="T4" fmla="*/ 2 w 3"/>
                <a:gd name="T5" fmla="*/ 1 h 3"/>
                <a:gd name="T6" fmla="*/ 0 w 3"/>
                <a:gd name="T7" fmla="*/ 1 h 3"/>
              </a:gdLst>
              <a:ahLst/>
              <a:cxnLst>
                <a:cxn ang="0">
                  <a:pos x="T0" y="T1"/>
                </a:cxn>
                <a:cxn ang="0">
                  <a:pos x="T2" y="T3"/>
                </a:cxn>
                <a:cxn ang="0">
                  <a:pos x="T4" y="T5"/>
                </a:cxn>
                <a:cxn ang="0">
                  <a:pos x="T6" y="T7"/>
                </a:cxn>
              </a:cxnLst>
              <a:rect l="0" t="0" r="r" b="b"/>
              <a:pathLst>
                <a:path w="3" h="3">
                  <a:moveTo>
                    <a:pt x="0" y="1"/>
                  </a:moveTo>
                  <a:cubicBezTo>
                    <a:pt x="1" y="2"/>
                    <a:pt x="1" y="3"/>
                    <a:pt x="2" y="3"/>
                  </a:cubicBezTo>
                  <a:cubicBezTo>
                    <a:pt x="3" y="2"/>
                    <a:pt x="1" y="2"/>
                    <a:pt x="2" y="1"/>
                  </a:cubicBezTo>
                  <a:cubicBezTo>
                    <a:pt x="1" y="0"/>
                    <a:pt x="1"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80" name="Freeform 2635">
              <a:extLst>
                <a:ext uri="{FF2B5EF4-FFF2-40B4-BE49-F238E27FC236}">
                  <a16:creationId xmlns:a16="http://schemas.microsoft.com/office/drawing/2014/main" id="{87CBDC48-3B5B-45A6-A951-27BB046BD01A}"/>
                </a:ext>
              </a:extLst>
            </p:cNvPr>
            <p:cNvSpPr>
              <a:spLocks/>
            </p:cNvSpPr>
            <p:nvPr/>
          </p:nvSpPr>
          <p:spPr bwMode="auto">
            <a:xfrm>
              <a:off x="7124" y="3805"/>
              <a:ext cx="9" cy="8"/>
            </a:xfrm>
            <a:custGeom>
              <a:avLst/>
              <a:gdLst>
                <a:gd name="T0" fmla="*/ 1 w 4"/>
                <a:gd name="T1" fmla="*/ 1 h 3"/>
                <a:gd name="T2" fmla="*/ 0 w 4"/>
                <a:gd name="T3" fmla="*/ 2 h 3"/>
                <a:gd name="T4" fmla="*/ 3 w 4"/>
                <a:gd name="T5" fmla="*/ 3 h 3"/>
                <a:gd name="T6" fmla="*/ 4 w 4"/>
                <a:gd name="T7" fmla="*/ 2 h 3"/>
                <a:gd name="T8" fmla="*/ 1 w 4"/>
                <a:gd name="T9" fmla="*/ 1 h 3"/>
              </a:gdLst>
              <a:ahLst/>
              <a:cxnLst>
                <a:cxn ang="0">
                  <a:pos x="T0" y="T1"/>
                </a:cxn>
                <a:cxn ang="0">
                  <a:pos x="T2" y="T3"/>
                </a:cxn>
                <a:cxn ang="0">
                  <a:pos x="T4" y="T5"/>
                </a:cxn>
                <a:cxn ang="0">
                  <a:pos x="T6" y="T7"/>
                </a:cxn>
                <a:cxn ang="0">
                  <a:pos x="T8" y="T9"/>
                </a:cxn>
              </a:cxnLst>
              <a:rect l="0" t="0" r="r" b="b"/>
              <a:pathLst>
                <a:path w="4" h="3">
                  <a:moveTo>
                    <a:pt x="1" y="1"/>
                  </a:moveTo>
                  <a:cubicBezTo>
                    <a:pt x="1" y="1"/>
                    <a:pt x="0" y="1"/>
                    <a:pt x="0" y="2"/>
                  </a:cubicBezTo>
                  <a:cubicBezTo>
                    <a:pt x="1" y="2"/>
                    <a:pt x="2" y="3"/>
                    <a:pt x="3" y="3"/>
                  </a:cubicBezTo>
                  <a:cubicBezTo>
                    <a:pt x="4" y="3"/>
                    <a:pt x="4" y="2"/>
                    <a:pt x="4" y="2"/>
                  </a:cubicBezTo>
                  <a:cubicBezTo>
                    <a:pt x="4" y="0"/>
                    <a:pt x="3" y="1"/>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81" name="Freeform 2636">
              <a:extLst>
                <a:ext uri="{FF2B5EF4-FFF2-40B4-BE49-F238E27FC236}">
                  <a16:creationId xmlns:a16="http://schemas.microsoft.com/office/drawing/2014/main" id="{7F89DE88-CC24-4609-AE6F-878BEA668DFB}"/>
                </a:ext>
              </a:extLst>
            </p:cNvPr>
            <p:cNvSpPr>
              <a:spLocks/>
            </p:cNvSpPr>
            <p:nvPr/>
          </p:nvSpPr>
          <p:spPr bwMode="auto">
            <a:xfrm>
              <a:off x="7145" y="3268"/>
              <a:ext cx="3" cy="3"/>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0" y="1"/>
                  </a:cubicBezTo>
                  <a:cubicBezTo>
                    <a:pt x="0" y="1"/>
                    <a:pt x="0"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82" name="Freeform 2637">
              <a:extLst>
                <a:ext uri="{FF2B5EF4-FFF2-40B4-BE49-F238E27FC236}">
                  <a16:creationId xmlns:a16="http://schemas.microsoft.com/office/drawing/2014/main" id="{27E697B7-54F0-4AE1-8C7C-A164FFC9E4FD}"/>
                </a:ext>
              </a:extLst>
            </p:cNvPr>
            <p:cNvSpPr>
              <a:spLocks/>
            </p:cNvSpPr>
            <p:nvPr/>
          </p:nvSpPr>
          <p:spPr bwMode="auto">
            <a:xfrm>
              <a:off x="6748" y="3044"/>
              <a:ext cx="5" cy="9"/>
            </a:xfrm>
            <a:custGeom>
              <a:avLst/>
              <a:gdLst>
                <a:gd name="T0" fmla="*/ 0 w 2"/>
                <a:gd name="T1" fmla="*/ 0 h 4"/>
                <a:gd name="T2" fmla="*/ 1 w 2"/>
                <a:gd name="T3" fmla="*/ 4 h 4"/>
                <a:gd name="T4" fmla="*/ 1 w 2"/>
                <a:gd name="T5" fmla="*/ 1 h 4"/>
                <a:gd name="T6" fmla="*/ 1 w 2"/>
                <a:gd name="T7" fmla="*/ 0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cubicBezTo>
                    <a:pt x="0" y="2"/>
                    <a:pt x="1" y="3"/>
                    <a:pt x="1" y="4"/>
                  </a:cubicBezTo>
                  <a:cubicBezTo>
                    <a:pt x="2" y="3"/>
                    <a:pt x="1" y="2"/>
                    <a:pt x="1" y="1"/>
                  </a:cubicBezTo>
                  <a:cubicBezTo>
                    <a:pt x="1" y="1"/>
                    <a:pt x="1" y="0"/>
                    <a:pt x="1" y="0"/>
                  </a:cubicBezTo>
                  <a:cubicBezTo>
                    <a:pt x="1"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83" name="Freeform 2638">
              <a:extLst>
                <a:ext uri="{FF2B5EF4-FFF2-40B4-BE49-F238E27FC236}">
                  <a16:creationId xmlns:a16="http://schemas.microsoft.com/office/drawing/2014/main" id="{22529C21-9B08-4928-89BE-F58550887779}"/>
                </a:ext>
              </a:extLst>
            </p:cNvPr>
            <p:cNvSpPr>
              <a:spLocks/>
            </p:cNvSpPr>
            <p:nvPr/>
          </p:nvSpPr>
          <p:spPr bwMode="auto">
            <a:xfrm>
              <a:off x="6845" y="3675"/>
              <a:ext cx="40" cy="12"/>
            </a:xfrm>
            <a:custGeom>
              <a:avLst/>
              <a:gdLst>
                <a:gd name="T0" fmla="*/ 15 w 17"/>
                <a:gd name="T1" fmla="*/ 2 h 5"/>
                <a:gd name="T2" fmla="*/ 14 w 17"/>
                <a:gd name="T3" fmla="*/ 2 h 5"/>
                <a:gd name="T4" fmla="*/ 13 w 17"/>
                <a:gd name="T5" fmla="*/ 2 h 5"/>
                <a:gd name="T6" fmla="*/ 12 w 17"/>
                <a:gd name="T7" fmla="*/ 1 h 5"/>
                <a:gd name="T8" fmla="*/ 11 w 17"/>
                <a:gd name="T9" fmla="*/ 0 h 5"/>
                <a:gd name="T10" fmla="*/ 8 w 17"/>
                <a:gd name="T11" fmla="*/ 0 h 5"/>
                <a:gd name="T12" fmla="*/ 5 w 17"/>
                <a:gd name="T13" fmla="*/ 1 h 5"/>
                <a:gd name="T14" fmla="*/ 2 w 17"/>
                <a:gd name="T15" fmla="*/ 2 h 5"/>
                <a:gd name="T16" fmla="*/ 1 w 17"/>
                <a:gd name="T17" fmla="*/ 4 h 5"/>
                <a:gd name="T18" fmla="*/ 2 w 17"/>
                <a:gd name="T19" fmla="*/ 5 h 5"/>
                <a:gd name="T20" fmla="*/ 3 w 17"/>
                <a:gd name="T21" fmla="*/ 5 h 5"/>
                <a:gd name="T22" fmla="*/ 6 w 17"/>
                <a:gd name="T23" fmla="*/ 5 h 5"/>
                <a:gd name="T24" fmla="*/ 10 w 17"/>
                <a:gd name="T25" fmla="*/ 5 h 5"/>
                <a:gd name="T26" fmla="*/ 13 w 17"/>
                <a:gd name="T27" fmla="*/ 3 h 5"/>
                <a:gd name="T28" fmla="*/ 17 w 17"/>
                <a:gd name="T29" fmla="*/ 3 h 5"/>
                <a:gd name="T30" fmla="*/ 15 w 17"/>
                <a:gd name="T3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5">
                  <a:moveTo>
                    <a:pt x="15" y="2"/>
                  </a:moveTo>
                  <a:cubicBezTo>
                    <a:pt x="14" y="1"/>
                    <a:pt x="15" y="2"/>
                    <a:pt x="14" y="2"/>
                  </a:cubicBezTo>
                  <a:cubicBezTo>
                    <a:pt x="13" y="2"/>
                    <a:pt x="13" y="2"/>
                    <a:pt x="13" y="2"/>
                  </a:cubicBezTo>
                  <a:cubicBezTo>
                    <a:pt x="13" y="1"/>
                    <a:pt x="12" y="2"/>
                    <a:pt x="12" y="1"/>
                  </a:cubicBezTo>
                  <a:cubicBezTo>
                    <a:pt x="11" y="0"/>
                    <a:pt x="12" y="0"/>
                    <a:pt x="11" y="0"/>
                  </a:cubicBezTo>
                  <a:cubicBezTo>
                    <a:pt x="11" y="0"/>
                    <a:pt x="9" y="0"/>
                    <a:pt x="8" y="0"/>
                  </a:cubicBezTo>
                  <a:cubicBezTo>
                    <a:pt x="8" y="0"/>
                    <a:pt x="6" y="1"/>
                    <a:pt x="5" y="1"/>
                  </a:cubicBezTo>
                  <a:cubicBezTo>
                    <a:pt x="4" y="1"/>
                    <a:pt x="3" y="1"/>
                    <a:pt x="2" y="2"/>
                  </a:cubicBezTo>
                  <a:cubicBezTo>
                    <a:pt x="1" y="2"/>
                    <a:pt x="0" y="3"/>
                    <a:pt x="1" y="4"/>
                  </a:cubicBezTo>
                  <a:cubicBezTo>
                    <a:pt x="1" y="4"/>
                    <a:pt x="2" y="5"/>
                    <a:pt x="2" y="5"/>
                  </a:cubicBezTo>
                  <a:cubicBezTo>
                    <a:pt x="3" y="5"/>
                    <a:pt x="2" y="5"/>
                    <a:pt x="3" y="5"/>
                  </a:cubicBezTo>
                  <a:cubicBezTo>
                    <a:pt x="4" y="5"/>
                    <a:pt x="5" y="5"/>
                    <a:pt x="6" y="5"/>
                  </a:cubicBezTo>
                  <a:cubicBezTo>
                    <a:pt x="7" y="5"/>
                    <a:pt x="9" y="4"/>
                    <a:pt x="10" y="5"/>
                  </a:cubicBezTo>
                  <a:cubicBezTo>
                    <a:pt x="11" y="5"/>
                    <a:pt x="12" y="4"/>
                    <a:pt x="13" y="3"/>
                  </a:cubicBezTo>
                  <a:cubicBezTo>
                    <a:pt x="14" y="3"/>
                    <a:pt x="15" y="3"/>
                    <a:pt x="17" y="3"/>
                  </a:cubicBezTo>
                  <a:cubicBezTo>
                    <a:pt x="16" y="2"/>
                    <a:pt x="16" y="2"/>
                    <a:pt x="15"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84" name="Freeform 2639">
              <a:extLst>
                <a:ext uri="{FF2B5EF4-FFF2-40B4-BE49-F238E27FC236}">
                  <a16:creationId xmlns:a16="http://schemas.microsoft.com/office/drawing/2014/main" id="{6A49BE29-4B33-4FDC-A6C5-8FBFFDDB1E63}"/>
                </a:ext>
              </a:extLst>
            </p:cNvPr>
            <p:cNvSpPr>
              <a:spLocks/>
            </p:cNvSpPr>
            <p:nvPr/>
          </p:nvSpPr>
          <p:spPr bwMode="auto">
            <a:xfrm>
              <a:off x="6774" y="3583"/>
              <a:ext cx="2" cy="2"/>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1" y="1"/>
                    <a:pt x="1" y="0"/>
                  </a:cubicBezTo>
                  <a:cubicBezTo>
                    <a:pt x="1" y="1"/>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85" name="Freeform 2640">
              <a:extLst>
                <a:ext uri="{FF2B5EF4-FFF2-40B4-BE49-F238E27FC236}">
                  <a16:creationId xmlns:a16="http://schemas.microsoft.com/office/drawing/2014/main" id="{96B76220-D84E-46EF-9714-EC3DED46212E}"/>
                </a:ext>
              </a:extLst>
            </p:cNvPr>
            <p:cNvSpPr>
              <a:spLocks/>
            </p:cNvSpPr>
            <p:nvPr/>
          </p:nvSpPr>
          <p:spPr bwMode="auto">
            <a:xfrm>
              <a:off x="7058" y="3751"/>
              <a:ext cx="4" cy="2"/>
            </a:xfrm>
            <a:custGeom>
              <a:avLst/>
              <a:gdLst>
                <a:gd name="T0" fmla="*/ 1 w 2"/>
                <a:gd name="T1" fmla="*/ 1 h 1"/>
                <a:gd name="T2" fmla="*/ 2 w 2"/>
                <a:gd name="T3" fmla="*/ 1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1"/>
                  </a:cubicBezTo>
                  <a:cubicBezTo>
                    <a:pt x="1" y="0"/>
                    <a:pt x="1" y="0"/>
                    <a:pt x="0" y="0"/>
                  </a:cubicBezTo>
                  <a:cubicBezTo>
                    <a:pt x="0" y="0"/>
                    <a:pt x="0" y="1"/>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86" name="Freeform 2641">
              <a:extLst>
                <a:ext uri="{FF2B5EF4-FFF2-40B4-BE49-F238E27FC236}">
                  <a16:creationId xmlns:a16="http://schemas.microsoft.com/office/drawing/2014/main" id="{028E5296-103C-444D-A280-A9FCA7AEFDF2}"/>
                </a:ext>
              </a:extLst>
            </p:cNvPr>
            <p:cNvSpPr>
              <a:spLocks/>
            </p:cNvSpPr>
            <p:nvPr/>
          </p:nvSpPr>
          <p:spPr bwMode="auto">
            <a:xfrm>
              <a:off x="6334" y="3285"/>
              <a:ext cx="3" cy="5"/>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0"/>
                    <a:pt x="1" y="1"/>
                    <a:pt x="0" y="2"/>
                  </a:cubicBezTo>
                  <a:cubicBezTo>
                    <a:pt x="1" y="1"/>
                    <a:pt x="1" y="1"/>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87" name="Freeform 2642">
              <a:extLst>
                <a:ext uri="{FF2B5EF4-FFF2-40B4-BE49-F238E27FC236}">
                  <a16:creationId xmlns:a16="http://schemas.microsoft.com/office/drawing/2014/main" id="{75537163-68F8-49A5-89F8-2DE031CB7C24}"/>
                </a:ext>
              </a:extLst>
            </p:cNvPr>
            <p:cNvSpPr>
              <a:spLocks/>
            </p:cNvSpPr>
            <p:nvPr/>
          </p:nvSpPr>
          <p:spPr bwMode="auto">
            <a:xfrm>
              <a:off x="7183" y="3323"/>
              <a:ext cx="0" cy="5"/>
            </a:xfrm>
            <a:custGeom>
              <a:avLst/>
              <a:gdLst>
                <a:gd name="T0" fmla="*/ 0 h 2"/>
                <a:gd name="T1" fmla="*/ 2 h 2"/>
                <a:gd name="T2" fmla="*/ 0 h 2"/>
              </a:gdLst>
              <a:ahLst/>
              <a:cxnLst>
                <a:cxn ang="0">
                  <a:pos x="0" y="T0"/>
                </a:cxn>
                <a:cxn ang="0">
                  <a:pos x="0" y="T1"/>
                </a:cxn>
                <a:cxn ang="0">
                  <a:pos x="0" y="T2"/>
                </a:cxn>
              </a:cxnLst>
              <a:rect l="0" t="0" r="r" b="b"/>
              <a:pathLst>
                <a:path h="2">
                  <a:moveTo>
                    <a:pt x="0" y="0"/>
                  </a:moveTo>
                  <a:cubicBezTo>
                    <a:pt x="0" y="1"/>
                    <a:pt x="0" y="1"/>
                    <a:pt x="0" y="2"/>
                  </a:cubicBezTo>
                  <a:cubicBezTo>
                    <a:pt x="0" y="1"/>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88" name="Freeform 2643">
              <a:extLst>
                <a:ext uri="{FF2B5EF4-FFF2-40B4-BE49-F238E27FC236}">
                  <a16:creationId xmlns:a16="http://schemas.microsoft.com/office/drawing/2014/main" id="{018DCB08-44BA-4D93-8635-28891AE3CFF1}"/>
                </a:ext>
              </a:extLst>
            </p:cNvPr>
            <p:cNvSpPr>
              <a:spLocks/>
            </p:cNvSpPr>
            <p:nvPr/>
          </p:nvSpPr>
          <p:spPr bwMode="auto">
            <a:xfrm>
              <a:off x="7117" y="3791"/>
              <a:ext cx="16" cy="14"/>
            </a:xfrm>
            <a:custGeom>
              <a:avLst/>
              <a:gdLst>
                <a:gd name="T0" fmla="*/ 6 w 7"/>
                <a:gd name="T1" fmla="*/ 6 h 6"/>
                <a:gd name="T2" fmla="*/ 2 w 7"/>
                <a:gd name="T3" fmla="*/ 0 h 6"/>
                <a:gd name="T4" fmla="*/ 1 w 7"/>
                <a:gd name="T5" fmla="*/ 1 h 6"/>
                <a:gd name="T6" fmla="*/ 0 w 7"/>
                <a:gd name="T7" fmla="*/ 1 h 6"/>
                <a:gd name="T8" fmla="*/ 3 w 7"/>
                <a:gd name="T9" fmla="*/ 5 h 6"/>
                <a:gd name="T10" fmla="*/ 5 w 7"/>
                <a:gd name="T11" fmla="*/ 6 h 6"/>
                <a:gd name="T12" fmla="*/ 5 w 7"/>
                <a:gd name="T13" fmla="*/ 6 h 6"/>
                <a:gd name="T14" fmla="*/ 6 w 7"/>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6" y="6"/>
                  </a:moveTo>
                  <a:cubicBezTo>
                    <a:pt x="7" y="4"/>
                    <a:pt x="3" y="0"/>
                    <a:pt x="2" y="0"/>
                  </a:cubicBezTo>
                  <a:cubicBezTo>
                    <a:pt x="1" y="0"/>
                    <a:pt x="1" y="0"/>
                    <a:pt x="1" y="1"/>
                  </a:cubicBezTo>
                  <a:cubicBezTo>
                    <a:pt x="1" y="1"/>
                    <a:pt x="0" y="1"/>
                    <a:pt x="0" y="1"/>
                  </a:cubicBezTo>
                  <a:cubicBezTo>
                    <a:pt x="0" y="2"/>
                    <a:pt x="2" y="5"/>
                    <a:pt x="3" y="5"/>
                  </a:cubicBezTo>
                  <a:cubicBezTo>
                    <a:pt x="3" y="6"/>
                    <a:pt x="4" y="6"/>
                    <a:pt x="5" y="6"/>
                  </a:cubicBezTo>
                  <a:cubicBezTo>
                    <a:pt x="4" y="6"/>
                    <a:pt x="5" y="5"/>
                    <a:pt x="5" y="6"/>
                  </a:cubicBezTo>
                  <a:cubicBezTo>
                    <a:pt x="5" y="6"/>
                    <a:pt x="6" y="6"/>
                    <a:pt x="6" y="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89" name="Freeform 2644">
              <a:extLst>
                <a:ext uri="{FF2B5EF4-FFF2-40B4-BE49-F238E27FC236}">
                  <a16:creationId xmlns:a16="http://schemas.microsoft.com/office/drawing/2014/main" id="{04EBCB23-4C11-4DAA-805B-716B357FDA77}"/>
                </a:ext>
              </a:extLst>
            </p:cNvPr>
            <p:cNvSpPr>
              <a:spLocks/>
            </p:cNvSpPr>
            <p:nvPr/>
          </p:nvSpPr>
          <p:spPr bwMode="auto">
            <a:xfrm>
              <a:off x="7044" y="3810"/>
              <a:ext cx="2" cy="5"/>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1" y="1"/>
                    <a:pt x="1" y="1"/>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90" name="Freeform 2645">
              <a:extLst>
                <a:ext uri="{FF2B5EF4-FFF2-40B4-BE49-F238E27FC236}">
                  <a16:creationId xmlns:a16="http://schemas.microsoft.com/office/drawing/2014/main" id="{AD5C64DD-47DD-4149-BA0B-39B16ACF7A73}"/>
                </a:ext>
              </a:extLst>
            </p:cNvPr>
            <p:cNvSpPr>
              <a:spLocks/>
            </p:cNvSpPr>
            <p:nvPr/>
          </p:nvSpPr>
          <p:spPr bwMode="auto">
            <a:xfrm>
              <a:off x="7041" y="3817"/>
              <a:ext cx="90" cy="85"/>
            </a:xfrm>
            <a:custGeom>
              <a:avLst/>
              <a:gdLst>
                <a:gd name="T0" fmla="*/ 38 w 38"/>
                <a:gd name="T1" fmla="*/ 16 h 36"/>
                <a:gd name="T2" fmla="*/ 37 w 38"/>
                <a:gd name="T3" fmla="*/ 10 h 36"/>
                <a:gd name="T4" fmla="*/ 38 w 38"/>
                <a:gd name="T5" fmla="*/ 4 h 36"/>
                <a:gd name="T6" fmla="*/ 37 w 38"/>
                <a:gd name="T7" fmla="*/ 3 h 36"/>
                <a:gd name="T8" fmla="*/ 34 w 38"/>
                <a:gd name="T9" fmla="*/ 1 h 36"/>
                <a:gd name="T10" fmla="*/ 32 w 38"/>
                <a:gd name="T11" fmla="*/ 3 h 36"/>
                <a:gd name="T12" fmla="*/ 24 w 38"/>
                <a:gd name="T13" fmla="*/ 5 h 36"/>
                <a:gd name="T14" fmla="*/ 24 w 38"/>
                <a:gd name="T15" fmla="*/ 6 h 36"/>
                <a:gd name="T16" fmla="*/ 21 w 38"/>
                <a:gd name="T17" fmla="*/ 5 h 36"/>
                <a:gd name="T18" fmla="*/ 18 w 38"/>
                <a:gd name="T19" fmla="*/ 6 h 36"/>
                <a:gd name="T20" fmla="*/ 13 w 38"/>
                <a:gd name="T21" fmla="*/ 5 h 36"/>
                <a:gd name="T22" fmla="*/ 9 w 38"/>
                <a:gd name="T23" fmla="*/ 3 h 36"/>
                <a:gd name="T24" fmla="*/ 3 w 38"/>
                <a:gd name="T25" fmla="*/ 1 h 36"/>
                <a:gd name="T26" fmla="*/ 1 w 38"/>
                <a:gd name="T27" fmla="*/ 0 h 36"/>
                <a:gd name="T28" fmla="*/ 1 w 38"/>
                <a:gd name="T29" fmla="*/ 6 h 36"/>
                <a:gd name="T30" fmla="*/ 2 w 38"/>
                <a:gd name="T31" fmla="*/ 10 h 36"/>
                <a:gd name="T32" fmla="*/ 4 w 38"/>
                <a:gd name="T33" fmla="*/ 13 h 36"/>
                <a:gd name="T34" fmla="*/ 6 w 38"/>
                <a:gd name="T35" fmla="*/ 17 h 36"/>
                <a:gd name="T36" fmla="*/ 7 w 38"/>
                <a:gd name="T37" fmla="*/ 20 h 36"/>
                <a:gd name="T38" fmla="*/ 9 w 38"/>
                <a:gd name="T39" fmla="*/ 23 h 36"/>
                <a:gd name="T40" fmla="*/ 6 w 38"/>
                <a:gd name="T41" fmla="*/ 19 h 36"/>
                <a:gd name="T42" fmla="*/ 6 w 38"/>
                <a:gd name="T43" fmla="*/ 22 h 36"/>
                <a:gd name="T44" fmla="*/ 9 w 38"/>
                <a:gd name="T45" fmla="*/ 28 h 36"/>
                <a:gd name="T46" fmla="*/ 10 w 38"/>
                <a:gd name="T47" fmla="*/ 29 h 36"/>
                <a:gd name="T48" fmla="*/ 11 w 38"/>
                <a:gd name="T49" fmla="*/ 30 h 36"/>
                <a:gd name="T50" fmla="*/ 13 w 38"/>
                <a:gd name="T51" fmla="*/ 32 h 36"/>
                <a:gd name="T52" fmla="*/ 17 w 38"/>
                <a:gd name="T53" fmla="*/ 33 h 36"/>
                <a:gd name="T54" fmla="*/ 16 w 38"/>
                <a:gd name="T55" fmla="*/ 34 h 36"/>
                <a:gd name="T56" fmla="*/ 14 w 38"/>
                <a:gd name="T57" fmla="*/ 36 h 36"/>
                <a:gd name="T58" fmla="*/ 19 w 38"/>
                <a:gd name="T59" fmla="*/ 35 h 36"/>
                <a:gd name="T60" fmla="*/ 24 w 38"/>
                <a:gd name="T61" fmla="*/ 36 h 36"/>
                <a:gd name="T62" fmla="*/ 25 w 38"/>
                <a:gd name="T63" fmla="*/ 32 h 36"/>
                <a:gd name="T64" fmla="*/ 24 w 38"/>
                <a:gd name="T65" fmla="*/ 30 h 36"/>
                <a:gd name="T66" fmla="*/ 26 w 38"/>
                <a:gd name="T67" fmla="*/ 32 h 36"/>
                <a:gd name="T68" fmla="*/ 27 w 38"/>
                <a:gd name="T69" fmla="*/ 29 h 36"/>
                <a:gd name="T70" fmla="*/ 27 w 38"/>
                <a:gd name="T71" fmla="*/ 26 h 36"/>
                <a:gd name="T72" fmla="*/ 30 w 38"/>
                <a:gd name="T73" fmla="*/ 29 h 36"/>
                <a:gd name="T74" fmla="*/ 30 w 38"/>
                <a:gd name="T75" fmla="*/ 27 h 36"/>
                <a:gd name="T76" fmla="*/ 34 w 38"/>
                <a:gd name="T77" fmla="*/ 29 h 36"/>
                <a:gd name="T78" fmla="*/ 32 w 38"/>
                <a:gd name="T79" fmla="*/ 31 h 36"/>
                <a:gd name="T80" fmla="*/ 35 w 38"/>
                <a:gd name="T81" fmla="*/ 31 h 36"/>
                <a:gd name="T82" fmla="*/ 34 w 38"/>
                <a:gd name="T83" fmla="*/ 29 h 36"/>
                <a:gd name="T84" fmla="*/ 33 w 38"/>
                <a:gd name="T85" fmla="*/ 27 h 36"/>
                <a:gd name="T86" fmla="*/ 34 w 38"/>
                <a:gd name="T87" fmla="*/ 21 h 36"/>
                <a:gd name="T88" fmla="*/ 36 w 38"/>
                <a:gd name="T89" fmla="*/ 17 h 36"/>
                <a:gd name="T90" fmla="*/ 38 w 38"/>
                <a:gd name="T91" fmla="*/ 19 h 36"/>
                <a:gd name="T92" fmla="*/ 38 w 38"/>
                <a:gd name="T93" fmla="*/ 17 h 36"/>
                <a:gd name="T94" fmla="*/ 38 w 38"/>
                <a:gd name="T9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8" h="36">
                  <a:moveTo>
                    <a:pt x="38" y="16"/>
                  </a:moveTo>
                  <a:cubicBezTo>
                    <a:pt x="37" y="14"/>
                    <a:pt x="37" y="12"/>
                    <a:pt x="37" y="10"/>
                  </a:cubicBezTo>
                  <a:cubicBezTo>
                    <a:pt x="37" y="8"/>
                    <a:pt x="38" y="6"/>
                    <a:pt x="38" y="4"/>
                  </a:cubicBezTo>
                  <a:cubicBezTo>
                    <a:pt x="38" y="3"/>
                    <a:pt x="37" y="3"/>
                    <a:pt x="37" y="3"/>
                  </a:cubicBezTo>
                  <a:cubicBezTo>
                    <a:pt x="37" y="2"/>
                    <a:pt x="34" y="1"/>
                    <a:pt x="34" y="1"/>
                  </a:cubicBezTo>
                  <a:cubicBezTo>
                    <a:pt x="33" y="2"/>
                    <a:pt x="33" y="2"/>
                    <a:pt x="32" y="3"/>
                  </a:cubicBezTo>
                  <a:cubicBezTo>
                    <a:pt x="29" y="3"/>
                    <a:pt x="26" y="4"/>
                    <a:pt x="24" y="5"/>
                  </a:cubicBezTo>
                  <a:cubicBezTo>
                    <a:pt x="22" y="5"/>
                    <a:pt x="22" y="6"/>
                    <a:pt x="24" y="6"/>
                  </a:cubicBezTo>
                  <a:cubicBezTo>
                    <a:pt x="23" y="6"/>
                    <a:pt x="22" y="6"/>
                    <a:pt x="21" y="5"/>
                  </a:cubicBezTo>
                  <a:cubicBezTo>
                    <a:pt x="20" y="5"/>
                    <a:pt x="19" y="6"/>
                    <a:pt x="18" y="6"/>
                  </a:cubicBezTo>
                  <a:cubicBezTo>
                    <a:pt x="16" y="6"/>
                    <a:pt x="15" y="5"/>
                    <a:pt x="13" y="5"/>
                  </a:cubicBezTo>
                  <a:cubicBezTo>
                    <a:pt x="11" y="4"/>
                    <a:pt x="10" y="3"/>
                    <a:pt x="9" y="3"/>
                  </a:cubicBezTo>
                  <a:cubicBezTo>
                    <a:pt x="7" y="2"/>
                    <a:pt x="4" y="0"/>
                    <a:pt x="3" y="1"/>
                  </a:cubicBezTo>
                  <a:cubicBezTo>
                    <a:pt x="3" y="0"/>
                    <a:pt x="2" y="0"/>
                    <a:pt x="1" y="0"/>
                  </a:cubicBezTo>
                  <a:cubicBezTo>
                    <a:pt x="0" y="2"/>
                    <a:pt x="0" y="4"/>
                    <a:pt x="1" y="6"/>
                  </a:cubicBezTo>
                  <a:cubicBezTo>
                    <a:pt x="1" y="7"/>
                    <a:pt x="1" y="9"/>
                    <a:pt x="2" y="10"/>
                  </a:cubicBezTo>
                  <a:cubicBezTo>
                    <a:pt x="2" y="11"/>
                    <a:pt x="3" y="12"/>
                    <a:pt x="4" y="13"/>
                  </a:cubicBezTo>
                  <a:cubicBezTo>
                    <a:pt x="5" y="14"/>
                    <a:pt x="6" y="16"/>
                    <a:pt x="6" y="17"/>
                  </a:cubicBezTo>
                  <a:cubicBezTo>
                    <a:pt x="6" y="19"/>
                    <a:pt x="6" y="19"/>
                    <a:pt x="7" y="20"/>
                  </a:cubicBezTo>
                  <a:cubicBezTo>
                    <a:pt x="8" y="21"/>
                    <a:pt x="10" y="21"/>
                    <a:pt x="9" y="23"/>
                  </a:cubicBezTo>
                  <a:cubicBezTo>
                    <a:pt x="8" y="21"/>
                    <a:pt x="7" y="20"/>
                    <a:pt x="6" y="19"/>
                  </a:cubicBezTo>
                  <a:cubicBezTo>
                    <a:pt x="6" y="20"/>
                    <a:pt x="6" y="21"/>
                    <a:pt x="6" y="22"/>
                  </a:cubicBezTo>
                  <a:cubicBezTo>
                    <a:pt x="7" y="24"/>
                    <a:pt x="8" y="26"/>
                    <a:pt x="9" y="28"/>
                  </a:cubicBezTo>
                  <a:cubicBezTo>
                    <a:pt x="9" y="28"/>
                    <a:pt x="10" y="28"/>
                    <a:pt x="10" y="29"/>
                  </a:cubicBezTo>
                  <a:cubicBezTo>
                    <a:pt x="11" y="29"/>
                    <a:pt x="11" y="30"/>
                    <a:pt x="11" y="30"/>
                  </a:cubicBezTo>
                  <a:cubicBezTo>
                    <a:pt x="12" y="31"/>
                    <a:pt x="12" y="33"/>
                    <a:pt x="13" y="32"/>
                  </a:cubicBezTo>
                  <a:cubicBezTo>
                    <a:pt x="14" y="31"/>
                    <a:pt x="17" y="32"/>
                    <a:pt x="17" y="33"/>
                  </a:cubicBezTo>
                  <a:cubicBezTo>
                    <a:pt x="16" y="33"/>
                    <a:pt x="16" y="33"/>
                    <a:pt x="16" y="34"/>
                  </a:cubicBezTo>
                  <a:cubicBezTo>
                    <a:pt x="15" y="32"/>
                    <a:pt x="15" y="35"/>
                    <a:pt x="14" y="36"/>
                  </a:cubicBezTo>
                  <a:cubicBezTo>
                    <a:pt x="16" y="35"/>
                    <a:pt x="18" y="35"/>
                    <a:pt x="19" y="35"/>
                  </a:cubicBezTo>
                  <a:cubicBezTo>
                    <a:pt x="21" y="35"/>
                    <a:pt x="22" y="36"/>
                    <a:pt x="24" y="36"/>
                  </a:cubicBezTo>
                  <a:cubicBezTo>
                    <a:pt x="24" y="34"/>
                    <a:pt x="24" y="33"/>
                    <a:pt x="25" y="32"/>
                  </a:cubicBezTo>
                  <a:cubicBezTo>
                    <a:pt x="25" y="32"/>
                    <a:pt x="24" y="31"/>
                    <a:pt x="24" y="30"/>
                  </a:cubicBezTo>
                  <a:cubicBezTo>
                    <a:pt x="25" y="31"/>
                    <a:pt x="26" y="31"/>
                    <a:pt x="26" y="32"/>
                  </a:cubicBezTo>
                  <a:cubicBezTo>
                    <a:pt x="27" y="31"/>
                    <a:pt x="27" y="30"/>
                    <a:pt x="27" y="29"/>
                  </a:cubicBezTo>
                  <a:cubicBezTo>
                    <a:pt x="27" y="28"/>
                    <a:pt x="27" y="27"/>
                    <a:pt x="27" y="26"/>
                  </a:cubicBezTo>
                  <a:cubicBezTo>
                    <a:pt x="28" y="27"/>
                    <a:pt x="29" y="28"/>
                    <a:pt x="30" y="29"/>
                  </a:cubicBezTo>
                  <a:cubicBezTo>
                    <a:pt x="30" y="28"/>
                    <a:pt x="29" y="27"/>
                    <a:pt x="30" y="27"/>
                  </a:cubicBezTo>
                  <a:cubicBezTo>
                    <a:pt x="31" y="26"/>
                    <a:pt x="33" y="29"/>
                    <a:pt x="34" y="29"/>
                  </a:cubicBezTo>
                  <a:cubicBezTo>
                    <a:pt x="33" y="29"/>
                    <a:pt x="31" y="30"/>
                    <a:pt x="32" y="31"/>
                  </a:cubicBezTo>
                  <a:cubicBezTo>
                    <a:pt x="32" y="32"/>
                    <a:pt x="34" y="31"/>
                    <a:pt x="35" y="31"/>
                  </a:cubicBezTo>
                  <a:cubicBezTo>
                    <a:pt x="35" y="31"/>
                    <a:pt x="34" y="30"/>
                    <a:pt x="34" y="29"/>
                  </a:cubicBezTo>
                  <a:cubicBezTo>
                    <a:pt x="34" y="29"/>
                    <a:pt x="35" y="26"/>
                    <a:pt x="33" y="27"/>
                  </a:cubicBezTo>
                  <a:cubicBezTo>
                    <a:pt x="33" y="26"/>
                    <a:pt x="34" y="23"/>
                    <a:pt x="34" y="21"/>
                  </a:cubicBezTo>
                  <a:cubicBezTo>
                    <a:pt x="34" y="20"/>
                    <a:pt x="36" y="19"/>
                    <a:pt x="36" y="17"/>
                  </a:cubicBezTo>
                  <a:cubicBezTo>
                    <a:pt x="37" y="17"/>
                    <a:pt x="38" y="18"/>
                    <a:pt x="38" y="19"/>
                  </a:cubicBezTo>
                  <a:cubicBezTo>
                    <a:pt x="38" y="19"/>
                    <a:pt x="38" y="18"/>
                    <a:pt x="38" y="17"/>
                  </a:cubicBezTo>
                  <a:cubicBezTo>
                    <a:pt x="38" y="17"/>
                    <a:pt x="38" y="16"/>
                    <a:pt x="38" y="1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91" name="Freeform 2646">
              <a:extLst>
                <a:ext uri="{FF2B5EF4-FFF2-40B4-BE49-F238E27FC236}">
                  <a16:creationId xmlns:a16="http://schemas.microsoft.com/office/drawing/2014/main" id="{B2598D16-BD5C-4A48-8B99-1EBE733F8DE0}"/>
                </a:ext>
              </a:extLst>
            </p:cNvPr>
            <p:cNvSpPr>
              <a:spLocks/>
            </p:cNvSpPr>
            <p:nvPr/>
          </p:nvSpPr>
          <p:spPr bwMode="auto">
            <a:xfrm>
              <a:off x="6696" y="3048"/>
              <a:ext cx="28" cy="19"/>
            </a:xfrm>
            <a:custGeom>
              <a:avLst/>
              <a:gdLst>
                <a:gd name="T0" fmla="*/ 6 w 12"/>
                <a:gd name="T1" fmla="*/ 8 h 8"/>
                <a:gd name="T2" fmla="*/ 11 w 12"/>
                <a:gd name="T3" fmla="*/ 5 h 8"/>
                <a:gd name="T4" fmla="*/ 12 w 12"/>
                <a:gd name="T5" fmla="*/ 3 h 8"/>
                <a:gd name="T6" fmla="*/ 12 w 12"/>
                <a:gd name="T7" fmla="*/ 1 h 8"/>
                <a:gd name="T8" fmla="*/ 9 w 12"/>
                <a:gd name="T9" fmla="*/ 2 h 8"/>
                <a:gd name="T10" fmla="*/ 8 w 12"/>
                <a:gd name="T11" fmla="*/ 1 h 8"/>
                <a:gd name="T12" fmla="*/ 4 w 12"/>
                <a:gd name="T13" fmla="*/ 2 h 8"/>
                <a:gd name="T14" fmla="*/ 0 w 12"/>
                <a:gd name="T15" fmla="*/ 0 h 8"/>
                <a:gd name="T16" fmla="*/ 2 w 12"/>
                <a:gd name="T17" fmla="*/ 5 h 8"/>
                <a:gd name="T18" fmla="*/ 4 w 12"/>
                <a:gd name="T19" fmla="*/ 6 h 8"/>
                <a:gd name="T20" fmla="*/ 6 w 12"/>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8">
                  <a:moveTo>
                    <a:pt x="6" y="8"/>
                  </a:moveTo>
                  <a:cubicBezTo>
                    <a:pt x="8" y="8"/>
                    <a:pt x="10" y="5"/>
                    <a:pt x="11" y="5"/>
                  </a:cubicBezTo>
                  <a:cubicBezTo>
                    <a:pt x="11" y="4"/>
                    <a:pt x="12" y="4"/>
                    <a:pt x="12" y="3"/>
                  </a:cubicBezTo>
                  <a:cubicBezTo>
                    <a:pt x="12" y="2"/>
                    <a:pt x="12" y="2"/>
                    <a:pt x="12" y="1"/>
                  </a:cubicBezTo>
                  <a:cubicBezTo>
                    <a:pt x="11" y="0"/>
                    <a:pt x="8" y="0"/>
                    <a:pt x="9" y="2"/>
                  </a:cubicBezTo>
                  <a:cubicBezTo>
                    <a:pt x="9" y="1"/>
                    <a:pt x="9" y="1"/>
                    <a:pt x="8" y="1"/>
                  </a:cubicBezTo>
                  <a:cubicBezTo>
                    <a:pt x="6" y="1"/>
                    <a:pt x="5" y="2"/>
                    <a:pt x="4" y="2"/>
                  </a:cubicBezTo>
                  <a:cubicBezTo>
                    <a:pt x="2" y="3"/>
                    <a:pt x="2" y="1"/>
                    <a:pt x="0" y="0"/>
                  </a:cubicBezTo>
                  <a:cubicBezTo>
                    <a:pt x="1" y="2"/>
                    <a:pt x="1" y="4"/>
                    <a:pt x="2" y="5"/>
                  </a:cubicBezTo>
                  <a:cubicBezTo>
                    <a:pt x="3" y="6"/>
                    <a:pt x="3" y="6"/>
                    <a:pt x="4" y="6"/>
                  </a:cubicBezTo>
                  <a:cubicBezTo>
                    <a:pt x="4" y="7"/>
                    <a:pt x="6" y="8"/>
                    <a:pt x="6" y="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92" name="Freeform 2647">
              <a:extLst>
                <a:ext uri="{FF2B5EF4-FFF2-40B4-BE49-F238E27FC236}">
                  <a16:creationId xmlns:a16="http://schemas.microsoft.com/office/drawing/2014/main" id="{866C6911-8AD9-4D1B-A53C-5B1781DBCD0E}"/>
                </a:ext>
              </a:extLst>
            </p:cNvPr>
            <p:cNvSpPr>
              <a:spLocks/>
            </p:cNvSpPr>
            <p:nvPr/>
          </p:nvSpPr>
          <p:spPr bwMode="auto">
            <a:xfrm>
              <a:off x="7242" y="3387"/>
              <a:ext cx="12" cy="28"/>
            </a:xfrm>
            <a:custGeom>
              <a:avLst/>
              <a:gdLst>
                <a:gd name="T0" fmla="*/ 1 w 5"/>
                <a:gd name="T1" fmla="*/ 6 h 12"/>
                <a:gd name="T2" fmla="*/ 1 w 5"/>
                <a:gd name="T3" fmla="*/ 8 h 12"/>
                <a:gd name="T4" fmla="*/ 1 w 5"/>
                <a:gd name="T5" fmla="*/ 12 h 12"/>
                <a:gd name="T6" fmla="*/ 4 w 5"/>
                <a:gd name="T7" fmla="*/ 5 h 12"/>
                <a:gd name="T8" fmla="*/ 4 w 5"/>
                <a:gd name="T9" fmla="*/ 2 h 12"/>
                <a:gd name="T10" fmla="*/ 2 w 5"/>
                <a:gd name="T11" fmla="*/ 1 h 12"/>
                <a:gd name="T12" fmla="*/ 1 w 5"/>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5" h="12">
                  <a:moveTo>
                    <a:pt x="1" y="6"/>
                  </a:moveTo>
                  <a:cubicBezTo>
                    <a:pt x="2" y="6"/>
                    <a:pt x="1" y="8"/>
                    <a:pt x="1" y="8"/>
                  </a:cubicBezTo>
                  <a:cubicBezTo>
                    <a:pt x="0" y="9"/>
                    <a:pt x="0" y="11"/>
                    <a:pt x="1" y="12"/>
                  </a:cubicBezTo>
                  <a:cubicBezTo>
                    <a:pt x="2" y="9"/>
                    <a:pt x="3" y="7"/>
                    <a:pt x="4" y="5"/>
                  </a:cubicBezTo>
                  <a:cubicBezTo>
                    <a:pt x="4" y="3"/>
                    <a:pt x="4" y="3"/>
                    <a:pt x="4" y="2"/>
                  </a:cubicBezTo>
                  <a:cubicBezTo>
                    <a:pt x="3" y="0"/>
                    <a:pt x="3" y="0"/>
                    <a:pt x="2" y="1"/>
                  </a:cubicBezTo>
                  <a:cubicBezTo>
                    <a:pt x="5" y="2"/>
                    <a:pt x="1" y="4"/>
                    <a:pt x="1" y="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93" name="Freeform 2648">
              <a:extLst>
                <a:ext uri="{FF2B5EF4-FFF2-40B4-BE49-F238E27FC236}">
                  <a16:creationId xmlns:a16="http://schemas.microsoft.com/office/drawing/2014/main" id="{5382D1A7-A0D0-421F-BEA3-95CB3968BABC}"/>
                </a:ext>
              </a:extLst>
            </p:cNvPr>
            <p:cNvSpPr>
              <a:spLocks/>
            </p:cNvSpPr>
            <p:nvPr/>
          </p:nvSpPr>
          <p:spPr bwMode="auto">
            <a:xfrm>
              <a:off x="6835" y="3103"/>
              <a:ext cx="3" cy="2"/>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1"/>
                    <a:pt x="1" y="0"/>
                    <a:pt x="0" y="0"/>
                  </a:cubicBezTo>
                  <a:cubicBezTo>
                    <a:pt x="0" y="0"/>
                    <a:pt x="0" y="1"/>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94" name="Freeform 2649">
              <a:extLst>
                <a:ext uri="{FF2B5EF4-FFF2-40B4-BE49-F238E27FC236}">
                  <a16:creationId xmlns:a16="http://schemas.microsoft.com/office/drawing/2014/main" id="{822F6EEA-5A38-4423-A306-D6E0F5B254BA}"/>
                </a:ext>
              </a:extLst>
            </p:cNvPr>
            <p:cNvSpPr>
              <a:spLocks/>
            </p:cNvSpPr>
            <p:nvPr/>
          </p:nvSpPr>
          <p:spPr bwMode="auto">
            <a:xfrm>
              <a:off x="6916" y="3190"/>
              <a:ext cx="5" cy="5"/>
            </a:xfrm>
            <a:custGeom>
              <a:avLst/>
              <a:gdLst>
                <a:gd name="T0" fmla="*/ 0 w 2"/>
                <a:gd name="T1" fmla="*/ 2 h 2"/>
                <a:gd name="T2" fmla="*/ 1 w 2"/>
                <a:gd name="T3" fmla="*/ 1 h 2"/>
                <a:gd name="T4" fmla="*/ 0 w 2"/>
                <a:gd name="T5" fmla="*/ 2 h 2"/>
              </a:gdLst>
              <a:ahLst/>
              <a:cxnLst>
                <a:cxn ang="0">
                  <a:pos x="T0" y="T1"/>
                </a:cxn>
                <a:cxn ang="0">
                  <a:pos x="T2" y="T3"/>
                </a:cxn>
                <a:cxn ang="0">
                  <a:pos x="T4" y="T5"/>
                </a:cxn>
              </a:cxnLst>
              <a:rect l="0" t="0" r="r" b="b"/>
              <a:pathLst>
                <a:path w="2" h="2">
                  <a:moveTo>
                    <a:pt x="0" y="2"/>
                  </a:moveTo>
                  <a:cubicBezTo>
                    <a:pt x="0" y="2"/>
                    <a:pt x="2" y="2"/>
                    <a:pt x="1" y="1"/>
                  </a:cubicBezTo>
                  <a:cubicBezTo>
                    <a:pt x="1" y="0"/>
                    <a:pt x="0"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95" name="Freeform 2650">
              <a:extLst>
                <a:ext uri="{FF2B5EF4-FFF2-40B4-BE49-F238E27FC236}">
                  <a16:creationId xmlns:a16="http://schemas.microsoft.com/office/drawing/2014/main" id="{E4000FEA-2380-4EB6-B55C-54A1212C2BD2}"/>
                </a:ext>
              </a:extLst>
            </p:cNvPr>
            <p:cNvSpPr>
              <a:spLocks/>
            </p:cNvSpPr>
            <p:nvPr/>
          </p:nvSpPr>
          <p:spPr bwMode="auto">
            <a:xfrm>
              <a:off x="6982" y="3034"/>
              <a:ext cx="5" cy="5"/>
            </a:xfrm>
            <a:custGeom>
              <a:avLst/>
              <a:gdLst>
                <a:gd name="T0" fmla="*/ 0 w 2"/>
                <a:gd name="T1" fmla="*/ 0 h 2"/>
                <a:gd name="T2" fmla="*/ 0 w 2"/>
                <a:gd name="T3" fmla="*/ 2 h 2"/>
                <a:gd name="T4" fmla="*/ 0 w 2"/>
                <a:gd name="T5" fmla="*/ 0 h 2"/>
              </a:gdLst>
              <a:ahLst/>
              <a:cxnLst>
                <a:cxn ang="0">
                  <a:pos x="T0" y="T1"/>
                </a:cxn>
                <a:cxn ang="0">
                  <a:pos x="T2" y="T3"/>
                </a:cxn>
                <a:cxn ang="0">
                  <a:pos x="T4" y="T5"/>
                </a:cxn>
              </a:cxnLst>
              <a:rect l="0" t="0" r="r" b="b"/>
              <a:pathLst>
                <a:path w="2" h="2">
                  <a:moveTo>
                    <a:pt x="0" y="0"/>
                  </a:moveTo>
                  <a:cubicBezTo>
                    <a:pt x="0" y="1"/>
                    <a:pt x="0" y="1"/>
                    <a:pt x="0" y="2"/>
                  </a:cubicBezTo>
                  <a:cubicBezTo>
                    <a:pt x="2" y="1"/>
                    <a:pt x="1"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96" name="Freeform 2651">
              <a:extLst>
                <a:ext uri="{FF2B5EF4-FFF2-40B4-BE49-F238E27FC236}">
                  <a16:creationId xmlns:a16="http://schemas.microsoft.com/office/drawing/2014/main" id="{6AD38E70-49E8-4333-928E-8F25B76A07B7}"/>
                </a:ext>
              </a:extLst>
            </p:cNvPr>
            <p:cNvSpPr>
              <a:spLocks/>
            </p:cNvSpPr>
            <p:nvPr/>
          </p:nvSpPr>
          <p:spPr bwMode="auto">
            <a:xfrm>
              <a:off x="7254" y="3455"/>
              <a:ext cx="5" cy="10"/>
            </a:xfrm>
            <a:custGeom>
              <a:avLst/>
              <a:gdLst>
                <a:gd name="T0" fmla="*/ 1 w 2"/>
                <a:gd name="T1" fmla="*/ 1 h 4"/>
                <a:gd name="T2" fmla="*/ 1 w 2"/>
                <a:gd name="T3" fmla="*/ 0 h 4"/>
                <a:gd name="T4" fmla="*/ 0 w 2"/>
                <a:gd name="T5" fmla="*/ 4 h 4"/>
                <a:gd name="T6" fmla="*/ 1 w 2"/>
                <a:gd name="T7" fmla="*/ 1 h 4"/>
              </a:gdLst>
              <a:ahLst/>
              <a:cxnLst>
                <a:cxn ang="0">
                  <a:pos x="T0" y="T1"/>
                </a:cxn>
                <a:cxn ang="0">
                  <a:pos x="T2" y="T3"/>
                </a:cxn>
                <a:cxn ang="0">
                  <a:pos x="T4" y="T5"/>
                </a:cxn>
                <a:cxn ang="0">
                  <a:pos x="T6" y="T7"/>
                </a:cxn>
              </a:cxnLst>
              <a:rect l="0" t="0" r="r" b="b"/>
              <a:pathLst>
                <a:path w="2" h="4">
                  <a:moveTo>
                    <a:pt x="1" y="1"/>
                  </a:moveTo>
                  <a:cubicBezTo>
                    <a:pt x="1" y="1"/>
                    <a:pt x="2" y="1"/>
                    <a:pt x="1" y="0"/>
                  </a:cubicBezTo>
                  <a:cubicBezTo>
                    <a:pt x="0" y="0"/>
                    <a:pt x="0" y="3"/>
                    <a:pt x="0" y="4"/>
                  </a:cubicBezTo>
                  <a:cubicBezTo>
                    <a:pt x="0" y="3"/>
                    <a:pt x="1" y="2"/>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97" name="Freeform 2652">
              <a:extLst>
                <a:ext uri="{FF2B5EF4-FFF2-40B4-BE49-F238E27FC236}">
                  <a16:creationId xmlns:a16="http://schemas.microsoft.com/office/drawing/2014/main" id="{90318CDE-6EC2-409D-917D-FF4C661D94E1}"/>
                </a:ext>
              </a:extLst>
            </p:cNvPr>
            <p:cNvSpPr>
              <a:spLocks/>
            </p:cNvSpPr>
            <p:nvPr/>
          </p:nvSpPr>
          <p:spPr bwMode="auto">
            <a:xfrm>
              <a:off x="7048" y="3810"/>
              <a:ext cx="0" cy="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98" name="Freeform 2653">
              <a:extLst>
                <a:ext uri="{FF2B5EF4-FFF2-40B4-BE49-F238E27FC236}">
                  <a16:creationId xmlns:a16="http://schemas.microsoft.com/office/drawing/2014/main" id="{101FC6D9-4A66-48A1-A9A0-77C7E7C2217F}"/>
                </a:ext>
              </a:extLst>
            </p:cNvPr>
            <p:cNvSpPr>
              <a:spLocks/>
            </p:cNvSpPr>
            <p:nvPr/>
          </p:nvSpPr>
          <p:spPr bwMode="auto">
            <a:xfrm>
              <a:off x="6835" y="3656"/>
              <a:ext cx="3" cy="5"/>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1" y="1"/>
                    <a:pt x="1" y="1"/>
                    <a:pt x="0" y="0"/>
                  </a:cubicBezTo>
                  <a:cubicBezTo>
                    <a:pt x="0" y="1"/>
                    <a:pt x="1" y="1"/>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99" name="Freeform 2654">
              <a:extLst>
                <a:ext uri="{FF2B5EF4-FFF2-40B4-BE49-F238E27FC236}">
                  <a16:creationId xmlns:a16="http://schemas.microsoft.com/office/drawing/2014/main" id="{117193E5-B575-4E43-9374-EF9FBC1F7939}"/>
                </a:ext>
              </a:extLst>
            </p:cNvPr>
            <p:cNvSpPr>
              <a:spLocks/>
            </p:cNvSpPr>
            <p:nvPr/>
          </p:nvSpPr>
          <p:spPr bwMode="auto">
            <a:xfrm>
              <a:off x="7148" y="3271"/>
              <a:ext cx="2" cy="5"/>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1"/>
                    <a:pt x="0" y="2"/>
                  </a:cubicBezTo>
                  <a:cubicBezTo>
                    <a:pt x="1" y="2"/>
                    <a:pt x="0"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00" name="Freeform 2655">
              <a:extLst>
                <a:ext uri="{FF2B5EF4-FFF2-40B4-BE49-F238E27FC236}">
                  <a16:creationId xmlns:a16="http://schemas.microsoft.com/office/drawing/2014/main" id="{211F332C-7DE4-471F-B2F2-57DAA2A543CA}"/>
                </a:ext>
              </a:extLst>
            </p:cNvPr>
            <p:cNvSpPr>
              <a:spLocks/>
            </p:cNvSpPr>
            <p:nvPr/>
          </p:nvSpPr>
          <p:spPr bwMode="auto">
            <a:xfrm>
              <a:off x="6845" y="3155"/>
              <a:ext cx="2" cy="2"/>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1" y="1"/>
                    <a:pt x="1" y="1"/>
                    <a:pt x="1" y="0"/>
                  </a:cubicBezTo>
                  <a:cubicBezTo>
                    <a:pt x="1" y="1"/>
                    <a:pt x="1"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01" name="Freeform 2656">
              <a:extLst>
                <a:ext uri="{FF2B5EF4-FFF2-40B4-BE49-F238E27FC236}">
                  <a16:creationId xmlns:a16="http://schemas.microsoft.com/office/drawing/2014/main" id="{3C76E8E4-52FB-4999-9E60-197942BB0686}"/>
                </a:ext>
              </a:extLst>
            </p:cNvPr>
            <p:cNvSpPr>
              <a:spLocks/>
            </p:cNvSpPr>
            <p:nvPr/>
          </p:nvSpPr>
          <p:spPr bwMode="auto">
            <a:xfrm>
              <a:off x="6838" y="3105"/>
              <a:ext cx="5" cy="10"/>
            </a:xfrm>
            <a:custGeom>
              <a:avLst/>
              <a:gdLst>
                <a:gd name="T0" fmla="*/ 0 w 2"/>
                <a:gd name="T1" fmla="*/ 4 h 4"/>
                <a:gd name="T2" fmla="*/ 0 w 2"/>
                <a:gd name="T3" fmla="*/ 4 h 4"/>
              </a:gdLst>
              <a:ahLst/>
              <a:cxnLst>
                <a:cxn ang="0">
                  <a:pos x="T0" y="T1"/>
                </a:cxn>
                <a:cxn ang="0">
                  <a:pos x="T2" y="T3"/>
                </a:cxn>
              </a:cxnLst>
              <a:rect l="0" t="0" r="r" b="b"/>
              <a:pathLst>
                <a:path w="2" h="4">
                  <a:moveTo>
                    <a:pt x="0" y="4"/>
                  </a:moveTo>
                  <a:cubicBezTo>
                    <a:pt x="2" y="3"/>
                    <a:pt x="0" y="0"/>
                    <a:pt x="0"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02" name="Freeform 2657">
              <a:extLst>
                <a:ext uri="{FF2B5EF4-FFF2-40B4-BE49-F238E27FC236}">
                  <a16:creationId xmlns:a16="http://schemas.microsoft.com/office/drawing/2014/main" id="{1392712F-00E6-4758-81F0-0E75815A09BC}"/>
                </a:ext>
              </a:extLst>
            </p:cNvPr>
            <p:cNvSpPr>
              <a:spLocks/>
            </p:cNvSpPr>
            <p:nvPr/>
          </p:nvSpPr>
          <p:spPr bwMode="auto">
            <a:xfrm>
              <a:off x="6857" y="3157"/>
              <a:ext cx="2" cy="5"/>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2"/>
                    <a:pt x="1" y="2"/>
                  </a:cubicBezTo>
                  <a:cubicBezTo>
                    <a:pt x="1" y="1"/>
                    <a:pt x="1"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03" name="Freeform 2658">
              <a:extLst>
                <a:ext uri="{FF2B5EF4-FFF2-40B4-BE49-F238E27FC236}">
                  <a16:creationId xmlns:a16="http://schemas.microsoft.com/office/drawing/2014/main" id="{8F1EAB68-530F-4B48-8D4F-0E815DBA8B99}"/>
                </a:ext>
              </a:extLst>
            </p:cNvPr>
            <p:cNvSpPr>
              <a:spLocks/>
            </p:cNvSpPr>
            <p:nvPr/>
          </p:nvSpPr>
          <p:spPr bwMode="auto">
            <a:xfrm>
              <a:off x="7053" y="3753"/>
              <a:ext cx="7" cy="5"/>
            </a:xfrm>
            <a:custGeom>
              <a:avLst/>
              <a:gdLst>
                <a:gd name="T0" fmla="*/ 0 w 3"/>
                <a:gd name="T1" fmla="*/ 1 h 2"/>
                <a:gd name="T2" fmla="*/ 3 w 3"/>
                <a:gd name="T3" fmla="*/ 2 h 2"/>
                <a:gd name="T4" fmla="*/ 0 w 3"/>
                <a:gd name="T5" fmla="*/ 1 h 2"/>
              </a:gdLst>
              <a:ahLst/>
              <a:cxnLst>
                <a:cxn ang="0">
                  <a:pos x="T0" y="T1"/>
                </a:cxn>
                <a:cxn ang="0">
                  <a:pos x="T2" y="T3"/>
                </a:cxn>
                <a:cxn ang="0">
                  <a:pos x="T4" y="T5"/>
                </a:cxn>
              </a:cxnLst>
              <a:rect l="0" t="0" r="r" b="b"/>
              <a:pathLst>
                <a:path w="3" h="2">
                  <a:moveTo>
                    <a:pt x="0" y="1"/>
                  </a:moveTo>
                  <a:cubicBezTo>
                    <a:pt x="1" y="2"/>
                    <a:pt x="2" y="2"/>
                    <a:pt x="3" y="2"/>
                  </a:cubicBezTo>
                  <a:cubicBezTo>
                    <a:pt x="2" y="1"/>
                    <a:pt x="1"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04" name="Freeform 2659">
              <a:extLst>
                <a:ext uri="{FF2B5EF4-FFF2-40B4-BE49-F238E27FC236}">
                  <a16:creationId xmlns:a16="http://schemas.microsoft.com/office/drawing/2014/main" id="{B77D956A-C23D-437B-8F64-72CA59D7E96D}"/>
                </a:ext>
              </a:extLst>
            </p:cNvPr>
            <p:cNvSpPr>
              <a:spLocks/>
            </p:cNvSpPr>
            <p:nvPr/>
          </p:nvSpPr>
          <p:spPr bwMode="auto">
            <a:xfrm>
              <a:off x="6982" y="3022"/>
              <a:ext cx="7" cy="5"/>
            </a:xfrm>
            <a:custGeom>
              <a:avLst/>
              <a:gdLst>
                <a:gd name="T0" fmla="*/ 1 w 3"/>
                <a:gd name="T1" fmla="*/ 2 h 2"/>
                <a:gd name="T2" fmla="*/ 1 w 3"/>
                <a:gd name="T3" fmla="*/ 2 h 2"/>
              </a:gdLst>
              <a:ahLst/>
              <a:cxnLst>
                <a:cxn ang="0">
                  <a:pos x="T0" y="T1"/>
                </a:cxn>
                <a:cxn ang="0">
                  <a:pos x="T2" y="T3"/>
                </a:cxn>
              </a:cxnLst>
              <a:rect l="0" t="0" r="r" b="b"/>
              <a:pathLst>
                <a:path w="3" h="2">
                  <a:moveTo>
                    <a:pt x="1" y="2"/>
                  </a:moveTo>
                  <a:cubicBezTo>
                    <a:pt x="3" y="0"/>
                    <a:pt x="0" y="0"/>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05" name="Freeform 2660">
              <a:extLst>
                <a:ext uri="{FF2B5EF4-FFF2-40B4-BE49-F238E27FC236}">
                  <a16:creationId xmlns:a16="http://schemas.microsoft.com/office/drawing/2014/main" id="{3D6AC7C8-F1D5-43C5-BA0A-6E68D41EF7A2}"/>
                </a:ext>
              </a:extLst>
            </p:cNvPr>
            <p:cNvSpPr>
              <a:spLocks/>
            </p:cNvSpPr>
            <p:nvPr/>
          </p:nvSpPr>
          <p:spPr bwMode="auto">
            <a:xfrm>
              <a:off x="7169" y="3318"/>
              <a:ext cx="0" cy="5"/>
            </a:xfrm>
            <a:custGeom>
              <a:avLst/>
              <a:gdLst>
                <a:gd name="T0" fmla="*/ 0 h 2"/>
                <a:gd name="T1" fmla="*/ 2 h 2"/>
                <a:gd name="T2" fmla="*/ 0 h 2"/>
              </a:gdLst>
              <a:ahLst/>
              <a:cxnLst>
                <a:cxn ang="0">
                  <a:pos x="0" y="T0"/>
                </a:cxn>
                <a:cxn ang="0">
                  <a:pos x="0" y="T1"/>
                </a:cxn>
                <a:cxn ang="0">
                  <a:pos x="0" y="T2"/>
                </a:cxn>
              </a:cxnLst>
              <a:rect l="0" t="0" r="r" b="b"/>
              <a:pathLst>
                <a:path h="2">
                  <a:moveTo>
                    <a:pt x="0" y="0"/>
                  </a:moveTo>
                  <a:cubicBezTo>
                    <a:pt x="0" y="1"/>
                    <a:pt x="0" y="2"/>
                    <a:pt x="0" y="2"/>
                  </a:cubicBezTo>
                  <a:cubicBezTo>
                    <a:pt x="0" y="2"/>
                    <a:pt x="0"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06" name="Freeform 2661">
              <a:extLst>
                <a:ext uri="{FF2B5EF4-FFF2-40B4-BE49-F238E27FC236}">
                  <a16:creationId xmlns:a16="http://schemas.microsoft.com/office/drawing/2014/main" id="{AF31C1A8-2EF3-4AB1-82CA-C2462FFC3F99}"/>
                </a:ext>
              </a:extLst>
            </p:cNvPr>
            <p:cNvSpPr>
              <a:spLocks/>
            </p:cNvSpPr>
            <p:nvPr/>
          </p:nvSpPr>
          <p:spPr bwMode="auto">
            <a:xfrm>
              <a:off x="7098" y="3888"/>
              <a:ext cx="12" cy="14"/>
            </a:xfrm>
            <a:custGeom>
              <a:avLst/>
              <a:gdLst>
                <a:gd name="T0" fmla="*/ 3 w 5"/>
                <a:gd name="T1" fmla="*/ 3 h 6"/>
                <a:gd name="T2" fmla="*/ 2 w 5"/>
                <a:gd name="T3" fmla="*/ 4 h 6"/>
                <a:gd name="T4" fmla="*/ 2 w 5"/>
                <a:gd name="T5" fmla="*/ 4 h 6"/>
                <a:gd name="T6" fmla="*/ 2 w 5"/>
                <a:gd name="T7" fmla="*/ 5 h 6"/>
                <a:gd name="T8" fmla="*/ 4 w 5"/>
                <a:gd name="T9" fmla="*/ 2 h 6"/>
                <a:gd name="T10" fmla="*/ 4 w 5"/>
                <a:gd name="T11" fmla="*/ 0 h 6"/>
                <a:gd name="T12" fmla="*/ 3 w 5"/>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3" y="3"/>
                  </a:moveTo>
                  <a:cubicBezTo>
                    <a:pt x="3" y="3"/>
                    <a:pt x="2" y="3"/>
                    <a:pt x="2" y="4"/>
                  </a:cubicBezTo>
                  <a:cubicBezTo>
                    <a:pt x="2" y="4"/>
                    <a:pt x="2" y="4"/>
                    <a:pt x="2" y="4"/>
                  </a:cubicBezTo>
                  <a:cubicBezTo>
                    <a:pt x="2" y="4"/>
                    <a:pt x="0" y="4"/>
                    <a:pt x="2" y="5"/>
                  </a:cubicBezTo>
                  <a:cubicBezTo>
                    <a:pt x="4" y="6"/>
                    <a:pt x="4" y="3"/>
                    <a:pt x="4" y="2"/>
                  </a:cubicBezTo>
                  <a:cubicBezTo>
                    <a:pt x="5" y="1"/>
                    <a:pt x="5" y="0"/>
                    <a:pt x="4" y="0"/>
                  </a:cubicBezTo>
                  <a:cubicBezTo>
                    <a:pt x="3" y="1"/>
                    <a:pt x="3" y="2"/>
                    <a:pt x="3"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07" name="Freeform 2662">
              <a:extLst>
                <a:ext uri="{FF2B5EF4-FFF2-40B4-BE49-F238E27FC236}">
                  <a16:creationId xmlns:a16="http://schemas.microsoft.com/office/drawing/2014/main" id="{F2ADD081-4888-46D3-B118-6FEA1104590A}"/>
                </a:ext>
              </a:extLst>
            </p:cNvPr>
            <p:cNvSpPr>
              <a:spLocks/>
            </p:cNvSpPr>
            <p:nvPr/>
          </p:nvSpPr>
          <p:spPr bwMode="auto">
            <a:xfrm>
              <a:off x="7126" y="3813"/>
              <a:ext cx="3" cy="2"/>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0" y="1"/>
                    <a:pt x="0" y="1"/>
                    <a:pt x="0" y="1"/>
                  </a:cubicBezTo>
                  <a:cubicBezTo>
                    <a:pt x="1" y="1"/>
                    <a:pt x="1" y="0"/>
                    <a:pt x="1" y="0"/>
                  </a:cubicBezTo>
                  <a:cubicBezTo>
                    <a:pt x="0" y="0"/>
                    <a:pt x="0"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08" name="Freeform 2663">
              <a:extLst>
                <a:ext uri="{FF2B5EF4-FFF2-40B4-BE49-F238E27FC236}">
                  <a16:creationId xmlns:a16="http://schemas.microsoft.com/office/drawing/2014/main" id="{39AC4B55-40D5-48E6-8063-47CC275578EF}"/>
                </a:ext>
              </a:extLst>
            </p:cNvPr>
            <p:cNvSpPr>
              <a:spLocks/>
            </p:cNvSpPr>
            <p:nvPr/>
          </p:nvSpPr>
          <p:spPr bwMode="auto">
            <a:xfrm>
              <a:off x="6838" y="3067"/>
              <a:ext cx="2" cy="3"/>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1" y="1"/>
                    <a:pt x="1" y="0"/>
                  </a:cubicBezTo>
                  <a:cubicBezTo>
                    <a:pt x="1" y="1"/>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09" name="Freeform 2664">
              <a:extLst>
                <a:ext uri="{FF2B5EF4-FFF2-40B4-BE49-F238E27FC236}">
                  <a16:creationId xmlns:a16="http://schemas.microsoft.com/office/drawing/2014/main" id="{FD35AC4A-9060-479D-85F6-BA9CAE86BB27}"/>
                </a:ext>
              </a:extLst>
            </p:cNvPr>
            <p:cNvSpPr>
              <a:spLocks/>
            </p:cNvSpPr>
            <p:nvPr/>
          </p:nvSpPr>
          <p:spPr bwMode="auto">
            <a:xfrm>
              <a:off x="7197" y="3354"/>
              <a:ext cx="5" cy="9"/>
            </a:xfrm>
            <a:custGeom>
              <a:avLst/>
              <a:gdLst>
                <a:gd name="T0" fmla="*/ 2 w 2"/>
                <a:gd name="T1" fmla="*/ 4 h 4"/>
                <a:gd name="T2" fmla="*/ 2 w 2"/>
                <a:gd name="T3" fmla="*/ 1 h 4"/>
                <a:gd name="T4" fmla="*/ 0 w 2"/>
                <a:gd name="T5" fmla="*/ 0 h 4"/>
                <a:gd name="T6" fmla="*/ 1 w 2"/>
                <a:gd name="T7" fmla="*/ 3 h 4"/>
                <a:gd name="T8" fmla="*/ 2 w 2"/>
                <a:gd name="T9" fmla="*/ 4 h 4"/>
              </a:gdLst>
              <a:ahLst/>
              <a:cxnLst>
                <a:cxn ang="0">
                  <a:pos x="T0" y="T1"/>
                </a:cxn>
                <a:cxn ang="0">
                  <a:pos x="T2" y="T3"/>
                </a:cxn>
                <a:cxn ang="0">
                  <a:pos x="T4" y="T5"/>
                </a:cxn>
                <a:cxn ang="0">
                  <a:pos x="T6" y="T7"/>
                </a:cxn>
                <a:cxn ang="0">
                  <a:pos x="T8" y="T9"/>
                </a:cxn>
              </a:cxnLst>
              <a:rect l="0" t="0" r="r" b="b"/>
              <a:pathLst>
                <a:path w="2" h="4">
                  <a:moveTo>
                    <a:pt x="2" y="4"/>
                  </a:moveTo>
                  <a:cubicBezTo>
                    <a:pt x="2" y="3"/>
                    <a:pt x="2" y="2"/>
                    <a:pt x="2" y="1"/>
                  </a:cubicBezTo>
                  <a:cubicBezTo>
                    <a:pt x="1" y="1"/>
                    <a:pt x="0" y="1"/>
                    <a:pt x="0" y="0"/>
                  </a:cubicBezTo>
                  <a:cubicBezTo>
                    <a:pt x="0" y="1"/>
                    <a:pt x="1" y="2"/>
                    <a:pt x="1" y="3"/>
                  </a:cubicBezTo>
                  <a:cubicBezTo>
                    <a:pt x="1" y="3"/>
                    <a:pt x="2" y="4"/>
                    <a:pt x="2"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10" name="Freeform 2665">
              <a:extLst>
                <a:ext uri="{FF2B5EF4-FFF2-40B4-BE49-F238E27FC236}">
                  <a16:creationId xmlns:a16="http://schemas.microsoft.com/office/drawing/2014/main" id="{DFA49540-23C8-40EF-908D-DA66FF1B4E78}"/>
                </a:ext>
              </a:extLst>
            </p:cNvPr>
            <p:cNvSpPr>
              <a:spLocks/>
            </p:cNvSpPr>
            <p:nvPr/>
          </p:nvSpPr>
          <p:spPr bwMode="auto">
            <a:xfrm>
              <a:off x="7254" y="3448"/>
              <a:ext cx="0" cy="7"/>
            </a:xfrm>
            <a:custGeom>
              <a:avLst/>
              <a:gdLst>
                <a:gd name="T0" fmla="*/ 3 h 3"/>
                <a:gd name="T1" fmla="*/ 0 h 3"/>
                <a:gd name="T2" fmla="*/ 3 h 3"/>
              </a:gdLst>
              <a:ahLst/>
              <a:cxnLst>
                <a:cxn ang="0">
                  <a:pos x="0" y="T0"/>
                </a:cxn>
                <a:cxn ang="0">
                  <a:pos x="0" y="T1"/>
                </a:cxn>
                <a:cxn ang="0">
                  <a:pos x="0" y="T2"/>
                </a:cxn>
              </a:cxnLst>
              <a:rect l="0" t="0" r="r" b="b"/>
              <a:pathLst>
                <a:path h="3">
                  <a:moveTo>
                    <a:pt x="0" y="3"/>
                  </a:moveTo>
                  <a:cubicBezTo>
                    <a:pt x="0" y="2"/>
                    <a:pt x="0" y="1"/>
                    <a:pt x="0" y="0"/>
                  </a:cubicBezTo>
                  <a:cubicBezTo>
                    <a:pt x="0" y="1"/>
                    <a:pt x="0" y="2"/>
                    <a:pt x="0"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11" name="Freeform 2666">
              <a:extLst>
                <a:ext uri="{FF2B5EF4-FFF2-40B4-BE49-F238E27FC236}">
                  <a16:creationId xmlns:a16="http://schemas.microsoft.com/office/drawing/2014/main" id="{07B7A955-3326-4E6C-8D88-04BC3D783E97}"/>
                </a:ext>
              </a:extLst>
            </p:cNvPr>
            <p:cNvSpPr>
              <a:spLocks/>
            </p:cNvSpPr>
            <p:nvPr/>
          </p:nvSpPr>
          <p:spPr bwMode="auto">
            <a:xfrm>
              <a:off x="6845" y="3044"/>
              <a:ext cx="7" cy="11"/>
            </a:xfrm>
            <a:custGeom>
              <a:avLst/>
              <a:gdLst>
                <a:gd name="T0" fmla="*/ 3 w 3"/>
                <a:gd name="T1" fmla="*/ 0 h 5"/>
                <a:gd name="T2" fmla="*/ 0 w 3"/>
                <a:gd name="T3" fmla="*/ 5 h 5"/>
                <a:gd name="T4" fmla="*/ 3 w 3"/>
                <a:gd name="T5" fmla="*/ 0 h 5"/>
              </a:gdLst>
              <a:ahLst/>
              <a:cxnLst>
                <a:cxn ang="0">
                  <a:pos x="T0" y="T1"/>
                </a:cxn>
                <a:cxn ang="0">
                  <a:pos x="T2" y="T3"/>
                </a:cxn>
                <a:cxn ang="0">
                  <a:pos x="T4" y="T5"/>
                </a:cxn>
              </a:cxnLst>
              <a:rect l="0" t="0" r="r" b="b"/>
              <a:pathLst>
                <a:path w="3" h="5">
                  <a:moveTo>
                    <a:pt x="3" y="0"/>
                  </a:moveTo>
                  <a:cubicBezTo>
                    <a:pt x="2" y="2"/>
                    <a:pt x="1" y="3"/>
                    <a:pt x="0" y="5"/>
                  </a:cubicBezTo>
                  <a:cubicBezTo>
                    <a:pt x="2" y="4"/>
                    <a:pt x="2" y="2"/>
                    <a:pt x="3"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12" name="Freeform 2667">
              <a:extLst>
                <a:ext uri="{FF2B5EF4-FFF2-40B4-BE49-F238E27FC236}">
                  <a16:creationId xmlns:a16="http://schemas.microsoft.com/office/drawing/2014/main" id="{A2A99010-46B7-4753-9F9A-3740483105D0}"/>
                </a:ext>
              </a:extLst>
            </p:cNvPr>
            <p:cNvSpPr>
              <a:spLocks/>
            </p:cNvSpPr>
            <p:nvPr/>
          </p:nvSpPr>
          <p:spPr bwMode="auto">
            <a:xfrm>
              <a:off x="6687" y="3051"/>
              <a:ext cx="18" cy="14"/>
            </a:xfrm>
            <a:custGeom>
              <a:avLst/>
              <a:gdLst>
                <a:gd name="T0" fmla="*/ 2 w 8"/>
                <a:gd name="T1" fmla="*/ 4 h 6"/>
                <a:gd name="T2" fmla="*/ 1 w 8"/>
                <a:gd name="T3" fmla="*/ 5 h 6"/>
                <a:gd name="T4" fmla="*/ 2 w 8"/>
                <a:gd name="T5" fmla="*/ 5 h 6"/>
                <a:gd name="T6" fmla="*/ 6 w 8"/>
                <a:gd name="T7" fmla="*/ 6 h 6"/>
                <a:gd name="T8" fmla="*/ 5 w 8"/>
                <a:gd name="T9" fmla="*/ 4 h 6"/>
                <a:gd name="T10" fmla="*/ 5 w 8"/>
                <a:gd name="T11" fmla="*/ 2 h 6"/>
                <a:gd name="T12" fmla="*/ 4 w 8"/>
                <a:gd name="T13" fmla="*/ 1 h 6"/>
                <a:gd name="T14" fmla="*/ 2 w 8"/>
                <a:gd name="T15" fmla="*/ 2 h 6"/>
                <a:gd name="T16" fmla="*/ 3 w 8"/>
                <a:gd name="T17" fmla="*/ 4 h 6"/>
                <a:gd name="T18" fmla="*/ 2 w 8"/>
                <a:gd name="T1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6">
                  <a:moveTo>
                    <a:pt x="2" y="4"/>
                  </a:moveTo>
                  <a:cubicBezTo>
                    <a:pt x="2" y="4"/>
                    <a:pt x="1" y="5"/>
                    <a:pt x="1" y="5"/>
                  </a:cubicBezTo>
                  <a:cubicBezTo>
                    <a:pt x="1" y="5"/>
                    <a:pt x="0" y="5"/>
                    <a:pt x="2" y="5"/>
                  </a:cubicBezTo>
                  <a:cubicBezTo>
                    <a:pt x="3" y="6"/>
                    <a:pt x="4" y="6"/>
                    <a:pt x="6" y="6"/>
                  </a:cubicBezTo>
                  <a:cubicBezTo>
                    <a:pt x="8" y="6"/>
                    <a:pt x="7" y="4"/>
                    <a:pt x="5" y="4"/>
                  </a:cubicBezTo>
                  <a:cubicBezTo>
                    <a:pt x="6" y="3"/>
                    <a:pt x="5" y="3"/>
                    <a:pt x="5" y="2"/>
                  </a:cubicBezTo>
                  <a:cubicBezTo>
                    <a:pt x="5" y="2"/>
                    <a:pt x="5" y="1"/>
                    <a:pt x="4" y="1"/>
                  </a:cubicBezTo>
                  <a:cubicBezTo>
                    <a:pt x="4" y="0"/>
                    <a:pt x="3" y="1"/>
                    <a:pt x="2" y="2"/>
                  </a:cubicBezTo>
                  <a:cubicBezTo>
                    <a:pt x="2" y="2"/>
                    <a:pt x="3" y="3"/>
                    <a:pt x="3" y="4"/>
                  </a:cubicBezTo>
                  <a:cubicBezTo>
                    <a:pt x="2" y="5"/>
                    <a:pt x="2" y="4"/>
                    <a:pt x="2"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13" name="Freeform 2668">
              <a:extLst>
                <a:ext uri="{FF2B5EF4-FFF2-40B4-BE49-F238E27FC236}">
                  <a16:creationId xmlns:a16="http://schemas.microsoft.com/office/drawing/2014/main" id="{18490F6E-C842-4531-A528-20F14B180662}"/>
                </a:ext>
              </a:extLst>
            </p:cNvPr>
            <p:cNvSpPr>
              <a:spLocks/>
            </p:cNvSpPr>
            <p:nvPr/>
          </p:nvSpPr>
          <p:spPr bwMode="auto">
            <a:xfrm>
              <a:off x="6909" y="3176"/>
              <a:ext cx="14" cy="10"/>
            </a:xfrm>
            <a:custGeom>
              <a:avLst/>
              <a:gdLst>
                <a:gd name="T0" fmla="*/ 5 w 6"/>
                <a:gd name="T1" fmla="*/ 2 h 4"/>
                <a:gd name="T2" fmla="*/ 5 w 6"/>
                <a:gd name="T3" fmla="*/ 2 h 4"/>
                <a:gd name="T4" fmla="*/ 6 w 6"/>
                <a:gd name="T5" fmla="*/ 1 h 4"/>
                <a:gd name="T6" fmla="*/ 3 w 6"/>
                <a:gd name="T7" fmla="*/ 1 h 4"/>
                <a:gd name="T8" fmla="*/ 0 w 6"/>
                <a:gd name="T9" fmla="*/ 3 h 4"/>
                <a:gd name="T10" fmla="*/ 2 w 6"/>
                <a:gd name="T11" fmla="*/ 4 h 4"/>
                <a:gd name="T12" fmla="*/ 3 w 6"/>
                <a:gd name="T13" fmla="*/ 3 h 4"/>
                <a:gd name="T14" fmla="*/ 4 w 6"/>
                <a:gd name="T15" fmla="*/ 1 h 4"/>
                <a:gd name="T16" fmla="*/ 5 w 6"/>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5" y="2"/>
                  </a:moveTo>
                  <a:cubicBezTo>
                    <a:pt x="5" y="2"/>
                    <a:pt x="5" y="2"/>
                    <a:pt x="5" y="2"/>
                  </a:cubicBezTo>
                  <a:cubicBezTo>
                    <a:pt x="6" y="2"/>
                    <a:pt x="6" y="1"/>
                    <a:pt x="6" y="1"/>
                  </a:cubicBezTo>
                  <a:cubicBezTo>
                    <a:pt x="6" y="0"/>
                    <a:pt x="4" y="1"/>
                    <a:pt x="3" y="1"/>
                  </a:cubicBezTo>
                  <a:cubicBezTo>
                    <a:pt x="1" y="1"/>
                    <a:pt x="1" y="2"/>
                    <a:pt x="0" y="3"/>
                  </a:cubicBezTo>
                  <a:cubicBezTo>
                    <a:pt x="1" y="4"/>
                    <a:pt x="1" y="4"/>
                    <a:pt x="2" y="4"/>
                  </a:cubicBezTo>
                  <a:cubicBezTo>
                    <a:pt x="2" y="4"/>
                    <a:pt x="3" y="3"/>
                    <a:pt x="3" y="3"/>
                  </a:cubicBezTo>
                  <a:cubicBezTo>
                    <a:pt x="3" y="3"/>
                    <a:pt x="4" y="1"/>
                    <a:pt x="4" y="1"/>
                  </a:cubicBezTo>
                  <a:cubicBezTo>
                    <a:pt x="5" y="1"/>
                    <a:pt x="5" y="2"/>
                    <a:pt x="5"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14" name="Freeform 2669">
              <a:extLst>
                <a:ext uri="{FF2B5EF4-FFF2-40B4-BE49-F238E27FC236}">
                  <a16:creationId xmlns:a16="http://schemas.microsoft.com/office/drawing/2014/main" id="{FACC21A4-A661-4DA7-982B-BF70A8246817}"/>
                </a:ext>
              </a:extLst>
            </p:cNvPr>
            <p:cNvSpPr>
              <a:spLocks/>
            </p:cNvSpPr>
            <p:nvPr/>
          </p:nvSpPr>
          <p:spPr bwMode="auto">
            <a:xfrm>
              <a:off x="7022" y="3787"/>
              <a:ext cx="7" cy="14"/>
            </a:xfrm>
            <a:custGeom>
              <a:avLst/>
              <a:gdLst>
                <a:gd name="T0" fmla="*/ 1 w 3"/>
                <a:gd name="T1" fmla="*/ 0 h 6"/>
                <a:gd name="T2" fmla="*/ 0 w 3"/>
                <a:gd name="T3" fmla="*/ 4 h 6"/>
                <a:gd name="T4" fmla="*/ 0 w 3"/>
                <a:gd name="T5" fmla="*/ 6 h 6"/>
                <a:gd name="T6" fmla="*/ 3 w 3"/>
                <a:gd name="T7" fmla="*/ 5 h 6"/>
                <a:gd name="T8" fmla="*/ 3 w 3"/>
                <a:gd name="T9" fmla="*/ 2 h 6"/>
                <a:gd name="T10" fmla="*/ 1 w 3"/>
                <a:gd name="T11" fmla="*/ 0 h 6"/>
              </a:gdLst>
              <a:ahLst/>
              <a:cxnLst>
                <a:cxn ang="0">
                  <a:pos x="T0" y="T1"/>
                </a:cxn>
                <a:cxn ang="0">
                  <a:pos x="T2" y="T3"/>
                </a:cxn>
                <a:cxn ang="0">
                  <a:pos x="T4" y="T5"/>
                </a:cxn>
                <a:cxn ang="0">
                  <a:pos x="T6" y="T7"/>
                </a:cxn>
                <a:cxn ang="0">
                  <a:pos x="T8" y="T9"/>
                </a:cxn>
                <a:cxn ang="0">
                  <a:pos x="T10" y="T11"/>
                </a:cxn>
              </a:cxnLst>
              <a:rect l="0" t="0" r="r" b="b"/>
              <a:pathLst>
                <a:path w="3" h="6">
                  <a:moveTo>
                    <a:pt x="1" y="0"/>
                  </a:moveTo>
                  <a:cubicBezTo>
                    <a:pt x="1" y="1"/>
                    <a:pt x="0" y="2"/>
                    <a:pt x="0" y="4"/>
                  </a:cubicBezTo>
                  <a:cubicBezTo>
                    <a:pt x="0" y="4"/>
                    <a:pt x="0" y="6"/>
                    <a:pt x="0" y="6"/>
                  </a:cubicBezTo>
                  <a:cubicBezTo>
                    <a:pt x="1" y="6"/>
                    <a:pt x="2" y="6"/>
                    <a:pt x="3" y="5"/>
                  </a:cubicBezTo>
                  <a:cubicBezTo>
                    <a:pt x="3" y="5"/>
                    <a:pt x="3" y="2"/>
                    <a:pt x="3" y="2"/>
                  </a:cubicBezTo>
                  <a:cubicBezTo>
                    <a:pt x="3" y="1"/>
                    <a:pt x="2" y="1"/>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15" name="Freeform 2670">
              <a:extLst>
                <a:ext uri="{FF2B5EF4-FFF2-40B4-BE49-F238E27FC236}">
                  <a16:creationId xmlns:a16="http://schemas.microsoft.com/office/drawing/2014/main" id="{D0C5D580-F97C-4B7D-BB44-233011FA1F08}"/>
                </a:ext>
              </a:extLst>
            </p:cNvPr>
            <p:cNvSpPr>
              <a:spLocks/>
            </p:cNvSpPr>
            <p:nvPr/>
          </p:nvSpPr>
          <p:spPr bwMode="auto">
            <a:xfrm>
              <a:off x="7048" y="3815"/>
              <a:ext cx="5" cy="5"/>
            </a:xfrm>
            <a:custGeom>
              <a:avLst/>
              <a:gdLst>
                <a:gd name="T0" fmla="*/ 0 w 2"/>
                <a:gd name="T1" fmla="*/ 1 h 2"/>
                <a:gd name="T2" fmla="*/ 2 w 2"/>
                <a:gd name="T3" fmla="*/ 2 h 2"/>
                <a:gd name="T4" fmla="*/ 0 w 2"/>
                <a:gd name="T5" fmla="*/ 1 h 2"/>
              </a:gdLst>
              <a:ahLst/>
              <a:cxnLst>
                <a:cxn ang="0">
                  <a:pos x="T0" y="T1"/>
                </a:cxn>
                <a:cxn ang="0">
                  <a:pos x="T2" y="T3"/>
                </a:cxn>
                <a:cxn ang="0">
                  <a:pos x="T4" y="T5"/>
                </a:cxn>
              </a:cxnLst>
              <a:rect l="0" t="0" r="r" b="b"/>
              <a:pathLst>
                <a:path w="2" h="2">
                  <a:moveTo>
                    <a:pt x="0" y="1"/>
                  </a:moveTo>
                  <a:cubicBezTo>
                    <a:pt x="1" y="2"/>
                    <a:pt x="1" y="1"/>
                    <a:pt x="2" y="2"/>
                  </a:cubicBezTo>
                  <a:cubicBezTo>
                    <a:pt x="1" y="1"/>
                    <a:pt x="0"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16" name="Freeform 2671">
              <a:extLst>
                <a:ext uri="{FF2B5EF4-FFF2-40B4-BE49-F238E27FC236}">
                  <a16:creationId xmlns:a16="http://schemas.microsoft.com/office/drawing/2014/main" id="{5836F14E-A412-4DBD-8278-5A54AB77FDF1}"/>
                </a:ext>
              </a:extLst>
            </p:cNvPr>
            <p:cNvSpPr>
              <a:spLocks/>
            </p:cNvSpPr>
            <p:nvPr/>
          </p:nvSpPr>
          <p:spPr bwMode="auto">
            <a:xfrm>
              <a:off x="7124" y="3874"/>
              <a:ext cx="5" cy="5"/>
            </a:xfrm>
            <a:custGeom>
              <a:avLst/>
              <a:gdLst>
                <a:gd name="T0" fmla="*/ 0 w 2"/>
                <a:gd name="T1" fmla="*/ 2 h 2"/>
                <a:gd name="T2" fmla="*/ 1 w 2"/>
                <a:gd name="T3" fmla="*/ 1 h 2"/>
                <a:gd name="T4" fmla="*/ 1 w 2"/>
                <a:gd name="T5" fmla="*/ 0 h 2"/>
                <a:gd name="T6" fmla="*/ 0 w 2"/>
                <a:gd name="T7" fmla="*/ 2 h 2"/>
              </a:gdLst>
              <a:ahLst/>
              <a:cxnLst>
                <a:cxn ang="0">
                  <a:pos x="T0" y="T1"/>
                </a:cxn>
                <a:cxn ang="0">
                  <a:pos x="T2" y="T3"/>
                </a:cxn>
                <a:cxn ang="0">
                  <a:pos x="T4" y="T5"/>
                </a:cxn>
                <a:cxn ang="0">
                  <a:pos x="T6" y="T7"/>
                </a:cxn>
              </a:cxnLst>
              <a:rect l="0" t="0" r="r" b="b"/>
              <a:pathLst>
                <a:path w="2" h="2">
                  <a:moveTo>
                    <a:pt x="0" y="2"/>
                  </a:moveTo>
                  <a:cubicBezTo>
                    <a:pt x="1" y="1"/>
                    <a:pt x="1" y="1"/>
                    <a:pt x="1" y="1"/>
                  </a:cubicBezTo>
                  <a:cubicBezTo>
                    <a:pt x="1" y="0"/>
                    <a:pt x="2" y="1"/>
                    <a:pt x="1" y="0"/>
                  </a:cubicBezTo>
                  <a:cubicBezTo>
                    <a:pt x="0" y="0"/>
                    <a:pt x="0"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17" name="Freeform 2672">
              <a:extLst>
                <a:ext uri="{FF2B5EF4-FFF2-40B4-BE49-F238E27FC236}">
                  <a16:creationId xmlns:a16="http://schemas.microsoft.com/office/drawing/2014/main" id="{1D5C1C5E-D5D7-418C-A9B6-2C4CEAEE967B}"/>
                </a:ext>
              </a:extLst>
            </p:cNvPr>
            <p:cNvSpPr>
              <a:spLocks/>
            </p:cNvSpPr>
            <p:nvPr/>
          </p:nvSpPr>
          <p:spPr bwMode="auto">
            <a:xfrm>
              <a:off x="4885" y="2109"/>
              <a:ext cx="24" cy="12"/>
            </a:xfrm>
            <a:custGeom>
              <a:avLst/>
              <a:gdLst>
                <a:gd name="T0" fmla="*/ 7 w 10"/>
                <a:gd name="T1" fmla="*/ 0 h 5"/>
                <a:gd name="T2" fmla="*/ 5 w 10"/>
                <a:gd name="T3" fmla="*/ 0 h 5"/>
                <a:gd name="T4" fmla="*/ 3 w 10"/>
                <a:gd name="T5" fmla="*/ 2 h 5"/>
                <a:gd name="T6" fmla="*/ 2 w 10"/>
                <a:gd name="T7" fmla="*/ 3 h 5"/>
                <a:gd name="T8" fmla="*/ 0 w 10"/>
                <a:gd name="T9" fmla="*/ 5 h 5"/>
                <a:gd name="T10" fmla="*/ 1 w 10"/>
                <a:gd name="T11" fmla="*/ 5 h 5"/>
                <a:gd name="T12" fmla="*/ 6 w 10"/>
                <a:gd name="T13" fmla="*/ 3 h 5"/>
                <a:gd name="T14" fmla="*/ 6 w 10"/>
                <a:gd name="T15" fmla="*/ 3 h 5"/>
                <a:gd name="T16" fmla="*/ 7 w 10"/>
                <a:gd name="T17" fmla="*/ 3 h 5"/>
                <a:gd name="T18" fmla="*/ 8 w 10"/>
                <a:gd name="T19" fmla="*/ 2 h 5"/>
                <a:gd name="T20" fmla="*/ 10 w 10"/>
                <a:gd name="T21" fmla="*/ 0 h 5"/>
                <a:gd name="T22" fmla="*/ 9 w 10"/>
                <a:gd name="T23" fmla="*/ 0 h 5"/>
                <a:gd name="T24" fmla="*/ 7 w 10"/>
                <a:gd name="T2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5">
                  <a:moveTo>
                    <a:pt x="7" y="0"/>
                  </a:moveTo>
                  <a:cubicBezTo>
                    <a:pt x="7" y="0"/>
                    <a:pt x="5" y="1"/>
                    <a:pt x="5" y="0"/>
                  </a:cubicBezTo>
                  <a:cubicBezTo>
                    <a:pt x="4" y="1"/>
                    <a:pt x="5" y="2"/>
                    <a:pt x="3" y="2"/>
                  </a:cubicBezTo>
                  <a:cubicBezTo>
                    <a:pt x="3" y="2"/>
                    <a:pt x="3" y="3"/>
                    <a:pt x="2" y="3"/>
                  </a:cubicBezTo>
                  <a:cubicBezTo>
                    <a:pt x="1" y="3"/>
                    <a:pt x="0" y="4"/>
                    <a:pt x="0" y="5"/>
                  </a:cubicBezTo>
                  <a:cubicBezTo>
                    <a:pt x="0" y="5"/>
                    <a:pt x="0" y="5"/>
                    <a:pt x="1" y="5"/>
                  </a:cubicBezTo>
                  <a:cubicBezTo>
                    <a:pt x="2" y="4"/>
                    <a:pt x="4" y="3"/>
                    <a:pt x="6" y="3"/>
                  </a:cubicBezTo>
                  <a:cubicBezTo>
                    <a:pt x="6" y="3"/>
                    <a:pt x="6" y="3"/>
                    <a:pt x="6" y="3"/>
                  </a:cubicBezTo>
                  <a:cubicBezTo>
                    <a:pt x="6" y="3"/>
                    <a:pt x="6" y="3"/>
                    <a:pt x="7" y="3"/>
                  </a:cubicBezTo>
                  <a:cubicBezTo>
                    <a:pt x="7" y="3"/>
                    <a:pt x="8" y="2"/>
                    <a:pt x="8" y="2"/>
                  </a:cubicBezTo>
                  <a:cubicBezTo>
                    <a:pt x="9" y="1"/>
                    <a:pt x="9" y="1"/>
                    <a:pt x="10" y="0"/>
                  </a:cubicBezTo>
                  <a:cubicBezTo>
                    <a:pt x="9" y="0"/>
                    <a:pt x="9" y="0"/>
                    <a:pt x="9" y="0"/>
                  </a:cubicBezTo>
                  <a:cubicBezTo>
                    <a:pt x="8" y="0"/>
                    <a:pt x="7" y="0"/>
                    <a:pt x="7"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18" name="Freeform 2673">
              <a:extLst>
                <a:ext uri="{FF2B5EF4-FFF2-40B4-BE49-F238E27FC236}">
                  <a16:creationId xmlns:a16="http://schemas.microsoft.com/office/drawing/2014/main" id="{746C15A7-5862-4169-B26C-BE73CAD094D2}"/>
                </a:ext>
              </a:extLst>
            </p:cNvPr>
            <p:cNvSpPr>
              <a:spLocks/>
            </p:cNvSpPr>
            <p:nvPr/>
          </p:nvSpPr>
          <p:spPr bwMode="auto">
            <a:xfrm>
              <a:off x="4845" y="2180"/>
              <a:ext cx="9" cy="2"/>
            </a:xfrm>
            <a:custGeom>
              <a:avLst/>
              <a:gdLst>
                <a:gd name="T0" fmla="*/ 0 w 4"/>
                <a:gd name="T1" fmla="*/ 1 h 1"/>
                <a:gd name="T2" fmla="*/ 1 w 4"/>
                <a:gd name="T3" fmla="*/ 1 h 1"/>
                <a:gd name="T4" fmla="*/ 2 w 4"/>
                <a:gd name="T5" fmla="*/ 0 h 1"/>
                <a:gd name="T6" fmla="*/ 0 w 4"/>
                <a:gd name="T7" fmla="*/ 1 h 1"/>
              </a:gdLst>
              <a:ahLst/>
              <a:cxnLst>
                <a:cxn ang="0">
                  <a:pos x="T0" y="T1"/>
                </a:cxn>
                <a:cxn ang="0">
                  <a:pos x="T2" y="T3"/>
                </a:cxn>
                <a:cxn ang="0">
                  <a:pos x="T4" y="T5"/>
                </a:cxn>
                <a:cxn ang="0">
                  <a:pos x="T6" y="T7"/>
                </a:cxn>
              </a:cxnLst>
              <a:rect l="0" t="0" r="r" b="b"/>
              <a:pathLst>
                <a:path w="4" h="1">
                  <a:moveTo>
                    <a:pt x="0" y="1"/>
                  </a:moveTo>
                  <a:cubicBezTo>
                    <a:pt x="0" y="1"/>
                    <a:pt x="1" y="1"/>
                    <a:pt x="1" y="1"/>
                  </a:cubicBezTo>
                  <a:cubicBezTo>
                    <a:pt x="2" y="1"/>
                    <a:pt x="4" y="1"/>
                    <a:pt x="2" y="0"/>
                  </a:cubicBezTo>
                  <a:cubicBezTo>
                    <a:pt x="1" y="0"/>
                    <a:pt x="0"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19" name="Freeform 2674">
              <a:extLst>
                <a:ext uri="{FF2B5EF4-FFF2-40B4-BE49-F238E27FC236}">
                  <a16:creationId xmlns:a16="http://schemas.microsoft.com/office/drawing/2014/main" id="{60F75878-49CC-409C-91DE-CA55FCAFB4CA}"/>
                </a:ext>
              </a:extLst>
            </p:cNvPr>
            <p:cNvSpPr>
              <a:spLocks/>
            </p:cNvSpPr>
            <p:nvPr/>
          </p:nvSpPr>
          <p:spPr bwMode="auto">
            <a:xfrm>
              <a:off x="7008" y="2982"/>
              <a:ext cx="10" cy="7"/>
            </a:xfrm>
            <a:custGeom>
              <a:avLst/>
              <a:gdLst>
                <a:gd name="T0" fmla="*/ 4 w 4"/>
                <a:gd name="T1" fmla="*/ 3 h 3"/>
                <a:gd name="T2" fmla="*/ 0 w 4"/>
                <a:gd name="T3" fmla="*/ 0 h 3"/>
                <a:gd name="T4" fmla="*/ 4 w 4"/>
                <a:gd name="T5" fmla="*/ 3 h 3"/>
              </a:gdLst>
              <a:ahLst/>
              <a:cxnLst>
                <a:cxn ang="0">
                  <a:pos x="T0" y="T1"/>
                </a:cxn>
                <a:cxn ang="0">
                  <a:pos x="T2" y="T3"/>
                </a:cxn>
                <a:cxn ang="0">
                  <a:pos x="T4" y="T5"/>
                </a:cxn>
              </a:cxnLst>
              <a:rect l="0" t="0" r="r" b="b"/>
              <a:pathLst>
                <a:path w="4" h="3">
                  <a:moveTo>
                    <a:pt x="4" y="3"/>
                  </a:moveTo>
                  <a:cubicBezTo>
                    <a:pt x="4" y="1"/>
                    <a:pt x="1" y="0"/>
                    <a:pt x="0" y="0"/>
                  </a:cubicBezTo>
                  <a:cubicBezTo>
                    <a:pt x="1" y="1"/>
                    <a:pt x="2" y="2"/>
                    <a:pt x="4"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20" name="Freeform 2675">
              <a:extLst>
                <a:ext uri="{FF2B5EF4-FFF2-40B4-BE49-F238E27FC236}">
                  <a16:creationId xmlns:a16="http://schemas.microsoft.com/office/drawing/2014/main" id="{6DF3647A-8616-4CE2-9263-284154C6BDFB}"/>
                </a:ext>
              </a:extLst>
            </p:cNvPr>
            <p:cNvSpPr>
              <a:spLocks/>
            </p:cNvSpPr>
            <p:nvPr/>
          </p:nvSpPr>
          <p:spPr bwMode="auto">
            <a:xfrm>
              <a:off x="7193" y="2982"/>
              <a:ext cx="7" cy="10"/>
            </a:xfrm>
            <a:custGeom>
              <a:avLst/>
              <a:gdLst>
                <a:gd name="T0" fmla="*/ 3 w 3"/>
                <a:gd name="T1" fmla="*/ 4 h 4"/>
                <a:gd name="T2" fmla="*/ 3 w 3"/>
                <a:gd name="T3" fmla="*/ 1 h 4"/>
                <a:gd name="T4" fmla="*/ 2 w 3"/>
                <a:gd name="T5" fmla="*/ 0 h 4"/>
                <a:gd name="T6" fmla="*/ 3 w 3"/>
                <a:gd name="T7" fmla="*/ 4 h 4"/>
              </a:gdLst>
              <a:ahLst/>
              <a:cxnLst>
                <a:cxn ang="0">
                  <a:pos x="T0" y="T1"/>
                </a:cxn>
                <a:cxn ang="0">
                  <a:pos x="T2" y="T3"/>
                </a:cxn>
                <a:cxn ang="0">
                  <a:pos x="T4" y="T5"/>
                </a:cxn>
                <a:cxn ang="0">
                  <a:pos x="T6" y="T7"/>
                </a:cxn>
              </a:cxnLst>
              <a:rect l="0" t="0" r="r" b="b"/>
              <a:pathLst>
                <a:path w="3" h="4">
                  <a:moveTo>
                    <a:pt x="3" y="4"/>
                  </a:moveTo>
                  <a:cubicBezTo>
                    <a:pt x="2" y="3"/>
                    <a:pt x="3" y="2"/>
                    <a:pt x="3" y="1"/>
                  </a:cubicBezTo>
                  <a:cubicBezTo>
                    <a:pt x="3" y="1"/>
                    <a:pt x="2" y="0"/>
                    <a:pt x="2" y="0"/>
                  </a:cubicBezTo>
                  <a:cubicBezTo>
                    <a:pt x="0" y="0"/>
                    <a:pt x="2" y="2"/>
                    <a:pt x="3"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21" name="Freeform 2676">
              <a:extLst>
                <a:ext uri="{FF2B5EF4-FFF2-40B4-BE49-F238E27FC236}">
                  <a16:creationId xmlns:a16="http://schemas.microsoft.com/office/drawing/2014/main" id="{F0501C3C-67BA-4603-AA06-A4A22ED261B2}"/>
                </a:ext>
              </a:extLst>
            </p:cNvPr>
            <p:cNvSpPr>
              <a:spLocks/>
            </p:cNvSpPr>
            <p:nvPr/>
          </p:nvSpPr>
          <p:spPr bwMode="auto">
            <a:xfrm>
              <a:off x="7233" y="3034"/>
              <a:ext cx="7" cy="3"/>
            </a:xfrm>
            <a:custGeom>
              <a:avLst/>
              <a:gdLst>
                <a:gd name="T0" fmla="*/ 2 w 3"/>
                <a:gd name="T1" fmla="*/ 1 h 1"/>
                <a:gd name="T2" fmla="*/ 3 w 3"/>
                <a:gd name="T3" fmla="*/ 1 h 1"/>
                <a:gd name="T4" fmla="*/ 0 w 3"/>
                <a:gd name="T5" fmla="*/ 0 h 1"/>
                <a:gd name="T6" fmla="*/ 2 w 3"/>
                <a:gd name="T7" fmla="*/ 1 h 1"/>
              </a:gdLst>
              <a:ahLst/>
              <a:cxnLst>
                <a:cxn ang="0">
                  <a:pos x="T0" y="T1"/>
                </a:cxn>
                <a:cxn ang="0">
                  <a:pos x="T2" y="T3"/>
                </a:cxn>
                <a:cxn ang="0">
                  <a:pos x="T4" y="T5"/>
                </a:cxn>
                <a:cxn ang="0">
                  <a:pos x="T6" y="T7"/>
                </a:cxn>
              </a:cxnLst>
              <a:rect l="0" t="0" r="r" b="b"/>
              <a:pathLst>
                <a:path w="3" h="1">
                  <a:moveTo>
                    <a:pt x="2" y="1"/>
                  </a:moveTo>
                  <a:cubicBezTo>
                    <a:pt x="2" y="1"/>
                    <a:pt x="3" y="1"/>
                    <a:pt x="3" y="1"/>
                  </a:cubicBezTo>
                  <a:cubicBezTo>
                    <a:pt x="2" y="1"/>
                    <a:pt x="1" y="0"/>
                    <a:pt x="0" y="0"/>
                  </a:cubicBezTo>
                  <a:cubicBezTo>
                    <a:pt x="1" y="1"/>
                    <a:pt x="1"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22" name="Freeform 2677">
              <a:extLst>
                <a:ext uri="{FF2B5EF4-FFF2-40B4-BE49-F238E27FC236}">
                  <a16:creationId xmlns:a16="http://schemas.microsoft.com/office/drawing/2014/main" id="{EB9E79AB-B4B2-4007-B4F2-904CB604904D}"/>
                </a:ext>
              </a:extLst>
            </p:cNvPr>
            <p:cNvSpPr>
              <a:spLocks/>
            </p:cNvSpPr>
            <p:nvPr/>
          </p:nvSpPr>
          <p:spPr bwMode="auto">
            <a:xfrm>
              <a:off x="7174" y="2999"/>
              <a:ext cx="7" cy="9"/>
            </a:xfrm>
            <a:custGeom>
              <a:avLst/>
              <a:gdLst>
                <a:gd name="T0" fmla="*/ 2 w 3"/>
                <a:gd name="T1" fmla="*/ 1 h 4"/>
                <a:gd name="T2" fmla="*/ 0 w 3"/>
                <a:gd name="T3" fmla="*/ 1 h 4"/>
                <a:gd name="T4" fmla="*/ 2 w 3"/>
                <a:gd name="T5" fmla="*/ 4 h 4"/>
                <a:gd name="T6" fmla="*/ 2 w 3"/>
                <a:gd name="T7" fmla="*/ 1 h 4"/>
              </a:gdLst>
              <a:ahLst/>
              <a:cxnLst>
                <a:cxn ang="0">
                  <a:pos x="T0" y="T1"/>
                </a:cxn>
                <a:cxn ang="0">
                  <a:pos x="T2" y="T3"/>
                </a:cxn>
                <a:cxn ang="0">
                  <a:pos x="T4" y="T5"/>
                </a:cxn>
                <a:cxn ang="0">
                  <a:pos x="T6" y="T7"/>
                </a:cxn>
              </a:cxnLst>
              <a:rect l="0" t="0" r="r" b="b"/>
              <a:pathLst>
                <a:path w="3" h="4">
                  <a:moveTo>
                    <a:pt x="2" y="1"/>
                  </a:moveTo>
                  <a:cubicBezTo>
                    <a:pt x="1" y="1"/>
                    <a:pt x="1" y="0"/>
                    <a:pt x="0" y="1"/>
                  </a:cubicBezTo>
                  <a:cubicBezTo>
                    <a:pt x="0" y="3"/>
                    <a:pt x="1" y="3"/>
                    <a:pt x="2" y="4"/>
                  </a:cubicBezTo>
                  <a:cubicBezTo>
                    <a:pt x="3" y="3"/>
                    <a:pt x="3" y="2"/>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23" name="Freeform 2678">
              <a:extLst>
                <a:ext uri="{FF2B5EF4-FFF2-40B4-BE49-F238E27FC236}">
                  <a16:creationId xmlns:a16="http://schemas.microsoft.com/office/drawing/2014/main" id="{A43F5DE6-E61C-4FAD-A0E3-C116B6EEF1B6}"/>
                </a:ext>
              </a:extLst>
            </p:cNvPr>
            <p:cNvSpPr>
              <a:spLocks/>
            </p:cNvSpPr>
            <p:nvPr/>
          </p:nvSpPr>
          <p:spPr bwMode="auto">
            <a:xfrm>
              <a:off x="7249" y="3053"/>
              <a:ext cx="14" cy="7"/>
            </a:xfrm>
            <a:custGeom>
              <a:avLst/>
              <a:gdLst>
                <a:gd name="T0" fmla="*/ 3 w 6"/>
                <a:gd name="T1" fmla="*/ 3 h 3"/>
                <a:gd name="T2" fmla="*/ 6 w 6"/>
                <a:gd name="T3" fmla="*/ 3 h 3"/>
                <a:gd name="T4" fmla="*/ 0 w 6"/>
                <a:gd name="T5" fmla="*/ 0 h 3"/>
                <a:gd name="T6" fmla="*/ 3 w 6"/>
                <a:gd name="T7" fmla="*/ 3 h 3"/>
              </a:gdLst>
              <a:ahLst/>
              <a:cxnLst>
                <a:cxn ang="0">
                  <a:pos x="T0" y="T1"/>
                </a:cxn>
                <a:cxn ang="0">
                  <a:pos x="T2" y="T3"/>
                </a:cxn>
                <a:cxn ang="0">
                  <a:pos x="T4" y="T5"/>
                </a:cxn>
                <a:cxn ang="0">
                  <a:pos x="T6" y="T7"/>
                </a:cxn>
              </a:cxnLst>
              <a:rect l="0" t="0" r="r" b="b"/>
              <a:pathLst>
                <a:path w="6" h="3">
                  <a:moveTo>
                    <a:pt x="3" y="3"/>
                  </a:moveTo>
                  <a:cubicBezTo>
                    <a:pt x="4" y="3"/>
                    <a:pt x="5" y="3"/>
                    <a:pt x="6" y="3"/>
                  </a:cubicBezTo>
                  <a:cubicBezTo>
                    <a:pt x="4" y="1"/>
                    <a:pt x="1" y="1"/>
                    <a:pt x="0" y="0"/>
                  </a:cubicBezTo>
                  <a:cubicBezTo>
                    <a:pt x="1" y="1"/>
                    <a:pt x="2" y="2"/>
                    <a:pt x="3"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24" name="Freeform 2679">
              <a:extLst>
                <a:ext uri="{FF2B5EF4-FFF2-40B4-BE49-F238E27FC236}">
                  <a16:creationId xmlns:a16="http://schemas.microsoft.com/office/drawing/2014/main" id="{67672C09-7D68-4267-84CD-4111DC418C5A}"/>
                </a:ext>
              </a:extLst>
            </p:cNvPr>
            <p:cNvSpPr>
              <a:spLocks/>
            </p:cNvSpPr>
            <p:nvPr/>
          </p:nvSpPr>
          <p:spPr bwMode="auto">
            <a:xfrm>
              <a:off x="7190" y="2840"/>
              <a:ext cx="57" cy="55"/>
            </a:xfrm>
            <a:custGeom>
              <a:avLst/>
              <a:gdLst>
                <a:gd name="T0" fmla="*/ 0 w 24"/>
                <a:gd name="T1" fmla="*/ 2 h 23"/>
                <a:gd name="T2" fmla="*/ 0 w 24"/>
                <a:gd name="T3" fmla="*/ 2 h 23"/>
                <a:gd name="T4" fmla="*/ 2 w 24"/>
                <a:gd name="T5" fmla="*/ 2 h 23"/>
                <a:gd name="T6" fmla="*/ 11 w 24"/>
                <a:gd name="T7" fmla="*/ 8 h 23"/>
                <a:gd name="T8" fmla="*/ 18 w 24"/>
                <a:gd name="T9" fmla="*/ 14 h 23"/>
                <a:gd name="T10" fmla="*/ 20 w 24"/>
                <a:gd name="T11" fmla="*/ 17 h 23"/>
                <a:gd name="T12" fmla="*/ 20 w 24"/>
                <a:gd name="T13" fmla="*/ 18 h 23"/>
                <a:gd name="T14" fmla="*/ 22 w 24"/>
                <a:gd name="T15" fmla="*/ 23 h 23"/>
                <a:gd name="T16" fmla="*/ 24 w 24"/>
                <a:gd name="T17" fmla="*/ 17 h 23"/>
                <a:gd name="T18" fmla="*/ 23 w 24"/>
                <a:gd name="T19" fmla="*/ 16 h 23"/>
                <a:gd name="T20" fmla="*/ 21 w 24"/>
                <a:gd name="T21" fmla="*/ 13 h 23"/>
                <a:gd name="T22" fmla="*/ 20 w 24"/>
                <a:gd name="T23" fmla="*/ 13 h 23"/>
                <a:gd name="T24" fmla="*/ 17 w 24"/>
                <a:gd name="T25" fmla="*/ 10 h 23"/>
                <a:gd name="T26" fmla="*/ 14 w 24"/>
                <a:gd name="T27" fmla="*/ 8 h 23"/>
                <a:gd name="T28" fmla="*/ 10 w 24"/>
                <a:gd name="T29" fmla="*/ 5 h 23"/>
                <a:gd name="T30" fmla="*/ 6 w 24"/>
                <a:gd name="T31" fmla="*/ 3 h 23"/>
                <a:gd name="T32" fmla="*/ 5 w 24"/>
                <a:gd name="T33" fmla="*/ 3 h 23"/>
                <a:gd name="T34" fmla="*/ 0 w 24"/>
                <a:gd name="T35" fmla="*/ 0 h 23"/>
                <a:gd name="T36" fmla="*/ 0 w 24"/>
                <a:gd name="T37"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 h="23">
                  <a:moveTo>
                    <a:pt x="0" y="2"/>
                  </a:moveTo>
                  <a:cubicBezTo>
                    <a:pt x="0" y="2"/>
                    <a:pt x="0" y="2"/>
                    <a:pt x="0" y="2"/>
                  </a:cubicBezTo>
                  <a:cubicBezTo>
                    <a:pt x="1" y="2"/>
                    <a:pt x="1" y="2"/>
                    <a:pt x="2" y="2"/>
                  </a:cubicBezTo>
                  <a:cubicBezTo>
                    <a:pt x="5" y="4"/>
                    <a:pt x="8" y="6"/>
                    <a:pt x="11" y="8"/>
                  </a:cubicBezTo>
                  <a:cubicBezTo>
                    <a:pt x="14" y="9"/>
                    <a:pt x="17" y="11"/>
                    <a:pt x="18" y="14"/>
                  </a:cubicBezTo>
                  <a:cubicBezTo>
                    <a:pt x="19" y="15"/>
                    <a:pt x="19" y="16"/>
                    <a:pt x="20" y="17"/>
                  </a:cubicBezTo>
                  <a:cubicBezTo>
                    <a:pt x="20" y="17"/>
                    <a:pt x="19" y="18"/>
                    <a:pt x="20" y="18"/>
                  </a:cubicBezTo>
                  <a:cubicBezTo>
                    <a:pt x="20" y="20"/>
                    <a:pt x="21" y="21"/>
                    <a:pt x="22" y="23"/>
                  </a:cubicBezTo>
                  <a:cubicBezTo>
                    <a:pt x="22" y="21"/>
                    <a:pt x="24" y="19"/>
                    <a:pt x="24" y="17"/>
                  </a:cubicBezTo>
                  <a:cubicBezTo>
                    <a:pt x="24" y="17"/>
                    <a:pt x="23" y="16"/>
                    <a:pt x="23" y="16"/>
                  </a:cubicBezTo>
                  <a:cubicBezTo>
                    <a:pt x="23" y="15"/>
                    <a:pt x="22" y="13"/>
                    <a:pt x="21" y="13"/>
                  </a:cubicBezTo>
                  <a:cubicBezTo>
                    <a:pt x="21" y="13"/>
                    <a:pt x="20" y="13"/>
                    <a:pt x="20" y="13"/>
                  </a:cubicBezTo>
                  <a:cubicBezTo>
                    <a:pt x="19" y="13"/>
                    <a:pt x="18" y="11"/>
                    <a:pt x="17" y="10"/>
                  </a:cubicBezTo>
                  <a:cubicBezTo>
                    <a:pt x="16" y="9"/>
                    <a:pt x="15" y="9"/>
                    <a:pt x="14" y="8"/>
                  </a:cubicBezTo>
                  <a:cubicBezTo>
                    <a:pt x="13" y="6"/>
                    <a:pt x="11" y="6"/>
                    <a:pt x="10" y="5"/>
                  </a:cubicBezTo>
                  <a:cubicBezTo>
                    <a:pt x="9" y="5"/>
                    <a:pt x="8" y="4"/>
                    <a:pt x="6" y="3"/>
                  </a:cubicBezTo>
                  <a:cubicBezTo>
                    <a:pt x="6" y="3"/>
                    <a:pt x="5" y="3"/>
                    <a:pt x="5" y="3"/>
                  </a:cubicBezTo>
                  <a:cubicBezTo>
                    <a:pt x="3" y="2"/>
                    <a:pt x="2" y="1"/>
                    <a:pt x="0" y="0"/>
                  </a:cubicBezTo>
                  <a:cubicBezTo>
                    <a:pt x="1" y="1"/>
                    <a:pt x="1"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25" name="Freeform 2680">
              <a:extLst>
                <a:ext uri="{FF2B5EF4-FFF2-40B4-BE49-F238E27FC236}">
                  <a16:creationId xmlns:a16="http://schemas.microsoft.com/office/drawing/2014/main" id="{4D7E5C27-8F40-497C-8D2E-3141ED51722C}"/>
                </a:ext>
              </a:extLst>
            </p:cNvPr>
            <p:cNvSpPr>
              <a:spLocks/>
            </p:cNvSpPr>
            <p:nvPr/>
          </p:nvSpPr>
          <p:spPr bwMode="auto">
            <a:xfrm>
              <a:off x="7268" y="3051"/>
              <a:ext cx="7" cy="4"/>
            </a:xfrm>
            <a:custGeom>
              <a:avLst/>
              <a:gdLst>
                <a:gd name="T0" fmla="*/ 1 w 3"/>
                <a:gd name="T1" fmla="*/ 2 h 2"/>
                <a:gd name="T2" fmla="*/ 3 w 3"/>
                <a:gd name="T3" fmla="*/ 1 h 2"/>
                <a:gd name="T4" fmla="*/ 1 w 3"/>
                <a:gd name="T5" fmla="*/ 2 h 2"/>
              </a:gdLst>
              <a:ahLst/>
              <a:cxnLst>
                <a:cxn ang="0">
                  <a:pos x="T0" y="T1"/>
                </a:cxn>
                <a:cxn ang="0">
                  <a:pos x="T2" y="T3"/>
                </a:cxn>
                <a:cxn ang="0">
                  <a:pos x="T4" y="T5"/>
                </a:cxn>
              </a:cxnLst>
              <a:rect l="0" t="0" r="r" b="b"/>
              <a:pathLst>
                <a:path w="3" h="2">
                  <a:moveTo>
                    <a:pt x="1" y="2"/>
                  </a:moveTo>
                  <a:cubicBezTo>
                    <a:pt x="1" y="1"/>
                    <a:pt x="3" y="1"/>
                    <a:pt x="3" y="1"/>
                  </a:cubicBezTo>
                  <a:cubicBezTo>
                    <a:pt x="3" y="0"/>
                    <a:pt x="0" y="0"/>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26" name="Freeform 2681">
              <a:extLst>
                <a:ext uri="{FF2B5EF4-FFF2-40B4-BE49-F238E27FC236}">
                  <a16:creationId xmlns:a16="http://schemas.microsoft.com/office/drawing/2014/main" id="{96BAD0C8-3FF9-406A-A3FF-C1CA0B05C86F}"/>
                </a:ext>
              </a:extLst>
            </p:cNvPr>
            <p:cNvSpPr>
              <a:spLocks/>
            </p:cNvSpPr>
            <p:nvPr/>
          </p:nvSpPr>
          <p:spPr bwMode="auto">
            <a:xfrm>
              <a:off x="7181" y="3003"/>
              <a:ext cx="14" cy="10"/>
            </a:xfrm>
            <a:custGeom>
              <a:avLst/>
              <a:gdLst>
                <a:gd name="T0" fmla="*/ 0 w 6"/>
                <a:gd name="T1" fmla="*/ 3 h 4"/>
                <a:gd name="T2" fmla="*/ 5 w 6"/>
                <a:gd name="T3" fmla="*/ 4 h 4"/>
                <a:gd name="T4" fmla="*/ 5 w 6"/>
                <a:gd name="T5" fmla="*/ 2 h 4"/>
                <a:gd name="T6" fmla="*/ 4 w 6"/>
                <a:gd name="T7" fmla="*/ 1 h 4"/>
                <a:gd name="T8" fmla="*/ 3 w 6"/>
                <a:gd name="T9" fmla="*/ 1 h 4"/>
                <a:gd name="T10" fmla="*/ 2 w 6"/>
                <a:gd name="T11" fmla="*/ 0 h 4"/>
                <a:gd name="T12" fmla="*/ 1 w 6"/>
                <a:gd name="T13" fmla="*/ 2 h 4"/>
                <a:gd name="T14" fmla="*/ 0 w 6"/>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0" y="3"/>
                  </a:moveTo>
                  <a:cubicBezTo>
                    <a:pt x="1" y="4"/>
                    <a:pt x="4" y="4"/>
                    <a:pt x="5" y="4"/>
                  </a:cubicBezTo>
                  <a:cubicBezTo>
                    <a:pt x="6" y="4"/>
                    <a:pt x="6" y="3"/>
                    <a:pt x="5" y="2"/>
                  </a:cubicBezTo>
                  <a:cubicBezTo>
                    <a:pt x="5" y="2"/>
                    <a:pt x="5" y="1"/>
                    <a:pt x="4" y="1"/>
                  </a:cubicBezTo>
                  <a:cubicBezTo>
                    <a:pt x="4" y="1"/>
                    <a:pt x="3" y="1"/>
                    <a:pt x="3" y="1"/>
                  </a:cubicBezTo>
                  <a:cubicBezTo>
                    <a:pt x="2" y="1"/>
                    <a:pt x="2" y="1"/>
                    <a:pt x="2" y="0"/>
                  </a:cubicBezTo>
                  <a:cubicBezTo>
                    <a:pt x="0" y="0"/>
                    <a:pt x="1" y="0"/>
                    <a:pt x="1" y="2"/>
                  </a:cubicBezTo>
                  <a:cubicBezTo>
                    <a:pt x="1" y="3"/>
                    <a:pt x="0" y="3"/>
                    <a:pt x="0"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27" name="Freeform 2682">
              <a:extLst>
                <a:ext uri="{FF2B5EF4-FFF2-40B4-BE49-F238E27FC236}">
                  <a16:creationId xmlns:a16="http://schemas.microsoft.com/office/drawing/2014/main" id="{73336BF4-F7F3-45F2-924E-7BD70B6E3017}"/>
                </a:ext>
              </a:extLst>
            </p:cNvPr>
            <p:cNvSpPr>
              <a:spLocks/>
            </p:cNvSpPr>
            <p:nvPr/>
          </p:nvSpPr>
          <p:spPr bwMode="auto">
            <a:xfrm>
              <a:off x="7131" y="2876"/>
              <a:ext cx="99" cy="54"/>
            </a:xfrm>
            <a:custGeom>
              <a:avLst/>
              <a:gdLst>
                <a:gd name="T0" fmla="*/ 8 w 42"/>
                <a:gd name="T1" fmla="*/ 15 h 23"/>
                <a:gd name="T2" fmla="*/ 5 w 42"/>
                <a:gd name="T3" fmla="*/ 15 h 23"/>
                <a:gd name="T4" fmla="*/ 4 w 42"/>
                <a:gd name="T5" fmla="*/ 15 h 23"/>
                <a:gd name="T6" fmla="*/ 3 w 42"/>
                <a:gd name="T7" fmla="*/ 15 h 23"/>
                <a:gd name="T8" fmla="*/ 2 w 42"/>
                <a:gd name="T9" fmla="*/ 14 h 23"/>
                <a:gd name="T10" fmla="*/ 1 w 42"/>
                <a:gd name="T11" fmla="*/ 14 h 23"/>
                <a:gd name="T12" fmla="*/ 1 w 42"/>
                <a:gd name="T13" fmla="*/ 17 h 23"/>
                <a:gd name="T14" fmla="*/ 4 w 42"/>
                <a:gd name="T15" fmla="*/ 19 h 23"/>
                <a:gd name="T16" fmla="*/ 7 w 42"/>
                <a:gd name="T17" fmla="*/ 20 h 23"/>
                <a:gd name="T18" fmla="*/ 7 w 42"/>
                <a:gd name="T19" fmla="*/ 21 h 23"/>
                <a:gd name="T20" fmla="*/ 12 w 42"/>
                <a:gd name="T21" fmla="*/ 21 h 23"/>
                <a:gd name="T22" fmla="*/ 13 w 42"/>
                <a:gd name="T23" fmla="*/ 22 h 23"/>
                <a:gd name="T24" fmla="*/ 19 w 42"/>
                <a:gd name="T25" fmla="*/ 23 h 23"/>
                <a:gd name="T26" fmla="*/ 26 w 42"/>
                <a:gd name="T27" fmla="*/ 21 h 23"/>
                <a:gd name="T28" fmla="*/ 28 w 42"/>
                <a:gd name="T29" fmla="*/ 20 h 23"/>
                <a:gd name="T30" fmla="*/ 29 w 42"/>
                <a:gd name="T31" fmla="*/ 19 h 23"/>
                <a:gd name="T32" fmla="*/ 31 w 42"/>
                <a:gd name="T33" fmla="*/ 18 h 23"/>
                <a:gd name="T34" fmla="*/ 33 w 42"/>
                <a:gd name="T35" fmla="*/ 15 h 23"/>
                <a:gd name="T36" fmla="*/ 36 w 42"/>
                <a:gd name="T37" fmla="*/ 15 h 23"/>
                <a:gd name="T38" fmla="*/ 38 w 42"/>
                <a:gd name="T39" fmla="*/ 14 h 23"/>
                <a:gd name="T40" fmla="*/ 37 w 42"/>
                <a:gd name="T41" fmla="*/ 10 h 23"/>
                <a:gd name="T42" fmla="*/ 39 w 42"/>
                <a:gd name="T43" fmla="*/ 9 h 23"/>
                <a:gd name="T44" fmla="*/ 41 w 42"/>
                <a:gd name="T45" fmla="*/ 8 h 23"/>
                <a:gd name="T46" fmla="*/ 42 w 42"/>
                <a:gd name="T47" fmla="*/ 3 h 23"/>
                <a:gd name="T48" fmla="*/ 39 w 42"/>
                <a:gd name="T49" fmla="*/ 1 h 23"/>
                <a:gd name="T50" fmla="*/ 38 w 42"/>
                <a:gd name="T51" fmla="*/ 1 h 23"/>
                <a:gd name="T52" fmla="*/ 38 w 42"/>
                <a:gd name="T53" fmla="*/ 1 h 23"/>
                <a:gd name="T54" fmla="*/ 36 w 42"/>
                <a:gd name="T55" fmla="*/ 2 h 23"/>
                <a:gd name="T56" fmla="*/ 33 w 42"/>
                <a:gd name="T57" fmla="*/ 1 h 23"/>
                <a:gd name="T58" fmla="*/ 34 w 42"/>
                <a:gd name="T59" fmla="*/ 9 h 23"/>
                <a:gd name="T60" fmla="*/ 26 w 42"/>
                <a:gd name="T61" fmla="*/ 14 h 23"/>
                <a:gd name="T62" fmla="*/ 23 w 42"/>
                <a:gd name="T63" fmla="*/ 15 h 23"/>
                <a:gd name="T64" fmla="*/ 22 w 42"/>
                <a:gd name="T65" fmla="*/ 14 h 23"/>
                <a:gd name="T66" fmla="*/ 19 w 42"/>
                <a:gd name="T67" fmla="*/ 15 h 23"/>
                <a:gd name="T68" fmla="*/ 18 w 42"/>
                <a:gd name="T69" fmla="*/ 14 h 23"/>
                <a:gd name="T70" fmla="*/ 18 w 42"/>
                <a:gd name="T71" fmla="*/ 11 h 23"/>
                <a:gd name="T72" fmla="*/ 17 w 42"/>
                <a:gd name="T73" fmla="*/ 11 h 23"/>
                <a:gd name="T74" fmla="*/ 17 w 42"/>
                <a:gd name="T75" fmla="*/ 12 h 23"/>
                <a:gd name="T76" fmla="*/ 16 w 42"/>
                <a:gd name="T77" fmla="*/ 13 h 23"/>
                <a:gd name="T78" fmla="*/ 17 w 42"/>
                <a:gd name="T79" fmla="*/ 14 h 23"/>
                <a:gd name="T80" fmla="*/ 15 w 42"/>
                <a:gd name="T81" fmla="*/ 15 h 23"/>
                <a:gd name="T82" fmla="*/ 14 w 42"/>
                <a:gd name="T83" fmla="*/ 15 h 23"/>
                <a:gd name="T84" fmla="*/ 13 w 42"/>
                <a:gd name="T85" fmla="*/ 15 h 23"/>
                <a:gd name="T86" fmla="*/ 10 w 42"/>
                <a:gd name="T87" fmla="*/ 16 h 23"/>
                <a:gd name="T88" fmla="*/ 8 w 42"/>
                <a:gd name="T89" fmla="*/ 1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 h="23">
                  <a:moveTo>
                    <a:pt x="8" y="15"/>
                  </a:moveTo>
                  <a:cubicBezTo>
                    <a:pt x="6" y="14"/>
                    <a:pt x="6" y="15"/>
                    <a:pt x="5" y="15"/>
                  </a:cubicBezTo>
                  <a:cubicBezTo>
                    <a:pt x="5" y="15"/>
                    <a:pt x="4" y="15"/>
                    <a:pt x="4" y="15"/>
                  </a:cubicBezTo>
                  <a:cubicBezTo>
                    <a:pt x="4" y="14"/>
                    <a:pt x="3" y="15"/>
                    <a:pt x="3" y="15"/>
                  </a:cubicBezTo>
                  <a:cubicBezTo>
                    <a:pt x="2" y="15"/>
                    <a:pt x="2" y="15"/>
                    <a:pt x="2" y="14"/>
                  </a:cubicBezTo>
                  <a:cubicBezTo>
                    <a:pt x="1" y="14"/>
                    <a:pt x="1" y="14"/>
                    <a:pt x="1" y="14"/>
                  </a:cubicBezTo>
                  <a:cubicBezTo>
                    <a:pt x="0" y="15"/>
                    <a:pt x="0" y="17"/>
                    <a:pt x="1" y="17"/>
                  </a:cubicBezTo>
                  <a:cubicBezTo>
                    <a:pt x="1" y="18"/>
                    <a:pt x="3" y="18"/>
                    <a:pt x="4" y="19"/>
                  </a:cubicBezTo>
                  <a:cubicBezTo>
                    <a:pt x="5" y="19"/>
                    <a:pt x="6" y="20"/>
                    <a:pt x="7" y="20"/>
                  </a:cubicBezTo>
                  <a:cubicBezTo>
                    <a:pt x="7" y="20"/>
                    <a:pt x="8" y="21"/>
                    <a:pt x="7" y="21"/>
                  </a:cubicBezTo>
                  <a:cubicBezTo>
                    <a:pt x="9" y="21"/>
                    <a:pt x="10" y="20"/>
                    <a:pt x="12" y="21"/>
                  </a:cubicBezTo>
                  <a:cubicBezTo>
                    <a:pt x="12" y="22"/>
                    <a:pt x="12" y="22"/>
                    <a:pt x="13" y="22"/>
                  </a:cubicBezTo>
                  <a:cubicBezTo>
                    <a:pt x="14" y="23"/>
                    <a:pt x="17" y="23"/>
                    <a:pt x="19" y="23"/>
                  </a:cubicBezTo>
                  <a:cubicBezTo>
                    <a:pt x="21" y="22"/>
                    <a:pt x="24" y="22"/>
                    <a:pt x="26" y="21"/>
                  </a:cubicBezTo>
                  <a:cubicBezTo>
                    <a:pt x="26" y="20"/>
                    <a:pt x="27" y="20"/>
                    <a:pt x="28" y="20"/>
                  </a:cubicBezTo>
                  <a:cubicBezTo>
                    <a:pt x="28" y="20"/>
                    <a:pt x="29" y="19"/>
                    <a:pt x="29" y="19"/>
                  </a:cubicBezTo>
                  <a:cubicBezTo>
                    <a:pt x="30" y="18"/>
                    <a:pt x="30" y="18"/>
                    <a:pt x="31" y="18"/>
                  </a:cubicBezTo>
                  <a:cubicBezTo>
                    <a:pt x="32" y="17"/>
                    <a:pt x="33" y="16"/>
                    <a:pt x="33" y="15"/>
                  </a:cubicBezTo>
                  <a:cubicBezTo>
                    <a:pt x="35" y="15"/>
                    <a:pt x="35" y="16"/>
                    <a:pt x="36" y="15"/>
                  </a:cubicBezTo>
                  <a:cubicBezTo>
                    <a:pt x="36" y="15"/>
                    <a:pt x="38" y="14"/>
                    <a:pt x="38" y="14"/>
                  </a:cubicBezTo>
                  <a:cubicBezTo>
                    <a:pt x="40" y="12"/>
                    <a:pt x="36" y="11"/>
                    <a:pt x="37" y="10"/>
                  </a:cubicBezTo>
                  <a:cubicBezTo>
                    <a:pt x="38" y="9"/>
                    <a:pt x="39" y="10"/>
                    <a:pt x="39" y="9"/>
                  </a:cubicBezTo>
                  <a:cubicBezTo>
                    <a:pt x="40" y="9"/>
                    <a:pt x="41" y="9"/>
                    <a:pt x="41" y="8"/>
                  </a:cubicBezTo>
                  <a:cubicBezTo>
                    <a:pt x="42" y="6"/>
                    <a:pt x="41" y="5"/>
                    <a:pt x="42" y="3"/>
                  </a:cubicBezTo>
                  <a:cubicBezTo>
                    <a:pt x="41" y="3"/>
                    <a:pt x="38" y="3"/>
                    <a:pt x="39" y="1"/>
                  </a:cubicBezTo>
                  <a:cubicBezTo>
                    <a:pt x="40" y="0"/>
                    <a:pt x="38" y="1"/>
                    <a:pt x="38" y="1"/>
                  </a:cubicBezTo>
                  <a:cubicBezTo>
                    <a:pt x="38" y="2"/>
                    <a:pt x="38" y="1"/>
                    <a:pt x="38" y="1"/>
                  </a:cubicBezTo>
                  <a:cubicBezTo>
                    <a:pt x="37" y="1"/>
                    <a:pt x="37" y="2"/>
                    <a:pt x="36" y="2"/>
                  </a:cubicBezTo>
                  <a:cubicBezTo>
                    <a:pt x="36" y="1"/>
                    <a:pt x="34" y="1"/>
                    <a:pt x="33" y="1"/>
                  </a:cubicBezTo>
                  <a:cubicBezTo>
                    <a:pt x="33" y="4"/>
                    <a:pt x="33" y="6"/>
                    <a:pt x="34" y="9"/>
                  </a:cubicBezTo>
                  <a:cubicBezTo>
                    <a:pt x="30" y="7"/>
                    <a:pt x="28" y="12"/>
                    <a:pt x="26" y="14"/>
                  </a:cubicBezTo>
                  <a:cubicBezTo>
                    <a:pt x="25" y="13"/>
                    <a:pt x="24" y="15"/>
                    <a:pt x="23" y="15"/>
                  </a:cubicBezTo>
                  <a:cubicBezTo>
                    <a:pt x="23" y="15"/>
                    <a:pt x="23" y="14"/>
                    <a:pt x="22" y="14"/>
                  </a:cubicBezTo>
                  <a:cubicBezTo>
                    <a:pt x="21" y="14"/>
                    <a:pt x="20" y="15"/>
                    <a:pt x="19" y="15"/>
                  </a:cubicBezTo>
                  <a:cubicBezTo>
                    <a:pt x="18" y="15"/>
                    <a:pt x="18" y="15"/>
                    <a:pt x="18" y="14"/>
                  </a:cubicBezTo>
                  <a:cubicBezTo>
                    <a:pt x="18" y="13"/>
                    <a:pt x="17" y="11"/>
                    <a:pt x="18" y="11"/>
                  </a:cubicBezTo>
                  <a:cubicBezTo>
                    <a:pt x="20" y="10"/>
                    <a:pt x="17" y="8"/>
                    <a:pt x="17" y="11"/>
                  </a:cubicBezTo>
                  <a:cubicBezTo>
                    <a:pt x="17" y="12"/>
                    <a:pt x="17" y="12"/>
                    <a:pt x="17" y="12"/>
                  </a:cubicBezTo>
                  <a:cubicBezTo>
                    <a:pt x="17" y="13"/>
                    <a:pt x="16" y="13"/>
                    <a:pt x="16" y="13"/>
                  </a:cubicBezTo>
                  <a:cubicBezTo>
                    <a:pt x="16" y="13"/>
                    <a:pt x="17" y="14"/>
                    <a:pt x="17" y="14"/>
                  </a:cubicBezTo>
                  <a:cubicBezTo>
                    <a:pt x="16" y="15"/>
                    <a:pt x="15" y="15"/>
                    <a:pt x="15" y="15"/>
                  </a:cubicBezTo>
                  <a:cubicBezTo>
                    <a:pt x="15" y="15"/>
                    <a:pt x="14" y="16"/>
                    <a:pt x="14" y="15"/>
                  </a:cubicBezTo>
                  <a:cubicBezTo>
                    <a:pt x="14" y="14"/>
                    <a:pt x="13" y="15"/>
                    <a:pt x="13" y="15"/>
                  </a:cubicBezTo>
                  <a:cubicBezTo>
                    <a:pt x="12" y="15"/>
                    <a:pt x="11" y="16"/>
                    <a:pt x="10" y="16"/>
                  </a:cubicBezTo>
                  <a:cubicBezTo>
                    <a:pt x="9" y="16"/>
                    <a:pt x="9" y="15"/>
                    <a:pt x="8" y="1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28" name="Freeform 2683">
              <a:extLst>
                <a:ext uri="{FF2B5EF4-FFF2-40B4-BE49-F238E27FC236}">
                  <a16:creationId xmlns:a16="http://schemas.microsoft.com/office/drawing/2014/main" id="{796000C9-72AD-4118-8DBF-8683ECFC4993}"/>
                </a:ext>
              </a:extLst>
            </p:cNvPr>
            <p:cNvSpPr>
              <a:spLocks/>
            </p:cNvSpPr>
            <p:nvPr/>
          </p:nvSpPr>
          <p:spPr bwMode="auto">
            <a:xfrm>
              <a:off x="7280" y="2899"/>
              <a:ext cx="5" cy="10"/>
            </a:xfrm>
            <a:custGeom>
              <a:avLst/>
              <a:gdLst>
                <a:gd name="T0" fmla="*/ 2 w 2"/>
                <a:gd name="T1" fmla="*/ 1 h 4"/>
                <a:gd name="T2" fmla="*/ 2 w 2"/>
                <a:gd name="T3" fmla="*/ 0 h 4"/>
                <a:gd name="T4" fmla="*/ 0 w 2"/>
                <a:gd name="T5" fmla="*/ 1 h 4"/>
                <a:gd name="T6" fmla="*/ 1 w 2"/>
                <a:gd name="T7" fmla="*/ 4 h 4"/>
                <a:gd name="T8" fmla="*/ 2 w 2"/>
                <a:gd name="T9" fmla="*/ 2 h 4"/>
                <a:gd name="T10" fmla="*/ 2 w 2"/>
                <a:gd name="T11" fmla="*/ 1 h 4"/>
              </a:gdLst>
              <a:ahLst/>
              <a:cxnLst>
                <a:cxn ang="0">
                  <a:pos x="T0" y="T1"/>
                </a:cxn>
                <a:cxn ang="0">
                  <a:pos x="T2" y="T3"/>
                </a:cxn>
                <a:cxn ang="0">
                  <a:pos x="T4" y="T5"/>
                </a:cxn>
                <a:cxn ang="0">
                  <a:pos x="T6" y="T7"/>
                </a:cxn>
                <a:cxn ang="0">
                  <a:pos x="T8" y="T9"/>
                </a:cxn>
                <a:cxn ang="0">
                  <a:pos x="T10" y="T11"/>
                </a:cxn>
              </a:cxnLst>
              <a:rect l="0" t="0" r="r" b="b"/>
              <a:pathLst>
                <a:path w="2" h="4">
                  <a:moveTo>
                    <a:pt x="2" y="1"/>
                  </a:moveTo>
                  <a:cubicBezTo>
                    <a:pt x="2" y="1"/>
                    <a:pt x="2" y="0"/>
                    <a:pt x="2" y="0"/>
                  </a:cubicBezTo>
                  <a:cubicBezTo>
                    <a:pt x="1" y="0"/>
                    <a:pt x="0" y="0"/>
                    <a:pt x="0" y="1"/>
                  </a:cubicBezTo>
                  <a:cubicBezTo>
                    <a:pt x="0" y="2"/>
                    <a:pt x="1" y="3"/>
                    <a:pt x="1" y="4"/>
                  </a:cubicBezTo>
                  <a:cubicBezTo>
                    <a:pt x="2" y="4"/>
                    <a:pt x="2" y="3"/>
                    <a:pt x="2" y="2"/>
                  </a:cubicBezTo>
                  <a:cubicBezTo>
                    <a:pt x="2" y="1"/>
                    <a:pt x="2" y="2"/>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29" name="Freeform 2684">
              <a:extLst>
                <a:ext uri="{FF2B5EF4-FFF2-40B4-BE49-F238E27FC236}">
                  <a16:creationId xmlns:a16="http://schemas.microsoft.com/office/drawing/2014/main" id="{47D5FD0E-0FB3-49B4-A5E2-313ACAA6607C}"/>
                </a:ext>
              </a:extLst>
            </p:cNvPr>
            <p:cNvSpPr>
              <a:spLocks/>
            </p:cNvSpPr>
            <p:nvPr/>
          </p:nvSpPr>
          <p:spPr bwMode="auto">
            <a:xfrm>
              <a:off x="7190" y="3032"/>
              <a:ext cx="3" cy="5"/>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30" name="Freeform 2685">
              <a:extLst>
                <a:ext uri="{FF2B5EF4-FFF2-40B4-BE49-F238E27FC236}">
                  <a16:creationId xmlns:a16="http://schemas.microsoft.com/office/drawing/2014/main" id="{B2B10AB7-CA2F-423D-9353-40F293727AC4}"/>
                </a:ext>
              </a:extLst>
            </p:cNvPr>
            <p:cNvSpPr>
              <a:spLocks/>
            </p:cNvSpPr>
            <p:nvPr/>
          </p:nvSpPr>
          <p:spPr bwMode="auto">
            <a:xfrm>
              <a:off x="7285" y="2909"/>
              <a:ext cx="30" cy="35"/>
            </a:xfrm>
            <a:custGeom>
              <a:avLst/>
              <a:gdLst>
                <a:gd name="T0" fmla="*/ 11 w 13"/>
                <a:gd name="T1" fmla="*/ 9 h 15"/>
                <a:gd name="T2" fmla="*/ 9 w 13"/>
                <a:gd name="T3" fmla="*/ 7 h 15"/>
                <a:gd name="T4" fmla="*/ 7 w 13"/>
                <a:gd name="T5" fmla="*/ 6 h 15"/>
                <a:gd name="T6" fmla="*/ 7 w 13"/>
                <a:gd name="T7" fmla="*/ 5 h 15"/>
                <a:gd name="T8" fmla="*/ 5 w 13"/>
                <a:gd name="T9" fmla="*/ 4 h 15"/>
                <a:gd name="T10" fmla="*/ 5 w 13"/>
                <a:gd name="T11" fmla="*/ 3 h 15"/>
                <a:gd name="T12" fmla="*/ 3 w 13"/>
                <a:gd name="T13" fmla="*/ 1 h 15"/>
                <a:gd name="T14" fmla="*/ 0 w 13"/>
                <a:gd name="T15" fmla="*/ 0 h 15"/>
                <a:gd name="T16" fmla="*/ 0 w 13"/>
                <a:gd name="T17" fmla="*/ 4 h 15"/>
                <a:gd name="T18" fmla="*/ 5 w 13"/>
                <a:gd name="T19" fmla="*/ 11 h 15"/>
                <a:gd name="T20" fmla="*/ 5 w 13"/>
                <a:gd name="T21" fmla="*/ 12 h 15"/>
                <a:gd name="T22" fmla="*/ 10 w 13"/>
                <a:gd name="T23" fmla="*/ 15 h 15"/>
                <a:gd name="T24" fmla="*/ 12 w 13"/>
                <a:gd name="T25" fmla="*/ 14 h 15"/>
                <a:gd name="T26" fmla="*/ 13 w 13"/>
                <a:gd name="T27" fmla="*/ 13 h 15"/>
                <a:gd name="T28" fmla="*/ 12 w 13"/>
                <a:gd name="T29" fmla="*/ 11 h 15"/>
                <a:gd name="T30" fmla="*/ 11 w 13"/>
                <a:gd name="T31"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5">
                  <a:moveTo>
                    <a:pt x="11" y="9"/>
                  </a:moveTo>
                  <a:cubicBezTo>
                    <a:pt x="10" y="9"/>
                    <a:pt x="10" y="7"/>
                    <a:pt x="9" y="7"/>
                  </a:cubicBezTo>
                  <a:cubicBezTo>
                    <a:pt x="8" y="7"/>
                    <a:pt x="8" y="8"/>
                    <a:pt x="7" y="6"/>
                  </a:cubicBezTo>
                  <a:cubicBezTo>
                    <a:pt x="7" y="6"/>
                    <a:pt x="7" y="6"/>
                    <a:pt x="7" y="5"/>
                  </a:cubicBezTo>
                  <a:cubicBezTo>
                    <a:pt x="6" y="5"/>
                    <a:pt x="6" y="5"/>
                    <a:pt x="5" y="4"/>
                  </a:cubicBezTo>
                  <a:cubicBezTo>
                    <a:pt x="5" y="4"/>
                    <a:pt x="5" y="4"/>
                    <a:pt x="5" y="3"/>
                  </a:cubicBezTo>
                  <a:cubicBezTo>
                    <a:pt x="4" y="2"/>
                    <a:pt x="4" y="1"/>
                    <a:pt x="3" y="1"/>
                  </a:cubicBezTo>
                  <a:cubicBezTo>
                    <a:pt x="2" y="1"/>
                    <a:pt x="1" y="1"/>
                    <a:pt x="0" y="0"/>
                  </a:cubicBezTo>
                  <a:cubicBezTo>
                    <a:pt x="0" y="1"/>
                    <a:pt x="0" y="3"/>
                    <a:pt x="0" y="4"/>
                  </a:cubicBezTo>
                  <a:cubicBezTo>
                    <a:pt x="1" y="7"/>
                    <a:pt x="3" y="9"/>
                    <a:pt x="5" y="11"/>
                  </a:cubicBezTo>
                  <a:cubicBezTo>
                    <a:pt x="4" y="11"/>
                    <a:pt x="5" y="11"/>
                    <a:pt x="5" y="12"/>
                  </a:cubicBezTo>
                  <a:cubicBezTo>
                    <a:pt x="7" y="13"/>
                    <a:pt x="8" y="14"/>
                    <a:pt x="10" y="15"/>
                  </a:cubicBezTo>
                  <a:cubicBezTo>
                    <a:pt x="11" y="14"/>
                    <a:pt x="11" y="14"/>
                    <a:pt x="12" y="14"/>
                  </a:cubicBezTo>
                  <a:cubicBezTo>
                    <a:pt x="12" y="14"/>
                    <a:pt x="13" y="13"/>
                    <a:pt x="13" y="13"/>
                  </a:cubicBezTo>
                  <a:cubicBezTo>
                    <a:pt x="13" y="13"/>
                    <a:pt x="13" y="11"/>
                    <a:pt x="12" y="11"/>
                  </a:cubicBezTo>
                  <a:cubicBezTo>
                    <a:pt x="12" y="10"/>
                    <a:pt x="11" y="10"/>
                    <a:pt x="11" y="9"/>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31" name="Freeform 2686">
              <a:extLst>
                <a:ext uri="{FF2B5EF4-FFF2-40B4-BE49-F238E27FC236}">
                  <a16:creationId xmlns:a16="http://schemas.microsoft.com/office/drawing/2014/main" id="{6574FB0A-A91B-4DD2-BDA7-10D6EA9BFE3E}"/>
                </a:ext>
              </a:extLst>
            </p:cNvPr>
            <p:cNvSpPr>
              <a:spLocks/>
            </p:cNvSpPr>
            <p:nvPr/>
          </p:nvSpPr>
          <p:spPr bwMode="auto">
            <a:xfrm>
              <a:off x="7219" y="2843"/>
              <a:ext cx="2" cy="2"/>
            </a:xfrm>
            <a:custGeom>
              <a:avLst/>
              <a:gdLst>
                <a:gd name="T0" fmla="*/ 0 w 1"/>
                <a:gd name="T1" fmla="*/ 1 h 1"/>
                <a:gd name="T2" fmla="*/ 0 w 1"/>
                <a:gd name="T3" fmla="*/ 0 h 1"/>
                <a:gd name="T4" fmla="*/ 0 w 1"/>
                <a:gd name="T5" fmla="*/ 1 h 1"/>
              </a:gdLst>
              <a:ahLst/>
              <a:cxnLst>
                <a:cxn ang="0">
                  <a:pos x="T0" y="T1"/>
                </a:cxn>
                <a:cxn ang="0">
                  <a:pos x="T2" y="T3"/>
                </a:cxn>
                <a:cxn ang="0">
                  <a:pos x="T4" y="T5"/>
                </a:cxn>
              </a:cxnLst>
              <a:rect l="0" t="0" r="r" b="b"/>
              <a:pathLst>
                <a:path w="1" h="1">
                  <a:moveTo>
                    <a:pt x="0" y="1"/>
                  </a:moveTo>
                  <a:cubicBezTo>
                    <a:pt x="1" y="1"/>
                    <a:pt x="1" y="0"/>
                    <a:pt x="0" y="0"/>
                  </a:cubicBezTo>
                  <a:cubicBezTo>
                    <a:pt x="0" y="1"/>
                    <a:pt x="0"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32" name="Freeform 2687">
              <a:extLst>
                <a:ext uri="{FF2B5EF4-FFF2-40B4-BE49-F238E27FC236}">
                  <a16:creationId xmlns:a16="http://schemas.microsoft.com/office/drawing/2014/main" id="{4F382E52-19E1-4126-B350-553E669D5FF9}"/>
                </a:ext>
              </a:extLst>
            </p:cNvPr>
            <p:cNvSpPr>
              <a:spLocks/>
            </p:cNvSpPr>
            <p:nvPr/>
          </p:nvSpPr>
          <p:spPr bwMode="auto">
            <a:xfrm>
              <a:off x="7098" y="2902"/>
              <a:ext cx="7" cy="7"/>
            </a:xfrm>
            <a:custGeom>
              <a:avLst/>
              <a:gdLst>
                <a:gd name="T0" fmla="*/ 2 w 3"/>
                <a:gd name="T1" fmla="*/ 1 h 3"/>
                <a:gd name="T2" fmla="*/ 1 w 3"/>
                <a:gd name="T3" fmla="*/ 1 h 3"/>
                <a:gd name="T4" fmla="*/ 2 w 3"/>
                <a:gd name="T5" fmla="*/ 3 h 3"/>
                <a:gd name="T6" fmla="*/ 2 w 3"/>
                <a:gd name="T7" fmla="*/ 1 h 3"/>
              </a:gdLst>
              <a:ahLst/>
              <a:cxnLst>
                <a:cxn ang="0">
                  <a:pos x="T0" y="T1"/>
                </a:cxn>
                <a:cxn ang="0">
                  <a:pos x="T2" y="T3"/>
                </a:cxn>
                <a:cxn ang="0">
                  <a:pos x="T4" y="T5"/>
                </a:cxn>
                <a:cxn ang="0">
                  <a:pos x="T6" y="T7"/>
                </a:cxn>
              </a:cxnLst>
              <a:rect l="0" t="0" r="r" b="b"/>
              <a:pathLst>
                <a:path w="3" h="3">
                  <a:moveTo>
                    <a:pt x="2" y="1"/>
                  </a:moveTo>
                  <a:cubicBezTo>
                    <a:pt x="2" y="0"/>
                    <a:pt x="2" y="0"/>
                    <a:pt x="1" y="1"/>
                  </a:cubicBezTo>
                  <a:cubicBezTo>
                    <a:pt x="0" y="1"/>
                    <a:pt x="1" y="3"/>
                    <a:pt x="2" y="3"/>
                  </a:cubicBezTo>
                  <a:cubicBezTo>
                    <a:pt x="3" y="3"/>
                    <a:pt x="3" y="1"/>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33" name="Freeform 2688">
              <a:extLst>
                <a:ext uri="{FF2B5EF4-FFF2-40B4-BE49-F238E27FC236}">
                  <a16:creationId xmlns:a16="http://schemas.microsoft.com/office/drawing/2014/main" id="{0D4DD7B6-3B76-4CAB-A5E3-6C9A89AEEA03}"/>
                </a:ext>
              </a:extLst>
            </p:cNvPr>
            <p:cNvSpPr>
              <a:spLocks/>
            </p:cNvSpPr>
            <p:nvPr/>
          </p:nvSpPr>
          <p:spPr bwMode="auto">
            <a:xfrm>
              <a:off x="7117" y="2833"/>
              <a:ext cx="2"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1" y="0"/>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34" name="Freeform 2689">
              <a:extLst>
                <a:ext uri="{FF2B5EF4-FFF2-40B4-BE49-F238E27FC236}">
                  <a16:creationId xmlns:a16="http://schemas.microsoft.com/office/drawing/2014/main" id="{488F8852-C467-4360-A347-48A4B2ECA033}"/>
                </a:ext>
              </a:extLst>
            </p:cNvPr>
            <p:cNvSpPr>
              <a:spLocks/>
            </p:cNvSpPr>
            <p:nvPr/>
          </p:nvSpPr>
          <p:spPr bwMode="auto">
            <a:xfrm>
              <a:off x="7230" y="2852"/>
              <a:ext cx="5" cy="2"/>
            </a:xfrm>
            <a:custGeom>
              <a:avLst/>
              <a:gdLst>
                <a:gd name="T0" fmla="*/ 2 w 2"/>
                <a:gd name="T1" fmla="*/ 0 h 1"/>
                <a:gd name="T2" fmla="*/ 2 w 2"/>
                <a:gd name="T3" fmla="*/ 1 h 1"/>
                <a:gd name="T4" fmla="*/ 2 w 2"/>
                <a:gd name="T5" fmla="*/ 0 h 1"/>
              </a:gdLst>
              <a:ahLst/>
              <a:cxnLst>
                <a:cxn ang="0">
                  <a:pos x="T0" y="T1"/>
                </a:cxn>
                <a:cxn ang="0">
                  <a:pos x="T2" y="T3"/>
                </a:cxn>
                <a:cxn ang="0">
                  <a:pos x="T4" y="T5"/>
                </a:cxn>
              </a:cxnLst>
              <a:rect l="0" t="0" r="r" b="b"/>
              <a:pathLst>
                <a:path w="2" h="1">
                  <a:moveTo>
                    <a:pt x="2" y="0"/>
                  </a:moveTo>
                  <a:cubicBezTo>
                    <a:pt x="0" y="0"/>
                    <a:pt x="1" y="1"/>
                    <a:pt x="2" y="1"/>
                  </a:cubicBezTo>
                  <a:cubicBezTo>
                    <a:pt x="2" y="1"/>
                    <a:pt x="2" y="0"/>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35" name="Freeform 2690">
              <a:extLst>
                <a:ext uri="{FF2B5EF4-FFF2-40B4-BE49-F238E27FC236}">
                  <a16:creationId xmlns:a16="http://schemas.microsoft.com/office/drawing/2014/main" id="{DFAAE84F-0FB6-4549-81CB-2FCF726B0AA7}"/>
                </a:ext>
              </a:extLst>
            </p:cNvPr>
            <p:cNvSpPr>
              <a:spLocks/>
            </p:cNvSpPr>
            <p:nvPr/>
          </p:nvSpPr>
          <p:spPr bwMode="auto">
            <a:xfrm>
              <a:off x="7074" y="2887"/>
              <a:ext cx="3" cy="5"/>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0"/>
                    <a:pt x="0" y="1"/>
                    <a:pt x="0" y="2"/>
                  </a:cubicBezTo>
                  <a:cubicBezTo>
                    <a:pt x="1" y="2"/>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36" name="Freeform 2691">
              <a:extLst>
                <a:ext uri="{FF2B5EF4-FFF2-40B4-BE49-F238E27FC236}">
                  <a16:creationId xmlns:a16="http://schemas.microsoft.com/office/drawing/2014/main" id="{83690272-D3A9-4B07-ADBA-2C4AE878F76D}"/>
                </a:ext>
              </a:extLst>
            </p:cNvPr>
            <p:cNvSpPr>
              <a:spLocks/>
            </p:cNvSpPr>
            <p:nvPr/>
          </p:nvSpPr>
          <p:spPr bwMode="auto">
            <a:xfrm>
              <a:off x="7162" y="2809"/>
              <a:ext cx="4" cy="8"/>
            </a:xfrm>
            <a:custGeom>
              <a:avLst/>
              <a:gdLst>
                <a:gd name="T0" fmla="*/ 1 w 2"/>
                <a:gd name="T1" fmla="*/ 3 h 3"/>
                <a:gd name="T2" fmla="*/ 0 w 2"/>
                <a:gd name="T3" fmla="*/ 0 h 3"/>
                <a:gd name="T4" fmla="*/ 1 w 2"/>
                <a:gd name="T5" fmla="*/ 3 h 3"/>
              </a:gdLst>
              <a:ahLst/>
              <a:cxnLst>
                <a:cxn ang="0">
                  <a:pos x="T0" y="T1"/>
                </a:cxn>
                <a:cxn ang="0">
                  <a:pos x="T2" y="T3"/>
                </a:cxn>
                <a:cxn ang="0">
                  <a:pos x="T4" y="T5"/>
                </a:cxn>
              </a:cxnLst>
              <a:rect l="0" t="0" r="r" b="b"/>
              <a:pathLst>
                <a:path w="2" h="3">
                  <a:moveTo>
                    <a:pt x="1" y="3"/>
                  </a:moveTo>
                  <a:cubicBezTo>
                    <a:pt x="2" y="1"/>
                    <a:pt x="1" y="0"/>
                    <a:pt x="0" y="0"/>
                  </a:cubicBezTo>
                  <a:cubicBezTo>
                    <a:pt x="0" y="1"/>
                    <a:pt x="1" y="2"/>
                    <a:pt x="1"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37" name="Freeform 2692">
              <a:extLst>
                <a:ext uri="{FF2B5EF4-FFF2-40B4-BE49-F238E27FC236}">
                  <a16:creationId xmlns:a16="http://schemas.microsoft.com/office/drawing/2014/main" id="{48FCAFBB-D288-4639-8C96-1B0EF939AB8E}"/>
                </a:ext>
              </a:extLst>
            </p:cNvPr>
            <p:cNvSpPr>
              <a:spLocks/>
            </p:cNvSpPr>
            <p:nvPr/>
          </p:nvSpPr>
          <p:spPr bwMode="auto">
            <a:xfrm>
              <a:off x="7010" y="2980"/>
              <a:ext cx="8" cy="2"/>
            </a:xfrm>
            <a:custGeom>
              <a:avLst/>
              <a:gdLst>
                <a:gd name="T0" fmla="*/ 0 w 3"/>
                <a:gd name="T1" fmla="*/ 0 h 1"/>
                <a:gd name="T2" fmla="*/ 2 w 3"/>
                <a:gd name="T3" fmla="*/ 1 h 1"/>
                <a:gd name="T4" fmla="*/ 0 w 3"/>
                <a:gd name="T5" fmla="*/ 0 h 1"/>
              </a:gdLst>
              <a:ahLst/>
              <a:cxnLst>
                <a:cxn ang="0">
                  <a:pos x="T0" y="T1"/>
                </a:cxn>
                <a:cxn ang="0">
                  <a:pos x="T2" y="T3"/>
                </a:cxn>
                <a:cxn ang="0">
                  <a:pos x="T4" y="T5"/>
                </a:cxn>
              </a:cxnLst>
              <a:rect l="0" t="0" r="r" b="b"/>
              <a:pathLst>
                <a:path w="3" h="1">
                  <a:moveTo>
                    <a:pt x="0" y="0"/>
                  </a:moveTo>
                  <a:cubicBezTo>
                    <a:pt x="1" y="1"/>
                    <a:pt x="1" y="1"/>
                    <a:pt x="2" y="1"/>
                  </a:cubicBezTo>
                  <a:cubicBezTo>
                    <a:pt x="3" y="0"/>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38" name="Freeform 2693">
              <a:extLst>
                <a:ext uri="{FF2B5EF4-FFF2-40B4-BE49-F238E27FC236}">
                  <a16:creationId xmlns:a16="http://schemas.microsoft.com/office/drawing/2014/main" id="{000DE888-0BBF-4C0A-8B42-07BE28603670}"/>
                </a:ext>
              </a:extLst>
            </p:cNvPr>
            <p:cNvSpPr>
              <a:spLocks/>
            </p:cNvSpPr>
            <p:nvPr/>
          </p:nvSpPr>
          <p:spPr bwMode="auto">
            <a:xfrm>
              <a:off x="7119" y="2909"/>
              <a:ext cx="10" cy="9"/>
            </a:xfrm>
            <a:custGeom>
              <a:avLst/>
              <a:gdLst>
                <a:gd name="T0" fmla="*/ 0 w 4"/>
                <a:gd name="T1" fmla="*/ 1 h 4"/>
                <a:gd name="T2" fmla="*/ 1 w 4"/>
                <a:gd name="T3" fmla="*/ 4 h 4"/>
                <a:gd name="T4" fmla="*/ 0 w 4"/>
                <a:gd name="T5" fmla="*/ 1 h 4"/>
              </a:gdLst>
              <a:ahLst/>
              <a:cxnLst>
                <a:cxn ang="0">
                  <a:pos x="T0" y="T1"/>
                </a:cxn>
                <a:cxn ang="0">
                  <a:pos x="T2" y="T3"/>
                </a:cxn>
                <a:cxn ang="0">
                  <a:pos x="T4" y="T5"/>
                </a:cxn>
              </a:cxnLst>
              <a:rect l="0" t="0" r="r" b="b"/>
              <a:pathLst>
                <a:path w="4" h="4">
                  <a:moveTo>
                    <a:pt x="0" y="1"/>
                  </a:moveTo>
                  <a:cubicBezTo>
                    <a:pt x="0" y="2"/>
                    <a:pt x="1" y="3"/>
                    <a:pt x="1" y="4"/>
                  </a:cubicBezTo>
                  <a:cubicBezTo>
                    <a:pt x="4" y="3"/>
                    <a:pt x="1"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39" name="Freeform 2694">
              <a:extLst>
                <a:ext uri="{FF2B5EF4-FFF2-40B4-BE49-F238E27FC236}">
                  <a16:creationId xmlns:a16="http://schemas.microsoft.com/office/drawing/2014/main" id="{E869B766-A8E0-4A53-8984-9F684C3A808E}"/>
                </a:ext>
              </a:extLst>
            </p:cNvPr>
            <p:cNvSpPr>
              <a:spLocks/>
            </p:cNvSpPr>
            <p:nvPr/>
          </p:nvSpPr>
          <p:spPr bwMode="auto">
            <a:xfrm>
              <a:off x="7159" y="2890"/>
              <a:ext cx="0" cy="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40" name="Freeform 2695">
              <a:extLst>
                <a:ext uri="{FF2B5EF4-FFF2-40B4-BE49-F238E27FC236}">
                  <a16:creationId xmlns:a16="http://schemas.microsoft.com/office/drawing/2014/main" id="{90F9CD66-AA28-445D-BCCA-D1EDBDFE47CB}"/>
                </a:ext>
              </a:extLst>
            </p:cNvPr>
            <p:cNvSpPr>
              <a:spLocks/>
            </p:cNvSpPr>
            <p:nvPr/>
          </p:nvSpPr>
          <p:spPr bwMode="auto">
            <a:xfrm>
              <a:off x="7233" y="2994"/>
              <a:ext cx="12" cy="7"/>
            </a:xfrm>
            <a:custGeom>
              <a:avLst/>
              <a:gdLst>
                <a:gd name="T0" fmla="*/ 4 w 5"/>
                <a:gd name="T1" fmla="*/ 3 h 3"/>
                <a:gd name="T2" fmla="*/ 4 w 5"/>
                <a:gd name="T3" fmla="*/ 2 h 3"/>
                <a:gd name="T4" fmla="*/ 4 w 5"/>
                <a:gd name="T5" fmla="*/ 1 h 3"/>
                <a:gd name="T6" fmla="*/ 3 w 5"/>
                <a:gd name="T7" fmla="*/ 0 h 3"/>
                <a:gd name="T8" fmla="*/ 0 w 5"/>
                <a:gd name="T9" fmla="*/ 1 h 3"/>
                <a:gd name="T10" fmla="*/ 3 w 5"/>
                <a:gd name="T11" fmla="*/ 3 h 3"/>
                <a:gd name="T12" fmla="*/ 4 w 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5" h="3">
                  <a:moveTo>
                    <a:pt x="4" y="3"/>
                  </a:moveTo>
                  <a:cubicBezTo>
                    <a:pt x="4" y="3"/>
                    <a:pt x="4" y="2"/>
                    <a:pt x="4" y="2"/>
                  </a:cubicBezTo>
                  <a:cubicBezTo>
                    <a:pt x="5" y="3"/>
                    <a:pt x="4" y="1"/>
                    <a:pt x="4" y="1"/>
                  </a:cubicBezTo>
                  <a:cubicBezTo>
                    <a:pt x="4" y="1"/>
                    <a:pt x="3" y="0"/>
                    <a:pt x="3" y="0"/>
                  </a:cubicBezTo>
                  <a:cubicBezTo>
                    <a:pt x="2" y="0"/>
                    <a:pt x="0" y="0"/>
                    <a:pt x="0" y="1"/>
                  </a:cubicBezTo>
                  <a:cubicBezTo>
                    <a:pt x="1" y="2"/>
                    <a:pt x="2" y="2"/>
                    <a:pt x="3" y="3"/>
                  </a:cubicBezTo>
                  <a:cubicBezTo>
                    <a:pt x="3" y="3"/>
                    <a:pt x="4" y="3"/>
                    <a:pt x="4"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41" name="Freeform 2696">
              <a:extLst>
                <a:ext uri="{FF2B5EF4-FFF2-40B4-BE49-F238E27FC236}">
                  <a16:creationId xmlns:a16="http://schemas.microsoft.com/office/drawing/2014/main" id="{DFD83437-E58F-4E48-ADAA-A32D31EFA5E5}"/>
                </a:ext>
              </a:extLst>
            </p:cNvPr>
            <p:cNvSpPr>
              <a:spLocks/>
            </p:cNvSpPr>
            <p:nvPr/>
          </p:nvSpPr>
          <p:spPr bwMode="auto">
            <a:xfrm>
              <a:off x="7086" y="2824"/>
              <a:ext cx="24" cy="7"/>
            </a:xfrm>
            <a:custGeom>
              <a:avLst/>
              <a:gdLst>
                <a:gd name="T0" fmla="*/ 1 w 10"/>
                <a:gd name="T1" fmla="*/ 3 h 3"/>
                <a:gd name="T2" fmla="*/ 6 w 10"/>
                <a:gd name="T3" fmla="*/ 2 h 3"/>
                <a:gd name="T4" fmla="*/ 10 w 10"/>
                <a:gd name="T5" fmla="*/ 1 h 3"/>
                <a:gd name="T6" fmla="*/ 7 w 10"/>
                <a:gd name="T7" fmla="*/ 1 h 3"/>
                <a:gd name="T8" fmla="*/ 3 w 10"/>
                <a:gd name="T9" fmla="*/ 1 h 3"/>
                <a:gd name="T10" fmla="*/ 1 w 10"/>
                <a:gd name="T11" fmla="*/ 1 h 3"/>
                <a:gd name="T12" fmla="*/ 1 w 10"/>
                <a:gd name="T13" fmla="*/ 2 h 3"/>
                <a:gd name="T14" fmla="*/ 1 w 10"/>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3">
                  <a:moveTo>
                    <a:pt x="1" y="3"/>
                  </a:moveTo>
                  <a:cubicBezTo>
                    <a:pt x="3" y="2"/>
                    <a:pt x="4" y="2"/>
                    <a:pt x="6" y="2"/>
                  </a:cubicBezTo>
                  <a:cubicBezTo>
                    <a:pt x="8" y="3"/>
                    <a:pt x="8" y="2"/>
                    <a:pt x="10" y="1"/>
                  </a:cubicBezTo>
                  <a:cubicBezTo>
                    <a:pt x="9" y="1"/>
                    <a:pt x="7" y="1"/>
                    <a:pt x="7" y="1"/>
                  </a:cubicBezTo>
                  <a:cubicBezTo>
                    <a:pt x="6" y="0"/>
                    <a:pt x="4" y="1"/>
                    <a:pt x="3" y="1"/>
                  </a:cubicBezTo>
                  <a:cubicBezTo>
                    <a:pt x="2" y="1"/>
                    <a:pt x="1" y="0"/>
                    <a:pt x="1" y="1"/>
                  </a:cubicBezTo>
                  <a:cubicBezTo>
                    <a:pt x="1" y="1"/>
                    <a:pt x="2" y="2"/>
                    <a:pt x="1" y="2"/>
                  </a:cubicBezTo>
                  <a:cubicBezTo>
                    <a:pt x="1" y="2"/>
                    <a:pt x="0" y="2"/>
                    <a:pt x="1"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42" name="Freeform 2697">
              <a:extLst>
                <a:ext uri="{FF2B5EF4-FFF2-40B4-BE49-F238E27FC236}">
                  <a16:creationId xmlns:a16="http://schemas.microsoft.com/office/drawing/2014/main" id="{1969E6FC-8D2B-438A-8142-BE1F0540CE24}"/>
                </a:ext>
              </a:extLst>
            </p:cNvPr>
            <p:cNvSpPr>
              <a:spLocks/>
            </p:cNvSpPr>
            <p:nvPr/>
          </p:nvSpPr>
          <p:spPr bwMode="auto">
            <a:xfrm>
              <a:off x="7171" y="2835"/>
              <a:ext cx="12" cy="8"/>
            </a:xfrm>
            <a:custGeom>
              <a:avLst/>
              <a:gdLst>
                <a:gd name="T0" fmla="*/ 1 w 5"/>
                <a:gd name="T1" fmla="*/ 0 h 3"/>
                <a:gd name="T2" fmla="*/ 0 w 5"/>
                <a:gd name="T3" fmla="*/ 1 h 3"/>
                <a:gd name="T4" fmla="*/ 4 w 5"/>
                <a:gd name="T5" fmla="*/ 3 h 3"/>
                <a:gd name="T6" fmla="*/ 5 w 5"/>
                <a:gd name="T7" fmla="*/ 1 h 3"/>
                <a:gd name="T8" fmla="*/ 3 w 5"/>
                <a:gd name="T9" fmla="*/ 0 h 3"/>
                <a:gd name="T10" fmla="*/ 1 w 5"/>
                <a:gd name="T11" fmla="*/ 0 h 3"/>
              </a:gdLst>
              <a:ahLst/>
              <a:cxnLst>
                <a:cxn ang="0">
                  <a:pos x="T0" y="T1"/>
                </a:cxn>
                <a:cxn ang="0">
                  <a:pos x="T2" y="T3"/>
                </a:cxn>
                <a:cxn ang="0">
                  <a:pos x="T4" y="T5"/>
                </a:cxn>
                <a:cxn ang="0">
                  <a:pos x="T6" y="T7"/>
                </a:cxn>
                <a:cxn ang="0">
                  <a:pos x="T8" y="T9"/>
                </a:cxn>
                <a:cxn ang="0">
                  <a:pos x="T10" y="T11"/>
                </a:cxn>
              </a:cxnLst>
              <a:rect l="0" t="0" r="r" b="b"/>
              <a:pathLst>
                <a:path w="5" h="3">
                  <a:moveTo>
                    <a:pt x="1" y="0"/>
                  </a:moveTo>
                  <a:cubicBezTo>
                    <a:pt x="0" y="0"/>
                    <a:pt x="0" y="1"/>
                    <a:pt x="0" y="1"/>
                  </a:cubicBezTo>
                  <a:cubicBezTo>
                    <a:pt x="1" y="1"/>
                    <a:pt x="2" y="2"/>
                    <a:pt x="4" y="3"/>
                  </a:cubicBezTo>
                  <a:cubicBezTo>
                    <a:pt x="5" y="3"/>
                    <a:pt x="5" y="2"/>
                    <a:pt x="5" y="1"/>
                  </a:cubicBezTo>
                  <a:cubicBezTo>
                    <a:pt x="4" y="0"/>
                    <a:pt x="3" y="0"/>
                    <a:pt x="3" y="0"/>
                  </a:cubicBezTo>
                  <a:cubicBezTo>
                    <a:pt x="2" y="0"/>
                    <a:pt x="2"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43" name="Rectangle 2698">
              <a:extLst>
                <a:ext uri="{FF2B5EF4-FFF2-40B4-BE49-F238E27FC236}">
                  <a16:creationId xmlns:a16="http://schemas.microsoft.com/office/drawing/2014/main" id="{CACFF635-4EA4-46A0-97E6-E4B792E5D9BD}"/>
                </a:ext>
              </a:extLst>
            </p:cNvPr>
            <p:cNvSpPr>
              <a:spLocks noChangeArrowheads="1"/>
            </p:cNvSpPr>
            <p:nvPr/>
          </p:nvSpPr>
          <p:spPr bwMode="auto">
            <a:xfrm>
              <a:off x="7195" y="2850"/>
              <a:ext cx="1" cy="1"/>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44" name="Freeform 2699">
              <a:extLst>
                <a:ext uri="{FF2B5EF4-FFF2-40B4-BE49-F238E27FC236}">
                  <a16:creationId xmlns:a16="http://schemas.microsoft.com/office/drawing/2014/main" id="{1FA9573B-EF28-4161-8746-AAB462773B86}"/>
                </a:ext>
              </a:extLst>
            </p:cNvPr>
            <p:cNvSpPr>
              <a:spLocks/>
            </p:cNvSpPr>
            <p:nvPr/>
          </p:nvSpPr>
          <p:spPr bwMode="auto">
            <a:xfrm>
              <a:off x="7190" y="2850"/>
              <a:ext cx="3"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45" name="Freeform 2700">
              <a:extLst>
                <a:ext uri="{FF2B5EF4-FFF2-40B4-BE49-F238E27FC236}">
                  <a16:creationId xmlns:a16="http://schemas.microsoft.com/office/drawing/2014/main" id="{050E6BA8-8F40-45D7-84E0-AF64914A9408}"/>
                </a:ext>
              </a:extLst>
            </p:cNvPr>
            <p:cNvSpPr>
              <a:spLocks/>
            </p:cNvSpPr>
            <p:nvPr/>
          </p:nvSpPr>
          <p:spPr bwMode="auto">
            <a:xfrm>
              <a:off x="7195" y="285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46" name="Freeform 2701">
              <a:extLst>
                <a:ext uri="{FF2B5EF4-FFF2-40B4-BE49-F238E27FC236}">
                  <a16:creationId xmlns:a16="http://schemas.microsoft.com/office/drawing/2014/main" id="{C8EDD131-960D-4F44-9D2C-C693BF9B9075}"/>
                </a:ext>
              </a:extLst>
            </p:cNvPr>
            <p:cNvSpPr>
              <a:spLocks/>
            </p:cNvSpPr>
            <p:nvPr/>
          </p:nvSpPr>
          <p:spPr bwMode="auto">
            <a:xfrm>
              <a:off x="7190" y="3013"/>
              <a:ext cx="14" cy="12"/>
            </a:xfrm>
            <a:custGeom>
              <a:avLst/>
              <a:gdLst>
                <a:gd name="T0" fmla="*/ 5 w 6"/>
                <a:gd name="T1" fmla="*/ 2 h 5"/>
                <a:gd name="T2" fmla="*/ 3 w 6"/>
                <a:gd name="T3" fmla="*/ 3 h 5"/>
                <a:gd name="T4" fmla="*/ 3 w 6"/>
                <a:gd name="T5" fmla="*/ 3 h 5"/>
                <a:gd name="T6" fmla="*/ 2 w 6"/>
                <a:gd name="T7" fmla="*/ 2 h 5"/>
                <a:gd name="T8" fmla="*/ 1 w 6"/>
                <a:gd name="T9" fmla="*/ 1 h 5"/>
                <a:gd name="T10" fmla="*/ 0 w 6"/>
                <a:gd name="T11" fmla="*/ 0 h 5"/>
                <a:gd name="T12" fmla="*/ 2 w 6"/>
                <a:gd name="T13" fmla="*/ 4 h 5"/>
                <a:gd name="T14" fmla="*/ 5 w 6"/>
                <a:gd name="T15" fmla="*/ 5 h 5"/>
                <a:gd name="T16" fmla="*/ 5 w 6"/>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5">
                  <a:moveTo>
                    <a:pt x="5" y="2"/>
                  </a:moveTo>
                  <a:cubicBezTo>
                    <a:pt x="4" y="2"/>
                    <a:pt x="3" y="3"/>
                    <a:pt x="3" y="3"/>
                  </a:cubicBezTo>
                  <a:cubicBezTo>
                    <a:pt x="3" y="3"/>
                    <a:pt x="3" y="3"/>
                    <a:pt x="3" y="3"/>
                  </a:cubicBezTo>
                  <a:cubicBezTo>
                    <a:pt x="3" y="3"/>
                    <a:pt x="2" y="2"/>
                    <a:pt x="2" y="2"/>
                  </a:cubicBezTo>
                  <a:cubicBezTo>
                    <a:pt x="2" y="2"/>
                    <a:pt x="2" y="1"/>
                    <a:pt x="1" y="1"/>
                  </a:cubicBezTo>
                  <a:cubicBezTo>
                    <a:pt x="1" y="1"/>
                    <a:pt x="0" y="0"/>
                    <a:pt x="0" y="0"/>
                  </a:cubicBezTo>
                  <a:cubicBezTo>
                    <a:pt x="0" y="1"/>
                    <a:pt x="1" y="3"/>
                    <a:pt x="2" y="4"/>
                  </a:cubicBezTo>
                  <a:cubicBezTo>
                    <a:pt x="2" y="4"/>
                    <a:pt x="4" y="5"/>
                    <a:pt x="5" y="5"/>
                  </a:cubicBezTo>
                  <a:cubicBezTo>
                    <a:pt x="5" y="5"/>
                    <a:pt x="6" y="2"/>
                    <a:pt x="5"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47" name="Freeform 2702">
              <a:extLst>
                <a:ext uri="{FF2B5EF4-FFF2-40B4-BE49-F238E27FC236}">
                  <a16:creationId xmlns:a16="http://schemas.microsoft.com/office/drawing/2014/main" id="{C2DC234E-6F8D-421B-A84D-6EE484F1894C}"/>
                </a:ext>
              </a:extLst>
            </p:cNvPr>
            <p:cNvSpPr>
              <a:spLocks/>
            </p:cNvSpPr>
            <p:nvPr/>
          </p:nvSpPr>
          <p:spPr bwMode="auto">
            <a:xfrm>
              <a:off x="7193" y="3034"/>
              <a:ext cx="4" cy="3"/>
            </a:xfrm>
            <a:custGeom>
              <a:avLst/>
              <a:gdLst>
                <a:gd name="T0" fmla="*/ 0 w 2"/>
                <a:gd name="T1" fmla="*/ 1 h 1"/>
                <a:gd name="T2" fmla="*/ 2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1"/>
                    <a:pt x="2" y="0"/>
                  </a:cubicBezTo>
                  <a:cubicBezTo>
                    <a:pt x="1" y="0"/>
                    <a:pt x="1"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48" name="Freeform 2703">
              <a:extLst>
                <a:ext uri="{FF2B5EF4-FFF2-40B4-BE49-F238E27FC236}">
                  <a16:creationId xmlns:a16="http://schemas.microsoft.com/office/drawing/2014/main" id="{6AAF4C77-BAAE-44EF-9906-F58C5D4E93AE}"/>
                </a:ext>
              </a:extLst>
            </p:cNvPr>
            <p:cNvSpPr>
              <a:spLocks/>
            </p:cNvSpPr>
            <p:nvPr/>
          </p:nvSpPr>
          <p:spPr bwMode="auto">
            <a:xfrm>
              <a:off x="6152" y="2253"/>
              <a:ext cx="5"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1" y="0"/>
                    <a:pt x="0" y="0"/>
                  </a:cubicBezTo>
                  <a:cubicBezTo>
                    <a:pt x="1" y="0"/>
                    <a:pt x="2" y="0"/>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49" name="Freeform 2704">
              <a:extLst>
                <a:ext uri="{FF2B5EF4-FFF2-40B4-BE49-F238E27FC236}">
                  <a16:creationId xmlns:a16="http://schemas.microsoft.com/office/drawing/2014/main" id="{057ED7D4-B515-4398-93FA-B9FDEC542329}"/>
                </a:ext>
              </a:extLst>
            </p:cNvPr>
            <p:cNvSpPr>
              <a:spLocks/>
            </p:cNvSpPr>
            <p:nvPr/>
          </p:nvSpPr>
          <p:spPr bwMode="auto">
            <a:xfrm>
              <a:off x="6058" y="2523"/>
              <a:ext cx="4" cy="10"/>
            </a:xfrm>
            <a:custGeom>
              <a:avLst/>
              <a:gdLst>
                <a:gd name="T0" fmla="*/ 0 w 2"/>
                <a:gd name="T1" fmla="*/ 1 h 4"/>
                <a:gd name="T2" fmla="*/ 1 w 2"/>
                <a:gd name="T3" fmla="*/ 4 h 4"/>
                <a:gd name="T4" fmla="*/ 2 w 2"/>
                <a:gd name="T5" fmla="*/ 1 h 4"/>
                <a:gd name="T6" fmla="*/ 0 w 2"/>
                <a:gd name="T7" fmla="*/ 1 h 4"/>
              </a:gdLst>
              <a:ahLst/>
              <a:cxnLst>
                <a:cxn ang="0">
                  <a:pos x="T0" y="T1"/>
                </a:cxn>
                <a:cxn ang="0">
                  <a:pos x="T2" y="T3"/>
                </a:cxn>
                <a:cxn ang="0">
                  <a:pos x="T4" y="T5"/>
                </a:cxn>
                <a:cxn ang="0">
                  <a:pos x="T6" y="T7"/>
                </a:cxn>
              </a:cxnLst>
              <a:rect l="0" t="0" r="r" b="b"/>
              <a:pathLst>
                <a:path w="2" h="4">
                  <a:moveTo>
                    <a:pt x="0" y="1"/>
                  </a:moveTo>
                  <a:cubicBezTo>
                    <a:pt x="0" y="2"/>
                    <a:pt x="1" y="3"/>
                    <a:pt x="1" y="4"/>
                  </a:cubicBezTo>
                  <a:cubicBezTo>
                    <a:pt x="2" y="4"/>
                    <a:pt x="2" y="2"/>
                    <a:pt x="2" y="1"/>
                  </a:cubicBezTo>
                  <a:cubicBezTo>
                    <a:pt x="1" y="0"/>
                    <a:pt x="1" y="1"/>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50" name="Freeform 2705">
              <a:extLst>
                <a:ext uri="{FF2B5EF4-FFF2-40B4-BE49-F238E27FC236}">
                  <a16:creationId xmlns:a16="http://schemas.microsoft.com/office/drawing/2014/main" id="{D264BB5E-0D6C-4E50-9310-853EE1AE7836}"/>
                </a:ext>
              </a:extLst>
            </p:cNvPr>
            <p:cNvSpPr>
              <a:spLocks/>
            </p:cNvSpPr>
            <p:nvPr/>
          </p:nvSpPr>
          <p:spPr bwMode="auto">
            <a:xfrm>
              <a:off x="6093" y="2523"/>
              <a:ext cx="36" cy="24"/>
            </a:xfrm>
            <a:custGeom>
              <a:avLst/>
              <a:gdLst>
                <a:gd name="T0" fmla="*/ 9 w 15"/>
                <a:gd name="T1" fmla="*/ 7 h 10"/>
                <a:gd name="T2" fmla="*/ 12 w 15"/>
                <a:gd name="T3" fmla="*/ 9 h 10"/>
                <a:gd name="T4" fmla="*/ 0 w 15"/>
                <a:gd name="T5" fmla="*/ 0 h 10"/>
                <a:gd name="T6" fmla="*/ 1 w 15"/>
                <a:gd name="T7" fmla="*/ 1 h 10"/>
                <a:gd name="T8" fmla="*/ 3 w 15"/>
                <a:gd name="T9" fmla="*/ 3 h 10"/>
                <a:gd name="T10" fmla="*/ 5 w 15"/>
                <a:gd name="T11" fmla="*/ 4 h 10"/>
                <a:gd name="T12" fmla="*/ 9 w 15"/>
                <a:gd name="T13" fmla="*/ 7 h 10"/>
              </a:gdLst>
              <a:ahLst/>
              <a:cxnLst>
                <a:cxn ang="0">
                  <a:pos x="T0" y="T1"/>
                </a:cxn>
                <a:cxn ang="0">
                  <a:pos x="T2" y="T3"/>
                </a:cxn>
                <a:cxn ang="0">
                  <a:pos x="T4" y="T5"/>
                </a:cxn>
                <a:cxn ang="0">
                  <a:pos x="T6" y="T7"/>
                </a:cxn>
                <a:cxn ang="0">
                  <a:pos x="T8" y="T9"/>
                </a:cxn>
                <a:cxn ang="0">
                  <a:pos x="T10" y="T11"/>
                </a:cxn>
                <a:cxn ang="0">
                  <a:pos x="T12" y="T13"/>
                </a:cxn>
              </a:cxnLst>
              <a:rect l="0" t="0" r="r" b="b"/>
              <a:pathLst>
                <a:path w="15" h="10">
                  <a:moveTo>
                    <a:pt x="9" y="7"/>
                  </a:moveTo>
                  <a:cubicBezTo>
                    <a:pt x="9" y="8"/>
                    <a:pt x="11" y="10"/>
                    <a:pt x="12" y="9"/>
                  </a:cubicBezTo>
                  <a:cubicBezTo>
                    <a:pt x="15" y="6"/>
                    <a:pt x="0" y="0"/>
                    <a:pt x="0" y="0"/>
                  </a:cubicBezTo>
                  <a:cubicBezTo>
                    <a:pt x="0" y="0"/>
                    <a:pt x="1" y="1"/>
                    <a:pt x="1" y="1"/>
                  </a:cubicBezTo>
                  <a:cubicBezTo>
                    <a:pt x="2" y="2"/>
                    <a:pt x="2" y="2"/>
                    <a:pt x="3" y="3"/>
                  </a:cubicBezTo>
                  <a:cubicBezTo>
                    <a:pt x="4" y="3"/>
                    <a:pt x="4" y="4"/>
                    <a:pt x="5" y="4"/>
                  </a:cubicBezTo>
                  <a:cubicBezTo>
                    <a:pt x="6" y="6"/>
                    <a:pt x="7" y="6"/>
                    <a:pt x="9" y="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51" name="Freeform 2706">
              <a:extLst>
                <a:ext uri="{FF2B5EF4-FFF2-40B4-BE49-F238E27FC236}">
                  <a16:creationId xmlns:a16="http://schemas.microsoft.com/office/drawing/2014/main" id="{44B42D96-9C6E-4A9E-A351-03D684CC0B38}"/>
                </a:ext>
              </a:extLst>
            </p:cNvPr>
            <p:cNvSpPr>
              <a:spLocks/>
            </p:cNvSpPr>
            <p:nvPr/>
          </p:nvSpPr>
          <p:spPr bwMode="auto">
            <a:xfrm>
              <a:off x="6121" y="2566"/>
              <a:ext cx="3" cy="2"/>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1" y="0"/>
                    <a:pt x="1" y="0"/>
                    <a:pt x="1" y="0"/>
                  </a:cubicBezTo>
                  <a:cubicBezTo>
                    <a:pt x="1" y="0"/>
                    <a:pt x="0"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52" name="Freeform 2707">
              <a:extLst>
                <a:ext uri="{FF2B5EF4-FFF2-40B4-BE49-F238E27FC236}">
                  <a16:creationId xmlns:a16="http://schemas.microsoft.com/office/drawing/2014/main" id="{19244251-304D-43D0-B9A6-DFD1889B27F7}"/>
                </a:ext>
              </a:extLst>
            </p:cNvPr>
            <p:cNvSpPr>
              <a:spLocks/>
            </p:cNvSpPr>
            <p:nvPr/>
          </p:nvSpPr>
          <p:spPr bwMode="auto">
            <a:xfrm>
              <a:off x="6110" y="2528"/>
              <a:ext cx="16" cy="14"/>
            </a:xfrm>
            <a:custGeom>
              <a:avLst/>
              <a:gdLst>
                <a:gd name="T0" fmla="*/ 0 w 7"/>
                <a:gd name="T1" fmla="*/ 0 h 6"/>
                <a:gd name="T2" fmla="*/ 5 w 7"/>
                <a:gd name="T3" fmla="*/ 4 h 6"/>
                <a:gd name="T4" fmla="*/ 7 w 7"/>
                <a:gd name="T5" fmla="*/ 4 h 6"/>
                <a:gd name="T6" fmla="*/ 6 w 7"/>
                <a:gd name="T7" fmla="*/ 4 h 6"/>
                <a:gd name="T8" fmla="*/ 4 w 7"/>
                <a:gd name="T9" fmla="*/ 3 h 6"/>
                <a:gd name="T10" fmla="*/ 3 w 7"/>
                <a:gd name="T11" fmla="*/ 0 h 6"/>
                <a:gd name="T12" fmla="*/ 2 w 7"/>
                <a:gd name="T13" fmla="*/ 0 h 6"/>
                <a:gd name="T14" fmla="*/ 2 w 7"/>
                <a:gd name="T15" fmla="*/ 0 h 6"/>
                <a:gd name="T16" fmla="*/ 2 w 7"/>
                <a:gd name="T17" fmla="*/ 1 h 6"/>
                <a:gd name="T18" fmla="*/ 0 w 7"/>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6">
                  <a:moveTo>
                    <a:pt x="0" y="0"/>
                  </a:moveTo>
                  <a:cubicBezTo>
                    <a:pt x="1" y="2"/>
                    <a:pt x="3" y="3"/>
                    <a:pt x="5" y="4"/>
                  </a:cubicBezTo>
                  <a:cubicBezTo>
                    <a:pt x="5" y="4"/>
                    <a:pt x="7" y="6"/>
                    <a:pt x="7" y="4"/>
                  </a:cubicBezTo>
                  <a:cubicBezTo>
                    <a:pt x="7" y="4"/>
                    <a:pt x="6" y="4"/>
                    <a:pt x="6" y="4"/>
                  </a:cubicBezTo>
                  <a:cubicBezTo>
                    <a:pt x="5" y="3"/>
                    <a:pt x="5" y="3"/>
                    <a:pt x="4" y="3"/>
                  </a:cubicBezTo>
                  <a:cubicBezTo>
                    <a:pt x="4" y="2"/>
                    <a:pt x="3" y="1"/>
                    <a:pt x="3" y="0"/>
                  </a:cubicBezTo>
                  <a:cubicBezTo>
                    <a:pt x="3" y="0"/>
                    <a:pt x="3" y="0"/>
                    <a:pt x="2" y="0"/>
                  </a:cubicBezTo>
                  <a:cubicBezTo>
                    <a:pt x="2" y="0"/>
                    <a:pt x="2" y="0"/>
                    <a:pt x="2" y="0"/>
                  </a:cubicBezTo>
                  <a:cubicBezTo>
                    <a:pt x="2" y="0"/>
                    <a:pt x="2" y="1"/>
                    <a:pt x="2" y="1"/>
                  </a:cubicBezTo>
                  <a:cubicBezTo>
                    <a:pt x="1" y="0"/>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53" name="Freeform 2708">
              <a:extLst>
                <a:ext uri="{FF2B5EF4-FFF2-40B4-BE49-F238E27FC236}">
                  <a16:creationId xmlns:a16="http://schemas.microsoft.com/office/drawing/2014/main" id="{AD0AC862-E4A1-45E7-9B3E-914311D0CF43}"/>
                </a:ext>
              </a:extLst>
            </p:cNvPr>
            <p:cNvSpPr>
              <a:spLocks/>
            </p:cNvSpPr>
            <p:nvPr/>
          </p:nvSpPr>
          <p:spPr bwMode="auto">
            <a:xfrm>
              <a:off x="6143" y="2261"/>
              <a:ext cx="4" cy="4"/>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1" y="1"/>
                    <a:pt x="0" y="1"/>
                    <a:pt x="0" y="2"/>
                  </a:cubicBezTo>
                  <a:cubicBezTo>
                    <a:pt x="1" y="2"/>
                    <a:pt x="1" y="1"/>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54" name="Freeform 2709">
              <a:extLst>
                <a:ext uri="{FF2B5EF4-FFF2-40B4-BE49-F238E27FC236}">
                  <a16:creationId xmlns:a16="http://schemas.microsoft.com/office/drawing/2014/main" id="{C4DF7A6D-D20E-4914-B159-2FA773D3C978}"/>
                </a:ext>
              </a:extLst>
            </p:cNvPr>
            <p:cNvSpPr>
              <a:spLocks/>
            </p:cNvSpPr>
            <p:nvPr/>
          </p:nvSpPr>
          <p:spPr bwMode="auto">
            <a:xfrm>
              <a:off x="6112" y="2528"/>
              <a:ext cx="14" cy="7"/>
            </a:xfrm>
            <a:custGeom>
              <a:avLst/>
              <a:gdLst>
                <a:gd name="T0" fmla="*/ 2 w 6"/>
                <a:gd name="T1" fmla="*/ 1 h 3"/>
                <a:gd name="T2" fmla="*/ 5 w 6"/>
                <a:gd name="T3" fmla="*/ 3 h 3"/>
                <a:gd name="T4" fmla="*/ 5 w 6"/>
                <a:gd name="T5" fmla="*/ 1 h 3"/>
                <a:gd name="T6" fmla="*/ 6 w 6"/>
                <a:gd name="T7" fmla="*/ 1 h 3"/>
                <a:gd name="T8" fmla="*/ 1 w 6"/>
                <a:gd name="T9" fmla="*/ 0 h 3"/>
                <a:gd name="T10" fmla="*/ 0 w 6"/>
                <a:gd name="T11" fmla="*/ 0 h 3"/>
                <a:gd name="T12" fmla="*/ 1 w 6"/>
                <a:gd name="T13" fmla="*/ 0 h 3"/>
                <a:gd name="T14" fmla="*/ 1 w 6"/>
                <a:gd name="T15" fmla="*/ 0 h 3"/>
                <a:gd name="T16" fmla="*/ 2 w 6"/>
                <a:gd name="T1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3">
                  <a:moveTo>
                    <a:pt x="2" y="1"/>
                  </a:moveTo>
                  <a:cubicBezTo>
                    <a:pt x="3" y="2"/>
                    <a:pt x="4" y="3"/>
                    <a:pt x="5" y="3"/>
                  </a:cubicBezTo>
                  <a:cubicBezTo>
                    <a:pt x="5" y="3"/>
                    <a:pt x="5" y="2"/>
                    <a:pt x="5" y="1"/>
                  </a:cubicBezTo>
                  <a:cubicBezTo>
                    <a:pt x="6" y="1"/>
                    <a:pt x="6" y="1"/>
                    <a:pt x="6" y="1"/>
                  </a:cubicBezTo>
                  <a:cubicBezTo>
                    <a:pt x="5" y="0"/>
                    <a:pt x="3" y="0"/>
                    <a:pt x="1" y="0"/>
                  </a:cubicBezTo>
                  <a:cubicBezTo>
                    <a:pt x="1" y="0"/>
                    <a:pt x="1" y="0"/>
                    <a:pt x="0" y="0"/>
                  </a:cubicBezTo>
                  <a:cubicBezTo>
                    <a:pt x="1" y="0"/>
                    <a:pt x="1" y="0"/>
                    <a:pt x="1" y="0"/>
                  </a:cubicBezTo>
                  <a:cubicBezTo>
                    <a:pt x="1" y="0"/>
                    <a:pt x="1" y="0"/>
                    <a:pt x="1" y="0"/>
                  </a:cubicBezTo>
                  <a:cubicBezTo>
                    <a:pt x="2" y="0"/>
                    <a:pt x="2" y="0"/>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55" name="Freeform 2710">
              <a:extLst>
                <a:ext uri="{FF2B5EF4-FFF2-40B4-BE49-F238E27FC236}">
                  <a16:creationId xmlns:a16="http://schemas.microsoft.com/office/drawing/2014/main" id="{3CBBC94F-D5A6-46DE-B0F1-32E1046146E9}"/>
                </a:ext>
              </a:extLst>
            </p:cNvPr>
            <p:cNvSpPr>
              <a:spLocks/>
            </p:cNvSpPr>
            <p:nvPr/>
          </p:nvSpPr>
          <p:spPr bwMode="auto">
            <a:xfrm>
              <a:off x="6129" y="2521"/>
              <a:ext cx="2" cy="4"/>
            </a:xfrm>
            <a:custGeom>
              <a:avLst/>
              <a:gdLst>
                <a:gd name="T0" fmla="*/ 0 w 1"/>
                <a:gd name="T1" fmla="*/ 0 h 2"/>
                <a:gd name="T2" fmla="*/ 0 w 1"/>
                <a:gd name="T3" fmla="*/ 0 h 2"/>
                <a:gd name="T4" fmla="*/ 0 w 1"/>
                <a:gd name="T5" fmla="*/ 2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0"/>
                    <a:pt x="0" y="0"/>
                  </a:cubicBezTo>
                  <a:cubicBezTo>
                    <a:pt x="0" y="1"/>
                    <a:pt x="0" y="2"/>
                    <a:pt x="0" y="2"/>
                  </a:cubicBezTo>
                  <a:cubicBezTo>
                    <a:pt x="1" y="1"/>
                    <a:pt x="1"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56" name="Freeform 2711">
              <a:extLst>
                <a:ext uri="{FF2B5EF4-FFF2-40B4-BE49-F238E27FC236}">
                  <a16:creationId xmlns:a16="http://schemas.microsoft.com/office/drawing/2014/main" id="{31BD744D-83EC-49F6-B5AE-9CBB305163B4}"/>
                </a:ext>
              </a:extLst>
            </p:cNvPr>
            <p:cNvSpPr>
              <a:spLocks/>
            </p:cNvSpPr>
            <p:nvPr/>
          </p:nvSpPr>
          <p:spPr bwMode="auto">
            <a:xfrm>
              <a:off x="6131" y="2265"/>
              <a:ext cx="5" cy="5"/>
            </a:xfrm>
            <a:custGeom>
              <a:avLst/>
              <a:gdLst>
                <a:gd name="T0" fmla="*/ 1 w 2"/>
                <a:gd name="T1" fmla="*/ 2 h 2"/>
                <a:gd name="T2" fmla="*/ 2 w 2"/>
                <a:gd name="T3" fmla="*/ 1 h 2"/>
                <a:gd name="T4" fmla="*/ 0 w 2"/>
                <a:gd name="T5" fmla="*/ 0 h 2"/>
                <a:gd name="T6" fmla="*/ 1 w 2"/>
                <a:gd name="T7" fmla="*/ 2 h 2"/>
              </a:gdLst>
              <a:ahLst/>
              <a:cxnLst>
                <a:cxn ang="0">
                  <a:pos x="T0" y="T1"/>
                </a:cxn>
                <a:cxn ang="0">
                  <a:pos x="T2" y="T3"/>
                </a:cxn>
                <a:cxn ang="0">
                  <a:pos x="T4" y="T5"/>
                </a:cxn>
                <a:cxn ang="0">
                  <a:pos x="T6" y="T7"/>
                </a:cxn>
              </a:cxnLst>
              <a:rect l="0" t="0" r="r" b="b"/>
              <a:pathLst>
                <a:path w="2" h="2">
                  <a:moveTo>
                    <a:pt x="1" y="2"/>
                  </a:moveTo>
                  <a:cubicBezTo>
                    <a:pt x="2" y="1"/>
                    <a:pt x="2" y="1"/>
                    <a:pt x="2" y="1"/>
                  </a:cubicBezTo>
                  <a:cubicBezTo>
                    <a:pt x="1" y="0"/>
                    <a:pt x="1" y="0"/>
                    <a:pt x="0" y="0"/>
                  </a:cubicBezTo>
                  <a:cubicBezTo>
                    <a:pt x="1" y="1"/>
                    <a:pt x="1" y="1"/>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57" name="Freeform 2712">
              <a:extLst>
                <a:ext uri="{FF2B5EF4-FFF2-40B4-BE49-F238E27FC236}">
                  <a16:creationId xmlns:a16="http://schemas.microsoft.com/office/drawing/2014/main" id="{C5F3ED44-2F73-406A-8D16-CB8D1786CE84}"/>
                </a:ext>
              </a:extLst>
            </p:cNvPr>
            <p:cNvSpPr>
              <a:spLocks/>
            </p:cNvSpPr>
            <p:nvPr/>
          </p:nvSpPr>
          <p:spPr bwMode="auto">
            <a:xfrm>
              <a:off x="6448" y="2156"/>
              <a:ext cx="47" cy="83"/>
            </a:xfrm>
            <a:custGeom>
              <a:avLst/>
              <a:gdLst>
                <a:gd name="T0" fmla="*/ 10 w 20"/>
                <a:gd name="T1" fmla="*/ 2 h 35"/>
                <a:gd name="T2" fmla="*/ 9 w 20"/>
                <a:gd name="T3" fmla="*/ 4 h 35"/>
                <a:gd name="T4" fmla="*/ 7 w 20"/>
                <a:gd name="T5" fmla="*/ 6 h 35"/>
                <a:gd name="T6" fmla="*/ 1 w 20"/>
                <a:gd name="T7" fmla="*/ 16 h 35"/>
                <a:gd name="T8" fmla="*/ 1 w 20"/>
                <a:gd name="T9" fmla="*/ 22 h 35"/>
                <a:gd name="T10" fmla="*/ 2 w 20"/>
                <a:gd name="T11" fmla="*/ 26 h 35"/>
                <a:gd name="T12" fmla="*/ 5 w 20"/>
                <a:gd name="T13" fmla="*/ 31 h 35"/>
                <a:gd name="T14" fmla="*/ 8 w 20"/>
                <a:gd name="T15" fmla="*/ 35 h 35"/>
                <a:gd name="T16" fmla="*/ 10 w 20"/>
                <a:gd name="T17" fmla="*/ 28 h 35"/>
                <a:gd name="T18" fmla="*/ 15 w 20"/>
                <a:gd name="T19" fmla="*/ 19 h 35"/>
                <a:gd name="T20" fmla="*/ 18 w 20"/>
                <a:gd name="T21" fmla="*/ 9 h 35"/>
                <a:gd name="T22" fmla="*/ 19 w 20"/>
                <a:gd name="T23" fmla="*/ 5 h 35"/>
                <a:gd name="T24" fmla="*/ 20 w 20"/>
                <a:gd name="T25" fmla="*/ 2 h 35"/>
                <a:gd name="T26" fmla="*/ 16 w 20"/>
                <a:gd name="T27" fmla="*/ 0 h 35"/>
                <a:gd name="T28" fmla="*/ 17 w 20"/>
                <a:gd name="T29" fmla="*/ 1 h 35"/>
                <a:gd name="T30" fmla="*/ 14 w 20"/>
                <a:gd name="T31" fmla="*/ 4 h 35"/>
                <a:gd name="T32" fmla="*/ 12 w 20"/>
                <a:gd name="T33" fmla="*/ 1 h 35"/>
                <a:gd name="T34" fmla="*/ 12 w 20"/>
                <a:gd name="T35" fmla="*/ 1 h 35"/>
                <a:gd name="T36" fmla="*/ 10 w 20"/>
                <a:gd name="T37"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35">
                  <a:moveTo>
                    <a:pt x="10" y="2"/>
                  </a:moveTo>
                  <a:cubicBezTo>
                    <a:pt x="9" y="3"/>
                    <a:pt x="9" y="4"/>
                    <a:pt x="9" y="4"/>
                  </a:cubicBezTo>
                  <a:cubicBezTo>
                    <a:pt x="8" y="5"/>
                    <a:pt x="7" y="6"/>
                    <a:pt x="7" y="6"/>
                  </a:cubicBezTo>
                  <a:cubicBezTo>
                    <a:pt x="5" y="9"/>
                    <a:pt x="3" y="13"/>
                    <a:pt x="1" y="16"/>
                  </a:cubicBezTo>
                  <a:cubicBezTo>
                    <a:pt x="1" y="18"/>
                    <a:pt x="1" y="20"/>
                    <a:pt x="1" y="22"/>
                  </a:cubicBezTo>
                  <a:cubicBezTo>
                    <a:pt x="0" y="23"/>
                    <a:pt x="1" y="25"/>
                    <a:pt x="2" y="26"/>
                  </a:cubicBezTo>
                  <a:cubicBezTo>
                    <a:pt x="3" y="28"/>
                    <a:pt x="4" y="29"/>
                    <a:pt x="5" y="31"/>
                  </a:cubicBezTo>
                  <a:cubicBezTo>
                    <a:pt x="6" y="33"/>
                    <a:pt x="6" y="35"/>
                    <a:pt x="8" y="35"/>
                  </a:cubicBezTo>
                  <a:cubicBezTo>
                    <a:pt x="9" y="32"/>
                    <a:pt x="9" y="30"/>
                    <a:pt x="10" y="28"/>
                  </a:cubicBezTo>
                  <a:cubicBezTo>
                    <a:pt x="12" y="25"/>
                    <a:pt x="13" y="22"/>
                    <a:pt x="15" y="19"/>
                  </a:cubicBezTo>
                  <a:cubicBezTo>
                    <a:pt x="16" y="16"/>
                    <a:pt x="17" y="13"/>
                    <a:pt x="18" y="9"/>
                  </a:cubicBezTo>
                  <a:cubicBezTo>
                    <a:pt x="18" y="8"/>
                    <a:pt x="18" y="7"/>
                    <a:pt x="19" y="5"/>
                  </a:cubicBezTo>
                  <a:cubicBezTo>
                    <a:pt x="19" y="4"/>
                    <a:pt x="19" y="2"/>
                    <a:pt x="20" y="2"/>
                  </a:cubicBezTo>
                  <a:cubicBezTo>
                    <a:pt x="19" y="1"/>
                    <a:pt x="18" y="0"/>
                    <a:pt x="16" y="0"/>
                  </a:cubicBezTo>
                  <a:cubicBezTo>
                    <a:pt x="17" y="0"/>
                    <a:pt x="17" y="1"/>
                    <a:pt x="17" y="1"/>
                  </a:cubicBezTo>
                  <a:cubicBezTo>
                    <a:pt x="17" y="3"/>
                    <a:pt x="16" y="4"/>
                    <a:pt x="14" y="4"/>
                  </a:cubicBezTo>
                  <a:cubicBezTo>
                    <a:pt x="13" y="4"/>
                    <a:pt x="12" y="3"/>
                    <a:pt x="12" y="1"/>
                  </a:cubicBezTo>
                  <a:cubicBezTo>
                    <a:pt x="12" y="1"/>
                    <a:pt x="12" y="1"/>
                    <a:pt x="12" y="1"/>
                  </a:cubicBezTo>
                  <a:cubicBezTo>
                    <a:pt x="11" y="1"/>
                    <a:pt x="10" y="2"/>
                    <a:pt x="1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58" name="Freeform 2713">
              <a:extLst>
                <a:ext uri="{FF2B5EF4-FFF2-40B4-BE49-F238E27FC236}">
                  <a16:creationId xmlns:a16="http://schemas.microsoft.com/office/drawing/2014/main" id="{FF7E31C3-AFB3-425E-A563-F4692ABD8B92}"/>
                </a:ext>
              </a:extLst>
            </p:cNvPr>
            <p:cNvSpPr>
              <a:spLocks/>
            </p:cNvSpPr>
            <p:nvPr/>
          </p:nvSpPr>
          <p:spPr bwMode="auto">
            <a:xfrm>
              <a:off x="6483" y="215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59" name="Freeform 2714">
              <a:extLst>
                <a:ext uri="{FF2B5EF4-FFF2-40B4-BE49-F238E27FC236}">
                  <a16:creationId xmlns:a16="http://schemas.microsoft.com/office/drawing/2014/main" id="{27A9DBDC-0893-4958-A76D-2EC7A77E9EEF}"/>
                </a:ext>
              </a:extLst>
            </p:cNvPr>
            <p:cNvSpPr>
              <a:spLocks/>
            </p:cNvSpPr>
            <p:nvPr/>
          </p:nvSpPr>
          <p:spPr bwMode="auto">
            <a:xfrm>
              <a:off x="6405" y="2173"/>
              <a:ext cx="7" cy="5"/>
            </a:xfrm>
            <a:custGeom>
              <a:avLst/>
              <a:gdLst>
                <a:gd name="T0" fmla="*/ 2 w 3"/>
                <a:gd name="T1" fmla="*/ 0 h 2"/>
                <a:gd name="T2" fmla="*/ 0 w 3"/>
                <a:gd name="T3" fmla="*/ 1 h 2"/>
                <a:gd name="T4" fmla="*/ 2 w 3"/>
                <a:gd name="T5" fmla="*/ 0 h 2"/>
              </a:gdLst>
              <a:ahLst/>
              <a:cxnLst>
                <a:cxn ang="0">
                  <a:pos x="T0" y="T1"/>
                </a:cxn>
                <a:cxn ang="0">
                  <a:pos x="T2" y="T3"/>
                </a:cxn>
                <a:cxn ang="0">
                  <a:pos x="T4" y="T5"/>
                </a:cxn>
              </a:cxnLst>
              <a:rect l="0" t="0" r="r" b="b"/>
              <a:pathLst>
                <a:path w="3" h="2">
                  <a:moveTo>
                    <a:pt x="2" y="0"/>
                  </a:moveTo>
                  <a:cubicBezTo>
                    <a:pt x="1" y="1"/>
                    <a:pt x="0" y="0"/>
                    <a:pt x="0" y="1"/>
                  </a:cubicBezTo>
                  <a:cubicBezTo>
                    <a:pt x="1" y="1"/>
                    <a:pt x="3" y="2"/>
                    <a:pt x="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60" name="Freeform 2715">
              <a:extLst>
                <a:ext uri="{FF2B5EF4-FFF2-40B4-BE49-F238E27FC236}">
                  <a16:creationId xmlns:a16="http://schemas.microsoft.com/office/drawing/2014/main" id="{FADD7036-486F-4831-8131-7242ED24293B}"/>
                </a:ext>
              </a:extLst>
            </p:cNvPr>
            <p:cNvSpPr>
              <a:spLocks/>
            </p:cNvSpPr>
            <p:nvPr/>
          </p:nvSpPr>
          <p:spPr bwMode="auto">
            <a:xfrm>
              <a:off x="6436" y="2197"/>
              <a:ext cx="2" cy="2"/>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0"/>
                    <a:pt x="1" y="0"/>
                    <a:pt x="1" y="0"/>
                  </a:cubicBezTo>
                  <a:cubicBezTo>
                    <a:pt x="1" y="0"/>
                    <a:pt x="0"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61" name="Freeform 2716">
              <a:extLst>
                <a:ext uri="{FF2B5EF4-FFF2-40B4-BE49-F238E27FC236}">
                  <a16:creationId xmlns:a16="http://schemas.microsoft.com/office/drawing/2014/main" id="{89EA132F-E11D-49B9-9CDB-79F571CC10C3}"/>
                </a:ext>
              </a:extLst>
            </p:cNvPr>
            <p:cNvSpPr>
              <a:spLocks/>
            </p:cNvSpPr>
            <p:nvPr/>
          </p:nvSpPr>
          <p:spPr bwMode="auto">
            <a:xfrm>
              <a:off x="6599" y="1818"/>
              <a:ext cx="5" cy="7"/>
            </a:xfrm>
            <a:custGeom>
              <a:avLst/>
              <a:gdLst>
                <a:gd name="T0" fmla="*/ 2 w 2"/>
                <a:gd name="T1" fmla="*/ 2 h 3"/>
                <a:gd name="T2" fmla="*/ 1 w 2"/>
                <a:gd name="T3" fmla="*/ 0 h 3"/>
                <a:gd name="T4" fmla="*/ 2 w 2"/>
                <a:gd name="T5" fmla="*/ 2 h 3"/>
              </a:gdLst>
              <a:ahLst/>
              <a:cxnLst>
                <a:cxn ang="0">
                  <a:pos x="T0" y="T1"/>
                </a:cxn>
                <a:cxn ang="0">
                  <a:pos x="T2" y="T3"/>
                </a:cxn>
                <a:cxn ang="0">
                  <a:pos x="T4" y="T5"/>
                </a:cxn>
              </a:cxnLst>
              <a:rect l="0" t="0" r="r" b="b"/>
              <a:pathLst>
                <a:path w="2" h="3">
                  <a:moveTo>
                    <a:pt x="2" y="2"/>
                  </a:moveTo>
                  <a:cubicBezTo>
                    <a:pt x="2" y="2"/>
                    <a:pt x="2" y="1"/>
                    <a:pt x="1" y="0"/>
                  </a:cubicBezTo>
                  <a:cubicBezTo>
                    <a:pt x="0" y="1"/>
                    <a:pt x="0" y="3"/>
                    <a:pt x="2"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62" name="Freeform 2717">
              <a:extLst>
                <a:ext uri="{FF2B5EF4-FFF2-40B4-BE49-F238E27FC236}">
                  <a16:creationId xmlns:a16="http://schemas.microsoft.com/office/drawing/2014/main" id="{7A861FAE-67CB-402D-82C8-C464FC6892AE}"/>
                </a:ext>
              </a:extLst>
            </p:cNvPr>
            <p:cNvSpPr>
              <a:spLocks/>
            </p:cNvSpPr>
            <p:nvPr/>
          </p:nvSpPr>
          <p:spPr bwMode="auto">
            <a:xfrm>
              <a:off x="6171" y="2284"/>
              <a:ext cx="59" cy="50"/>
            </a:xfrm>
            <a:custGeom>
              <a:avLst/>
              <a:gdLst>
                <a:gd name="T0" fmla="*/ 1 w 25"/>
                <a:gd name="T1" fmla="*/ 17 h 21"/>
                <a:gd name="T2" fmla="*/ 8 w 25"/>
                <a:gd name="T3" fmla="*/ 20 h 21"/>
                <a:gd name="T4" fmla="*/ 11 w 25"/>
                <a:gd name="T5" fmla="*/ 20 h 21"/>
                <a:gd name="T6" fmla="*/ 12 w 25"/>
                <a:gd name="T7" fmla="*/ 19 h 21"/>
                <a:gd name="T8" fmla="*/ 14 w 25"/>
                <a:gd name="T9" fmla="*/ 18 h 21"/>
                <a:gd name="T10" fmla="*/ 16 w 25"/>
                <a:gd name="T11" fmla="*/ 17 h 21"/>
                <a:gd name="T12" fmla="*/ 16 w 25"/>
                <a:gd name="T13" fmla="*/ 16 h 21"/>
                <a:gd name="T14" fmla="*/ 19 w 25"/>
                <a:gd name="T15" fmla="*/ 16 h 21"/>
                <a:gd name="T16" fmla="*/ 19 w 25"/>
                <a:gd name="T17" fmla="*/ 14 h 21"/>
                <a:gd name="T18" fmla="*/ 20 w 25"/>
                <a:gd name="T19" fmla="*/ 14 h 21"/>
                <a:gd name="T20" fmla="*/ 21 w 25"/>
                <a:gd name="T21" fmla="*/ 10 h 21"/>
                <a:gd name="T22" fmla="*/ 23 w 25"/>
                <a:gd name="T23" fmla="*/ 5 h 21"/>
                <a:gd name="T24" fmla="*/ 23 w 25"/>
                <a:gd name="T25" fmla="*/ 6 h 21"/>
                <a:gd name="T26" fmla="*/ 25 w 25"/>
                <a:gd name="T27" fmla="*/ 5 h 21"/>
                <a:gd name="T28" fmla="*/ 24 w 25"/>
                <a:gd name="T29" fmla="*/ 2 h 21"/>
                <a:gd name="T30" fmla="*/ 21 w 25"/>
                <a:gd name="T31" fmla="*/ 0 h 21"/>
                <a:gd name="T32" fmla="*/ 18 w 25"/>
                <a:gd name="T33" fmla="*/ 1 h 21"/>
                <a:gd name="T34" fmla="*/ 16 w 25"/>
                <a:gd name="T35" fmla="*/ 1 h 21"/>
                <a:gd name="T36" fmla="*/ 13 w 25"/>
                <a:gd name="T37" fmla="*/ 2 h 21"/>
                <a:gd name="T38" fmla="*/ 12 w 25"/>
                <a:gd name="T39" fmla="*/ 2 h 21"/>
                <a:gd name="T40" fmla="*/ 12 w 25"/>
                <a:gd name="T41" fmla="*/ 1 h 21"/>
                <a:gd name="T42" fmla="*/ 10 w 25"/>
                <a:gd name="T43" fmla="*/ 2 h 21"/>
                <a:gd name="T44" fmla="*/ 9 w 25"/>
                <a:gd name="T45" fmla="*/ 3 h 21"/>
                <a:gd name="T46" fmla="*/ 8 w 25"/>
                <a:gd name="T47" fmla="*/ 3 h 21"/>
                <a:gd name="T48" fmla="*/ 8 w 25"/>
                <a:gd name="T49" fmla="*/ 3 h 21"/>
                <a:gd name="T50" fmla="*/ 7 w 25"/>
                <a:gd name="T51" fmla="*/ 2 h 21"/>
                <a:gd name="T52" fmla="*/ 7 w 25"/>
                <a:gd name="T53" fmla="*/ 4 h 21"/>
                <a:gd name="T54" fmla="*/ 4 w 25"/>
                <a:gd name="T55" fmla="*/ 7 h 21"/>
                <a:gd name="T56" fmla="*/ 0 w 25"/>
                <a:gd name="T57" fmla="*/ 10 h 21"/>
                <a:gd name="T58" fmla="*/ 1 w 25"/>
                <a:gd name="T59" fmla="*/ 12 h 21"/>
                <a:gd name="T60" fmla="*/ 1 w 25"/>
                <a:gd name="T61" fmla="*/ 16 h 21"/>
                <a:gd name="T62" fmla="*/ 1 w 25"/>
                <a:gd name="T6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 h="21">
                  <a:moveTo>
                    <a:pt x="1" y="17"/>
                  </a:moveTo>
                  <a:cubicBezTo>
                    <a:pt x="2" y="18"/>
                    <a:pt x="6" y="20"/>
                    <a:pt x="8" y="20"/>
                  </a:cubicBezTo>
                  <a:cubicBezTo>
                    <a:pt x="9" y="20"/>
                    <a:pt x="10" y="21"/>
                    <a:pt x="11" y="20"/>
                  </a:cubicBezTo>
                  <a:cubicBezTo>
                    <a:pt x="12" y="20"/>
                    <a:pt x="12" y="19"/>
                    <a:pt x="12" y="19"/>
                  </a:cubicBezTo>
                  <a:cubicBezTo>
                    <a:pt x="12" y="18"/>
                    <a:pt x="14" y="18"/>
                    <a:pt x="14" y="18"/>
                  </a:cubicBezTo>
                  <a:cubicBezTo>
                    <a:pt x="15" y="18"/>
                    <a:pt x="15" y="17"/>
                    <a:pt x="16" y="17"/>
                  </a:cubicBezTo>
                  <a:cubicBezTo>
                    <a:pt x="16" y="17"/>
                    <a:pt x="16" y="17"/>
                    <a:pt x="16" y="16"/>
                  </a:cubicBezTo>
                  <a:cubicBezTo>
                    <a:pt x="17" y="16"/>
                    <a:pt x="19" y="15"/>
                    <a:pt x="19" y="16"/>
                  </a:cubicBezTo>
                  <a:cubicBezTo>
                    <a:pt x="19" y="15"/>
                    <a:pt x="19" y="15"/>
                    <a:pt x="19" y="14"/>
                  </a:cubicBezTo>
                  <a:cubicBezTo>
                    <a:pt x="19" y="14"/>
                    <a:pt x="20" y="14"/>
                    <a:pt x="20" y="14"/>
                  </a:cubicBezTo>
                  <a:cubicBezTo>
                    <a:pt x="20" y="13"/>
                    <a:pt x="20" y="11"/>
                    <a:pt x="21" y="10"/>
                  </a:cubicBezTo>
                  <a:cubicBezTo>
                    <a:pt x="21" y="8"/>
                    <a:pt x="22" y="7"/>
                    <a:pt x="23" y="5"/>
                  </a:cubicBezTo>
                  <a:cubicBezTo>
                    <a:pt x="23" y="6"/>
                    <a:pt x="23" y="6"/>
                    <a:pt x="23" y="6"/>
                  </a:cubicBezTo>
                  <a:cubicBezTo>
                    <a:pt x="24" y="6"/>
                    <a:pt x="24" y="5"/>
                    <a:pt x="25" y="5"/>
                  </a:cubicBezTo>
                  <a:cubicBezTo>
                    <a:pt x="25" y="4"/>
                    <a:pt x="25" y="3"/>
                    <a:pt x="24" y="2"/>
                  </a:cubicBezTo>
                  <a:cubicBezTo>
                    <a:pt x="24" y="1"/>
                    <a:pt x="22" y="1"/>
                    <a:pt x="21" y="0"/>
                  </a:cubicBezTo>
                  <a:cubicBezTo>
                    <a:pt x="20" y="2"/>
                    <a:pt x="22" y="3"/>
                    <a:pt x="18" y="1"/>
                  </a:cubicBezTo>
                  <a:cubicBezTo>
                    <a:pt x="17" y="1"/>
                    <a:pt x="16" y="0"/>
                    <a:pt x="16" y="1"/>
                  </a:cubicBezTo>
                  <a:cubicBezTo>
                    <a:pt x="15" y="2"/>
                    <a:pt x="14" y="2"/>
                    <a:pt x="13" y="2"/>
                  </a:cubicBezTo>
                  <a:cubicBezTo>
                    <a:pt x="13" y="2"/>
                    <a:pt x="13" y="1"/>
                    <a:pt x="12" y="2"/>
                  </a:cubicBezTo>
                  <a:cubicBezTo>
                    <a:pt x="12" y="2"/>
                    <a:pt x="12" y="1"/>
                    <a:pt x="12" y="1"/>
                  </a:cubicBezTo>
                  <a:cubicBezTo>
                    <a:pt x="11" y="1"/>
                    <a:pt x="11" y="2"/>
                    <a:pt x="10" y="2"/>
                  </a:cubicBezTo>
                  <a:cubicBezTo>
                    <a:pt x="10" y="2"/>
                    <a:pt x="10" y="3"/>
                    <a:pt x="9" y="3"/>
                  </a:cubicBezTo>
                  <a:cubicBezTo>
                    <a:pt x="9" y="3"/>
                    <a:pt x="8" y="3"/>
                    <a:pt x="8" y="3"/>
                  </a:cubicBezTo>
                  <a:cubicBezTo>
                    <a:pt x="8" y="3"/>
                    <a:pt x="8" y="3"/>
                    <a:pt x="8" y="3"/>
                  </a:cubicBezTo>
                  <a:cubicBezTo>
                    <a:pt x="8" y="3"/>
                    <a:pt x="7" y="2"/>
                    <a:pt x="7" y="2"/>
                  </a:cubicBezTo>
                  <a:cubicBezTo>
                    <a:pt x="7" y="2"/>
                    <a:pt x="7" y="4"/>
                    <a:pt x="7" y="4"/>
                  </a:cubicBezTo>
                  <a:cubicBezTo>
                    <a:pt x="6" y="5"/>
                    <a:pt x="5" y="6"/>
                    <a:pt x="4" y="7"/>
                  </a:cubicBezTo>
                  <a:cubicBezTo>
                    <a:pt x="2" y="8"/>
                    <a:pt x="1" y="8"/>
                    <a:pt x="0" y="10"/>
                  </a:cubicBezTo>
                  <a:cubicBezTo>
                    <a:pt x="0" y="11"/>
                    <a:pt x="1" y="11"/>
                    <a:pt x="1" y="12"/>
                  </a:cubicBezTo>
                  <a:cubicBezTo>
                    <a:pt x="1" y="14"/>
                    <a:pt x="1" y="14"/>
                    <a:pt x="1" y="16"/>
                  </a:cubicBezTo>
                  <a:cubicBezTo>
                    <a:pt x="1" y="16"/>
                    <a:pt x="1" y="17"/>
                    <a:pt x="1" y="1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63" name="Freeform 2718">
              <a:extLst>
                <a:ext uri="{FF2B5EF4-FFF2-40B4-BE49-F238E27FC236}">
                  <a16:creationId xmlns:a16="http://schemas.microsoft.com/office/drawing/2014/main" id="{9D493377-0687-42FE-B94B-C4E19D34023F}"/>
                </a:ext>
              </a:extLst>
            </p:cNvPr>
            <p:cNvSpPr>
              <a:spLocks/>
            </p:cNvSpPr>
            <p:nvPr/>
          </p:nvSpPr>
          <p:spPr bwMode="auto">
            <a:xfrm>
              <a:off x="6211" y="2261"/>
              <a:ext cx="7" cy="2"/>
            </a:xfrm>
            <a:custGeom>
              <a:avLst/>
              <a:gdLst>
                <a:gd name="T0" fmla="*/ 1 w 3"/>
                <a:gd name="T1" fmla="*/ 1 h 1"/>
                <a:gd name="T2" fmla="*/ 3 w 3"/>
                <a:gd name="T3" fmla="*/ 1 h 1"/>
                <a:gd name="T4" fmla="*/ 2 w 3"/>
                <a:gd name="T5" fmla="*/ 0 h 1"/>
                <a:gd name="T6" fmla="*/ 0 w 3"/>
                <a:gd name="T7" fmla="*/ 1 h 1"/>
                <a:gd name="T8" fmla="*/ 1 w 3"/>
                <a:gd name="T9" fmla="*/ 1 h 1"/>
              </a:gdLst>
              <a:ahLst/>
              <a:cxnLst>
                <a:cxn ang="0">
                  <a:pos x="T0" y="T1"/>
                </a:cxn>
                <a:cxn ang="0">
                  <a:pos x="T2" y="T3"/>
                </a:cxn>
                <a:cxn ang="0">
                  <a:pos x="T4" y="T5"/>
                </a:cxn>
                <a:cxn ang="0">
                  <a:pos x="T6" y="T7"/>
                </a:cxn>
                <a:cxn ang="0">
                  <a:pos x="T8" y="T9"/>
                </a:cxn>
              </a:cxnLst>
              <a:rect l="0" t="0" r="r" b="b"/>
              <a:pathLst>
                <a:path w="3" h="1">
                  <a:moveTo>
                    <a:pt x="1" y="1"/>
                  </a:moveTo>
                  <a:cubicBezTo>
                    <a:pt x="2" y="1"/>
                    <a:pt x="2" y="1"/>
                    <a:pt x="3" y="1"/>
                  </a:cubicBezTo>
                  <a:cubicBezTo>
                    <a:pt x="3" y="1"/>
                    <a:pt x="2" y="0"/>
                    <a:pt x="2" y="0"/>
                  </a:cubicBezTo>
                  <a:cubicBezTo>
                    <a:pt x="1" y="0"/>
                    <a:pt x="1" y="1"/>
                    <a:pt x="0" y="1"/>
                  </a:cubicBezTo>
                  <a:cubicBezTo>
                    <a:pt x="0" y="1"/>
                    <a:pt x="1" y="1"/>
                    <a:pt x="1"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64" name="Freeform 2719">
              <a:extLst>
                <a:ext uri="{FF2B5EF4-FFF2-40B4-BE49-F238E27FC236}">
                  <a16:creationId xmlns:a16="http://schemas.microsoft.com/office/drawing/2014/main" id="{BF8E248B-BD43-49EE-B2CE-751305734B54}"/>
                </a:ext>
              </a:extLst>
            </p:cNvPr>
            <p:cNvSpPr>
              <a:spLocks/>
            </p:cNvSpPr>
            <p:nvPr/>
          </p:nvSpPr>
          <p:spPr bwMode="auto">
            <a:xfrm>
              <a:off x="6400" y="2173"/>
              <a:ext cx="5" cy="5"/>
            </a:xfrm>
            <a:custGeom>
              <a:avLst/>
              <a:gdLst>
                <a:gd name="T0" fmla="*/ 0 w 2"/>
                <a:gd name="T1" fmla="*/ 0 h 2"/>
                <a:gd name="T2" fmla="*/ 0 w 2"/>
                <a:gd name="T3" fmla="*/ 0 h 2"/>
              </a:gdLst>
              <a:ahLst/>
              <a:cxnLst>
                <a:cxn ang="0">
                  <a:pos x="T0" y="T1"/>
                </a:cxn>
                <a:cxn ang="0">
                  <a:pos x="T2" y="T3"/>
                </a:cxn>
              </a:cxnLst>
              <a:rect l="0" t="0" r="r" b="b"/>
              <a:pathLst>
                <a:path w="2" h="2">
                  <a:moveTo>
                    <a:pt x="0" y="0"/>
                  </a:moveTo>
                  <a:cubicBezTo>
                    <a:pt x="0" y="2"/>
                    <a:pt x="2"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65" name="Freeform 2720">
              <a:extLst>
                <a:ext uri="{FF2B5EF4-FFF2-40B4-BE49-F238E27FC236}">
                  <a16:creationId xmlns:a16="http://schemas.microsoft.com/office/drawing/2014/main" id="{A35AECB1-67CD-4C28-A667-9BCD88511401}"/>
                </a:ext>
              </a:extLst>
            </p:cNvPr>
            <p:cNvSpPr>
              <a:spLocks/>
            </p:cNvSpPr>
            <p:nvPr/>
          </p:nvSpPr>
          <p:spPr bwMode="auto">
            <a:xfrm>
              <a:off x="6441" y="2145"/>
              <a:ext cx="2" cy="4"/>
            </a:xfrm>
            <a:custGeom>
              <a:avLst/>
              <a:gdLst>
                <a:gd name="T0" fmla="*/ 0 w 1"/>
                <a:gd name="T1" fmla="*/ 0 h 2"/>
                <a:gd name="T2" fmla="*/ 0 w 1"/>
                <a:gd name="T3" fmla="*/ 2 h 2"/>
                <a:gd name="T4" fmla="*/ 1 w 1"/>
                <a:gd name="T5" fmla="*/ 2 h 2"/>
                <a:gd name="T6" fmla="*/ 1 w 1"/>
                <a:gd name="T7" fmla="*/ 1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1"/>
                    <a:pt x="0" y="2"/>
                  </a:cubicBezTo>
                  <a:cubicBezTo>
                    <a:pt x="0" y="2"/>
                    <a:pt x="0" y="2"/>
                    <a:pt x="1" y="2"/>
                  </a:cubicBezTo>
                  <a:cubicBezTo>
                    <a:pt x="1" y="1"/>
                    <a:pt x="1" y="0"/>
                    <a:pt x="1" y="1"/>
                  </a:cubicBezTo>
                  <a:cubicBezTo>
                    <a:pt x="1"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66" name="Freeform 2721">
              <a:extLst>
                <a:ext uri="{FF2B5EF4-FFF2-40B4-BE49-F238E27FC236}">
                  <a16:creationId xmlns:a16="http://schemas.microsoft.com/office/drawing/2014/main" id="{26F9FE32-95A3-430F-9261-40A353536B12}"/>
                </a:ext>
              </a:extLst>
            </p:cNvPr>
            <p:cNvSpPr>
              <a:spLocks/>
            </p:cNvSpPr>
            <p:nvPr/>
          </p:nvSpPr>
          <p:spPr bwMode="auto">
            <a:xfrm>
              <a:off x="6216" y="2258"/>
              <a:ext cx="2" cy="3"/>
            </a:xfrm>
            <a:custGeom>
              <a:avLst/>
              <a:gdLst>
                <a:gd name="T0" fmla="*/ 1 w 1"/>
                <a:gd name="T1" fmla="*/ 0 h 1"/>
                <a:gd name="T2" fmla="*/ 0 w 1"/>
                <a:gd name="T3" fmla="*/ 0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0" y="0"/>
                    <a:pt x="0" y="0"/>
                  </a:cubicBezTo>
                  <a:cubicBezTo>
                    <a:pt x="0" y="0"/>
                    <a:pt x="1" y="0"/>
                    <a:pt x="1" y="1"/>
                  </a:cubicBezTo>
                  <a:cubicBezTo>
                    <a:pt x="1" y="0"/>
                    <a:pt x="1"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67" name="Freeform 2722">
              <a:extLst>
                <a:ext uri="{FF2B5EF4-FFF2-40B4-BE49-F238E27FC236}">
                  <a16:creationId xmlns:a16="http://schemas.microsoft.com/office/drawing/2014/main" id="{F294C636-A4A7-4BDB-88A3-C467A48B3583}"/>
                </a:ext>
              </a:extLst>
            </p:cNvPr>
            <p:cNvSpPr>
              <a:spLocks/>
            </p:cNvSpPr>
            <p:nvPr/>
          </p:nvSpPr>
          <p:spPr bwMode="auto">
            <a:xfrm>
              <a:off x="5923" y="2580"/>
              <a:ext cx="5" cy="9"/>
            </a:xfrm>
            <a:custGeom>
              <a:avLst/>
              <a:gdLst>
                <a:gd name="T0" fmla="*/ 1 w 2"/>
                <a:gd name="T1" fmla="*/ 3 h 4"/>
                <a:gd name="T2" fmla="*/ 0 w 2"/>
                <a:gd name="T3" fmla="*/ 0 h 4"/>
                <a:gd name="T4" fmla="*/ 0 w 2"/>
                <a:gd name="T5" fmla="*/ 3 h 4"/>
                <a:gd name="T6" fmla="*/ 0 w 2"/>
                <a:gd name="T7" fmla="*/ 4 h 4"/>
                <a:gd name="T8" fmla="*/ 1 w 2"/>
                <a:gd name="T9" fmla="*/ 3 h 4"/>
              </a:gdLst>
              <a:ahLst/>
              <a:cxnLst>
                <a:cxn ang="0">
                  <a:pos x="T0" y="T1"/>
                </a:cxn>
                <a:cxn ang="0">
                  <a:pos x="T2" y="T3"/>
                </a:cxn>
                <a:cxn ang="0">
                  <a:pos x="T4" y="T5"/>
                </a:cxn>
                <a:cxn ang="0">
                  <a:pos x="T6" y="T7"/>
                </a:cxn>
                <a:cxn ang="0">
                  <a:pos x="T8" y="T9"/>
                </a:cxn>
              </a:cxnLst>
              <a:rect l="0" t="0" r="r" b="b"/>
              <a:pathLst>
                <a:path w="2" h="4">
                  <a:moveTo>
                    <a:pt x="1" y="3"/>
                  </a:moveTo>
                  <a:cubicBezTo>
                    <a:pt x="2" y="2"/>
                    <a:pt x="1" y="0"/>
                    <a:pt x="0" y="0"/>
                  </a:cubicBezTo>
                  <a:cubicBezTo>
                    <a:pt x="0" y="1"/>
                    <a:pt x="0" y="2"/>
                    <a:pt x="0" y="3"/>
                  </a:cubicBezTo>
                  <a:cubicBezTo>
                    <a:pt x="0" y="3"/>
                    <a:pt x="0" y="4"/>
                    <a:pt x="0" y="4"/>
                  </a:cubicBezTo>
                  <a:cubicBezTo>
                    <a:pt x="0" y="4"/>
                    <a:pt x="1" y="3"/>
                    <a:pt x="1" y="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68" name="Freeform 2723">
              <a:extLst>
                <a:ext uri="{FF2B5EF4-FFF2-40B4-BE49-F238E27FC236}">
                  <a16:creationId xmlns:a16="http://schemas.microsoft.com/office/drawing/2014/main" id="{A9330432-52CF-45B3-8D8C-BA2E9741EC78}"/>
                </a:ext>
              </a:extLst>
            </p:cNvPr>
            <p:cNvSpPr>
              <a:spLocks/>
            </p:cNvSpPr>
            <p:nvPr/>
          </p:nvSpPr>
          <p:spPr bwMode="auto">
            <a:xfrm>
              <a:off x="5930" y="2580"/>
              <a:ext cx="0" cy="2"/>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0"/>
                    <a:pt x="0" y="0"/>
                    <a:pt x="0" y="0"/>
                  </a:cubicBezTo>
                  <a:cubicBezTo>
                    <a:pt x="0" y="0"/>
                    <a:pt x="0" y="0"/>
                    <a:pt x="0" y="0"/>
                  </a:cubicBezTo>
                  <a:cubicBezTo>
                    <a:pt x="0" y="0"/>
                    <a:pt x="0" y="0"/>
                    <a:pt x="0"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69" name="Freeform 2724">
              <a:extLst>
                <a:ext uri="{FF2B5EF4-FFF2-40B4-BE49-F238E27FC236}">
                  <a16:creationId xmlns:a16="http://schemas.microsoft.com/office/drawing/2014/main" id="{187A9E0F-E50C-4DDC-A887-ECFD86BBE669}"/>
                </a:ext>
              </a:extLst>
            </p:cNvPr>
            <p:cNvSpPr>
              <a:spLocks/>
            </p:cNvSpPr>
            <p:nvPr/>
          </p:nvSpPr>
          <p:spPr bwMode="auto">
            <a:xfrm>
              <a:off x="5968" y="2644"/>
              <a:ext cx="5" cy="5"/>
            </a:xfrm>
            <a:custGeom>
              <a:avLst/>
              <a:gdLst>
                <a:gd name="T0" fmla="*/ 2 w 2"/>
                <a:gd name="T1" fmla="*/ 1 h 2"/>
                <a:gd name="T2" fmla="*/ 0 w 2"/>
                <a:gd name="T3" fmla="*/ 2 h 2"/>
                <a:gd name="T4" fmla="*/ 2 w 2"/>
                <a:gd name="T5" fmla="*/ 1 h 2"/>
              </a:gdLst>
              <a:ahLst/>
              <a:cxnLst>
                <a:cxn ang="0">
                  <a:pos x="T0" y="T1"/>
                </a:cxn>
                <a:cxn ang="0">
                  <a:pos x="T2" y="T3"/>
                </a:cxn>
                <a:cxn ang="0">
                  <a:pos x="T4" y="T5"/>
                </a:cxn>
              </a:cxnLst>
              <a:rect l="0" t="0" r="r" b="b"/>
              <a:pathLst>
                <a:path w="2" h="2">
                  <a:moveTo>
                    <a:pt x="2" y="1"/>
                  </a:moveTo>
                  <a:cubicBezTo>
                    <a:pt x="1" y="0"/>
                    <a:pt x="1" y="1"/>
                    <a:pt x="0" y="2"/>
                  </a:cubicBezTo>
                  <a:cubicBezTo>
                    <a:pt x="1" y="2"/>
                    <a:pt x="2" y="2"/>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70" name="Freeform 2725">
              <a:extLst>
                <a:ext uri="{FF2B5EF4-FFF2-40B4-BE49-F238E27FC236}">
                  <a16:creationId xmlns:a16="http://schemas.microsoft.com/office/drawing/2014/main" id="{0B1AB8B1-8D60-4E18-A406-B57219366F53}"/>
                </a:ext>
              </a:extLst>
            </p:cNvPr>
            <p:cNvSpPr>
              <a:spLocks/>
            </p:cNvSpPr>
            <p:nvPr/>
          </p:nvSpPr>
          <p:spPr bwMode="auto">
            <a:xfrm>
              <a:off x="6017" y="2483"/>
              <a:ext cx="5" cy="5"/>
            </a:xfrm>
            <a:custGeom>
              <a:avLst/>
              <a:gdLst>
                <a:gd name="T0" fmla="*/ 1 w 2"/>
                <a:gd name="T1" fmla="*/ 2 h 2"/>
                <a:gd name="T2" fmla="*/ 2 w 2"/>
                <a:gd name="T3" fmla="*/ 1 h 2"/>
                <a:gd name="T4" fmla="*/ 0 w 2"/>
                <a:gd name="T5" fmla="*/ 0 h 2"/>
                <a:gd name="T6" fmla="*/ 1 w 2"/>
                <a:gd name="T7" fmla="*/ 2 h 2"/>
              </a:gdLst>
              <a:ahLst/>
              <a:cxnLst>
                <a:cxn ang="0">
                  <a:pos x="T0" y="T1"/>
                </a:cxn>
                <a:cxn ang="0">
                  <a:pos x="T2" y="T3"/>
                </a:cxn>
                <a:cxn ang="0">
                  <a:pos x="T4" y="T5"/>
                </a:cxn>
                <a:cxn ang="0">
                  <a:pos x="T6" y="T7"/>
                </a:cxn>
              </a:cxnLst>
              <a:rect l="0" t="0" r="r" b="b"/>
              <a:pathLst>
                <a:path w="2" h="2">
                  <a:moveTo>
                    <a:pt x="1" y="2"/>
                  </a:moveTo>
                  <a:cubicBezTo>
                    <a:pt x="1" y="1"/>
                    <a:pt x="2" y="1"/>
                    <a:pt x="2" y="1"/>
                  </a:cubicBezTo>
                  <a:cubicBezTo>
                    <a:pt x="2" y="1"/>
                    <a:pt x="1" y="0"/>
                    <a:pt x="0" y="0"/>
                  </a:cubicBezTo>
                  <a:cubicBezTo>
                    <a:pt x="1" y="0"/>
                    <a:pt x="1" y="1"/>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71" name="Freeform 2726">
              <a:extLst>
                <a:ext uri="{FF2B5EF4-FFF2-40B4-BE49-F238E27FC236}">
                  <a16:creationId xmlns:a16="http://schemas.microsoft.com/office/drawing/2014/main" id="{DC1D2948-F002-4FC4-AC7D-5B2A05C6559A}"/>
                </a:ext>
              </a:extLst>
            </p:cNvPr>
            <p:cNvSpPr>
              <a:spLocks/>
            </p:cNvSpPr>
            <p:nvPr/>
          </p:nvSpPr>
          <p:spPr bwMode="auto">
            <a:xfrm>
              <a:off x="5939" y="2592"/>
              <a:ext cx="3" cy="4"/>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1" y="1"/>
                    <a:pt x="1" y="1"/>
                    <a:pt x="1" y="2"/>
                  </a:cubicBezTo>
                  <a:cubicBezTo>
                    <a:pt x="1" y="1"/>
                    <a:pt x="1"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72" name="Freeform 2727">
              <a:extLst>
                <a:ext uri="{FF2B5EF4-FFF2-40B4-BE49-F238E27FC236}">
                  <a16:creationId xmlns:a16="http://schemas.microsoft.com/office/drawing/2014/main" id="{FBAE3459-AA6E-4775-8997-E380B722A7D0}"/>
                </a:ext>
              </a:extLst>
            </p:cNvPr>
            <p:cNvSpPr>
              <a:spLocks/>
            </p:cNvSpPr>
            <p:nvPr/>
          </p:nvSpPr>
          <p:spPr bwMode="auto">
            <a:xfrm>
              <a:off x="5963" y="2540"/>
              <a:ext cx="2" cy="2"/>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73" name="Freeform 2728">
              <a:extLst>
                <a:ext uri="{FF2B5EF4-FFF2-40B4-BE49-F238E27FC236}">
                  <a16:creationId xmlns:a16="http://schemas.microsoft.com/office/drawing/2014/main" id="{65F254B4-7ED0-4005-9D11-91A1E958EC5D}"/>
                </a:ext>
              </a:extLst>
            </p:cNvPr>
            <p:cNvSpPr>
              <a:spLocks/>
            </p:cNvSpPr>
            <p:nvPr/>
          </p:nvSpPr>
          <p:spPr bwMode="auto">
            <a:xfrm>
              <a:off x="5954" y="2615"/>
              <a:ext cx="2" cy="5"/>
            </a:xfrm>
            <a:custGeom>
              <a:avLst/>
              <a:gdLst>
                <a:gd name="T0" fmla="*/ 1 w 1"/>
                <a:gd name="T1" fmla="*/ 2 h 2"/>
                <a:gd name="T2" fmla="*/ 1 w 1"/>
                <a:gd name="T3" fmla="*/ 0 h 2"/>
                <a:gd name="T4" fmla="*/ 1 w 1"/>
                <a:gd name="T5" fmla="*/ 2 h 2"/>
              </a:gdLst>
              <a:ahLst/>
              <a:cxnLst>
                <a:cxn ang="0">
                  <a:pos x="T0" y="T1"/>
                </a:cxn>
                <a:cxn ang="0">
                  <a:pos x="T2" y="T3"/>
                </a:cxn>
                <a:cxn ang="0">
                  <a:pos x="T4" y="T5"/>
                </a:cxn>
              </a:cxnLst>
              <a:rect l="0" t="0" r="r" b="b"/>
              <a:pathLst>
                <a:path w="1" h="2">
                  <a:moveTo>
                    <a:pt x="1" y="2"/>
                  </a:moveTo>
                  <a:cubicBezTo>
                    <a:pt x="1" y="1"/>
                    <a:pt x="1" y="1"/>
                    <a:pt x="1" y="0"/>
                  </a:cubicBezTo>
                  <a:cubicBezTo>
                    <a:pt x="0" y="1"/>
                    <a:pt x="0" y="1"/>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74" name="Freeform 2729">
              <a:extLst>
                <a:ext uri="{FF2B5EF4-FFF2-40B4-BE49-F238E27FC236}">
                  <a16:creationId xmlns:a16="http://schemas.microsoft.com/office/drawing/2014/main" id="{D01361AB-83A5-4CD5-ACC0-F89B08E1F625}"/>
                </a:ext>
              </a:extLst>
            </p:cNvPr>
            <p:cNvSpPr>
              <a:spLocks/>
            </p:cNvSpPr>
            <p:nvPr/>
          </p:nvSpPr>
          <p:spPr bwMode="auto">
            <a:xfrm>
              <a:off x="5930" y="258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75" name="Freeform 2730">
              <a:extLst>
                <a:ext uri="{FF2B5EF4-FFF2-40B4-BE49-F238E27FC236}">
                  <a16:creationId xmlns:a16="http://schemas.microsoft.com/office/drawing/2014/main" id="{A773FE54-BFAB-46EC-9F9F-78F76766C7D3}"/>
                </a:ext>
              </a:extLst>
            </p:cNvPr>
            <p:cNvSpPr>
              <a:spLocks/>
            </p:cNvSpPr>
            <p:nvPr/>
          </p:nvSpPr>
          <p:spPr bwMode="auto">
            <a:xfrm>
              <a:off x="5961" y="2544"/>
              <a:ext cx="4" cy="5"/>
            </a:xfrm>
            <a:custGeom>
              <a:avLst/>
              <a:gdLst>
                <a:gd name="T0" fmla="*/ 1 w 2"/>
                <a:gd name="T1" fmla="*/ 0 h 2"/>
                <a:gd name="T2" fmla="*/ 1 w 2"/>
                <a:gd name="T3" fmla="*/ 2 h 2"/>
                <a:gd name="T4" fmla="*/ 2 w 2"/>
                <a:gd name="T5" fmla="*/ 0 h 2"/>
                <a:gd name="T6" fmla="*/ 1 w 2"/>
                <a:gd name="T7" fmla="*/ 0 h 2"/>
              </a:gdLst>
              <a:ahLst/>
              <a:cxnLst>
                <a:cxn ang="0">
                  <a:pos x="T0" y="T1"/>
                </a:cxn>
                <a:cxn ang="0">
                  <a:pos x="T2" y="T3"/>
                </a:cxn>
                <a:cxn ang="0">
                  <a:pos x="T4" y="T5"/>
                </a:cxn>
                <a:cxn ang="0">
                  <a:pos x="T6" y="T7"/>
                </a:cxn>
              </a:cxnLst>
              <a:rect l="0" t="0" r="r" b="b"/>
              <a:pathLst>
                <a:path w="2" h="2">
                  <a:moveTo>
                    <a:pt x="1" y="0"/>
                  </a:moveTo>
                  <a:cubicBezTo>
                    <a:pt x="0" y="0"/>
                    <a:pt x="1" y="1"/>
                    <a:pt x="1" y="2"/>
                  </a:cubicBezTo>
                  <a:cubicBezTo>
                    <a:pt x="1" y="2"/>
                    <a:pt x="2" y="1"/>
                    <a:pt x="2" y="0"/>
                  </a:cubicBezTo>
                  <a:cubicBezTo>
                    <a:pt x="2" y="0"/>
                    <a:pt x="2" y="0"/>
                    <a:pt x="1"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76" name="Freeform 2731">
              <a:extLst>
                <a:ext uri="{FF2B5EF4-FFF2-40B4-BE49-F238E27FC236}">
                  <a16:creationId xmlns:a16="http://schemas.microsoft.com/office/drawing/2014/main" id="{67F01A27-9540-4757-A9A8-3CFBE8130494}"/>
                </a:ext>
              </a:extLst>
            </p:cNvPr>
            <p:cNvSpPr>
              <a:spLocks/>
            </p:cNvSpPr>
            <p:nvPr/>
          </p:nvSpPr>
          <p:spPr bwMode="auto">
            <a:xfrm>
              <a:off x="6025" y="2492"/>
              <a:ext cx="2" cy="5"/>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1" y="1"/>
                    <a:pt x="1" y="0"/>
                    <a:pt x="0" y="0"/>
                  </a:cubicBezTo>
                  <a:cubicBezTo>
                    <a:pt x="0" y="1"/>
                    <a:pt x="0" y="1"/>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77" name="Freeform 2732">
              <a:extLst>
                <a:ext uri="{FF2B5EF4-FFF2-40B4-BE49-F238E27FC236}">
                  <a16:creationId xmlns:a16="http://schemas.microsoft.com/office/drawing/2014/main" id="{1E99915F-51A9-431B-92D1-D1F76F772EB1}"/>
                </a:ext>
              </a:extLst>
            </p:cNvPr>
            <p:cNvSpPr>
              <a:spLocks/>
            </p:cNvSpPr>
            <p:nvPr/>
          </p:nvSpPr>
          <p:spPr bwMode="auto">
            <a:xfrm>
              <a:off x="5206" y="4054"/>
              <a:ext cx="48" cy="35"/>
            </a:xfrm>
            <a:custGeom>
              <a:avLst/>
              <a:gdLst>
                <a:gd name="T0" fmla="*/ 18 w 20"/>
                <a:gd name="T1" fmla="*/ 6 h 15"/>
                <a:gd name="T2" fmla="*/ 16 w 20"/>
                <a:gd name="T3" fmla="*/ 7 h 15"/>
                <a:gd name="T4" fmla="*/ 15 w 20"/>
                <a:gd name="T5" fmla="*/ 7 h 15"/>
                <a:gd name="T6" fmla="*/ 12 w 20"/>
                <a:gd name="T7" fmla="*/ 9 h 15"/>
                <a:gd name="T8" fmla="*/ 10 w 20"/>
                <a:gd name="T9" fmla="*/ 9 h 15"/>
                <a:gd name="T10" fmla="*/ 10 w 20"/>
                <a:gd name="T11" fmla="*/ 9 h 15"/>
                <a:gd name="T12" fmla="*/ 8 w 20"/>
                <a:gd name="T13" fmla="*/ 9 h 15"/>
                <a:gd name="T14" fmla="*/ 8 w 20"/>
                <a:gd name="T15" fmla="*/ 8 h 15"/>
                <a:gd name="T16" fmla="*/ 8 w 20"/>
                <a:gd name="T17" fmla="*/ 7 h 15"/>
                <a:gd name="T18" fmla="*/ 7 w 20"/>
                <a:gd name="T19" fmla="*/ 8 h 15"/>
                <a:gd name="T20" fmla="*/ 10 w 20"/>
                <a:gd name="T21" fmla="*/ 7 h 15"/>
                <a:gd name="T22" fmla="*/ 10 w 20"/>
                <a:gd name="T23" fmla="*/ 5 h 15"/>
                <a:gd name="T24" fmla="*/ 9 w 20"/>
                <a:gd name="T25" fmla="*/ 5 h 15"/>
                <a:gd name="T26" fmla="*/ 10 w 20"/>
                <a:gd name="T27" fmla="*/ 5 h 15"/>
                <a:gd name="T28" fmla="*/ 9 w 20"/>
                <a:gd name="T29" fmla="*/ 6 h 15"/>
                <a:gd name="T30" fmla="*/ 8 w 20"/>
                <a:gd name="T31" fmla="*/ 6 h 15"/>
                <a:gd name="T32" fmla="*/ 6 w 20"/>
                <a:gd name="T33" fmla="*/ 7 h 15"/>
                <a:gd name="T34" fmla="*/ 4 w 20"/>
                <a:gd name="T35" fmla="*/ 6 h 15"/>
                <a:gd name="T36" fmla="*/ 4 w 20"/>
                <a:gd name="T37" fmla="*/ 4 h 15"/>
                <a:gd name="T38" fmla="*/ 5 w 20"/>
                <a:gd name="T39" fmla="*/ 3 h 15"/>
                <a:gd name="T40" fmla="*/ 5 w 20"/>
                <a:gd name="T41" fmla="*/ 2 h 15"/>
                <a:gd name="T42" fmla="*/ 3 w 20"/>
                <a:gd name="T43" fmla="*/ 4 h 15"/>
                <a:gd name="T44" fmla="*/ 5 w 20"/>
                <a:gd name="T45" fmla="*/ 2 h 15"/>
                <a:gd name="T46" fmla="*/ 4 w 20"/>
                <a:gd name="T47" fmla="*/ 1 h 15"/>
                <a:gd name="T48" fmla="*/ 3 w 20"/>
                <a:gd name="T49" fmla="*/ 2 h 15"/>
                <a:gd name="T50" fmla="*/ 2 w 20"/>
                <a:gd name="T51" fmla="*/ 3 h 15"/>
                <a:gd name="T52" fmla="*/ 2 w 20"/>
                <a:gd name="T53" fmla="*/ 6 h 15"/>
                <a:gd name="T54" fmla="*/ 2 w 20"/>
                <a:gd name="T55" fmla="*/ 7 h 15"/>
                <a:gd name="T56" fmla="*/ 2 w 20"/>
                <a:gd name="T57" fmla="*/ 8 h 15"/>
                <a:gd name="T58" fmla="*/ 1 w 20"/>
                <a:gd name="T59" fmla="*/ 8 h 15"/>
                <a:gd name="T60" fmla="*/ 2 w 20"/>
                <a:gd name="T61" fmla="*/ 10 h 15"/>
                <a:gd name="T62" fmla="*/ 2 w 20"/>
                <a:gd name="T63" fmla="*/ 10 h 15"/>
                <a:gd name="T64" fmla="*/ 2 w 20"/>
                <a:gd name="T65" fmla="*/ 11 h 15"/>
                <a:gd name="T66" fmla="*/ 2 w 20"/>
                <a:gd name="T67" fmla="*/ 12 h 15"/>
                <a:gd name="T68" fmla="*/ 2 w 20"/>
                <a:gd name="T69" fmla="*/ 13 h 15"/>
                <a:gd name="T70" fmla="*/ 1 w 20"/>
                <a:gd name="T71" fmla="*/ 14 h 15"/>
                <a:gd name="T72" fmla="*/ 5 w 20"/>
                <a:gd name="T73" fmla="*/ 12 h 15"/>
                <a:gd name="T74" fmla="*/ 8 w 20"/>
                <a:gd name="T75" fmla="*/ 13 h 15"/>
                <a:gd name="T76" fmla="*/ 10 w 20"/>
                <a:gd name="T77" fmla="*/ 14 h 15"/>
                <a:gd name="T78" fmla="*/ 11 w 20"/>
                <a:gd name="T79" fmla="*/ 13 h 15"/>
                <a:gd name="T80" fmla="*/ 10 w 20"/>
                <a:gd name="T81" fmla="*/ 12 h 15"/>
                <a:gd name="T82" fmla="*/ 12 w 20"/>
                <a:gd name="T83" fmla="*/ 14 h 15"/>
                <a:gd name="T84" fmla="*/ 13 w 20"/>
                <a:gd name="T85" fmla="*/ 14 h 15"/>
                <a:gd name="T86" fmla="*/ 17 w 20"/>
                <a:gd name="T87" fmla="*/ 13 h 15"/>
                <a:gd name="T88" fmla="*/ 15 w 20"/>
                <a:gd name="T89" fmla="*/ 13 h 15"/>
                <a:gd name="T90" fmla="*/ 12 w 20"/>
                <a:gd name="T91" fmla="*/ 12 h 15"/>
                <a:gd name="T92" fmla="*/ 11 w 20"/>
                <a:gd name="T93" fmla="*/ 11 h 15"/>
                <a:gd name="T94" fmla="*/ 13 w 20"/>
                <a:gd name="T95" fmla="*/ 11 h 15"/>
                <a:gd name="T96" fmla="*/ 12 w 20"/>
                <a:gd name="T97" fmla="*/ 10 h 15"/>
                <a:gd name="T98" fmla="*/ 14 w 20"/>
                <a:gd name="T99" fmla="*/ 10 h 15"/>
                <a:gd name="T100" fmla="*/ 16 w 20"/>
                <a:gd name="T101" fmla="*/ 10 h 15"/>
                <a:gd name="T102" fmla="*/ 17 w 20"/>
                <a:gd name="T103" fmla="*/ 11 h 15"/>
                <a:gd name="T104" fmla="*/ 19 w 20"/>
                <a:gd name="T105" fmla="*/ 11 h 15"/>
                <a:gd name="T106" fmla="*/ 18 w 20"/>
                <a:gd name="T107" fmla="*/ 10 h 15"/>
                <a:gd name="T108" fmla="*/ 20 w 20"/>
                <a:gd name="T109" fmla="*/ 9 h 15"/>
                <a:gd name="T110" fmla="*/ 18 w 20"/>
                <a:gd name="T111"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 h="15">
                  <a:moveTo>
                    <a:pt x="18" y="6"/>
                  </a:moveTo>
                  <a:cubicBezTo>
                    <a:pt x="17" y="6"/>
                    <a:pt x="17" y="6"/>
                    <a:pt x="16" y="7"/>
                  </a:cubicBezTo>
                  <a:cubicBezTo>
                    <a:pt x="15" y="7"/>
                    <a:pt x="15" y="7"/>
                    <a:pt x="15" y="7"/>
                  </a:cubicBezTo>
                  <a:cubicBezTo>
                    <a:pt x="13" y="7"/>
                    <a:pt x="13" y="8"/>
                    <a:pt x="12" y="9"/>
                  </a:cubicBezTo>
                  <a:cubicBezTo>
                    <a:pt x="12" y="9"/>
                    <a:pt x="10" y="9"/>
                    <a:pt x="10" y="9"/>
                  </a:cubicBezTo>
                  <a:cubicBezTo>
                    <a:pt x="10" y="9"/>
                    <a:pt x="10" y="9"/>
                    <a:pt x="10" y="9"/>
                  </a:cubicBezTo>
                  <a:cubicBezTo>
                    <a:pt x="9" y="9"/>
                    <a:pt x="9" y="9"/>
                    <a:pt x="8" y="9"/>
                  </a:cubicBezTo>
                  <a:cubicBezTo>
                    <a:pt x="9" y="8"/>
                    <a:pt x="8" y="8"/>
                    <a:pt x="8" y="8"/>
                  </a:cubicBezTo>
                  <a:cubicBezTo>
                    <a:pt x="8" y="8"/>
                    <a:pt x="8" y="7"/>
                    <a:pt x="8" y="7"/>
                  </a:cubicBezTo>
                  <a:cubicBezTo>
                    <a:pt x="8" y="7"/>
                    <a:pt x="7" y="7"/>
                    <a:pt x="7" y="8"/>
                  </a:cubicBezTo>
                  <a:cubicBezTo>
                    <a:pt x="8" y="6"/>
                    <a:pt x="9" y="8"/>
                    <a:pt x="10" y="7"/>
                  </a:cubicBezTo>
                  <a:cubicBezTo>
                    <a:pt x="11" y="6"/>
                    <a:pt x="10" y="6"/>
                    <a:pt x="10" y="5"/>
                  </a:cubicBezTo>
                  <a:cubicBezTo>
                    <a:pt x="10" y="5"/>
                    <a:pt x="10" y="5"/>
                    <a:pt x="9" y="5"/>
                  </a:cubicBezTo>
                  <a:cubicBezTo>
                    <a:pt x="9" y="5"/>
                    <a:pt x="10" y="5"/>
                    <a:pt x="10" y="5"/>
                  </a:cubicBezTo>
                  <a:cubicBezTo>
                    <a:pt x="9" y="5"/>
                    <a:pt x="9" y="6"/>
                    <a:pt x="9" y="6"/>
                  </a:cubicBezTo>
                  <a:cubicBezTo>
                    <a:pt x="8" y="6"/>
                    <a:pt x="8" y="6"/>
                    <a:pt x="8" y="6"/>
                  </a:cubicBezTo>
                  <a:cubicBezTo>
                    <a:pt x="7" y="6"/>
                    <a:pt x="7" y="7"/>
                    <a:pt x="6" y="7"/>
                  </a:cubicBezTo>
                  <a:cubicBezTo>
                    <a:pt x="5" y="7"/>
                    <a:pt x="5" y="4"/>
                    <a:pt x="4" y="6"/>
                  </a:cubicBezTo>
                  <a:cubicBezTo>
                    <a:pt x="3" y="5"/>
                    <a:pt x="6" y="5"/>
                    <a:pt x="4" y="4"/>
                  </a:cubicBezTo>
                  <a:cubicBezTo>
                    <a:pt x="5" y="4"/>
                    <a:pt x="5" y="3"/>
                    <a:pt x="5" y="3"/>
                  </a:cubicBezTo>
                  <a:cubicBezTo>
                    <a:pt x="6" y="3"/>
                    <a:pt x="5" y="3"/>
                    <a:pt x="5" y="2"/>
                  </a:cubicBezTo>
                  <a:cubicBezTo>
                    <a:pt x="4" y="2"/>
                    <a:pt x="3" y="3"/>
                    <a:pt x="3" y="4"/>
                  </a:cubicBezTo>
                  <a:cubicBezTo>
                    <a:pt x="3" y="3"/>
                    <a:pt x="4" y="2"/>
                    <a:pt x="5" y="2"/>
                  </a:cubicBezTo>
                  <a:cubicBezTo>
                    <a:pt x="2" y="3"/>
                    <a:pt x="5" y="1"/>
                    <a:pt x="4" y="1"/>
                  </a:cubicBezTo>
                  <a:cubicBezTo>
                    <a:pt x="3" y="0"/>
                    <a:pt x="3" y="2"/>
                    <a:pt x="3" y="2"/>
                  </a:cubicBezTo>
                  <a:cubicBezTo>
                    <a:pt x="2" y="3"/>
                    <a:pt x="2" y="3"/>
                    <a:pt x="2" y="3"/>
                  </a:cubicBezTo>
                  <a:cubicBezTo>
                    <a:pt x="2" y="4"/>
                    <a:pt x="2" y="5"/>
                    <a:pt x="2" y="6"/>
                  </a:cubicBezTo>
                  <a:cubicBezTo>
                    <a:pt x="0" y="5"/>
                    <a:pt x="2" y="7"/>
                    <a:pt x="2" y="7"/>
                  </a:cubicBezTo>
                  <a:cubicBezTo>
                    <a:pt x="2" y="8"/>
                    <a:pt x="2" y="7"/>
                    <a:pt x="2" y="8"/>
                  </a:cubicBezTo>
                  <a:cubicBezTo>
                    <a:pt x="2" y="8"/>
                    <a:pt x="1" y="8"/>
                    <a:pt x="1" y="8"/>
                  </a:cubicBezTo>
                  <a:cubicBezTo>
                    <a:pt x="1" y="9"/>
                    <a:pt x="2" y="9"/>
                    <a:pt x="2" y="10"/>
                  </a:cubicBezTo>
                  <a:cubicBezTo>
                    <a:pt x="2" y="9"/>
                    <a:pt x="2" y="10"/>
                    <a:pt x="2" y="10"/>
                  </a:cubicBezTo>
                  <a:cubicBezTo>
                    <a:pt x="2" y="11"/>
                    <a:pt x="2" y="11"/>
                    <a:pt x="2" y="11"/>
                  </a:cubicBezTo>
                  <a:cubicBezTo>
                    <a:pt x="2" y="11"/>
                    <a:pt x="2" y="12"/>
                    <a:pt x="2" y="12"/>
                  </a:cubicBezTo>
                  <a:cubicBezTo>
                    <a:pt x="2" y="12"/>
                    <a:pt x="2" y="13"/>
                    <a:pt x="2" y="13"/>
                  </a:cubicBezTo>
                  <a:cubicBezTo>
                    <a:pt x="2" y="13"/>
                    <a:pt x="1" y="13"/>
                    <a:pt x="1" y="14"/>
                  </a:cubicBezTo>
                  <a:cubicBezTo>
                    <a:pt x="2" y="15"/>
                    <a:pt x="4" y="13"/>
                    <a:pt x="5" y="12"/>
                  </a:cubicBezTo>
                  <a:cubicBezTo>
                    <a:pt x="6" y="12"/>
                    <a:pt x="7" y="13"/>
                    <a:pt x="8" y="13"/>
                  </a:cubicBezTo>
                  <a:cubicBezTo>
                    <a:pt x="8" y="14"/>
                    <a:pt x="9" y="14"/>
                    <a:pt x="10" y="14"/>
                  </a:cubicBezTo>
                  <a:cubicBezTo>
                    <a:pt x="10" y="14"/>
                    <a:pt x="11" y="14"/>
                    <a:pt x="11" y="13"/>
                  </a:cubicBezTo>
                  <a:cubicBezTo>
                    <a:pt x="11" y="13"/>
                    <a:pt x="11" y="12"/>
                    <a:pt x="10" y="12"/>
                  </a:cubicBezTo>
                  <a:cubicBezTo>
                    <a:pt x="11" y="12"/>
                    <a:pt x="11" y="13"/>
                    <a:pt x="12" y="14"/>
                  </a:cubicBezTo>
                  <a:cubicBezTo>
                    <a:pt x="13" y="14"/>
                    <a:pt x="13" y="14"/>
                    <a:pt x="13" y="14"/>
                  </a:cubicBezTo>
                  <a:cubicBezTo>
                    <a:pt x="15" y="15"/>
                    <a:pt x="17" y="15"/>
                    <a:pt x="17" y="13"/>
                  </a:cubicBezTo>
                  <a:cubicBezTo>
                    <a:pt x="17" y="13"/>
                    <a:pt x="15" y="13"/>
                    <a:pt x="15" y="13"/>
                  </a:cubicBezTo>
                  <a:cubicBezTo>
                    <a:pt x="14" y="13"/>
                    <a:pt x="13" y="13"/>
                    <a:pt x="12" y="12"/>
                  </a:cubicBezTo>
                  <a:cubicBezTo>
                    <a:pt x="11" y="12"/>
                    <a:pt x="11" y="11"/>
                    <a:pt x="11" y="11"/>
                  </a:cubicBezTo>
                  <a:cubicBezTo>
                    <a:pt x="12" y="11"/>
                    <a:pt x="12" y="11"/>
                    <a:pt x="13" y="11"/>
                  </a:cubicBezTo>
                  <a:cubicBezTo>
                    <a:pt x="13" y="11"/>
                    <a:pt x="12" y="10"/>
                    <a:pt x="12" y="10"/>
                  </a:cubicBezTo>
                  <a:cubicBezTo>
                    <a:pt x="13" y="10"/>
                    <a:pt x="14" y="10"/>
                    <a:pt x="14" y="10"/>
                  </a:cubicBezTo>
                  <a:cubicBezTo>
                    <a:pt x="15" y="10"/>
                    <a:pt x="15" y="10"/>
                    <a:pt x="16" y="10"/>
                  </a:cubicBezTo>
                  <a:cubicBezTo>
                    <a:pt x="17" y="10"/>
                    <a:pt x="17" y="10"/>
                    <a:pt x="17" y="11"/>
                  </a:cubicBezTo>
                  <a:cubicBezTo>
                    <a:pt x="17" y="11"/>
                    <a:pt x="18" y="11"/>
                    <a:pt x="19" y="11"/>
                  </a:cubicBezTo>
                  <a:cubicBezTo>
                    <a:pt x="18" y="11"/>
                    <a:pt x="18" y="10"/>
                    <a:pt x="18" y="10"/>
                  </a:cubicBezTo>
                  <a:cubicBezTo>
                    <a:pt x="19" y="10"/>
                    <a:pt x="19" y="9"/>
                    <a:pt x="20" y="9"/>
                  </a:cubicBezTo>
                  <a:cubicBezTo>
                    <a:pt x="20" y="7"/>
                    <a:pt x="19" y="6"/>
                    <a:pt x="18" y="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78" name="Freeform 2733">
              <a:extLst>
                <a:ext uri="{FF2B5EF4-FFF2-40B4-BE49-F238E27FC236}">
                  <a16:creationId xmlns:a16="http://schemas.microsoft.com/office/drawing/2014/main" id="{71B954A2-DAC2-4EFA-B939-034CB63C3442}"/>
                </a:ext>
              </a:extLst>
            </p:cNvPr>
            <p:cNvSpPr>
              <a:spLocks/>
            </p:cNvSpPr>
            <p:nvPr/>
          </p:nvSpPr>
          <p:spPr bwMode="auto">
            <a:xfrm>
              <a:off x="5221" y="4056"/>
              <a:ext cx="7" cy="14"/>
            </a:xfrm>
            <a:custGeom>
              <a:avLst/>
              <a:gdLst>
                <a:gd name="T0" fmla="*/ 0 w 3"/>
                <a:gd name="T1" fmla="*/ 6 h 6"/>
                <a:gd name="T2" fmla="*/ 0 w 3"/>
                <a:gd name="T3" fmla="*/ 6 h 6"/>
              </a:gdLst>
              <a:ahLst/>
              <a:cxnLst>
                <a:cxn ang="0">
                  <a:pos x="T0" y="T1"/>
                </a:cxn>
                <a:cxn ang="0">
                  <a:pos x="T2" y="T3"/>
                </a:cxn>
              </a:cxnLst>
              <a:rect l="0" t="0" r="r" b="b"/>
              <a:pathLst>
                <a:path w="3" h="6">
                  <a:moveTo>
                    <a:pt x="0" y="6"/>
                  </a:moveTo>
                  <a:cubicBezTo>
                    <a:pt x="1" y="6"/>
                    <a:pt x="3" y="0"/>
                    <a:pt x="0" y="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79" name="Freeform 2734">
              <a:extLst>
                <a:ext uri="{FF2B5EF4-FFF2-40B4-BE49-F238E27FC236}">
                  <a16:creationId xmlns:a16="http://schemas.microsoft.com/office/drawing/2014/main" id="{6D3019D2-0D94-4C9B-9729-FC8C21955140}"/>
                </a:ext>
              </a:extLst>
            </p:cNvPr>
            <p:cNvSpPr>
              <a:spLocks/>
            </p:cNvSpPr>
            <p:nvPr/>
          </p:nvSpPr>
          <p:spPr bwMode="auto">
            <a:xfrm>
              <a:off x="5474" y="2540"/>
              <a:ext cx="52" cy="94"/>
            </a:xfrm>
            <a:custGeom>
              <a:avLst/>
              <a:gdLst>
                <a:gd name="T0" fmla="*/ 20 w 22"/>
                <a:gd name="T1" fmla="*/ 22 h 40"/>
                <a:gd name="T2" fmla="*/ 18 w 22"/>
                <a:gd name="T3" fmla="*/ 16 h 40"/>
                <a:gd name="T4" fmla="*/ 16 w 22"/>
                <a:gd name="T5" fmla="*/ 14 h 40"/>
                <a:gd name="T6" fmla="*/ 13 w 22"/>
                <a:gd name="T7" fmla="*/ 9 h 40"/>
                <a:gd name="T8" fmla="*/ 11 w 22"/>
                <a:gd name="T9" fmla="*/ 7 h 40"/>
                <a:gd name="T10" fmla="*/ 8 w 22"/>
                <a:gd name="T11" fmla="*/ 3 h 40"/>
                <a:gd name="T12" fmla="*/ 6 w 22"/>
                <a:gd name="T13" fmla="*/ 0 h 40"/>
                <a:gd name="T14" fmla="*/ 5 w 22"/>
                <a:gd name="T15" fmla="*/ 0 h 40"/>
                <a:gd name="T16" fmla="*/ 5 w 22"/>
                <a:gd name="T17" fmla="*/ 1 h 40"/>
                <a:gd name="T18" fmla="*/ 3 w 22"/>
                <a:gd name="T19" fmla="*/ 0 h 40"/>
                <a:gd name="T20" fmla="*/ 5 w 22"/>
                <a:gd name="T21" fmla="*/ 2 h 40"/>
                <a:gd name="T22" fmla="*/ 7 w 22"/>
                <a:gd name="T23" fmla="*/ 3 h 40"/>
                <a:gd name="T24" fmla="*/ 7 w 22"/>
                <a:gd name="T25" fmla="*/ 3 h 40"/>
                <a:gd name="T26" fmla="*/ 6 w 22"/>
                <a:gd name="T27" fmla="*/ 3 h 40"/>
                <a:gd name="T28" fmla="*/ 4 w 22"/>
                <a:gd name="T29" fmla="*/ 2 h 40"/>
                <a:gd name="T30" fmla="*/ 4 w 22"/>
                <a:gd name="T31" fmla="*/ 2 h 40"/>
                <a:gd name="T32" fmla="*/ 4 w 22"/>
                <a:gd name="T33" fmla="*/ 6 h 40"/>
                <a:gd name="T34" fmla="*/ 2 w 22"/>
                <a:gd name="T35" fmla="*/ 9 h 40"/>
                <a:gd name="T36" fmla="*/ 2 w 22"/>
                <a:gd name="T37" fmla="*/ 13 h 40"/>
                <a:gd name="T38" fmla="*/ 1 w 22"/>
                <a:gd name="T39" fmla="*/ 16 h 40"/>
                <a:gd name="T40" fmla="*/ 0 w 22"/>
                <a:gd name="T41" fmla="*/ 18 h 40"/>
                <a:gd name="T42" fmla="*/ 0 w 22"/>
                <a:gd name="T43" fmla="*/ 18 h 40"/>
                <a:gd name="T44" fmla="*/ 1 w 22"/>
                <a:gd name="T45" fmla="*/ 21 h 40"/>
                <a:gd name="T46" fmla="*/ 1 w 22"/>
                <a:gd name="T47" fmla="*/ 26 h 40"/>
                <a:gd name="T48" fmla="*/ 2 w 22"/>
                <a:gd name="T49" fmla="*/ 29 h 40"/>
                <a:gd name="T50" fmla="*/ 3 w 22"/>
                <a:gd name="T51" fmla="*/ 35 h 40"/>
                <a:gd name="T52" fmla="*/ 4 w 22"/>
                <a:gd name="T53" fmla="*/ 37 h 40"/>
                <a:gd name="T54" fmla="*/ 6 w 22"/>
                <a:gd name="T55" fmla="*/ 39 h 40"/>
                <a:gd name="T56" fmla="*/ 10 w 22"/>
                <a:gd name="T57" fmla="*/ 40 h 40"/>
                <a:gd name="T58" fmla="*/ 18 w 22"/>
                <a:gd name="T59" fmla="*/ 35 h 40"/>
                <a:gd name="T60" fmla="*/ 21 w 22"/>
                <a:gd name="T61" fmla="*/ 32 h 40"/>
                <a:gd name="T62" fmla="*/ 22 w 22"/>
                <a:gd name="T63" fmla="*/ 27 h 40"/>
                <a:gd name="T64" fmla="*/ 21 w 22"/>
                <a:gd name="T65"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 h="40">
                  <a:moveTo>
                    <a:pt x="21" y="24"/>
                  </a:moveTo>
                  <a:cubicBezTo>
                    <a:pt x="21" y="24"/>
                    <a:pt x="20" y="23"/>
                    <a:pt x="20" y="22"/>
                  </a:cubicBezTo>
                  <a:cubicBezTo>
                    <a:pt x="19" y="21"/>
                    <a:pt x="19" y="20"/>
                    <a:pt x="19" y="19"/>
                  </a:cubicBezTo>
                  <a:cubicBezTo>
                    <a:pt x="18" y="18"/>
                    <a:pt x="18" y="17"/>
                    <a:pt x="18" y="16"/>
                  </a:cubicBezTo>
                  <a:cubicBezTo>
                    <a:pt x="18" y="16"/>
                    <a:pt x="18" y="16"/>
                    <a:pt x="18" y="16"/>
                  </a:cubicBezTo>
                  <a:cubicBezTo>
                    <a:pt x="17" y="15"/>
                    <a:pt x="17" y="14"/>
                    <a:pt x="16" y="14"/>
                  </a:cubicBezTo>
                  <a:cubicBezTo>
                    <a:pt x="16" y="13"/>
                    <a:pt x="15" y="12"/>
                    <a:pt x="14" y="11"/>
                  </a:cubicBezTo>
                  <a:cubicBezTo>
                    <a:pt x="14" y="11"/>
                    <a:pt x="13" y="10"/>
                    <a:pt x="13" y="9"/>
                  </a:cubicBezTo>
                  <a:cubicBezTo>
                    <a:pt x="13" y="9"/>
                    <a:pt x="13" y="9"/>
                    <a:pt x="13" y="9"/>
                  </a:cubicBezTo>
                  <a:cubicBezTo>
                    <a:pt x="12" y="8"/>
                    <a:pt x="12" y="7"/>
                    <a:pt x="11" y="7"/>
                  </a:cubicBezTo>
                  <a:cubicBezTo>
                    <a:pt x="11" y="6"/>
                    <a:pt x="10" y="5"/>
                    <a:pt x="10" y="4"/>
                  </a:cubicBezTo>
                  <a:cubicBezTo>
                    <a:pt x="9" y="4"/>
                    <a:pt x="9" y="3"/>
                    <a:pt x="8" y="3"/>
                  </a:cubicBezTo>
                  <a:cubicBezTo>
                    <a:pt x="8" y="3"/>
                    <a:pt x="8" y="2"/>
                    <a:pt x="8" y="2"/>
                  </a:cubicBezTo>
                  <a:cubicBezTo>
                    <a:pt x="7" y="1"/>
                    <a:pt x="6" y="1"/>
                    <a:pt x="6" y="0"/>
                  </a:cubicBezTo>
                  <a:cubicBezTo>
                    <a:pt x="5" y="0"/>
                    <a:pt x="5" y="0"/>
                    <a:pt x="5" y="0"/>
                  </a:cubicBezTo>
                  <a:cubicBezTo>
                    <a:pt x="5" y="0"/>
                    <a:pt x="5" y="0"/>
                    <a:pt x="5" y="0"/>
                  </a:cubicBezTo>
                  <a:cubicBezTo>
                    <a:pt x="6" y="1"/>
                    <a:pt x="7" y="2"/>
                    <a:pt x="8" y="2"/>
                  </a:cubicBezTo>
                  <a:cubicBezTo>
                    <a:pt x="7" y="2"/>
                    <a:pt x="6" y="1"/>
                    <a:pt x="5" y="1"/>
                  </a:cubicBezTo>
                  <a:cubicBezTo>
                    <a:pt x="5" y="1"/>
                    <a:pt x="5" y="0"/>
                    <a:pt x="5" y="0"/>
                  </a:cubicBezTo>
                  <a:cubicBezTo>
                    <a:pt x="5" y="0"/>
                    <a:pt x="4" y="0"/>
                    <a:pt x="3" y="0"/>
                  </a:cubicBezTo>
                  <a:cubicBezTo>
                    <a:pt x="3" y="0"/>
                    <a:pt x="4" y="1"/>
                    <a:pt x="4" y="2"/>
                  </a:cubicBezTo>
                  <a:cubicBezTo>
                    <a:pt x="5" y="2"/>
                    <a:pt x="5" y="2"/>
                    <a:pt x="5" y="2"/>
                  </a:cubicBezTo>
                  <a:cubicBezTo>
                    <a:pt x="6" y="2"/>
                    <a:pt x="6" y="3"/>
                    <a:pt x="7" y="3"/>
                  </a:cubicBezTo>
                  <a:cubicBezTo>
                    <a:pt x="7" y="3"/>
                    <a:pt x="7" y="3"/>
                    <a:pt x="7" y="3"/>
                  </a:cubicBezTo>
                  <a:cubicBezTo>
                    <a:pt x="8" y="3"/>
                    <a:pt x="8" y="3"/>
                    <a:pt x="9" y="4"/>
                  </a:cubicBezTo>
                  <a:cubicBezTo>
                    <a:pt x="8" y="3"/>
                    <a:pt x="8" y="3"/>
                    <a:pt x="7" y="3"/>
                  </a:cubicBezTo>
                  <a:cubicBezTo>
                    <a:pt x="7" y="3"/>
                    <a:pt x="7" y="3"/>
                    <a:pt x="7" y="3"/>
                  </a:cubicBezTo>
                  <a:cubicBezTo>
                    <a:pt x="6" y="3"/>
                    <a:pt x="6" y="4"/>
                    <a:pt x="6" y="3"/>
                  </a:cubicBezTo>
                  <a:cubicBezTo>
                    <a:pt x="6" y="3"/>
                    <a:pt x="6" y="3"/>
                    <a:pt x="6" y="3"/>
                  </a:cubicBezTo>
                  <a:cubicBezTo>
                    <a:pt x="5" y="3"/>
                    <a:pt x="4" y="2"/>
                    <a:pt x="4" y="2"/>
                  </a:cubicBezTo>
                  <a:cubicBezTo>
                    <a:pt x="4" y="2"/>
                    <a:pt x="4" y="2"/>
                    <a:pt x="4" y="2"/>
                  </a:cubicBezTo>
                  <a:cubicBezTo>
                    <a:pt x="4" y="2"/>
                    <a:pt x="4" y="2"/>
                    <a:pt x="4" y="2"/>
                  </a:cubicBezTo>
                  <a:cubicBezTo>
                    <a:pt x="4" y="2"/>
                    <a:pt x="5" y="3"/>
                    <a:pt x="5" y="3"/>
                  </a:cubicBezTo>
                  <a:cubicBezTo>
                    <a:pt x="3" y="4"/>
                    <a:pt x="4" y="4"/>
                    <a:pt x="4" y="6"/>
                  </a:cubicBezTo>
                  <a:cubicBezTo>
                    <a:pt x="4" y="6"/>
                    <a:pt x="4" y="6"/>
                    <a:pt x="4" y="6"/>
                  </a:cubicBezTo>
                  <a:cubicBezTo>
                    <a:pt x="4" y="7"/>
                    <a:pt x="2" y="8"/>
                    <a:pt x="2" y="9"/>
                  </a:cubicBezTo>
                  <a:cubicBezTo>
                    <a:pt x="2" y="10"/>
                    <a:pt x="2" y="11"/>
                    <a:pt x="2" y="12"/>
                  </a:cubicBezTo>
                  <a:cubicBezTo>
                    <a:pt x="2" y="12"/>
                    <a:pt x="2" y="12"/>
                    <a:pt x="2" y="13"/>
                  </a:cubicBezTo>
                  <a:cubicBezTo>
                    <a:pt x="2" y="13"/>
                    <a:pt x="2" y="14"/>
                    <a:pt x="2" y="15"/>
                  </a:cubicBezTo>
                  <a:cubicBezTo>
                    <a:pt x="2" y="15"/>
                    <a:pt x="2" y="16"/>
                    <a:pt x="1" y="16"/>
                  </a:cubicBezTo>
                  <a:cubicBezTo>
                    <a:pt x="1" y="17"/>
                    <a:pt x="1" y="18"/>
                    <a:pt x="1" y="19"/>
                  </a:cubicBezTo>
                  <a:cubicBezTo>
                    <a:pt x="0" y="18"/>
                    <a:pt x="0" y="18"/>
                    <a:pt x="0" y="18"/>
                  </a:cubicBezTo>
                  <a:cubicBezTo>
                    <a:pt x="0" y="17"/>
                    <a:pt x="0" y="16"/>
                    <a:pt x="0" y="16"/>
                  </a:cubicBezTo>
                  <a:cubicBezTo>
                    <a:pt x="0" y="16"/>
                    <a:pt x="0" y="17"/>
                    <a:pt x="0" y="18"/>
                  </a:cubicBezTo>
                  <a:cubicBezTo>
                    <a:pt x="0" y="18"/>
                    <a:pt x="0" y="18"/>
                    <a:pt x="0" y="18"/>
                  </a:cubicBezTo>
                  <a:cubicBezTo>
                    <a:pt x="0" y="19"/>
                    <a:pt x="1" y="20"/>
                    <a:pt x="1" y="21"/>
                  </a:cubicBezTo>
                  <a:cubicBezTo>
                    <a:pt x="1" y="22"/>
                    <a:pt x="1" y="23"/>
                    <a:pt x="1" y="25"/>
                  </a:cubicBezTo>
                  <a:cubicBezTo>
                    <a:pt x="1" y="25"/>
                    <a:pt x="1" y="25"/>
                    <a:pt x="1" y="26"/>
                  </a:cubicBezTo>
                  <a:cubicBezTo>
                    <a:pt x="1" y="26"/>
                    <a:pt x="2" y="27"/>
                    <a:pt x="2" y="28"/>
                  </a:cubicBezTo>
                  <a:cubicBezTo>
                    <a:pt x="2" y="28"/>
                    <a:pt x="2" y="29"/>
                    <a:pt x="2" y="29"/>
                  </a:cubicBezTo>
                  <a:cubicBezTo>
                    <a:pt x="2" y="30"/>
                    <a:pt x="2" y="31"/>
                    <a:pt x="2" y="31"/>
                  </a:cubicBezTo>
                  <a:cubicBezTo>
                    <a:pt x="2" y="33"/>
                    <a:pt x="3" y="34"/>
                    <a:pt x="3" y="35"/>
                  </a:cubicBezTo>
                  <a:cubicBezTo>
                    <a:pt x="3" y="35"/>
                    <a:pt x="3" y="36"/>
                    <a:pt x="4" y="36"/>
                  </a:cubicBezTo>
                  <a:cubicBezTo>
                    <a:pt x="4" y="37"/>
                    <a:pt x="4" y="37"/>
                    <a:pt x="4" y="37"/>
                  </a:cubicBezTo>
                  <a:cubicBezTo>
                    <a:pt x="4" y="38"/>
                    <a:pt x="5" y="39"/>
                    <a:pt x="5" y="39"/>
                  </a:cubicBezTo>
                  <a:cubicBezTo>
                    <a:pt x="6" y="39"/>
                    <a:pt x="6" y="39"/>
                    <a:pt x="6" y="39"/>
                  </a:cubicBezTo>
                  <a:cubicBezTo>
                    <a:pt x="7" y="39"/>
                    <a:pt x="8" y="40"/>
                    <a:pt x="9" y="40"/>
                  </a:cubicBezTo>
                  <a:cubicBezTo>
                    <a:pt x="9" y="40"/>
                    <a:pt x="9" y="40"/>
                    <a:pt x="10" y="40"/>
                  </a:cubicBezTo>
                  <a:cubicBezTo>
                    <a:pt x="11" y="39"/>
                    <a:pt x="13" y="38"/>
                    <a:pt x="13" y="38"/>
                  </a:cubicBezTo>
                  <a:cubicBezTo>
                    <a:pt x="15" y="37"/>
                    <a:pt x="17" y="36"/>
                    <a:pt x="18" y="35"/>
                  </a:cubicBezTo>
                  <a:cubicBezTo>
                    <a:pt x="19" y="35"/>
                    <a:pt x="20" y="34"/>
                    <a:pt x="20" y="34"/>
                  </a:cubicBezTo>
                  <a:cubicBezTo>
                    <a:pt x="21" y="34"/>
                    <a:pt x="21" y="33"/>
                    <a:pt x="21" y="32"/>
                  </a:cubicBezTo>
                  <a:cubicBezTo>
                    <a:pt x="22" y="31"/>
                    <a:pt x="22" y="30"/>
                    <a:pt x="22" y="30"/>
                  </a:cubicBezTo>
                  <a:cubicBezTo>
                    <a:pt x="22" y="29"/>
                    <a:pt x="22" y="28"/>
                    <a:pt x="22" y="27"/>
                  </a:cubicBezTo>
                  <a:cubicBezTo>
                    <a:pt x="22" y="26"/>
                    <a:pt x="22" y="24"/>
                    <a:pt x="22" y="24"/>
                  </a:cubicBezTo>
                  <a:cubicBezTo>
                    <a:pt x="22" y="24"/>
                    <a:pt x="21" y="24"/>
                    <a:pt x="21" y="2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80" name="Freeform 2735">
              <a:extLst>
                <a:ext uri="{FF2B5EF4-FFF2-40B4-BE49-F238E27FC236}">
                  <a16:creationId xmlns:a16="http://schemas.microsoft.com/office/drawing/2014/main" id="{F33F646F-AD60-48C3-80AE-6E9F83DAD665}"/>
                </a:ext>
              </a:extLst>
            </p:cNvPr>
            <p:cNvSpPr>
              <a:spLocks/>
            </p:cNvSpPr>
            <p:nvPr/>
          </p:nvSpPr>
          <p:spPr bwMode="auto">
            <a:xfrm>
              <a:off x="5523" y="2589"/>
              <a:ext cx="3" cy="7"/>
            </a:xfrm>
            <a:custGeom>
              <a:avLst/>
              <a:gdLst>
                <a:gd name="T0" fmla="*/ 0 w 1"/>
                <a:gd name="T1" fmla="*/ 0 h 3"/>
                <a:gd name="T2" fmla="*/ 0 w 1"/>
                <a:gd name="T3" fmla="*/ 3 h 3"/>
                <a:gd name="T4" fmla="*/ 0 w 1"/>
                <a:gd name="T5" fmla="*/ 0 h 3"/>
              </a:gdLst>
              <a:ahLst/>
              <a:cxnLst>
                <a:cxn ang="0">
                  <a:pos x="T0" y="T1"/>
                </a:cxn>
                <a:cxn ang="0">
                  <a:pos x="T2" y="T3"/>
                </a:cxn>
                <a:cxn ang="0">
                  <a:pos x="T4" y="T5"/>
                </a:cxn>
              </a:cxnLst>
              <a:rect l="0" t="0" r="r" b="b"/>
              <a:pathLst>
                <a:path w="1" h="3">
                  <a:moveTo>
                    <a:pt x="0" y="0"/>
                  </a:moveTo>
                  <a:cubicBezTo>
                    <a:pt x="0" y="1"/>
                    <a:pt x="0" y="2"/>
                    <a:pt x="0" y="3"/>
                  </a:cubicBezTo>
                  <a:cubicBezTo>
                    <a:pt x="1" y="2"/>
                    <a:pt x="0" y="1"/>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81" name="Freeform 2736">
              <a:extLst>
                <a:ext uri="{FF2B5EF4-FFF2-40B4-BE49-F238E27FC236}">
                  <a16:creationId xmlns:a16="http://schemas.microsoft.com/office/drawing/2014/main" id="{8507C6D5-FB76-460D-A3AE-7508BDA2237C}"/>
                </a:ext>
              </a:extLst>
            </p:cNvPr>
            <p:cNvSpPr>
              <a:spLocks/>
            </p:cNvSpPr>
            <p:nvPr/>
          </p:nvSpPr>
          <p:spPr bwMode="auto">
            <a:xfrm>
              <a:off x="5476" y="2556"/>
              <a:ext cx="2" cy="5"/>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1" y="1"/>
                    <a:pt x="0" y="1"/>
                    <a:pt x="0" y="0"/>
                  </a:cubicBezTo>
                  <a:cubicBezTo>
                    <a:pt x="0" y="1"/>
                    <a:pt x="0" y="1"/>
                    <a:pt x="1"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82" name="Freeform 2737">
              <a:extLst>
                <a:ext uri="{FF2B5EF4-FFF2-40B4-BE49-F238E27FC236}">
                  <a16:creationId xmlns:a16="http://schemas.microsoft.com/office/drawing/2014/main" id="{A171D7BA-00C4-49DE-BC95-AEB698850573}"/>
                </a:ext>
              </a:extLst>
            </p:cNvPr>
            <p:cNvSpPr>
              <a:spLocks/>
            </p:cNvSpPr>
            <p:nvPr/>
          </p:nvSpPr>
          <p:spPr bwMode="auto">
            <a:xfrm>
              <a:off x="6859" y="659"/>
              <a:ext cx="21" cy="4"/>
            </a:xfrm>
            <a:custGeom>
              <a:avLst/>
              <a:gdLst>
                <a:gd name="T0" fmla="*/ 0 w 9"/>
                <a:gd name="T1" fmla="*/ 0 h 2"/>
                <a:gd name="T2" fmla="*/ 2 w 9"/>
                <a:gd name="T3" fmla="*/ 1 h 2"/>
                <a:gd name="T4" fmla="*/ 3 w 9"/>
                <a:gd name="T5" fmla="*/ 1 h 2"/>
                <a:gd name="T6" fmla="*/ 4 w 9"/>
                <a:gd name="T7" fmla="*/ 1 h 2"/>
                <a:gd name="T8" fmla="*/ 6 w 9"/>
                <a:gd name="T9" fmla="*/ 2 h 2"/>
                <a:gd name="T10" fmla="*/ 9 w 9"/>
                <a:gd name="T11" fmla="*/ 0 h 2"/>
                <a:gd name="T12" fmla="*/ 0 w 9"/>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0" y="0"/>
                  </a:moveTo>
                  <a:cubicBezTo>
                    <a:pt x="0" y="1"/>
                    <a:pt x="1" y="2"/>
                    <a:pt x="2" y="1"/>
                  </a:cubicBezTo>
                  <a:cubicBezTo>
                    <a:pt x="2" y="1"/>
                    <a:pt x="2" y="1"/>
                    <a:pt x="3" y="1"/>
                  </a:cubicBezTo>
                  <a:cubicBezTo>
                    <a:pt x="3" y="1"/>
                    <a:pt x="4" y="1"/>
                    <a:pt x="4" y="1"/>
                  </a:cubicBezTo>
                  <a:cubicBezTo>
                    <a:pt x="5" y="1"/>
                    <a:pt x="6" y="2"/>
                    <a:pt x="6" y="2"/>
                  </a:cubicBezTo>
                  <a:cubicBezTo>
                    <a:pt x="7" y="2"/>
                    <a:pt x="8" y="1"/>
                    <a:pt x="9" y="0"/>
                  </a:cubicBezTo>
                  <a:cubicBezTo>
                    <a:pt x="6" y="0"/>
                    <a:pt x="3" y="0"/>
                    <a:pt x="0"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83" name="Freeform 2738">
              <a:extLst>
                <a:ext uri="{FF2B5EF4-FFF2-40B4-BE49-F238E27FC236}">
                  <a16:creationId xmlns:a16="http://schemas.microsoft.com/office/drawing/2014/main" id="{541D380D-8A5C-479E-9372-20624EBCE3E6}"/>
                </a:ext>
              </a:extLst>
            </p:cNvPr>
            <p:cNvSpPr>
              <a:spLocks/>
            </p:cNvSpPr>
            <p:nvPr/>
          </p:nvSpPr>
          <p:spPr bwMode="auto">
            <a:xfrm>
              <a:off x="6852" y="439"/>
              <a:ext cx="208" cy="75"/>
            </a:xfrm>
            <a:custGeom>
              <a:avLst/>
              <a:gdLst>
                <a:gd name="T0" fmla="*/ 11 w 88"/>
                <a:gd name="T1" fmla="*/ 28 h 32"/>
                <a:gd name="T2" fmla="*/ 20 w 88"/>
                <a:gd name="T3" fmla="*/ 31 h 32"/>
                <a:gd name="T4" fmla="*/ 27 w 88"/>
                <a:gd name="T5" fmla="*/ 31 h 32"/>
                <a:gd name="T6" fmla="*/ 29 w 88"/>
                <a:gd name="T7" fmla="*/ 26 h 32"/>
                <a:gd name="T8" fmla="*/ 33 w 88"/>
                <a:gd name="T9" fmla="*/ 27 h 32"/>
                <a:gd name="T10" fmla="*/ 40 w 88"/>
                <a:gd name="T11" fmla="*/ 27 h 32"/>
                <a:gd name="T12" fmla="*/ 52 w 88"/>
                <a:gd name="T13" fmla="*/ 25 h 32"/>
                <a:gd name="T14" fmla="*/ 57 w 88"/>
                <a:gd name="T15" fmla="*/ 26 h 32"/>
                <a:gd name="T16" fmla="*/ 58 w 88"/>
                <a:gd name="T17" fmla="*/ 29 h 32"/>
                <a:gd name="T18" fmla="*/ 62 w 88"/>
                <a:gd name="T19" fmla="*/ 27 h 32"/>
                <a:gd name="T20" fmla="*/ 70 w 88"/>
                <a:gd name="T21" fmla="*/ 26 h 32"/>
                <a:gd name="T22" fmla="*/ 56 w 88"/>
                <a:gd name="T23" fmla="*/ 19 h 32"/>
                <a:gd name="T24" fmla="*/ 55 w 88"/>
                <a:gd name="T25" fmla="*/ 15 h 32"/>
                <a:gd name="T26" fmla="*/ 54 w 88"/>
                <a:gd name="T27" fmla="*/ 12 h 32"/>
                <a:gd name="T28" fmla="*/ 55 w 88"/>
                <a:gd name="T29" fmla="*/ 11 h 32"/>
                <a:gd name="T30" fmla="*/ 63 w 88"/>
                <a:gd name="T31" fmla="*/ 11 h 32"/>
                <a:gd name="T32" fmla="*/ 60 w 88"/>
                <a:gd name="T33" fmla="*/ 15 h 32"/>
                <a:gd name="T34" fmla="*/ 60 w 88"/>
                <a:gd name="T35" fmla="*/ 19 h 32"/>
                <a:gd name="T36" fmla="*/ 62 w 88"/>
                <a:gd name="T37" fmla="*/ 21 h 32"/>
                <a:gd name="T38" fmla="*/ 66 w 88"/>
                <a:gd name="T39" fmla="*/ 23 h 32"/>
                <a:gd name="T40" fmla="*/ 75 w 88"/>
                <a:gd name="T41" fmla="*/ 24 h 32"/>
                <a:gd name="T42" fmla="*/ 80 w 88"/>
                <a:gd name="T43" fmla="*/ 22 h 32"/>
                <a:gd name="T44" fmla="*/ 82 w 88"/>
                <a:gd name="T45" fmla="*/ 16 h 32"/>
                <a:gd name="T46" fmla="*/ 88 w 88"/>
                <a:gd name="T47" fmla="*/ 14 h 32"/>
                <a:gd name="T48" fmla="*/ 70 w 88"/>
                <a:gd name="T49" fmla="*/ 7 h 32"/>
                <a:gd name="T50" fmla="*/ 51 w 88"/>
                <a:gd name="T51" fmla="*/ 2 h 32"/>
                <a:gd name="T52" fmla="*/ 48 w 88"/>
                <a:gd name="T53" fmla="*/ 3 h 32"/>
                <a:gd name="T54" fmla="*/ 43 w 88"/>
                <a:gd name="T55" fmla="*/ 4 h 32"/>
                <a:gd name="T56" fmla="*/ 42 w 88"/>
                <a:gd name="T57" fmla="*/ 8 h 32"/>
                <a:gd name="T58" fmla="*/ 42 w 88"/>
                <a:gd name="T59" fmla="*/ 12 h 32"/>
                <a:gd name="T60" fmla="*/ 37 w 88"/>
                <a:gd name="T61" fmla="*/ 9 h 32"/>
                <a:gd name="T62" fmla="*/ 30 w 88"/>
                <a:gd name="T63" fmla="*/ 6 h 32"/>
                <a:gd name="T64" fmla="*/ 17 w 88"/>
                <a:gd name="T65" fmla="*/ 3 h 32"/>
                <a:gd name="T66" fmla="*/ 14 w 88"/>
                <a:gd name="T67" fmla="*/ 2 h 32"/>
                <a:gd name="T68" fmla="*/ 12 w 88"/>
                <a:gd name="T69" fmla="*/ 4 h 32"/>
                <a:gd name="T70" fmla="*/ 7 w 88"/>
                <a:gd name="T71" fmla="*/ 6 h 32"/>
                <a:gd name="T72" fmla="*/ 5 w 88"/>
                <a:gd name="T73" fmla="*/ 9 h 32"/>
                <a:gd name="T74" fmla="*/ 4 w 88"/>
                <a:gd name="T75" fmla="*/ 13 h 32"/>
                <a:gd name="T76" fmla="*/ 5 w 88"/>
                <a:gd name="T77" fmla="*/ 18 h 32"/>
                <a:gd name="T78" fmla="*/ 3 w 88"/>
                <a:gd name="T79"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8" h="32">
                  <a:moveTo>
                    <a:pt x="10" y="26"/>
                  </a:moveTo>
                  <a:cubicBezTo>
                    <a:pt x="11" y="27"/>
                    <a:pt x="11" y="27"/>
                    <a:pt x="11" y="28"/>
                  </a:cubicBezTo>
                  <a:cubicBezTo>
                    <a:pt x="12" y="29"/>
                    <a:pt x="13" y="29"/>
                    <a:pt x="14" y="29"/>
                  </a:cubicBezTo>
                  <a:cubicBezTo>
                    <a:pt x="16" y="30"/>
                    <a:pt x="18" y="30"/>
                    <a:pt x="20" y="31"/>
                  </a:cubicBezTo>
                  <a:cubicBezTo>
                    <a:pt x="21" y="31"/>
                    <a:pt x="22" y="32"/>
                    <a:pt x="23" y="32"/>
                  </a:cubicBezTo>
                  <a:cubicBezTo>
                    <a:pt x="25" y="32"/>
                    <a:pt x="26" y="32"/>
                    <a:pt x="27" y="31"/>
                  </a:cubicBezTo>
                  <a:cubicBezTo>
                    <a:pt x="28" y="30"/>
                    <a:pt x="28" y="28"/>
                    <a:pt x="29" y="28"/>
                  </a:cubicBezTo>
                  <a:cubicBezTo>
                    <a:pt x="27" y="28"/>
                    <a:pt x="28" y="26"/>
                    <a:pt x="29" y="26"/>
                  </a:cubicBezTo>
                  <a:cubicBezTo>
                    <a:pt x="29" y="25"/>
                    <a:pt x="31" y="26"/>
                    <a:pt x="31" y="26"/>
                  </a:cubicBezTo>
                  <a:cubicBezTo>
                    <a:pt x="31" y="26"/>
                    <a:pt x="32" y="27"/>
                    <a:pt x="33" y="27"/>
                  </a:cubicBezTo>
                  <a:cubicBezTo>
                    <a:pt x="33" y="28"/>
                    <a:pt x="33" y="28"/>
                    <a:pt x="34" y="29"/>
                  </a:cubicBezTo>
                  <a:cubicBezTo>
                    <a:pt x="36" y="29"/>
                    <a:pt x="38" y="28"/>
                    <a:pt x="40" y="27"/>
                  </a:cubicBezTo>
                  <a:cubicBezTo>
                    <a:pt x="42" y="27"/>
                    <a:pt x="44" y="27"/>
                    <a:pt x="46" y="27"/>
                  </a:cubicBezTo>
                  <a:cubicBezTo>
                    <a:pt x="48" y="26"/>
                    <a:pt x="50" y="26"/>
                    <a:pt x="52" y="25"/>
                  </a:cubicBezTo>
                  <a:cubicBezTo>
                    <a:pt x="53" y="25"/>
                    <a:pt x="54" y="25"/>
                    <a:pt x="55" y="25"/>
                  </a:cubicBezTo>
                  <a:cubicBezTo>
                    <a:pt x="56" y="25"/>
                    <a:pt x="56" y="26"/>
                    <a:pt x="57" y="26"/>
                  </a:cubicBezTo>
                  <a:cubicBezTo>
                    <a:pt x="56" y="26"/>
                    <a:pt x="53" y="25"/>
                    <a:pt x="53" y="27"/>
                  </a:cubicBezTo>
                  <a:cubicBezTo>
                    <a:pt x="54" y="28"/>
                    <a:pt x="57" y="29"/>
                    <a:pt x="58" y="29"/>
                  </a:cubicBezTo>
                  <a:cubicBezTo>
                    <a:pt x="59" y="29"/>
                    <a:pt x="59" y="29"/>
                    <a:pt x="60" y="28"/>
                  </a:cubicBezTo>
                  <a:cubicBezTo>
                    <a:pt x="61" y="28"/>
                    <a:pt x="60" y="27"/>
                    <a:pt x="62" y="27"/>
                  </a:cubicBezTo>
                  <a:cubicBezTo>
                    <a:pt x="63" y="28"/>
                    <a:pt x="65" y="27"/>
                    <a:pt x="66" y="27"/>
                  </a:cubicBezTo>
                  <a:cubicBezTo>
                    <a:pt x="68" y="27"/>
                    <a:pt x="69" y="27"/>
                    <a:pt x="70" y="26"/>
                  </a:cubicBezTo>
                  <a:cubicBezTo>
                    <a:pt x="68" y="25"/>
                    <a:pt x="64" y="24"/>
                    <a:pt x="61" y="24"/>
                  </a:cubicBezTo>
                  <a:cubicBezTo>
                    <a:pt x="59" y="23"/>
                    <a:pt x="58" y="20"/>
                    <a:pt x="56" y="19"/>
                  </a:cubicBezTo>
                  <a:cubicBezTo>
                    <a:pt x="56" y="18"/>
                    <a:pt x="55" y="18"/>
                    <a:pt x="55" y="17"/>
                  </a:cubicBezTo>
                  <a:cubicBezTo>
                    <a:pt x="55" y="17"/>
                    <a:pt x="55" y="16"/>
                    <a:pt x="55" y="15"/>
                  </a:cubicBezTo>
                  <a:cubicBezTo>
                    <a:pt x="55" y="15"/>
                    <a:pt x="54" y="15"/>
                    <a:pt x="54" y="14"/>
                  </a:cubicBezTo>
                  <a:cubicBezTo>
                    <a:pt x="54" y="13"/>
                    <a:pt x="55" y="13"/>
                    <a:pt x="54" y="12"/>
                  </a:cubicBezTo>
                  <a:cubicBezTo>
                    <a:pt x="55" y="12"/>
                    <a:pt x="55" y="12"/>
                    <a:pt x="55" y="12"/>
                  </a:cubicBezTo>
                  <a:cubicBezTo>
                    <a:pt x="55" y="12"/>
                    <a:pt x="55" y="12"/>
                    <a:pt x="55" y="11"/>
                  </a:cubicBezTo>
                  <a:cubicBezTo>
                    <a:pt x="55" y="12"/>
                    <a:pt x="59" y="12"/>
                    <a:pt x="57" y="10"/>
                  </a:cubicBezTo>
                  <a:cubicBezTo>
                    <a:pt x="59" y="10"/>
                    <a:pt x="62" y="9"/>
                    <a:pt x="63" y="11"/>
                  </a:cubicBezTo>
                  <a:cubicBezTo>
                    <a:pt x="64" y="13"/>
                    <a:pt x="63" y="13"/>
                    <a:pt x="62" y="13"/>
                  </a:cubicBezTo>
                  <a:cubicBezTo>
                    <a:pt x="61" y="14"/>
                    <a:pt x="60" y="14"/>
                    <a:pt x="60" y="15"/>
                  </a:cubicBezTo>
                  <a:cubicBezTo>
                    <a:pt x="59" y="16"/>
                    <a:pt x="58" y="16"/>
                    <a:pt x="58" y="17"/>
                  </a:cubicBezTo>
                  <a:cubicBezTo>
                    <a:pt x="59" y="18"/>
                    <a:pt x="60" y="18"/>
                    <a:pt x="60" y="19"/>
                  </a:cubicBezTo>
                  <a:cubicBezTo>
                    <a:pt x="60" y="19"/>
                    <a:pt x="60" y="20"/>
                    <a:pt x="61" y="20"/>
                  </a:cubicBezTo>
                  <a:cubicBezTo>
                    <a:pt x="61" y="21"/>
                    <a:pt x="62" y="21"/>
                    <a:pt x="62" y="21"/>
                  </a:cubicBezTo>
                  <a:cubicBezTo>
                    <a:pt x="63" y="22"/>
                    <a:pt x="62" y="22"/>
                    <a:pt x="63" y="22"/>
                  </a:cubicBezTo>
                  <a:cubicBezTo>
                    <a:pt x="64" y="23"/>
                    <a:pt x="65" y="23"/>
                    <a:pt x="66" y="23"/>
                  </a:cubicBezTo>
                  <a:cubicBezTo>
                    <a:pt x="68" y="24"/>
                    <a:pt x="71" y="23"/>
                    <a:pt x="72" y="24"/>
                  </a:cubicBezTo>
                  <a:cubicBezTo>
                    <a:pt x="73" y="25"/>
                    <a:pt x="74" y="24"/>
                    <a:pt x="75" y="24"/>
                  </a:cubicBezTo>
                  <a:cubicBezTo>
                    <a:pt x="76" y="24"/>
                    <a:pt x="77" y="24"/>
                    <a:pt x="78" y="24"/>
                  </a:cubicBezTo>
                  <a:cubicBezTo>
                    <a:pt x="79" y="23"/>
                    <a:pt x="80" y="22"/>
                    <a:pt x="80" y="22"/>
                  </a:cubicBezTo>
                  <a:cubicBezTo>
                    <a:pt x="81" y="21"/>
                    <a:pt x="81" y="20"/>
                    <a:pt x="82" y="20"/>
                  </a:cubicBezTo>
                  <a:cubicBezTo>
                    <a:pt x="84" y="19"/>
                    <a:pt x="80" y="17"/>
                    <a:pt x="82" y="16"/>
                  </a:cubicBezTo>
                  <a:cubicBezTo>
                    <a:pt x="82" y="16"/>
                    <a:pt x="84" y="15"/>
                    <a:pt x="85" y="15"/>
                  </a:cubicBezTo>
                  <a:cubicBezTo>
                    <a:pt x="86" y="14"/>
                    <a:pt x="87" y="14"/>
                    <a:pt x="88" y="14"/>
                  </a:cubicBezTo>
                  <a:cubicBezTo>
                    <a:pt x="84" y="12"/>
                    <a:pt x="80" y="11"/>
                    <a:pt x="76" y="9"/>
                  </a:cubicBezTo>
                  <a:cubicBezTo>
                    <a:pt x="74" y="8"/>
                    <a:pt x="72" y="8"/>
                    <a:pt x="70" y="7"/>
                  </a:cubicBezTo>
                  <a:cubicBezTo>
                    <a:pt x="64" y="6"/>
                    <a:pt x="59" y="5"/>
                    <a:pt x="53" y="3"/>
                  </a:cubicBezTo>
                  <a:cubicBezTo>
                    <a:pt x="52" y="3"/>
                    <a:pt x="52" y="3"/>
                    <a:pt x="51" y="2"/>
                  </a:cubicBezTo>
                  <a:cubicBezTo>
                    <a:pt x="50" y="2"/>
                    <a:pt x="48" y="2"/>
                    <a:pt x="47" y="1"/>
                  </a:cubicBezTo>
                  <a:cubicBezTo>
                    <a:pt x="47" y="1"/>
                    <a:pt x="48" y="2"/>
                    <a:pt x="48" y="3"/>
                  </a:cubicBezTo>
                  <a:cubicBezTo>
                    <a:pt x="49" y="4"/>
                    <a:pt x="50" y="4"/>
                    <a:pt x="47" y="4"/>
                  </a:cubicBezTo>
                  <a:cubicBezTo>
                    <a:pt x="46" y="4"/>
                    <a:pt x="44" y="4"/>
                    <a:pt x="43" y="4"/>
                  </a:cubicBezTo>
                  <a:cubicBezTo>
                    <a:pt x="42" y="5"/>
                    <a:pt x="42" y="4"/>
                    <a:pt x="42" y="5"/>
                  </a:cubicBezTo>
                  <a:cubicBezTo>
                    <a:pt x="42" y="6"/>
                    <a:pt x="42" y="7"/>
                    <a:pt x="42" y="8"/>
                  </a:cubicBezTo>
                  <a:cubicBezTo>
                    <a:pt x="42" y="10"/>
                    <a:pt x="42" y="10"/>
                    <a:pt x="43" y="11"/>
                  </a:cubicBezTo>
                  <a:cubicBezTo>
                    <a:pt x="44" y="11"/>
                    <a:pt x="43" y="12"/>
                    <a:pt x="42" y="12"/>
                  </a:cubicBezTo>
                  <a:cubicBezTo>
                    <a:pt x="41" y="12"/>
                    <a:pt x="40" y="12"/>
                    <a:pt x="39" y="11"/>
                  </a:cubicBezTo>
                  <a:cubicBezTo>
                    <a:pt x="38" y="9"/>
                    <a:pt x="38" y="9"/>
                    <a:pt x="37" y="9"/>
                  </a:cubicBezTo>
                  <a:cubicBezTo>
                    <a:pt x="35" y="8"/>
                    <a:pt x="34" y="8"/>
                    <a:pt x="33" y="8"/>
                  </a:cubicBezTo>
                  <a:cubicBezTo>
                    <a:pt x="32" y="8"/>
                    <a:pt x="31" y="7"/>
                    <a:pt x="30" y="6"/>
                  </a:cubicBezTo>
                  <a:cubicBezTo>
                    <a:pt x="28" y="4"/>
                    <a:pt x="25" y="2"/>
                    <a:pt x="22" y="0"/>
                  </a:cubicBezTo>
                  <a:cubicBezTo>
                    <a:pt x="20" y="1"/>
                    <a:pt x="19" y="2"/>
                    <a:pt x="17" y="3"/>
                  </a:cubicBezTo>
                  <a:cubicBezTo>
                    <a:pt x="16" y="2"/>
                    <a:pt x="16" y="1"/>
                    <a:pt x="15" y="1"/>
                  </a:cubicBezTo>
                  <a:cubicBezTo>
                    <a:pt x="15" y="2"/>
                    <a:pt x="14" y="2"/>
                    <a:pt x="14" y="2"/>
                  </a:cubicBezTo>
                  <a:cubicBezTo>
                    <a:pt x="13" y="2"/>
                    <a:pt x="13" y="3"/>
                    <a:pt x="12" y="3"/>
                  </a:cubicBezTo>
                  <a:cubicBezTo>
                    <a:pt x="14" y="2"/>
                    <a:pt x="13" y="4"/>
                    <a:pt x="12" y="4"/>
                  </a:cubicBezTo>
                  <a:cubicBezTo>
                    <a:pt x="11" y="4"/>
                    <a:pt x="11" y="4"/>
                    <a:pt x="10" y="4"/>
                  </a:cubicBezTo>
                  <a:cubicBezTo>
                    <a:pt x="9" y="4"/>
                    <a:pt x="7" y="5"/>
                    <a:pt x="7" y="6"/>
                  </a:cubicBezTo>
                  <a:cubicBezTo>
                    <a:pt x="6" y="6"/>
                    <a:pt x="7" y="9"/>
                    <a:pt x="7" y="9"/>
                  </a:cubicBezTo>
                  <a:cubicBezTo>
                    <a:pt x="6" y="9"/>
                    <a:pt x="5" y="9"/>
                    <a:pt x="5" y="9"/>
                  </a:cubicBezTo>
                  <a:cubicBezTo>
                    <a:pt x="3" y="9"/>
                    <a:pt x="3" y="12"/>
                    <a:pt x="2" y="12"/>
                  </a:cubicBezTo>
                  <a:cubicBezTo>
                    <a:pt x="4" y="12"/>
                    <a:pt x="4" y="11"/>
                    <a:pt x="4" y="13"/>
                  </a:cubicBezTo>
                  <a:cubicBezTo>
                    <a:pt x="4" y="15"/>
                    <a:pt x="5" y="15"/>
                    <a:pt x="4" y="15"/>
                  </a:cubicBezTo>
                  <a:cubicBezTo>
                    <a:pt x="2" y="16"/>
                    <a:pt x="7" y="17"/>
                    <a:pt x="5" y="18"/>
                  </a:cubicBezTo>
                  <a:cubicBezTo>
                    <a:pt x="4" y="19"/>
                    <a:pt x="3" y="17"/>
                    <a:pt x="2" y="17"/>
                  </a:cubicBezTo>
                  <a:cubicBezTo>
                    <a:pt x="0" y="18"/>
                    <a:pt x="3" y="21"/>
                    <a:pt x="3" y="22"/>
                  </a:cubicBezTo>
                  <a:cubicBezTo>
                    <a:pt x="5" y="24"/>
                    <a:pt x="8" y="25"/>
                    <a:pt x="10" y="2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84" name="Freeform 2739">
              <a:extLst>
                <a:ext uri="{FF2B5EF4-FFF2-40B4-BE49-F238E27FC236}">
                  <a16:creationId xmlns:a16="http://schemas.microsoft.com/office/drawing/2014/main" id="{72608901-F4C9-44BF-84E9-E6271025C726}"/>
                </a:ext>
              </a:extLst>
            </p:cNvPr>
            <p:cNvSpPr>
              <a:spLocks/>
            </p:cNvSpPr>
            <p:nvPr/>
          </p:nvSpPr>
          <p:spPr bwMode="auto">
            <a:xfrm>
              <a:off x="4845" y="396"/>
              <a:ext cx="371" cy="187"/>
            </a:xfrm>
            <a:custGeom>
              <a:avLst/>
              <a:gdLst>
                <a:gd name="T0" fmla="*/ 22 w 157"/>
                <a:gd name="T1" fmla="*/ 76 h 79"/>
                <a:gd name="T2" fmla="*/ 26 w 157"/>
                <a:gd name="T3" fmla="*/ 77 h 79"/>
                <a:gd name="T4" fmla="*/ 33 w 157"/>
                <a:gd name="T5" fmla="*/ 75 h 79"/>
                <a:gd name="T6" fmla="*/ 32 w 157"/>
                <a:gd name="T7" fmla="*/ 71 h 79"/>
                <a:gd name="T8" fmla="*/ 39 w 157"/>
                <a:gd name="T9" fmla="*/ 69 h 79"/>
                <a:gd name="T10" fmla="*/ 37 w 157"/>
                <a:gd name="T11" fmla="*/ 66 h 79"/>
                <a:gd name="T12" fmla="*/ 43 w 157"/>
                <a:gd name="T13" fmla="*/ 65 h 79"/>
                <a:gd name="T14" fmla="*/ 41 w 157"/>
                <a:gd name="T15" fmla="*/ 63 h 79"/>
                <a:gd name="T16" fmla="*/ 38 w 157"/>
                <a:gd name="T17" fmla="*/ 60 h 79"/>
                <a:gd name="T18" fmla="*/ 46 w 157"/>
                <a:gd name="T19" fmla="*/ 61 h 79"/>
                <a:gd name="T20" fmla="*/ 50 w 157"/>
                <a:gd name="T21" fmla="*/ 59 h 79"/>
                <a:gd name="T22" fmla="*/ 50 w 157"/>
                <a:gd name="T23" fmla="*/ 54 h 79"/>
                <a:gd name="T24" fmla="*/ 55 w 157"/>
                <a:gd name="T25" fmla="*/ 54 h 79"/>
                <a:gd name="T26" fmla="*/ 56 w 157"/>
                <a:gd name="T27" fmla="*/ 50 h 79"/>
                <a:gd name="T28" fmla="*/ 62 w 157"/>
                <a:gd name="T29" fmla="*/ 49 h 79"/>
                <a:gd name="T30" fmla="*/ 66 w 157"/>
                <a:gd name="T31" fmla="*/ 48 h 79"/>
                <a:gd name="T32" fmla="*/ 64 w 157"/>
                <a:gd name="T33" fmla="*/ 43 h 79"/>
                <a:gd name="T34" fmla="*/ 78 w 157"/>
                <a:gd name="T35" fmla="*/ 37 h 79"/>
                <a:gd name="T36" fmla="*/ 87 w 157"/>
                <a:gd name="T37" fmla="*/ 33 h 79"/>
                <a:gd name="T38" fmla="*/ 125 w 157"/>
                <a:gd name="T39" fmla="*/ 24 h 79"/>
                <a:gd name="T40" fmla="*/ 147 w 157"/>
                <a:gd name="T41" fmla="*/ 17 h 79"/>
                <a:gd name="T42" fmla="*/ 155 w 157"/>
                <a:gd name="T43" fmla="*/ 10 h 79"/>
                <a:gd name="T44" fmla="*/ 154 w 157"/>
                <a:gd name="T45" fmla="*/ 4 h 79"/>
                <a:gd name="T46" fmla="*/ 151 w 157"/>
                <a:gd name="T47" fmla="*/ 2 h 79"/>
                <a:gd name="T48" fmla="*/ 136 w 157"/>
                <a:gd name="T49" fmla="*/ 2 h 79"/>
                <a:gd name="T50" fmla="*/ 126 w 157"/>
                <a:gd name="T51" fmla="*/ 11 h 79"/>
                <a:gd name="T52" fmla="*/ 110 w 157"/>
                <a:gd name="T53" fmla="*/ 14 h 79"/>
                <a:gd name="T54" fmla="*/ 98 w 157"/>
                <a:gd name="T55" fmla="*/ 17 h 79"/>
                <a:gd name="T56" fmla="*/ 89 w 157"/>
                <a:gd name="T57" fmla="*/ 18 h 79"/>
                <a:gd name="T58" fmla="*/ 85 w 157"/>
                <a:gd name="T59" fmla="*/ 17 h 79"/>
                <a:gd name="T60" fmla="*/ 81 w 157"/>
                <a:gd name="T61" fmla="*/ 16 h 79"/>
                <a:gd name="T62" fmla="*/ 76 w 157"/>
                <a:gd name="T63" fmla="*/ 20 h 79"/>
                <a:gd name="T64" fmla="*/ 70 w 157"/>
                <a:gd name="T65" fmla="*/ 22 h 79"/>
                <a:gd name="T66" fmla="*/ 68 w 157"/>
                <a:gd name="T67" fmla="*/ 22 h 79"/>
                <a:gd name="T68" fmla="*/ 59 w 157"/>
                <a:gd name="T69" fmla="*/ 24 h 79"/>
                <a:gd name="T70" fmla="*/ 46 w 157"/>
                <a:gd name="T71" fmla="*/ 29 h 79"/>
                <a:gd name="T72" fmla="*/ 43 w 157"/>
                <a:gd name="T73" fmla="*/ 32 h 79"/>
                <a:gd name="T74" fmla="*/ 41 w 157"/>
                <a:gd name="T75" fmla="*/ 36 h 79"/>
                <a:gd name="T76" fmla="*/ 33 w 157"/>
                <a:gd name="T77" fmla="*/ 35 h 79"/>
                <a:gd name="T78" fmla="*/ 29 w 157"/>
                <a:gd name="T79" fmla="*/ 41 h 79"/>
                <a:gd name="T80" fmla="*/ 25 w 157"/>
                <a:gd name="T81" fmla="*/ 39 h 79"/>
                <a:gd name="T82" fmla="*/ 24 w 157"/>
                <a:gd name="T83" fmla="*/ 43 h 79"/>
                <a:gd name="T84" fmla="*/ 28 w 157"/>
                <a:gd name="T85" fmla="*/ 44 h 79"/>
                <a:gd name="T86" fmla="*/ 24 w 157"/>
                <a:gd name="T87" fmla="*/ 46 h 79"/>
                <a:gd name="T88" fmla="*/ 31 w 157"/>
                <a:gd name="T89" fmla="*/ 49 h 79"/>
                <a:gd name="T90" fmla="*/ 24 w 157"/>
                <a:gd name="T91" fmla="*/ 49 h 79"/>
                <a:gd name="T92" fmla="*/ 20 w 157"/>
                <a:gd name="T93" fmla="*/ 50 h 79"/>
                <a:gd name="T94" fmla="*/ 25 w 157"/>
                <a:gd name="T95" fmla="*/ 53 h 79"/>
                <a:gd name="T96" fmla="*/ 17 w 157"/>
                <a:gd name="T97" fmla="*/ 56 h 79"/>
                <a:gd name="T98" fmla="*/ 15 w 157"/>
                <a:gd name="T99" fmla="*/ 58 h 79"/>
                <a:gd name="T100" fmla="*/ 22 w 157"/>
                <a:gd name="T101" fmla="*/ 61 h 79"/>
                <a:gd name="T102" fmla="*/ 15 w 157"/>
                <a:gd name="T103" fmla="*/ 60 h 79"/>
                <a:gd name="T104" fmla="*/ 11 w 157"/>
                <a:gd name="T105" fmla="*/ 63 h 79"/>
                <a:gd name="T106" fmla="*/ 3 w 157"/>
                <a:gd name="T107" fmla="*/ 67 h 79"/>
                <a:gd name="T108" fmla="*/ 17 w 157"/>
                <a:gd name="T109" fmla="*/ 69 h 79"/>
                <a:gd name="T110" fmla="*/ 10 w 157"/>
                <a:gd name="T111" fmla="*/ 71 h 79"/>
                <a:gd name="T112" fmla="*/ 4 w 157"/>
                <a:gd name="T113" fmla="*/ 7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79">
                  <a:moveTo>
                    <a:pt x="13" y="75"/>
                  </a:moveTo>
                  <a:cubicBezTo>
                    <a:pt x="14" y="75"/>
                    <a:pt x="16" y="76"/>
                    <a:pt x="17" y="76"/>
                  </a:cubicBezTo>
                  <a:cubicBezTo>
                    <a:pt x="18" y="77"/>
                    <a:pt x="20" y="76"/>
                    <a:pt x="22" y="76"/>
                  </a:cubicBezTo>
                  <a:cubicBezTo>
                    <a:pt x="23" y="76"/>
                    <a:pt x="23" y="77"/>
                    <a:pt x="23" y="76"/>
                  </a:cubicBezTo>
                  <a:cubicBezTo>
                    <a:pt x="23" y="76"/>
                    <a:pt x="23" y="75"/>
                    <a:pt x="23" y="75"/>
                  </a:cubicBezTo>
                  <a:cubicBezTo>
                    <a:pt x="24" y="75"/>
                    <a:pt x="24" y="77"/>
                    <a:pt x="26" y="77"/>
                  </a:cubicBezTo>
                  <a:cubicBezTo>
                    <a:pt x="27" y="77"/>
                    <a:pt x="28" y="77"/>
                    <a:pt x="29" y="78"/>
                  </a:cubicBezTo>
                  <a:cubicBezTo>
                    <a:pt x="29" y="78"/>
                    <a:pt x="31" y="79"/>
                    <a:pt x="31" y="78"/>
                  </a:cubicBezTo>
                  <a:cubicBezTo>
                    <a:pt x="32" y="77"/>
                    <a:pt x="32" y="76"/>
                    <a:pt x="33" y="75"/>
                  </a:cubicBezTo>
                  <a:cubicBezTo>
                    <a:pt x="34" y="74"/>
                    <a:pt x="35" y="74"/>
                    <a:pt x="36" y="73"/>
                  </a:cubicBezTo>
                  <a:cubicBezTo>
                    <a:pt x="35" y="72"/>
                    <a:pt x="34" y="72"/>
                    <a:pt x="34" y="71"/>
                  </a:cubicBezTo>
                  <a:cubicBezTo>
                    <a:pt x="33" y="71"/>
                    <a:pt x="32" y="71"/>
                    <a:pt x="32" y="71"/>
                  </a:cubicBezTo>
                  <a:cubicBezTo>
                    <a:pt x="32" y="71"/>
                    <a:pt x="32" y="70"/>
                    <a:pt x="31" y="70"/>
                  </a:cubicBezTo>
                  <a:cubicBezTo>
                    <a:pt x="33" y="70"/>
                    <a:pt x="35" y="72"/>
                    <a:pt x="37" y="72"/>
                  </a:cubicBezTo>
                  <a:cubicBezTo>
                    <a:pt x="38" y="72"/>
                    <a:pt x="40" y="70"/>
                    <a:pt x="39" y="69"/>
                  </a:cubicBezTo>
                  <a:cubicBezTo>
                    <a:pt x="39" y="68"/>
                    <a:pt x="38" y="67"/>
                    <a:pt x="38" y="67"/>
                  </a:cubicBezTo>
                  <a:cubicBezTo>
                    <a:pt x="36" y="66"/>
                    <a:pt x="32" y="67"/>
                    <a:pt x="30" y="66"/>
                  </a:cubicBezTo>
                  <a:cubicBezTo>
                    <a:pt x="32" y="65"/>
                    <a:pt x="35" y="66"/>
                    <a:pt x="37" y="66"/>
                  </a:cubicBezTo>
                  <a:cubicBezTo>
                    <a:pt x="38" y="66"/>
                    <a:pt x="39" y="67"/>
                    <a:pt x="39" y="67"/>
                  </a:cubicBezTo>
                  <a:cubicBezTo>
                    <a:pt x="40" y="67"/>
                    <a:pt x="41" y="69"/>
                    <a:pt x="41" y="69"/>
                  </a:cubicBezTo>
                  <a:cubicBezTo>
                    <a:pt x="43" y="69"/>
                    <a:pt x="43" y="66"/>
                    <a:pt x="43" y="65"/>
                  </a:cubicBezTo>
                  <a:cubicBezTo>
                    <a:pt x="43" y="65"/>
                    <a:pt x="43" y="65"/>
                    <a:pt x="43" y="64"/>
                  </a:cubicBezTo>
                  <a:cubicBezTo>
                    <a:pt x="43" y="64"/>
                    <a:pt x="42" y="64"/>
                    <a:pt x="42" y="64"/>
                  </a:cubicBezTo>
                  <a:cubicBezTo>
                    <a:pt x="42" y="64"/>
                    <a:pt x="42" y="64"/>
                    <a:pt x="41" y="63"/>
                  </a:cubicBezTo>
                  <a:cubicBezTo>
                    <a:pt x="41" y="63"/>
                    <a:pt x="40" y="62"/>
                    <a:pt x="39" y="62"/>
                  </a:cubicBezTo>
                  <a:cubicBezTo>
                    <a:pt x="39" y="62"/>
                    <a:pt x="38" y="62"/>
                    <a:pt x="37" y="62"/>
                  </a:cubicBezTo>
                  <a:cubicBezTo>
                    <a:pt x="37" y="61"/>
                    <a:pt x="39" y="61"/>
                    <a:pt x="38" y="60"/>
                  </a:cubicBezTo>
                  <a:cubicBezTo>
                    <a:pt x="41" y="60"/>
                    <a:pt x="42" y="63"/>
                    <a:pt x="44" y="63"/>
                  </a:cubicBezTo>
                  <a:cubicBezTo>
                    <a:pt x="44" y="63"/>
                    <a:pt x="45" y="63"/>
                    <a:pt x="45" y="63"/>
                  </a:cubicBezTo>
                  <a:cubicBezTo>
                    <a:pt x="46" y="63"/>
                    <a:pt x="46" y="62"/>
                    <a:pt x="46" y="61"/>
                  </a:cubicBezTo>
                  <a:cubicBezTo>
                    <a:pt x="46" y="60"/>
                    <a:pt x="46" y="61"/>
                    <a:pt x="47" y="60"/>
                  </a:cubicBezTo>
                  <a:cubicBezTo>
                    <a:pt x="47" y="59"/>
                    <a:pt x="47" y="59"/>
                    <a:pt x="48" y="59"/>
                  </a:cubicBezTo>
                  <a:cubicBezTo>
                    <a:pt x="49" y="60"/>
                    <a:pt x="50" y="60"/>
                    <a:pt x="50" y="59"/>
                  </a:cubicBezTo>
                  <a:cubicBezTo>
                    <a:pt x="51" y="58"/>
                    <a:pt x="51" y="57"/>
                    <a:pt x="51" y="56"/>
                  </a:cubicBezTo>
                  <a:cubicBezTo>
                    <a:pt x="51" y="56"/>
                    <a:pt x="50" y="56"/>
                    <a:pt x="50" y="55"/>
                  </a:cubicBezTo>
                  <a:cubicBezTo>
                    <a:pt x="50" y="55"/>
                    <a:pt x="51" y="55"/>
                    <a:pt x="50" y="54"/>
                  </a:cubicBezTo>
                  <a:cubicBezTo>
                    <a:pt x="50" y="54"/>
                    <a:pt x="49" y="53"/>
                    <a:pt x="48" y="53"/>
                  </a:cubicBezTo>
                  <a:cubicBezTo>
                    <a:pt x="47" y="53"/>
                    <a:pt x="47" y="52"/>
                    <a:pt x="46" y="52"/>
                  </a:cubicBezTo>
                  <a:cubicBezTo>
                    <a:pt x="50" y="52"/>
                    <a:pt x="52" y="54"/>
                    <a:pt x="55" y="54"/>
                  </a:cubicBezTo>
                  <a:cubicBezTo>
                    <a:pt x="56" y="54"/>
                    <a:pt x="56" y="53"/>
                    <a:pt x="56" y="52"/>
                  </a:cubicBezTo>
                  <a:cubicBezTo>
                    <a:pt x="56" y="52"/>
                    <a:pt x="57" y="51"/>
                    <a:pt x="57" y="51"/>
                  </a:cubicBezTo>
                  <a:cubicBezTo>
                    <a:pt x="56" y="50"/>
                    <a:pt x="55" y="51"/>
                    <a:pt x="56" y="50"/>
                  </a:cubicBezTo>
                  <a:cubicBezTo>
                    <a:pt x="57" y="49"/>
                    <a:pt x="56" y="49"/>
                    <a:pt x="56" y="48"/>
                  </a:cubicBezTo>
                  <a:cubicBezTo>
                    <a:pt x="58" y="49"/>
                    <a:pt x="59" y="51"/>
                    <a:pt x="61" y="51"/>
                  </a:cubicBezTo>
                  <a:cubicBezTo>
                    <a:pt x="62" y="52"/>
                    <a:pt x="63" y="49"/>
                    <a:pt x="62" y="49"/>
                  </a:cubicBezTo>
                  <a:cubicBezTo>
                    <a:pt x="62" y="48"/>
                    <a:pt x="61" y="49"/>
                    <a:pt x="61" y="48"/>
                  </a:cubicBezTo>
                  <a:cubicBezTo>
                    <a:pt x="61" y="48"/>
                    <a:pt x="60" y="48"/>
                    <a:pt x="60" y="47"/>
                  </a:cubicBezTo>
                  <a:cubicBezTo>
                    <a:pt x="62" y="48"/>
                    <a:pt x="64" y="49"/>
                    <a:pt x="66" y="48"/>
                  </a:cubicBezTo>
                  <a:cubicBezTo>
                    <a:pt x="67" y="48"/>
                    <a:pt x="67" y="48"/>
                    <a:pt x="67" y="47"/>
                  </a:cubicBezTo>
                  <a:cubicBezTo>
                    <a:pt x="67" y="45"/>
                    <a:pt x="70" y="45"/>
                    <a:pt x="71" y="44"/>
                  </a:cubicBezTo>
                  <a:cubicBezTo>
                    <a:pt x="68" y="44"/>
                    <a:pt x="66" y="44"/>
                    <a:pt x="64" y="43"/>
                  </a:cubicBezTo>
                  <a:cubicBezTo>
                    <a:pt x="66" y="43"/>
                    <a:pt x="68" y="43"/>
                    <a:pt x="70" y="43"/>
                  </a:cubicBezTo>
                  <a:cubicBezTo>
                    <a:pt x="72" y="42"/>
                    <a:pt x="72" y="42"/>
                    <a:pt x="73" y="40"/>
                  </a:cubicBezTo>
                  <a:cubicBezTo>
                    <a:pt x="74" y="40"/>
                    <a:pt x="79" y="38"/>
                    <a:pt x="78" y="37"/>
                  </a:cubicBezTo>
                  <a:cubicBezTo>
                    <a:pt x="78" y="37"/>
                    <a:pt x="79" y="38"/>
                    <a:pt x="79" y="38"/>
                  </a:cubicBezTo>
                  <a:cubicBezTo>
                    <a:pt x="80" y="39"/>
                    <a:pt x="81" y="37"/>
                    <a:pt x="82" y="36"/>
                  </a:cubicBezTo>
                  <a:cubicBezTo>
                    <a:pt x="83" y="34"/>
                    <a:pt x="85" y="34"/>
                    <a:pt x="87" y="33"/>
                  </a:cubicBezTo>
                  <a:cubicBezTo>
                    <a:pt x="93" y="32"/>
                    <a:pt x="99" y="31"/>
                    <a:pt x="104" y="30"/>
                  </a:cubicBezTo>
                  <a:cubicBezTo>
                    <a:pt x="108" y="29"/>
                    <a:pt x="111" y="27"/>
                    <a:pt x="115" y="27"/>
                  </a:cubicBezTo>
                  <a:cubicBezTo>
                    <a:pt x="118" y="26"/>
                    <a:pt x="121" y="25"/>
                    <a:pt x="125" y="24"/>
                  </a:cubicBezTo>
                  <a:cubicBezTo>
                    <a:pt x="126" y="23"/>
                    <a:pt x="127" y="23"/>
                    <a:pt x="129" y="23"/>
                  </a:cubicBezTo>
                  <a:cubicBezTo>
                    <a:pt x="131" y="22"/>
                    <a:pt x="133" y="21"/>
                    <a:pt x="135" y="21"/>
                  </a:cubicBezTo>
                  <a:cubicBezTo>
                    <a:pt x="139" y="20"/>
                    <a:pt x="143" y="18"/>
                    <a:pt x="147" y="17"/>
                  </a:cubicBezTo>
                  <a:cubicBezTo>
                    <a:pt x="147" y="17"/>
                    <a:pt x="148" y="16"/>
                    <a:pt x="148" y="16"/>
                  </a:cubicBezTo>
                  <a:cubicBezTo>
                    <a:pt x="150" y="16"/>
                    <a:pt x="149" y="16"/>
                    <a:pt x="149" y="15"/>
                  </a:cubicBezTo>
                  <a:cubicBezTo>
                    <a:pt x="150" y="14"/>
                    <a:pt x="155" y="12"/>
                    <a:pt x="155" y="10"/>
                  </a:cubicBezTo>
                  <a:cubicBezTo>
                    <a:pt x="155" y="9"/>
                    <a:pt x="157" y="8"/>
                    <a:pt x="156" y="7"/>
                  </a:cubicBezTo>
                  <a:cubicBezTo>
                    <a:pt x="156" y="6"/>
                    <a:pt x="155" y="6"/>
                    <a:pt x="154" y="5"/>
                  </a:cubicBezTo>
                  <a:cubicBezTo>
                    <a:pt x="154" y="5"/>
                    <a:pt x="155" y="4"/>
                    <a:pt x="154" y="4"/>
                  </a:cubicBezTo>
                  <a:cubicBezTo>
                    <a:pt x="154" y="4"/>
                    <a:pt x="153" y="3"/>
                    <a:pt x="153" y="3"/>
                  </a:cubicBezTo>
                  <a:cubicBezTo>
                    <a:pt x="152" y="3"/>
                    <a:pt x="152" y="3"/>
                    <a:pt x="151" y="3"/>
                  </a:cubicBezTo>
                  <a:cubicBezTo>
                    <a:pt x="151" y="3"/>
                    <a:pt x="152" y="2"/>
                    <a:pt x="151" y="2"/>
                  </a:cubicBezTo>
                  <a:cubicBezTo>
                    <a:pt x="149" y="2"/>
                    <a:pt x="148" y="2"/>
                    <a:pt x="147" y="1"/>
                  </a:cubicBezTo>
                  <a:cubicBezTo>
                    <a:pt x="145" y="1"/>
                    <a:pt x="143" y="0"/>
                    <a:pt x="141" y="1"/>
                  </a:cubicBezTo>
                  <a:cubicBezTo>
                    <a:pt x="139" y="2"/>
                    <a:pt x="138" y="2"/>
                    <a:pt x="136" y="2"/>
                  </a:cubicBezTo>
                  <a:cubicBezTo>
                    <a:pt x="135" y="2"/>
                    <a:pt x="133" y="3"/>
                    <a:pt x="131" y="4"/>
                  </a:cubicBezTo>
                  <a:cubicBezTo>
                    <a:pt x="130" y="5"/>
                    <a:pt x="127" y="5"/>
                    <a:pt x="126" y="7"/>
                  </a:cubicBezTo>
                  <a:cubicBezTo>
                    <a:pt x="125" y="8"/>
                    <a:pt x="125" y="10"/>
                    <a:pt x="126" y="11"/>
                  </a:cubicBezTo>
                  <a:cubicBezTo>
                    <a:pt x="125" y="11"/>
                    <a:pt x="123" y="10"/>
                    <a:pt x="122" y="10"/>
                  </a:cubicBezTo>
                  <a:cubicBezTo>
                    <a:pt x="120" y="10"/>
                    <a:pt x="118" y="12"/>
                    <a:pt x="117" y="12"/>
                  </a:cubicBezTo>
                  <a:cubicBezTo>
                    <a:pt x="116" y="11"/>
                    <a:pt x="111" y="14"/>
                    <a:pt x="110" y="14"/>
                  </a:cubicBezTo>
                  <a:cubicBezTo>
                    <a:pt x="110" y="14"/>
                    <a:pt x="107" y="16"/>
                    <a:pt x="106" y="16"/>
                  </a:cubicBezTo>
                  <a:cubicBezTo>
                    <a:pt x="105" y="15"/>
                    <a:pt x="105" y="15"/>
                    <a:pt x="104" y="15"/>
                  </a:cubicBezTo>
                  <a:cubicBezTo>
                    <a:pt x="102" y="15"/>
                    <a:pt x="100" y="16"/>
                    <a:pt x="98" y="17"/>
                  </a:cubicBezTo>
                  <a:cubicBezTo>
                    <a:pt x="97" y="17"/>
                    <a:pt x="96" y="18"/>
                    <a:pt x="95" y="18"/>
                  </a:cubicBezTo>
                  <a:cubicBezTo>
                    <a:pt x="94" y="18"/>
                    <a:pt x="94" y="17"/>
                    <a:pt x="94" y="17"/>
                  </a:cubicBezTo>
                  <a:cubicBezTo>
                    <a:pt x="92" y="17"/>
                    <a:pt x="90" y="19"/>
                    <a:pt x="89" y="18"/>
                  </a:cubicBezTo>
                  <a:cubicBezTo>
                    <a:pt x="89" y="18"/>
                    <a:pt x="90" y="17"/>
                    <a:pt x="89" y="17"/>
                  </a:cubicBezTo>
                  <a:cubicBezTo>
                    <a:pt x="88" y="17"/>
                    <a:pt x="88" y="17"/>
                    <a:pt x="87" y="17"/>
                  </a:cubicBezTo>
                  <a:cubicBezTo>
                    <a:pt x="87" y="17"/>
                    <a:pt x="86" y="17"/>
                    <a:pt x="85" y="17"/>
                  </a:cubicBezTo>
                  <a:cubicBezTo>
                    <a:pt x="85" y="17"/>
                    <a:pt x="85" y="16"/>
                    <a:pt x="84" y="16"/>
                  </a:cubicBezTo>
                  <a:cubicBezTo>
                    <a:pt x="84" y="16"/>
                    <a:pt x="83" y="16"/>
                    <a:pt x="83" y="16"/>
                  </a:cubicBezTo>
                  <a:cubicBezTo>
                    <a:pt x="82" y="16"/>
                    <a:pt x="82" y="16"/>
                    <a:pt x="81" y="16"/>
                  </a:cubicBezTo>
                  <a:cubicBezTo>
                    <a:pt x="80" y="16"/>
                    <a:pt x="79" y="16"/>
                    <a:pt x="78" y="16"/>
                  </a:cubicBezTo>
                  <a:cubicBezTo>
                    <a:pt x="76" y="17"/>
                    <a:pt x="75" y="17"/>
                    <a:pt x="75" y="19"/>
                  </a:cubicBezTo>
                  <a:cubicBezTo>
                    <a:pt x="76" y="20"/>
                    <a:pt x="76" y="19"/>
                    <a:pt x="76" y="20"/>
                  </a:cubicBezTo>
                  <a:cubicBezTo>
                    <a:pt x="76" y="21"/>
                    <a:pt x="74" y="21"/>
                    <a:pt x="74" y="21"/>
                  </a:cubicBezTo>
                  <a:cubicBezTo>
                    <a:pt x="73" y="22"/>
                    <a:pt x="72" y="22"/>
                    <a:pt x="71" y="22"/>
                  </a:cubicBezTo>
                  <a:cubicBezTo>
                    <a:pt x="70" y="22"/>
                    <a:pt x="70" y="22"/>
                    <a:pt x="70" y="22"/>
                  </a:cubicBezTo>
                  <a:cubicBezTo>
                    <a:pt x="70" y="21"/>
                    <a:pt x="72" y="19"/>
                    <a:pt x="70" y="20"/>
                  </a:cubicBezTo>
                  <a:cubicBezTo>
                    <a:pt x="68" y="20"/>
                    <a:pt x="67" y="20"/>
                    <a:pt x="67" y="21"/>
                  </a:cubicBezTo>
                  <a:cubicBezTo>
                    <a:pt x="67" y="21"/>
                    <a:pt x="67" y="22"/>
                    <a:pt x="68" y="22"/>
                  </a:cubicBezTo>
                  <a:cubicBezTo>
                    <a:pt x="67" y="23"/>
                    <a:pt x="66" y="22"/>
                    <a:pt x="65" y="23"/>
                  </a:cubicBezTo>
                  <a:cubicBezTo>
                    <a:pt x="64" y="23"/>
                    <a:pt x="64" y="23"/>
                    <a:pt x="63" y="23"/>
                  </a:cubicBezTo>
                  <a:cubicBezTo>
                    <a:pt x="62" y="24"/>
                    <a:pt x="60" y="23"/>
                    <a:pt x="59" y="24"/>
                  </a:cubicBezTo>
                  <a:cubicBezTo>
                    <a:pt x="58" y="24"/>
                    <a:pt x="56" y="25"/>
                    <a:pt x="55" y="25"/>
                  </a:cubicBezTo>
                  <a:cubicBezTo>
                    <a:pt x="54" y="25"/>
                    <a:pt x="53" y="25"/>
                    <a:pt x="52" y="26"/>
                  </a:cubicBezTo>
                  <a:cubicBezTo>
                    <a:pt x="50" y="27"/>
                    <a:pt x="49" y="28"/>
                    <a:pt x="46" y="29"/>
                  </a:cubicBezTo>
                  <a:cubicBezTo>
                    <a:pt x="46" y="29"/>
                    <a:pt x="45" y="29"/>
                    <a:pt x="45" y="29"/>
                  </a:cubicBezTo>
                  <a:cubicBezTo>
                    <a:pt x="44" y="30"/>
                    <a:pt x="46" y="30"/>
                    <a:pt x="46" y="30"/>
                  </a:cubicBezTo>
                  <a:cubicBezTo>
                    <a:pt x="46" y="31"/>
                    <a:pt x="44" y="31"/>
                    <a:pt x="43" y="32"/>
                  </a:cubicBezTo>
                  <a:cubicBezTo>
                    <a:pt x="42" y="32"/>
                    <a:pt x="41" y="32"/>
                    <a:pt x="40" y="32"/>
                  </a:cubicBezTo>
                  <a:cubicBezTo>
                    <a:pt x="39" y="33"/>
                    <a:pt x="40" y="34"/>
                    <a:pt x="41" y="35"/>
                  </a:cubicBezTo>
                  <a:cubicBezTo>
                    <a:pt x="41" y="36"/>
                    <a:pt x="42" y="36"/>
                    <a:pt x="41" y="36"/>
                  </a:cubicBezTo>
                  <a:cubicBezTo>
                    <a:pt x="41" y="37"/>
                    <a:pt x="40" y="36"/>
                    <a:pt x="39" y="36"/>
                  </a:cubicBezTo>
                  <a:cubicBezTo>
                    <a:pt x="38" y="35"/>
                    <a:pt x="38" y="35"/>
                    <a:pt x="36" y="35"/>
                  </a:cubicBezTo>
                  <a:cubicBezTo>
                    <a:pt x="35" y="35"/>
                    <a:pt x="35" y="35"/>
                    <a:pt x="33" y="35"/>
                  </a:cubicBezTo>
                  <a:cubicBezTo>
                    <a:pt x="32" y="36"/>
                    <a:pt x="31" y="37"/>
                    <a:pt x="33" y="37"/>
                  </a:cubicBezTo>
                  <a:cubicBezTo>
                    <a:pt x="34" y="38"/>
                    <a:pt x="31" y="40"/>
                    <a:pt x="30" y="41"/>
                  </a:cubicBezTo>
                  <a:cubicBezTo>
                    <a:pt x="30" y="41"/>
                    <a:pt x="30" y="41"/>
                    <a:pt x="29" y="41"/>
                  </a:cubicBezTo>
                  <a:cubicBezTo>
                    <a:pt x="28" y="42"/>
                    <a:pt x="29" y="41"/>
                    <a:pt x="29" y="41"/>
                  </a:cubicBezTo>
                  <a:cubicBezTo>
                    <a:pt x="28" y="40"/>
                    <a:pt x="28" y="39"/>
                    <a:pt x="27" y="40"/>
                  </a:cubicBezTo>
                  <a:cubicBezTo>
                    <a:pt x="25" y="41"/>
                    <a:pt x="26" y="39"/>
                    <a:pt x="25" y="39"/>
                  </a:cubicBezTo>
                  <a:cubicBezTo>
                    <a:pt x="24" y="38"/>
                    <a:pt x="21" y="40"/>
                    <a:pt x="21" y="41"/>
                  </a:cubicBezTo>
                  <a:cubicBezTo>
                    <a:pt x="22" y="42"/>
                    <a:pt x="23" y="41"/>
                    <a:pt x="23" y="42"/>
                  </a:cubicBezTo>
                  <a:cubicBezTo>
                    <a:pt x="24" y="42"/>
                    <a:pt x="23" y="43"/>
                    <a:pt x="24" y="43"/>
                  </a:cubicBezTo>
                  <a:cubicBezTo>
                    <a:pt x="25" y="43"/>
                    <a:pt x="26" y="43"/>
                    <a:pt x="27" y="43"/>
                  </a:cubicBezTo>
                  <a:cubicBezTo>
                    <a:pt x="29" y="42"/>
                    <a:pt x="29" y="42"/>
                    <a:pt x="27" y="44"/>
                  </a:cubicBezTo>
                  <a:cubicBezTo>
                    <a:pt x="28" y="44"/>
                    <a:pt x="28" y="44"/>
                    <a:pt x="28" y="44"/>
                  </a:cubicBezTo>
                  <a:cubicBezTo>
                    <a:pt x="29" y="44"/>
                    <a:pt x="31" y="43"/>
                    <a:pt x="30" y="44"/>
                  </a:cubicBezTo>
                  <a:cubicBezTo>
                    <a:pt x="30" y="45"/>
                    <a:pt x="28" y="45"/>
                    <a:pt x="27" y="45"/>
                  </a:cubicBezTo>
                  <a:cubicBezTo>
                    <a:pt x="26" y="45"/>
                    <a:pt x="25" y="46"/>
                    <a:pt x="24" y="46"/>
                  </a:cubicBezTo>
                  <a:cubicBezTo>
                    <a:pt x="24" y="46"/>
                    <a:pt x="21" y="46"/>
                    <a:pt x="23" y="47"/>
                  </a:cubicBezTo>
                  <a:cubicBezTo>
                    <a:pt x="24" y="48"/>
                    <a:pt x="28" y="46"/>
                    <a:pt x="29" y="47"/>
                  </a:cubicBezTo>
                  <a:cubicBezTo>
                    <a:pt x="29" y="48"/>
                    <a:pt x="30" y="49"/>
                    <a:pt x="31" y="49"/>
                  </a:cubicBezTo>
                  <a:cubicBezTo>
                    <a:pt x="32" y="49"/>
                    <a:pt x="33" y="49"/>
                    <a:pt x="34" y="49"/>
                  </a:cubicBezTo>
                  <a:cubicBezTo>
                    <a:pt x="32" y="51"/>
                    <a:pt x="29" y="49"/>
                    <a:pt x="27" y="49"/>
                  </a:cubicBezTo>
                  <a:cubicBezTo>
                    <a:pt x="26" y="49"/>
                    <a:pt x="25" y="49"/>
                    <a:pt x="24" y="49"/>
                  </a:cubicBezTo>
                  <a:cubicBezTo>
                    <a:pt x="24" y="50"/>
                    <a:pt x="24" y="50"/>
                    <a:pt x="23" y="50"/>
                  </a:cubicBezTo>
                  <a:cubicBezTo>
                    <a:pt x="23" y="50"/>
                    <a:pt x="23" y="49"/>
                    <a:pt x="22" y="49"/>
                  </a:cubicBezTo>
                  <a:cubicBezTo>
                    <a:pt x="22" y="49"/>
                    <a:pt x="20" y="49"/>
                    <a:pt x="20" y="50"/>
                  </a:cubicBezTo>
                  <a:cubicBezTo>
                    <a:pt x="19" y="51"/>
                    <a:pt x="21" y="52"/>
                    <a:pt x="22" y="52"/>
                  </a:cubicBezTo>
                  <a:cubicBezTo>
                    <a:pt x="23" y="53"/>
                    <a:pt x="23" y="52"/>
                    <a:pt x="24" y="53"/>
                  </a:cubicBezTo>
                  <a:cubicBezTo>
                    <a:pt x="25" y="53"/>
                    <a:pt x="25" y="53"/>
                    <a:pt x="25" y="53"/>
                  </a:cubicBezTo>
                  <a:cubicBezTo>
                    <a:pt x="26" y="53"/>
                    <a:pt x="26" y="53"/>
                    <a:pt x="27" y="53"/>
                  </a:cubicBezTo>
                  <a:cubicBezTo>
                    <a:pt x="24" y="55"/>
                    <a:pt x="21" y="54"/>
                    <a:pt x="19" y="54"/>
                  </a:cubicBezTo>
                  <a:cubicBezTo>
                    <a:pt x="18" y="55"/>
                    <a:pt x="15" y="55"/>
                    <a:pt x="17" y="56"/>
                  </a:cubicBezTo>
                  <a:cubicBezTo>
                    <a:pt x="18" y="57"/>
                    <a:pt x="20" y="56"/>
                    <a:pt x="21" y="57"/>
                  </a:cubicBezTo>
                  <a:cubicBezTo>
                    <a:pt x="20" y="57"/>
                    <a:pt x="19" y="58"/>
                    <a:pt x="17" y="58"/>
                  </a:cubicBezTo>
                  <a:cubicBezTo>
                    <a:pt x="16" y="57"/>
                    <a:pt x="16" y="57"/>
                    <a:pt x="15" y="58"/>
                  </a:cubicBezTo>
                  <a:cubicBezTo>
                    <a:pt x="15" y="58"/>
                    <a:pt x="17" y="59"/>
                    <a:pt x="18" y="59"/>
                  </a:cubicBezTo>
                  <a:cubicBezTo>
                    <a:pt x="19" y="59"/>
                    <a:pt x="20" y="60"/>
                    <a:pt x="21" y="60"/>
                  </a:cubicBezTo>
                  <a:cubicBezTo>
                    <a:pt x="21" y="60"/>
                    <a:pt x="22" y="60"/>
                    <a:pt x="22" y="61"/>
                  </a:cubicBezTo>
                  <a:cubicBezTo>
                    <a:pt x="22" y="61"/>
                    <a:pt x="21" y="61"/>
                    <a:pt x="20" y="61"/>
                  </a:cubicBezTo>
                  <a:cubicBezTo>
                    <a:pt x="19" y="61"/>
                    <a:pt x="18" y="60"/>
                    <a:pt x="18" y="60"/>
                  </a:cubicBezTo>
                  <a:cubicBezTo>
                    <a:pt x="16" y="60"/>
                    <a:pt x="16" y="60"/>
                    <a:pt x="15" y="60"/>
                  </a:cubicBezTo>
                  <a:cubicBezTo>
                    <a:pt x="14" y="60"/>
                    <a:pt x="13" y="60"/>
                    <a:pt x="12" y="61"/>
                  </a:cubicBezTo>
                  <a:cubicBezTo>
                    <a:pt x="12" y="61"/>
                    <a:pt x="11" y="61"/>
                    <a:pt x="10" y="62"/>
                  </a:cubicBezTo>
                  <a:cubicBezTo>
                    <a:pt x="9" y="63"/>
                    <a:pt x="10" y="63"/>
                    <a:pt x="11" y="63"/>
                  </a:cubicBezTo>
                  <a:cubicBezTo>
                    <a:pt x="12" y="64"/>
                    <a:pt x="10" y="64"/>
                    <a:pt x="10" y="64"/>
                  </a:cubicBezTo>
                  <a:cubicBezTo>
                    <a:pt x="8" y="65"/>
                    <a:pt x="7" y="65"/>
                    <a:pt x="5" y="66"/>
                  </a:cubicBezTo>
                  <a:cubicBezTo>
                    <a:pt x="4" y="66"/>
                    <a:pt x="3" y="67"/>
                    <a:pt x="3" y="67"/>
                  </a:cubicBezTo>
                  <a:cubicBezTo>
                    <a:pt x="2" y="68"/>
                    <a:pt x="0" y="67"/>
                    <a:pt x="0" y="67"/>
                  </a:cubicBezTo>
                  <a:cubicBezTo>
                    <a:pt x="3" y="69"/>
                    <a:pt x="7" y="69"/>
                    <a:pt x="11" y="69"/>
                  </a:cubicBezTo>
                  <a:cubicBezTo>
                    <a:pt x="13" y="69"/>
                    <a:pt x="15" y="69"/>
                    <a:pt x="17" y="69"/>
                  </a:cubicBezTo>
                  <a:cubicBezTo>
                    <a:pt x="16" y="69"/>
                    <a:pt x="14" y="70"/>
                    <a:pt x="13" y="70"/>
                  </a:cubicBezTo>
                  <a:cubicBezTo>
                    <a:pt x="12" y="70"/>
                    <a:pt x="12" y="70"/>
                    <a:pt x="11" y="70"/>
                  </a:cubicBezTo>
                  <a:cubicBezTo>
                    <a:pt x="11" y="70"/>
                    <a:pt x="10" y="71"/>
                    <a:pt x="10" y="71"/>
                  </a:cubicBezTo>
                  <a:cubicBezTo>
                    <a:pt x="8" y="71"/>
                    <a:pt x="7" y="72"/>
                    <a:pt x="7" y="72"/>
                  </a:cubicBezTo>
                  <a:cubicBezTo>
                    <a:pt x="6" y="73"/>
                    <a:pt x="5" y="73"/>
                    <a:pt x="5" y="74"/>
                  </a:cubicBezTo>
                  <a:cubicBezTo>
                    <a:pt x="5" y="75"/>
                    <a:pt x="5" y="75"/>
                    <a:pt x="4" y="75"/>
                  </a:cubicBezTo>
                  <a:cubicBezTo>
                    <a:pt x="5" y="76"/>
                    <a:pt x="7" y="76"/>
                    <a:pt x="8" y="76"/>
                  </a:cubicBezTo>
                  <a:cubicBezTo>
                    <a:pt x="10" y="75"/>
                    <a:pt x="12" y="74"/>
                    <a:pt x="13" y="7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85" name="Freeform 2740">
              <a:extLst>
                <a:ext uri="{FF2B5EF4-FFF2-40B4-BE49-F238E27FC236}">
                  <a16:creationId xmlns:a16="http://schemas.microsoft.com/office/drawing/2014/main" id="{7C48FB10-F83E-45F1-90FE-0CB05B715F38}"/>
                </a:ext>
              </a:extLst>
            </p:cNvPr>
            <p:cNvSpPr>
              <a:spLocks/>
            </p:cNvSpPr>
            <p:nvPr/>
          </p:nvSpPr>
          <p:spPr bwMode="auto">
            <a:xfrm>
              <a:off x="6918" y="550"/>
              <a:ext cx="97" cy="33"/>
            </a:xfrm>
            <a:custGeom>
              <a:avLst/>
              <a:gdLst>
                <a:gd name="T0" fmla="*/ 2 w 41"/>
                <a:gd name="T1" fmla="*/ 11 h 14"/>
                <a:gd name="T2" fmla="*/ 5 w 41"/>
                <a:gd name="T3" fmla="*/ 11 h 14"/>
                <a:gd name="T4" fmla="*/ 10 w 41"/>
                <a:gd name="T5" fmla="*/ 9 h 14"/>
                <a:gd name="T6" fmla="*/ 15 w 41"/>
                <a:gd name="T7" fmla="*/ 10 h 14"/>
                <a:gd name="T8" fmla="*/ 26 w 41"/>
                <a:gd name="T9" fmla="*/ 12 h 14"/>
                <a:gd name="T10" fmla="*/ 29 w 41"/>
                <a:gd name="T11" fmla="*/ 13 h 14"/>
                <a:gd name="T12" fmla="*/ 32 w 41"/>
                <a:gd name="T13" fmla="*/ 13 h 14"/>
                <a:gd name="T14" fmla="*/ 38 w 41"/>
                <a:gd name="T15" fmla="*/ 14 h 14"/>
                <a:gd name="T16" fmla="*/ 41 w 41"/>
                <a:gd name="T17" fmla="*/ 13 h 14"/>
                <a:gd name="T18" fmla="*/ 41 w 41"/>
                <a:gd name="T19" fmla="*/ 12 h 14"/>
                <a:gd name="T20" fmla="*/ 40 w 41"/>
                <a:gd name="T21" fmla="*/ 11 h 14"/>
                <a:gd name="T22" fmla="*/ 41 w 41"/>
                <a:gd name="T23" fmla="*/ 9 h 14"/>
                <a:gd name="T24" fmla="*/ 37 w 41"/>
                <a:gd name="T25" fmla="*/ 5 h 14"/>
                <a:gd name="T26" fmla="*/ 32 w 41"/>
                <a:gd name="T27" fmla="*/ 2 h 14"/>
                <a:gd name="T28" fmla="*/ 25 w 41"/>
                <a:gd name="T29" fmla="*/ 0 h 14"/>
                <a:gd name="T30" fmla="*/ 17 w 41"/>
                <a:gd name="T31" fmla="*/ 1 h 14"/>
                <a:gd name="T32" fmla="*/ 12 w 41"/>
                <a:gd name="T33" fmla="*/ 5 h 14"/>
                <a:gd name="T34" fmla="*/ 6 w 41"/>
                <a:gd name="T35" fmla="*/ 9 h 14"/>
                <a:gd name="T36" fmla="*/ 2 w 41"/>
                <a:gd name="T37"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1" h="14">
                  <a:moveTo>
                    <a:pt x="2" y="11"/>
                  </a:moveTo>
                  <a:cubicBezTo>
                    <a:pt x="3" y="11"/>
                    <a:pt x="4" y="11"/>
                    <a:pt x="5" y="11"/>
                  </a:cubicBezTo>
                  <a:cubicBezTo>
                    <a:pt x="7" y="11"/>
                    <a:pt x="8" y="10"/>
                    <a:pt x="10" y="9"/>
                  </a:cubicBezTo>
                  <a:cubicBezTo>
                    <a:pt x="12" y="9"/>
                    <a:pt x="13" y="9"/>
                    <a:pt x="15" y="10"/>
                  </a:cubicBezTo>
                  <a:cubicBezTo>
                    <a:pt x="19" y="11"/>
                    <a:pt x="22" y="12"/>
                    <a:pt x="26" y="12"/>
                  </a:cubicBezTo>
                  <a:cubicBezTo>
                    <a:pt x="27" y="12"/>
                    <a:pt x="28" y="13"/>
                    <a:pt x="29" y="13"/>
                  </a:cubicBezTo>
                  <a:cubicBezTo>
                    <a:pt x="30" y="13"/>
                    <a:pt x="31" y="13"/>
                    <a:pt x="32" y="13"/>
                  </a:cubicBezTo>
                  <a:cubicBezTo>
                    <a:pt x="33" y="13"/>
                    <a:pt x="36" y="14"/>
                    <a:pt x="38" y="14"/>
                  </a:cubicBezTo>
                  <a:cubicBezTo>
                    <a:pt x="38" y="14"/>
                    <a:pt x="40" y="14"/>
                    <a:pt x="41" y="13"/>
                  </a:cubicBezTo>
                  <a:cubicBezTo>
                    <a:pt x="41" y="13"/>
                    <a:pt x="41" y="13"/>
                    <a:pt x="41" y="12"/>
                  </a:cubicBezTo>
                  <a:cubicBezTo>
                    <a:pt x="41" y="12"/>
                    <a:pt x="40" y="12"/>
                    <a:pt x="40" y="11"/>
                  </a:cubicBezTo>
                  <a:cubicBezTo>
                    <a:pt x="41" y="10"/>
                    <a:pt x="41" y="10"/>
                    <a:pt x="41" y="9"/>
                  </a:cubicBezTo>
                  <a:cubicBezTo>
                    <a:pt x="40" y="8"/>
                    <a:pt x="38" y="6"/>
                    <a:pt x="37" y="5"/>
                  </a:cubicBezTo>
                  <a:cubicBezTo>
                    <a:pt x="35" y="4"/>
                    <a:pt x="34" y="4"/>
                    <a:pt x="32" y="2"/>
                  </a:cubicBezTo>
                  <a:cubicBezTo>
                    <a:pt x="30" y="1"/>
                    <a:pt x="27" y="0"/>
                    <a:pt x="25" y="0"/>
                  </a:cubicBezTo>
                  <a:cubicBezTo>
                    <a:pt x="22" y="0"/>
                    <a:pt x="20" y="1"/>
                    <a:pt x="17" y="1"/>
                  </a:cubicBezTo>
                  <a:cubicBezTo>
                    <a:pt x="15" y="0"/>
                    <a:pt x="14" y="3"/>
                    <a:pt x="12" y="5"/>
                  </a:cubicBezTo>
                  <a:cubicBezTo>
                    <a:pt x="11" y="8"/>
                    <a:pt x="9" y="8"/>
                    <a:pt x="6" y="9"/>
                  </a:cubicBezTo>
                  <a:cubicBezTo>
                    <a:pt x="5" y="9"/>
                    <a:pt x="0" y="9"/>
                    <a:pt x="2" y="1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86" name="Freeform 2741">
              <a:extLst>
                <a:ext uri="{FF2B5EF4-FFF2-40B4-BE49-F238E27FC236}">
                  <a16:creationId xmlns:a16="http://schemas.microsoft.com/office/drawing/2014/main" id="{8C215D79-3A5D-46D4-90A0-DB6E8FF08403}"/>
                </a:ext>
              </a:extLst>
            </p:cNvPr>
            <p:cNvSpPr>
              <a:spLocks/>
            </p:cNvSpPr>
            <p:nvPr/>
          </p:nvSpPr>
          <p:spPr bwMode="auto">
            <a:xfrm>
              <a:off x="4890" y="200"/>
              <a:ext cx="35" cy="4"/>
            </a:xfrm>
            <a:custGeom>
              <a:avLst/>
              <a:gdLst>
                <a:gd name="T0" fmla="*/ 8 w 15"/>
                <a:gd name="T1" fmla="*/ 2 h 2"/>
                <a:gd name="T2" fmla="*/ 10 w 15"/>
                <a:gd name="T3" fmla="*/ 2 h 2"/>
                <a:gd name="T4" fmla="*/ 12 w 15"/>
                <a:gd name="T5" fmla="*/ 2 h 2"/>
                <a:gd name="T6" fmla="*/ 15 w 15"/>
                <a:gd name="T7" fmla="*/ 1 h 2"/>
                <a:gd name="T8" fmla="*/ 0 w 15"/>
                <a:gd name="T9" fmla="*/ 0 h 2"/>
                <a:gd name="T10" fmla="*/ 1 w 15"/>
                <a:gd name="T11" fmla="*/ 0 h 2"/>
                <a:gd name="T12" fmla="*/ 2 w 15"/>
                <a:gd name="T13" fmla="*/ 2 h 2"/>
                <a:gd name="T14" fmla="*/ 4 w 15"/>
                <a:gd name="T15" fmla="*/ 2 h 2"/>
                <a:gd name="T16" fmla="*/ 8 w 15"/>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2">
                  <a:moveTo>
                    <a:pt x="8" y="2"/>
                  </a:moveTo>
                  <a:cubicBezTo>
                    <a:pt x="9" y="2"/>
                    <a:pt x="9" y="2"/>
                    <a:pt x="10" y="2"/>
                  </a:cubicBezTo>
                  <a:cubicBezTo>
                    <a:pt x="10" y="2"/>
                    <a:pt x="11" y="2"/>
                    <a:pt x="12" y="2"/>
                  </a:cubicBezTo>
                  <a:cubicBezTo>
                    <a:pt x="13" y="2"/>
                    <a:pt x="15" y="2"/>
                    <a:pt x="15" y="1"/>
                  </a:cubicBezTo>
                  <a:cubicBezTo>
                    <a:pt x="10" y="0"/>
                    <a:pt x="5" y="0"/>
                    <a:pt x="0" y="0"/>
                  </a:cubicBezTo>
                  <a:cubicBezTo>
                    <a:pt x="0" y="0"/>
                    <a:pt x="1" y="0"/>
                    <a:pt x="1" y="0"/>
                  </a:cubicBezTo>
                  <a:cubicBezTo>
                    <a:pt x="2" y="1"/>
                    <a:pt x="2" y="1"/>
                    <a:pt x="2" y="2"/>
                  </a:cubicBezTo>
                  <a:cubicBezTo>
                    <a:pt x="3" y="2"/>
                    <a:pt x="3" y="2"/>
                    <a:pt x="4" y="2"/>
                  </a:cubicBezTo>
                  <a:cubicBezTo>
                    <a:pt x="5" y="2"/>
                    <a:pt x="7" y="2"/>
                    <a:pt x="8"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87" name="Freeform 2742">
              <a:extLst>
                <a:ext uri="{FF2B5EF4-FFF2-40B4-BE49-F238E27FC236}">
                  <a16:creationId xmlns:a16="http://schemas.microsoft.com/office/drawing/2014/main" id="{6641FE4F-B3C4-4A24-9C2F-0E1DBB1C8A5C}"/>
                </a:ext>
              </a:extLst>
            </p:cNvPr>
            <p:cNvSpPr>
              <a:spLocks/>
            </p:cNvSpPr>
            <p:nvPr/>
          </p:nvSpPr>
          <p:spPr bwMode="auto">
            <a:xfrm>
              <a:off x="4675" y="188"/>
              <a:ext cx="122" cy="47"/>
            </a:xfrm>
            <a:custGeom>
              <a:avLst/>
              <a:gdLst>
                <a:gd name="T0" fmla="*/ 17 w 52"/>
                <a:gd name="T1" fmla="*/ 9 h 20"/>
                <a:gd name="T2" fmla="*/ 15 w 52"/>
                <a:gd name="T3" fmla="*/ 9 h 20"/>
                <a:gd name="T4" fmla="*/ 8 w 52"/>
                <a:gd name="T5" fmla="*/ 11 h 20"/>
                <a:gd name="T6" fmla="*/ 16 w 52"/>
                <a:gd name="T7" fmla="*/ 12 h 20"/>
                <a:gd name="T8" fmla="*/ 10 w 52"/>
                <a:gd name="T9" fmla="*/ 13 h 20"/>
                <a:gd name="T10" fmla="*/ 16 w 52"/>
                <a:gd name="T11" fmla="*/ 14 h 20"/>
                <a:gd name="T12" fmla="*/ 14 w 52"/>
                <a:gd name="T13" fmla="*/ 15 h 20"/>
                <a:gd name="T14" fmla="*/ 7 w 52"/>
                <a:gd name="T15" fmla="*/ 14 h 20"/>
                <a:gd name="T16" fmla="*/ 2 w 52"/>
                <a:gd name="T17" fmla="*/ 14 h 20"/>
                <a:gd name="T18" fmla="*/ 1 w 52"/>
                <a:gd name="T19" fmla="*/ 16 h 20"/>
                <a:gd name="T20" fmla="*/ 4 w 52"/>
                <a:gd name="T21" fmla="*/ 18 h 20"/>
                <a:gd name="T22" fmla="*/ 7 w 52"/>
                <a:gd name="T23" fmla="*/ 17 h 20"/>
                <a:gd name="T24" fmla="*/ 15 w 52"/>
                <a:gd name="T25" fmla="*/ 18 h 20"/>
                <a:gd name="T26" fmla="*/ 13 w 52"/>
                <a:gd name="T27" fmla="*/ 18 h 20"/>
                <a:gd name="T28" fmla="*/ 10 w 52"/>
                <a:gd name="T29" fmla="*/ 20 h 20"/>
                <a:gd name="T30" fmla="*/ 19 w 52"/>
                <a:gd name="T31" fmla="*/ 19 h 20"/>
                <a:gd name="T32" fmla="*/ 25 w 52"/>
                <a:gd name="T33" fmla="*/ 18 h 20"/>
                <a:gd name="T34" fmla="*/ 25 w 52"/>
                <a:gd name="T35" fmla="*/ 17 h 20"/>
                <a:gd name="T36" fmla="*/ 25 w 52"/>
                <a:gd name="T37" fmla="*/ 16 h 20"/>
                <a:gd name="T38" fmla="*/ 23 w 52"/>
                <a:gd name="T39" fmla="*/ 13 h 20"/>
                <a:gd name="T40" fmla="*/ 27 w 52"/>
                <a:gd name="T41" fmla="*/ 12 h 20"/>
                <a:gd name="T42" fmla="*/ 38 w 52"/>
                <a:gd name="T43" fmla="*/ 9 h 20"/>
                <a:gd name="T44" fmla="*/ 52 w 52"/>
                <a:gd name="T45" fmla="*/ 5 h 20"/>
                <a:gd name="T46" fmla="*/ 49 w 52"/>
                <a:gd name="T47" fmla="*/ 4 h 20"/>
                <a:gd name="T48" fmla="*/ 47 w 52"/>
                <a:gd name="T49" fmla="*/ 4 h 20"/>
                <a:gd name="T50" fmla="*/ 46 w 52"/>
                <a:gd name="T51" fmla="*/ 4 h 20"/>
                <a:gd name="T52" fmla="*/ 44 w 52"/>
                <a:gd name="T53" fmla="*/ 1 h 20"/>
                <a:gd name="T54" fmla="*/ 40 w 52"/>
                <a:gd name="T55" fmla="*/ 1 h 20"/>
                <a:gd name="T56" fmla="*/ 36 w 52"/>
                <a:gd name="T57" fmla="*/ 0 h 20"/>
                <a:gd name="T58" fmla="*/ 33 w 52"/>
                <a:gd name="T59" fmla="*/ 1 h 20"/>
                <a:gd name="T60" fmla="*/ 30 w 52"/>
                <a:gd name="T61" fmla="*/ 2 h 20"/>
                <a:gd name="T62" fmla="*/ 24 w 52"/>
                <a:gd name="T63" fmla="*/ 5 h 20"/>
                <a:gd name="T64" fmla="*/ 27 w 52"/>
                <a:gd name="T65" fmla="*/ 5 h 20"/>
                <a:gd name="T66" fmla="*/ 27 w 52"/>
                <a:gd name="T67" fmla="*/ 6 h 20"/>
                <a:gd name="T68" fmla="*/ 30 w 52"/>
                <a:gd name="T69" fmla="*/ 5 h 20"/>
                <a:gd name="T70" fmla="*/ 31 w 52"/>
                <a:gd name="T71" fmla="*/ 7 h 20"/>
                <a:gd name="T72" fmla="*/ 29 w 52"/>
                <a:gd name="T73" fmla="*/ 7 h 20"/>
                <a:gd name="T74" fmla="*/ 28 w 52"/>
                <a:gd name="T75" fmla="*/ 8 h 20"/>
                <a:gd name="T76" fmla="*/ 27 w 52"/>
                <a:gd name="T77" fmla="*/ 9 h 20"/>
                <a:gd name="T78" fmla="*/ 25 w 52"/>
                <a:gd name="T79" fmla="*/ 10 h 20"/>
                <a:gd name="T80" fmla="*/ 23 w 52"/>
                <a:gd name="T81" fmla="*/ 10 h 20"/>
                <a:gd name="T82" fmla="*/ 22 w 52"/>
                <a:gd name="T83" fmla="*/ 10 h 20"/>
                <a:gd name="T84" fmla="*/ 18 w 52"/>
                <a:gd name="T85" fmla="*/ 9 h 20"/>
                <a:gd name="T86" fmla="*/ 17 w 52"/>
                <a:gd name="T87"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 h="20">
                  <a:moveTo>
                    <a:pt x="17" y="9"/>
                  </a:moveTo>
                  <a:cubicBezTo>
                    <a:pt x="16" y="9"/>
                    <a:pt x="16" y="10"/>
                    <a:pt x="15" y="9"/>
                  </a:cubicBezTo>
                  <a:cubicBezTo>
                    <a:pt x="13" y="9"/>
                    <a:pt x="9" y="10"/>
                    <a:pt x="8" y="11"/>
                  </a:cubicBezTo>
                  <a:cubicBezTo>
                    <a:pt x="11" y="12"/>
                    <a:pt x="14" y="10"/>
                    <a:pt x="16" y="12"/>
                  </a:cubicBezTo>
                  <a:cubicBezTo>
                    <a:pt x="16" y="12"/>
                    <a:pt x="11" y="12"/>
                    <a:pt x="10" y="13"/>
                  </a:cubicBezTo>
                  <a:cubicBezTo>
                    <a:pt x="10" y="13"/>
                    <a:pt x="15" y="14"/>
                    <a:pt x="16" y="14"/>
                  </a:cubicBezTo>
                  <a:cubicBezTo>
                    <a:pt x="15" y="14"/>
                    <a:pt x="15" y="14"/>
                    <a:pt x="14" y="15"/>
                  </a:cubicBezTo>
                  <a:cubicBezTo>
                    <a:pt x="14" y="15"/>
                    <a:pt x="7" y="14"/>
                    <a:pt x="7" y="14"/>
                  </a:cubicBezTo>
                  <a:cubicBezTo>
                    <a:pt x="5" y="13"/>
                    <a:pt x="4" y="13"/>
                    <a:pt x="2" y="14"/>
                  </a:cubicBezTo>
                  <a:cubicBezTo>
                    <a:pt x="1" y="15"/>
                    <a:pt x="0" y="15"/>
                    <a:pt x="1" y="16"/>
                  </a:cubicBezTo>
                  <a:cubicBezTo>
                    <a:pt x="2" y="16"/>
                    <a:pt x="3" y="18"/>
                    <a:pt x="4" y="18"/>
                  </a:cubicBezTo>
                  <a:cubicBezTo>
                    <a:pt x="5" y="18"/>
                    <a:pt x="5" y="18"/>
                    <a:pt x="7" y="17"/>
                  </a:cubicBezTo>
                  <a:cubicBezTo>
                    <a:pt x="9" y="16"/>
                    <a:pt x="13" y="16"/>
                    <a:pt x="15" y="18"/>
                  </a:cubicBezTo>
                  <a:cubicBezTo>
                    <a:pt x="14" y="18"/>
                    <a:pt x="13" y="18"/>
                    <a:pt x="13" y="18"/>
                  </a:cubicBezTo>
                  <a:cubicBezTo>
                    <a:pt x="11" y="18"/>
                    <a:pt x="11" y="19"/>
                    <a:pt x="10" y="20"/>
                  </a:cubicBezTo>
                  <a:cubicBezTo>
                    <a:pt x="13" y="19"/>
                    <a:pt x="16" y="19"/>
                    <a:pt x="19" y="19"/>
                  </a:cubicBezTo>
                  <a:cubicBezTo>
                    <a:pt x="21" y="19"/>
                    <a:pt x="24" y="19"/>
                    <a:pt x="25" y="18"/>
                  </a:cubicBezTo>
                  <a:cubicBezTo>
                    <a:pt x="26" y="17"/>
                    <a:pt x="25" y="18"/>
                    <a:pt x="25" y="17"/>
                  </a:cubicBezTo>
                  <a:cubicBezTo>
                    <a:pt x="25" y="17"/>
                    <a:pt x="25" y="16"/>
                    <a:pt x="25" y="16"/>
                  </a:cubicBezTo>
                  <a:cubicBezTo>
                    <a:pt x="24" y="16"/>
                    <a:pt x="22" y="15"/>
                    <a:pt x="23" y="13"/>
                  </a:cubicBezTo>
                  <a:cubicBezTo>
                    <a:pt x="23" y="13"/>
                    <a:pt x="27" y="12"/>
                    <a:pt x="27" y="12"/>
                  </a:cubicBezTo>
                  <a:cubicBezTo>
                    <a:pt x="31" y="11"/>
                    <a:pt x="34" y="10"/>
                    <a:pt x="38" y="9"/>
                  </a:cubicBezTo>
                  <a:cubicBezTo>
                    <a:pt x="43" y="8"/>
                    <a:pt x="47" y="7"/>
                    <a:pt x="52" y="5"/>
                  </a:cubicBezTo>
                  <a:cubicBezTo>
                    <a:pt x="51" y="5"/>
                    <a:pt x="50" y="5"/>
                    <a:pt x="49" y="4"/>
                  </a:cubicBezTo>
                  <a:cubicBezTo>
                    <a:pt x="48" y="4"/>
                    <a:pt x="48" y="3"/>
                    <a:pt x="47" y="4"/>
                  </a:cubicBezTo>
                  <a:cubicBezTo>
                    <a:pt x="46" y="4"/>
                    <a:pt x="46" y="5"/>
                    <a:pt x="46" y="4"/>
                  </a:cubicBezTo>
                  <a:cubicBezTo>
                    <a:pt x="45" y="3"/>
                    <a:pt x="45" y="1"/>
                    <a:pt x="44" y="1"/>
                  </a:cubicBezTo>
                  <a:cubicBezTo>
                    <a:pt x="43" y="0"/>
                    <a:pt x="42" y="1"/>
                    <a:pt x="40" y="1"/>
                  </a:cubicBezTo>
                  <a:cubicBezTo>
                    <a:pt x="39" y="1"/>
                    <a:pt x="38" y="0"/>
                    <a:pt x="36" y="0"/>
                  </a:cubicBezTo>
                  <a:cubicBezTo>
                    <a:pt x="35" y="0"/>
                    <a:pt x="34" y="1"/>
                    <a:pt x="33" y="1"/>
                  </a:cubicBezTo>
                  <a:cubicBezTo>
                    <a:pt x="32" y="1"/>
                    <a:pt x="31" y="2"/>
                    <a:pt x="30" y="2"/>
                  </a:cubicBezTo>
                  <a:cubicBezTo>
                    <a:pt x="29" y="3"/>
                    <a:pt x="24" y="3"/>
                    <a:pt x="24" y="5"/>
                  </a:cubicBezTo>
                  <a:cubicBezTo>
                    <a:pt x="24" y="6"/>
                    <a:pt x="26" y="5"/>
                    <a:pt x="27" y="5"/>
                  </a:cubicBezTo>
                  <a:cubicBezTo>
                    <a:pt x="27" y="5"/>
                    <a:pt x="27" y="5"/>
                    <a:pt x="27" y="6"/>
                  </a:cubicBezTo>
                  <a:cubicBezTo>
                    <a:pt x="28" y="6"/>
                    <a:pt x="29" y="5"/>
                    <a:pt x="30" y="5"/>
                  </a:cubicBezTo>
                  <a:cubicBezTo>
                    <a:pt x="31" y="6"/>
                    <a:pt x="32" y="6"/>
                    <a:pt x="31" y="7"/>
                  </a:cubicBezTo>
                  <a:cubicBezTo>
                    <a:pt x="30" y="7"/>
                    <a:pt x="29" y="6"/>
                    <a:pt x="29" y="7"/>
                  </a:cubicBezTo>
                  <a:cubicBezTo>
                    <a:pt x="28" y="7"/>
                    <a:pt x="28" y="8"/>
                    <a:pt x="28" y="8"/>
                  </a:cubicBezTo>
                  <a:cubicBezTo>
                    <a:pt x="27" y="9"/>
                    <a:pt x="27" y="8"/>
                    <a:pt x="27" y="9"/>
                  </a:cubicBezTo>
                  <a:cubicBezTo>
                    <a:pt x="27" y="10"/>
                    <a:pt x="26" y="10"/>
                    <a:pt x="25" y="10"/>
                  </a:cubicBezTo>
                  <a:cubicBezTo>
                    <a:pt x="24" y="10"/>
                    <a:pt x="24" y="10"/>
                    <a:pt x="23" y="10"/>
                  </a:cubicBezTo>
                  <a:cubicBezTo>
                    <a:pt x="23" y="10"/>
                    <a:pt x="23" y="10"/>
                    <a:pt x="22" y="10"/>
                  </a:cubicBezTo>
                  <a:cubicBezTo>
                    <a:pt x="20" y="10"/>
                    <a:pt x="19" y="9"/>
                    <a:pt x="18" y="9"/>
                  </a:cubicBezTo>
                  <a:cubicBezTo>
                    <a:pt x="17" y="9"/>
                    <a:pt x="17" y="9"/>
                    <a:pt x="17" y="9"/>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88" name="Freeform 2743">
              <a:extLst>
                <a:ext uri="{FF2B5EF4-FFF2-40B4-BE49-F238E27FC236}">
                  <a16:creationId xmlns:a16="http://schemas.microsoft.com/office/drawing/2014/main" id="{0FAD0718-6117-439A-9C19-EC09289671A6}"/>
                </a:ext>
              </a:extLst>
            </p:cNvPr>
            <p:cNvSpPr>
              <a:spLocks/>
            </p:cNvSpPr>
            <p:nvPr/>
          </p:nvSpPr>
          <p:spPr bwMode="auto">
            <a:xfrm>
              <a:off x="5755" y="167"/>
              <a:ext cx="161" cy="73"/>
            </a:xfrm>
            <a:custGeom>
              <a:avLst/>
              <a:gdLst>
                <a:gd name="T0" fmla="*/ 1 w 68"/>
                <a:gd name="T1" fmla="*/ 23 h 31"/>
                <a:gd name="T2" fmla="*/ 1 w 68"/>
                <a:gd name="T3" fmla="*/ 24 h 31"/>
                <a:gd name="T4" fmla="*/ 13 w 68"/>
                <a:gd name="T5" fmla="*/ 24 h 31"/>
                <a:gd name="T6" fmla="*/ 20 w 68"/>
                <a:gd name="T7" fmla="*/ 25 h 31"/>
                <a:gd name="T8" fmla="*/ 9 w 68"/>
                <a:gd name="T9" fmla="*/ 24 h 31"/>
                <a:gd name="T10" fmla="*/ 13 w 68"/>
                <a:gd name="T11" fmla="*/ 26 h 31"/>
                <a:gd name="T12" fmla="*/ 16 w 68"/>
                <a:gd name="T13" fmla="*/ 27 h 31"/>
                <a:gd name="T14" fmla="*/ 10 w 68"/>
                <a:gd name="T15" fmla="*/ 27 h 31"/>
                <a:gd name="T16" fmla="*/ 16 w 68"/>
                <a:gd name="T17" fmla="*/ 28 h 31"/>
                <a:gd name="T18" fmla="*/ 20 w 68"/>
                <a:gd name="T19" fmla="*/ 30 h 31"/>
                <a:gd name="T20" fmla="*/ 24 w 68"/>
                <a:gd name="T21" fmla="*/ 31 h 31"/>
                <a:gd name="T22" fmla="*/ 37 w 68"/>
                <a:gd name="T23" fmla="*/ 28 h 31"/>
                <a:gd name="T24" fmla="*/ 48 w 68"/>
                <a:gd name="T25" fmla="*/ 26 h 31"/>
                <a:gd name="T26" fmla="*/ 58 w 68"/>
                <a:gd name="T27" fmla="*/ 26 h 31"/>
                <a:gd name="T28" fmla="*/ 60 w 68"/>
                <a:gd name="T29" fmla="*/ 22 h 31"/>
                <a:gd name="T30" fmla="*/ 59 w 68"/>
                <a:gd name="T31" fmla="*/ 19 h 31"/>
                <a:gd name="T32" fmla="*/ 59 w 68"/>
                <a:gd name="T33" fmla="*/ 16 h 31"/>
                <a:gd name="T34" fmla="*/ 68 w 68"/>
                <a:gd name="T35" fmla="*/ 14 h 31"/>
                <a:gd name="T36" fmla="*/ 55 w 68"/>
                <a:gd name="T37" fmla="*/ 6 h 31"/>
                <a:gd name="T38" fmla="*/ 47 w 68"/>
                <a:gd name="T39" fmla="*/ 2 h 31"/>
                <a:gd name="T40" fmla="*/ 43 w 68"/>
                <a:gd name="T41" fmla="*/ 0 h 31"/>
                <a:gd name="T42" fmla="*/ 38 w 68"/>
                <a:gd name="T43" fmla="*/ 2 h 31"/>
                <a:gd name="T44" fmla="*/ 38 w 68"/>
                <a:gd name="T45" fmla="*/ 3 h 31"/>
                <a:gd name="T46" fmla="*/ 37 w 68"/>
                <a:gd name="T47" fmla="*/ 4 h 31"/>
                <a:gd name="T48" fmla="*/ 31 w 68"/>
                <a:gd name="T49" fmla="*/ 5 h 31"/>
                <a:gd name="T50" fmla="*/ 28 w 68"/>
                <a:gd name="T51" fmla="*/ 6 h 31"/>
                <a:gd name="T52" fmla="*/ 24 w 68"/>
                <a:gd name="T53" fmla="*/ 6 h 31"/>
                <a:gd name="T54" fmla="*/ 23 w 68"/>
                <a:gd name="T55" fmla="*/ 7 h 31"/>
                <a:gd name="T56" fmla="*/ 21 w 68"/>
                <a:gd name="T57" fmla="*/ 7 h 31"/>
                <a:gd name="T58" fmla="*/ 18 w 68"/>
                <a:gd name="T59" fmla="*/ 7 h 31"/>
                <a:gd name="T60" fmla="*/ 18 w 68"/>
                <a:gd name="T61" fmla="*/ 9 h 31"/>
                <a:gd name="T62" fmla="*/ 14 w 68"/>
                <a:gd name="T63" fmla="*/ 10 h 31"/>
                <a:gd name="T64" fmla="*/ 14 w 68"/>
                <a:gd name="T65" fmla="*/ 11 h 31"/>
                <a:gd name="T66" fmla="*/ 13 w 68"/>
                <a:gd name="T67" fmla="*/ 12 h 31"/>
                <a:gd name="T68" fmla="*/ 12 w 68"/>
                <a:gd name="T69" fmla="*/ 13 h 31"/>
                <a:gd name="T70" fmla="*/ 14 w 68"/>
                <a:gd name="T71" fmla="*/ 15 h 31"/>
                <a:gd name="T72" fmla="*/ 15 w 68"/>
                <a:gd name="T73" fmla="*/ 17 h 31"/>
                <a:gd name="T74" fmla="*/ 15 w 68"/>
                <a:gd name="T75" fmla="*/ 18 h 31"/>
                <a:gd name="T76" fmla="*/ 11 w 68"/>
                <a:gd name="T77" fmla="*/ 19 h 31"/>
                <a:gd name="T78" fmla="*/ 7 w 68"/>
                <a:gd name="T79" fmla="*/ 20 h 31"/>
                <a:gd name="T80" fmla="*/ 6 w 68"/>
                <a:gd name="T81" fmla="*/ 20 h 31"/>
                <a:gd name="T82" fmla="*/ 7 w 68"/>
                <a:gd name="T83" fmla="*/ 22 h 31"/>
                <a:gd name="T84" fmla="*/ 3 w 68"/>
                <a:gd name="T85" fmla="*/ 22 h 31"/>
                <a:gd name="T86" fmla="*/ 1 w 68"/>
                <a:gd name="T87" fmla="*/ 2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 h="31">
                  <a:moveTo>
                    <a:pt x="1" y="23"/>
                  </a:moveTo>
                  <a:cubicBezTo>
                    <a:pt x="1" y="23"/>
                    <a:pt x="0" y="24"/>
                    <a:pt x="1" y="24"/>
                  </a:cubicBezTo>
                  <a:cubicBezTo>
                    <a:pt x="5" y="24"/>
                    <a:pt x="9" y="24"/>
                    <a:pt x="13" y="24"/>
                  </a:cubicBezTo>
                  <a:cubicBezTo>
                    <a:pt x="14" y="24"/>
                    <a:pt x="19" y="23"/>
                    <a:pt x="20" y="25"/>
                  </a:cubicBezTo>
                  <a:cubicBezTo>
                    <a:pt x="19" y="25"/>
                    <a:pt x="9" y="24"/>
                    <a:pt x="9" y="24"/>
                  </a:cubicBezTo>
                  <a:cubicBezTo>
                    <a:pt x="9" y="25"/>
                    <a:pt x="12" y="26"/>
                    <a:pt x="13" y="26"/>
                  </a:cubicBezTo>
                  <a:cubicBezTo>
                    <a:pt x="14" y="27"/>
                    <a:pt x="15" y="26"/>
                    <a:pt x="16" y="27"/>
                  </a:cubicBezTo>
                  <a:cubicBezTo>
                    <a:pt x="14" y="27"/>
                    <a:pt x="12" y="27"/>
                    <a:pt x="10" y="27"/>
                  </a:cubicBezTo>
                  <a:cubicBezTo>
                    <a:pt x="11" y="28"/>
                    <a:pt x="14" y="28"/>
                    <a:pt x="16" y="28"/>
                  </a:cubicBezTo>
                  <a:cubicBezTo>
                    <a:pt x="18" y="29"/>
                    <a:pt x="19" y="30"/>
                    <a:pt x="20" y="30"/>
                  </a:cubicBezTo>
                  <a:cubicBezTo>
                    <a:pt x="21" y="31"/>
                    <a:pt x="23" y="31"/>
                    <a:pt x="24" y="31"/>
                  </a:cubicBezTo>
                  <a:cubicBezTo>
                    <a:pt x="28" y="31"/>
                    <a:pt x="33" y="29"/>
                    <a:pt x="37" y="28"/>
                  </a:cubicBezTo>
                  <a:cubicBezTo>
                    <a:pt x="40" y="27"/>
                    <a:pt x="44" y="26"/>
                    <a:pt x="48" y="26"/>
                  </a:cubicBezTo>
                  <a:cubicBezTo>
                    <a:pt x="51" y="26"/>
                    <a:pt x="54" y="26"/>
                    <a:pt x="58" y="26"/>
                  </a:cubicBezTo>
                  <a:cubicBezTo>
                    <a:pt x="60" y="25"/>
                    <a:pt x="60" y="24"/>
                    <a:pt x="60" y="22"/>
                  </a:cubicBezTo>
                  <a:cubicBezTo>
                    <a:pt x="60" y="21"/>
                    <a:pt x="60" y="20"/>
                    <a:pt x="59" y="19"/>
                  </a:cubicBezTo>
                  <a:cubicBezTo>
                    <a:pt x="58" y="19"/>
                    <a:pt x="58" y="17"/>
                    <a:pt x="59" y="16"/>
                  </a:cubicBezTo>
                  <a:cubicBezTo>
                    <a:pt x="62" y="15"/>
                    <a:pt x="65" y="15"/>
                    <a:pt x="68" y="14"/>
                  </a:cubicBezTo>
                  <a:cubicBezTo>
                    <a:pt x="63" y="12"/>
                    <a:pt x="59" y="9"/>
                    <a:pt x="55" y="6"/>
                  </a:cubicBezTo>
                  <a:cubicBezTo>
                    <a:pt x="52" y="5"/>
                    <a:pt x="50" y="3"/>
                    <a:pt x="47" y="2"/>
                  </a:cubicBezTo>
                  <a:cubicBezTo>
                    <a:pt x="45" y="1"/>
                    <a:pt x="45" y="1"/>
                    <a:pt x="43" y="0"/>
                  </a:cubicBezTo>
                  <a:cubicBezTo>
                    <a:pt x="41" y="1"/>
                    <a:pt x="38" y="0"/>
                    <a:pt x="38" y="2"/>
                  </a:cubicBezTo>
                  <a:cubicBezTo>
                    <a:pt x="38" y="2"/>
                    <a:pt x="39" y="2"/>
                    <a:pt x="38" y="3"/>
                  </a:cubicBezTo>
                  <a:cubicBezTo>
                    <a:pt x="38" y="3"/>
                    <a:pt x="37" y="3"/>
                    <a:pt x="37" y="4"/>
                  </a:cubicBezTo>
                  <a:cubicBezTo>
                    <a:pt x="35" y="5"/>
                    <a:pt x="33" y="5"/>
                    <a:pt x="31" y="5"/>
                  </a:cubicBezTo>
                  <a:cubicBezTo>
                    <a:pt x="30" y="5"/>
                    <a:pt x="29" y="6"/>
                    <a:pt x="28" y="6"/>
                  </a:cubicBezTo>
                  <a:cubicBezTo>
                    <a:pt x="27" y="6"/>
                    <a:pt x="25" y="6"/>
                    <a:pt x="24" y="6"/>
                  </a:cubicBezTo>
                  <a:cubicBezTo>
                    <a:pt x="23" y="6"/>
                    <a:pt x="23" y="7"/>
                    <a:pt x="23" y="7"/>
                  </a:cubicBezTo>
                  <a:cubicBezTo>
                    <a:pt x="22" y="6"/>
                    <a:pt x="21" y="6"/>
                    <a:pt x="21" y="7"/>
                  </a:cubicBezTo>
                  <a:cubicBezTo>
                    <a:pt x="20" y="7"/>
                    <a:pt x="19" y="7"/>
                    <a:pt x="18" y="7"/>
                  </a:cubicBezTo>
                  <a:cubicBezTo>
                    <a:pt x="16" y="8"/>
                    <a:pt x="19" y="8"/>
                    <a:pt x="18" y="9"/>
                  </a:cubicBezTo>
                  <a:cubicBezTo>
                    <a:pt x="18" y="10"/>
                    <a:pt x="15" y="10"/>
                    <a:pt x="14" y="10"/>
                  </a:cubicBezTo>
                  <a:cubicBezTo>
                    <a:pt x="13" y="11"/>
                    <a:pt x="14" y="10"/>
                    <a:pt x="14" y="11"/>
                  </a:cubicBezTo>
                  <a:cubicBezTo>
                    <a:pt x="14" y="11"/>
                    <a:pt x="13" y="12"/>
                    <a:pt x="13" y="12"/>
                  </a:cubicBezTo>
                  <a:cubicBezTo>
                    <a:pt x="13" y="12"/>
                    <a:pt x="12" y="12"/>
                    <a:pt x="12" y="13"/>
                  </a:cubicBezTo>
                  <a:cubicBezTo>
                    <a:pt x="12" y="13"/>
                    <a:pt x="13" y="14"/>
                    <a:pt x="14" y="15"/>
                  </a:cubicBezTo>
                  <a:cubicBezTo>
                    <a:pt x="15" y="15"/>
                    <a:pt x="15" y="16"/>
                    <a:pt x="15" y="17"/>
                  </a:cubicBezTo>
                  <a:cubicBezTo>
                    <a:pt x="15" y="17"/>
                    <a:pt x="15" y="18"/>
                    <a:pt x="15" y="18"/>
                  </a:cubicBezTo>
                  <a:cubicBezTo>
                    <a:pt x="14" y="20"/>
                    <a:pt x="12" y="19"/>
                    <a:pt x="11" y="19"/>
                  </a:cubicBezTo>
                  <a:cubicBezTo>
                    <a:pt x="10" y="19"/>
                    <a:pt x="9" y="19"/>
                    <a:pt x="7" y="20"/>
                  </a:cubicBezTo>
                  <a:cubicBezTo>
                    <a:pt x="7" y="20"/>
                    <a:pt x="6" y="20"/>
                    <a:pt x="6" y="20"/>
                  </a:cubicBezTo>
                  <a:cubicBezTo>
                    <a:pt x="5" y="20"/>
                    <a:pt x="7" y="22"/>
                    <a:pt x="7" y="22"/>
                  </a:cubicBezTo>
                  <a:cubicBezTo>
                    <a:pt x="6" y="22"/>
                    <a:pt x="4" y="22"/>
                    <a:pt x="3" y="22"/>
                  </a:cubicBezTo>
                  <a:cubicBezTo>
                    <a:pt x="3" y="22"/>
                    <a:pt x="2" y="23"/>
                    <a:pt x="1" y="2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89" name="Freeform 2744">
              <a:extLst>
                <a:ext uri="{FF2B5EF4-FFF2-40B4-BE49-F238E27FC236}">
                  <a16:creationId xmlns:a16="http://schemas.microsoft.com/office/drawing/2014/main" id="{021C25A7-91BB-4711-8DC8-7165854BCE3F}"/>
                </a:ext>
              </a:extLst>
            </p:cNvPr>
            <p:cNvSpPr>
              <a:spLocks/>
            </p:cNvSpPr>
            <p:nvPr/>
          </p:nvSpPr>
          <p:spPr bwMode="auto">
            <a:xfrm>
              <a:off x="5793" y="231"/>
              <a:ext cx="172" cy="75"/>
            </a:xfrm>
            <a:custGeom>
              <a:avLst/>
              <a:gdLst>
                <a:gd name="T0" fmla="*/ 40 w 73"/>
                <a:gd name="T1" fmla="*/ 1 h 32"/>
                <a:gd name="T2" fmla="*/ 35 w 73"/>
                <a:gd name="T3" fmla="*/ 2 h 32"/>
                <a:gd name="T4" fmla="*/ 33 w 73"/>
                <a:gd name="T5" fmla="*/ 2 h 32"/>
                <a:gd name="T6" fmla="*/ 28 w 73"/>
                <a:gd name="T7" fmla="*/ 2 h 32"/>
                <a:gd name="T8" fmla="*/ 23 w 73"/>
                <a:gd name="T9" fmla="*/ 3 h 32"/>
                <a:gd name="T10" fmla="*/ 19 w 73"/>
                <a:gd name="T11" fmla="*/ 3 h 32"/>
                <a:gd name="T12" fmla="*/ 15 w 73"/>
                <a:gd name="T13" fmla="*/ 5 h 32"/>
                <a:gd name="T14" fmla="*/ 16 w 73"/>
                <a:gd name="T15" fmla="*/ 9 h 32"/>
                <a:gd name="T16" fmla="*/ 8 w 73"/>
                <a:gd name="T17" fmla="*/ 12 h 32"/>
                <a:gd name="T18" fmla="*/ 0 w 73"/>
                <a:gd name="T19" fmla="*/ 14 h 32"/>
                <a:gd name="T20" fmla="*/ 5 w 73"/>
                <a:gd name="T21" fmla="*/ 15 h 32"/>
                <a:gd name="T22" fmla="*/ 11 w 73"/>
                <a:gd name="T23" fmla="*/ 16 h 32"/>
                <a:gd name="T24" fmla="*/ 11 w 73"/>
                <a:gd name="T25" fmla="*/ 17 h 32"/>
                <a:gd name="T26" fmla="*/ 14 w 73"/>
                <a:gd name="T27" fmla="*/ 19 h 32"/>
                <a:gd name="T28" fmla="*/ 16 w 73"/>
                <a:gd name="T29" fmla="*/ 22 h 32"/>
                <a:gd name="T30" fmla="*/ 17 w 73"/>
                <a:gd name="T31" fmla="*/ 24 h 32"/>
                <a:gd name="T32" fmla="*/ 22 w 73"/>
                <a:gd name="T33" fmla="*/ 26 h 32"/>
                <a:gd name="T34" fmla="*/ 35 w 73"/>
                <a:gd name="T35" fmla="*/ 27 h 32"/>
                <a:gd name="T36" fmla="*/ 39 w 73"/>
                <a:gd name="T37" fmla="*/ 27 h 32"/>
                <a:gd name="T38" fmla="*/ 42 w 73"/>
                <a:gd name="T39" fmla="*/ 29 h 32"/>
                <a:gd name="T40" fmla="*/ 48 w 73"/>
                <a:gd name="T41" fmla="*/ 31 h 32"/>
                <a:gd name="T42" fmla="*/ 52 w 73"/>
                <a:gd name="T43" fmla="*/ 31 h 32"/>
                <a:gd name="T44" fmla="*/ 65 w 73"/>
                <a:gd name="T45" fmla="*/ 31 h 32"/>
                <a:gd name="T46" fmla="*/ 71 w 73"/>
                <a:gd name="T47" fmla="*/ 28 h 32"/>
                <a:gd name="T48" fmla="*/ 64 w 73"/>
                <a:gd name="T49" fmla="*/ 21 h 32"/>
                <a:gd name="T50" fmla="*/ 66 w 73"/>
                <a:gd name="T51" fmla="*/ 21 h 32"/>
                <a:gd name="T52" fmla="*/ 70 w 73"/>
                <a:gd name="T53" fmla="*/ 18 h 32"/>
                <a:gd name="T54" fmla="*/ 70 w 73"/>
                <a:gd name="T55" fmla="*/ 15 h 32"/>
                <a:gd name="T56" fmla="*/ 71 w 73"/>
                <a:gd name="T57" fmla="*/ 12 h 32"/>
                <a:gd name="T58" fmla="*/ 72 w 73"/>
                <a:gd name="T59" fmla="*/ 10 h 32"/>
                <a:gd name="T60" fmla="*/ 69 w 73"/>
                <a:gd name="T61" fmla="*/ 6 h 32"/>
                <a:gd name="T62" fmla="*/ 67 w 73"/>
                <a:gd name="T63" fmla="*/ 5 h 32"/>
                <a:gd name="T64" fmla="*/ 66 w 73"/>
                <a:gd name="T65" fmla="*/ 4 h 32"/>
                <a:gd name="T66" fmla="*/ 52 w 73"/>
                <a:gd name="T67" fmla="*/ 6 h 32"/>
                <a:gd name="T68" fmla="*/ 48 w 73"/>
                <a:gd name="T69" fmla="*/ 10 h 32"/>
                <a:gd name="T70" fmla="*/ 50 w 73"/>
                <a:gd name="T71" fmla="*/ 5 h 32"/>
                <a:gd name="T72" fmla="*/ 47 w 73"/>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32">
                  <a:moveTo>
                    <a:pt x="43" y="0"/>
                  </a:moveTo>
                  <a:cubicBezTo>
                    <a:pt x="42" y="1"/>
                    <a:pt x="41" y="1"/>
                    <a:pt x="40" y="1"/>
                  </a:cubicBezTo>
                  <a:cubicBezTo>
                    <a:pt x="39" y="1"/>
                    <a:pt x="38" y="1"/>
                    <a:pt x="37" y="1"/>
                  </a:cubicBezTo>
                  <a:cubicBezTo>
                    <a:pt x="36" y="1"/>
                    <a:pt x="36" y="2"/>
                    <a:pt x="35" y="2"/>
                  </a:cubicBezTo>
                  <a:cubicBezTo>
                    <a:pt x="35" y="2"/>
                    <a:pt x="35" y="1"/>
                    <a:pt x="34" y="1"/>
                  </a:cubicBezTo>
                  <a:cubicBezTo>
                    <a:pt x="34" y="1"/>
                    <a:pt x="33" y="2"/>
                    <a:pt x="33" y="2"/>
                  </a:cubicBezTo>
                  <a:cubicBezTo>
                    <a:pt x="32" y="2"/>
                    <a:pt x="32" y="1"/>
                    <a:pt x="32" y="1"/>
                  </a:cubicBezTo>
                  <a:cubicBezTo>
                    <a:pt x="30" y="2"/>
                    <a:pt x="29" y="2"/>
                    <a:pt x="28" y="2"/>
                  </a:cubicBezTo>
                  <a:cubicBezTo>
                    <a:pt x="27" y="2"/>
                    <a:pt x="26" y="1"/>
                    <a:pt x="25" y="2"/>
                  </a:cubicBezTo>
                  <a:cubicBezTo>
                    <a:pt x="24" y="3"/>
                    <a:pt x="25" y="4"/>
                    <a:pt x="23" y="3"/>
                  </a:cubicBezTo>
                  <a:cubicBezTo>
                    <a:pt x="22" y="3"/>
                    <a:pt x="22" y="1"/>
                    <a:pt x="20" y="2"/>
                  </a:cubicBezTo>
                  <a:cubicBezTo>
                    <a:pt x="20" y="2"/>
                    <a:pt x="19" y="3"/>
                    <a:pt x="19" y="3"/>
                  </a:cubicBezTo>
                  <a:cubicBezTo>
                    <a:pt x="19" y="4"/>
                    <a:pt x="19" y="4"/>
                    <a:pt x="18" y="4"/>
                  </a:cubicBezTo>
                  <a:cubicBezTo>
                    <a:pt x="17" y="5"/>
                    <a:pt x="16" y="4"/>
                    <a:pt x="15" y="5"/>
                  </a:cubicBezTo>
                  <a:cubicBezTo>
                    <a:pt x="14" y="5"/>
                    <a:pt x="14" y="6"/>
                    <a:pt x="14" y="6"/>
                  </a:cubicBezTo>
                  <a:cubicBezTo>
                    <a:pt x="14" y="7"/>
                    <a:pt x="16" y="8"/>
                    <a:pt x="16" y="9"/>
                  </a:cubicBezTo>
                  <a:cubicBezTo>
                    <a:pt x="14" y="9"/>
                    <a:pt x="13" y="9"/>
                    <a:pt x="11" y="10"/>
                  </a:cubicBezTo>
                  <a:cubicBezTo>
                    <a:pt x="10" y="11"/>
                    <a:pt x="9" y="11"/>
                    <a:pt x="8" y="12"/>
                  </a:cubicBezTo>
                  <a:cubicBezTo>
                    <a:pt x="7" y="13"/>
                    <a:pt x="6" y="14"/>
                    <a:pt x="4" y="14"/>
                  </a:cubicBezTo>
                  <a:cubicBezTo>
                    <a:pt x="3" y="15"/>
                    <a:pt x="1" y="14"/>
                    <a:pt x="0" y="14"/>
                  </a:cubicBezTo>
                  <a:cubicBezTo>
                    <a:pt x="0" y="15"/>
                    <a:pt x="2" y="16"/>
                    <a:pt x="2" y="17"/>
                  </a:cubicBezTo>
                  <a:cubicBezTo>
                    <a:pt x="3" y="17"/>
                    <a:pt x="4" y="16"/>
                    <a:pt x="5" y="15"/>
                  </a:cubicBezTo>
                  <a:cubicBezTo>
                    <a:pt x="6" y="15"/>
                    <a:pt x="8" y="13"/>
                    <a:pt x="9" y="14"/>
                  </a:cubicBezTo>
                  <a:cubicBezTo>
                    <a:pt x="10" y="14"/>
                    <a:pt x="10" y="15"/>
                    <a:pt x="11" y="16"/>
                  </a:cubicBezTo>
                  <a:cubicBezTo>
                    <a:pt x="10" y="16"/>
                    <a:pt x="9" y="16"/>
                    <a:pt x="8" y="17"/>
                  </a:cubicBezTo>
                  <a:cubicBezTo>
                    <a:pt x="9" y="17"/>
                    <a:pt x="10" y="17"/>
                    <a:pt x="11" y="17"/>
                  </a:cubicBezTo>
                  <a:cubicBezTo>
                    <a:pt x="12" y="17"/>
                    <a:pt x="15" y="16"/>
                    <a:pt x="14" y="18"/>
                  </a:cubicBezTo>
                  <a:cubicBezTo>
                    <a:pt x="14" y="18"/>
                    <a:pt x="14" y="19"/>
                    <a:pt x="14" y="19"/>
                  </a:cubicBezTo>
                  <a:cubicBezTo>
                    <a:pt x="14" y="20"/>
                    <a:pt x="14" y="21"/>
                    <a:pt x="14" y="21"/>
                  </a:cubicBezTo>
                  <a:cubicBezTo>
                    <a:pt x="15" y="22"/>
                    <a:pt x="15" y="22"/>
                    <a:pt x="16" y="22"/>
                  </a:cubicBezTo>
                  <a:cubicBezTo>
                    <a:pt x="17" y="22"/>
                    <a:pt x="17" y="22"/>
                    <a:pt x="17" y="23"/>
                  </a:cubicBezTo>
                  <a:cubicBezTo>
                    <a:pt x="18" y="23"/>
                    <a:pt x="17" y="24"/>
                    <a:pt x="17" y="24"/>
                  </a:cubicBezTo>
                  <a:cubicBezTo>
                    <a:pt x="18" y="24"/>
                    <a:pt x="19" y="25"/>
                    <a:pt x="19" y="25"/>
                  </a:cubicBezTo>
                  <a:cubicBezTo>
                    <a:pt x="20" y="26"/>
                    <a:pt x="21" y="26"/>
                    <a:pt x="22" y="26"/>
                  </a:cubicBezTo>
                  <a:cubicBezTo>
                    <a:pt x="24" y="26"/>
                    <a:pt x="26" y="25"/>
                    <a:pt x="28" y="25"/>
                  </a:cubicBezTo>
                  <a:cubicBezTo>
                    <a:pt x="27" y="29"/>
                    <a:pt x="33" y="27"/>
                    <a:pt x="35" y="27"/>
                  </a:cubicBezTo>
                  <a:cubicBezTo>
                    <a:pt x="35" y="27"/>
                    <a:pt x="35" y="27"/>
                    <a:pt x="35" y="27"/>
                  </a:cubicBezTo>
                  <a:cubicBezTo>
                    <a:pt x="36" y="27"/>
                    <a:pt x="38" y="27"/>
                    <a:pt x="39" y="27"/>
                  </a:cubicBezTo>
                  <a:cubicBezTo>
                    <a:pt x="40" y="28"/>
                    <a:pt x="40" y="28"/>
                    <a:pt x="40" y="28"/>
                  </a:cubicBezTo>
                  <a:cubicBezTo>
                    <a:pt x="41" y="29"/>
                    <a:pt x="41" y="29"/>
                    <a:pt x="42" y="29"/>
                  </a:cubicBezTo>
                  <a:cubicBezTo>
                    <a:pt x="42" y="29"/>
                    <a:pt x="43" y="30"/>
                    <a:pt x="44" y="30"/>
                  </a:cubicBezTo>
                  <a:cubicBezTo>
                    <a:pt x="45" y="31"/>
                    <a:pt x="47" y="30"/>
                    <a:pt x="48" y="31"/>
                  </a:cubicBezTo>
                  <a:cubicBezTo>
                    <a:pt x="47" y="31"/>
                    <a:pt x="46" y="31"/>
                    <a:pt x="46" y="31"/>
                  </a:cubicBezTo>
                  <a:cubicBezTo>
                    <a:pt x="48" y="31"/>
                    <a:pt x="50" y="31"/>
                    <a:pt x="52" y="31"/>
                  </a:cubicBezTo>
                  <a:cubicBezTo>
                    <a:pt x="53" y="31"/>
                    <a:pt x="54" y="32"/>
                    <a:pt x="56" y="32"/>
                  </a:cubicBezTo>
                  <a:cubicBezTo>
                    <a:pt x="59" y="32"/>
                    <a:pt x="62" y="31"/>
                    <a:pt x="65" y="31"/>
                  </a:cubicBezTo>
                  <a:cubicBezTo>
                    <a:pt x="66" y="31"/>
                    <a:pt x="67" y="31"/>
                    <a:pt x="69" y="30"/>
                  </a:cubicBezTo>
                  <a:cubicBezTo>
                    <a:pt x="70" y="29"/>
                    <a:pt x="71" y="29"/>
                    <a:pt x="71" y="28"/>
                  </a:cubicBezTo>
                  <a:cubicBezTo>
                    <a:pt x="73" y="27"/>
                    <a:pt x="70" y="25"/>
                    <a:pt x="69" y="25"/>
                  </a:cubicBezTo>
                  <a:cubicBezTo>
                    <a:pt x="67" y="24"/>
                    <a:pt x="65" y="23"/>
                    <a:pt x="64" y="21"/>
                  </a:cubicBezTo>
                  <a:cubicBezTo>
                    <a:pt x="63" y="20"/>
                    <a:pt x="63" y="20"/>
                    <a:pt x="64" y="20"/>
                  </a:cubicBezTo>
                  <a:cubicBezTo>
                    <a:pt x="65" y="20"/>
                    <a:pt x="65" y="20"/>
                    <a:pt x="66" y="21"/>
                  </a:cubicBezTo>
                  <a:cubicBezTo>
                    <a:pt x="67" y="21"/>
                    <a:pt x="67" y="21"/>
                    <a:pt x="68" y="20"/>
                  </a:cubicBezTo>
                  <a:cubicBezTo>
                    <a:pt x="69" y="20"/>
                    <a:pt x="70" y="19"/>
                    <a:pt x="70" y="18"/>
                  </a:cubicBezTo>
                  <a:cubicBezTo>
                    <a:pt x="69" y="17"/>
                    <a:pt x="69" y="17"/>
                    <a:pt x="69" y="16"/>
                  </a:cubicBezTo>
                  <a:cubicBezTo>
                    <a:pt x="69" y="16"/>
                    <a:pt x="70" y="16"/>
                    <a:pt x="70" y="15"/>
                  </a:cubicBezTo>
                  <a:cubicBezTo>
                    <a:pt x="70" y="14"/>
                    <a:pt x="70" y="14"/>
                    <a:pt x="70" y="13"/>
                  </a:cubicBezTo>
                  <a:cubicBezTo>
                    <a:pt x="70" y="12"/>
                    <a:pt x="70" y="12"/>
                    <a:pt x="71" y="12"/>
                  </a:cubicBezTo>
                  <a:cubicBezTo>
                    <a:pt x="71" y="11"/>
                    <a:pt x="71" y="11"/>
                    <a:pt x="71" y="10"/>
                  </a:cubicBezTo>
                  <a:cubicBezTo>
                    <a:pt x="71" y="10"/>
                    <a:pt x="72" y="10"/>
                    <a:pt x="72" y="10"/>
                  </a:cubicBezTo>
                  <a:cubicBezTo>
                    <a:pt x="73" y="9"/>
                    <a:pt x="73" y="9"/>
                    <a:pt x="72" y="8"/>
                  </a:cubicBezTo>
                  <a:cubicBezTo>
                    <a:pt x="71" y="7"/>
                    <a:pt x="70" y="7"/>
                    <a:pt x="69" y="6"/>
                  </a:cubicBezTo>
                  <a:cubicBezTo>
                    <a:pt x="68" y="6"/>
                    <a:pt x="68" y="5"/>
                    <a:pt x="68" y="5"/>
                  </a:cubicBezTo>
                  <a:cubicBezTo>
                    <a:pt x="67" y="5"/>
                    <a:pt x="67" y="5"/>
                    <a:pt x="67" y="5"/>
                  </a:cubicBezTo>
                  <a:cubicBezTo>
                    <a:pt x="67" y="5"/>
                    <a:pt x="66" y="4"/>
                    <a:pt x="66" y="4"/>
                  </a:cubicBezTo>
                  <a:cubicBezTo>
                    <a:pt x="66" y="4"/>
                    <a:pt x="66" y="4"/>
                    <a:pt x="66" y="4"/>
                  </a:cubicBezTo>
                  <a:cubicBezTo>
                    <a:pt x="64" y="3"/>
                    <a:pt x="64" y="3"/>
                    <a:pt x="62" y="4"/>
                  </a:cubicBezTo>
                  <a:cubicBezTo>
                    <a:pt x="58" y="4"/>
                    <a:pt x="55" y="5"/>
                    <a:pt x="52" y="6"/>
                  </a:cubicBezTo>
                  <a:cubicBezTo>
                    <a:pt x="51" y="7"/>
                    <a:pt x="50" y="8"/>
                    <a:pt x="49" y="8"/>
                  </a:cubicBezTo>
                  <a:cubicBezTo>
                    <a:pt x="49" y="9"/>
                    <a:pt x="49" y="9"/>
                    <a:pt x="48" y="10"/>
                  </a:cubicBezTo>
                  <a:cubicBezTo>
                    <a:pt x="47" y="10"/>
                    <a:pt x="45" y="11"/>
                    <a:pt x="44" y="11"/>
                  </a:cubicBezTo>
                  <a:cubicBezTo>
                    <a:pt x="45" y="9"/>
                    <a:pt x="48" y="7"/>
                    <a:pt x="50" y="5"/>
                  </a:cubicBezTo>
                  <a:cubicBezTo>
                    <a:pt x="50" y="5"/>
                    <a:pt x="54" y="3"/>
                    <a:pt x="52" y="2"/>
                  </a:cubicBezTo>
                  <a:cubicBezTo>
                    <a:pt x="50" y="2"/>
                    <a:pt x="49" y="0"/>
                    <a:pt x="47" y="0"/>
                  </a:cubicBezTo>
                  <a:cubicBezTo>
                    <a:pt x="46" y="0"/>
                    <a:pt x="44" y="0"/>
                    <a:pt x="43"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90" name="Freeform 2745">
              <a:extLst>
                <a:ext uri="{FF2B5EF4-FFF2-40B4-BE49-F238E27FC236}">
                  <a16:creationId xmlns:a16="http://schemas.microsoft.com/office/drawing/2014/main" id="{CA63329C-BDB5-492F-B543-07A4AED635DE}"/>
                </a:ext>
              </a:extLst>
            </p:cNvPr>
            <p:cNvSpPr>
              <a:spLocks/>
            </p:cNvSpPr>
            <p:nvPr/>
          </p:nvSpPr>
          <p:spPr bwMode="auto">
            <a:xfrm>
              <a:off x="4918" y="152"/>
              <a:ext cx="45" cy="12"/>
            </a:xfrm>
            <a:custGeom>
              <a:avLst/>
              <a:gdLst>
                <a:gd name="T0" fmla="*/ 19 w 19"/>
                <a:gd name="T1" fmla="*/ 4 h 5"/>
                <a:gd name="T2" fmla="*/ 15 w 19"/>
                <a:gd name="T3" fmla="*/ 2 h 5"/>
                <a:gd name="T4" fmla="*/ 12 w 19"/>
                <a:gd name="T5" fmla="*/ 2 h 5"/>
                <a:gd name="T6" fmla="*/ 11 w 19"/>
                <a:gd name="T7" fmla="*/ 0 h 5"/>
                <a:gd name="T8" fmla="*/ 9 w 19"/>
                <a:gd name="T9" fmla="*/ 0 h 5"/>
                <a:gd name="T10" fmla="*/ 4 w 19"/>
                <a:gd name="T11" fmla="*/ 1 h 5"/>
                <a:gd name="T12" fmla="*/ 0 w 19"/>
                <a:gd name="T13" fmla="*/ 3 h 5"/>
                <a:gd name="T14" fmla="*/ 14 w 19"/>
                <a:gd name="T15" fmla="*/ 5 h 5"/>
                <a:gd name="T16" fmla="*/ 19 w 19"/>
                <a:gd name="T1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5">
                  <a:moveTo>
                    <a:pt x="19" y="4"/>
                  </a:moveTo>
                  <a:cubicBezTo>
                    <a:pt x="18" y="3"/>
                    <a:pt x="16" y="2"/>
                    <a:pt x="15" y="2"/>
                  </a:cubicBezTo>
                  <a:cubicBezTo>
                    <a:pt x="14" y="2"/>
                    <a:pt x="13" y="2"/>
                    <a:pt x="12" y="2"/>
                  </a:cubicBezTo>
                  <a:cubicBezTo>
                    <a:pt x="12" y="1"/>
                    <a:pt x="12" y="0"/>
                    <a:pt x="11" y="0"/>
                  </a:cubicBezTo>
                  <a:cubicBezTo>
                    <a:pt x="11" y="0"/>
                    <a:pt x="10" y="0"/>
                    <a:pt x="9" y="0"/>
                  </a:cubicBezTo>
                  <a:cubicBezTo>
                    <a:pt x="7" y="0"/>
                    <a:pt x="6" y="1"/>
                    <a:pt x="4" y="1"/>
                  </a:cubicBezTo>
                  <a:cubicBezTo>
                    <a:pt x="3" y="1"/>
                    <a:pt x="1" y="2"/>
                    <a:pt x="0" y="3"/>
                  </a:cubicBezTo>
                  <a:cubicBezTo>
                    <a:pt x="5" y="3"/>
                    <a:pt x="10" y="4"/>
                    <a:pt x="14" y="5"/>
                  </a:cubicBezTo>
                  <a:cubicBezTo>
                    <a:pt x="16" y="4"/>
                    <a:pt x="17" y="4"/>
                    <a:pt x="19"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91" name="Freeform 2746">
              <a:extLst>
                <a:ext uri="{FF2B5EF4-FFF2-40B4-BE49-F238E27FC236}">
                  <a16:creationId xmlns:a16="http://schemas.microsoft.com/office/drawing/2014/main" id="{E13FA31D-2185-4F46-A320-9F115E155522}"/>
                </a:ext>
              </a:extLst>
            </p:cNvPr>
            <p:cNvSpPr>
              <a:spLocks/>
            </p:cNvSpPr>
            <p:nvPr/>
          </p:nvSpPr>
          <p:spPr bwMode="auto">
            <a:xfrm>
              <a:off x="7862" y="659"/>
              <a:ext cx="94" cy="33"/>
            </a:xfrm>
            <a:custGeom>
              <a:avLst/>
              <a:gdLst>
                <a:gd name="T0" fmla="*/ 2 w 40"/>
                <a:gd name="T1" fmla="*/ 14 h 14"/>
                <a:gd name="T2" fmla="*/ 6 w 40"/>
                <a:gd name="T3" fmla="*/ 13 h 14"/>
                <a:gd name="T4" fmla="*/ 14 w 40"/>
                <a:gd name="T5" fmla="*/ 10 h 14"/>
                <a:gd name="T6" fmla="*/ 14 w 40"/>
                <a:gd name="T7" fmla="*/ 10 h 14"/>
                <a:gd name="T8" fmla="*/ 15 w 40"/>
                <a:gd name="T9" fmla="*/ 10 h 14"/>
                <a:gd name="T10" fmla="*/ 19 w 40"/>
                <a:gd name="T11" fmla="*/ 12 h 14"/>
                <a:gd name="T12" fmla="*/ 22 w 40"/>
                <a:gd name="T13" fmla="*/ 12 h 14"/>
                <a:gd name="T14" fmla="*/ 26 w 40"/>
                <a:gd name="T15" fmla="*/ 11 h 14"/>
                <a:gd name="T16" fmla="*/ 33 w 40"/>
                <a:gd name="T17" fmla="*/ 10 h 14"/>
                <a:gd name="T18" fmla="*/ 40 w 40"/>
                <a:gd name="T19" fmla="*/ 5 h 14"/>
                <a:gd name="T20" fmla="*/ 34 w 40"/>
                <a:gd name="T21" fmla="*/ 2 h 14"/>
                <a:gd name="T22" fmla="*/ 34 w 40"/>
                <a:gd name="T23" fmla="*/ 1 h 14"/>
                <a:gd name="T24" fmla="*/ 31 w 40"/>
                <a:gd name="T25" fmla="*/ 0 h 14"/>
                <a:gd name="T26" fmla="*/ 29 w 40"/>
                <a:gd name="T27" fmla="*/ 0 h 14"/>
                <a:gd name="T28" fmla="*/ 23 w 40"/>
                <a:gd name="T29" fmla="*/ 0 h 14"/>
                <a:gd name="T30" fmla="*/ 14 w 40"/>
                <a:gd name="T31" fmla="*/ 0 h 14"/>
                <a:gd name="T32" fmla="*/ 3 w 40"/>
                <a:gd name="T33" fmla="*/ 6 h 14"/>
                <a:gd name="T34" fmla="*/ 1 w 40"/>
                <a:gd name="T35" fmla="*/ 10 h 14"/>
                <a:gd name="T36" fmla="*/ 1 w 40"/>
                <a:gd name="T37" fmla="*/ 12 h 14"/>
                <a:gd name="T38" fmla="*/ 2 w 40"/>
                <a:gd name="T3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14">
                  <a:moveTo>
                    <a:pt x="2" y="14"/>
                  </a:moveTo>
                  <a:cubicBezTo>
                    <a:pt x="4" y="13"/>
                    <a:pt x="5" y="13"/>
                    <a:pt x="6" y="13"/>
                  </a:cubicBezTo>
                  <a:cubicBezTo>
                    <a:pt x="8" y="12"/>
                    <a:pt x="11" y="11"/>
                    <a:pt x="14" y="10"/>
                  </a:cubicBezTo>
                  <a:cubicBezTo>
                    <a:pt x="14" y="10"/>
                    <a:pt x="14" y="10"/>
                    <a:pt x="14" y="10"/>
                  </a:cubicBezTo>
                  <a:cubicBezTo>
                    <a:pt x="14" y="10"/>
                    <a:pt x="14" y="10"/>
                    <a:pt x="15" y="10"/>
                  </a:cubicBezTo>
                  <a:cubicBezTo>
                    <a:pt x="16" y="11"/>
                    <a:pt x="18" y="11"/>
                    <a:pt x="19" y="12"/>
                  </a:cubicBezTo>
                  <a:cubicBezTo>
                    <a:pt x="20" y="12"/>
                    <a:pt x="21" y="12"/>
                    <a:pt x="22" y="12"/>
                  </a:cubicBezTo>
                  <a:cubicBezTo>
                    <a:pt x="24" y="12"/>
                    <a:pt x="25" y="11"/>
                    <a:pt x="26" y="11"/>
                  </a:cubicBezTo>
                  <a:cubicBezTo>
                    <a:pt x="29" y="11"/>
                    <a:pt x="31" y="10"/>
                    <a:pt x="33" y="10"/>
                  </a:cubicBezTo>
                  <a:cubicBezTo>
                    <a:pt x="36" y="9"/>
                    <a:pt x="38" y="8"/>
                    <a:pt x="40" y="5"/>
                  </a:cubicBezTo>
                  <a:cubicBezTo>
                    <a:pt x="38" y="4"/>
                    <a:pt x="36" y="3"/>
                    <a:pt x="34" y="2"/>
                  </a:cubicBezTo>
                  <a:cubicBezTo>
                    <a:pt x="34" y="2"/>
                    <a:pt x="34" y="1"/>
                    <a:pt x="34" y="1"/>
                  </a:cubicBezTo>
                  <a:cubicBezTo>
                    <a:pt x="33" y="1"/>
                    <a:pt x="32" y="0"/>
                    <a:pt x="31" y="0"/>
                  </a:cubicBezTo>
                  <a:cubicBezTo>
                    <a:pt x="31" y="0"/>
                    <a:pt x="30" y="0"/>
                    <a:pt x="29" y="0"/>
                  </a:cubicBezTo>
                  <a:cubicBezTo>
                    <a:pt x="27" y="0"/>
                    <a:pt x="25" y="0"/>
                    <a:pt x="23" y="0"/>
                  </a:cubicBezTo>
                  <a:cubicBezTo>
                    <a:pt x="20" y="0"/>
                    <a:pt x="17" y="0"/>
                    <a:pt x="14" y="0"/>
                  </a:cubicBezTo>
                  <a:cubicBezTo>
                    <a:pt x="11" y="2"/>
                    <a:pt x="7" y="4"/>
                    <a:pt x="3" y="6"/>
                  </a:cubicBezTo>
                  <a:cubicBezTo>
                    <a:pt x="2" y="7"/>
                    <a:pt x="0" y="9"/>
                    <a:pt x="1" y="10"/>
                  </a:cubicBezTo>
                  <a:cubicBezTo>
                    <a:pt x="1" y="11"/>
                    <a:pt x="1" y="11"/>
                    <a:pt x="1" y="12"/>
                  </a:cubicBezTo>
                  <a:cubicBezTo>
                    <a:pt x="2" y="13"/>
                    <a:pt x="2" y="14"/>
                    <a:pt x="2" y="1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92" name="Freeform 2747">
              <a:extLst>
                <a:ext uri="{FF2B5EF4-FFF2-40B4-BE49-F238E27FC236}">
                  <a16:creationId xmlns:a16="http://schemas.microsoft.com/office/drawing/2014/main" id="{5BB6C0D8-17CB-4F22-99D2-BC889369DF80}"/>
                </a:ext>
              </a:extLst>
            </p:cNvPr>
            <p:cNvSpPr>
              <a:spLocks/>
            </p:cNvSpPr>
            <p:nvPr/>
          </p:nvSpPr>
          <p:spPr bwMode="auto">
            <a:xfrm>
              <a:off x="6819" y="455"/>
              <a:ext cx="19" cy="24"/>
            </a:xfrm>
            <a:custGeom>
              <a:avLst/>
              <a:gdLst>
                <a:gd name="T0" fmla="*/ 0 w 8"/>
                <a:gd name="T1" fmla="*/ 10 h 10"/>
                <a:gd name="T2" fmla="*/ 6 w 8"/>
                <a:gd name="T3" fmla="*/ 9 h 10"/>
                <a:gd name="T4" fmla="*/ 6 w 8"/>
                <a:gd name="T5" fmla="*/ 5 h 10"/>
                <a:gd name="T6" fmla="*/ 4 w 8"/>
                <a:gd name="T7" fmla="*/ 3 h 10"/>
                <a:gd name="T8" fmla="*/ 3 w 8"/>
                <a:gd name="T9" fmla="*/ 0 h 10"/>
                <a:gd name="T10" fmla="*/ 1 w 8"/>
                <a:gd name="T11" fmla="*/ 5 h 10"/>
                <a:gd name="T12" fmla="*/ 2 w 8"/>
                <a:gd name="T13" fmla="*/ 7 h 10"/>
                <a:gd name="T14" fmla="*/ 0 w 8"/>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0">
                  <a:moveTo>
                    <a:pt x="0" y="10"/>
                  </a:moveTo>
                  <a:cubicBezTo>
                    <a:pt x="2" y="10"/>
                    <a:pt x="5" y="10"/>
                    <a:pt x="6" y="9"/>
                  </a:cubicBezTo>
                  <a:cubicBezTo>
                    <a:pt x="7" y="7"/>
                    <a:pt x="8" y="5"/>
                    <a:pt x="6" y="5"/>
                  </a:cubicBezTo>
                  <a:cubicBezTo>
                    <a:pt x="5" y="4"/>
                    <a:pt x="5" y="4"/>
                    <a:pt x="4" y="3"/>
                  </a:cubicBezTo>
                  <a:cubicBezTo>
                    <a:pt x="4" y="2"/>
                    <a:pt x="4" y="1"/>
                    <a:pt x="3" y="0"/>
                  </a:cubicBezTo>
                  <a:cubicBezTo>
                    <a:pt x="3" y="2"/>
                    <a:pt x="1" y="3"/>
                    <a:pt x="1" y="5"/>
                  </a:cubicBezTo>
                  <a:cubicBezTo>
                    <a:pt x="1" y="6"/>
                    <a:pt x="2" y="6"/>
                    <a:pt x="2" y="7"/>
                  </a:cubicBezTo>
                  <a:cubicBezTo>
                    <a:pt x="1" y="8"/>
                    <a:pt x="1" y="9"/>
                    <a:pt x="0" y="1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93" name="Freeform 2748">
              <a:extLst>
                <a:ext uri="{FF2B5EF4-FFF2-40B4-BE49-F238E27FC236}">
                  <a16:creationId xmlns:a16="http://schemas.microsoft.com/office/drawing/2014/main" id="{407ECEBE-9482-4D5B-9FAD-EA006BF6D9A3}"/>
                </a:ext>
              </a:extLst>
            </p:cNvPr>
            <p:cNvSpPr>
              <a:spLocks/>
            </p:cNvSpPr>
            <p:nvPr/>
          </p:nvSpPr>
          <p:spPr bwMode="auto">
            <a:xfrm>
              <a:off x="7077" y="469"/>
              <a:ext cx="116" cy="41"/>
            </a:xfrm>
            <a:custGeom>
              <a:avLst/>
              <a:gdLst>
                <a:gd name="T0" fmla="*/ 31 w 49"/>
                <a:gd name="T1" fmla="*/ 17 h 17"/>
                <a:gd name="T2" fmla="*/ 37 w 49"/>
                <a:gd name="T3" fmla="*/ 17 h 17"/>
                <a:gd name="T4" fmla="*/ 39 w 49"/>
                <a:gd name="T5" fmla="*/ 16 h 17"/>
                <a:gd name="T6" fmla="*/ 41 w 49"/>
                <a:gd name="T7" fmla="*/ 15 h 17"/>
                <a:gd name="T8" fmla="*/ 46 w 49"/>
                <a:gd name="T9" fmla="*/ 14 h 17"/>
                <a:gd name="T10" fmla="*/ 48 w 49"/>
                <a:gd name="T11" fmla="*/ 11 h 17"/>
                <a:gd name="T12" fmla="*/ 49 w 49"/>
                <a:gd name="T13" fmla="*/ 9 h 17"/>
                <a:gd name="T14" fmla="*/ 44 w 49"/>
                <a:gd name="T15" fmla="*/ 9 h 17"/>
                <a:gd name="T16" fmla="*/ 42 w 49"/>
                <a:gd name="T17" fmla="*/ 9 h 17"/>
                <a:gd name="T18" fmla="*/ 38 w 49"/>
                <a:gd name="T19" fmla="*/ 7 h 17"/>
                <a:gd name="T20" fmla="*/ 32 w 49"/>
                <a:gd name="T21" fmla="*/ 6 h 17"/>
                <a:gd name="T22" fmla="*/ 25 w 49"/>
                <a:gd name="T23" fmla="*/ 7 h 17"/>
                <a:gd name="T24" fmla="*/ 25 w 49"/>
                <a:gd name="T25" fmla="*/ 5 h 17"/>
                <a:gd name="T26" fmla="*/ 23 w 49"/>
                <a:gd name="T27" fmla="*/ 3 h 17"/>
                <a:gd name="T28" fmla="*/ 17 w 49"/>
                <a:gd name="T29" fmla="*/ 3 h 17"/>
                <a:gd name="T30" fmla="*/ 11 w 49"/>
                <a:gd name="T31" fmla="*/ 4 h 17"/>
                <a:gd name="T32" fmla="*/ 9 w 49"/>
                <a:gd name="T33" fmla="*/ 5 h 17"/>
                <a:gd name="T34" fmla="*/ 6 w 49"/>
                <a:gd name="T35" fmla="*/ 4 h 17"/>
                <a:gd name="T36" fmla="*/ 6 w 49"/>
                <a:gd name="T37" fmla="*/ 0 h 17"/>
                <a:gd name="T38" fmla="*/ 3 w 49"/>
                <a:gd name="T39" fmla="*/ 0 h 17"/>
                <a:gd name="T40" fmla="*/ 2 w 49"/>
                <a:gd name="T41" fmla="*/ 2 h 17"/>
                <a:gd name="T42" fmla="*/ 1 w 49"/>
                <a:gd name="T43" fmla="*/ 4 h 17"/>
                <a:gd name="T44" fmla="*/ 1 w 49"/>
                <a:gd name="T45" fmla="*/ 4 h 17"/>
                <a:gd name="T46" fmla="*/ 1 w 49"/>
                <a:gd name="T47" fmla="*/ 6 h 17"/>
                <a:gd name="T48" fmla="*/ 0 w 49"/>
                <a:gd name="T49" fmla="*/ 7 h 17"/>
                <a:gd name="T50" fmla="*/ 18 w 49"/>
                <a:gd name="T51" fmla="*/ 15 h 17"/>
                <a:gd name="T52" fmla="*/ 31 w 49"/>
                <a:gd name="T53"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17">
                  <a:moveTo>
                    <a:pt x="31" y="17"/>
                  </a:moveTo>
                  <a:cubicBezTo>
                    <a:pt x="33" y="17"/>
                    <a:pt x="35" y="17"/>
                    <a:pt x="37" y="17"/>
                  </a:cubicBezTo>
                  <a:cubicBezTo>
                    <a:pt x="38" y="17"/>
                    <a:pt x="38" y="16"/>
                    <a:pt x="39" y="16"/>
                  </a:cubicBezTo>
                  <a:cubicBezTo>
                    <a:pt x="40" y="16"/>
                    <a:pt x="41" y="15"/>
                    <a:pt x="41" y="15"/>
                  </a:cubicBezTo>
                  <a:cubicBezTo>
                    <a:pt x="43" y="15"/>
                    <a:pt x="45" y="15"/>
                    <a:pt x="46" y="14"/>
                  </a:cubicBezTo>
                  <a:cubicBezTo>
                    <a:pt x="47" y="14"/>
                    <a:pt x="47" y="12"/>
                    <a:pt x="48" y="11"/>
                  </a:cubicBezTo>
                  <a:cubicBezTo>
                    <a:pt x="48" y="11"/>
                    <a:pt x="48" y="10"/>
                    <a:pt x="49" y="9"/>
                  </a:cubicBezTo>
                  <a:cubicBezTo>
                    <a:pt x="47" y="9"/>
                    <a:pt x="46" y="9"/>
                    <a:pt x="44" y="9"/>
                  </a:cubicBezTo>
                  <a:cubicBezTo>
                    <a:pt x="43" y="9"/>
                    <a:pt x="43" y="9"/>
                    <a:pt x="42" y="9"/>
                  </a:cubicBezTo>
                  <a:cubicBezTo>
                    <a:pt x="44" y="8"/>
                    <a:pt x="39" y="7"/>
                    <a:pt x="38" y="7"/>
                  </a:cubicBezTo>
                  <a:cubicBezTo>
                    <a:pt x="36" y="7"/>
                    <a:pt x="34" y="6"/>
                    <a:pt x="32" y="6"/>
                  </a:cubicBezTo>
                  <a:cubicBezTo>
                    <a:pt x="30" y="7"/>
                    <a:pt x="27" y="8"/>
                    <a:pt x="25" y="7"/>
                  </a:cubicBezTo>
                  <a:cubicBezTo>
                    <a:pt x="24" y="6"/>
                    <a:pt x="25" y="6"/>
                    <a:pt x="25" y="5"/>
                  </a:cubicBezTo>
                  <a:cubicBezTo>
                    <a:pt x="26" y="4"/>
                    <a:pt x="24" y="4"/>
                    <a:pt x="23" y="3"/>
                  </a:cubicBezTo>
                  <a:cubicBezTo>
                    <a:pt x="21" y="3"/>
                    <a:pt x="19" y="4"/>
                    <a:pt x="17" y="3"/>
                  </a:cubicBezTo>
                  <a:cubicBezTo>
                    <a:pt x="15" y="3"/>
                    <a:pt x="13" y="3"/>
                    <a:pt x="11" y="4"/>
                  </a:cubicBezTo>
                  <a:cubicBezTo>
                    <a:pt x="10" y="5"/>
                    <a:pt x="10" y="5"/>
                    <a:pt x="9" y="5"/>
                  </a:cubicBezTo>
                  <a:cubicBezTo>
                    <a:pt x="8" y="5"/>
                    <a:pt x="7" y="4"/>
                    <a:pt x="6" y="4"/>
                  </a:cubicBezTo>
                  <a:cubicBezTo>
                    <a:pt x="6" y="3"/>
                    <a:pt x="7" y="2"/>
                    <a:pt x="6" y="0"/>
                  </a:cubicBezTo>
                  <a:cubicBezTo>
                    <a:pt x="5" y="0"/>
                    <a:pt x="3" y="0"/>
                    <a:pt x="3" y="0"/>
                  </a:cubicBezTo>
                  <a:cubicBezTo>
                    <a:pt x="3" y="1"/>
                    <a:pt x="3" y="2"/>
                    <a:pt x="2" y="2"/>
                  </a:cubicBezTo>
                  <a:cubicBezTo>
                    <a:pt x="2" y="3"/>
                    <a:pt x="2" y="3"/>
                    <a:pt x="1" y="4"/>
                  </a:cubicBezTo>
                  <a:cubicBezTo>
                    <a:pt x="1" y="4"/>
                    <a:pt x="1" y="4"/>
                    <a:pt x="1" y="4"/>
                  </a:cubicBezTo>
                  <a:cubicBezTo>
                    <a:pt x="1" y="5"/>
                    <a:pt x="1" y="5"/>
                    <a:pt x="1" y="6"/>
                  </a:cubicBezTo>
                  <a:cubicBezTo>
                    <a:pt x="1" y="7"/>
                    <a:pt x="0" y="7"/>
                    <a:pt x="0" y="7"/>
                  </a:cubicBezTo>
                  <a:cubicBezTo>
                    <a:pt x="6" y="10"/>
                    <a:pt x="12" y="12"/>
                    <a:pt x="18" y="15"/>
                  </a:cubicBezTo>
                  <a:cubicBezTo>
                    <a:pt x="22" y="16"/>
                    <a:pt x="27" y="17"/>
                    <a:pt x="31" y="1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94" name="Freeform 2749">
              <a:extLst>
                <a:ext uri="{FF2B5EF4-FFF2-40B4-BE49-F238E27FC236}">
                  <a16:creationId xmlns:a16="http://schemas.microsoft.com/office/drawing/2014/main" id="{876C893D-A465-405A-A066-F4FBB93CF92A}"/>
                </a:ext>
              </a:extLst>
            </p:cNvPr>
            <p:cNvSpPr>
              <a:spLocks/>
            </p:cNvSpPr>
            <p:nvPr/>
          </p:nvSpPr>
          <p:spPr bwMode="auto">
            <a:xfrm>
              <a:off x="5949" y="271"/>
              <a:ext cx="149" cy="80"/>
            </a:xfrm>
            <a:custGeom>
              <a:avLst/>
              <a:gdLst>
                <a:gd name="T0" fmla="*/ 3 w 63"/>
                <a:gd name="T1" fmla="*/ 27 h 34"/>
                <a:gd name="T2" fmla="*/ 1 w 63"/>
                <a:gd name="T3" fmla="*/ 31 h 34"/>
                <a:gd name="T4" fmla="*/ 8 w 63"/>
                <a:gd name="T5" fmla="*/ 33 h 34"/>
                <a:gd name="T6" fmla="*/ 13 w 63"/>
                <a:gd name="T7" fmla="*/ 31 h 34"/>
                <a:gd name="T8" fmla="*/ 18 w 63"/>
                <a:gd name="T9" fmla="*/ 29 h 34"/>
                <a:gd name="T10" fmla="*/ 25 w 63"/>
                <a:gd name="T11" fmla="*/ 28 h 34"/>
                <a:gd name="T12" fmla="*/ 27 w 63"/>
                <a:gd name="T13" fmla="*/ 28 h 34"/>
                <a:gd name="T14" fmla="*/ 31 w 63"/>
                <a:gd name="T15" fmla="*/ 28 h 34"/>
                <a:gd name="T16" fmla="*/ 34 w 63"/>
                <a:gd name="T17" fmla="*/ 28 h 34"/>
                <a:gd name="T18" fmla="*/ 37 w 63"/>
                <a:gd name="T19" fmla="*/ 27 h 34"/>
                <a:gd name="T20" fmla="*/ 40 w 63"/>
                <a:gd name="T21" fmla="*/ 27 h 34"/>
                <a:gd name="T22" fmla="*/ 43 w 63"/>
                <a:gd name="T23" fmla="*/ 27 h 34"/>
                <a:gd name="T24" fmla="*/ 47 w 63"/>
                <a:gd name="T25" fmla="*/ 26 h 34"/>
                <a:gd name="T26" fmla="*/ 50 w 63"/>
                <a:gd name="T27" fmla="*/ 25 h 34"/>
                <a:gd name="T28" fmla="*/ 53 w 63"/>
                <a:gd name="T29" fmla="*/ 25 h 34"/>
                <a:gd name="T30" fmla="*/ 57 w 63"/>
                <a:gd name="T31" fmla="*/ 25 h 34"/>
                <a:gd name="T32" fmla="*/ 61 w 63"/>
                <a:gd name="T33" fmla="*/ 22 h 34"/>
                <a:gd name="T34" fmla="*/ 63 w 63"/>
                <a:gd name="T35" fmla="*/ 19 h 34"/>
                <a:gd name="T36" fmla="*/ 62 w 63"/>
                <a:gd name="T37" fmla="*/ 17 h 34"/>
                <a:gd name="T38" fmla="*/ 61 w 63"/>
                <a:gd name="T39" fmla="*/ 15 h 34"/>
                <a:gd name="T40" fmla="*/ 52 w 63"/>
                <a:gd name="T41" fmla="*/ 13 h 34"/>
                <a:gd name="T42" fmla="*/ 53 w 63"/>
                <a:gd name="T43" fmla="*/ 12 h 34"/>
                <a:gd name="T44" fmla="*/ 52 w 63"/>
                <a:gd name="T45" fmla="*/ 10 h 34"/>
                <a:gd name="T46" fmla="*/ 49 w 63"/>
                <a:gd name="T47" fmla="*/ 10 h 34"/>
                <a:gd name="T48" fmla="*/ 48 w 63"/>
                <a:gd name="T49" fmla="*/ 9 h 34"/>
                <a:gd name="T50" fmla="*/ 48 w 63"/>
                <a:gd name="T51" fmla="*/ 7 h 34"/>
                <a:gd name="T52" fmla="*/ 45 w 63"/>
                <a:gd name="T53" fmla="*/ 6 h 34"/>
                <a:gd name="T54" fmla="*/ 34 w 63"/>
                <a:gd name="T55" fmla="*/ 8 h 34"/>
                <a:gd name="T56" fmla="*/ 35 w 63"/>
                <a:gd name="T57" fmla="*/ 7 h 34"/>
                <a:gd name="T58" fmla="*/ 35 w 63"/>
                <a:gd name="T59" fmla="*/ 6 h 34"/>
                <a:gd name="T60" fmla="*/ 36 w 63"/>
                <a:gd name="T61" fmla="*/ 5 h 34"/>
                <a:gd name="T62" fmla="*/ 36 w 63"/>
                <a:gd name="T63" fmla="*/ 4 h 34"/>
                <a:gd name="T64" fmla="*/ 38 w 63"/>
                <a:gd name="T65" fmla="*/ 2 h 34"/>
                <a:gd name="T66" fmla="*/ 35 w 63"/>
                <a:gd name="T67" fmla="*/ 1 h 34"/>
                <a:gd name="T68" fmla="*/ 31 w 63"/>
                <a:gd name="T69" fmla="*/ 0 h 34"/>
                <a:gd name="T70" fmla="*/ 26 w 63"/>
                <a:gd name="T71" fmla="*/ 4 h 34"/>
                <a:gd name="T72" fmla="*/ 25 w 63"/>
                <a:gd name="T73" fmla="*/ 2 h 34"/>
                <a:gd name="T74" fmla="*/ 20 w 63"/>
                <a:gd name="T75" fmla="*/ 4 h 34"/>
                <a:gd name="T76" fmla="*/ 20 w 63"/>
                <a:gd name="T77" fmla="*/ 9 h 34"/>
                <a:gd name="T78" fmla="*/ 21 w 63"/>
                <a:gd name="T79" fmla="*/ 10 h 34"/>
                <a:gd name="T80" fmla="*/ 22 w 63"/>
                <a:gd name="T81" fmla="*/ 10 h 34"/>
                <a:gd name="T82" fmla="*/ 21 w 63"/>
                <a:gd name="T83" fmla="*/ 10 h 34"/>
                <a:gd name="T84" fmla="*/ 16 w 63"/>
                <a:gd name="T85" fmla="*/ 10 h 34"/>
                <a:gd name="T86" fmla="*/ 15 w 63"/>
                <a:gd name="T87" fmla="*/ 13 h 34"/>
                <a:gd name="T88" fmla="*/ 16 w 63"/>
                <a:gd name="T89" fmla="*/ 15 h 34"/>
                <a:gd name="T90" fmla="*/ 18 w 63"/>
                <a:gd name="T91" fmla="*/ 15 h 34"/>
                <a:gd name="T92" fmla="*/ 12 w 63"/>
                <a:gd name="T93" fmla="*/ 15 h 34"/>
                <a:gd name="T94" fmla="*/ 6 w 63"/>
                <a:gd name="T95" fmla="*/ 23 h 34"/>
                <a:gd name="T96" fmla="*/ 3 w 63"/>
                <a:gd name="T97" fmla="*/ 2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3" h="34">
                  <a:moveTo>
                    <a:pt x="3" y="27"/>
                  </a:moveTo>
                  <a:cubicBezTo>
                    <a:pt x="2" y="28"/>
                    <a:pt x="0" y="30"/>
                    <a:pt x="1" y="31"/>
                  </a:cubicBezTo>
                  <a:cubicBezTo>
                    <a:pt x="1" y="34"/>
                    <a:pt x="6" y="34"/>
                    <a:pt x="8" y="33"/>
                  </a:cubicBezTo>
                  <a:cubicBezTo>
                    <a:pt x="9" y="32"/>
                    <a:pt x="11" y="31"/>
                    <a:pt x="13" y="31"/>
                  </a:cubicBezTo>
                  <a:cubicBezTo>
                    <a:pt x="14" y="30"/>
                    <a:pt x="16" y="30"/>
                    <a:pt x="18" y="29"/>
                  </a:cubicBezTo>
                  <a:cubicBezTo>
                    <a:pt x="20" y="28"/>
                    <a:pt x="23" y="28"/>
                    <a:pt x="25" y="28"/>
                  </a:cubicBezTo>
                  <a:cubicBezTo>
                    <a:pt x="26" y="28"/>
                    <a:pt x="27" y="28"/>
                    <a:pt x="27" y="28"/>
                  </a:cubicBezTo>
                  <a:cubicBezTo>
                    <a:pt x="28" y="28"/>
                    <a:pt x="30" y="28"/>
                    <a:pt x="31" y="28"/>
                  </a:cubicBezTo>
                  <a:cubicBezTo>
                    <a:pt x="32" y="28"/>
                    <a:pt x="34" y="27"/>
                    <a:pt x="34" y="28"/>
                  </a:cubicBezTo>
                  <a:cubicBezTo>
                    <a:pt x="34" y="29"/>
                    <a:pt x="36" y="27"/>
                    <a:pt x="37" y="27"/>
                  </a:cubicBezTo>
                  <a:cubicBezTo>
                    <a:pt x="37" y="26"/>
                    <a:pt x="39" y="27"/>
                    <a:pt x="40" y="27"/>
                  </a:cubicBezTo>
                  <a:cubicBezTo>
                    <a:pt x="41" y="27"/>
                    <a:pt x="42" y="27"/>
                    <a:pt x="43" y="27"/>
                  </a:cubicBezTo>
                  <a:cubicBezTo>
                    <a:pt x="45" y="26"/>
                    <a:pt x="46" y="27"/>
                    <a:pt x="47" y="26"/>
                  </a:cubicBezTo>
                  <a:cubicBezTo>
                    <a:pt x="48" y="26"/>
                    <a:pt x="49" y="25"/>
                    <a:pt x="50" y="25"/>
                  </a:cubicBezTo>
                  <a:cubicBezTo>
                    <a:pt x="51" y="25"/>
                    <a:pt x="52" y="25"/>
                    <a:pt x="53" y="25"/>
                  </a:cubicBezTo>
                  <a:cubicBezTo>
                    <a:pt x="55" y="24"/>
                    <a:pt x="56" y="25"/>
                    <a:pt x="57" y="25"/>
                  </a:cubicBezTo>
                  <a:cubicBezTo>
                    <a:pt x="58" y="24"/>
                    <a:pt x="60" y="22"/>
                    <a:pt x="61" y="22"/>
                  </a:cubicBezTo>
                  <a:cubicBezTo>
                    <a:pt x="62" y="21"/>
                    <a:pt x="63" y="21"/>
                    <a:pt x="63" y="19"/>
                  </a:cubicBezTo>
                  <a:cubicBezTo>
                    <a:pt x="63" y="18"/>
                    <a:pt x="62" y="18"/>
                    <a:pt x="62" y="17"/>
                  </a:cubicBezTo>
                  <a:cubicBezTo>
                    <a:pt x="61" y="16"/>
                    <a:pt x="61" y="16"/>
                    <a:pt x="61" y="15"/>
                  </a:cubicBezTo>
                  <a:cubicBezTo>
                    <a:pt x="59" y="12"/>
                    <a:pt x="55" y="14"/>
                    <a:pt x="52" y="13"/>
                  </a:cubicBezTo>
                  <a:cubicBezTo>
                    <a:pt x="53" y="13"/>
                    <a:pt x="54" y="13"/>
                    <a:pt x="53" y="12"/>
                  </a:cubicBezTo>
                  <a:cubicBezTo>
                    <a:pt x="53" y="11"/>
                    <a:pt x="52" y="10"/>
                    <a:pt x="52" y="10"/>
                  </a:cubicBezTo>
                  <a:cubicBezTo>
                    <a:pt x="51" y="10"/>
                    <a:pt x="50" y="10"/>
                    <a:pt x="49" y="10"/>
                  </a:cubicBezTo>
                  <a:cubicBezTo>
                    <a:pt x="49" y="10"/>
                    <a:pt x="48" y="8"/>
                    <a:pt x="48" y="9"/>
                  </a:cubicBezTo>
                  <a:cubicBezTo>
                    <a:pt x="48" y="8"/>
                    <a:pt x="49" y="7"/>
                    <a:pt x="48" y="7"/>
                  </a:cubicBezTo>
                  <a:cubicBezTo>
                    <a:pt x="47" y="7"/>
                    <a:pt x="46" y="6"/>
                    <a:pt x="45" y="6"/>
                  </a:cubicBezTo>
                  <a:cubicBezTo>
                    <a:pt x="41" y="6"/>
                    <a:pt x="37" y="8"/>
                    <a:pt x="34" y="8"/>
                  </a:cubicBezTo>
                  <a:cubicBezTo>
                    <a:pt x="34" y="8"/>
                    <a:pt x="34" y="8"/>
                    <a:pt x="35" y="7"/>
                  </a:cubicBezTo>
                  <a:cubicBezTo>
                    <a:pt x="35" y="7"/>
                    <a:pt x="35" y="7"/>
                    <a:pt x="35" y="6"/>
                  </a:cubicBezTo>
                  <a:cubicBezTo>
                    <a:pt x="35" y="6"/>
                    <a:pt x="35" y="6"/>
                    <a:pt x="36" y="5"/>
                  </a:cubicBezTo>
                  <a:cubicBezTo>
                    <a:pt x="36" y="5"/>
                    <a:pt x="36" y="5"/>
                    <a:pt x="36" y="4"/>
                  </a:cubicBezTo>
                  <a:cubicBezTo>
                    <a:pt x="36" y="4"/>
                    <a:pt x="41" y="3"/>
                    <a:pt x="38" y="2"/>
                  </a:cubicBezTo>
                  <a:cubicBezTo>
                    <a:pt x="37" y="2"/>
                    <a:pt x="37" y="1"/>
                    <a:pt x="35" y="1"/>
                  </a:cubicBezTo>
                  <a:cubicBezTo>
                    <a:pt x="34" y="1"/>
                    <a:pt x="32" y="0"/>
                    <a:pt x="31" y="0"/>
                  </a:cubicBezTo>
                  <a:cubicBezTo>
                    <a:pt x="29" y="1"/>
                    <a:pt x="30" y="6"/>
                    <a:pt x="26" y="4"/>
                  </a:cubicBezTo>
                  <a:cubicBezTo>
                    <a:pt x="26" y="4"/>
                    <a:pt x="26" y="2"/>
                    <a:pt x="25" y="2"/>
                  </a:cubicBezTo>
                  <a:cubicBezTo>
                    <a:pt x="23" y="2"/>
                    <a:pt x="21" y="3"/>
                    <a:pt x="20" y="4"/>
                  </a:cubicBezTo>
                  <a:cubicBezTo>
                    <a:pt x="18" y="6"/>
                    <a:pt x="17" y="8"/>
                    <a:pt x="20" y="9"/>
                  </a:cubicBezTo>
                  <a:cubicBezTo>
                    <a:pt x="20" y="10"/>
                    <a:pt x="20" y="10"/>
                    <a:pt x="21" y="10"/>
                  </a:cubicBezTo>
                  <a:cubicBezTo>
                    <a:pt x="21" y="10"/>
                    <a:pt x="21" y="10"/>
                    <a:pt x="22" y="10"/>
                  </a:cubicBezTo>
                  <a:cubicBezTo>
                    <a:pt x="21" y="10"/>
                    <a:pt x="21" y="10"/>
                    <a:pt x="21" y="10"/>
                  </a:cubicBezTo>
                  <a:cubicBezTo>
                    <a:pt x="19" y="9"/>
                    <a:pt x="17" y="9"/>
                    <a:pt x="16" y="10"/>
                  </a:cubicBezTo>
                  <a:cubicBezTo>
                    <a:pt x="16" y="11"/>
                    <a:pt x="15" y="12"/>
                    <a:pt x="15" y="13"/>
                  </a:cubicBezTo>
                  <a:cubicBezTo>
                    <a:pt x="15" y="14"/>
                    <a:pt x="15" y="14"/>
                    <a:pt x="16" y="15"/>
                  </a:cubicBezTo>
                  <a:cubicBezTo>
                    <a:pt x="17" y="15"/>
                    <a:pt x="17" y="15"/>
                    <a:pt x="18" y="15"/>
                  </a:cubicBezTo>
                  <a:cubicBezTo>
                    <a:pt x="16" y="16"/>
                    <a:pt x="13" y="14"/>
                    <a:pt x="12" y="15"/>
                  </a:cubicBezTo>
                  <a:cubicBezTo>
                    <a:pt x="9" y="16"/>
                    <a:pt x="8" y="20"/>
                    <a:pt x="6" y="23"/>
                  </a:cubicBezTo>
                  <a:cubicBezTo>
                    <a:pt x="6" y="25"/>
                    <a:pt x="5" y="26"/>
                    <a:pt x="3" y="2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95" name="Freeform 2750">
              <a:extLst>
                <a:ext uri="{FF2B5EF4-FFF2-40B4-BE49-F238E27FC236}">
                  <a16:creationId xmlns:a16="http://schemas.microsoft.com/office/drawing/2014/main" id="{99C47CBF-1728-47BA-8291-71E7C664DF6B}"/>
                </a:ext>
              </a:extLst>
            </p:cNvPr>
            <p:cNvSpPr>
              <a:spLocks/>
            </p:cNvSpPr>
            <p:nvPr/>
          </p:nvSpPr>
          <p:spPr bwMode="auto">
            <a:xfrm>
              <a:off x="4712" y="744"/>
              <a:ext cx="57" cy="38"/>
            </a:xfrm>
            <a:custGeom>
              <a:avLst/>
              <a:gdLst>
                <a:gd name="T0" fmla="*/ 17 w 24"/>
                <a:gd name="T1" fmla="*/ 5 h 16"/>
                <a:gd name="T2" fmla="*/ 6 w 24"/>
                <a:gd name="T3" fmla="*/ 2 h 16"/>
                <a:gd name="T4" fmla="*/ 1 w 24"/>
                <a:gd name="T5" fmla="*/ 8 h 16"/>
                <a:gd name="T6" fmla="*/ 0 w 24"/>
                <a:gd name="T7" fmla="*/ 11 h 16"/>
                <a:gd name="T8" fmla="*/ 6 w 24"/>
                <a:gd name="T9" fmla="*/ 16 h 16"/>
                <a:gd name="T10" fmla="*/ 14 w 24"/>
                <a:gd name="T11" fmla="*/ 13 h 16"/>
                <a:gd name="T12" fmla="*/ 18 w 24"/>
                <a:gd name="T13" fmla="*/ 11 h 16"/>
                <a:gd name="T14" fmla="*/ 19 w 24"/>
                <a:gd name="T15" fmla="*/ 9 h 16"/>
                <a:gd name="T16" fmla="*/ 21 w 24"/>
                <a:gd name="T17" fmla="*/ 8 h 16"/>
                <a:gd name="T18" fmla="*/ 20 w 24"/>
                <a:gd name="T19" fmla="*/ 11 h 16"/>
                <a:gd name="T20" fmla="*/ 17 w 24"/>
                <a:gd name="T21"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16">
                  <a:moveTo>
                    <a:pt x="17" y="5"/>
                  </a:moveTo>
                  <a:cubicBezTo>
                    <a:pt x="14" y="3"/>
                    <a:pt x="10" y="0"/>
                    <a:pt x="6" y="2"/>
                  </a:cubicBezTo>
                  <a:cubicBezTo>
                    <a:pt x="3" y="3"/>
                    <a:pt x="1" y="5"/>
                    <a:pt x="1" y="8"/>
                  </a:cubicBezTo>
                  <a:cubicBezTo>
                    <a:pt x="1" y="9"/>
                    <a:pt x="0" y="10"/>
                    <a:pt x="0" y="11"/>
                  </a:cubicBezTo>
                  <a:cubicBezTo>
                    <a:pt x="1" y="13"/>
                    <a:pt x="4" y="14"/>
                    <a:pt x="6" y="16"/>
                  </a:cubicBezTo>
                  <a:cubicBezTo>
                    <a:pt x="9" y="15"/>
                    <a:pt x="12" y="14"/>
                    <a:pt x="14" y="13"/>
                  </a:cubicBezTo>
                  <a:cubicBezTo>
                    <a:pt x="15" y="13"/>
                    <a:pt x="17" y="12"/>
                    <a:pt x="18" y="11"/>
                  </a:cubicBezTo>
                  <a:cubicBezTo>
                    <a:pt x="18" y="10"/>
                    <a:pt x="18" y="10"/>
                    <a:pt x="19" y="9"/>
                  </a:cubicBezTo>
                  <a:cubicBezTo>
                    <a:pt x="19" y="9"/>
                    <a:pt x="20" y="8"/>
                    <a:pt x="21" y="8"/>
                  </a:cubicBezTo>
                  <a:cubicBezTo>
                    <a:pt x="21" y="9"/>
                    <a:pt x="20" y="10"/>
                    <a:pt x="20" y="11"/>
                  </a:cubicBezTo>
                  <a:cubicBezTo>
                    <a:pt x="24" y="9"/>
                    <a:pt x="20" y="6"/>
                    <a:pt x="17"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96" name="Freeform 2751">
              <a:extLst>
                <a:ext uri="{FF2B5EF4-FFF2-40B4-BE49-F238E27FC236}">
                  <a16:creationId xmlns:a16="http://schemas.microsoft.com/office/drawing/2014/main" id="{BD6C5842-C146-4C8A-B6CC-8F54E29451E0}"/>
                </a:ext>
              </a:extLst>
            </p:cNvPr>
            <p:cNvSpPr>
              <a:spLocks/>
            </p:cNvSpPr>
            <p:nvPr/>
          </p:nvSpPr>
          <p:spPr bwMode="auto">
            <a:xfrm>
              <a:off x="6968" y="1312"/>
              <a:ext cx="76" cy="272"/>
            </a:xfrm>
            <a:custGeom>
              <a:avLst/>
              <a:gdLst>
                <a:gd name="T0" fmla="*/ 1 w 32"/>
                <a:gd name="T1" fmla="*/ 37 h 115"/>
                <a:gd name="T2" fmla="*/ 7 w 32"/>
                <a:gd name="T3" fmla="*/ 48 h 115"/>
                <a:gd name="T4" fmla="*/ 6 w 32"/>
                <a:gd name="T5" fmla="*/ 60 h 115"/>
                <a:gd name="T6" fmla="*/ 3 w 32"/>
                <a:gd name="T7" fmla="*/ 78 h 115"/>
                <a:gd name="T8" fmla="*/ 5 w 32"/>
                <a:gd name="T9" fmla="*/ 82 h 115"/>
                <a:gd name="T10" fmla="*/ 4 w 32"/>
                <a:gd name="T11" fmla="*/ 93 h 115"/>
                <a:gd name="T12" fmla="*/ 3 w 32"/>
                <a:gd name="T13" fmla="*/ 107 h 115"/>
                <a:gd name="T14" fmla="*/ 5 w 32"/>
                <a:gd name="T15" fmla="*/ 115 h 115"/>
                <a:gd name="T16" fmla="*/ 12 w 32"/>
                <a:gd name="T17" fmla="*/ 104 h 115"/>
                <a:gd name="T18" fmla="*/ 18 w 32"/>
                <a:gd name="T19" fmla="*/ 106 h 115"/>
                <a:gd name="T20" fmla="*/ 19 w 32"/>
                <a:gd name="T21" fmla="*/ 110 h 115"/>
                <a:gd name="T22" fmla="*/ 20 w 32"/>
                <a:gd name="T23" fmla="*/ 111 h 115"/>
                <a:gd name="T24" fmla="*/ 20 w 32"/>
                <a:gd name="T25" fmla="*/ 108 h 115"/>
                <a:gd name="T26" fmla="*/ 16 w 32"/>
                <a:gd name="T27" fmla="*/ 103 h 115"/>
                <a:gd name="T28" fmla="*/ 16 w 32"/>
                <a:gd name="T29" fmla="*/ 104 h 115"/>
                <a:gd name="T30" fmla="*/ 16 w 32"/>
                <a:gd name="T31" fmla="*/ 102 h 115"/>
                <a:gd name="T32" fmla="*/ 10 w 32"/>
                <a:gd name="T33" fmla="*/ 88 h 115"/>
                <a:gd name="T34" fmla="*/ 16 w 32"/>
                <a:gd name="T35" fmla="*/ 72 h 115"/>
                <a:gd name="T36" fmla="*/ 19 w 32"/>
                <a:gd name="T37" fmla="*/ 69 h 115"/>
                <a:gd name="T38" fmla="*/ 22 w 32"/>
                <a:gd name="T39" fmla="*/ 70 h 115"/>
                <a:gd name="T40" fmla="*/ 28 w 32"/>
                <a:gd name="T41" fmla="*/ 74 h 115"/>
                <a:gd name="T42" fmla="*/ 32 w 32"/>
                <a:gd name="T43" fmla="*/ 78 h 115"/>
                <a:gd name="T44" fmla="*/ 30 w 32"/>
                <a:gd name="T45" fmla="*/ 75 h 115"/>
                <a:gd name="T46" fmla="*/ 27 w 32"/>
                <a:gd name="T47" fmla="*/ 69 h 115"/>
                <a:gd name="T48" fmla="*/ 26 w 32"/>
                <a:gd name="T49" fmla="*/ 66 h 115"/>
                <a:gd name="T50" fmla="*/ 19 w 32"/>
                <a:gd name="T51" fmla="*/ 43 h 115"/>
                <a:gd name="T52" fmla="*/ 18 w 32"/>
                <a:gd name="T53" fmla="*/ 39 h 115"/>
                <a:gd name="T54" fmla="*/ 17 w 32"/>
                <a:gd name="T55" fmla="*/ 41 h 115"/>
                <a:gd name="T56" fmla="*/ 16 w 32"/>
                <a:gd name="T57" fmla="*/ 32 h 115"/>
                <a:gd name="T58" fmla="*/ 16 w 32"/>
                <a:gd name="T59" fmla="*/ 29 h 115"/>
                <a:gd name="T60" fmla="*/ 15 w 32"/>
                <a:gd name="T61" fmla="*/ 17 h 115"/>
                <a:gd name="T62" fmla="*/ 16 w 32"/>
                <a:gd name="T63" fmla="*/ 17 h 115"/>
                <a:gd name="T64" fmla="*/ 18 w 32"/>
                <a:gd name="T65" fmla="*/ 22 h 115"/>
                <a:gd name="T66" fmla="*/ 13 w 32"/>
                <a:gd name="T67" fmla="*/ 9 h 115"/>
                <a:gd name="T68" fmla="*/ 14 w 32"/>
                <a:gd name="T69" fmla="*/ 4 h 115"/>
                <a:gd name="T70" fmla="*/ 11 w 32"/>
                <a:gd name="T71" fmla="*/ 1 h 115"/>
                <a:gd name="T72" fmla="*/ 10 w 32"/>
                <a:gd name="T73" fmla="*/ 3 h 115"/>
                <a:gd name="T74" fmla="*/ 12 w 32"/>
                <a:gd name="T75" fmla="*/ 8 h 115"/>
                <a:gd name="T76" fmla="*/ 11 w 32"/>
                <a:gd name="T77" fmla="*/ 12 h 115"/>
                <a:gd name="T78" fmla="*/ 10 w 32"/>
                <a:gd name="T79" fmla="*/ 13 h 115"/>
                <a:gd name="T80" fmla="*/ 11 w 32"/>
                <a:gd name="T81" fmla="*/ 13 h 115"/>
                <a:gd name="T82" fmla="*/ 7 w 32"/>
                <a:gd name="T83" fmla="*/ 14 h 115"/>
                <a:gd name="T84" fmla="*/ 2 w 32"/>
                <a:gd name="T85" fmla="*/ 16 h 115"/>
                <a:gd name="T86" fmla="*/ 3 w 32"/>
                <a:gd name="T87" fmla="*/ 2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 h="115">
                  <a:moveTo>
                    <a:pt x="2" y="29"/>
                  </a:moveTo>
                  <a:cubicBezTo>
                    <a:pt x="2" y="31"/>
                    <a:pt x="0" y="35"/>
                    <a:pt x="1" y="37"/>
                  </a:cubicBezTo>
                  <a:cubicBezTo>
                    <a:pt x="3" y="40"/>
                    <a:pt x="5" y="42"/>
                    <a:pt x="6" y="45"/>
                  </a:cubicBezTo>
                  <a:cubicBezTo>
                    <a:pt x="7" y="46"/>
                    <a:pt x="7" y="47"/>
                    <a:pt x="7" y="48"/>
                  </a:cubicBezTo>
                  <a:cubicBezTo>
                    <a:pt x="6" y="49"/>
                    <a:pt x="5" y="50"/>
                    <a:pt x="5" y="52"/>
                  </a:cubicBezTo>
                  <a:cubicBezTo>
                    <a:pt x="6" y="55"/>
                    <a:pt x="6" y="58"/>
                    <a:pt x="6" y="60"/>
                  </a:cubicBezTo>
                  <a:cubicBezTo>
                    <a:pt x="6" y="63"/>
                    <a:pt x="5" y="66"/>
                    <a:pt x="5" y="69"/>
                  </a:cubicBezTo>
                  <a:cubicBezTo>
                    <a:pt x="4" y="72"/>
                    <a:pt x="3" y="75"/>
                    <a:pt x="3" y="78"/>
                  </a:cubicBezTo>
                  <a:cubicBezTo>
                    <a:pt x="3" y="78"/>
                    <a:pt x="3" y="79"/>
                    <a:pt x="3" y="79"/>
                  </a:cubicBezTo>
                  <a:cubicBezTo>
                    <a:pt x="4" y="80"/>
                    <a:pt x="5" y="81"/>
                    <a:pt x="5" y="82"/>
                  </a:cubicBezTo>
                  <a:cubicBezTo>
                    <a:pt x="6" y="84"/>
                    <a:pt x="6" y="87"/>
                    <a:pt x="6" y="89"/>
                  </a:cubicBezTo>
                  <a:cubicBezTo>
                    <a:pt x="5" y="90"/>
                    <a:pt x="4" y="91"/>
                    <a:pt x="4" y="93"/>
                  </a:cubicBezTo>
                  <a:cubicBezTo>
                    <a:pt x="4" y="95"/>
                    <a:pt x="5" y="98"/>
                    <a:pt x="5" y="100"/>
                  </a:cubicBezTo>
                  <a:cubicBezTo>
                    <a:pt x="4" y="103"/>
                    <a:pt x="3" y="105"/>
                    <a:pt x="3" y="107"/>
                  </a:cubicBezTo>
                  <a:cubicBezTo>
                    <a:pt x="3" y="108"/>
                    <a:pt x="3" y="109"/>
                    <a:pt x="3" y="110"/>
                  </a:cubicBezTo>
                  <a:cubicBezTo>
                    <a:pt x="4" y="112"/>
                    <a:pt x="4" y="113"/>
                    <a:pt x="5" y="115"/>
                  </a:cubicBezTo>
                  <a:cubicBezTo>
                    <a:pt x="6" y="112"/>
                    <a:pt x="7" y="109"/>
                    <a:pt x="9" y="106"/>
                  </a:cubicBezTo>
                  <a:cubicBezTo>
                    <a:pt x="9" y="105"/>
                    <a:pt x="10" y="104"/>
                    <a:pt x="12" y="104"/>
                  </a:cubicBezTo>
                  <a:cubicBezTo>
                    <a:pt x="12" y="105"/>
                    <a:pt x="12" y="105"/>
                    <a:pt x="13" y="106"/>
                  </a:cubicBezTo>
                  <a:cubicBezTo>
                    <a:pt x="14" y="106"/>
                    <a:pt x="17" y="106"/>
                    <a:pt x="18" y="106"/>
                  </a:cubicBezTo>
                  <a:cubicBezTo>
                    <a:pt x="19" y="107"/>
                    <a:pt x="18" y="107"/>
                    <a:pt x="18" y="108"/>
                  </a:cubicBezTo>
                  <a:cubicBezTo>
                    <a:pt x="18" y="109"/>
                    <a:pt x="18" y="109"/>
                    <a:pt x="19" y="110"/>
                  </a:cubicBezTo>
                  <a:cubicBezTo>
                    <a:pt x="19" y="111"/>
                    <a:pt x="19" y="112"/>
                    <a:pt x="19" y="113"/>
                  </a:cubicBezTo>
                  <a:cubicBezTo>
                    <a:pt x="19" y="112"/>
                    <a:pt x="19" y="112"/>
                    <a:pt x="20" y="111"/>
                  </a:cubicBezTo>
                  <a:cubicBezTo>
                    <a:pt x="20" y="110"/>
                    <a:pt x="20" y="110"/>
                    <a:pt x="21" y="109"/>
                  </a:cubicBezTo>
                  <a:cubicBezTo>
                    <a:pt x="21" y="108"/>
                    <a:pt x="20" y="109"/>
                    <a:pt x="20" y="108"/>
                  </a:cubicBezTo>
                  <a:cubicBezTo>
                    <a:pt x="20" y="108"/>
                    <a:pt x="20" y="107"/>
                    <a:pt x="20" y="106"/>
                  </a:cubicBezTo>
                  <a:cubicBezTo>
                    <a:pt x="19" y="104"/>
                    <a:pt x="20" y="102"/>
                    <a:pt x="16" y="103"/>
                  </a:cubicBezTo>
                  <a:cubicBezTo>
                    <a:pt x="17" y="103"/>
                    <a:pt x="18" y="104"/>
                    <a:pt x="18" y="105"/>
                  </a:cubicBezTo>
                  <a:cubicBezTo>
                    <a:pt x="18" y="105"/>
                    <a:pt x="16" y="105"/>
                    <a:pt x="16" y="104"/>
                  </a:cubicBezTo>
                  <a:cubicBezTo>
                    <a:pt x="16" y="104"/>
                    <a:pt x="16" y="104"/>
                    <a:pt x="16" y="103"/>
                  </a:cubicBezTo>
                  <a:cubicBezTo>
                    <a:pt x="16" y="102"/>
                    <a:pt x="16" y="103"/>
                    <a:pt x="16" y="102"/>
                  </a:cubicBezTo>
                  <a:cubicBezTo>
                    <a:pt x="15" y="101"/>
                    <a:pt x="15" y="99"/>
                    <a:pt x="14" y="97"/>
                  </a:cubicBezTo>
                  <a:cubicBezTo>
                    <a:pt x="12" y="95"/>
                    <a:pt x="9" y="92"/>
                    <a:pt x="10" y="88"/>
                  </a:cubicBezTo>
                  <a:cubicBezTo>
                    <a:pt x="11" y="85"/>
                    <a:pt x="12" y="82"/>
                    <a:pt x="13" y="78"/>
                  </a:cubicBezTo>
                  <a:cubicBezTo>
                    <a:pt x="14" y="76"/>
                    <a:pt x="15" y="73"/>
                    <a:pt x="16" y="72"/>
                  </a:cubicBezTo>
                  <a:cubicBezTo>
                    <a:pt x="17" y="70"/>
                    <a:pt x="20" y="71"/>
                    <a:pt x="21" y="70"/>
                  </a:cubicBezTo>
                  <a:cubicBezTo>
                    <a:pt x="20" y="70"/>
                    <a:pt x="19" y="71"/>
                    <a:pt x="19" y="69"/>
                  </a:cubicBezTo>
                  <a:cubicBezTo>
                    <a:pt x="20" y="70"/>
                    <a:pt x="21" y="70"/>
                    <a:pt x="22" y="70"/>
                  </a:cubicBezTo>
                  <a:cubicBezTo>
                    <a:pt x="22" y="70"/>
                    <a:pt x="22" y="70"/>
                    <a:pt x="22" y="70"/>
                  </a:cubicBezTo>
                  <a:cubicBezTo>
                    <a:pt x="23" y="71"/>
                    <a:pt x="25" y="71"/>
                    <a:pt x="26" y="72"/>
                  </a:cubicBezTo>
                  <a:cubicBezTo>
                    <a:pt x="27" y="73"/>
                    <a:pt x="27" y="73"/>
                    <a:pt x="28" y="74"/>
                  </a:cubicBezTo>
                  <a:cubicBezTo>
                    <a:pt x="29" y="75"/>
                    <a:pt x="30" y="75"/>
                    <a:pt x="30" y="76"/>
                  </a:cubicBezTo>
                  <a:cubicBezTo>
                    <a:pt x="31" y="76"/>
                    <a:pt x="31" y="77"/>
                    <a:pt x="32" y="78"/>
                  </a:cubicBezTo>
                  <a:cubicBezTo>
                    <a:pt x="32" y="78"/>
                    <a:pt x="32" y="78"/>
                    <a:pt x="32" y="77"/>
                  </a:cubicBezTo>
                  <a:cubicBezTo>
                    <a:pt x="32" y="76"/>
                    <a:pt x="31" y="76"/>
                    <a:pt x="30" y="75"/>
                  </a:cubicBezTo>
                  <a:cubicBezTo>
                    <a:pt x="29" y="74"/>
                    <a:pt x="29" y="73"/>
                    <a:pt x="28" y="72"/>
                  </a:cubicBezTo>
                  <a:cubicBezTo>
                    <a:pt x="28" y="71"/>
                    <a:pt x="27" y="70"/>
                    <a:pt x="27" y="69"/>
                  </a:cubicBezTo>
                  <a:cubicBezTo>
                    <a:pt x="27" y="69"/>
                    <a:pt x="27" y="68"/>
                    <a:pt x="27" y="68"/>
                  </a:cubicBezTo>
                  <a:cubicBezTo>
                    <a:pt x="27" y="67"/>
                    <a:pt x="26" y="67"/>
                    <a:pt x="26" y="66"/>
                  </a:cubicBezTo>
                  <a:cubicBezTo>
                    <a:pt x="24" y="59"/>
                    <a:pt x="22" y="52"/>
                    <a:pt x="20" y="45"/>
                  </a:cubicBezTo>
                  <a:cubicBezTo>
                    <a:pt x="20" y="44"/>
                    <a:pt x="19" y="44"/>
                    <a:pt x="19" y="43"/>
                  </a:cubicBezTo>
                  <a:cubicBezTo>
                    <a:pt x="18" y="43"/>
                    <a:pt x="19" y="42"/>
                    <a:pt x="19" y="41"/>
                  </a:cubicBezTo>
                  <a:cubicBezTo>
                    <a:pt x="19" y="41"/>
                    <a:pt x="18" y="39"/>
                    <a:pt x="18" y="39"/>
                  </a:cubicBezTo>
                  <a:cubicBezTo>
                    <a:pt x="18" y="39"/>
                    <a:pt x="18" y="40"/>
                    <a:pt x="18" y="40"/>
                  </a:cubicBezTo>
                  <a:cubicBezTo>
                    <a:pt x="18" y="40"/>
                    <a:pt x="19" y="41"/>
                    <a:pt x="17" y="41"/>
                  </a:cubicBezTo>
                  <a:cubicBezTo>
                    <a:pt x="16" y="41"/>
                    <a:pt x="17" y="39"/>
                    <a:pt x="17" y="39"/>
                  </a:cubicBezTo>
                  <a:cubicBezTo>
                    <a:pt x="16" y="37"/>
                    <a:pt x="15" y="34"/>
                    <a:pt x="16" y="32"/>
                  </a:cubicBezTo>
                  <a:cubicBezTo>
                    <a:pt x="16" y="32"/>
                    <a:pt x="16" y="33"/>
                    <a:pt x="16" y="33"/>
                  </a:cubicBezTo>
                  <a:cubicBezTo>
                    <a:pt x="16" y="31"/>
                    <a:pt x="16" y="30"/>
                    <a:pt x="16" y="29"/>
                  </a:cubicBezTo>
                  <a:cubicBezTo>
                    <a:pt x="17" y="27"/>
                    <a:pt x="17" y="25"/>
                    <a:pt x="17" y="23"/>
                  </a:cubicBezTo>
                  <a:cubicBezTo>
                    <a:pt x="17" y="21"/>
                    <a:pt x="16" y="20"/>
                    <a:pt x="15" y="17"/>
                  </a:cubicBezTo>
                  <a:cubicBezTo>
                    <a:pt x="15" y="17"/>
                    <a:pt x="15" y="15"/>
                    <a:pt x="16" y="16"/>
                  </a:cubicBezTo>
                  <a:cubicBezTo>
                    <a:pt x="17" y="16"/>
                    <a:pt x="16" y="17"/>
                    <a:pt x="16" y="17"/>
                  </a:cubicBezTo>
                  <a:cubicBezTo>
                    <a:pt x="16" y="18"/>
                    <a:pt x="17" y="18"/>
                    <a:pt x="17" y="19"/>
                  </a:cubicBezTo>
                  <a:cubicBezTo>
                    <a:pt x="18" y="20"/>
                    <a:pt x="18" y="21"/>
                    <a:pt x="18" y="22"/>
                  </a:cubicBezTo>
                  <a:cubicBezTo>
                    <a:pt x="18" y="19"/>
                    <a:pt x="17" y="16"/>
                    <a:pt x="16" y="14"/>
                  </a:cubicBezTo>
                  <a:cubicBezTo>
                    <a:pt x="15" y="12"/>
                    <a:pt x="14" y="11"/>
                    <a:pt x="13" y="9"/>
                  </a:cubicBezTo>
                  <a:cubicBezTo>
                    <a:pt x="13" y="8"/>
                    <a:pt x="13" y="8"/>
                    <a:pt x="14" y="7"/>
                  </a:cubicBezTo>
                  <a:cubicBezTo>
                    <a:pt x="14" y="6"/>
                    <a:pt x="15" y="5"/>
                    <a:pt x="14" y="4"/>
                  </a:cubicBezTo>
                  <a:cubicBezTo>
                    <a:pt x="14" y="4"/>
                    <a:pt x="13" y="3"/>
                    <a:pt x="13" y="3"/>
                  </a:cubicBezTo>
                  <a:cubicBezTo>
                    <a:pt x="12" y="2"/>
                    <a:pt x="12" y="0"/>
                    <a:pt x="11" y="1"/>
                  </a:cubicBezTo>
                  <a:cubicBezTo>
                    <a:pt x="11" y="1"/>
                    <a:pt x="11" y="3"/>
                    <a:pt x="11" y="3"/>
                  </a:cubicBezTo>
                  <a:cubicBezTo>
                    <a:pt x="10" y="2"/>
                    <a:pt x="10" y="3"/>
                    <a:pt x="10" y="3"/>
                  </a:cubicBezTo>
                  <a:cubicBezTo>
                    <a:pt x="9" y="3"/>
                    <a:pt x="8" y="3"/>
                    <a:pt x="7" y="2"/>
                  </a:cubicBezTo>
                  <a:cubicBezTo>
                    <a:pt x="8" y="4"/>
                    <a:pt x="11" y="6"/>
                    <a:pt x="12" y="8"/>
                  </a:cubicBezTo>
                  <a:cubicBezTo>
                    <a:pt x="12" y="9"/>
                    <a:pt x="10" y="10"/>
                    <a:pt x="11" y="11"/>
                  </a:cubicBezTo>
                  <a:cubicBezTo>
                    <a:pt x="11" y="11"/>
                    <a:pt x="13" y="11"/>
                    <a:pt x="11" y="12"/>
                  </a:cubicBezTo>
                  <a:cubicBezTo>
                    <a:pt x="11" y="12"/>
                    <a:pt x="11" y="11"/>
                    <a:pt x="10" y="11"/>
                  </a:cubicBezTo>
                  <a:cubicBezTo>
                    <a:pt x="10" y="11"/>
                    <a:pt x="10" y="13"/>
                    <a:pt x="10" y="13"/>
                  </a:cubicBezTo>
                  <a:cubicBezTo>
                    <a:pt x="10" y="13"/>
                    <a:pt x="11" y="13"/>
                    <a:pt x="11" y="13"/>
                  </a:cubicBezTo>
                  <a:cubicBezTo>
                    <a:pt x="11" y="13"/>
                    <a:pt x="11" y="13"/>
                    <a:pt x="11" y="13"/>
                  </a:cubicBezTo>
                  <a:cubicBezTo>
                    <a:pt x="11" y="13"/>
                    <a:pt x="9" y="15"/>
                    <a:pt x="9" y="15"/>
                  </a:cubicBezTo>
                  <a:cubicBezTo>
                    <a:pt x="8" y="16"/>
                    <a:pt x="7" y="15"/>
                    <a:pt x="7" y="14"/>
                  </a:cubicBezTo>
                  <a:cubicBezTo>
                    <a:pt x="6" y="13"/>
                    <a:pt x="7" y="13"/>
                    <a:pt x="5" y="14"/>
                  </a:cubicBezTo>
                  <a:cubicBezTo>
                    <a:pt x="4" y="14"/>
                    <a:pt x="2" y="15"/>
                    <a:pt x="2" y="16"/>
                  </a:cubicBezTo>
                  <a:cubicBezTo>
                    <a:pt x="3" y="18"/>
                    <a:pt x="3" y="19"/>
                    <a:pt x="3" y="21"/>
                  </a:cubicBezTo>
                  <a:cubicBezTo>
                    <a:pt x="3" y="22"/>
                    <a:pt x="3" y="24"/>
                    <a:pt x="3" y="25"/>
                  </a:cubicBezTo>
                  <a:cubicBezTo>
                    <a:pt x="3" y="26"/>
                    <a:pt x="2" y="28"/>
                    <a:pt x="2" y="29"/>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97" name="Freeform 2752">
              <a:extLst>
                <a:ext uri="{FF2B5EF4-FFF2-40B4-BE49-F238E27FC236}">
                  <a16:creationId xmlns:a16="http://schemas.microsoft.com/office/drawing/2014/main" id="{00829409-BC5F-425F-92F0-98E2116E694A}"/>
                </a:ext>
              </a:extLst>
            </p:cNvPr>
            <p:cNvSpPr>
              <a:spLocks/>
            </p:cNvSpPr>
            <p:nvPr/>
          </p:nvSpPr>
          <p:spPr bwMode="auto">
            <a:xfrm>
              <a:off x="4864" y="181"/>
              <a:ext cx="78" cy="21"/>
            </a:xfrm>
            <a:custGeom>
              <a:avLst/>
              <a:gdLst>
                <a:gd name="T0" fmla="*/ 3 w 33"/>
                <a:gd name="T1" fmla="*/ 1 h 9"/>
                <a:gd name="T2" fmla="*/ 5 w 33"/>
                <a:gd name="T3" fmla="*/ 2 h 9"/>
                <a:gd name="T4" fmla="*/ 9 w 33"/>
                <a:gd name="T5" fmla="*/ 2 h 9"/>
                <a:gd name="T6" fmla="*/ 12 w 33"/>
                <a:gd name="T7" fmla="*/ 4 h 9"/>
                <a:gd name="T8" fmla="*/ 15 w 33"/>
                <a:gd name="T9" fmla="*/ 5 h 9"/>
                <a:gd name="T10" fmla="*/ 20 w 33"/>
                <a:gd name="T11" fmla="*/ 6 h 9"/>
                <a:gd name="T12" fmla="*/ 24 w 33"/>
                <a:gd name="T13" fmla="*/ 7 h 9"/>
                <a:gd name="T14" fmla="*/ 27 w 33"/>
                <a:gd name="T15" fmla="*/ 9 h 9"/>
                <a:gd name="T16" fmla="*/ 33 w 33"/>
                <a:gd name="T17" fmla="*/ 6 h 9"/>
                <a:gd name="T18" fmla="*/ 18 w 33"/>
                <a:gd name="T19" fmla="*/ 1 h 9"/>
                <a:gd name="T20" fmla="*/ 10 w 33"/>
                <a:gd name="T21" fmla="*/ 1 h 9"/>
                <a:gd name="T22" fmla="*/ 0 w 33"/>
                <a:gd name="T23" fmla="*/ 1 h 9"/>
                <a:gd name="T24" fmla="*/ 3 w 33"/>
                <a:gd name="T25"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9">
                  <a:moveTo>
                    <a:pt x="3" y="1"/>
                  </a:moveTo>
                  <a:cubicBezTo>
                    <a:pt x="4" y="2"/>
                    <a:pt x="4" y="2"/>
                    <a:pt x="5" y="2"/>
                  </a:cubicBezTo>
                  <a:cubicBezTo>
                    <a:pt x="6" y="3"/>
                    <a:pt x="8" y="2"/>
                    <a:pt x="9" y="2"/>
                  </a:cubicBezTo>
                  <a:cubicBezTo>
                    <a:pt x="10" y="3"/>
                    <a:pt x="10" y="4"/>
                    <a:pt x="12" y="4"/>
                  </a:cubicBezTo>
                  <a:cubicBezTo>
                    <a:pt x="13" y="4"/>
                    <a:pt x="14" y="5"/>
                    <a:pt x="15" y="5"/>
                  </a:cubicBezTo>
                  <a:cubicBezTo>
                    <a:pt x="17" y="5"/>
                    <a:pt x="18" y="6"/>
                    <a:pt x="20" y="6"/>
                  </a:cubicBezTo>
                  <a:cubicBezTo>
                    <a:pt x="22" y="6"/>
                    <a:pt x="23" y="6"/>
                    <a:pt x="24" y="7"/>
                  </a:cubicBezTo>
                  <a:cubicBezTo>
                    <a:pt x="25" y="7"/>
                    <a:pt x="26" y="9"/>
                    <a:pt x="27" y="9"/>
                  </a:cubicBezTo>
                  <a:cubicBezTo>
                    <a:pt x="28" y="9"/>
                    <a:pt x="32" y="8"/>
                    <a:pt x="33" y="6"/>
                  </a:cubicBezTo>
                  <a:cubicBezTo>
                    <a:pt x="28" y="4"/>
                    <a:pt x="23" y="2"/>
                    <a:pt x="18" y="1"/>
                  </a:cubicBezTo>
                  <a:cubicBezTo>
                    <a:pt x="15" y="0"/>
                    <a:pt x="13" y="1"/>
                    <a:pt x="10" y="1"/>
                  </a:cubicBezTo>
                  <a:cubicBezTo>
                    <a:pt x="7" y="1"/>
                    <a:pt x="3" y="1"/>
                    <a:pt x="0" y="1"/>
                  </a:cubicBezTo>
                  <a:cubicBezTo>
                    <a:pt x="1" y="2"/>
                    <a:pt x="2" y="1"/>
                    <a:pt x="3"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98" name="Freeform 2753">
              <a:extLst>
                <a:ext uri="{FF2B5EF4-FFF2-40B4-BE49-F238E27FC236}">
                  <a16:creationId xmlns:a16="http://schemas.microsoft.com/office/drawing/2014/main" id="{737BBD5D-A3D9-4220-A073-3DFCC1E7DFF9}"/>
                </a:ext>
              </a:extLst>
            </p:cNvPr>
            <p:cNvSpPr>
              <a:spLocks/>
            </p:cNvSpPr>
            <p:nvPr/>
          </p:nvSpPr>
          <p:spPr bwMode="auto">
            <a:xfrm>
              <a:off x="4897" y="219"/>
              <a:ext cx="33" cy="19"/>
            </a:xfrm>
            <a:custGeom>
              <a:avLst/>
              <a:gdLst>
                <a:gd name="T0" fmla="*/ 7 w 14"/>
                <a:gd name="T1" fmla="*/ 7 h 8"/>
                <a:gd name="T2" fmla="*/ 13 w 14"/>
                <a:gd name="T3" fmla="*/ 7 h 8"/>
                <a:gd name="T4" fmla="*/ 13 w 14"/>
                <a:gd name="T5" fmla="*/ 2 h 8"/>
                <a:gd name="T6" fmla="*/ 11 w 14"/>
                <a:gd name="T7" fmla="*/ 0 h 8"/>
                <a:gd name="T8" fmla="*/ 4 w 14"/>
                <a:gd name="T9" fmla="*/ 1 h 8"/>
                <a:gd name="T10" fmla="*/ 0 w 14"/>
                <a:gd name="T11" fmla="*/ 6 h 8"/>
                <a:gd name="T12" fmla="*/ 7 w 14"/>
                <a:gd name="T13" fmla="*/ 7 h 8"/>
              </a:gdLst>
              <a:ahLst/>
              <a:cxnLst>
                <a:cxn ang="0">
                  <a:pos x="T0" y="T1"/>
                </a:cxn>
                <a:cxn ang="0">
                  <a:pos x="T2" y="T3"/>
                </a:cxn>
                <a:cxn ang="0">
                  <a:pos x="T4" y="T5"/>
                </a:cxn>
                <a:cxn ang="0">
                  <a:pos x="T6" y="T7"/>
                </a:cxn>
                <a:cxn ang="0">
                  <a:pos x="T8" y="T9"/>
                </a:cxn>
                <a:cxn ang="0">
                  <a:pos x="T10" y="T11"/>
                </a:cxn>
                <a:cxn ang="0">
                  <a:pos x="T12" y="T13"/>
                </a:cxn>
              </a:cxnLst>
              <a:rect l="0" t="0" r="r" b="b"/>
              <a:pathLst>
                <a:path w="14" h="8">
                  <a:moveTo>
                    <a:pt x="7" y="7"/>
                  </a:moveTo>
                  <a:cubicBezTo>
                    <a:pt x="9" y="7"/>
                    <a:pt x="12" y="8"/>
                    <a:pt x="13" y="7"/>
                  </a:cubicBezTo>
                  <a:cubicBezTo>
                    <a:pt x="14" y="6"/>
                    <a:pt x="14" y="3"/>
                    <a:pt x="13" y="2"/>
                  </a:cubicBezTo>
                  <a:cubicBezTo>
                    <a:pt x="13" y="1"/>
                    <a:pt x="12" y="0"/>
                    <a:pt x="11" y="0"/>
                  </a:cubicBezTo>
                  <a:cubicBezTo>
                    <a:pt x="9" y="0"/>
                    <a:pt x="6" y="0"/>
                    <a:pt x="4" y="1"/>
                  </a:cubicBezTo>
                  <a:cubicBezTo>
                    <a:pt x="2" y="2"/>
                    <a:pt x="1" y="4"/>
                    <a:pt x="0" y="6"/>
                  </a:cubicBezTo>
                  <a:cubicBezTo>
                    <a:pt x="2" y="8"/>
                    <a:pt x="5" y="7"/>
                    <a:pt x="7" y="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699" name="Freeform 2754">
              <a:extLst>
                <a:ext uri="{FF2B5EF4-FFF2-40B4-BE49-F238E27FC236}">
                  <a16:creationId xmlns:a16="http://schemas.microsoft.com/office/drawing/2014/main" id="{CA98E79C-710A-4755-AAE0-AC467B006C83}"/>
                </a:ext>
              </a:extLst>
            </p:cNvPr>
            <p:cNvSpPr>
              <a:spLocks/>
            </p:cNvSpPr>
            <p:nvPr/>
          </p:nvSpPr>
          <p:spPr bwMode="auto">
            <a:xfrm>
              <a:off x="4790" y="576"/>
              <a:ext cx="149" cy="125"/>
            </a:xfrm>
            <a:custGeom>
              <a:avLst/>
              <a:gdLst>
                <a:gd name="T0" fmla="*/ 1 w 63"/>
                <a:gd name="T1" fmla="*/ 34 h 53"/>
                <a:gd name="T2" fmla="*/ 11 w 63"/>
                <a:gd name="T3" fmla="*/ 33 h 53"/>
                <a:gd name="T4" fmla="*/ 15 w 63"/>
                <a:gd name="T5" fmla="*/ 37 h 53"/>
                <a:gd name="T6" fmla="*/ 20 w 63"/>
                <a:gd name="T7" fmla="*/ 35 h 53"/>
                <a:gd name="T8" fmla="*/ 20 w 63"/>
                <a:gd name="T9" fmla="*/ 39 h 53"/>
                <a:gd name="T10" fmla="*/ 24 w 63"/>
                <a:gd name="T11" fmla="*/ 37 h 53"/>
                <a:gd name="T12" fmla="*/ 21 w 63"/>
                <a:gd name="T13" fmla="*/ 40 h 53"/>
                <a:gd name="T14" fmla="*/ 25 w 63"/>
                <a:gd name="T15" fmla="*/ 43 h 53"/>
                <a:gd name="T16" fmla="*/ 23 w 63"/>
                <a:gd name="T17" fmla="*/ 44 h 53"/>
                <a:gd name="T18" fmla="*/ 24 w 63"/>
                <a:gd name="T19" fmla="*/ 46 h 53"/>
                <a:gd name="T20" fmla="*/ 19 w 63"/>
                <a:gd name="T21" fmla="*/ 48 h 53"/>
                <a:gd name="T22" fmla="*/ 25 w 63"/>
                <a:gd name="T23" fmla="*/ 49 h 53"/>
                <a:gd name="T24" fmla="*/ 32 w 63"/>
                <a:gd name="T25" fmla="*/ 49 h 53"/>
                <a:gd name="T26" fmla="*/ 35 w 63"/>
                <a:gd name="T27" fmla="*/ 51 h 53"/>
                <a:gd name="T28" fmla="*/ 39 w 63"/>
                <a:gd name="T29" fmla="*/ 52 h 53"/>
                <a:gd name="T30" fmla="*/ 42 w 63"/>
                <a:gd name="T31" fmla="*/ 50 h 53"/>
                <a:gd name="T32" fmla="*/ 44 w 63"/>
                <a:gd name="T33" fmla="*/ 52 h 53"/>
                <a:gd name="T34" fmla="*/ 45 w 63"/>
                <a:gd name="T35" fmla="*/ 51 h 53"/>
                <a:gd name="T36" fmla="*/ 52 w 63"/>
                <a:gd name="T37" fmla="*/ 53 h 53"/>
                <a:gd name="T38" fmla="*/ 49 w 63"/>
                <a:gd name="T39" fmla="*/ 50 h 53"/>
                <a:gd name="T40" fmla="*/ 57 w 63"/>
                <a:gd name="T41" fmla="*/ 52 h 53"/>
                <a:gd name="T42" fmla="*/ 60 w 63"/>
                <a:gd name="T43" fmla="*/ 52 h 53"/>
                <a:gd name="T44" fmla="*/ 63 w 63"/>
                <a:gd name="T45" fmla="*/ 50 h 53"/>
                <a:gd name="T46" fmla="*/ 50 w 63"/>
                <a:gd name="T47" fmla="*/ 42 h 53"/>
                <a:gd name="T48" fmla="*/ 42 w 63"/>
                <a:gd name="T49" fmla="*/ 31 h 53"/>
                <a:gd name="T50" fmla="*/ 41 w 63"/>
                <a:gd name="T51" fmla="*/ 26 h 53"/>
                <a:gd name="T52" fmla="*/ 42 w 63"/>
                <a:gd name="T53" fmla="*/ 21 h 53"/>
                <a:gd name="T54" fmla="*/ 41 w 63"/>
                <a:gd name="T55" fmla="*/ 18 h 53"/>
                <a:gd name="T56" fmla="*/ 42 w 63"/>
                <a:gd name="T57" fmla="*/ 17 h 53"/>
                <a:gd name="T58" fmla="*/ 40 w 63"/>
                <a:gd name="T59" fmla="*/ 15 h 53"/>
                <a:gd name="T60" fmla="*/ 46 w 63"/>
                <a:gd name="T61" fmla="*/ 13 h 53"/>
                <a:gd name="T62" fmla="*/ 44 w 63"/>
                <a:gd name="T63" fmla="*/ 11 h 53"/>
                <a:gd name="T64" fmla="*/ 49 w 63"/>
                <a:gd name="T65" fmla="*/ 11 h 53"/>
                <a:gd name="T66" fmla="*/ 47 w 63"/>
                <a:gd name="T67" fmla="*/ 8 h 53"/>
                <a:gd name="T68" fmla="*/ 48 w 63"/>
                <a:gd name="T69" fmla="*/ 7 h 53"/>
                <a:gd name="T70" fmla="*/ 45 w 63"/>
                <a:gd name="T71" fmla="*/ 6 h 53"/>
                <a:gd name="T72" fmla="*/ 41 w 63"/>
                <a:gd name="T73" fmla="*/ 1 h 53"/>
                <a:gd name="T74" fmla="*/ 24 w 63"/>
                <a:gd name="T75" fmla="*/ 2 h 53"/>
                <a:gd name="T76" fmla="*/ 18 w 63"/>
                <a:gd name="T77" fmla="*/ 6 h 53"/>
                <a:gd name="T78" fmla="*/ 18 w 63"/>
                <a:gd name="T79" fmla="*/ 9 h 53"/>
                <a:gd name="T80" fmla="*/ 13 w 63"/>
                <a:gd name="T81" fmla="*/ 10 h 53"/>
                <a:gd name="T82" fmla="*/ 10 w 63"/>
                <a:gd name="T83" fmla="*/ 12 h 53"/>
                <a:gd name="T84" fmla="*/ 18 w 63"/>
                <a:gd name="T85" fmla="*/ 14 h 53"/>
                <a:gd name="T86" fmla="*/ 14 w 63"/>
                <a:gd name="T87" fmla="*/ 15 h 53"/>
                <a:gd name="T88" fmla="*/ 15 w 63"/>
                <a:gd name="T89" fmla="*/ 16 h 53"/>
                <a:gd name="T90" fmla="*/ 13 w 63"/>
                <a:gd name="T91" fmla="*/ 19 h 53"/>
                <a:gd name="T92" fmla="*/ 10 w 63"/>
                <a:gd name="T93" fmla="*/ 21 h 53"/>
                <a:gd name="T94" fmla="*/ 11 w 63"/>
                <a:gd name="T95" fmla="*/ 23 h 53"/>
                <a:gd name="T96" fmla="*/ 8 w 63"/>
                <a:gd name="T97" fmla="*/ 24 h 53"/>
                <a:gd name="T98" fmla="*/ 2 w 63"/>
                <a:gd name="T99"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3" h="53">
                  <a:moveTo>
                    <a:pt x="0" y="30"/>
                  </a:moveTo>
                  <a:cubicBezTo>
                    <a:pt x="0" y="31"/>
                    <a:pt x="2" y="33"/>
                    <a:pt x="1" y="34"/>
                  </a:cubicBezTo>
                  <a:cubicBezTo>
                    <a:pt x="3" y="35"/>
                    <a:pt x="6" y="34"/>
                    <a:pt x="8" y="34"/>
                  </a:cubicBezTo>
                  <a:cubicBezTo>
                    <a:pt x="9" y="34"/>
                    <a:pt x="12" y="35"/>
                    <a:pt x="11" y="33"/>
                  </a:cubicBezTo>
                  <a:cubicBezTo>
                    <a:pt x="12" y="34"/>
                    <a:pt x="12" y="36"/>
                    <a:pt x="12" y="36"/>
                  </a:cubicBezTo>
                  <a:cubicBezTo>
                    <a:pt x="13" y="37"/>
                    <a:pt x="15" y="38"/>
                    <a:pt x="15" y="37"/>
                  </a:cubicBezTo>
                  <a:cubicBezTo>
                    <a:pt x="16" y="37"/>
                    <a:pt x="16" y="36"/>
                    <a:pt x="17" y="36"/>
                  </a:cubicBezTo>
                  <a:cubicBezTo>
                    <a:pt x="18" y="36"/>
                    <a:pt x="19" y="35"/>
                    <a:pt x="20" y="35"/>
                  </a:cubicBezTo>
                  <a:cubicBezTo>
                    <a:pt x="20" y="36"/>
                    <a:pt x="19" y="36"/>
                    <a:pt x="19" y="37"/>
                  </a:cubicBezTo>
                  <a:cubicBezTo>
                    <a:pt x="19" y="37"/>
                    <a:pt x="20" y="39"/>
                    <a:pt x="20" y="39"/>
                  </a:cubicBezTo>
                  <a:cubicBezTo>
                    <a:pt x="21" y="40"/>
                    <a:pt x="21" y="39"/>
                    <a:pt x="22" y="38"/>
                  </a:cubicBezTo>
                  <a:cubicBezTo>
                    <a:pt x="23" y="37"/>
                    <a:pt x="23" y="37"/>
                    <a:pt x="24" y="37"/>
                  </a:cubicBezTo>
                  <a:cubicBezTo>
                    <a:pt x="23" y="38"/>
                    <a:pt x="23" y="38"/>
                    <a:pt x="23" y="39"/>
                  </a:cubicBezTo>
                  <a:cubicBezTo>
                    <a:pt x="22" y="39"/>
                    <a:pt x="21" y="40"/>
                    <a:pt x="21" y="40"/>
                  </a:cubicBezTo>
                  <a:cubicBezTo>
                    <a:pt x="21" y="41"/>
                    <a:pt x="26" y="43"/>
                    <a:pt x="27" y="43"/>
                  </a:cubicBezTo>
                  <a:cubicBezTo>
                    <a:pt x="26" y="43"/>
                    <a:pt x="25" y="43"/>
                    <a:pt x="25" y="43"/>
                  </a:cubicBezTo>
                  <a:cubicBezTo>
                    <a:pt x="25" y="43"/>
                    <a:pt x="25" y="44"/>
                    <a:pt x="26" y="44"/>
                  </a:cubicBezTo>
                  <a:cubicBezTo>
                    <a:pt x="25" y="44"/>
                    <a:pt x="24" y="44"/>
                    <a:pt x="23" y="44"/>
                  </a:cubicBezTo>
                  <a:cubicBezTo>
                    <a:pt x="22" y="44"/>
                    <a:pt x="21" y="43"/>
                    <a:pt x="22" y="44"/>
                  </a:cubicBezTo>
                  <a:cubicBezTo>
                    <a:pt x="23" y="45"/>
                    <a:pt x="24" y="45"/>
                    <a:pt x="24" y="46"/>
                  </a:cubicBezTo>
                  <a:cubicBezTo>
                    <a:pt x="24" y="47"/>
                    <a:pt x="23" y="47"/>
                    <a:pt x="23" y="48"/>
                  </a:cubicBezTo>
                  <a:cubicBezTo>
                    <a:pt x="22" y="48"/>
                    <a:pt x="21" y="47"/>
                    <a:pt x="19" y="48"/>
                  </a:cubicBezTo>
                  <a:cubicBezTo>
                    <a:pt x="20" y="48"/>
                    <a:pt x="20" y="48"/>
                    <a:pt x="21" y="48"/>
                  </a:cubicBezTo>
                  <a:cubicBezTo>
                    <a:pt x="22" y="49"/>
                    <a:pt x="24" y="49"/>
                    <a:pt x="25" y="49"/>
                  </a:cubicBezTo>
                  <a:cubicBezTo>
                    <a:pt x="28" y="50"/>
                    <a:pt x="31" y="50"/>
                    <a:pt x="33" y="51"/>
                  </a:cubicBezTo>
                  <a:cubicBezTo>
                    <a:pt x="33" y="51"/>
                    <a:pt x="32" y="50"/>
                    <a:pt x="32" y="49"/>
                  </a:cubicBezTo>
                  <a:cubicBezTo>
                    <a:pt x="31" y="49"/>
                    <a:pt x="32" y="49"/>
                    <a:pt x="32" y="49"/>
                  </a:cubicBezTo>
                  <a:cubicBezTo>
                    <a:pt x="33" y="50"/>
                    <a:pt x="34" y="51"/>
                    <a:pt x="35" y="51"/>
                  </a:cubicBezTo>
                  <a:cubicBezTo>
                    <a:pt x="36" y="52"/>
                    <a:pt x="37" y="52"/>
                    <a:pt x="37" y="53"/>
                  </a:cubicBezTo>
                  <a:cubicBezTo>
                    <a:pt x="39" y="53"/>
                    <a:pt x="38" y="53"/>
                    <a:pt x="39" y="52"/>
                  </a:cubicBezTo>
                  <a:cubicBezTo>
                    <a:pt x="39" y="51"/>
                    <a:pt x="40" y="51"/>
                    <a:pt x="40" y="50"/>
                  </a:cubicBezTo>
                  <a:cubicBezTo>
                    <a:pt x="41" y="50"/>
                    <a:pt x="41" y="50"/>
                    <a:pt x="42" y="50"/>
                  </a:cubicBezTo>
                  <a:cubicBezTo>
                    <a:pt x="43" y="50"/>
                    <a:pt x="44" y="51"/>
                    <a:pt x="45" y="52"/>
                  </a:cubicBezTo>
                  <a:cubicBezTo>
                    <a:pt x="44" y="52"/>
                    <a:pt x="44" y="52"/>
                    <a:pt x="44" y="52"/>
                  </a:cubicBezTo>
                  <a:cubicBezTo>
                    <a:pt x="45" y="53"/>
                    <a:pt x="46" y="53"/>
                    <a:pt x="47" y="53"/>
                  </a:cubicBezTo>
                  <a:cubicBezTo>
                    <a:pt x="46" y="52"/>
                    <a:pt x="46" y="52"/>
                    <a:pt x="45" y="51"/>
                  </a:cubicBezTo>
                  <a:cubicBezTo>
                    <a:pt x="46" y="51"/>
                    <a:pt x="47" y="52"/>
                    <a:pt x="48" y="52"/>
                  </a:cubicBezTo>
                  <a:cubicBezTo>
                    <a:pt x="49" y="53"/>
                    <a:pt x="51" y="53"/>
                    <a:pt x="52" y="53"/>
                  </a:cubicBezTo>
                  <a:cubicBezTo>
                    <a:pt x="52" y="51"/>
                    <a:pt x="51" y="51"/>
                    <a:pt x="50" y="51"/>
                  </a:cubicBezTo>
                  <a:cubicBezTo>
                    <a:pt x="49" y="51"/>
                    <a:pt x="49" y="50"/>
                    <a:pt x="49" y="50"/>
                  </a:cubicBezTo>
                  <a:cubicBezTo>
                    <a:pt x="53" y="51"/>
                    <a:pt x="56" y="53"/>
                    <a:pt x="60" y="53"/>
                  </a:cubicBezTo>
                  <a:cubicBezTo>
                    <a:pt x="59" y="52"/>
                    <a:pt x="59" y="52"/>
                    <a:pt x="57" y="52"/>
                  </a:cubicBezTo>
                  <a:cubicBezTo>
                    <a:pt x="56" y="52"/>
                    <a:pt x="55" y="51"/>
                    <a:pt x="55" y="51"/>
                  </a:cubicBezTo>
                  <a:cubicBezTo>
                    <a:pt x="56" y="51"/>
                    <a:pt x="58" y="52"/>
                    <a:pt x="60" y="52"/>
                  </a:cubicBezTo>
                  <a:cubicBezTo>
                    <a:pt x="61" y="52"/>
                    <a:pt x="61" y="52"/>
                    <a:pt x="62" y="51"/>
                  </a:cubicBezTo>
                  <a:cubicBezTo>
                    <a:pt x="62" y="50"/>
                    <a:pt x="63" y="50"/>
                    <a:pt x="63" y="50"/>
                  </a:cubicBezTo>
                  <a:cubicBezTo>
                    <a:pt x="62" y="49"/>
                    <a:pt x="62" y="49"/>
                    <a:pt x="60" y="48"/>
                  </a:cubicBezTo>
                  <a:cubicBezTo>
                    <a:pt x="56" y="47"/>
                    <a:pt x="53" y="44"/>
                    <a:pt x="50" y="42"/>
                  </a:cubicBezTo>
                  <a:cubicBezTo>
                    <a:pt x="47" y="40"/>
                    <a:pt x="47" y="37"/>
                    <a:pt x="45" y="35"/>
                  </a:cubicBezTo>
                  <a:cubicBezTo>
                    <a:pt x="44" y="34"/>
                    <a:pt x="43" y="33"/>
                    <a:pt x="42" y="31"/>
                  </a:cubicBezTo>
                  <a:cubicBezTo>
                    <a:pt x="42" y="30"/>
                    <a:pt x="41" y="28"/>
                    <a:pt x="39" y="28"/>
                  </a:cubicBezTo>
                  <a:cubicBezTo>
                    <a:pt x="40" y="27"/>
                    <a:pt x="41" y="27"/>
                    <a:pt x="41" y="26"/>
                  </a:cubicBezTo>
                  <a:cubicBezTo>
                    <a:pt x="41" y="26"/>
                    <a:pt x="41" y="25"/>
                    <a:pt x="41" y="25"/>
                  </a:cubicBezTo>
                  <a:cubicBezTo>
                    <a:pt x="41" y="23"/>
                    <a:pt x="43" y="23"/>
                    <a:pt x="42" y="21"/>
                  </a:cubicBezTo>
                  <a:cubicBezTo>
                    <a:pt x="41" y="21"/>
                    <a:pt x="40" y="21"/>
                    <a:pt x="41" y="20"/>
                  </a:cubicBezTo>
                  <a:cubicBezTo>
                    <a:pt x="42" y="19"/>
                    <a:pt x="41" y="19"/>
                    <a:pt x="41" y="18"/>
                  </a:cubicBezTo>
                  <a:cubicBezTo>
                    <a:pt x="40" y="18"/>
                    <a:pt x="39" y="18"/>
                    <a:pt x="38" y="18"/>
                  </a:cubicBezTo>
                  <a:cubicBezTo>
                    <a:pt x="39" y="17"/>
                    <a:pt x="40" y="17"/>
                    <a:pt x="42" y="17"/>
                  </a:cubicBezTo>
                  <a:cubicBezTo>
                    <a:pt x="43" y="17"/>
                    <a:pt x="42" y="16"/>
                    <a:pt x="41" y="15"/>
                  </a:cubicBezTo>
                  <a:cubicBezTo>
                    <a:pt x="41" y="15"/>
                    <a:pt x="40" y="15"/>
                    <a:pt x="40" y="15"/>
                  </a:cubicBezTo>
                  <a:cubicBezTo>
                    <a:pt x="41" y="15"/>
                    <a:pt x="42" y="16"/>
                    <a:pt x="43" y="15"/>
                  </a:cubicBezTo>
                  <a:cubicBezTo>
                    <a:pt x="45" y="14"/>
                    <a:pt x="44" y="13"/>
                    <a:pt x="46" y="13"/>
                  </a:cubicBezTo>
                  <a:cubicBezTo>
                    <a:pt x="45" y="12"/>
                    <a:pt x="43" y="11"/>
                    <a:pt x="41" y="11"/>
                  </a:cubicBezTo>
                  <a:cubicBezTo>
                    <a:pt x="42" y="11"/>
                    <a:pt x="43" y="11"/>
                    <a:pt x="44" y="11"/>
                  </a:cubicBezTo>
                  <a:cubicBezTo>
                    <a:pt x="44" y="11"/>
                    <a:pt x="45" y="11"/>
                    <a:pt x="45" y="11"/>
                  </a:cubicBezTo>
                  <a:cubicBezTo>
                    <a:pt x="46" y="11"/>
                    <a:pt x="47" y="12"/>
                    <a:pt x="49" y="11"/>
                  </a:cubicBezTo>
                  <a:cubicBezTo>
                    <a:pt x="49" y="11"/>
                    <a:pt x="50" y="9"/>
                    <a:pt x="49" y="8"/>
                  </a:cubicBezTo>
                  <a:cubicBezTo>
                    <a:pt x="49" y="7"/>
                    <a:pt x="47" y="8"/>
                    <a:pt x="47" y="8"/>
                  </a:cubicBezTo>
                  <a:cubicBezTo>
                    <a:pt x="46" y="8"/>
                    <a:pt x="44" y="8"/>
                    <a:pt x="43" y="8"/>
                  </a:cubicBezTo>
                  <a:cubicBezTo>
                    <a:pt x="44" y="7"/>
                    <a:pt x="47" y="7"/>
                    <a:pt x="48" y="7"/>
                  </a:cubicBezTo>
                  <a:cubicBezTo>
                    <a:pt x="49" y="7"/>
                    <a:pt x="50" y="7"/>
                    <a:pt x="51" y="6"/>
                  </a:cubicBezTo>
                  <a:cubicBezTo>
                    <a:pt x="50" y="5"/>
                    <a:pt x="47" y="6"/>
                    <a:pt x="45" y="6"/>
                  </a:cubicBezTo>
                  <a:cubicBezTo>
                    <a:pt x="47" y="5"/>
                    <a:pt x="52" y="5"/>
                    <a:pt x="53" y="4"/>
                  </a:cubicBezTo>
                  <a:cubicBezTo>
                    <a:pt x="49" y="3"/>
                    <a:pt x="45" y="2"/>
                    <a:pt x="41" y="1"/>
                  </a:cubicBezTo>
                  <a:cubicBezTo>
                    <a:pt x="38" y="0"/>
                    <a:pt x="35" y="0"/>
                    <a:pt x="31" y="0"/>
                  </a:cubicBezTo>
                  <a:cubicBezTo>
                    <a:pt x="29" y="0"/>
                    <a:pt x="26" y="1"/>
                    <a:pt x="24" y="2"/>
                  </a:cubicBezTo>
                  <a:cubicBezTo>
                    <a:pt x="22" y="2"/>
                    <a:pt x="19" y="2"/>
                    <a:pt x="18" y="4"/>
                  </a:cubicBezTo>
                  <a:cubicBezTo>
                    <a:pt x="18" y="4"/>
                    <a:pt x="18" y="5"/>
                    <a:pt x="18" y="6"/>
                  </a:cubicBezTo>
                  <a:cubicBezTo>
                    <a:pt x="19" y="7"/>
                    <a:pt x="18" y="6"/>
                    <a:pt x="18" y="7"/>
                  </a:cubicBezTo>
                  <a:cubicBezTo>
                    <a:pt x="18" y="8"/>
                    <a:pt x="19" y="9"/>
                    <a:pt x="18" y="9"/>
                  </a:cubicBezTo>
                  <a:cubicBezTo>
                    <a:pt x="17" y="8"/>
                    <a:pt x="16" y="8"/>
                    <a:pt x="15" y="9"/>
                  </a:cubicBezTo>
                  <a:cubicBezTo>
                    <a:pt x="14" y="9"/>
                    <a:pt x="13" y="9"/>
                    <a:pt x="13" y="10"/>
                  </a:cubicBezTo>
                  <a:cubicBezTo>
                    <a:pt x="12" y="10"/>
                    <a:pt x="11" y="10"/>
                    <a:pt x="11" y="11"/>
                  </a:cubicBezTo>
                  <a:cubicBezTo>
                    <a:pt x="11" y="11"/>
                    <a:pt x="10" y="12"/>
                    <a:pt x="10" y="12"/>
                  </a:cubicBezTo>
                  <a:cubicBezTo>
                    <a:pt x="10" y="13"/>
                    <a:pt x="14" y="13"/>
                    <a:pt x="15" y="13"/>
                  </a:cubicBezTo>
                  <a:cubicBezTo>
                    <a:pt x="16" y="13"/>
                    <a:pt x="17" y="13"/>
                    <a:pt x="18" y="14"/>
                  </a:cubicBezTo>
                  <a:cubicBezTo>
                    <a:pt x="17" y="14"/>
                    <a:pt x="15" y="13"/>
                    <a:pt x="14" y="14"/>
                  </a:cubicBezTo>
                  <a:cubicBezTo>
                    <a:pt x="14" y="14"/>
                    <a:pt x="14" y="14"/>
                    <a:pt x="14" y="15"/>
                  </a:cubicBezTo>
                  <a:cubicBezTo>
                    <a:pt x="15" y="15"/>
                    <a:pt x="16" y="15"/>
                    <a:pt x="17" y="15"/>
                  </a:cubicBezTo>
                  <a:cubicBezTo>
                    <a:pt x="17" y="15"/>
                    <a:pt x="15" y="16"/>
                    <a:pt x="15" y="16"/>
                  </a:cubicBezTo>
                  <a:cubicBezTo>
                    <a:pt x="15" y="16"/>
                    <a:pt x="14" y="16"/>
                    <a:pt x="14" y="16"/>
                  </a:cubicBezTo>
                  <a:cubicBezTo>
                    <a:pt x="12" y="17"/>
                    <a:pt x="13" y="18"/>
                    <a:pt x="13" y="19"/>
                  </a:cubicBezTo>
                  <a:cubicBezTo>
                    <a:pt x="13" y="19"/>
                    <a:pt x="12" y="19"/>
                    <a:pt x="12" y="19"/>
                  </a:cubicBezTo>
                  <a:cubicBezTo>
                    <a:pt x="14" y="21"/>
                    <a:pt x="11" y="21"/>
                    <a:pt x="10" y="21"/>
                  </a:cubicBezTo>
                  <a:cubicBezTo>
                    <a:pt x="10" y="21"/>
                    <a:pt x="11" y="22"/>
                    <a:pt x="11" y="22"/>
                  </a:cubicBezTo>
                  <a:cubicBezTo>
                    <a:pt x="10" y="21"/>
                    <a:pt x="11" y="23"/>
                    <a:pt x="11" y="23"/>
                  </a:cubicBezTo>
                  <a:cubicBezTo>
                    <a:pt x="9" y="22"/>
                    <a:pt x="10" y="24"/>
                    <a:pt x="10" y="25"/>
                  </a:cubicBezTo>
                  <a:cubicBezTo>
                    <a:pt x="9" y="25"/>
                    <a:pt x="8" y="24"/>
                    <a:pt x="8" y="24"/>
                  </a:cubicBezTo>
                  <a:cubicBezTo>
                    <a:pt x="7" y="24"/>
                    <a:pt x="6" y="25"/>
                    <a:pt x="5" y="24"/>
                  </a:cubicBezTo>
                  <a:cubicBezTo>
                    <a:pt x="4" y="23"/>
                    <a:pt x="3" y="24"/>
                    <a:pt x="2" y="24"/>
                  </a:cubicBezTo>
                  <a:cubicBezTo>
                    <a:pt x="1" y="25"/>
                    <a:pt x="0" y="28"/>
                    <a:pt x="0" y="3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00" name="Freeform 2755">
              <a:extLst>
                <a:ext uri="{FF2B5EF4-FFF2-40B4-BE49-F238E27FC236}">
                  <a16:creationId xmlns:a16="http://schemas.microsoft.com/office/drawing/2014/main" id="{84980FFB-1CE2-482A-A513-ABA5E7789B69}"/>
                </a:ext>
              </a:extLst>
            </p:cNvPr>
            <p:cNvSpPr>
              <a:spLocks/>
            </p:cNvSpPr>
            <p:nvPr/>
          </p:nvSpPr>
          <p:spPr bwMode="auto">
            <a:xfrm>
              <a:off x="5604" y="507"/>
              <a:ext cx="14" cy="5"/>
            </a:xfrm>
            <a:custGeom>
              <a:avLst/>
              <a:gdLst>
                <a:gd name="T0" fmla="*/ 6 w 6"/>
                <a:gd name="T1" fmla="*/ 1 h 2"/>
                <a:gd name="T2" fmla="*/ 4 w 6"/>
                <a:gd name="T3" fmla="*/ 0 h 2"/>
                <a:gd name="T4" fmla="*/ 0 w 6"/>
                <a:gd name="T5" fmla="*/ 1 h 2"/>
                <a:gd name="T6" fmla="*/ 6 w 6"/>
                <a:gd name="T7" fmla="*/ 1 h 2"/>
              </a:gdLst>
              <a:ahLst/>
              <a:cxnLst>
                <a:cxn ang="0">
                  <a:pos x="T0" y="T1"/>
                </a:cxn>
                <a:cxn ang="0">
                  <a:pos x="T2" y="T3"/>
                </a:cxn>
                <a:cxn ang="0">
                  <a:pos x="T4" y="T5"/>
                </a:cxn>
                <a:cxn ang="0">
                  <a:pos x="T6" y="T7"/>
                </a:cxn>
              </a:cxnLst>
              <a:rect l="0" t="0" r="r" b="b"/>
              <a:pathLst>
                <a:path w="6" h="2">
                  <a:moveTo>
                    <a:pt x="6" y="1"/>
                  </a:moveTo>
                  <a:cubicBezTo>
                    <a:pt x="5" y="0"/>
                    <a:pt x="5" y="0"/>
                    <a:pt x="4" y="0"/>
                  </a:cubicBezTo>
                  <a:cubicBezTo>
                    <a:pt x="3" y="0"/>
                    <a:pt x="1" y="0"/>
                    <a:pt x="0" y="1"/>
                  </a:cubicBezTo>
                  <a:cubicBezTo>
                    <a:pt x="2" y="1"/>
                    <a:pt x="5" y="2"/>
                    <a:pt x="6"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01" name="Freeform 2756">
              <a:extLst>
                <a:ext uri="{FF2B5EF4-FFF2-40B4-BE49-F238E27FC236}">
                  <a16:creationId xmlns:a16="http://schemas.microsoft.com/office/drawing/2014/main" id="{2ACD54BE-BAA5-4AD4-BAFD-05EA9BD4565C}"/>
                </a:ext>
              </a:extLst>
            </p:cNvPr>
            <p:cNvSpPr>
              <a:spLocks/>
            </p:cNvSpPr>
            <p:nvPr/>
          </p:nvSpPr>
          <p:spPr bwMode="auto">
            <a:xfrm>
              <a:off x="7268" y="1489"/>
              <a:ext cx="5" cy="7"/>
            </a:xfrm>
            <a:custGeom>
              <a:avLst/>
              <a:gdLst>
                <a:gd name="T0" fmla="*/ 2 w 2"/>
                <a:gd name="T1" fmla="*/ 1 h 3"/>
                <a:gd name="T2" fmla="*/ 0 w 2"/>
                <a:gd name="T3" fmla="*/ 3 h 3"/>
                <a:gd name="T4" fmla="*/ 2 w 2"/>
                <a:gd name="T5" fmla="*/ 1 h 3"/>
              </a:gdLst>
              <a:ahLst/>
              <a:cxnLst>
                <a:cxn ang="0">
                  <a:pos x="T0" y="T1"/>
                </a:cxn>
                <a:cxn ang="0">
                  <a:pos x="T2" y="T3"/>
                </a:cxn>
                <a:cxn ang="0">
                  <a:pos x="T4" y="T5"/>
                </a:cxn>
              </a:cxnLst>
              <a:rect l="0" t="0" r="r" b="b"/>
              <a:pathLst>
                <a:path w="2" h="3">
                  <a:moveTo>
                    <a:pt x="2" y="1"/>
                  </a:moveTo>
                  <a:cubicBezTo>
                    <a:pt x="1" y="0"/>
                    <a:pt x="0" y="2"/>
                    <a:pt x="0" y="3"/>
                  </a:cubicBezTo>
                  <a:cubicBezTo>
                    <a:pt x="0" y="2"/>
                    <a:pt x="1" y="2"/>
                    <a:pt x="2"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02" name="Freeform 2757">
              <a:extLst>
                <a:ext uri="{FF2B5EF4-FFF2-40B4-BE49-F238E27FC236}">
                  <a16:creationId xmlns:a16="http://schemas.microsoft.com/office/drawing/2014/main" id="{BB118B6B-29DE-4CC0-9247-B886E66BE581}"/>
                </a:ext>
              </a:extLst>
            </p:cNvPr>
            <p:cNvSpPr>
              <a:spLocks/>
            </p:cNvSpPr>
            <p:nvPr/>
          </p:nvSpPr>
          <p:spPr bwMode="auto">
            <a:xfrm>
              <a:off x="4961" y="706"/>
              <a:ext cx="49" cy="36"/>
            </a:xfrm>
            <a:custGeom>
              <a:avLst/>
              <a:gdLst>
                <a:gd name="T0" fmla="*/ 12 w 21"/>
                <a:gd name="T1" fmla="*/ 14 h 15"/>
                <a:gd name="T2" fmla="*/ 14 w 21"/>
                <a:gd name="T3" fmla="*/ 14 h 15"/>
                <a:gd name="T4" fmla="*/ 15 w 21"/>
                <a:gd name="T5" fmla="*/ 14 h 15"/>
                <a:gd name="T6" fmla="*/ 15 w 21"/>
                <a:gd name="T7" fmla="*/ 14 h 15"/>
                <a:gd name="T8" fmla="*/ 17 w 21"/>
                <a:gd name="T9" fmla="*/ 14 h 15"/>
                <a:gd name="T10" fmla="*/ 19 w 21"/>
                <a:gd name="T11" fmla="*/ 14 h 15"/>
                <a:gd name="T12" fmla="*/ 20 w 21"/>
                <a:gd name="T13" fmla="*/ 11 h 15"/>
                <a:gd name="T14" fmla="*/ 19 w 21"/>
                <a:gd name="T15" fmla="*/ 9 h 15"/>
                <a:gd name="T16" fmla="*/ 7 w 21"/>
                <a:gd name="T17" fmla="*/ 0 h 15"/>
                <a:gd name="T18" fmla="*/ 4 w 21"/>
                <a:gd name="T19" fmla="*/ 1 h 15"/>
                <a:gd name="T20" fmla="*/ 3 w 21"/>
                <a:gd name="T21" fmla="*/ 1 h 15"/>
                <a:gd name="T22" fmla="*/ 3 w 21"/>
                <a:gd name="T23" fmla="*/ 1 h 15"/>
                <a:gd name="T24" fmla="*/ 0 w 21"/>
                <a:gd name="T25" fmla="*/ 2 h 15"/>
                <a:gd name="T26" fmla="*/ 3 w 21"/>
                <a:gd name="T27" fmla="*/ 5 h 15"/>
                <a:gd name="T28" fmla="*/ 2 w 21"/>
                <a:gd name="T29" fmla="*/ 4 h 15"/>
                <a:gd name="T30" fmla="*/ 1 w 21"/>
                <a:gd name="T31" fmla="*/ 7 h 15"/>
                <a:gd name="T32" fmla="*/ 6 w 21"/>
                <a:gd name="T33" fmla="*/ 11 h 15"/>
                <a:gd name="T34" fmla="*/ 5 w 21"/>
                <a:gd name="T35" fmla="*/ 10 h 15"/>
                <a:gd name="T36" fmla="*/ 9 w 21"/>
                <a:gd name="T37" fmla="*/ 11 h 15"/>
                <a:gd name="T38" fmla="*/ 12 w 21"/>
                <a:gd name="T39" fmla="*/ 13 h 15"/>
                <a:gd name="T40" fmla="*/ 12 w 21"/>
                <a:gd name="T41"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15">
                  <a:moveTo>
                    <a:pt x="12" y="14"/>
                  </a:moveTo>
                  <a:cubicBezTo>
                    <a:pt x="13" y="14"/>
                    <a:pt x="13" y="14"/>
                    <a:pt x="14" y="14"/>
                  </a:cubicBezTo>
                  <a:cubicBezTo>
                    <a:pt x="14" y="14"/>
                    <a:pt x="15" y="15"/>
                    <a:pt x="15" y="14"/>
                  </a:cubicBezTo>
                  <a:cubicBezTo>
                    <a:pt x="15" y="14"/>
                    <a:pt x="15" y="14"/>
                    <a:pt x="15" y="14"/>
                  </a:cubicBezTo>
                  <a:cubicBezTo>
                    <a:pt x="16" y="14"/>
                    <a:pt x="16" y="14"/>
                    <a:pt x="17" y="14"/>
                  </a:cubicBezTo>
                  <a:cubicBezTo>
                    <a:pt x="17" y="14"/>
                    <a:pt x="18" y="14"/>
                    <a:pt x="19" y="14"/>
                  </a:cubicBezTo>
                  <a:cubicBezTo>
                    <a:pt x="21" y="14"/>
                    <a:pt x="20" y="13"/>
                    <a:pt x="20" y="11"/>
                  </a:cubicBezTo>
                  <a:cubicBezTo>
                    <a:pt x="20" y="10"/>
                    <a:pt x="20" y="10"/>
                    <a:pt x="19" y="9"/>
                  </a:cubicBezTo>
                  <a:cubicBezTo>
                    <a:pt x="15" y="6"/>
                    <a:pt x="11" y="3"/>
                    <a:pt x="7" y="0"/>
                  </a:cubicBezTo>
                  <a:cubicBezTo>
                    <a:pt x="6" y="0"/>
                    <a:pt x="5" y="0"/>
                    <a:pt x="4" y="1"/>
                  </a:cubicBezTo>
                  <a:cubicBezTo>
                    <a:pt x="4" y="1"/>
                    <a:pt x="3" y="1"/>
                    <a:pt x="3" y="1"/>
                  </a:cubicBezTo>
                  <a:cubicBezTo>
                    <a:pt x="3" y="1"/>
                    <a:pt x="3" y="1"/>
                    <a:pt x="3" y="1"/>
                  </a:cubicBezTo>
                  <a:cubicBezTo>
                    <a:pt x="2" y="2"/>
                    <a:pt x="1" y="2"/>
                    <a:pt x="0" y="2"/>
                  </a:cubicBezTo>
                  <a:cubicBezTo>
                    <a:pt x="1" y="3"/>
                    <a:pt x="3" y="4"/>
                    <a:pt x="3" y="5"/>
                  </a:cubicBezTo>
                  <a:cubicBezTo>
                    <a:pt x="3" y="4"/>
                    <a:pt x="2" y="4"/>
                    <a:pt x="2" y="4"/>
                  </a:cubicBezTo>
                  <a:cubicBezTo>
                    <a:pt x="0" y="4"/>
                    <a:pt x="1" y="5"/>
                    <a:pt x="1" y="7"/>
                  </a:cubicBezTo>
                  <a:cubicBezTo>
                    <a:pt x="2" y="8"/>
                    <a:pt x="4" y="10"/>
                    <a:pt x="6" y="11"/>
                  </a:cubicBezTo>
                  <a:cubicBezTo>
                    <a:pt x="6" y="11"/>
                    <a:pt x="5" y="10"/>
                    <a:pt x="5" y="10"/>
                  </a:cubicBezTo>
                  <a:cubicBezTo>
                    <a:pt x="6" y="10"/>
                    <a:pt x="8" y="10"/>
                    <a:pt x="9" y="11"/>
                  </a:cubicBezTo>
                  <a:cubicBezTo>
                    <a:pt x="10" y="11"/>
                    <a:pt x="12" y="12"/>
                    <a:pt x="12" y="13"/>
                  </a:cubicBezTo>
                  <a:cubicBezTo>
                    <a:pt x="11" y="14"/>
                    <a:pt x="12" y="14"/>
                    <a:pt x="12" y="1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03" name="Freeform 2758">
              <a:extLst>
                <a:ext uri="{FF2B5EF4-FFF2-40B4-BE49-F238E27FC236}">
                  <a16:creationId xmlns:a16="http://schemas.microsoft.com/office/drawing/2014/main" id="{1D47B11A-ADDB-43D8-8C49-DA2E4E3A0700}"/>
                </a:ext>
              </a:extLst>
            </p:cNvPr>
            <p:cNvSpPr>
              <a:spLocks/>
            </p:cNvSpPr>
            <p:nvPr/>
          </p:nvSpPr>
          <p:spPr bwMode="auto">
            <a:xfrm>
              <a:off x="5041" y="150"/>
              <a:ext cx="9" cy="5"/>
            </a:xfrm>
            <a:custGeom>
              <a:avLst/>
              <a:gdLst>
                <a:gd name="T0" fmla="*/ 4 w 4"/>
                <a:gd name="T1" fmla="*/ 1 h 2"/>
                <a:gd name="T2" fmla="*/ 0 w 4"/>
                <a:gd name="T3" fmla="*/ 0 h 2"/>
                <a:gd name="T4" fmla="*/ 0 w 4"/>
                <a:gd name="T5" fmla="*/ 0 h 2"/>
                <a:gd name="T6" fmla="*/ 4 w 4"/>
                <a:gd name="T7" fmla="*/ 1 h 2"/>
              </a:gdLst>
              <a:ahLst/>
              <a:cxnLst>
                <a:cxn ang="0">
                  <a:pos x="T0" y="T1"/>
                </a:cxn>
                <a:cxn ang="0">
                  <a:pos x="T2" y="T3"/>
                </a:cxn>
                <a:cxn ang="0">
                  <a:pos x="T4" y="T5"/>
                </a:cxn>
                <a:cxn ang="0">
                  <a:pos x="T6" y="T7"/>
                </a:cxn>
              </a:cxnLst>
              <a:rect l="0" t="0" r="r" b="b"/>
              <a:pathLst>
                <a:path w="4" h="2">
                  <a:moveTo>
                    <a:pt x="4" y="1"/>
                  </a:moveTo>
                  <a:cubicBezTo>
                    <a:pt x="3" y="0"/>
                    <a:pt x="1" y="0"/>
                    <a:pt x="0" y="0"/>
                  </a:cubicBezTo>
                  <a:cubicBezTo>
                    <a:pt x="0" y="0"/>
                    <a:pt x="0" y="0"/>
                    <a:pt x="0" y="0"/>
                  </a:cubicBezTo>
                  <a:cubicBezTo>
                    <a:pt x="1" y="1"/>
                    <a:pt x="2" y="2"/>
                    <a:pt x="4"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04" name="Freeform 2759">
              <a:extLst>
                <a:ext uri="{FF2B5EF4-FFF2-40B4-BE49-F238E27FC236}">
                  <a16:creationId xmlns:a16="http://schemas.microsoft.com/office/drawing/2014/main" id="{C8B9025F-82D1-4852-B8F1-8E64BD8031A2}"/>
                </a:ext>
              </a:extLst>
            </p:cNvPr>
            <p:cNvSpPr>
              <a:spLocks/>
            </p:cNvSpPr>
            <p:nvPr/>
          </p:nvSpPr>
          <p:spPr bwMode="auto">
            <a:xfrm>
              <a:off x="5720" y="171"/>
              <a:ext cx="40" cy="7"/>
            </a:xfrm>
            <a:custGeom>
              <a:avLst/>
              <a:gdLst>
                <a:gd name="T0" fmla="*/ 17 w 17"/>
                <a:gd name="T1" fmla="*/ 2 h 3"/>
                <a:gd name="T2" fmla="*/ 15 w 17"/>
                <a:gd name="T3" fmla="*/ 0 h 3"/>
                <a:gd name="T4" fmla="*/ 9 w 17"/>
                <a:gd name="T5" fmla="*/ 0 h 3"/>
                <a:gd name="T6" fmla="*/ 4 w 17"/>
                <a:gd name="T7" fmla="*/ 0 h 3"/>
                <a:gd name="T8" fmla="*/ 1 w 17"/>
                <a:gd name="T9" fmla="*/ 3 h 3"/>
                <a:gd name="T10" fmla="*/ 17 w 17"/>
                <a:gd name="T11" fmla="*/ 2 h 3"/>
              </a:gdLst>
              <a:ahLst/>
              <a:cxnLst>
                <a:cxn ang="0">
                  <a:pos x="T0" y="T1"/>
                </a:cxn>
                <a:cxn ang="0">
                  <a:pos x="T2" y="T3"/>
                </a:cxn>
                <a:cxn ang="0">
                  <a:pos x="T4" y="T5"/>
                </a:cxn>
                <a:cxn ang="0">
                  <a:pos x="T6" y="T7"/>
                </a:cxn>
                <a:cxn ang="0">
                  <a:pos x="T8" y="T9"/>
                </a:cxn>
                <a:cxn ang="0">
                  <a:pos x="T10" y="T11"/>
                </a:cxn>
              </a:cxnLst>
              <a:rect l="0" t="0" r="r" b="b"/>
              <a:pathLst>
                <a:path w="17" h="3">
                  <a:moveTo>
                    <a:pt x="17" y="2"/>
                  </a:moveTo>
                  <a:cubicBezTo>
                    <a:pt x="16" y="1"/>
                    <a:pt x="16" y="1"/>
                    <a:pt x="15" y="0"/>
                  </a:cubicBezTo>
                  <a:cubicBezTo>
                    <a:pt x="13" y="0"/>
                    <a:pt x="11" y="0"/>
                    <a:pt x="9" y="0"/>
                  </a:cubicBezTo>
                  <a:cubicBezTo>
                    <a:pt x="8" y="0"/>
                    <a:pt x="6" y="0"/>
                    <a:pt x="4" y="0"/>
                  </a:cubicBezTo>
                  <a:cubicBezTo>
                    <a:pt x="2" y="0"/>
                    <a:pt x="0" y="1"/>
                    <a:pt x="1" y="3"/>
                  </a:cubicBezTo>
                  <a:cubicBezTo>
                    <a:pt x="7" y="3"/>
                    <a:pt x="12" y="2"/>
                    <a:pt x="17"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05" name="Freeform 2760">
              <a:extLst>
                <a:ext uri="{FF2B5EF4-FFF2-40B4-BE49-F238E27FC236}">
                  <a16:creationId xmlns:a16="http://schemas.microsoft.com/office/drawing/2014/main" id="{EBC1ECA1-78A0-4C7C-8166-5EC08547F2D7}"/>
                </a:ext>
              </a:extLst>
            </p:cNvPr>
            <p:cNvSpPr>
              <a:spLocks/>
            </p:cNvSpPr>
            <p:nvPr/>
          </p:nvSpPr>
          <p:spPr bwMode="auto">
            <a:xfrm>
              <a:off x="7060" y="1624"/>
              <a:ext cx="28" cy="26"/>
            </a:xfrm>
            <a:custGeom>
              <a:avLst/>
              <a:gdLst>
                <a:gd name="T0" fmla="*/ 8 w 12"/>
                <a:gd name="T1" fmla="*/ 0 h 11"/>
                <a:gd name="T2" fmla="*/ 2 w 12"/>
                <a:gd name="T3" fmla="*/ 7 h 11"/>
                <a:gd name="T4" fmla="*/ 2 w 12"/>
                <a:gd name="T5" fmla="*/ 11 h 11"/>
                <a:gd name="T6" fmla="*/ 2 w 12"/>
                <a:gd name="T7" fmla="*/ 10 h 11"/>
                <a:gd name="T8" fmla="*/ 2 w 12"/>
                <a:gd name="T9" fmla="*/ 8 h 11"/>
                <a:gd name="T10" fmla="*/ 4 w 12"/>
                <a:gd name="T11" fmla="*/ 8 h 11"/>
                <a:gd name="T12" fmla="*/ 5 w 12"/>
                <a:gd name="T13" fmla="*/ 6 h 11"/>
                <a:gd name="T14" fmla="*/ 12 w 12"/>
                <a:gd name="T15" fmla="*/ 1 h 11"/>
                <a:gd name="T16" fmla="*/ 8 w 12"/>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1">
                  <a:moveTo>
                    <a:pt x="8" y="0"/>
                  </a:moveTo>
                  <a:cubicBezTo>
                    <a:pt x="6" y="3"/>
                    <a:pt x="4" y="5"/>
                    <a:pt x="2" y="7"/>
                  </a:cubicBezTo>
                  <a:cubicBezTo>
                    <a:pt x="0" y="9"/>
                    <a:pt x="0" y="10"/>
                    <a:pt x="2" y="11"/>
                  </a:cubicBezTo>
                  <a:cubicBezTo>
                    <a:pt x="2" y="11"/>
                    <a:pt x="2" y="10"/>
                    <a:pt x="2" y="10"/>
                  </a:cubicBezTo>
                  <a:cubicBezTo>
                    <a:pt x="2" y="10"/>
                    <a:pt x="2" y="9"/>
                    <a:pt x="2" y="8"/>
                  </a:cubicBezTo>
                  <a:cubicBezTo>
                    <a:pt x="2" y="8"/>
                    <a:pt x="3" y="8"/>
                    <a:pt x="4" y="8"/>
                  </a:cubicBezTo>
                  <a:cubicBezTo>
                    <a:pt x="4" y="7"/>
                    <a:pt x="5" y="6"/>
                    <a:pt x="5" y="6"/>
                  </a:cubicBezTo>
                  <a:cubicBezTo>
                    <a:pt x="7" y="3"/>
                    <a:pt x="10" y="3"/>
                    <a:pt x="12" y="1"/>
                  </a:cubicBezTo>
                  <a:cubicBezTo>
                    <a:pt x="10" y="2"/>
                    <a:pt x="9" y="1"/>
                    <a:pt x="8"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06" name="Freeform 2761">
              <a:extLst>
                <a:ext uri="{FF2B5EF4-FFF2-40B4-BE49-F238E27FC236}">
                  <a16:creationId xmlns:a16="http://schemas.microsoft.com/office/drawing/2014/main" id="{285EFACD-7B76-400B-AA38-3B9E266A1702}"/>
                </a:ext>
              </a:extLst>
            </p:cNvPr>
            <p:cNvSpPr>
              <a:spLocks/>
            </p:cNvSpPr>
            <p:nvPr/>
          </p:nvSpPr>
          <p:spPr bwMode="auto">
            <a:xfrm>
              <a:off x="6864" y="1288"/>
              <a:ext cx="21" cy="19"/>
            </a:xfrm>
            <a:custGeom>
              <a:avLst/>
              <a:gdLst>
                <a:gd name="T0" fmla="*/ 8 w 9"/>
                <a:gd name="T1" fmla="*/ 2 h 8"/>
                <a:gd name="T2" fmla="*/ 7 w 9"/>
                <a:gd name="T3" fmla="*/ 2 h 8"/>
                <a:gd name="T4" fmla="*/ 7 w 9"/>
                <a:gd name="T5" fmla="*/ 1 h 8"/>
                <a:gd name="T6" fmla="*/ 4 w 9"/>
                <a:gd name="T7" fmla="*/ 0 h 8"/>
                <a:gd name="T8" fmla="*/ 2 w 9"/>
                <a:gd name="T9" fmla="*/ 1 h 8"/>
                <a:gd name="T10" fmla="*/ 2 w 9"/>
                <a:gd name="T11" fmla="*/ 2 h 8"/>
                <a:gd name="T12" fmla="*/ 1 w 9"/>
                <a:gd name="T13" fmla="*/ 2 h 8"/>
                <a:gd name="T14" fmla="*/ 0 w 9"/>
                <a:gd name="T15" fmla="*/ 5 h 8"/>
                <a:gd name="T16" fmla="*/ 1 w 9"/>
                <a:gd name="T17" fmla="*/ 5 h 8"/>
                <a:gd name="T18" fmla="*/ 4 w 9"/>
                <a:gd name="T19" fmla="*/ 8 h 8"/>
                <a:gd name="T20" fmla="*/ 9 w 9"/>
                <a:gd name="T21" fmla="*/ 2 h 8"/>
                <a:gd name="T22" fmla="*/ 8 w 9"/>
                <a:gd name="T23"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8">
                  <a:moveTo>
                    <a:pt x="8" y="2"/>
                  </a:moveTo>
                  <a:cubicBezTo>
                    <a:pt x="8" y="2"/>
                    <a:pt x="8" y="2"/>
                    <a:pt x="7" y="2"/>
                  </a:cubicBezTo>
                  <a:cubicBezTo>
                    <a:pt x="7" y="1"/>
                    <a:pt x="7" y="1"/>
                    <a:pt x="7" y="1"/>
                  </a:cubicBezTo>
                  <a:cubicBezTo>
                    <a:pt x="6" y="0"/>
                    <a:pt x="5" y="1"/>
                    <a:pt x="4" y="0"/>
                  </a:cubicBezTo>
                  <a:cubicBezTo>
                    <a:pt x="3" y="0"/>
                    <a:pt x="3" y="0"/>
                    <a:pt x="2" y="1"/>
                  </a:cubicBezTo>
                  <a:cubicBezTo>
                    <a:pt x="2" y="1"/>
                    <a:pt x="2" y="2"/>
                    <a:pt x="2" y="2"/>
                  </a:cubicBezTo>
                  <a:cubicBezTo>
                    <a:pt x="2" y="2"/>
                    <a:pt x="2" y="2"/>
                    <a:pt x="1" y="2"/>
                  </a:cubicBezTo>
                  <a:cubicBezTo>
                    <a:pt x="1" y="3"/>
                    <a:pt x="0" y="4"/>
                    <a:pt x="0" y="5"/>
                  </a:cubicBezTo>
                  <a:cubicBezTo>
                    <a:pt x="0" y="7"/>
                    <a:pt x="1" y="5"/>
                    <a:pt x="1" y="5"/>
                  </a:cubicBezTo>
                  <a:cubicBezTo>
                    <a:pt x="3" y="4"/>
                    <a:pt x="4" y="7"/>
                    <a:pt x="4" y="8"/>
                  </a:cubicBezTo>
                  <a:cubicBezTo>
                    <a:pt x="6" y="6"/>
                    <a:pt x="8" y="4"/>
                    <a:pt x="9" y="2"/>
                  </a:cubicBezTo>
                  <a:cubicBezTo>
                    <a:pt x="9" y="2"/>
                    <a:pt x="8" y="2"/>
                    <a:pt x="8"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07" name="Freeform 2762">
              <a:extLst>
                <a:ext uri="{FF2B5EF4-FFF2-40B4-BE49-F238E27FC236}">
                  <a16:creationId xmlns:a16="http://schemas.microsoft.com/office/drawing/2014/main" id="{E5376B15-815E-41F6-831B-C84C4A4D6D40}"/>
                </a:ext>
              </a:extLst>
            </p:cNvPr>
            <p:cNvSpPr>
              <a:spLocks/>
            </p:cNvSpPr>
            <p:nvPr/>
          </p:nvSpPr>
          <p:spPr bwMode="auto">
            <a:xfrm>
              <a:off x="7091" y="1596"/>
              <a:ext cx="54" cy="33"/>
            </a:xfrm>
            <a:custGeom>
              <a:avLst/>
              <a:gdLst>
                <a:gd name="T0" fmla="*/ 2 w 23"/>
                <a:gd name="T1" fmla="*/ 14 h 14"/>
                <a:gd name="T2" fmla="*/ 4 w 23"/>
                <a:gd name="T3" fmla="*/ 12 h 14"/>
                <a:gd name="T4" fmla="*/ 6 w 23"/>
                <a:gd name="T5" fmla="*/ 11 h 14"/>
                <a:gd name="T6" fmla="*/ 7 w 23"/>
                <a:gd name="T7" fmla="*/ 10 h 14"/>
                <a:gd name="T8" fmla="*/ 9 w 23"/>
                <a:gd name="T9" fmla="*/ 8 h 14"/>
                <a:gd name="T10" fmla="*/ 10 w 23"/>
                <a:gd name="T11" fmla="*/ 6 h 14"/>
                <a:gd name="T12" fmla="*/ 11 w 23"/>
                <a:gd name="T13" fmla="*/ 7 h 14"/>
                <a:gd name="T14" fmla="*/ 13 w 23"/>
                <a:gd name="T15" fmla="*/ 6 h 14"/>
                <a:gd name="T16" fmla="*/ 14 w 23"/>
                <a:gd name="T17" fmla="*/ 5 h 14"/>
                <a:gd name="T18" fmla="*/ 19 w 23"/>
                <a:gd name="T19" fmla="*/ 3 h 14"/>
                <a:gd name="T20" fmla="*/ 21 w 23"/>
                <a:gd name="T21" fmla="*/ 2 h 14"/>
                <a:gd name="T22" fmla="*/ 22 w 23"/>
                <a:gd name="T23" fmla="*/ 0 h 14"/>
                <a:gd name="T24" fmla="*/ 14 w 23"/>
                <a:gd name="T25" fmla="*/ 3 h 14"/>
                <a:gd name="T26" fmla="*/ 12 w 23"/>
                <a:gd name="T27" fmla="*/ 1 h 14"/>
                <a:gd name="T28" fmla="*/ 12 w 23"/>
                <a:gd name="T29" fmla="*/ 2 h 14"/>
                <a:gd name="T30" fmla="*/ 11 w 23"/>
                <a:gd name="T31" fmla="*/ 3 h 14"/>
                <a:gd name="T32" fmla="*/ 9 w 23"/>
                <a:gd name="T33" fmla="*/ 5 h 14"/>
                <a:gd name="T34" fmla="*/ 5 w 23"/>
                <a:gd name="T35" fmla="*/ 10 h 14"/>
                <a:gd name="T36" fmla="*/ 2 w 23"/>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14">
                  <a:moveTo>
                    <a:pt x="2" y="14"/>
                  </a:moveTo>
                  <a:cubicBezTo>
                    <a:pt x="3" y="14"/>
                    <a:pt x="3" y="13"/>
                    <a:pt x="4" y="12"/>
                  </a:cubicBezTo>
                  <a:cubicBezTo>
                    <a:pt x="4" y="12"/>
                    <a:pt x="5" y="12"/>
                    <a:pt x="6" y="11"/>
                  </a:cubicBezTo>
                  <a:cubicBezTo>
                    <a:pt x="6" y="11"/>
                    <a:pt x="7" y="10"/>
                    <a:pt x="7" y="10"/>
                  </a:cubicBezTo>
                  <a:cubicBezTo>
                    <a:pt x="8" y="9"/>
                    <a:pt x="9" y="9"/>
                    <a:pt x="9" y="8"/>
                  </a:cubicBezTo>
                  <a:cubicBezTo>
                    <a:pt x="10" y="7"/>
                    <a:pt x="9" y="7"/>
                    <a:pt x="10" y="6"/>
                  </a:cubicBezTo>
                  <a:cubicBezTo>
                    <a:pt x="11" y="6"/>
                    <a:pt x="11" y="7"/>
                    <a:pt x="11" y="7"/>
                  </a:cubicBezTo>
                  <a:cubicBezTo>
                    <a:pt x="12" y="7"/>
                    <a:pt x="12" y="7"/>
                    <a:pt x="13" y="6"/>
                  </a:cubicBezTo>
                  <a:cubicBezTo>
                    <a:pt x="13" y="6"/>
                    <a:pt x="13" y="5"/>
                    <a:pt x="14" y="5"/>
                  </a:cubicBezTo>
                  <a:cubicBezTo>
                    <a:pt x="15" y="4"/>
                    <a:pt x="17" y="3"/>
                    <a:pt x="19" y="3"/>
                  </a:cubicBezTo>
                  <a:cubicBezTo>
                    <a:pt x="20" y="2"/>
                    <a:pt x="20" y="2"/>
                    <a:pt x="21" y="2"/>
                  </a:cubicBezTo>
                  <a:cubicBezTo>
                    <a:pt x="23" y="2"/>
                    <a:pt x="22" y="1"/>
                    <a:pt x="22" y="0"/>
                  </a:cubicBezTo>
                  <a:cubicBezTo>
                    <a:pt x="20" y="1"/>
                    <a:pt x="17" y="4"/>
                    <a:pt x="14" y="3"/>
                  </a:cubicBezTo>
                  <a:cubicBezTo>
                    <a:pt x="13" y="3"/>
                    <a:pt x="13" y="1"/>
                    <a:pt x="12" y="1"/>
                  </a:cubicBezTo>
                  <a:cubicBezTo>
                    <a:pt x="12" y="1"/>
                    <a:pt x="12" y="2"/>
                    <a:pt x="12" y="2"/>
                  </a:cubicBezTo>
                  <a:cubicBezTo>
                    <a:pt x="12" y="2"/>
                    <a:pt x="12" y="3"/>
                    <a:pt x="11" y="3"/>
                  </a:cubicBezTo>
                  <a:cubicBezTo>
                    <a:pt x="10" y="4"/>
                    <a:pt x="9" y="5"/>
                    <a:pt x="9" y="5"/>
                  </a:cubicBezTo>
                  <a:cubicBezTo>
                    <a:pt x="8" y="6"/>
                    <a:pt x="3" y="9"/>
                    <a:pt x="5" y="10"/>
                  </a:cubicBezTo>
                  <a:cubicBezTo>
                    <a:pt x="4" y="10"/>
                    <a:pt x="0" y="13"/>
                    <a:pt x="2" y="1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08" name="Freeform 2763">
              <a:extLst>
                <a:ext uri="{FF2B5EF4-FFF2-40B4-BE49-F238E27FC236}">
                  <a16:creationId xmlns:a16="http://schemas.microsoft.com/office/drawing/2014/main" id="{456BD5D0-77E9-4A79-B0B1-DFA29D05E0AA}"/>
                </a:ext>
              </a:extLst>
            </p:cNvPr>
            <p:cNvSpPr>
              <a:spLocks/>
            </p:cNvSpPr>
            <p:nvPr/>
          </p:nvSpPr>
          <p:spPr bwMode="auto">
            <a:xfrm>
              <a:off x="5050" y="145"/>
              <a:ext cx="41" cy="7"/>
            </a:xfrm>
            <a:custGeom>
              <a:avLst/>
              <a:gdLst>
                <a:gd name="T0" fmla="*/ 9 w 17"/>
                <a:gd name="T1" fmla="*/ 2 h 3"/>
                <a:gd name="T2" fmla="*/ 17 w 17"/>
                <a:gd name="T3" fmla="*/ 1 h 3"/>
                <a:gd name="T4" fmla="*/ 0 w 17"/>
                <a:gd name="T5" fmla="*/ 0 h 3"/>
                <a:gd name="T6" fmla="*/ 4 w 17"/>
                <a:gd name="T7" fmla="*/ 1 h 3"/>
                <a:gd name="T8" fmla="*/ 9 w 17"/>
                <a:gd name="T9" fmla="*/ 2 h 3"/>
              </a:gdLst>
              <a:ahLst/>
              <a:cxnLst>
                <a:cxn ang="0">
                  <a:pos x="T0" y="T1"/>
                </a:cxn>
                <a:cxn ang="0">
                  <a:pos x="T2" y="T3"/>
                </a:cxn>
                <a:cxn ang="0">
                  <a:pos x="T4" y="T5"/>
                </a:cxn>
                <a:cxn ang="0">
                  <a:pos x="T6" y="T7"/>
                </a:cxn>
                <a:cxn ang="0">
                  <a:pos x="T8" y="T9"/>
                </a:cxn>
              </a:cxnLst>
              <a:rect l="0" t="0" r="r" b="b"/>
              <a:pathLst>
                <a:path w="17" h="3">
                  <a:moveTo>
                    <a:pt x="9" y="2"/>
                  </a:moveTo>
                  <a:cubicBezTo>
                    <a:pt x="11" y="2"/>
                    <a:pt x="16" y="3"/>
                    <a:pt x="17" y="1"/>
                  </a:cubicBezTo>
                  <a:cubicBezTo>
                    <a:pt x="11" y="0"/>
                    <a:pt x="5" y="0"/>
                    <a:pt x="0" y="0"/>
                  </a:cubicBezTo>
                  <a:cubicBezTo>
                    <a:pt x="1" y="0"/>
                    <a:pt x="3" y="1"/>
                    <a:pt x="4" y="1"/>
                  </a:cubicBezTo>
                  <a:cubicBezTo>
                    <a:pt x="6" y="2"/>
                    <a:pt x="7" y="2"/>
                    <a:pt x="9"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09" name="Freeform 2764">
              <a:extLst>
                <a:ext uri="{FF2B5EF4-FFF2-40B4-BE49-F238E27FC236}">
                  <a16:creationId xmlns:a16="http://schemas.microsoft.com/office/drawing/2014/main" id="{61EEAD98-950D-410F-8BFC-EC2A42080DDF}"/>
                </a:ext>
              </a:extLst>
            </p:cNvPr>
            <p:cNvSpPr>
              <a:spLocks/>
            </p:cNvSpPr>
            <p:nvPr/>
          </p:nvSpPr>
          <p:spPr bwMode="auto">
            <a:xfrm>
              <a:off x="7133" y="410"/>
              <a:ext cx="24" cy="7"/>
            </a:xfrm>
            <a:custGeom>
              <a:avLst/>
              <a:gdLst>
                <a:gd name="T0" fmla="*/ 7 w 10"/>
                <a:gd name="T1" fmla="*/ 0 h 3"/>
                <a:gd name="T2" fmla="*/ 5 w 10"/>
                <a:gd name="T3" fmla="*/ 1 h 3"/>
                <a:gd name="T4" fmla="*/ 0 w 10"/>
                <a:gd name="T5" fmla="*/ 3 h 3"/>
                <a:gd name="T6" fmla="*/ 10 w 10"/>
                <a:gd name="T7" fmla="*/ 0 h 3"/>
                <a:gd name="T8" fmla="*/ 7 w 10"/>
                <a:gd name="T9" fmla="*/ 0 h 3"/>
              </a:gdLst>
              <a:ahLst/>
              <a:cxnLst>
                <a:cxn ang="0">
                  <a:pos x="T0" y="T1"/>
                </a:cxn>
                <a:cxn ang="0">
                  <a:pos x="T2" y="T3"/>
                </a:cxn>
                <a:cxn ang="0">
                  <a:pos x="T4" y="T5"/>
                </a:cxn>
                <a:cxn ang="0">
                  <a:pos x="T6" y="T7"/>
                </a:cxn>
                <a:cxn ang="0">
                  <a:pos x="T8" y="T9"/>
                </a:cxn>
              </a:cxnLst>
              <a:rect l="0" t="0" r="r" b="b"/>
              <a:pathLst>
                <a:path w="10" h="3">
                  <a:moveTo>
                    <a:pt x="7" y="0"/>
                  </a:moveTo>
                  <a:cubicBezTo>
                    <a:pt x="6" y="0"/>
                    <a:pt x="6" y="0"/>
                    <a:pt x="5" y="1"/>
                  </a:cubicBezTo>
                  <a:cubicBezTo>
                    <a:pt x="3" y="1"/>
                    <a:pt x="1" y="1"/>
                    <a:pt x="0" y="3"/>
                  </a:cubicBezTo>
                  <a:cubicBezTo>
                    <a:pt x="3" y="2"/>
                    <a:pt x="7" y="1"/>
                    <a:pt x="10" y="0"/>
                  </a:cubicBezTo>
                  <a:cubicBezTo>
                    <a:pt x="9" y="0"/>
                    <a:pt x="8" y="0"/>
                    <a:pt x="7"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10" name="Freeform 2765">
              <a:extLst>
                <a:ext uri="{FF2B5EF4-FFF2-40B4-BE49-F238E27FC236}">
                  <a16:creationId xmlns:a16="http://schemas.microsoft.com/office/drawing/2014/main" id="{D8EFD41E-B06A-49B4-8177-F4D7DF480694}"/>
                </a:ext>
              </a:extLst>
            </p:cNvPr>
            <p:cNvSpPr>
              <a:spLocks/>
            </p:cNvSpPr>
            <p:nvPr/>
          </p:nvSpPr>
          <p:spPr bwMode="auto">
            <a:xfrm>
              <a:off x="6819" y="533"/>
              <a:ext cx="24" cy="19"/>
            </a:xfrm>
            <a:custGeom>
              <a:avLst/>
              <a:gdLst>
                <a:gd name="T0" fmla="*/ 8 w 10"/>
                <a:gd name="T1" fmla="*/ 7 h 8"/>
                <a:gd name="T2" fmla="*/ 7 w 10"/>
                <a:gd name="T3" fmla="*/ 4 h 8"/>
                <a:gd name="T4" fmla="*/ 0 w 10"/>
                <a:gd name="T5" fmla="*/ 0 h 8"/>
                <a:gd name="T6" fmla="*/ 8 w 10"/>
                <a:gd name="T7" fmla="*/ 7 h 8"/>
              </a:gdLst>
              <a:ahLst/>
              <a:cxnLst>
                <a:cxn ang="0">
                  <a:pos x="T0" y="T1"/>
                </a:cxn>
                <a:cxn ang="0">
                  <a:pos x="T2" y="T3"/>
                </a:cxn>
                <a:cxn ang="0">
                  <a:pos x="T4" y="T5"/>
                </a:cxn>
                <a:cxn ang="0">
                  <a:pos x="T6" y="T7"/>
                </a:cxn>
              </a:cxnLst>
              <a:rect l="0" t="0" r="r" b="b"/>
              <a:pathLst>
                <a:path w="10" h="8">
                  <a:moveTo>
                    <a:pt x="8" y="7"/>
                  </a:moveTo>
                  <a:cubicBezTo>
                    <a:pt x="10" y="6"/>
                    <a:pt x="8" y="5"/>
                    <a:pt x="7" y="4"/>
                  </a:cubicBezTo>
                  <a:cubicBezTo>
                    <a:pt x="5" y="2"/>
                    <a:pt x="2" y="1"/>
                    <a:pt x="0" y="0"/>
                  </a:cubicBezTo>
                  <a:cubicBezTo>
                    <a:pt x="1" y="1"/>
                    <a:pt x="6" y="8"/>
                    <a:pt x="8" y="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11" name="Freeform 2766">
              <a:extLst>
                <a:ext uri="{FF2B5EF4-FFF2-40B4-BE49-F238E27FC236}">
                  <a16:creationId xmlns:a16="http://schemas.microsoft.com/office/drawing/2014/main" id="{CB74193F-C0AD-4E56-9EF1-C1FE4A78F8AD}"/>
                </a:ext>
              </a:extLst>
            </p:cNvPr>
            <p:cNvSpPr>
              <a:spLocks/>
            </p:cNvSpPr>
            <p:nvPr/>
          </p:nvSpPr>
          <p:spPr bwMode="auto">
            <a:xfrm>
              <a:off x="4890" y="162"/>
              <a:ext cx="56" cy="14"/>
            </a:xfrm>
            <a:custGeom>
              <a:avLst/>
              <a:gdLst>
                <a:gd name="T0" fmla="*/ 7 w 24"/>
                <a:gd name="T1" fmla="*/ 4 h 6"/>
                <a:gd name="T2" fmla="*/ 8 w 24"/>
                <a:gd name="T3" fmla="*/ 4 h 6"/>
                <a:gd name="T4" fmla="*/ 9 w 24"/>
                <a:gd name="T5" fmla="*/ 5 h 6"/>
                <a:gd name="T6" fmla="*/ 12 w 24"/>
                <a:gd name="T7" fmla="*/ 5 h 6"/>
                <a:gd name="T8" fmla="*/ 17 w 24"/>
                <a:gd name="T9" fmla="*/ 3 h 6"/>
                <a:gd name="T10" fmla="*/ 24 w 24"/>
                <a:gd name="T11" fmla="*/ 3 h 6"/>
                <a:gd name="T12" fmla="*/ 13 w 24"/>
                <a:gd name="T13" fmla="*/ 0 h 6"/>
                <a:gd name="T14" fmla="*/ 9 w 24"/>
                <a:gd name="T15" fmla="*/ 0 h 6"/>
                <a:gd name="T16" fmla="*/ 11 w 24"/>
                <a:gd name="T17" fmla="*/ 3 h 6"/>
                <a:gd name="T18" fmla="*/ 4 w 24"/>
                <a:gd name="T19" fmla="*/ 2 h 6"/>
                <a:gd name="T20" fmla="*/ 2 w 24"/>
                <a:gd name="T21" fmla="*/ 2 h 6"/>
                <a:gd name="T22" fmla="*/ 0 w 24"/>
                <a:gd name="T23" fmla="*/ 4 h 6"/>
                <a:gd name="T24" fmla="*/ 7 w 24"/>
                <a:gd name="T2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6">
                  <a:moveTo>
                    <a:pt x="7" y="4"/>
                  </a:moveTo>
                  <a:cubicBezTo>
                    <a:pt x="7" y="4"/>
                    <a:pt x="8" y="4"/>
                    <a:pt x="8" y="4"/>
                  </a:cubicBezTo>
                  <a:cubicBezTo>
                    <a:pt x="9" y="4"/>
                    <a:pt x="9" y="5"/>
                    <a:pt x="9" y="5"/>
                  </a:cubicBezTo>
                  <a:cubicBezTo>
                    <a:pt x="10" y="6"/>
                    <a:pt x="11" y="5"/>
                    <a:pt x="12" y="5"/>
                  </a:cubicBezTo>
                  <a:cubicBezTo>
                    <a:pt x="14" y="4"/>
                    <a:pt x="15" y="3"/>
                    <a:pt x="17" y="3"/>
                  </a:cubicBezTo>
                  <a:cubicBezTo>
                    <a:pt x="19" y="3"/>
                    <a:pt x="22" y="3"/>
                    <a:pt x="24" y="3"/>
                  </a:cubicBezTo>
                  <a:cubicBezTo>
                    <a:pt x="20" y="1"/>
                    <a:pt x="16" y="1"/>
                    <a:pt x="13" y="0"/>
                  </a:cubicBezTo>
                  <a:cubicBezTo>
                    <a:pt x="12" y="0"/>
                    <a:pt x="10" y="0"/>
                    <a:pt x="9" y="0"/>
                  </a:cubicBezTo>
                  <a:cubicBezTo>
                    <a:pt x="8" y="1"/>
                    <a:pt x="10" y="3"/>
                    <a:pt x="11" y="3"/>
                  </a:cubicBezTo>
                  <a:cubicBezTo>
                    <a:pt x="9" y="3"/>
                    <a:pt x="6" y="3"/>
                    <a:pt x="4" y="2"/>
                  </a:cubicBezTo>
                  <a:cubicBezTo>
                    <a:pt x="3" y="2"/>
                    <a:pt x="3" y="2"/>
                    <a:pt x="2" y="2"/>
                  </a:cubicBezTo>
                  <a:cubicBezTo>
                    <a:pt x="1" y="2"/>
                    <a:pt x="1" y="3"/>
                    <a:pt x="0" y="4"/>
                  </a:cubicBezTo>
                  <a:cubicBezTo>
                    <a:pt x="3" y="6"/>
                    <a:pt x="5" y="4"/>
                    <a:pt x="7"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12" name="Freeform 2767">
              <a:extLst>
                <a:ext uri="{FF2B5EF4-FFF2-40B4-BE49-F238E27FC236}">
                  <a16:creationId xmlns:a16="http://schemas.microsoft.com/office/drawing/2014/main" id="{BE9E9360-1988-459E-8125-1D21EC108DD0}"/>
                </a:ext>
              </a:extLst>
            </p:cNvPr>
            <p:cNvSpPr>
              <a:spLocks/>
            </p:cNvSpPr>
            <p:nvPr/>
          </p:nvSpPr>
          <p:spPr bwMode="auto">
            <a:xfrm>
              <a:off x="5001" y="178"/>
              <a:ext cx="38" cy="12"/>
            </a:xfrm>
            <a:custGeom>
              <a:avLst/>
              <a:gdLst>
                <a:gd name="T0" fmla="*/ 9 w 16"/>
                <a:gd name="T1" fmla="*/ 4 h 5"/>
                <a:gd name="T2" fmla="*/ 13 w 16"/>
                <a:gd name="T3" fmla="*/ 3 h 5"/>
                <a:gd name="T4" fmla="*/ 15 w 16"/>
                <a:gd name="T5" fmla="*/ 2 h 5"/>
                <a:gd name="T6" fmla="*/ 16 w 16"/>
                <a:gd name="T7" fmla="*/ 0 h 5"/>
                <a:gd name="T8" fmla="*/ 0 w 16"/>
                <a:gd name="T9" fmla="*/ 2 h 5"/>
                <a:gd name="T10" fmla="*/ 9 w 16"/>
                <a:gd name="T11" fmla="*/ 4 h 5"/>
              </a:gdLst>
              <a:ahLst/>
              <a:cxnLst>
                <a:cxn ang="0">
                  <a:pos x="T0" y="T1"/>
                </a:cxn>
                <a:cxn ang="0">
                  <a:pos x="T2" y="T3"/>
                </a:cxn>
                <a:cxn ang="0">
                  <a:pos x="T4" y="T5"/>
                </a:cxn>
                <a:cxn ang="0">
                  <a:pos x="T6" y="T7"/>
                </a:cxn>
                <a:cxn ang="0">
                  <a:pos x="T8" y="T9"/>
                </a:cxn>
                <a:cxn ang="0">
                  <a:pos x="T10" y="T11"/>
                </a:cxn>
              </a:cxnLst>
              <a:rect l="0" t="0" r="r" b="b"/>
              <a:pathLst>
                <a:path w="16" h="5">
                  <a:moveTo>
                    <a:pt x="9" y="4"/>
                  </a:moveTo>
                  <a:cubicBezTo>
                    <a:pt x="11" y="4"/>
                    <a:pt x="12" y="3"/>
                    <a:pt x="13" y="3"/>
                  </a:cubicBezTo>
                  <a:cubicBezTo>
                    <a:pt x="14" y="2"/>
                    <a:pt x="14" y="2"/>
                    <a:pt x="15" y="2"/>
                  </a:cubicBezTo>
                  <a:cubicBezTo>
                    <a:pt x="16" y="1"/>
                    <a:pt x="15" y="0"/>
                    <a:pt x="16" y="0"/>
                  </a:cubicBezTo>
                  <a:cubicBezTo>
                    <a:pt x="11" y="1"/>
                    <a:pt x="5" y="1"/>
                    <a:pt x="0" y="2"/>
                  </a:cubicBezTo>
                  <a:cubicBezTo>
                    <a:pt x="2" y="4"/>
                    <a:pt x="6" y="5"/>
                    <a:pt x="9"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13" name="Freeform 2768">
              <a:extLst>
                <a:ext uri="{FF2B5EF4-FFF2-40B4-BE49-F238E27FC236}">
                  <a16:creationId xmlns:a16="http://schemas.microsoft.com/office/drawing/2014/main" id="{20A0768D-66FD-4109-8369-1B7DF257AC61}"/>
                </a:ext>
              </a:extLst>
            </p:cNvPr>
            <p:cNvSpPr>
              <a:spLocks/>
            </p:cNvSpPr>
            <p:nvPr/>
          </p:nvSpPr>
          <p:spPr bwMode="auto">
            <a:xfrm>
              <a:off x="6852" y="1288"/>
              <a:ext cx="10" cy="10"/>
            </a:xfrm>
            <a:custGeom>
              <a:avLst/>
              <a:gdLst>
                <a:gd name="T0" fmla="*/ 3 w 4"/>
                <a:gd name="T1" fmla="*/ 1 h 4"/>
                <a:gd name="T2" fmla="*/ 0 w 4"/>
                <a:gd name="T3" fmla="*/ 4 h 4"/>
                <a:gd name="T4" fmla="*/ 4 w 4"/>
                <a:gd name="T5" fmla="*/ 1 h 4"/>
                <a:gd name="T6" fmla="*/ 3 w 4"/>
                <a:gd name="T7" fmla="*/ 1 h 4"/>
                <a:gd name="T8" fmla="*/ 3 w 4"/>
                <a:gd name="T9" fmla="*/ 1 h 4"/>
              </a:gdLst>
              <a:ahLst/>
              <a:cxnLst>
                <a:cxn ang="0">
                  <a:pos x="T0" y="T1"/>
                </a:cxn>
                <a:cxn ang="0">
                  <a:pos x="T2" y="T3"/>
                </a:cxn>
                <a:cxn ang="0">
                  <a:pos x="T4" y="T5"/>
                </a:cxn>
                <a:cxn ang="0">
                  <a:pos x="T6" y="T7"/>
                </a:cxn>
                <a:cxn ang="0">
                  <a:pos x="T8" y="T9"/>
                </a:cxn>
              </a:cxnLst>
              <a:rect l="0" t="0" r="r" b="b"/>
              <a:pathLst>
                <a:path w="4" h="4">
                  <a:moveTo>
                    <a:pt x="3" y="1"/>
                  </a:moveTo>
                  <a:cubicBezTo>
                    <a:pt x="1" y="2"/>
                    <a:pt x="0" y="2"/>
                    <a:pt x="0" y="4"/>
                  </a:cubicBezTo>
                  <a:cubicBezTo>
                    <a:pt x="2" y="4"/>
                    <a:pt x="3" y="4"/>
                    <a:pt x="4" y="1"/>
                  </a:cubicBezTo>
                  <a:cubicBezTo>
                    <a:pt x="4" y="0"/>
                    <a:pt x="4" y="1"/>
                    <a:pt x="3" y="1"/>
                  </a:cubicBezTo>
                  <a:cubicBezTo>
                    <a:pt x="3" y="1"/>
                    <a:pt x="3" y="1"/>
                    <a:pt x="3"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14" name="Freeform 2769">
              <a:extLst>
                <a:ext uri="{FF2B5EF4-FFF2-40B4-BE49-F238E27FC236}">
                  <a16:creationId xmlns:a16="http://schemas.microsoft.com/office/drawing/2014/main" id="{19663625-CE60-4297-9DFB-27A82FC52F47}"/>
                </a:ext>
              </a:extLst>
            </p:cNvPr>
            <p:cNvSpPr>
              <a:spLocks/>
            </p:cNvSpPr>
            <p:nvPr/>
          </p:nvSpPr>
          <p:spPr bwMode="auto">
            <a:xfrm>
              <a:off x="4968" y="233"/>
              <a:ext cx="28" cy="12"/>
            </a:xfrm>
            <a:custGeom>
              <a:avLst/>
              <a:gdLst>
                <a:gd name="T0" fmla="*/ 11 w 12"/>
                <a:gd name="T1" fmla="*/ 4 h 5"/>
                <a:gd name="T2" fmla="*/ 9 w 12"/>
                <a:gd name="T3" fmla="*/ 1 h 5"/>
                <a:gd name="T4" fmla="*/ 0 w 12"/>
                <a:gd name="T5" fmla="*/ 2 h 5"/>
                <a:gd name="T6" fmla="*/ 6 w 12"/>
                <a:gd name="T7" fmla="*/ 5 h 5"/>
                <a:gd name="T8" fmla="*/ 11 w 12"/>
                <a:gd name="T9" fmla="*/ 4 h 5"/>
              </a:gdLst>
              <a:ahLst/>
              <a:cxnLst>
                <a:cxn ang="0">
                  <a:pos x="T0" y="T1"/>
                </a:cxn>
                <a:cxn ang="0">
                  <a:pos x="T2" y="T3"/>
                </a:cxn>
                <a:cxn ang="0">
                  <a:pos x="T4" y="T5"/>
                </a:cxn>
                <a:cxn ang="0">
                  <a:pos x="T6" y="T7"/>
                </a:cxn>
                <a:cxn ang="0">
                  <a:pos x="T8" y="T9"/>
                </a:cxn>
              </a:cxnLst>
              <a:rect l="0" t="0" r="r" b="b"/>
              <a:pathLst>
                <a:path w="12" h="5">
                  <a:moveTo>
                    <a:pt x="11" y="4"/>
                  </a:moveTo>
                  <a:cubicBezTo>
                    <a:pt x="12" y="3"/>
                    <a:pt x="11" y="1"/>
                    <a:pt x="9" y="1"/>
                  </a:cubicBezTo>
                  <a:cubicBezTo>
                    <a:pt x="7" y="0"/>
                    <a:pt x="2" y="1"/>
                    <a:pt x="0" y="2"/>
                  </a:cubicBezTo>
                  <a:cubicBezTo>
                    <a:pt x="2" y="3"/>
                    <a:pt x="4" y="4"/>
                    <a:pt x="6" y="5"/>
                  </a:cubicBezTo>
                  <a:cubicBezTo>
                    <a:pt x="8" y="4"/>
                    <a:pt x="9" y="4"/>
                    <a:pt x="11"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15" name="Freeform 2770">
              <a:extLst>
                <a:ext uri="{FF2B5EF4-FFF2-40B4-BE49-F238E27FC236}">
                  <a16:creationId xmlns:a16="http://schemas.microsoft.com/office/drawing/2014/main" id="{EC073067-E2CD-41FA-BCDF-EF2EDA1881E1}"/>
                </a:ext>
              </a:extLst>
            </p:cNvPr>
            <p:cNvSpPr>
              <a:spLocks/>
            </p:cNvSpPr>
            <p:nvPr/>
          </p:nvSpPr>
          <p:spPr bwMode="auto">
            <a:xfrm>
              <a:off x="6930" y="531"/>
              <a:ext cx="28" cy="19"/>
            </a:xfrm>
            <a:custGeom>
              <a:avLst/>
              <a:gdLst>
                <a:gd name="T0" fmla="*/ 8 w 12"/>
                <a:gd name="T1" fmla="*/ 7 h 8"/>
                <a:gd name="T2" fmla="*/ 10 w 12"/>
                <a:gd name="T3" fmla="*/ 6 h 8"/>
                <a:gd name="T4" fmla="*/ 9 w 12"/>
                <a:gd name="T5" fmla="*/ 1 h 8"/>
                <a:gd name="T6" fmla="*/ 4 w 12"/>
                <a:gd name="T7" fmla="*/ 1 h 8"/>
                <a:gd name="T8" fmla="*/ 1 w 12"/>
                <a:gd name="T9" fmla="*/ 4 h 8"/>
                <a:gd name="T10" fmla="*/ 4 w 12"/>
                <a:gd name="T11" fmla="*/ 8 h 8"/>
                <a:gd name="T12" fmla="*/ 8 w 12"/>
                <a:gd name="T13" fmla="*/ 7 h 8"/>
              </a:gdLst>
              <a:ahLst/>
              <a:cxnLst>
                <a:cxn ang="0">
                  <a:pos x="T0" y="T1"/>
                </a:cxn>
                <a:cxn ang="0">
                  <a:pos x="T2" y="T3"/>
                </a:cxn>
                <a:cxn ang="0">
                  <a:pos x="T4" y="T5"/>
                </a:cxn>
                <a:cxn ang="0">
                  <a:pos x="T6" y="T7"/>
                </a:cxn>
                <a:cxn ang="0">
                  <a:pos x="T8" y="T9"/>
                </a:cxn>
                <a:cxn ang="0">
                  <a:pos x="T10" y="T11"/>
                </a:cxn>
                <a:cxn ang="0">
                  <a:pos x="T12" y="T13"/>
                </a:cxn>
              </a:cxnLst>
              <a:rect l="0" t="0" r="r" b="b"/>
              <a:pathLst>
                <a:path w="12" h="8">
                  <a:moveTo>
                    <a:pt x="8" y="7"/>
                  </a:moveTo>
                  <a:cubicBezTo>
                    <a:pt x="8" y="7"/>
                    <a:pt x="10" y="7"/>
                    <a:pt x="10" y="6"/>
                  </a:cubicBezTo>
                  <a:cubicBezTo>
                    <a:pt x="12" y="5"/>
                    <a:pt x="11" y="1"/>
                    <a:pt x="9" y="1"/>
                  </a:cubicBezTo>
                  <a:cubicBezTo>
                    <a:pt x="7" y="0"/>
                    <a:pt x="5" y="0"/>
                    <a:pt x="4" y="1"/>
                  </a:cubicBezTo>
                  <a:cubicBezTo>
                    <a:pt x="2" y="1"/>
                    <a:pt x="1" y="2"/>
                    <a:pt x="1" y="4"/>
                  </a:cubicBezTo>
                  <a:cubicBezTo>
                    <a:pt x="0" y="6"/>
                    <a:pt x="3" y="7"/>
                    <a:pt x="4" y="8"/>
                  </a:cubicBezTo>
                  <a:cubicBezTo>
                    <a:pt x="6" y="8"/>
                    <a:pt x="7" y="7"/>
                    <a:pt x="8" y="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16" name="Freeform 2771">
              <a:extLst>
                <a:ext uri="{FF2B5EF4-FFF2-40B4-BE49-F238E27FC236}">
                  <a16:creationId xmlns:a16="http://schemas.microsoft.com/office/drawing/2014/main" id="{1BC26353-CFA0-4F1C-AB60-7ABE15B52AB1}"/>
                </a:ext>
              </a:extLst>
            </p:cNvPr>
            <p:cNvSpPr>
              <a:spLocks/>
            </p:cNvSpPr>
            <p:nvPr/>
          </p:nvSpPr>
          <p:spPr bwMode="auto">
            <a:xfrm>
              <a:off x="4854" y="195"/>
              <a:ext cx="48" cy="5"/>
            </a:xfrm>
            <a:custGeom>
              <a:avLst/>
              <a:gdLst>
                <a:gd name="T0" fmla="*/ 5 w 20"/>
                <a:gd name="T1" fmla="*/ 1 h 2"/>
                <a:gd name="T2" fmla="*/ 7 w 20"/>
                <a:gd name="T3" fmla="*/ 2 h 2"/>
                <a:gd name="T4" fmla="*/ 10 w 20"/>
                <a:gd name="T5" fmla="*/ 2 h 2"/>
                <a:gd name="T6" fmla="*/ 20 w 20"/>
                <a:gd name="T7" fmla="*/ 0 h 2"/>
                <a:gd name="T8" fmla="*/ 0 w 20"/>
                <a:gd name="T9" fmla="*/ 0 h 2"/>
                <a:gd name="T10" fmla="*/ 5 w 20"/>
                <a:gd name="T11" fmla="*/ 1 h 2"/>
              </a:gdLst>
              <a:ahLst/>
              <a:cxnLst>
                <a:cxn ang="0">
                  <a:pos x="T0" y="T1"/>
                </a:cxn>
                <a:cxn ang="0">
                  <a:pos x="T2" y="T3"/>
                </a:cxn>
                <a:cxn ang="0">
                  <a:pos x="T4" y="T5"/>
                </a:cxn>
                <a:cxn ang="0">
                  <a:pos x="T6" y="T7"/>
                </a:cxn>
                <a:cxn ang="0">
                  <a:pos x="T8" y="T9"/>
                </a:cxn>
                <a:cxn ang="0">
                  <a:pos x="T10" y="T11"/>
                </a:cxn>
              </a:cxnLst>
              <a:rect l="0" t="0" r="r" b="b"/>
              <a:pathLst>
                <a:path w="20" h="2">
                  <a:moveTo>
                    <a:pt x="5" y="1"/>
                  </a:moveTo>
                  <a:cubicBezTo>
                    <a:pt x="7" y="1"/>
                    <a:pt x="6" y="2"/>
                    <a:pt x="7" y="2"/>
                  </a:cubicBezTo>
                  <a:cubicBezTo>
                    <a:pt x="8" y="2"/>
                    <a:pt x="9" y="2"/>
                    <a:pt x="10" y="2"/>
                  </a:cubicBezTo>
                  <a:cubicBezTo>
                    <a:pt x="13" y="1"/>
                    <a:pt x="17" y="1"/>
                    <a:pt x="20" y="0"/>
                  </a:cubicBezTo>
                  <a:cubicBezTo>
                    <a:pt x="13" y="0"/>
                    <a:pt x="6" y="0"/>
                    <a:pt x="0" y="0"/>
                  </a:cubicBezTo>
                  <a:cubicBezTo>
                    <a:pt x="1" y="1"/>
                    <a:pt x="3" y="1"/>
                    <a:pt x="5" y="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17" name="Freeform 2772">
              <a:extLst>
                <a:ext uri="{FF2B5EF4-FFF2-40B4-BE49-F238E27FC236}">
                  <a16:creationId xmlns:a16="http://schemas.microsoft.com/office/drawing/2014/main" id="{F4C83152-4295-49CC-8D4D-CA17BC00212B}"/>
                </a:ext>
              </a:extLst>
            </p:cNvPr>
            <p:cNvSpPr>
              <a:spLocks/>
            </p:cNvSpPr>
            <p:nvPr/>
          </p:nvSpPr>
          <p:spPr bwMode="auto">
            <a:xfrm>
              <a:off x="7214" y="1546"/>
              <a:ext cx="12" cy="14"/>
            </a:xfrm>
            <a:custGeom>
              <a:avLst/>
              <a:gdLst>
                <a:gd name="T0" fmla="*/ 0 w 5"/>
                <a:gd name="T1" fmla="*/ 4 h 6"/>
                <a:gd name="T2" fmla="*/ 5 w 5"/>
                <a:gd name="T3" fmla="*/ 0 h 6"/>
                <a:gd name="T4" fmla="*/ 0 w 5"/>
                <a:gd name="T5" fmla="*/ 4 h 6"/>
              </a:gdLst>
              <a:ahLst/>
              <a:cxnLst>
                <a:cxn ang="0">
                  <a:pos x="T0" y="T1"/>
                </a:cxn>
                <a:cxn ang="0">
                  <a:pos x="T2" y="T3"/>
                </a:cxn>
                <a:cxn ang="0">
                  <a:pos x="T4" y="T5"/>
                </a:cxn>
              </a:cxnLst>
              <a:rect l="0" t="0" r="r" b="b"/>
              <a:pathLst>
                <a:path w="5" h="6">
                  <a:moveTo>
                    <a:pt x="0" y="4"/>
                  </a:moveTo>
                  <a:cubicBezTo>
                    <a:pt x="1" y="6"/>
                    <a:pt x="4" y="1"/>
                    <a:pt x="5" y="0"/>
                  </a:cubicBezTo>
                  <a:cubicBezTo>
                    <a:pt x="3" y="1"/>
                    <a:pt x="1" y="3"/>
                    <a:pt x="0"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18" name="Freeform 2773">
              <a:extLst>
                <a:ext uri="{FF2B5EF4-FFF2-40B4-BE49-F238E27FC236}">
                  <a16:creationId xmlns:a16="http://schemas.microsoft.com/office/drawing/2014/main" id="{BC00B84A-4F83-474B-9A86-676509CD77EF}"/>
                </a:ext>
              </a:extLst>
            </p:cNvPr>
            <p:cNvSpPr>
              <a:spLocks/>
            </p:cNvSpPr>
            <p:nvPr/>
          </p:nvSpPr>
          <p:spPr bwMode="auto">
            <a:xfrm>
              <a:off x="7242" y="1522"/>
              <a:ext cx="5" cy="5"/>
            </a:xfrm>
            <a:custGeom>
              <a:avLst/>
              <a:gdLst>
                <a:gd name="T0" fmla="*/ 0 w 2"/>
                <a:gd name="T1" fmla="*/ 2 h 2"/>
                <a:gd name="T2" fmla="*/ 0 w 2"/>
                <a:gd name="T3" fmla="*/ 2 h 2"/>
              </a:gdLst>
              <a:ahLst/>
              <a:cxnLst>
                <a:cxn ang="0">
                  <a:pos x="T0" y="T1"/>
                </a:cxn>
                <a:cxn ang="0">
                  <a:pos x="T2" y="T3"/>
                </a:cxn>
              </a:cxnLst>
              <a:rect l="0" t="0" r="r" b="b"/>
              <a:pathLst>
                <a:path w="2" h="2">
                  <a:moveTo>
                    <a:pt x="0" y="2"/>
                  </a:moveTo>
                  <a:cubicBezTo>
                    <a:pt x="2" y="2"/>
                    <a:pt x="1" y="0"/>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19" name="Freeform 2774">
              <a:extLst>
                <a:ext uri="{FF2B5EF4-FFF2-40B4-BE49-F238E27FC236}">
                  <a16:creationId xmlns:a16="http://schemas.microsoft.com/office/drawing/2014/main" id="{51F0B9B4-AC33-4CFD-A460-5297ED166689}"/>
                </a:ext>
              </a:extLst>
            </p:cNvPr>
            <p:cNvSpPr>
              <a:spLocks/>
            </p:cNvSpPr>
            <p:nvPr/>
          </p:nvSpPr>
          <p:spPr bwMode="auto">
            <a:xfrm>
              <a:off x="7230" y="1537"/>
              <a:ext cx="5" cy="4"/>
            </a:xfrm>
            <a:custGeom>
              <a:avLst/>
              <a:gdLst>
                <a:gd name="T0" fmla="*/ 0 w 2"/>
                <a:gd name="T1" fmla="*/ 2 h 2"/>
                <a:gd name="T2" fmla="*/ 0 w 2"/>
                <a:gd name="T3" fmla="*/ 2 h 2"/>
              </a:gdLst>
              <a:ahLst/>
              <a:cxnLst>
                <a:cxn ang="0">
                  <a:pos x="T0" y="T1"/>
                </a:cxn>
                <a:cxn ang="0">
                  <a:pos x="T2" y="T3"/>
                </a:cxn>
              </a:cxnLst>
              <a:rect l="0" t="0" r="r" b="b"/>
              <a:pathLst>
                <a:path w="2" h="2">
                  <a:moveTo>
                    <a:pt x="0" y="2"/>
                  </a:moveTo>
                  <a:cubicBezTo>
                    <a:pt x="2" y="2"/>
                    <a:pt x="0" y="0"/>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20" name="Freeform 2775">
              <a:extLst>
                <a:ext uri="{FF2B5EF4-FFF2-40B4-BE49-F238E27FC236}">
                  <a16:creationId xmlns:a16="http://schemas.microsoft.com/office/drawing/2014/main" id="{29107B6F-76EF-42ED-9997-E9D4A8A2E587}"/>
                </a:ext>
              </a:extLst>
            </p:cNvPr>
            <p:cNvSpPr>
              <a:spLocks/>
            </p:cNvSpPr>
            <p:nvPr/>
          </p:nvSpPr>
          <p:spPr bwMode="auto">
            <a:xfrm>
              <a:off x="7282" y="1466"/>
              <a:ext cx="7" cy="14"/>
            </a:xfrm>
            <a:custGeom>
              <a:avLst/>
              <a:gdLst>
                <a:gd name="T0" fmla="*/ 3 w 3"/>
                <a:gd name="T1" fmla="*/ 4 h 6"/>
                <a:gd name="T2" fmla="*/ 2 w 3"/>
                <a:gd name="T3" fmla="*/ 2 h 6"/>
                <a:gd name="T4" fmla="*/ 0 w 3"/>
                <a:gd name="T5" fmla="*/ 6 h 6"/>
                <a:gd name="T6" fmla="*/ 3 w 3"/>
                <a:gd name="T7" fmla="*/ 4 h 6"/>
              </a:gdLst>
              <a:ahLst/>
              <a:cxnLst>
                <a:cxn ang="0">
                  <a:pos x="T0" y="T1"/>
                </a:cxn>
                <a:cxn ang="0">
                  <a:pos x="T2" y="T3"/>
                </a:cxn>
                <a:cxn ang="0">
                  <a:pos x="T4" y="T5"/>
                </a:cxn>
                <a:cxn ang="0">
                  <a:pos x="T6" y="T7"/>
                </a:cxn>
              </a:cxnLst>
              <a:rect l="0" t="0" r="r" b="b"/>
              <a:pathLst>
                <a:path w="3" h="6">
                  <a:moveTo>
                    <a:pt x="3" y="4"/>
                  </a:moveTo>
                  <a:cubicBezTo>
                    <a:pt x="3" y="3"/>
                    <a:pt x="3" y="0"/>
                    <a:pt x="2" y="2"/>
                  </a:cubicBezTo>
                  <a:cubicBezTo>
                    <a:pt x="1" y="2"/>
                    <a:pt x="0" y="5"/>
                    <a:pt x="0" y="6"/>
                  </a:cubicBezTo>
                  <a:cubicBezTo>
                    <a:pt x="2" y="6"/>
                    <a:pt x="2" y="6"/>
                    <a:pt x="3"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21" name="Freeform 2776">
              <a:extLst>
                <a:ext uri="{FF2B5EF4-FFF2-40B4-BE49-F238E27FC236}">
                  <a16:creationId xmlns:a16="http://schemas.microsoft.com/office/drawing/2014/main" id="{EF2DF554-4364-471E-BF1B-2889B4F84173}"/>
                </a:ext>
              </a:extLst>
            </p:cNvPr>
            <p:cNvSpPr>
              <a:spLocks/>
            </p:cNvSpPr>
            <p:nvPr/>
          </p:nvSpPr>
          <p:spPr bwMode="auto">
            <a:xfrm>
              <a:off x="5452" y="186"/>
              <a:ext cx="38" cy="9"/>
            </a:xfrm>
            <a:custGeom>
              <a:avLst/>
              <a:gdLst>
                <a:gd name="T0" fmla="*/ 3 w 16"/>
                <a:gd name="T1" fmla="*/ 4 h 4"/>
                <a:gd name="T2" fmla="*/ 7 w 16"/>
                <a:gd name="T3" fmla="*/ 4 h 4"/>
                <a:gd name="T4" fmla="*/ 16 w 16"/>
                <a:gd name="T5" fmla="*/ 1 h 4"/>
                <a:gd name="T6" fmla="*/ 10 w 16"/>
                <a:gd name="T7" fmla="*/ 0 h 4"/>
                <a:gd name="T8" fmla="*/ 4 w 16"/>
                <a:gd name="T9" fmla="*/ 0 h 4"/>
                <a:gd name="T10" fmla="*/ 3 w 16"/>
                <a:gd name="T11" fmla="*/ 4 h 4"/>
              </a:gdLst>
              <a:ahLst/>
              <a:cxnLst>
                <a:cxn ang="0">
                  <a:pos x="T0" y="T1"/>
                </a:cxn>
                <a:cxn ang="0">
                  <a:pos x="T2" y="T3"/>
                </a:cxn>
                <a:cxn ang="0">
                  <a:pos x="T4" y="T5"/>
                </a:cxn>
                <a:cxn ang="0">
                  <a:pos x="T6" y="T7"/>
                </a:cxn>
                <a:cxn ang="0">
                  <a:pos x="T8" y="T9"/>
                </a:cxn>
                <a:cxn ang="0">
                  <a:pos x="T10" y="T11"/>
                </a:cxn>
              </a:cxnLst>
              <a:rect l="0" t="0" r="r" b="b"/>
              <a:pathLst>
                <a:path w="16" h="4">
                  <a:moveTo>
                    <a:pt x="3" y="4"/>
                  </a:moveTo>
                  <a:cubicBezTo>
                    <a:pt x="4" y="4"/>
                    <a:pt x="6" y="4"/>
                    <a:pt x="7" y="4"/>
                  </a:cubicBezTo>
                  <a:cubicBezTo>
                    <a:pt x="10" y="4"/>
                    <a:pt x="15" y="4"/>
                    <a:pt x="16" y="1"/>
                  </a:cubicBezTo>
                  <a:cubicBezTo>
                    <a:pt x="14" y="1"/>
                    <a:pt x="12" y="1"/>
                    <a:pt x="10" y="0"/>
                  </a:cubicBezTo>
                  <a:cubicBezTo>
                    <a:pt x="8" y="0"/>
                    <a:pt x="6" y="1"/>
                    <a:pt x="4" y="0"/>
                  </a:cubicBezTo>
                  <a:cubicBezTo>
                    <a:pt x="3" y="1"/>
                    <a:pt x="0" y="3"/>
                    <a:pt x="3"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22" name="Freeform 2777">
              <a:extLst>
                <a:ext uri="{FF2B5EF4-FFF2-40B4-BE49-F238E27FC236}">
                  <a16:creationId xmlns:a16="http://schemas.microsoft.com/office/drawing/2014/main" id="{C22485BE-A9AD-4165-AD31-9F07D0F4D1AA}"/>
                </a:ext>
              </a:extLst>
            </p:cNvPr>
            <p:cNvSpPr>
              <a:spLocks/>
            </p:cNvSpPr>
            <p:nvPr/>
          </p:nvSpPr>
          <p:spPr bwMode="auto">
            <a:xfrm>
              <a:off x="5058" y="174"/>
              <a:ext cx="73" cy="28"/>
            </a:xfrm>
            <a:custGeom>
              <a:avLst/>
              <a:gdLst>
                <a:gd name="T0" fmla="*/ 5 w 31"/>
                <a:gd name="T1" fmla="*/ 6 h 12"/>
                <a:gd name="T2" fmla="*/ 3 w 31"/>
                <a:gd name="T3" fmla="*/ 7 h 12"/>
                <a:gd name="T4" fmla="*/ 1 w 31"/>
                <a:gd name="T5" fmla="*/ 9 h 12"/>
                <a:gd name="T6" fmla="*/ 6 w 31"/>
                <a:gd name="T7" fmla="*/ 12 h 12"/>
                <a:gd name="T8" fmla="*/ 11 w 31"/>
                <a:gd name="T9" fmla="*/ 11 h 12"/>
                <a:gd name="T10" fmla="*/ 31 w 31"/>
                <a:gd name="T11" fmla="*/ 6 h 12"/>
                <a:gd name="T12" fmla="*/ 29 w 31"/>
                <a:gd name="T13" fmla="*/ 5 h 12"/>
                <a:gd name="T14" fmla="*/ 29 w 31"/>
                <a:gd name="T15" fmla="*/ 2 h 12"/>
                <a:gd name="T16" fmla="*/ 27 w 31"/>
                <a:gd name="T17" fmla="*/ 1 h 12"/>
                <a:gd name="T18" fmla="*/ 21 w 31"/>
                <a:gd name="T19" fmla="*/ 0 h 12"/>
                <a:gd name="T20" fmla="*/ 19 w 31"/>
                <a:gd name="T21" fmla="*/ 0 h 12"/>
                <a:gd name="T22" fmla="*/ 17 w 31"/>
                <a:gd name="T23" fmla="*/ 2 h 12"/>
                <a:gd name="T24" fmla="*/ 16 w 31"/>
                <a:gd name="T25" fmla="*/ 5 h 12"/>
                <a:gd name="T26" fmla="*/ 13 w 31"/>
                <a:gd name="T27" fmla="*/ 5 h 12"/>
                <a:gd name="T28" fmla="*/ 5 w 31"/>
                <a:gd name="T2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12">
                  <a:moveTo>
                    <a:pt x="5" y="6"/>
                  </a:moveTo>
                  <a:cubicBezTo>
                    <a:pt x="5" y="7"/>
                    <a:pt x="4" y="7"/>
                    <a:pt x="3" y="7"/>
                  </a:cubicBezTo>
                  <a:cubicBezTo>
                    <a:pt x="2" y="8"/>
                    <a:pt x="0" y="8"/>
                    <a:pt x="1" y="9"/>
                  </a:cubicBezTo>
                  <a:cubicBezTo>
                    <a:pt x="3" y="10"/>
                    <a:pt x="5" y="11"/>
                    <a:pt x="6" y="12"/>
                  </a:cubicBezTo>
                  <a:cubicBezTo>
                    <a:pt x="8" y="12"/>
                    <a:pt x="9" y="12"/>
                    <a:pt x="11" y="11"/>
                  </a:cubicBezTo>
                  <a:cubicBezTo>
                    <a:pt x="17" y="10"/>
                    <a:pt x="24" y="8"/>
                    <a:pt x="31" y="6"/>
                  </a:cubicBezTo>
                  <a:cubicBezTo>
                    <a:pt x="31" y="5"/>
                    <a:pt x="30" y="5"/>
                    <a:pt x="29" y="5"/>
                  </a:cubicBezTo>
                  <a:cubicBezTo>
                    <a:pt x="29" y="4"/>
                    <a:pt x="29" y="3"/>
                    <a:pt x="29" y="2"/>
                  </a:cubicBezTo>
                  <a:cubicBezTo>
                    <a:pt x="29" y="1"/>
                    <a:pt x="28" y="1"/>
                    <a:pt x="27" y="1"/>
                  </a:cubicBezTo>
                  <a:cubicBezTo>
                    <a:pt x="26" y="0"/>
                    <a:pt x="23" y="0"/>
                    <a:pt x="21" y="0"/>
                  </a:cubicBezTo>
                  <a:cubicBezTo>
                    <a:pt x="21" y="0"/>
                    <a:pt x="19" y="0"/>
                    <a:pt x="19" y="0"/>
                  </a:cubicBezTo>
                  <a:cubicBezTo>
                    <a:pt x="18" y="1"/>
                    <a:pt x="18" y="1"/>
                    <a:pt x="17" y="2"/>
                  </a:cubicBezTo>
                  <a:cubicBezTo>
                    <a:pt x="17" y="2"/>
                    <a:pt x="17" y="4"/>
                    <a:pt x="16" y="5"/>
                  </a:cubicBezTo>
                  <a:cubicBezTo>
                    <a:pt x="15" y="5"/>
                    <a:pt x="14" y="5"/>
                    <a:pt x="13" y="5"/>
                  </a:cubicBezTo>
                  <a:cubicBezTo>
                    <a:pt x="10" y="5"/>
                    <a:pt x="8" y="5"/>
                    <a:pt x="5" y="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23" name="Freeform 2778">
              <a:extLst>
                <a:ext uri="{FF2B5EF4-FFF2-40B4-BE49-F238E27FC236}">
                  <a16:creationId xmlns:a16="http://schemas.microsoft.com/office/drawing/2014/main" id="{D53BE99A-34A6-4C08-9CF2-9F450977566F}"/>
                </a:ext>
              </a:extLst>
            </p:cNvPr>
            <p:cNvSpPr>
              <a:spLocks/>
            </p:cNvSpPr>
            <p:nvPr/>
          </p:nvSpPr>
          <p:spPr bwMode="auto">
            <a:xfrm>
              <a:off x="6240" y="517"/>
              <a:ext cx="49" cy="23"/>
            </a:xfrm>
            <a:custGeom>
              <a:avLst/>
              <a:gdLst>
                <a:gd name="T0" fmla="*/ 0 w 21"/>
                <a:gd name="T1" fmla="*/ 6 h 10"/>
                <a:gd name="T2" fmla="*/ 4 w 21"/>
                <a:gd name="T3" fmla="*/ 8 h 10"/>
                <a:gd name="T4" fmla="*/ 7 w 21"/>
                <a:gd name="T5" fmla="*/ 9 h 10"/>
                <a:gd name="T6" fmla="*/ 10 w 21"/>
                <a:gd name="T7" fmla="*/ 10 h 10"/>
                <a:gd name="T8" fmla="*/ 14 w 21"/>
                <a:gd name="T9" fmla="*/ 10 h 10"/>
                <a:gd name="T10" fmla="*/ 20 w 21"/>
                <a:gd name="T11" fmla="*/ 5 h 10"/>
                <a:gd name="T12" fmla="*/ 17 w 21"/>
                <a:gd name="T13" fmla="*/ 2 h 10"/>
                <a:gd name="T14" fmla="*/ 12 w 21"/>
                <a:gd name="T15" fmla="*/ 2 h 10"/>
                <a:gd name="T16" fmla="*/ 6 w 21"/>
                <a:gd name="T17" fmla="*/ 2 h 10"/>
                <a:gd name="T18" fmla="*/ 5 w 21"/>
                <a:gd name="T19" fmla="*/ 4 h 10"/>
                <a:gd name="T20" fmla="*/ 0 w 21"/>
                <a:gd name="T21"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0">
                  <a:moveTo>
                    <a:pt x="0" y="6"/>
                  </a:moveTo>
                  <a:cubicBezTo>
                    <a:pt x="1" y="7"/>
                    <a:pt x="2" y="7"/>
                    <a:pt x="4" y="8"/>
                  </a:cubicBezTo>
                  <a:cubicBezTo>
                    <a:pt x="5" y="8"/>
                    <a:pt x="6" y="8"/>
                    <a:pt x="7" y="9"/>
                  </a:cubicBezTo>
                  <a:cubicBezTo>
                    <a:pt x="8" y="10"/>
                    <a:pt x="9" y="9"/>
                    <a:pt x="10" y="10"/>
                  </a:cubicBezTo>
                  <a:cubicBezTo>
                    <a:pt x="12" y="10"/>
                    <a:pt x="13" y="10"/>
                    <a:pt x="14" y="10"/>
                  </a:cubicBezTo>
                  <a:cubicBezTo>
                    <a:pt x="16" y="8"/>
                    <a:pt x="18" y="7"/>
                    <a:pt x="20" y="5"/>
                  </a:cubicBezTo>
                  <a:cubicBezTo>
                    <a:pt x="21" y="3"/>
                    <a:pt x="19" y="2"/>
                    <a:pt x="17" y="2"/>
                  </a:cubicBezTo>
                  <a:cubicBezTo>
                    <a:pt x="16" y="2"/>
                    <a:pt x="14" y="2"/>
                    <a:pt x="12" y="2"/>
                  </a:cubicBezTo>
                  <a:cubicBezTo>
                    <a:pt x="10" y="2"/>
                    <a:pt x="7" y="0"/>
                    <a:pt x="6" y="2"/>
                  </a:cubicBezTo>
                  <a:cubicBezTo>
                    <a:pt x="5" y="3"/>
                    <a:pt x="6" y="4"/>
                    <a:pt x="5" y="4"/>
                  </a:cubicBezTo>
                  <a:cubicBezTo>
                    <a:pt x="4" y="6"/>
                    <a:pt x="2" y="5"/>
                    <a:pt x="0" y="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24" name="Freeform 2779">
              <a:extLst>
                <a:ext uri="{FF2B5EF4-FFF2-40B4-BE49-F238E27FC236}">
                  <a16:creationId xmlns:a16="http://schemas.microsoft.com/office/drawing/2014/main" id="{F0165245-E7C4-46EB-BA49-E984187626E8}"/>
                </a:ext>
              </a:extLst>
            </p:cNvPr>
            <p:cNvSpPr>
              <a:spLocks/>
            </p:cNvSpPr>
            <p:nvPr/>
          </p:nvSpPr>
          <p:spPr bwMode="auto">
            <a:xfrm>
              <a:off x="4946" y="136"/>
              <a:ext cx="38" cy="9"/>
            </a:xfrm>
            <a:custGeom>
              <a:avLst/>
              <a:gdLst>
                <a:gd name="T0" fmla="*/ 2 w 16"/>
                <a:gd name="T1" fmla="*/ 4 h 4"/>
                <a:gd name="T2" fmla="*/ 9 w 16"/>
                <a:gd name="T3" fmla="*/ 3 h 4"/>
                <a:gd name="T4" fmla="*/ 16 w 16"/>
                <a:gd name="T5" fmla="*/ 1 h 4"/>
                <a:gd name="T6" fmla="*/ 6 w 16"/>
                <a:gd name="T7" fmla="*/ 0 h 4"/>
                <a:gd name="T8" fmla="*/ 2 w 16"/>
                <a:gd name="T9" fmla="*/ 1 h 4"/>
                <a:gd name="T10" fmla="*/ 2 w 16"/>
                <a:gd name="T11" fmla="*/ 4 h 4"/>
              </a:gdLst>
              <a:ahLst/>
              <a:cxnLst>
                <a:cxn ang="0">
                  <a:pos x="T0" y="T1"/>
                </a:cxn>
                <a:cxn ang="0">
                  <a:pos x="T2" y="T3"/>
                </a:cxn>
                <a:cxn ang="0">
                  <a:pos x="T4" y="T5"/>
                </a:cxn>
                <a:cxn ang="0">
                  <a:pos x="T6" y="T7"/>
                </a:cxn>
                <a:cxn ang="0">
                  <a:pos x="T8" y="T9"/>
                </a:cxn>
                <a:cxn ang="0">
                  <a:pos x="T10" y="T11"/>
                </a:cxn>
              </a:cxnLst>
              <a:rect l="0" t="0" r="r" b="b"/>
              <a:pathLst>
                <a:path w="16" h="4">
                  <a:moveTo>
                    <a:pt x="2" y="4"/>
                  </a:moveTo>
                  <a:cubicBezTo>
                    <a:pt x="5" y="3"/>
                    <a:pt x="7" y="3"/>
                    <a:pt x="9" y="3"/>
                  </a:cubicBezTo>
                  <a:cubicBezTo>
                    <a:pt x="12" y="3"/>
                    <a:pt x="15" y="3"/>
                    <a:pt x="16" y="1"/>
                  </a:cubicBezTo>
                  <a:cubicBezTo>
                    <a:pt x="13" y="0"/>
                    <a:pt x="9" y="0"/>
                    <a:pt x="6" y="0"/>
                  </a:cubicBezTo>
                  <a:cubicBezTo>
                    <a:pt x="5" y="0"/>
                    <a:pt x="1" y="0"/>
                    <a:pt x="2" y="1"/>
                  </a:cubicBezTo>
                  <a:cubicBezTo>
                    <a:pt x="0" y="2"/>
                    <a:pt x="0" y="3"/>
                    <a:pt x="2" y="4"/>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25" name="Freeform 2780">
              <a:extLst>
                <a:ext uri="{FF2B5EF4-FFF2-40B4-BE49-F238E27FC236}">
                  <a16:creationId xmlns:a16="http://schemas.microsoft.com/office/drawing/2014/main" id="{165DCF10-6F8B-400F-9AC7-90A548B141CB}"/>
                </a:ext>
              </a:extLst>
            </p:cNvPr>
            <p:cNvSpPr>
              <a:spLocks/>
            </p:cNvSpPr>
            <p:nvPr/>
          </p:nvSpPr>
          <p:spPr bwMode="auto">
            <a:xfrm>
              <a:off x="4809" y="663"/>
              <a:ext cx="26" cy="22"/>
            </a:xfrm>
            <a:custGeom>
              <a:avLst/>
              <a:gdLst>
                <a:gd name="T0" fmla="*/ 10 w 11"/>
                <a:gd name="T1" fmla="*/ 6 h 9"/>
                <a:gd name="T2" fmla="*/ 10 w 11"/>
                <a:gd name="T3" fmla="*/ 4 h 9"/>
                <a:gd name="T4" fmla="*/ 7 w 11"/>
                <a:gd name="T5" fmla="*/ 3 h 9"/>
                <a:gd name="T6" fmla="*/ 6 w 11"/>
                <a:gd name="T7" fmla="*/ 1 h 9"/>
                <a:gd name="T8" fmla="*/ 8 w 11"/>
                <a:gd name="T9" fmla="*/ 3 h 9"/>
                <a:gd name="T10" fmla="*/ 0 w 11"/>
                <a:gd name="T11" fmla="*/ 2 h 9"/>
                <a:gd name="T12" fmla="*/ 8 w 11"/>
                <a:gd name="T13" fmla="*/ 8 h 9"/>
                <a:gd name="T14" fmla="*/ 9 w 11"/>
                <a:gd name="T15" fmla="*/ 7 h 9"/>
                <a:gd name="T16" fmla="*/ 10 w 11"/>
                <a:gd name="T17"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9">
                  <a:moveTo>
                    <a:pt x="10" y="6"/>
                  </a:moveTo>
                  <a:cubicBezTo>
                    <a:pt x="10" y="6"/>
                    <a:pt x="11" y="5"/>
                    <a:pt x="10" y="4"/>
                  </a:cubicBezTo>
                  <a:cubicBezTo>
                    <a:pt x="10" y="3"/>
                    <a:pt x="8" y="3"/>
                    <a:pt x="7" y="3"/>
                  </a:cubicBezTo>
                  <a:cubicBezTo>
                    <a:pt x="6" y="2"/>
                    <a:pt x="6" y="2"/>
                    <a:pt x="6" y="1"/>
                  </a:cubicBezTo>
                  <a:cubicBezTo>
                    <a:pt x="7" y="2"/>
                    <a:pt x="7" y="3"/>
                    <a:pt x="8" y="3"/>
                  </a:cubicBezTo>
                  <a:cubicBezTo>
                    <a:pt x="7" y="0"/>
                    <a:pt x="3" y="0"/>
                    <a:pt x="0" y="2"/>
                  </a:cubicBezTo>
                  <a:cubicBezTo>
                    <a:pt x="3" y="4"/>
                    <a:pt x="6" y="6"/>
                    <a:pt x="8" y="8"/>
                  </a:cubicBezTo>
                  <a:cubicBezTo>
                    <a:pt x="10" y="9"/>
                    <a:pt x="10" y="8"/>
                    <a:pt x="9" y="7"/>
                  </a:cubicBezTo>
                  <a:cubicBezTo>
                    <a:pt x="9" y="6"/>
                    <a:pt x="9" y="7"/>
                    <a:pt x="10" y="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26" name="Freeform 2781">
              <a:extLst>
                <a:ext uri="{FF2B5EF4-FFF2-40B4-BE49-F238E27FC236}">
                  <a16:creationId xmlns:a16="http://schemas.microsoft.com/office/drawing/2014/main" id="{829B4A47-CC09-4EAC-946A-44B209DF0D39}"/>
                </a:ext>
              </a:extLst>
            </p:cNvPr>
            <p:cNvSpPr>
              <a:spLocks/>
            </p:cNvSpPr>
            <p:nvPr/>
          </p:nvSpPr>
          <p:spPr bwMode="auto">
            <a:xfrm>
              <a:off x="7157" y="1574"/>
              <a:ext cx="28" cy="19"/>
            </a:xfrm>
            <a:custGeom>
              <a:avLst/>
              <a:gdLst>
                <a:gd name="T0" fmla="*/ 9 w 12"/>
                <a:gd name="T1" fmla="*/ 0 h 8"/>
                <a:gd name="T2" fmla="*/ 8 w 12"/>
                <a:gd name="T3" fmla="*/ 1 h 8"/>
                <a:gd name="T4" fmla="*/ 6 w 12"/>
                <a:gd name="T5" fmla="*/ 2 h 8"/>
                <a:gd name="T6" fmla="*/ 0 w 12"/>
                <a:gd name="T7" fmla="*/ 8 h 8"/>
                <a:gd name="T8" fmla="*/ 2 w 12"/>
                <a:gd name="T9" fmla="*/ 7 h 8"/>
                <a:gd name="T10" fmla="*/ 12 w 12"/>
                <a:gd name="T11" fmla="*/ 0 h 8"/>
                <a:gd name="T12" fmla="*/ 9 w 12"/>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2" h="8">
                  <a:moveTo>
                    <a:pt x="9" y="0"/>
                  </a:moveTo>
                  <a:cubicBezTo>
                    <a:pt x="8" y="0"/>
                    <a:pt x="8" y="1"/>
                    <a:pt x="8" y="1"/>
                  </a:cubicBezTo>
                  <a:cubicBezTo>
                    <a:pt x="7" y="1"/>
                    <a:pt x="7" y="1"/>
                    <a:pt x="6" y="2"/>
                  </a:cubicBezTo>
                  <a:cubicBezTo>
                    <a:pt x="4" y="4"/>
                    <a:pt x="2" y="6"/>
                    <a:pt x="0" y="8"/>
                  </a:cubicBezTo>
                  <a:cubicBezTo>
                    <a:pt x="1" y="8"/>
                    <a:pt x="2" y="8"/>
                    <a:pt x="2" y="7"/>
                  </a:cubicBezTo>
                  <a:cubicBezTo>
                    <a:pt x="3" y="8"/>
                    <a:pt x="11" y="0"/>
                    <a:pt x="12" y="0"/>
                  </a:cubicBezTo>
                  <a:cubicBezTo>
                    <a:pt x="11" y="0"/>
                    <a:pt x="10" y="0"/>
                    <a:pt x="9"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27" name="Freeform 2782">
              <a:extLst>
                <a:ext uri="{FF2B5EF4-FFF2-40B4-BE49-F238E27FC236}">
                  <a16:creationId xmlns:a16="http://schemas.microsoft.com/office/drawing/2014/main" id="{0655980D-45C6-4DD8-B985-50D3EB254616}"/>
                </a:ext>
              </a:extLst>
            </p:cNvPr>
            <p:cNvSpPr>
              <a:spLocks/>
            </p:cNvSpPr>
            <p:nvPr/>
          </p:nvSpPr>
          <p:spPr bwMode="auto">
            <a:xfrm>
              <a:off x="4925" y="212"/>
              <a:ext cx="55" cy="23"/>
            </a:xfrm>
            <a:custGeom>
              <a:avLst/>
              <a:gdLst>
                <a:gd name="T0" fmla="*/ 15 w 23"/>
                <a:gd name="T1" fmla="*/ 5 h 10"/>
                <a:gd name="T2" fmla="*/ 17 w 23"/>
                <a:gd name="T3" fmla="*/ 4 h 10"/>
                <a:gd name="T4" fmla="*/ 23 w 23"/>
                <a:gd name="T5" fmla="*/ 4 h 10"/>
                <a:gd name="T6" fmla="*/ 15 w 23"/>
                <a:gd name="T7" fmla="*/ 1 h 10"/>
                <a:gd name="T8" fmla="*/ 8 w 23"/>
                <a:gd name="T9" fmla="*/ 0 h 10"/>
                <a:gd name="T10" fmla="*/ 5 w 23"/>
                <a:gd name="T11" fmla="*/ 1 h 10"/>
                <a:gd name="T12" fmla="*/ 1 w 23"/>
                <a:gd name="T13" fmla="*/ 1 h 10"/>
                <a:gd name="T14" fmla="*/ 1 w 23"/>
                <a:gd name="T15" fmla="*/ 3 h 10"/>
                <a:gd name="T16" fmla="*/ 2 w 23"/>
                <a:gd name="T17" fmla="*/ 6 h 10"/>
                <a:gd name="T18" fmla="*/ 7 w 23"/>
                <a:gd name="T19" fmla="*/ 9 h 10"/>
                <a:gd name="T20" fmla="*/ 10 w 23"/>
                <a:gd name="T21" fmla="*/ 10 h 10"/>
                <a:gd name="T22" fmla="*/ 12 w 23"/>
                <a:gd name="T23" fmla="*/ 8 h 10"/>
                <a:gd name="T24" fmla="*/ 14 w 23"/>
                <a:gd name="T25" fmla="*/ 6 h 10"/>
                <a:gd name="T26" fmla="*/ 13 w 23"/>
                <a:gd name="T27" fmla="*/ 5 h 10"/>
                <a:gd name="T28" fmla="*/ 15 w 23"/>
                <a:gd name="T2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10">
                  <a:moveTo>
                    <a:pt x="15" y="5"/>
                  </a:moveTo>
                  <a:cubicBezTo>
                    <a:pt x="16" y="5"/>
                    <a:pt x="17" y="4"/>
                    <a:pt x="17" y="4"/>
                  </a:cubicBezTo>
                  <a:cubicBezTo>
                    <a:pt x="19" y="4"/>
                    <a:pt x="21" y="5"/>
                    <a:pt x="23" y="4"/>
                  </a:cubicBezTo>
                  <a:cubicBezTo>
                    <a:pt x="22" y="2"/>
                    <a:pt x="18" y="2"/>
                    <a:pt x="15" y="1"/>
                  </a:cubicBezTo>
                  <a:cubicBezTo>
                    <a:pt x="13" y="1"/>
                    <a:pt x="10" y="0"/>
                    <a:pt x="8" y="0"/>
                  </a:cubicBezTo>
                  <a:cubicBezTo>
                    <a:pt x="7" y="0"/>
                    <a:pt x="6" y="1"/>
                    <a:pt x="5" y="1"/>
                  </a:cubicBezTo>
                  <a:cubicBezTo>
                    <a:pt x="4" y="1"/>
                    <a:pt x="2" y="0"/>
                    <a:pt x="1" y="1"/>
                  </a:cubicBezTo>
                  <a:cubicBezTo>
                    <a:pt x="0" y="1"/>
                    <a:pt x="0" y="1"/>
                    <a:pt x="1" y="3"/>
                  </a:cubicBezTo>
                  <a:cubicBezTo>
                    <a:pt x="1" y="4"/>
                    <a:pt x="2" y="5"/>
                    <a:pt x="2" y="6"/>
                  </a:cubicBezTo>
                  <a:cubicBezTo>
                    <a:pt x="3" y="8"/>
                    <a:pt x="4" y="9"/>
                    <a:pt x="7" y="9"/>
                  </a:cubicBezTo>
                  <a:cubicBezTo>
                    <a:pt x="7" y="10"/>
                    <a:pt x="9" y="10"/>
                    <a:pt x="10" y="10"/>
                  </a:cubicBezTo>
                  <a:cubicBezTo>
                    <a:pt x="11" y="9"/>
                    <a:pt x="10" y="8"/>
                    <a:pt x="12" y="8"/>
                  </a:cubicBezTo>
                  <a:cubicBezTo>
                    <a:pt x="13" y="8"/>
                    <a:pt x="16" y="9"/>
                    <a:pt x="14" y="6"/>
                  </a:cubicBezTo>
                  <a:cubicBezTo>
                    <a:pt x="14" y="6"/>
                    <a:pt x="13" y="6"/>
                    <a:pt x="13" y="5"/>
                  </a:cubicBezTo>
                  <a:cubicBezTo>
                    <a:pt x="13" y="5"/>
                    <a:pt x="14" y="5"/>
                    <a:pt x="15" y="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28" name="Freeform 2783">
              <a:extLst>
                <a:ext uri="{FF2B5EF4-FFF2-40B4-BE49-F238E27FC236}">
                  <a16:creationId xmlns:a16="http://schemas.microsoft.com/office/drawing/2014/main" id="{FA88C851-827A-4A84-9221-5EBCE8CE6FE8}"/>
                </a:ext>
              </a:extLst>
            </p:cNvPr>
            <p:cNvSpPr>
              <a:spLocks/>
            </p:cNvSpPr>
            <p:nvPr/>
          </p:nvSpPr>
          <p:spPr bwMode="auto">
            <a:xfrm>
              <a:off x="7088" y="1643"/>
              <a:ext cx="8" cy="5"/>
            </a:xfrm>
            <a:custGeom>
              <a:avLst/>
              <a:gdLst>
                <a:gd name="T0" fmla="*/ 0 w 3"/>
                <a:gd name="T1" fmla="*/ 2 h 2"/>
                <a:gd name="T2" fmla="*/ 3 w 3"/>
                <a:gd name="T3" fmla="*/ 0 h 2"/>
                <a:gd name="T4" fmla="*/ 0 w 3"/>
                <a:gd name="T5" fmla="*/ 2 h 2"/>
              </a:gdLst>
              <a:ahLst/>
              <a:cxnLst>
                <a:cxn ang="0">
                  <a:pos x="T0" y="T1"/>
                </a:cxn>
                <a:cxn ang="0">
                  <a:pos x="T2" y="T3"/>
                </a:cxn>
                <a:cxn ang="0">
                  <a:pos x="T4" y="T5"/>
                </a:cxn>
              </a:cxnLst>
              <a:rect l="0" t="0" r="r" b="b"/>
              <a:pathLst>
                <a:path w="3" h="2">
                  <a:moveTo>
                    <a:pt x="0" y="2"/>
                  </a:moveTo>
                  <a:cubicBezTo>
                    <a:pt x="1" y="2"/>
                    <a:pt x="2" y="1"/>
                    <a:pt x="3" y="0"/>
                  </a:cubicBezTo>
                  <a:cubicBezTo>
                    <a:pt x="2" y="0"/>
                    <a:pt x="0" y="1"/>
                    <a:pt x="0"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29" name="Freeform 2784">
              <a:extLst>
                <a:ext uri="{FF2B5EF4-FFF2-40B4-BE49-F238E27FC236}">
                  <a16:creationId xmlns:a16="http://schemas.microsoft.com/office/drawing/2014/main" id="{01774626-80F9-4EBE-BEC2-88C31A7D90B9}"/>
                </a:ext>
              </a:extLst>
            </p:cNvPr>
            <p:cNvSpPr>
              <a:spLocks/>
            </p:cNvSpPr>
            <p:nvPr/>
          </p:nvSpPr>
          <p:spPr bwMode="auto">
            <a:xfrm>
              <a:off x="4904" y="178"/>
              <a:ext cx="52" cy="19"/>
            </a:xfrm>
            <a:custGeom>
              <a:avLst/>
              <a:gdLst>
                <a:gd name="T0" fmla="*/ 7 w 22"/>
                <a:gd name="T1" fmla="*/ 2 h 8"/>
                <a:gd name="T2" fmla="*/ 9 w 22"/>
                <a:gd name="T3" fmla="*/ 3 h 8"/>
                <a:gd name="T4" fmla="*/ 11 w 22"/>
                <a:gd name="T5" fmla="*/ 4 h 8"/>
                <a:gd name="T6" fmla="*/ 22 w 22"/>
                <a:gd name="T7" fmla="*/ 4 h 8"/>
                <a:gd name="T8" fmla="*/ 0 w 22"/>
                <a:gd name="T9" fmla="*/ 0 h 8"/>
                <a:gd name="T10" fmla="*/ 7 w 22"/>
                <a:gd name="T11" fmla="*/ 2 h 8"/>
              </a:gdLst>
              <a:ahLst/>
              <a:cxnLst>
                <a:cxn ang="0">
                  <a:pos x="T0" y="T1"/>
                </a:cxn>
                <a:cxn ang="0">
                  <a:pos x="T2" y="T3"/>
                </a:cxn>
                <a:cxn ang="0">
                  <a:pos x="T4" y="T5"/>
                </a:cxn>
                <a:cxn ang="0">
                  <a:pos x="T6" y="T7"/>
                </a:cxn>
                <a:cxn ang="0">
                  <a:pos x="T8" y="T9"/>
                </a:cxn>
                <a:cxn ang="0">
                  <a:pos x="T10" y="T11"/>
                </a:cxn>
              </a:cxnLst>
              <a:rect l="0" t="0" r="r" b="b"/>
              <a:pathLst>
                <a:path w="22" h="8">
                  <a:moveTo>
                    <a:pt x="7" y="2"/>
                  </a:moveTo>
                  <a:cubicBezTo>
                    <a:pt x="8" y="2"/>
                    <a:pt x="8" y="3"/>
                    <a:pt x="9" y="3"/>
                  </a:cubicBezTo>
                  <a:cubicBezTo>
                    <a:pt x="9" y="3"/>
                    <a:pt x="11" y="3"/>
                    <a:pt x="11" y="4"/>
                  </a:cubicBezTo>
                  <a:cubicBezTo>
                    <a:pt x="14" y="8"/>
                    <a:pt x="19" y="5"/>
                    <a:pt x="22" y="4"/>
                  </a:cubicBezTo>
                  <a:cubicBezTo>
                    <a:pt x="15" y="3"/>
                    <a:pt x="7" y="1"/>
                    <a:pt x="0" y="0"/>
                  </a:cubicBezTo>
                  <a:cubicBezTo>
                    <a:pt x="2" y="1"/>
                    <a:pt x="5" y="1"/>
                    <a:pt x="7" y="2"/>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30" name="Freeform 2785">
              <a:extLst>
                <a:ext uri="{FF2B5EF4-FFF2-40B4-BE49-F238E27FC236}">
                  <a16:creationId xmlns:a16="http://schemas.microsoft.com/office/drawing/2014/main" id="{8F743E2A-38B7-4A3E-9163-5FC3A4E57757}"/>
                </a:ext>
              </a:extLst>
            </p:cNvPr>
            <p:cNvSpPr>
              <a:spLocks/>
            </p:cNvSpPr>
            <p:nvPr/>
          </p:nvSpPr>
          <p:spPr bwMode="auto">
            <a:xfrm>
              <a:off x="4634" y="193"/>
              <a:ext cx="95" cy="23"/>
            </a:xfrm>
            <a:custGeom>
              <a:avLst/>
              <a:gdLst>
                <a:gd name="T0" fmla="*/ 7 w 40"/>
                <a:gd name="T1" fmla="*/ 8 h 10"/>
                <a:gd name="T2" fmla="*/ 10 w 40"/>
                <a:gd name="T3" fmla="*/ 7 h 10"/>
                <a:gd name="T4" fmla="*/ 12 w 40"/>
                <a:gd name="T5" fmla="*/ 10 h 10"/>
                <a:gd name="T6" fmla="*/ 15 w 40"/>
                <a:gd name="T7" fmla="*/ 9 h 10"/>
                <a:gd name="T8" fmla="*/ 19 w 40"/>
                <a:gd name="T9" fmla="*/ 7 h 10"/>
                <a:gd name="T10" fmla="*/ 21 w 40"/>
                <a:gd name="T11" fmla="*/ 7 h 10"/>
                <a:gd name="T12" fmla="*/ 22 w 40"/>
                <a:gd name="T13" fmla="*/ 6 h 10"/>
                <a:gd name="T14" fmla="*/ 25 w 40"/>
                <a:gd name="T15" fmla="*/ 6 h 10"/>
                <a:gd name="T16" fmla="*/ 26 w 40"/>
                <a:gd name="T17" fmla="*/ 5 h 10"/>
                <a:gd name="T18" fmla="*/ 27 w 40"/>
                <a:gd name="T19" fmla="*/ 4 h 10"/>
                <a:gd name="T20" fmla="*/ 28 w 40"/>
                <a:gd name="T21" fmla="*/ 2 h 10"/>
                <a:gd name="T22" fmla="*/ 31 w 40"/>
                <a:gd name="T23" fmla="*/ 3 h 10"/>
                <a:gd name="T24" fmla="*/ 32 w 40"/>
                <a:gd name="T25" fmla="*/ 5 h 10"/>
                <a:gd name="T26" fmla="*/ 35 w 40"/>
                <a:gd name="T27" fmla="*/ 5 h 10"/>
                <a:gd name="T28" fmla="*/ 38 w 40"/>
                <a:gd name="T29" fmla="*/ 6 h 10"/>
                <a:gd name="T30" fmla="*/ 37 w 40"/>
                <a:gd name="T31" fmla="*/ 3 h 10"/>
                <a:gd name="T32" fmla="*/ 37 w 40"/>
                <a:gd name="T33" fmla="*/ 2 h 10"/>
                <a:gd name="T34" fmla="*/ 33 w 40"/>
                <a:gd name="T35" fmla="*/ 1 h 10"/>
                <a:gd name="T36" fmla="*/ 27 w 40"/>
                <a:gd name="T37" fmla="*/ 0 h 10"/>
                <a:gd name="T38" fmla="*/ 20 w 40"/>
                <a:gd name="T39" fmla="*/ 1 h 10"/>
                <a:gd name="T40" fmla="*/ 0 w 40"/>
                <a:gd name="T41" fmla="*/ 5 h 10"/>
                <a:gd name="T42" fmla="*/ 5 w 40"/>
                <a:gd name="T43" fmla="*/ 7 h 10"/>
                <a:gd name="T44" fmla="*/ 7 w 40"/>
                <a:gd name="T45"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 h="10">
                  <a:moveTo>
                    <a:pt x="7" y="8"/>
                  </a:moveTo>
                  <a:cubicBezTo>
                    <a:pt x="8" y="7"/>
                    <a:pt x="9" y="7"/>
                    <a:pt x="10" y="7"/>
                  </a:cubicBezTo>
                  <a:cubicBezTo>
                    <a:pt x="13" y="6"/>
                    <a:pt x="10" y="9"/>
                    <a:pt x="12" y="10"/>
                  </a:cubicBezTo>
                  <a:cubicBezTo>
                    <a:pt x="12" y="10"/>
                    <a:pt x="15" y="9"/>
                    <a:pt x="15" y="9"/>
                  </a:cubicBezTo>
                  <a:cubicBezTo>
                    <a:pt x="17" y="9"/>
                    <a:pt x="18" y="7"/>
                    <a:pt x="19" y="7"/>
                  </a:cubicBezTo>
                  <a:cubicBezTo>
                    <a:pt x="20" y="7"/>
                    <a:pt x="21" y="7"/>
                    <a:pt x="21" y="7"/>
                  </a:cubicBezTo>
                  <a:cubicBezTo>
                    <a:pt x="22" y="7"/>
                    <a:pt x="22" y="6"/>
                    <a:pt x="22" y="6"/>
                  </a:cubicBezTo>
                  <a:cubicBezTo>
                    <a:pt x="23" y="5"/>
                    <a:pt x="24" y="7"/>
                    <a:pt x="25" y="6"/>
                  </a:cubicBezTo>
                  <a:cubicBezTo>
                    <a:pt x="26" y="6"/>
                    <a:pt x="26" y="5"/>
                    <a:pt x="26" y="5"/>
                  </a:cubicBezTo>
                  <a:cubicBezTo>
                    <a:pt x="26" y="4"/>
                    <a:pt x="26" y="4"/>
                    <a:pt x="27" y="4"/>
                  </a:cubicBezTo>
                  <a:cubicBezTo>
                    <a:pt x="27" y="3"/>
                    <a:pt x="27" y="2"/>
                    <a:pt x="28" y="2"/>
                  </a:cubicBezTo>
                  <a:cubicBezTo>
                    <a:pt x="29" y="2"/>
                    <a:pt x="30" y="3"/>
                    <a:pt x="31" y="3"/>
                  </a:cubicBezTo>
                  <a:cubicBezTo>
                    <a:pt x="31" y="3"/>
                    <a:pt x="32" y="4"/>
                    <a:pt x="32" y="5"/>
                  </a:cubicBezTo>
                  <a:cubicBezTo>
                    <a:pt x="33" y="5"/>
                    <a:pt x="34" y="5"/>
                    <a:pt x="35" y="5"/>
                  </a:cubicBezTo>
                  <a:cubicBezTo>
                    <a:pt x="36" y="5"/>
                    <a:pt x="37" y="5"/>
                    <a:pt x="38" y="6"/>
                  </a:cubicBezTo>
                  <a:cubicBezTo>
                    <a:pt x="40" y="6"/>
                    <a:pt x="37" y="3"/>
                    <a:pt x="37" y="3"/>
                  </a:cubicBezTo>
                  <a:cubicBezTo>
                    <a:pt x="37" y="2"/>
                    <a:pt x="38" y="2"/>
                    <a:pt x="37" y="2"/>
                  </a:cubicBezTo>
                  <a:cubicBezTo>
                    <a:pt x="36" y="1"/>
                    <a:pt x="34" y="1"/>
                    <a:pt x="33" y="1"/>
                  </a:cubicBezTo>
                  <a:cubicBezTo>
                    <a:pt x="31" y="0"/>
                    <a:pt x="29" y="0"/>
                    <a:pt x="27" y="0"/>
                  </a:cubicBezTo>
                  <a:cubicBezTo>
                    <a:pt x="24" y="0"/>
                    <a:pt x="22" y="1"/>
                    <a:pt x="20" y="1"/>
                  </a:cubicBezTo>
                  <a:cubicBezTo>
                    <a:pt x="13" y="2"/>
                    <a:pt x="7" y="4"/>
                    <a:pt x="0" y="5"/>
                  </a:cubicBezTo>
                  <a:cubicBezTo>
                    <a:pt x="1" y="6"/>
                    <a:pt x="3" y="6"/>
                    <a:pt x="5" y="7"/>
                  </a:cubicBezTo>
                  <a:cubicBezTo>
                    <a:pt x="6" y="8"/>
                    <a:pt x="6" y="8"/>
                    <a:pt x="7" y="8"/>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31" name="Freeform 2786">
              <a:extLst>
                <a:ext uri="{FF2B5EF4-FFF2-40B4-BE49-F238E27FC236}">
                  <a16:creationId xmlns:a16="http://schemas.microsoft.com/office/drawing/2014/main" id="{20BAF8F9-98DF-486E-98A0-780C4DB9299B}"/>
                </a:ext>
              </a:extLst>
            </p:cNvPr>
            <p:cNvSpPr>
              <a:spLocks/>
            </p:cNvSpPr>
            <p:nvPr/>
          </p:nvSpPr>
          <p:spPr bwMode="auto">
            <a:xfrm>
              <a:off x="4982" y="188"/>
              <a:ext cx="71" cy="31"/>
            </a:xfrm>
            <a:custGeom>
              <a:avLst/>
              <a:gdLst>
                <a:gd name="T0" fmla="*/ 0 w 30"/>
                <a:gd name="T1" fmla="*/ 9 h 13"/>
                <a:gd name="T2" fmla="*/ 4 w 30"/>
                <a:gd name="T3" fmla="*/ 12 h 13"/>
                <a:gd name="T4" fmla="*/ 9 w 30"/>
                <a:gd name="T5" fmla="*/ 11 h 13"/>
                <a:gd name="T6" fmla="*/ 13 w 30"/>
                <a:gd name="T7" fmla="*/ 12 h 13"/>
                <a:gd name="T8" fmla="*/ 18 w 30"/>
                <a:gd name="T9" fmla="*/ 12 h 13"/>
                <a:gd name="T10" fmla="*/ 21 w 30"/>
                <a:gd name="T11" fmla="*/ 11 h 13"/>
                <a:gd name="T12" fmla="*/ 22 w 30"/>
                <a:gd name="T13" fmla="*/ 10 h 13"/>
                <a:gd name="T14" fmla="*/ 24 w 30"/>
                <a:gd name="T15" fmla="*/ 8 h 13"/>
                <a:gd name="T16" fmla="*/ 28 w 30"/>
                <a:gd name="T17" fmla="*/ 8 h 13"/>
                <a:gd name="T18" fmla="*/ 30 w 30"/>
                <a:gd name="T19" fmla="*/ 4 h 13"/>
                <a:gd name="T20" fmla="*/ 20 w 30"/>
                <a:gd name="T21" fmla="*/ 2 h 13"/>
                <a:gd name="T22" fmla="*/ 7 w 30"/>
                <a:gd name="T23" fmla="*/ 3 h 13"/>
                <a:gd name="T24" fmla="*/ 9 w 30"/>
                <a:gd name="T25" fmla="*/ 2 h 13"/>
                <a:gd name="T26" fmla="*/ 3 w 30"/>
                <a:gd name="T27" fmla="*/ 3 h 13"/>
                <a:gd name="T28" fmla="*/ 0 w 30"/>
                <a:gd name="T29"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3">
                  <a:moveTo>
                    <a:pt x="0" y="9"/>
                  </a:moveTo>
                  <a:cubicBezTo>
                    <a:pt x="1" y="10"/>
                    <a:pt x="3" y="12"/>
                    <a:pt x="4" y="12"/>
                  </a:cubicBezTo>
                  <a:cubicBezTo>
                    <a:pt x="5" y="12"/>
                    <a:pt x="8" y="12"/>
                    <a:pt x="9" y="11"/>
                  </a:cubicBezTo>
                  <a:cubicBezTo>
                    <a:pt x="10" y="10"/>
                    <a:pt x="12" y="11"/>
                    <a:pt x="13" y="12"/>
                  </a:cubicBezTo>
                  <a:cubicBezTo>
                    <a:pt x="14" y="12"/>
                    <a:pt x="17" y="13"/>
                    <a:pt x="18" y="12"/>
                  </a:cubicBezTo>
                  <a:cubicBezTo>
                    <a:pt x="19" y="12"/>
                    <a:pt x="20" y="11"/>
                    <a:pt x="21" y="11"/>
                  </a:cubicBezTo>
                  <a:cubicBezTo>
                    <a:pt x="21" y="10"/>
                    <a:pt x="22" y="10"/>
                    <a:pt x="22" y="10"/>
                  </a:cubicBezTo>
                  <a:cubicBezTo>
                    <a:pt x="23" y="10"/>
                    <a:pt x="23" y="9"/>
                    <a:pt x="24" y="8"/>
                  </a:cubicBezTo>
                  <a:cubicBezTo>
                    <a:pt x="25" y="8"/>
                    <a:pt x="27" y="8"/>
                    <a:pt x="28" y="8"/>
                  </a:cubicBezTo>
                  <a:cubicBezTo>
                    <a:pt x="28" y="7"/>
                    <a:pt x="30" y="5"/>
                    <a:pt x="30" y="4"/>
                  </a:cubicBezTo>
                  <a:cubicBezTo>
                    <a:pt x="29" y="0"/>
                    <a:pt x="23" y="1"/>
                    <a:pt x="20" y="2"/>
                  </a:cubicBezTo>
                  <a:cubicBezTo>
                    <a:pt x="15" y="2"/>
                    <a:pt x="11" y="3"/>
                    <a:pt x="7" y="3"/>
                  </a:cubicBezTo>
                  <a:cubicBezTo>
                    <a:pt x="7" y="3"/>
                    <a:pt x="8" y="3"/>
                    <a:pt x="9" y="2"/>
                  </a:cubicBezTo>
                  <a:cubicBezTo>
                    <a:pt x="7" y="1"/>
                    <a:pt x="4" y="2"/>
                    <a:pt x="3" y="3"/>
                  </a:cubicBezTo>
                  <a:cubicBezTo>
                    <a:pt x="0" y="4"/>
                    <a:pt x="0" y="6"/>
                    <a:pt x="0" y="9"/>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32" name="Freeform 2787">
              <a:extLst>
                <a:ext uri="{FF2B5EF4-FFF2-40B4-BE49-F238E27FC236}">
                  <a16:creationId xmlns:a16="http://schemas.microsoft.com/office/drawing/2014/main" id="{95626D2B-E408-408F-8CAB-793E6237CE1D}"/>
                </a:ext>
              </a:extLst>
            </p:cNvPr>
            <p:cNvSpPr>
              <a:spLocks/>
            </p:cNvSpPr>
            <p:nvPr/>
          </p:nvSpPr>
          <p:spPr bwMode="auto">
            <a:xfrm>
              <a:off x="5743" y="238"/>
              <a:ext cx="71" cy="21"/>
            </a:xfrm>
            <a:custGeom>
              <a:avLst/>
              <a:gdLst>
                <a:gd name="T0" fmla="*/ 11 w 30"/>
                <a:gd name="T1" fmla="*/ 9 h 9"/>
                <a:gd name="T2" fmla="*/ 13 w 30"/>
                <a:gd name="T3" fmla="*/ 9 h 9"/>
                <a:gd name="T4" fmla="*/ 17 w 30"/>
                <a:gd name="T5" fmla="*/ 9 h 9"/>
                <a:gd name="T6" fmla="*/ 23 w 30"/>
                <a:gd name="T7" fmla="*/ 7 h 9"/>
                <a:gd name="T8" fmla="*/ 30 w 30"/>
                <a:gd name="T9" fmla="*/ 3 h 9"/>
                <a:gd name="T10" fmla="*/ 27 w 30"/>
                <a:gd name="T11" fmla="*/ 2 h 9"/>
                <a:gd name="T12" fmla="*/ 23 w 30"/>
                <a:gd name="T13" fmla="*/ 1 h 9"/>
                <a:gd name="T14" fmla="*/ 0 w 30"/>
                <a:gd name="T15" fmla="*/ 0 h 9"/>
                <a:gd name="T16" fmla="*/ 2 w 30"/>
                <a:gd name="T17" fmla="*/ 4 h 9"/>
                <a:gd name="T18" fmla="*/ 4 w 30"/>
                <a:gd name="T19" fmla="*/ 5 h 9"/>
                <a:gd name="T20" fmla="*/ 12 w 30"/>
                <a:gd name="T21" fmla="*/ 6 h 9"/>
                <a:gd name="T22" fmla="*/ 11 w 30"/>
                <a:gd name="T23"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 h="9">
                  <a:moveTo>
                    <a:pt x="11" y="9"/>
                  </a:moveTo>
                  <a:cubicBezTo>
                    <a:pt x="12" y="9"/>
                    <a:pt x="13" y="9"/>
                    <a:pt x="13" y="9"/>
                  </a:cubicBezTo>
                  <a:cubicBezTo>
                    <a:pt x="14" y="9"/>
                    <a:pt x="16" y="9"/>
                    <a:pt x="17" y="9"/>
                  </a:cubicBezTo>
                  <a:cubicBezTo>
                    <a:pt x="19" y="9"/>
                    <a:pt x="22" y="8"/>
                    <a:pt x="23" y="7"/>
                  </a:cubicBezTo>
                  <a:cubicBezTo>
                    <a:pt x="24" y="7"/>
                    <a:pt x="30" y="4"/>
                    <a:pt x="30" y="3"/>
                  </a:cubicBezTo>
                  <a:cubicBezTo>
                    <a:pt x="30" y="3"/>
                    <a:pt x="28" y="2"/>
                    <a:pt x="27" y="2"/>
                  </a:cubicBezTo>
                  <a:cubicBezTo>
                    <a:pt x="26" y="2"/>
                    <a:pt x="24" y="1"/>
                    <a:pt x="23" y="1"/>
                  </a:cubicBezTo>
                  <a:cubicBezTo>
                    <a:pt x="15" y="1"/>
                    <a:pt x="8" y="0"/>
                    <a:pt x="0" y="0"/>
                  </a:cubicBezTo>
                  <a:cubicBezTo>
                    <a:pt x="2" y="0"/>
                    <a:pt x="2" y="2"/>
                    <a:pt x="2" y="4"/>
                  </a:cubicBezTo>
                  <a:cubicBezTo>
                    <a:pt x="2" y="5"/>
                    <a:pt x="3" y="5"/>
                    <a:pt x="4" y="5"/>
                  </a:cubicBezTo>
                  <a:cubicBezTo>
                    <a:pt x="6" y="6"/>
                    <a:pt x="9" y="6"/>
                    <a:pt x="12" y="6"/>
                  </a:cubicBezTo>
                  <a:cubicBezTo>
                    <a:pt x="12" y="6"/>
                    <a:pt x="11" y="8"/>
                    <a:pt x="11" y="9"/>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733" name="Freeform 2788">
              <a:extLst>
                <a:ext uri="{FF2B5EF4-FFF2-40B4-BE49-F238E27FC236}">
                  <a16:creationId xmlns:a16="http://schemas.microsoft.com/office/drawing/2014/main" id="{B4942905-9F61-464E-B545-A76E855D8954}"/>
                </a:ext>
              </a:extLst>
            </p:cNvPr>
            <p:cNvSpPr>
              <a:spLocks/>
            </p:cNvSpPr>
            <p:nvPr/>
          </p:nvSpPr>
          <p:spPr bwMode="auto">
            <a:xfrm>
              <a:off x="7599" y="723"/>
              <a:ext cx="40" cy="21"/>
            </a:xfrm>
            <a:custGeom>
              <a:avLst/>
              <a:gdLst>
                <a:gd name="T0" fmla="*/ 3 w 17"/>
                <a:gd name="T1" fmla="*/ 6 h 9"/>
                <a:gd name="T2" fmla="*/ 4 w 17"/>
                <a:gd name="T3" fmla="*/ 7 h 9"/>
                <a:gd name="T4" fmla="*/ 12 w 17"/>
                <a:gd name="T5" fmla="*/ 9 h 9"/>
                <a:gd name="T6" fmla="*/ 16 w 17"/>
                <a:gd name="T7" fmla="*/ 7 h 9"/>
                <a:gd name="T8" fmla="*/ 16 w 17"/>
                <a:gd name="T9" fmla="*/ 4 h 9"/>
                <a:gd name="T10" fmla="*/ 15 w 17"/>
                <a:gd name="T11" fmla="*/ 3 h 9"/>
                <a:gd name="T12" fmla="*/ 3 w 17"/>
                <a:gd name="T13" fmla="*/ 2 h 9"/>
                <a:gd name="T14" fmla="*/ 1 w 17"/>
                <a:gd name="T15" fmla="*/ 5 h 9"/>
                <a:gd name="T16" fmla="*/ 3 w 17"/>
                <a:gd name="T17"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9">
                  <a:moveTo>
                    <a:pt x="3" y="6"/>
                  </a:moveTo>
                  <a:cubicBezTo>
                    <a:pt x="3" y="6"/>
                    <a:pt x="3" y="6"/>
                    <a:pt x="4" y="7"/>
                  </a:cubicBezTo>
                  <a:cubicBezTo>
                    <a:pt x="6" y="8"/>
                    <a:pt x="10" y="9"/>
                    <a:pt x="12" y="9"/>
                  </a:cubicBezTo>
                  <a:cubicBezTo>
                    <a:pt x="15" y="9"/>
                    <a:pt x="16" y="9"/>
                    <a:pt x="16" y="7"/>
                  </a:cubicBezTo>
                  <a:cubicBezTo>
                    <a:pt x="17" y="6"/>
                    <a:pt x="17" y="4"/>
                    <a:pt x="16" y="4"/>
                  </a:cubicBezTo>
                  <a:cubicBezTo>
                    <a:pt x="16" y="3"/>
                    <a:pt x="15" y="3"/>
                    <a:pt x="15" y="3"/>
                  </a:cubicBezTo>
                  <a:cubicBezTo>
                    <a:pt x="11" y="3"/>
                    <a:pt x="7" y="0"/>
                    <a:pt x="3" y="2"/>
                  </a:cubicBezTo>
                  <a:cubicBezTo>
                    <a:pt x="2" y="3"/>
                    <a:pt x="0" y="4"/>
                    <a:pt x="1" y="5"/>
                  </a:cubicBezTo>
                  <a:cubicBezTo>
                    <a:pt x="1" y="5"/>
                    <a:pt x="2" y="5"/>
                    <a:pt x="3" y="6"/>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grpSp>
      <p:sp>
        <p:nvSpPr>
          <p:cNvPr id="334" name="Freeform 2790">
            <a:extLst>
              <a:ext uri="{FF2B5EF4-FFF2-40B4-BE49-F238E27FC236}">
                <a16:creationId xmlns:a16="http://schemas.microsoft.com/office/drawing/2014/main" id="{840BC451-6466-4AD6-89FE-459A17ADC8E7}"/>
              </a:ext>
            </a:extLst>
          </p:cNvPr>
          <p:cNvSpPr>
            <a:spLocks/>
          </p:cNvSpPr>
          <p:nvPr/>
        </p:nvSpPr>
        <p:spPr bwMode="auto">
          <a:xfrm>
            <a:off x="4176004" y="2448520"/>
            <a:ext cx="22300" cy="14246"/>
          </a:xfrm>
          <a:custGeom>
            <a:avLst/>
            <a:gdLst>
              <a:gd name="T0" fmla="*/ 2 w 19"/>
              <a:gd name="T1" fmla="*/ 9 h 10"/>
              <a:gd name="T2" fmla="*/ 3 w 19"/>
              <a:gd name="T3" fmla="*/ 8 h 10"/>
              <a:gd name="T4" fmla="*/ 8 w 19"/>
              <a:gd name="T5" fmla="*/ 8 h 10"/>
              <a:gd name="T6" fmla="*/ 14 w 19"/>
              <a:gd name="T7" fmla="*/ 7 h 10"/>
              <a:gd name="T8" fmla="*/ 16 w 19"/>
              <a:gd name="T9" fmla="*/ 6 h 10"/>
              <a:gd name="T10" fmla="*/ 19 w 19"/>
              <a:gd name="T11" fmla="*/ 6 h 10"/>
              <a:gd name="T12" fmla="*/ 17 w 19"/>
              <a:gd name="T13" fmla="*/ 4 h 10"/>
              <a:gd name="T14" fmla="*/ 14 w 19"/>
              <a:gd name="T15" fmla="*/ 3 h 10"/>
              <a:gd name="T16" fmla="*/ 13 w 19"/>
              <a:gd name="T17" fmla="*/ 1 h 10"/>
              <a:gd name="T18" fmla="*/ 15 w 19"/>
              <a:gd name="T19" fmla="*/ 1 h 10"/>
              <a:gd name="T20" fmla="*/ 11 w 19"/>
              <a:gd name="T21" fmla="*/ 0 h 10"/>
              <a:gd name="T22" fmla="*/ 2 w 19"/>
              <a:gd name="T23" fmla="*/ 2 h 10"/>
              <a:gd name="T24" fmla="*/ 2 w 19"/>
              <a:gd name="T25" fmla="*/ 6 h 10"/>
              <a:gd name="T26" fmla="*/ 1 w 19"/>
              <a:gd name="T27" fmla="*/ 8 h 10"/>
              <a:gd name="T28" fmla="*/ 2 w 19"/>
              <a:gd name="T2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10">
                <a:moveTo>
                  <a:pt x="2" y="9"/>
                </a:moveTo>
                <a:cubicBezTo>
                  <a:pt x="3" y="9"/>
                  <a:pt x="3" y="9"/>
                  <a:pt x="3" y="8"/>
                </a:cubicBezTo>
                <a:cubicBezTo>
                  <a:pt x="4" y="10"/>
                  <a:pt x="7" y="9"/>
                  <a:pt x="8" y="8"/>
                </a:cubicBezTo>
                <a:cubicBezTo>
                  <a:pt x="10" y="8"/>
                  <a:pt x="12" y="8"/>
                  <a:pt x="14" y="7"/>
                </a:cubicBezTo>
                <a:cubicBezTo>
                  <a:pt x="15" y="7"/>
                  <a:pt x="15" y="7"/>
                  <a:pt x="16" y="6"/>
                </a:cubicBezTo>
                <a:cubicBezTo>
                  <a:pt x="17" y="6"/>
                  <a:pt x="18" y="7"/>
                  <a:pt x="19" y="6"/>
                </a:cubicBezTo>
                <a:cubicBezTo>
                  <a:pt x="19" y="6"/>
                  <a:pt x="18" y="4"/>
                  <a:pt x="17" y="4"/>
                </a:cubicBezTo>
                <a:cubicBezTo>
                  <a:pt x="16" y="3"/>
                  <a:pt x="15" y="5"/>
                  <a:pt x="14" y="3"/>
                </a:cubicBezTo>
                <a:cubicBezTo>
                  <a:pt x="14" y="3"/>
                  <a:pt x="13" y="2"/>
                  <a:pt x="13" y="1"/>
                </a:cubicBezTo>
                <a:cubicBezTo>
                  <a:pt x="13" y="1"/>
                  <a:pt x="14" y="1"/>
                  <a:pt x="15" y="1"/>
                </a:cubicBezTo>
                <a:cubicBezTo>
                  <a:pt x="14" y="0"/>
                  <a:pt x="12" y="0"/>
                  <a:pt x="11" y="0"/>
                </a:cubicBezTo>
                <a:cubicBezTo>
                  <a:pt x="8" y="0"/>
                  <a:pt x="5" y="1"/>
                  <a:pt x="2" y="2"/>
                </a:cubicBezTo>
                <a:cubicBezTo>
                  <a:pt x="2" y="3"/>
                  <a:pt x="2" y="5"/>
                  <a:pt x="2" y="6"/>
                </a:cubicBezTo>
                <a:cubicBezTo>
                  <a:pt x="2" y="7"/>
                  <a:pt x="1" y="7"/>
                  <a:pt x="1" y="8"/>
                </a:cubicBezTo>
                <a:cubicBezTo>
                  <a:pt x="0" y="9"/>
                  <a:pt x="1" y="9"/>
                  <a:pt x="2" y="9"/>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35" name="Freeform 2791">
            <a:extLst>
              <a:ext uri="{FF2B5EF4-FFF2-40B4-BE49-F238E27FC236}">
                <a16:creationId xmlns:a16="http://schemas.microsoft.com/office/drawing/2014/main" id="{41DFFCE5-84A3-4B17-A482-B404CC7C1821}"/>
              </a:ext>
            </a:extLst>
          </p:cNvPr>
          <p:cNvSpPr>
            <a:spLocks/>
          </p:cNvSpPr>
          <p:nvPr/>
        </p:nvSpPr>
        <p:spPr bwMode="auto">
          <a:xfrm>
            <a:off x="5197850" y="2960792"/>
            <a:ext cx="11398" cy="14246"/>
          </a:xfrm>
          <a:custGeom>
            <a:avLst/>
            <a:gdLst>
              <a:gd name="T0" fmla="*/ 8 w 10"/>
              <a:gd name="T1" fmla="*/ 0 h 10"/>
              <a:gd name="T2" fmla="*/ 6 w 10"/>
              <a:gd name="T3" fmla="*/ 4 h 10"/>
              <a:gd name="T4" fmla="*/ 4 w 10"/>
              <a:gd name="T5" fmla="*/ 5 h 10"/>
              <a:gd name="T6" fmla="*/ 1 w 10"/>
              <a:gd name="T7" fmla="*/ 6 h 10"/>
              <a:gd name="T8" fmla="*/ 0 w 10"/>
              <a:gd name="T9" fmla="*/ 7 h 10"/>
              <a:gd name="T10" fmla="*/ 1 w 10"/>
              <a:gd name="T11" fmla="*/ 8 h 10"/>
              <a:gd name="T12" fmla="*/ 0 w 10"/>
              <a:gd name="T13" fmla="*/ 9 h 10"/>
              <a:gd name="T14" fmla="*/ 2 w 10"/>
              <a:gd name="T15" fmla="*/ 10 h 10"/>
              <a:gd name="T16" fmla="*/ 4 w 10"/>
              <a:gd name="T17" fmla="*/ 8 h 10"/>
              <a:gd name="T18" fmla="*/ 10 w 10"/>
              <a:gd name="T19" fmla="*/ 3 h 10"/>
              <a:gd name="T20" fmla="*/ 8 w 10"/>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0">
                <a:moveTo>
                  <a:pt x="8" y="0"/>
                </a:moveTo>
                <a:cubicBezTo>
                  <a:pt x="7" y="1"/>
                  <a:pt x="7" y="3"/>
                  <a:pt x="6" y="4"/>
                </a:cubicBezTo>
                <a:cubicBezTo>
                  <a:pt x="5" y="5"/>
                  <a:pt x="4" y="5"/>
                  <a:pt x="4" y="5"/>
                </a:cubicBezTo>
                <a:cubicBezTo>
                  <a:pt x="2" y="5"/>
                  <a:pt x="2" y="6"/>
                  <a:pt x="1" y="6"/>
                </a:cubicBezTo>
                <a:cubicBezTo>
                  <a:pt x="0" y="7"/>
                  <a:pt x="0" y="6"/>
                  <a:pt x="0" y="7"/>
                </a:cubicBezTo>
                <a:cubicBezTo>
                  <a:pt x="0" y="7"/>
                  <a:pt x="1" y="8"/>
                  <a:pt x="1" y="8"/>
                </a:cubicBezTo>
                <a:cubicBezTo>
                  <a:pt x="1" y="9"/>
                  <a:pt x="0" y="9"/>
                  <a:pt x="0" y="9"/>
                </a:cubicBezTo>
                <a:cubicBezTo>
                  <a:pt x="0" y="9"/>
                  <a:pt x="2" y="10"/>
                  <a:pt x="2" y="10"/>
                </a:cubicBezTo>
                <a:cubicBezTo>
                  <a:pt x="3" y="10"/>
                  <a:pt x="4" y="9"/>
                  <a:pt x="4" y="8"/>
                </a:cubicBezTo>
                <a:cubicBezTo>
                  <a:pt x="6" y="7"/>
                  <a:pt x="9" y="5"/>
                  <a:pt x="10" y="3"/>
                </a:cubicBezTo>
                <a:cubicBezTo>
                  <a:pt x="10" y="1"/>
                  <a:pt x="10" y="0"/>
                  <a:pt x="8"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36" name="Freeform 2792">
            <a:extLst>
              <a:ext uri="{FF2B5EF4-FFF2-40B4-BE49-F238E27FC236}">
                <a16:creationId xmlns:a16="http://schemas.microsoft.com/office/drawing/2014/main" id="{5AEC97FF-54EF-4B75-A9A3-32C568F5868A}"/>
              </a:ext>
            </a:extLst>
          </p:cNvPr>
          <p:cNvSpPr>
            <a:spLocks/>
          </p:cNvSpPr>
          <p:nvPr/>
        </p:nvSpPr>
        <p:spPr bwMode="auto">
          <a:xfrm>
            <a:off x="3966382" y="2238981"/>
            <a:ext cx="18336" cy="8904"/>
          </a:xfrm>
          <a:custGeom>
            <a:avLst/>
            <a:gdLst>
              <a:gd name="T0" fmla="*/ 10 w 16"/>
              <a:gd name="T1" fmla="*/ 6 h 6"/>
              <a:gd name="T2" fmla="*/ 12 w 16"/>
              <a:gd name="T3" fmla="*/ 6 h 6"/>
              <a:gd name="T4" fmla="*/ 13 w 16"/>
              <a:gd name="T5" fmla="*/ 5 h 6"/>
              <a:gd name="T6" fmla="*/ 16 w 16"/>
              <a:gd name="T7" fmla="*/ 4 h 6"/>
              <a:gd name="T8" fmla="*/ 11 w 16"/>
              <a:gd name="T9" fmla="*/ 2 h 6"/>
              <a:gd name="T10" fmla="*/ 10 w 16"/>
              <a:gd name="T11" fmla="*/ 0 h 6"/>
              <a:gd name="T12" fmla="*/ 0 w 16"/>
              <a:gd name="T13" fmla="*/ 5 h 6"/>
              <a:gd name="T14" fmla="*/ 5 w 16"/>
              <a:gd name="T15" fmla="*/ 6 h 6"/>
              <a:gd name="T16" fmla="*/ 10 w 16"/>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6">
                <a:moveTo>
                  <a:pt x="10" y="6"/>
                </a:moveTo>
                <a:cubicBezTo>
                  <a:pt x="10" y="6"/>
                  <a:pt x="11" y="6"/>
                  <a:pt x="12" y="6"/>
                </a:cubicBezTo>
                <a:cubicBezTo>
                  <a:pt x="13" y="6"/>
                  <a:pt x="12" y="5"/>
                  <a:pt x="13" y="5"/>
                </a:cubicBezTo>
                <a:cubicBezTo>
                  <a:pt x="14" y="4"/>
                  <a:pt x="15" y="5"/>
                  <a:pt x="16" y="4"/>
                </a:cubicBezTo>
                <a:cubicBezTo>
                  <a:pt x="15" y="3"/>
                  <a:pt x="13" y="3"/>
                  <a:pt x="11" y="2"/>
                </a:cubicBezTo>
                <a:cubicBezTo>
                  <a:pt x="10" y="1"/>
                  <a:pt x="11" y="1"/>
                  <a:pt x="10" y="0"/>
                </a:cubicBezTo>
                <a:cubicBezTo>
                  <a:pt x="6" y="0"/>
                  <a:pt x="3" y="3"/>
                  <a:pt x="0" y="5"/>
                </a:cubicBezTo>
                <a:cubicBezTo>
                  <a:pt x="2" y="5"/>
                  <a:pt x="4" y="6"/>
                  <a:pt x="5" y="6"/>
                </a:cubicBezTo>
                <a:cubicBezTo>
                  <a:pt x="6" y="6"/>
                  <a:pt x="8" y="6"/>
                  <a:pt x="10" y="6"/>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37" name="Freeform 2793">
            <a:extLst>
              <a:ext uri="{FF2B5EF4-FFF2-40B4-BE49-F238E27FC236}">
                <a16:creationId xmlns:a16="http://schemas.microsoft.com/office/drawing/2014/main" id="{AB22F43F-F847-48FF-9783-A3BC40CD9D0C}"/>
              </a:ext>
            </a:extLst>
          </p:cNvPr>
          <p:cNvSpPr>
            <a:spLocks/>
          </p:cNvSpPr>
          <p:nvPr/>
        </p:nvSpPr>
        <p:spPr bwMode="auto">
          <a:xfrm>
            <a:off x="5295971" y="2791024"/>
            <a:ext cx="16353" cy="17214"/>
          </a:xfrm>
          <a:custGeom>
            <a:avLst/>
            <a:gdLst>
              <a:gd name="T0" fmla="*/ 12 w 14"/>
              <a:gd name="T1" fmla="*/ 1 h 12"/>
              <a:gd name="T2" fmla="*/ 8 w 14"/>
              <a:gd name="T3" fmla="*/ 3 h 12"/>
              <a:gd name="T4" fmla="*/ 3 w 14"/>
              <a:gd name="T5" fmla="*/ 4 h 12"/>
              <a:gd name="T6" fmla="*/ 5 w 14"/>
              <a:gd name="T7" fmla="*/ 4 h 12"/>
              <a:gd name="T8" fmla="*/ 0 w 14"/>
              <a:gd name="T9" fmla="*/ 11 h 12"/>
              <a:gd name="T10" fmla="*/ 0 w 14"/>
              <a:gd name="T11" fmla="*/ 12 h 12"/>
              <a:gd name="T12" fmla="*/ 12 w 14"/>
              <a:gd name="T13" fmla="*/ 6 h 12"/>
              <a:gd name="T14" fmla="*/ 12 w 14"/>
              <a:gd name="T15" fmla="*/ 1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2">
                <a:moveTo>
                  <a:pt x="12" y="1"/>
                </a:moveTo>
                <a:cubicBezTo>
                  <a:pt x="11" y="0"/>
                  <a:pt x="9" y="2"/>
                  <a:pt x="8" y="3"/>
                </a:cubicBezTo>
                <a:cubicBezTo>
                  <a:pt x="7" y="3"/>
                  <a:pt x="5" y="3"/>
                  <a:pt x="3" y="4"/>
                </a:cubicBezTo>
                <a:cubicBezTo>
                  <a:pt x="4" y="4"/>
                  <a:pt x="4" y="4"/>
                  <a:pt x="5" y="4"/>
                </a:cubicBezTo>
                <a:cubicBezTo>
                  <a:pt x="2" y="6"/>
                  <a:pt x="3" y="10"/>
                  <a:pt x="0" y="11"/>
                </a:cubicBezTo>
                <a:cubicBezTo>
                  <a:pt x="0" y="11"/>
                  <a:pt x="0" y="12"/>
                  <a:pt x="0" y="12"/>
                </a:cubicBezTo>
                <a:cubicBezTo>
                  <a:pt x="4" y="10"/>
                  <a:pt x="8" y="8"/>
                  <a:pt x="12" y="6"/>
                </a:cubicBezTo>
                <a:cubicBezTo>
                  <a:pt x="14" y="5"/>
                  <a:pt x="13" y="3"/>
                  <a:pt x="12"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38" name="Freeform 2794">
            <a:extLst>
              <a:ext uri="{FF2B5EF4-FFF2-40B4-BE49-F238E27FC236}">
                <a16:creationId xmlns:a16="http://schemas.microsoft.com/office/drawing/2014/main" id="{2A8FEE0B-026D-4E49-B566-916E6229CB8E}"/>
              </a:ext>
            </a:extLst>
          </p:cNvPr>
          <p:cNvSpPr>
            <a:spLocks/>
          </p:cNvSpPr>
          <p:nvPr/>
        </p:nvSpPr>
        <p:spPr bwMode="auto">
          <a:xfrm>
            <a:off x="5324218" y="2872347"/>
            <a:ext cx="11893" cy="13059"/>
          </a:xfrm>
          <a:custGeom>
            <a:avLst/>
            <a:gdLst>
              <a:gd name="T0" fmla="*/ 0 w 10"/>
              <a:gd name="T1" fmla="*/ 1 h 9"/>
              <a:gd name="T2" fmla="*/ 4 w 10"/>
              <a:gd name="T3" fmla="*/ 5 h 9"/>
              <a:gd name="T4" fmla="*/ 9 w 10"/>
              <a:gd name="T5" fmla="*/ 9 h 9"/>
              <a:gd name="T6" fmla="*/ 7 w 10"/>
              <a:gd name="T7" fmla="*/ 5 h 9"/>
              <a:gd name="T8" fmla="*/ 5 w 10"/>
              <a:gd name="T9" fmla="*/ 0 h 9"/>
              <a:gd name="T10" fmla="*/ 0 w 10"/>
              <a:gd name="T11" fmla="*/ 1 h 9"/>
            </a:gdLst>
            <a:ahLst/>
            <a:cxnLst>
              <a:cxn ang="0">
                <a:pos x="T0" y="T1"/>
              </a:cxn>
              <a:cxn ang="0">
                <a:pos x="T2" y="T3"/>
              </a:cxn>
              <a:cxn ang="0">
                <a:pos x="T4" y="T5"/>
              </a:cxn>
              <a:cxn ang="0">
                <a:pos x="T6" y="T7"/>
              </a:cxn>
              <a:cxn ang="0">
                <a:pos x="T8" y="T9"/>
              </a:cxn>
              <a:cxn ang="0">
                <a:pos x="T10" y="T11"/>
              </a:cxn>
            </a:cxnLst>
            <a:rect l="0" t="0" r="r" b="b"/>
            <a:pathLst>
              <a:path w="10" h="9">
                <a:moveTo>
                  <a:pt x="0" y="1"/>
                </a:moveTo>
                <a:cubicBezTo>
                  <a:pt x="2" y="1"/>
                  <a:pt x="3" y="3"/>
                  <a:pt x="4" y="5"/>
                </a:cubicBezTo>
                <a:cubicBezTo>
                  <a:pt x="6" y="6"/>
                  <a:pt x="7" y="8"/>
                  <a:pt x="9" y="9"/>
                </a:cubicBezTo>
                <a:cubicBezTo>
                  <a:pt x="10" y="7"/>
                  <a:pt x="8" y="6"/>
                  <a:pt x="7" y="5"/>
                </a:cubicBezTo>
                <a:cubicBezTo>
                  <a:pt x="5" y="3"/>
                  <a:pt x="5" y="2"/>
                  <a:pt x="5" y="0"/>
                </a:cubicBezTo>
                <a:cubicBezTo>
                  <a:pt x="3" y="0"/>
                  <a:pt x="2" y="0"/>
                  <a:pt x="0"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39" name="Freeform 2795">
            <a:extLst>
              <a:ext uri="{FF2B5EF4-FFF2-40B4-BE49-F238E27FC236}">
                <a16:creationId xmlns:a16="http://schemas.microsoft.com/office/drawing/2014/main" id="{9399A8DA-0B43-45FA-8255-8141CBD12E33}"/>
              </a:ext>
            </a:extLst>
          </p:cNvPr>
          <p:cNvSpPr>
            <a:spLocks/>
          </p:cNvSpPr>
          <p:nvPr/>
        </p:nvSpPr>
        <p:spPr bwMode="auto">
          <a:xfrm>
            <a:off x="4842533" y="3876709"/>
            <a:ext cx="1487" cy="1187"/>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1" y="0"/>
                  <a:pt x="1" y="0"/>
                </a:cubicBezTo>
                <a:cubicBezTo>
                  <a:pt x="1" y="0"/>
                  <a:pt x="0" y="1"/>
                  <a:pt x="0"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40" name="Freeform 2796">
            <a:extLst>
              <a:ext uri="{FF2B5EF4-FFF2-40B4-BE49-F238E27FC236}">
                <a16:creationId xmlns:a16="http://schemas.microsoft.com/office/drawing/2014/main" id="{AFC6C49A-5AA8-4155-A756-E8C5741FBBAA}"/>
              </a:ext>
            </a:extLst>
          </p:cNvPr>
          <p:cNvSpPr>
            <a:spLocks/>
          </p:cNvSpPr>
          <p:nvPr/>
        </p:nvSpPr>
        <p:spPr bwMode="auto">
          <a:xfrm>
            <a:off x="5333634" y="4056569"/>
            <a:ext cx="2478" cy="4155"/>
          </a:xfrm>
          <a:custGeom>
            <a:avLst/>
            <a:gdLst>
              <a:gd name="T0" fmla="*/ 1 w 2"/>
              <a:gd name="T1" fmla="*/ 0 h 3"/>
              <a:gd name="T2" fmla="*/ 0 w 2"/>
              <a:gd name="T3" fmla="*/ 3 h 3"/>
              <a:gd name="T4" fmla="*/ 1 w 2"/>
              <a:gd name="T5" fmla="*/ 1 h 3"/>
              <a:gd name="T6" fmla="*/ 1 w 2"/>
              <a:gd name="T7" fmla="*/ 0 h 3"/>
            </a:gdLst>
            <a:ahLst/>
            <a:cxnLst>
              <a:cxn ang="0">
                <a:pos x="T0" y="T1"/>
              </a:cxn>
              <a:cxn ang="0">
                <a:pos x="T2" y="T3"/>
              </a:cxn>
              <a:cxn ang="0">
                <a:pos x="T4" y="T5"/>
              </a:cxn>
              <a:cxn ang="0">
                <a:pos x="T6" y="T7"/>
              </a:cxn>
            </a:cxnLst>
            <a:rect l="0" t="0" r="r" b="b"/>
            <a:pathLst>
              <a:path w="2" h="3">
                <a:moveTo>
                  <a:pt x="1" y="0"/>
                </a:moveTo>
                <a:cubicBezTo>
                  <a:pt x="0" y="1"/>
                  <a:pt x="0" y="2"/>
                  <a:pt x="0" y="3"/>
                </a:cubicBezTo>
                <a:cubicBezTo>
                  <a:pt x="1" y="2"/>
                  <a:pt x="0" y="2"/>
                  <a:pt x="1" y="1"/>
                </a:cubicBezTo>
                <a:cubicBezTo>
                  <a:pt x="1" y="0"/>
                  <a:pt x="2" y="1"/>
                  <a:pt x="1"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41" name="Freeform 2797">
            <a:extLst>
              <a:ext uri="{FF2B5EF4-FFF2-40B4-BE49-F238E27FC236}">
                <a16:creationId xmlns:a16="http://schemas.microsoft.com/office/drawing/2014/main" id="{643DC250-3548-4F7F-B9C9-D06148B24E7E}"/>
              </a:ext>
            </a:extLst>
          </p:cNvPr>
          <p:cNvSpPr>
            <a:spLocks/>
          </p:cNvSpPr>
          <p:nvPr/>
        </p:nvSpPr>
        <p:spPr bwMode="auto">
          <a:xfrm>
            <a:off x="5298449" y="404529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42" name="Freeform 2798">
            <a:extLst>
              <a:ext uri="{FF2B5EF4-FFF2-40B4-BE49-F238E27FC236}">
                <a16:creationId xmlns:a16="http://schemas.microsoft.com/office/drawing/2014/main" id="{41C318BB-D934-46EB-81EE-0028B491EC9A}"/>
              </a:ext>
            </a:extLst>
          </p:cNvPr>
          <p:cNvSpPr>
            <a:spLocks/>
          </p:cNvSpPr>
          <p:nvPr/>
        </p:nvSpPr>
        <p:spPr bwMode="auto">
          <a:xfrm>
            <a:off x="5344040" y="4088623"/>
            <a:ext cx="991" cy="1781"/>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0"/>
                  <a:pt x="0" y="0"/>
                  <a:pt x="0" y="0"/>
                </a:cubicBezTo>
                <a:cubicBezTo>
                  <a:pt x="0" y="0"/>
                  <a:pt x="0" y="1"/>
                  <a:pt x="1"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43" name="Freeform 2799">
            <a:extLst>
              <a:ext uri="{FF2B5EF4-FFF2-40B4-BE49-F238E27FC236}">
                <a16:creationId xmlns:a16="http://schemas.microsoft.com/office/drawing/2014/main" id="{9340A8B2-6B46-48D2-B978-2BAF179940AF}"/>
              </a:ext>
            </a:extLst>
          </p:cNvPr>
          <p:cNvSpPr>
            <a:spLocks/>
          </p:cNvSpPr>
          <p:nvPr/>
        </p:nvSpPr>
        <p:spPr bwMode="auto">
          <a:xfrm>
            <a:off x="5253848" y="4036980"/>
            <a:ext cx="991" cy="2374"/>
          </a:xfrm>
          <a:custGeom>
            <a:avLst/>
            <a:gdLst>
              <a:gd name="T0" fmla="*/ 1 w 1"/>
              <a:gd name="T1" fmla="*/ 2 h 2"/>
              <a:gd name="T2" fmla="*/ 1 w 1"/>
              <a:gd name="T3" fmla="*/ 0 h 2"/>
              <a:gd name="T4" fmla="*/ 1 w 1"/>
              <a:gd name="T5" fmla="*/ 2 h 2"/>
            </a:gdLst>
            <a:ahLst/>
            <a:cxnLst>
              <a:cxn ang="0">
                <a:pos x="T0" y="T1"/>
              </a:cxn>
              <a:cxn ang="0">
                <a:pos x="T2" y="T3"/>
              </a:cxn>
              <a:cxn ang="0">
                <a:pos x="T4" y="T5"/>
              </a:cxn>
            </a:cxnLst>
            <a:rect l="0" t="0" r="r" b="b"/>
            <a:pathLst>
              <a:path w="1" h="2">
                <a:moveTo>
                  <a:pt x="1" y="2"/>
                </a:moveTo>
                <a:cubicBezTo>
                  <a:pt x="1" y="2"/>
                  <a:pt x="1" y="1"/>
                  <a:pt x="1" y="0"/>
                </a:cubicBezTo>
                <a:cubicBezTo>
                  <a:pt x="0" y="1"/>
                  <a:pt x="0" y="2"/>
                  <a:pt x="1" y="2"/>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44" name="Freeform 2800">
            <a:extLst>
              <a:ext uri="{FF2B5EF4-FFF2-40B4-BE49-F238E27FC236}">
                <a16:creationId xmlns:a16="http://schemas.microsoft.com/office/drawing/2014/main" id="{7557ADB1-E026-4A2D-B948-D10D8F281855}"/>
              </a:ext>
            </a:extLst>
          </p:cNvPr>
          <p:cNvSpPr>
            <a:spLocks/>
          </p:cNvSpPr>
          <p:nvPr/>
        </p:nvSpPr>
        <p:spPr bwMode="auto">
          <a:xfrm>
            <a:off x="5348996" y="4070815"/>
            <a:ext cx="3469" cy="4155"/>
          </a:xfrm>
          <a:custGeom>
            <a:avLst/>
            <a:gdLst>
              <a:gd name="T0" fmla="*/ 2 w 3"/>
              <a:gd name="T1" fmla="*/ 3 h 3"/>
              <a:gd name="T2" fmla="*/ 3 w 3"/>
              <a:gd name="T3" fmla="*/ 1 h 3"/>
              <a:gd name="T4" fmla="*/ 2 w 3"/>
              <a:gd name="T5" fmla="*/ 0 h 3"/>
              <a:gd name="T6" fmla="*/ 0 w 3"/>
              <a:gd name="T7" fmla="*/ 0 h 3"/>
              <a:gd name="T8" fmla="*/ 0 w 3"/>
              <a:gd name="T9" fmla="*/ 2 h 3"/>
              <a:gd name="T10" fmla="*/ 2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2" y="3"/>
                </a:moveTo>
                <a:cubicBezTo>
                  <a:pt x="2" y="2"/>
                  <a:pt x="3" y="2"/>
                  <a:pt x="3" y="1"/>
                </a:cubicBezTo>
                <a:cubicBezTo>
                  <a:pt x="2" y="1"/>
                  <a:pt x="2" y="0"/>
                  <a:pt x="2" y="0"/>
                </a:cubicBezTo>
                <a:cubicBezTo>
                  <a:pt x="2" y="0"/>
                  <a:pt x="0" y="0"/>
                  <a:pt x="0" y="0"/>
                </a:cubicBezTo>
                <a:cubicBezTo>
                  <a:pt x="0" y="1"/>
                  <a:pt x="1" y="2"/>
                  <a:pt x="0" y="2"/>
                </a:cubicBezTo>
                <a:cubicBezTo>
                  <a:pt x="1" y="2"/>
                  <a:pt x="1" y="3"/>
                  <a:pt x="2" y="3"/>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45" name="Freeform 2801">
            <a:extLst>
              <a:ext uri="{FF2B5EF4-FFF2-40B4-BE49-F238E27FC236}">
                <a16:creationId xmlns:a16="http://schemas.microsoft.com/office/drawing/2014/main" id="{D6DD8E17-39F9-4078-9AA1-28612817D6FF}"/>
              </a:ext>
            </a:extLst>
          </p:cNvPr>
          <p:cNvSpPr>
            <a:spLocks/>
          </p:cNvSpPr>
          <p:nvPr/>
        </p:nvSpPr>
        <p:spPr bwMode="auto">
          <a:xfrm>
            <a:off x="5339580" y="4060724"/>
            <a:ext cx="5451" cy="7123"/>
          </a:xfrm>
          <a:custGeom>
            <a:avLst/>
            <a:gdLst>
              <a:gd name="T0" fmla="*/ 0 w 5"/>
              <a:gd name="T1" fmla="*/ 2 h 5"/>
              <a:gd name="T2" fmla="*/ 1 w 5"/>
              <a:gd name="T3" fmla="*/ 4 h 5"/>
              <a:gd name="T4" fmla="*/ 2 w 5"/>
              <a:gd name="T5" fmla="*/ 4 h 5"/>
              <a:gd name="T6" fmla="*/ 3 w 5"/>
              <a:gd name="T7" fmla="*/ 5 h 5"/>
              <a:gd name="T8" fmla="*/ 3 w 5"/>
              <a:gd name="T9" fmla="*/ 1 h 5"/>
              <a:gd name="T10" fmla="*/ 2 w 5"/>
              <a:gd name="T11" fmla="*/ 0 h 5"/>
              <a:gd name="T12" fmla="*/ 0 w 5"/>
              <a:gd name="T13" fmla="*/ 0 h 5"/>
              <a:gd name="T14" fmla="*/ 1 w 5"/>
              <a:gd name="T15" fmla="*/ 1 h 5"/>
              <a:gd name="T16" fmla="*/ 0 w 5"/>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
                <a:moveTo>
                  <a:pt x="0" y="2"/>
                </a:moveTo>
                <a:cubicBezTo>
                  <a:pt x="0" y="3"/>
                  <a:pt x="0" y="3"/>
                  <a:pt x="1" y="4"/>
                </a:cubicBezTo>
                <a:cubicBezTo>
                  <a:pt x="1" y="4"/>
                  <a:pt x="2" y="4"/>
                  <a:pt x="2" y="4"/>
                </a:cubicBezTo>
                <a:cubicBezTo>
                  <a:pt x="2" y="4"/>
                  <a:pt x="3" y="5"/>
                  <a:pt x="3" y="5"/>
                </a:cubicBezTo>
                <a:cubicBezTo>
                  <a:pt x="5" y="3"/>
                  <a:pt x="4" y="3"/>
                  <a:pt x="3" y="1"/>
                </a:cubicBezTo>
                <a:cubicBezTo>
                  <a:pt x="3" y="0"/>
                  <a:pt x="3" y="0"/>
                  <a:pt x="2" y="0"/>
                </a:cubicBezTo>
                <a:cubicBezTo>
                  <a:pt x="2" y="0"/>
                  <a:pt x="0" y="0"/>
                  <a:pt x="0" y="0"/>
                </a:cubicBezTo>
                <a:cubicBezTo>
                  <a:pt x="0" y="1"/>
                  <a:pt x="1" y="0"/>
                  <a:pt x="1" y="1"/>
                </a:cubicBezTo>
                <a:cubicBezTo>
                  <a:pt x="2" y="2"/>
                  <a:pt x="0" y="2"/>
                  <a:pt x="0" y="2"/>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46" name="Freeform 2802">
            <a:extLst>
              <a:ext uri="{FF2B5EF4-FFF2-40B4-BE49-F238E27FC236}">
                <a16:creationId xmlns:a16="http://schemas.microsoft.com/office/drawing/2014/main" id="{57B3A1BB-1A89-4D6E-A03A-A867A4C2CD2C}"/>
              </a:ext>
            </a:extLst>
          </p:cNvPr>
          <p:cNvSpPr>
            <a:spLocks/>
          </p:cNvSpPr>
          <p:nvPr/>
        </p:nvSpPr>
        <p:spPr bwMode="auto">
          <a:xfrm>
            <a:off x="5302909" y="4050633"/>
            <a:ext cx="36671" cy="37990"/>
          </a:xfrm>
          <a:custGeom>
            <a:avLst/>
            <a:gdLst>
              <a:gd name="T0" fmla="*/ 31 w 31"/>
              <a:gd name="T1" fmla="*/ 23 h 27"/>
              <a:gd name="T2" fmla="*/ 27 w 31"/>
              <a:gd name="T3" fmla="*/ 20 h 27"/>
              <a:gd name="T4" fmla="*/ 21 w 31"/>
              <a:gd name="T5" fmla="*/ 15 h 27"/>
              <a:gd name="T6" fmla="*/ 14 w 31"/>
              <a:gd name="T7" fmla="*/ 10 h 27"/>
              <a:gd name="T8" fmla="*/ 7 w 31"/>
              <a:gd name="T9" fmla="*/ 5 h 27"/>
              <a:gd name="T10" fmla="*/ 5 w 31"/>
              <a:gd name="T11" fmla="*/ 3 h 27"/>
              <a:gd name="T12" fmla="*/ 3 w 31"/>
              <a:gd name="T13" fmla="*/ 3 h 27"/>
              <a:gd name="T14" fmla="*/ 2 w 31"/>
              <a:gd name="T15" fmla="*/ 2 h 27"/>
              <a:gd name="T16" fmla="*/ 1 w 31"/>
              <a:gd name="T17" fmla="*/ 1 h 27"/>
              <a:gd name="T18" fmla="*/ 0 w 31"/>
              <a:gd name="T19" fmla="*/ 0 h 27"/>
              <a:gd name="T20" fmla="*/ 3 w 31"/>
              <a:gd name="T21" fmla="*/ 6 h 27"/>
              <a:gd name="T22" fmla="*/ 16 w 31"/>
              <a:gd name="T23" fmla="*/ 18 h 27"/>
              <a:gd name="T24" fmla="*/ 18 w 31"/>
              <a:gd name="T25" fmla="*/ 18 h 27"/>
              <a:gd name="T26" fmla="*/ 19 w 31"/>
              <a:gd name="T27" fmla="*/ 19 h 27"/>
              <a:gd name="T28" fmla="*/ 24 w 31"/>
              <a:gd name="T29" fmla="*/ 22 h 27"/>
              <a:gd name="T30" fmla="*/ 31 w 31"/>
              <a:gd name="T31"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27">
                <a:moveTo>
                  <a:pt x="31" y="23"/>
                </a:moveTo>
                <a:cubicBezTo>
                  <a:pt x="31" y="22"/>
                  <a:pt x="28" y="21"/>
                  <a:pt x="27" y="20"/>
                </a:cubicBezTo>
                <a:cubicBezTo>
                  <a:pt x="25" y="18"/>
                  <a:pt x="23" y="17"/>
                  <a:pt x="21" y="15"/>
                </a:cubicBezTo>
                <a:cubicBezTo>
                  <a:pt x="18" y="14"/>
                  <a:pt x="16" y="12"/>
                  <a:pt x="14" y="10"/>
                </a:cubicBezTo>
                <a:cubicBezTo>
                  <a:pt x="12" y="8"/>
                  <a:pt x="10" y="6"/>
                  <a:pt x="7" y="5"/>
                </a:cubicBezTo>
                <a:cubicBezTo>
                  <a:pt x="6" y="4"/>
                  <a:pt x="6" y="3"/>
                  <a:pt x="5" y="3"/>
                </a:cubicBezTo>
                <a:cubicBezTo>
                  <a:pt x="4" y="2"/>
                  <a:pt x="4" y="3"/>
                  <a:pt x="3" y="3"/>
                </a:cubicBezTo>
                <a:cubicBezTo>
                  <a:pt x="3" y="3"/>
                  <a:pt x="2" y="2"/>
                  <a:pt x="2" y="2"/>
                </a:cubicBezTo>
                <a:cubicBezTo>
                  <a:pt x="2" y="2"/>
                  <a:pt x="1" y="1"/>
                  <a:pt x="1" y="1"/>
                </a:cubicBezTo>
                <a:cubicBezTo>
                  <a:pt x="1" y="1"/>
                  <a:pt x="0" y="0"/>
                  <a:pt x="0" y="0"/>
                </a:cubicBezTo>
                <a:cubicBezTo>
                  <a:pt x="0" y="0"/>
                  <a:pt x="3" y="6"/>
                  <a:pt x="3" y="6"/>
                </a:cubicBezTo>
                <a:cubicBezTo>
                  <a:pt x="7" y="10"/>
                  <a:pt x="11" y="15"/>
                  <a:pt x="16" y="18"/>
                </a:cubicBezTo>
                <a:cubicBezTo>
                  <a:pt x="17" y="18"/>
                  <a:pt x="18" y="18"/>
                  <a:pt x="18" y="18"/>
                </a:cubicBezTo>
                <a:cubicBezTo>
                  <a:pt x="18" y="19"/>
                  <a:pt x="19" y="19"/>
                  <a:pt x="19" y="19"/>
                </a:cubicBezTo>
                <a:cubicBezTo>
                  <a:pt x="21" y="20"/>
                  <a:pt x="22" y="21"/>
                  <a:pt x="24" y="22"/>
                </a:cubicBezTo>
                <a:cubicBezTo>
                  <a:pt x="25" y="23"/>
                  <a:pt x="30" y="27"/>
                  <a:pt x="31" y="23"/>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47" name="Freeform 2803">
            <a:extLst>
              <a:ext uri="{FF2B5EF4-FFF2-40B4-BE49-F238E27FC236}">
                <a16:creationId xmlns:a16="http://schemas.microsoft.com/office/drawing/2014/main" id="{DC04B709-EB1B-4D72-BD97-3DDC6988CCBD}"/>
              </a:ext>
            </a:extLst>
          </p:cNvPr>
          <p:cNvSpPr>
            <a:spLocks/>
          </p:cNvSpPr>
          <p:nvPr/>
        </p:nvSpPr>
        <p:spPr bwMode="auto">
          <a:xfrm>
            <a:off x="4151226" y="3407769"/>
            <a:ext cx="2478" cy="4155"/>
          </a:xfrm>
          <a:custGeom>
            <a:avLst/>
            <a:gdLst>
              <a:gd name="T0" fmla="*/ 0 w 2"/>
              <a:gd name="T1" fmla="*/ 1 h 3"/>
              <a:gd name="T2" fmla="*/ 2 w 2"/>
              <a:gd name="T3" fmla="*/ 1 h 3"/>
              <a:gd name="T4" fmla="*/ 0 w 2"/>
              <a:gd name="T5" fmla="*/ 0 h 3"/>
              <a:gd name="T6" fmla="*/ 0 w 2"/>
              <a:gd name="T7" fmla="*/ 1 h 3"/>
              <a:gd name="T8" fmla="*/ 0 w 2"/>
              <a:gd name="T9" fmla="*/ 0 h 3"/>
              <a:gd name="T10" fmla="*/ 0 w 2"/>
              <a:gd name="T11" fmla="*/ 3 h 3"/>
              <a:gd name="T12" fmla="*/ 1 w 2"/>
              <a:gd name="T13" fmla="*/ 1 h 3"/>
              <a:gd name="T14" fmla="*/ 0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1"/>
                </a:moveTo>
                <a:cubicBezTo>
                  <a:pt x="1" y="1"/>
                  <a:pt x="1" y="1"/>
                  <a:pt x="2" y="1"/>
                </a:cubicBezTo>
                <a:cubicBezTo>
                  <a:pt x="1" y="0"/>
                  <a:pt x="1" y="0"/>
                  <a:pt x="0" y="0"/>
                </a:cubicBezTo>
                <a:cubicBezTo>
                  <a:pt x="0" y="0"/>
                  <a:pt x="0" y="0"/>
                  <a:pt x="0" y="1"/>
                </a:cubicBezTo>
                <a:cubicBezTo>
                  <a:pt x="0" y="1"/>
                  <a:pt x="0" y="0"/>
                  <a:pt x="0" y="0"/>
                </a:cubicBezTo>
                <a:cubicBezTo>
                  <a:pt x="0" y="1"/>
                  <a:pt x="0" y="2"/>
                  <a:pt x="0" y="3"/>
                </a:cubicBezTo>
                <a:cubicBezTo>
                  <a:pt x="2" y="3"/>
                  <a:pt x="0" y="2"/>
                  <a:pt x="1" y="1"/>
                </a:cubicBezTo>
                <a:cubicBezTo>
                  <a:pt x="1" y="1"/>
                  <a:pt x="1" y="1"/>
                  <a:pt x="0"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48" name="Freeform 2804">
            <a:extLst>
              <a:ext uri="{FF2B5EF4-FFF2-40B4-BE49-F238E27FC236}">
                <a16:creationId xmlns:a16="http://schemas.microsoft.com/office/drawing/2014/main" id="{60E0B84B-1067-47FE-8F4F-4EC65A598F1E}"/>
              </a:ext>
            </a:extLst>
          </p:cNvPr>
          <p:cNvSpPr>
            <a:spLocks/>
          </p:cNvSpPr>
          <p:nvPr/>
        </p:nvSpPr>
        <p:spPr bwMode="auto">
          <a:xfrm>
            <a:off x="4147758" y="3407769"/>
            <a:ext cx="2478" cy="2968"/>
          </a:xfrm>
          <a:custGeom>
            <a:avLst/>
            <a:gdLst>
              <a:gd name="T0" fmla="*/ 0 w 2"/>
              <a:gd name="T1" fmla="*/ 1 h 2"/>
              <a:gd name="T2" fmla="*/ 2 w 2"/>
              <a:gd name="T3" fmla="*/ 1 h 2"/>
              <a:gd name="T4" fmla="*/ 2 w 2"/>
              <a:gd name="T5" fmla="*/ 0 h 2"/>
              <a:gd name="T6" fmla="*/ 0 w 2"/>
              <a:gd name="T7" fmla="*/ 1 h 2"/>
            </a:gdLst>
            <a:ahLst/>
            <a:cxnLst>
              <a:cxn ang="0">
                <a:pos x="T0" y="T1"/>
              </a:cxn>
              <a:cxn ang="0">
                <a:pos x="T2" y="T3"/>
              </a:cxn>
              <a:cxn ang="0">
                <a:pos x="T4" y="T5"/>
              </a:cxn>
              <a:cxn ang="0">
                <a:pos x="T6" y="T7"/>
              </a:cxn>
            </a:cxnLst>
            <a:rect l="0" t="0" r="r" b="b"/>
            <a:pathLst>
              <a:path w="2" h="2">
                <a:moveTo>
                  <a:pt x="0" y="1"/>
                </a:moveTo>
                <a:cubicBezTo>
                  <a:pt x="0" y="2"/>
                  <a:pt x="1" y="2"/>
                  <a:pt x="2" y="1"/>
                </a:cubicBezTo>
                <a:cubicBezTo>
                  <a:pt x="2" y="1"/>
                  <a:pt x="2" y="0"/>
                  <a:pt x="2" y="0"/>
                </a:cubicBezTo>
                <a:cubicBezTo>
                  <a:pt x="1" y="0"/>
                  <a:pt x="0" y="0"/>
                  <a:pt x="0"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49" name="Freeform 2805">
            <a:extLst>
              <a:ext uri="{FF2B5EF4-FFF2-40B4-BE49-F238E27FC236}">
                <a16:creationId xmlns:a16="http://schemas.microsoft.com/office/drawing/2014/main" id="{37B0A3E4-85A8-413E-AA6D-DCF4C4776632}"/>
              </a:ext>
            </a:extLst>
          </p:cNvPr>
          <p:cNvSpPr>
            <a:spLocks/>
          </p:cNvSpPr>
          <p:nvPr/>
        </p:nvSpPr>
        <p:spPr bwMode="auto">
          <a:xfrm>
            <a:off x="4151226" y="3407769"/>
            <a:ext cx="3469" cy="4155"/>
          </a:xfrm>
          <a:custGeom>
            <a:avLst/>
            <a:gdLst>
              <a:gd name="T0" fmla="*/ 3 w 3"/>
              <a:gd name="T1" fmla="*/ 3 h 3"/>
              <a:gd name="T2" fmla="*/ 2 w 3"/>
              <a:gd name="T3" fmla="*/ 0 h 3"/>
              <a:gd name="T4" fmla="*/ 3 w 3"/>
              <a:gd name="T5" fmla="*/ 3 h 3"/>
            </a:gdLst>
            <a:ahLst/>
            <a:cxnLst>
              <a:cxn ang="0">
                <a:pos x="T0" y="T1"/>
              </a:cxn>
              <a:cxn ang="0">
                <a:pos x="T2" y="T3"/>
              </a:cxn>
              <a:cxn ang="0">
                <a:pos x="T4" y="T5"/>
              </a:cxn>
            </a:cxnLst>
            <a:rect l="0" t="0" r="r" b="b"/>
            <a:pathLst>
              <a:path w="3" h="3">
                <a:moveTo>
                  <a:pt x="3" y="3"/>
                </a:moveTo>
                <a:cubicBezTo>
                  <a:pt x="3" y="2"/>
                  <a:pt x="3" y="1"/>
                  <a:pt x="2" y="0"/>
                </a:cubicBezTo>
                <a:cubicBezTo>
                  <a:pt x="0" y="1"/>
                  <a:pt x="1" y="2"/>
                  <a:pt x="3" y="3"/>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50" name="Freeform 2806">
            <a:extLst>
              <a:ext uri="{FF2B5EF4-FFF2-40B4-BE49-F238E27FC236}">
                <a16:creationId xmlns:a16="http://schemas.microsoft.com/office/drawing/2014/main" id="{48DC58A0-D558-46D9-A816-30AD4CCD146B}"/>
              </a:ext>
            </a:extLst>
          </p:cNvPr>
          <p:cNvSpPr>
            <a:spLocks/>
          </p:cNvSpPr>
          <p:nvPr/>
        </p:nvSpPr>
        <p:spPr bwMode="auto">
          <a:xfrm>
            <a:off x="3726036" y="3224942"/>
            <a:ext cx="28247" cy="17214"/>
          </a:xfrm>
          <a:custGeom>
            <a:avLst/>
            <a:gdLst>
              <a:gd name="T0" fmla="*/ 19 w 24"/>
              <a:gd name="T1" fmla="*/ 4 h 12"/>
              <a:gd name="T2" fmla="*/ 19 w 24"/>
              <a:gd name="T3" fmla="*/ 3 h 12"/>
              <a:gd name="T4" fmla="*/ 21 w 24"/>
              <a:gd name="T5" fmla="*/ 2 h 12"/>
              <a:gd name="T6" fmla="*/ 24 w 24"/>
              <a:gd name="T7" fmla="*/ 0 h 12"/>
              <a:gd name="T8" fmla="*/ 15 w 24"/>
              <a:gd name="T9" fmla="*/ 4 h 12"/>
              <a:gd name="T10" fmla="*/ 7 w 24"/>
              <a:gd name="T11" fmla="*/ 3 h 12"/>
              <a:gd name="T12" fmla="*/ 6 w 24"/>
              <a:gd name="T13" fmla="*/ 5 h 12"/>
              <a:gd name="T14" fmla="*/ 3 w 24"/>
              <a:gd name="T15" fmla="*/ 7 h 12"/>
              <a:gd name="T16" fmla="*/ 2 w 24"/>
              <a:gd name="T17" fmla="*/ 7 h 12"/>
              <a:gd name="T18" fmla="*/ 1 w 24"/>
              <a:gd name="T19" fmla="*/ 7 h 12"/>
              <a:gd name="T20" fmla="*/ 2 w 24"/>
              <a:gd name="T21" fmla="*/ 11 h 12"/>
              <a:gd name="T22" fmla="*/ 7 w 24"/>
              <a:gd name="T23" fmla="*/ 12 h 12"/>
              <a:gd name="T24" fmla="*/ 14 w 24"/>
              <a:gd name="T25" fmla="*/ 10 h 12"/>
              <a:gd name="T26" fmla="*/ 15 w 24"/>
              <a:gd name="T27" fmla="*/ 8 h 12"/>
              <a:gd name="T28" fmla="*/ 17 w 24"/>
              <a:gd name="T29" fmla="*/ 8 h 12"/>
              <a:gd name="T30" fmla="*/ 17 w 24"/>
              <a:gd name="T31" fmla="*/ 7 h 12"/>
              <a:gd name="T32" fmla="*/ 19 w 24"/>
              <a:gd name="T33" fmla="*/ 8 h 12"/>
              <a:gd name="T34" fmla="*/ 19 w 24"/>
              <a:gd name="T35" fmla="*/ 8 h 12"/>
              <a:gd name="T36" fmla="*/ 18 w 24"/>
              <a:gd name="T37" fmla="*/ 4 h 12"/>
              <a:gd name="T38" fmla="*/ 19 w 24"/>
              <a:gd name="T3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12">
                <a:moveTo>
                  <a:pt x="19" y="4"/>
                </a:moveTo>
                <a:cubicBezTo>
                  <a:pt x="19" y="4"/>
                  <a:pt x="19" y="3"/>
                  <a:pt x="19" y="3"/>
                </a:cubicBezTo>
                <a:cubicBezTo>
                  <a:pt x="20" y="3"/>
                  <a:pt x="21" y="2"/>
                  <a:pt x="21" y="2"/>
                </a:cubicBezTo>
                <a:cubicBezTo>
                  <a:pt x="22" y="2"/>
                  <a:pt x="24" y="1"/>
                  <a:pt x="24" y="0"/>
                </a:cubicBezTo>
                <a:cubicBezTo>
                  <a:pt x="21" y="1"/>
                  <a:pt x="18" y="2"/>
                  <a:pt x="15" y="4"/>
                </a:cubicBezTo>
                <a:cubicBezTo>
                  <a:pt x="13" y="4"/>
                  <a:pt x="9" y="4"/>
                  <a:pt x="7" y="3"/>
                </a:cubicBezTo>
                <a:cubicBezTo>
                  <a:pt x="7" y="5"/>
                  <a:pt x="8" y="5"/>
                  <a:pt x="6" y="5"/>
                </a:cubicBezTo>
                <a:cubicBezTo>
                  <a:pt x="5" y="5"/>
                  <a:pt x="4" y="5"/>
                  <a:pt x="3" y="7"/>
                </a:cubicBezTo>
                <a:cubicBezTo>
                  <a:pt x="3" y="7"/>
                  <a:pt x="2" y="7"/>
                  <a:pt x="2" y="7"/>
                </a:cubicBezTo>
                <a:cubicBezTo>
                  <a:pt x="2" y="7"/>
                  <a:pt x="1" y="7"/>
                  <a:pt x="1" y="7"/>
                </a:cubicBezTo>
                <a:cubicBezTo>
                  <a:pt x="0" y="7"/>
                  <a:pt x="2" y="10"/>
                  <a:pt x="2" y="11"/>
                </a:cubicBezTo>
                <a:cubicBezTo>
                  <a:pt x="3" y="12"/>
                  <a:pt x="6" y="12"/>
                  <a:pt x="7" y="12"/>
                </a:cubicBezTo>
                <a:cubicBezTo>
                  <a:pt x="10" y="12"/>
                  <a:pt x="12" y="11"/>
                  <a:pt x="14" y="10"/>
                </a:cubicBezTo>
                <a:cubicBezTo>
                  <a:pt x="15" y="9"/>
                  <a:pt x="15" y="9"/>
                  <a:pt x="15" y="8"/>
                </a:cubicBezTo>
                <a:cubicBezTo>
                  <a:pt x="16" y="8"/>
                  <a:pt x="16" y="8"/>
                  <a:pt x="17" y="8"/>
                </a:cubicBezTo>
                <a:cubicBezTo>
                  <a:pt x="18" y="8"/>
                  <a:pt x="17" y="7"/>
                  <a:pt x="17" y="7"/>
                </a:cubicBezTo>
                <a:cubicBezTo>
                  <a:pt x="17" y="8"/>
                  <a:pt x="17" y="8"/>
                  <a:pt x="19" y="8"/>
                </a:cubicBezTo>
                <a:cubicBezTo>
                  <a:pt x="19" y="8"/>
                  <a:pt x="19" y="8"/>
                  <a:pt x="19" y="8"/>
                </a:cubicBezTo>
                <a:cubicBezTo>
                  <a:pt x="18" y="7"/>
                  <a:pt x="17" y="5"/>
                  <a:pt x="18" y="4"/>
                </a:cubicBezTo>
                <a:cubicBezTo>
                  <a:pt x="18" y="4"/>
                  <a:pt x="19" y="4"/>
                  <a:pt x="19" y="4"/>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51" name="Freeform 2807">
            <a:extLst>
              <a:ext uri="{FF2B5EF4-FFF2-40B4-BE49-F238E27FC236}">
                <a16:creationId xmlns:a16="http://schemas.microsoft.com/office/drawing/2014/main" id="{D9373BBA-8CCE-4A59-96D9-E2CF3B08AA79}"/>
              </a:ext>
            </a:extLst>
          </p:cNvPr>
          <p:cNvSpPr>
            <a:spLocks/>
          </p:cNvSpPr>
          <p:nvPr/>
        </p:nvSpPr>
        <p:spPr bwMode="auto">
          <a:xfrm>
            <a:off x="4427749" y="3426171"/>
            <a:ext cx="3469" cy="4155"/>
          </a:xfrm>
          <a:custGeom>
            <a:avLst/>
            <a:gdLst>
              <a:gd name="T0" fmla="*/ 0 w 3"/>
              <a:gd name="T1" fmla="*/ 0 h 3"/>
              <a:gd name="T2" fmla="*/ 1 w 3"/>
              <a:gd name="T3" fmla="*/ 3 h 3"/>
              <a:gd name="T4" fmla="*/ 0 w 3"/>
              <a:gd name="T5" fmla="*/ 0 h 3"/>
            </a:gdLst>
            <a:ahLst/>
            <a:cxnLst>
              <a:cxn ang="0">
                <a:pos x="T0" y="T1"/>
              </a:cxn>
              <a:cxn ang="0">
                <a:pos x="T2" y="T3"/>
              </a:cxn>
              <a:cxn ang="0">
                <a:pos x="T4" y="T5"/>
              </a:cxn>
            </a:cxnLst>
            <a:rect l="0" t="0" r="r" b="b"/>
            <a:pathLst>
              <a:path w="3" h="3">
                <a:moveTo>
                  <a:pt x="0" y="0"/>
                </a:moveTo>
                <a:cubicBezTo>
                  <a:pt x="1" y="1"/>
                  <a:pt x="1" y="2"/>
                  <a:pt x="1" y="3"/>
                </a:cubicBezTo>
                <a:cubicBezTo>
                  <a:pt x="3" y="3"/>
                  <a:pt x="1" y="1"/>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52" name="Freeform 2808">
            <a:extLst>
              <a:ext uri="{FF2B5EF4-FFF2-40B4-BE49-F238E27FC236}">
                <a16:creationId xmlns:a16="http://schemas.microsoft.com/office/drawing/2014/main" id="{43C6AAD1-15F1-4593-AA44-697CE35F158F}"/>
              </a:ext>
            </a:extLst>
          </p:cNvPr>
          <p:cNvSpPr>
            <a:spLocks/>
          </p:cNvSpPr>
          <p:nvPr/>
        </p:nvSpPr>
        <p:spPr bwMode="auto">
          <a:xfrm>
            <a:off x="3516414" y="2874128"/>
            <a:ext cx="4460" cy="5342"/>
          </a:xfrm>
          <a:custGeom>
            <a:avLst/>
            <a:gdLst>
              <a:gd name="T0" fmla="*/ 3 w 4"/>
              <a:gd name="T1" fmla="*/ 4 h 4"/>
              <a:gd name="T2" fmla="*/ 4 w 4"/>
              <a:gd name="T3" fmla="*/ 1 h 4"/>
              <a:gd name="T4" fmla="*/ 1 w 4"/>
              <a:gd name="T5" fmla="*/ 0 h 4"/>
              <a:gd name="T6" fmla="*/ 0 w 4"/>
              <a:gd name="T7" fmla="*/ 2 h 4"/>
              <a:gd name="T8" fmla="*/ 3 w 4"/>
              <a:gd name="T9" fmla="*/ 4 h 4"/>
            </a:gdLst>
            <a:ahLst/>
            <a:cxnLst>
              <a:cxn ang="0">
                <a:pos x="T0" y="T1"/>
              </a:cxn>
              <a:cxn ang="0">
                <a:pos x="T2" y="T3"/>
              </a:cxn>
              <a:cxn ang="0">
                <a:pos x="T4" y="T5"/>
              </a:cxn>
              <a:cxn ang="0">
                <a:pos x="T6" y="T7"/>
              </a:cxn>
              <a:cxn ang="0">
                <a:pos x="T8" y="T9"/>
              </a:cxn>
            </a:cxnLst>
            <a:rect l="0" t="0" r="r" b="b"/>
            <a:pathLst>
              <a:path w="4" h="4">
                <a:moveTo>
                  <a:pt x="3" y="4"/>
                </a:moveTo>
                <a:cubicBezTo>
                  <a:pt x="3" y="3"/>
                  <a:pt x="4" y="1"/>
                  <a:pt x="4" y="1"/>
                </a:cubicBezTo>
                <a:cubicBezTo>
                  <a:pt x="3" y="1"/>
                  <a:pt x="2" y="0"/>
                  <a:pt x="1" y="0"/>
                </a:cubicBezTo>
                <a:cubicBezTo>
                  <a:pt x="0" y="0"/>
                  <a:pt x="0" y="2"/>
                  <a:pt x="0" y="2"/>
                </a:cubicBezTo>
                <a:cubicBezTo>
                  <a:pt x="1" y="3"/>
                  <a:pt x="2" y="3"/>
                  <a:pt x="3" y="4"/>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53" name="Freeform 2809">
            <a:extLst>
              <a:ext uri="{FF2B5EF4-FFF2-40B4-BE49-F238E27FC236}">
                <a16:creationId xmlns:a16="http://schemas.microsoft.com/office/drawing/2014/main" id="{4B11BCE0-5628-4D86-B9F1-1F5F73E1C5A5}"/>
              </a:ext>
            </a:extLst>
          </p:cNvPr>
          <p:cNvSpPr>
            <a:spLocks/>
          </p:cNvSpPr>
          <p:nvPr/>
        </p:nvSpPr>
        <p:spPr bwMode="auto">
          <a:xfrm>
            <a:off x="4459465" y="3484937"/>
            <a:ext cx="2478" cy="2968"/>
          </a:xfrm>
          <a:custGeom>
            <a:avLst/>
            <a:gdLst>
              <a:gd name="T0" fmla="*/ 1 w 2"/>
              <a:gd name="T1" fmla="*/ 2 h 2"/>
              <a:gd name="T2" fmla="*/ 2 w 2"/>
              <a:gd name="T3" fmla="*/ 1 h 2"/>
              <a:gd name="T4" fmla="*/ 1 w 2"/>
              <a:gd name="T5" fmla="*/ 0 h 2"/>
              <a:gd name="T6" fmla="*/ 0 w 2"/>
              <a:gd name="T7" fmla="*/ 0 h 2"/>
              <a:gd name="T8" fmla="*/ 1 w 2"/>
              <a:gd name="T9" fmla="*/ 2 h 2"/>
              <a:gd name="T10" fmla="*/ 1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1" y="2"/>
                </a:moveTo>
                <a:cubicBezTo>
                  <a:pt x="2" y="2"/>
                  <a:pt x="2" y="2"/>
                  <a:pt x="2" y="1"/>
                </a:cubicBezTo>
                <a:cubicBezTo>
                  <a:pt x="2" y="1"/>
                  <a:pt x="2" y="0"/>
                  <a:pt x="1" y="0"/>
                </a:cubicBezTo>
                <a:cubicBezTo>
                  <a:pt x="1" y="0"/>
                  <a:pt x="0" y="0"/>
                  <a:pt x="0" y="0"/>
                </a:cubicBezTo>
                <a:cubicBezTo>
                  <a:pt x="0" y="1"/>
                  <a:pt x="1" y="2"/>
                  <a:pt x="1" y="2"/>
                </a:cubicBezTo>
                <a:cubicBezTo>
                  <a:pt x="1" y="2"/>
                  <a:pt x="1" y="2"/>
                  <a:pt x="1" y="2"/>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54" name="Freeform 2810">
            <a:extLst>
              <a:ext uri="{FF2B5EF4-FFF2-40B4-BE49-F238E27FC236}">
                <a16:creationId xmlns:a16="http://schemas.microsoft.com/office/drawing/2014/main" id="{AE5EB566-52CB-4C6A-8FB9-3EF1FF3048D6}"/>
              </a:ext>
            </a:extLst>
          </p:cNvPr>
          <p:cNvSpPr>
            <a:spLocks/>
          </p:cNvSpPr>
          <p:nvPr/>
        </p:nvSpPr>
        <p:spPr bwMode="auto">
          <a:xfrm>
            <a:off x="4703281" y="3431513"/>
            <a:ext cx="991" cy="1187"/>
          </a:xfrm>
          <a:custGeom>
            <a:avLst/>
            <a:gdLst>
              <a:gd name="T0" fmla="*/ 1 w 1"/>
              <a:gd name="T1" fmla="*/ 0 h 1"/>
              <a:gd name="T2" fmla="*/ 0 w 1"/>
              <a:gd name="T3" fmla="*/ 1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1" y="1"/>
                  <a:pt x="0" y="1"/>
                </a:cubicBezTo>
                <a:cubicBezTo>
                  <a:pt x="1" y="1"/>
                  <a:pt x="1" y="1"/>
                  <a:pt x="1" y="1"/>
                </a:cubicBezTo>
                <a:cubicBezTo>
                  <a:pt x="1" y="1"/>
                  <a:pt x="1" y="0"/>
                  <a:pt x="1"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55" name="Freeform 2811">
            <a:extLst>
              <a:ext uri="{FF2B5EF4-FFF2-40B4-BE49-F238E27FC236}">
                <a16:creationId xmlns:a16="http://schemas.microsoft.com/office/drawing/2014/main" id="{DA70845F-1CA5-413C-A3AE-16847B966090}"/>
              </a:ext>
            </a:extLst>
          </p:cNvPr>
          <p:cNvSpPr>
            <a:spLocks/>
          </p:cNvSpPr>
          <p:nvPr/>
        </p:nvSpPr>
        <p:spPr bwMode="auto">
          <a:xfrm>
            <a:off x="4698325" y="3423203"/>
            <a:ext cx="0" cy="1187"/>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56" name="Freeform 2812">
            <a:extLst>
              <a:ext uri="{FF2B5EF4-FFF2-40B4-BE49-F238E27FC236}">
                <a16:creationId xmlns:a16="http://schemas.microsoft.com/office/drawing/2014/main" id="{C2A21DF7-0055-4C6E-9335-171DF98ED604}"/>
              </a:ext>
            </a:extLst>
          </p:cNvPr>
          <p:cNvSpPr>
            <a:spLocks/>
          </p:cNvSpPr>
          <p:nvPr/>
        </p:nvSpPr>
        <p:spPr bwMode="auto">
          <a:xfrm>
            <a:off x="5150772" y="4260172"/>
            <a:ext cx="991" cy="1187"/>
          </a:xfrm>
          <a:custGeom>
            <a:avLst/>
            <a:gdLst>
              <a:gd name="T0" fmla="*/ 1 w 1"/>
              <a:gd name="T1" fmla="*/ 0 h 1"/>
              <a:gd name="T2" fmla="*/ 0 w 1"/>
              <a:gd name="T3" fmla="*/ 1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0" y="0"/>
                  <a:pt x="0" y="1"/>
                </a:cubicBezTo>
                <a:cubicBezTo>
                  <a:pt x="0" y="1"/>
                  <a:pt x="1" y="1"/>
                  <a:pt x="1" y="1"/>
                </a:cubicBezTo>
                <a:cubicBezTo>
                  <a:pt x="1" y="0"/>
                  <a:pt x="1" y="0"/>
                  <a:pt x="1"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57" name="Freeform 2813">
            <a:extLst>
              <a:ext uri="{FF2B5EF4-FFF2-40B4-BE49-F238E27FC236}">
                <a16:creationId xmlns:a16="http://schemas.microsoft.com/office/drawing/2014/main" id="{125886B1-E963-4BDE-8274-13E9E60D31C7}"/>
              </a:ext>
            </a:extLst>
          </p:cNvPr>
          <p:cNvSpPr>
            <a:spLocks/>
          </p:cNvSpPr>
          <p:nvPr/>
        </p:nvSpPr>
        <p:spPr bwMode="auto">
          <a:xfrm>
            <a:off x="4693865" y="4126613"/>
            <a:ext cx="0" cy="2968"/>
          </a:xfrm>
          <a:custGeom>
            <a:avLst/>
            <a:gdLst>
              <a:gd name="T0" fmla="*/ 0 h 2"/>
              <a:gd name="T1" fmla="*/ 2 h 2"/>
              <a:gd name="T2" fmla="*/ 0 h 2"/>
            </a:gdLst>
            <a:ahLst/>
            <a:cxnLst>
              <a:cxn ang="0">
                <a:pos x="0" y="T0"/>
              </a:cxn>
              <a:cxn ang="0">
                <a:pos x="0" y="T1"/>
              </a:cxn>
              <a:cxn ang="0">
                <a:pos x="0" y="T2"/>
              </a:cxn>
            </a:cxnLst>
            <a:rect l="0" t="0" r="r" b="b"/>
            <a:pathLst>
              <a:path h="2">
                <a:moveTo>
                  <a:pt x="0" y="0"/>
                </a:moveTo>
                <a:cubicBezTo>
                  <a:pt x="0" y="0"/>
                  <a:pt x="0" y="1"/>
                  <a:pt x="0" y="2"/>
                </a:cubicBezTo>
                <a:cubicBezTo>
                  <a:pt x="0" y="1"/>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58" name="Freeform 2814">
            <a:extLst>
              <a:ext uri="{FF2B5EF4-FFF2-40B4-BE49-F238E27FC236}">
                <a16:creationId xmlns:a16="http://schemas.microsoft.com/office/drawing/2014/main" id="{3FA6DFA7-5F7C-4F58-8D0F-823D79E44488}"/>
              </a:ext>
            </a:extLst>
          </p:cNvPr>
          <p:cNvSpPr>
            <a:spLocks/>
          </p:cNvSpPr>
          <p:nvPr/>
        </p:nvSpPr>
        <p:spPr bwMode="auto">
          <a:xfrm>
            <a:off x="4691387" y="4132549"/>
            <a:ext cx="3469" cy="11278"/>
          </a:xfrm>
          <a:custGeom>
            <a:avLst/>
            <a:gdLst>
              <a:gd name="T0" fmla="*/ 2 w 3"/>
              <a:gd name="T1" fmla="*/ 5 h 8"/>
              <a:gd name="T2" fmla="*/ 2 w 3"/>
              <a:gd name="T3" fmla="*/ 5 h 8"/>
              <a:gd name="T4" fmla="*/ 2 w 3"/>
              <a:gd name="T5" fmla="*/ 4 h 8"/>
              <a:gd name="T6" fmla="*/ 1 w 3"/>
              <a:gd name="T7" fmla="*/ 0 h 8"/>
              <a:gd name="T8" fmla="*/ 1 w 3"/>
              <a:gd name="T9" fmla="*/ 0 h 8"/>
              <a:gd name="T10" fmla="*/ 3 w 3"/>
              <a:gd name="T11" fmla="*/ 8 h 8"/>
              <a:gd name="T12" fmla="*/ 2 w 3"/>
              <a:gd name="T13" fmla="*/ 5 h 8"/>
            </a:gdLst>
            <a:ahLst/>
            <a:cxnLst>
              <a:cxn ang="0">
                <a:pos x="T0" y="T1"/>
              </a:cxn>
              <a:cxn ang="0">
                <a:pos x="T2" y="T3"/>
              </a:cxn>
              <a:cxn ang="0">
                <a:pos x="T4" y="T5"/>
              </a:cxn>
              <a:cxn ang="0">
                <a:pos x="T6" y="T7"/>
              </a:cxn>
              <a:cxn ang="0">
                <a:pos x="T8" y="T9"/>
              </a:cxn>
              <a:cxn ang="0">
                <a:pos x="T10" y="T11"/>
              </a:cxn>
              <a:cxn ang="0">
                <a:pos x="T12" y="T13"/>
              </a:cxn>
            </a:cxnLst>
            <a:rect l="0" t="0" r="r" b="b"/>
            <a:pathLst>
              <a:path w="3" h="8">
                <a:moveTo>
                  <a:pt x="2" y="5"/>
                </a:moveTo>
                <a:cubicBezTo>
                  <a:pt x="2" y="5"/>
                  <a:pt x="2" y="5"/>
                  <a:pt x="2" y="5"/>
                </a:cubicBezTo>
                <a:cubicBezTo>
                  <a:pt x="2" y="4"/>
                  <a:pt x="2" y="4"/>
                  <a:pt x="2" y="4"/>
                </a:cubicBezTo>
                <a:cubicBezTo>
                  <a:pt x="2" y="3"/>
                  <a:pt x="1" y="1"/>
                  <a:pt x="1" y="0"/>
                </a:cubicBezTo>
                <a:cubicBezTo>
                  <a:pt x="1" y="0"/>
                  <a:pt x="1" y="0"/>
                  <a:pt x="1" y="0"/>
                </a:cubicBezTo>
                <a:cubicBezTo>
                  <a:pt x="0" y="3"/>
                  <a:pt x="2" y="5"/>
                  <a:pt x="3" y="8"/>
                </a:cubicBezTo>
                <a:cubicBezTo>
                  <a:pt x="3" y="6"/>
                  <a:pt x="3" y="6"/>
                  <a:pt x="2" y="5"/>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59" name="Freeform 2815">
            <a:extLst>
              <a:ext uri="{FF2B5EF4-FFF2-40B4-BE49-F238E27FC236}">
                <a16:creationId xmlns:a16="http://schemas.microsoft.com/office/drawing/2014/main" id="{CFDA38FF-C9C3-4A91-8016-ACF5B6A3BB8B}"/>
              </a:ext>
            </a:extLst>
          </p:cNvPr>
          <p:cNvSpPr>
            <a:spLocks/>
          </p:cNvSpPr>
          <p:nvPr/>
        </p:nvSpPr>
        <p:spPr bwMode="auto">
          <a:xfrm>
            <a:off x="4693865" y="3913512"/>
            <a:ext cx="485154" cy="438073"/>
          </a:xfrm>
          <a:custGeom>
            <a:avLst/>
            <a:gdLst>
              <a:gd name="T0" fmla="*/ 407 w 414"/>
              <a:gd name="T1" fmla="*/ 158 h 312"/>
              <a:gd name="T2" fmla="*/ 386 w 414"/>
              <a:gd name="T3" fmla="*/ 135 h 312"/>
              <a:gd name="T4" fmla="*/ 378 w 414"/>
              <a:gd name="T5" fmla="*/ 120 h 312"/>
              <a:gd name="T6" fmla="*/ 361 w 414"/>
              <a:gd name="T7" fmla="*/ 99 h 312"/>
              <a:gd name="T8" fmla="*/ 341 w 414"/>
              <a:gd name="T9" fmla="*/ 88 h 312"/>
              <a:gd name="T10" fmla="*/ 330 w 414"/>
              <a:gd name="T11" fmla="*/ 60 h 312"/>
              <a:gd name="T12" fmla="*/ 319 w 414"/>
              <a:gd name="T13" fmla="*/ 37 h 312"/>
              <a:gd name="T14" fmla="*/ 307 w 414"/>
              <a:gd name="T15" fmla="*/ 17 h 312"/>
              <a:gd name="T16" fmla="*/ 293 w 414"/>
              <a:gd name="T17" fmla="*/ 19 h 312"/>
              <a:gd name="T18" fmla="*/ 291 w 414"/>
              <a:gd name="T19" fmla="*/ 34 h 312"/>
              <a:gd name="T20" fmla="*/ 278 w 414"/>
              <a:gd name="T21" fmla="*/ 73 h 312"/>
              <a:gd name="T22" fmla="*/ 243 w 414"/>
              <a:gd name="T23" fmla="*/ 55 h 312"/>
              <a:gd name="T24" fmla="*/ 238 w 414"/>
              <a:gd name="T25" fmla="*/ 25 h 312"/>
              <a:gd name="T26" fmla="*/ 240 w 414"/>
              <a:gd name="T27" fmla="*/ 12 h 312"/>
              <a:gd name="T28" fmla="*/ 233 w 414"/>
              <a:gd name="T29" fmla="*/ 12 h 312"/>
              <a:gd name="T30" fmla="*/ 216 w 414"/>
              <a:gd name="T31" fmla="*/ 14 h 312"/>
              <a:gd name="T32" fmla="*/ 197 w 414"/>
              <a:gd name="T33" fmla="*/ 5 h 312"/>
              <a:gd name="T34" fmla="*/ 198 w 414"/>
              <a:gd name="T35" fmla="*/ 8 h 312"/>
              <a:gd name="T36" fmla="*/ 186 w 414"/>
              <a:gd name="T37" fmla="*/ 14 h 312"/>
              <a:gd name="T38" fmla="*/ 179 w 414"/>
              <a:gd name="T39" fmla="*/ 20 h 312"/>
              <a:gd name="T40" fmla="*/ 167 w 414"/>
              <a:gd name="T41" fmla="*/ 37 h 312"/>
              <a:gd name="T42" fmla="*/ 164 w 414"/>
              <a:gd name="T43" fmla="*/ 47 h 312"/>
              <a:gd name="T44" fmla="*/ 153 w 414"/>
              <a:gd name="T45" fmla="*/ 50 h 312"/>
              <a:gd name="T46" fmla="*/ 138 w 414"/>
              <a:gd name="T47" fmla="*/ 36 h 312"/>
              <a:gd name="T48" fmla="*/ 133 w 414"/>
              <a:gd name="T49" fmla="*/ 35 h 312"/>
              <a:gd name="T50" fmla="*/ 129 w 414"/>
              <a:gd name="T51" fmla="*/ 37 h 312"/>
              <a:gd name="T52" fmla="*/ 125 w 414"/>
              <a:gd name="T53" fmla="*/ 45 h 312"/>
              <a:gd name="T54" fmla="*/ 121 w 414"/>
              <a:gd name="T55" fmla="*/ 49 h 312"/>
              <a:gd name="T56" fmla="*/ 116 w 414"/>
              <a:gd name="T57" fmla="*/ 56 h 312"/>
              <a:gd name="T58" fmla="*/ 111 w 414"/>
              <a:gd name="T59" fmla="*/ 59 h 312"/>
              <a:gd name="T60" fmla="*/ 107 w 414"/>
              <a:gd name="T61" fmla="*/ 61 h 312"/>
              <a:gd name="T62" fmla="*/ 104 w 414"/>
              <a:gd name="T63" fmla="*/ 66 h 312"/>
              <a:gd name="T64" fmla="*/ 93 w 414"/>
              <a:gd name="T65" fmla="*/ 76 h 312"/>
              <a:gd name="T66" fmla="*/ 55 w 414"/>
              <a:gd name="T67" fmla="*/ 101 h 312"/>
              <a:gd name="T68" fmla="*/ 16 w 414"/>
              <a:gd name="T69" fmla="*/ 117 h 312"/>
              <a:gd name="T70" fmla="*/ 4 w 414"/>
              <a:gd name="T71" fmla="*/ 140 h 312"/>
              <a:gd name="T72" fmla="*/ 4 w 414"/>
              <a:gd name="T73" fmla="*/ 157 h 312"/>
              <a:gd name="T74" fmla="*/ 4 w 414"/>
              <a:gd name="T75" fmla="*/ 166 h 312"/>
              <a:gd name="T76" fmla="*/ 10 w 414"/>
              <a:gd name="T77" fmla="*/ 179 h 312"/>
              <a:gd name="T78" fmla="*/ 27 w 414"/>
              <a:gd name="T79" fmla="*/ 238 h 312"/>
              <a:gd name="T80" fmla="*/ 36 w 414"/>
              <a:gd name="T81" fmla="*/ 263 h 312"/>
              <a:gd name="T82" fmla="*/ 79 w 414"/>
              <a:gd name="T83" fmla="*/ 250 h 312"/>
              <a:gd name="T84" fmla="*/ 112 w 414"/>
              <a:gd name="T85" fmla="*/ 244 h 312"/>
              <a:gd name="T86" fmla="*/ 173 w 414"/>
              <a:gd name="T87" fmla="*/ 224 h 312"/>
              <a:gd name="T88" fmla="*/ 213 w 414"/>
              <a:gd name="T89" fmla="*/ 233 h 312"/>
              <a:gd name="T90" fmla="*/ 226 w 414"/>
              <a:gd name="T91" fmla="*/ 252 h 312"/>
              <a:gd name="T92" fmla="*/ 229 w 414"/>
              <a:gd name="T93" fmla="*/ 261 h 312"/>
              <a:gd name="T94" fmla="*/ 250 w 414"/>
              <a:gd name="T95" fmla="*/ 240 h 312"/>
              <a:gd name="T96" fmla="*/ 252 w 414"/>
              <a:gd name="T97" fmla="*/ 249 h 312"/>
              <a:gd name="T98" fmla="*/ 255 w 414"/>
              <a:gd name="T99" fmla="*/ 254 h 312"/>
              <a:gd name="T100" fmla="*/ 265 w 414"/>
              <a:gd name="T101" fmla="*/ 268 h 312"/>
              <a:gd name="T102" fmla="*/ 273 w 414"/>
              <a:gd name="T103" fmla="*/ 282 h 312"/>
              <a:gd name="T104" fmla="*/ 300 w 414"/>
              <a:gd name="T105" fmla="*/ 303 h 312"/>
              <a:gd name="T106" fmla="*/ 326 w 414"/>
              <a:gd name="T107" fmla="*/ 302 h 312"/>
              <a:gd name="T108" fmla="*/ 336 w 414"/>
              <a:gd name="T109" fmla="*/ 309 h 312"/>
              <a:gd name="T110" fmla="*/ 372 w 414"/>
              <a:gd name="T111" fmla="*/ 295 h 312"/>
              <a:gd name="T112" fmla="*/ 385 w 414"/>
              <a:gd name="T113" fmla="*/ 263 h 312"/>
              <a:gd name="T114" fmla="*/ 391 w 414"/>
              <a:gd name="T115" fmla="*/ 245 h 312"/>
              <a:gd name="T116" fmla="*/ 411 w 414"/>
              <a:gd name="T117" fmla="*/ 20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4" h="312">
                <a:moveTo>
                  <a:pt x="411" y="180"/>
                </a:moveTo>
                <a:cubicBezTo>
                  <a:pt x="410" y="179"/>
                  <a:pt x="408" y="177"/>
                  <a:pt x="408" y="176"/>
                </a:cubicBezTo>
                <a:cubicBezTo>
                  <a:pt x="408" y="175"/>
                  <a:pt x="408" y="175"/>
                  <a:pt x="408" y="175"/>
                </a:cubicBezTo>
                <a:cubicBezTo>
                  <a:pt x="409" y="174"/>
                  <a:pt x="409" y="175"/>
                  <a:pt x="409" y="174"/>
                </a:cubicBezTo>
                <a:cubicBezTo>
                  <a:pt x="409" y="174"/>
                  <a:pt x="409" y="174"/>
                  <a:pt x="410" y="174"/>
                </a:cubicBezTo>
                <a:cubicBezTo>
                  <a:pt x="410" y="173"/>
                  <a:pt x="409" y="170"/>
                  <a:pt x="409" y="169"/>
                </a:cubicBezTo>
                <a:cubicBezTo>
                  <a:pt x="409" y="168"/>
                  <a:pt x="408" y="166"/>
                  <a:pt x="409" y="164"/>
                </a:cubicBezTo>
                <a:cubicBezTo>
                  <a:pt x="409" y="163"/>
                  <a:pt x="409" y="162"/>
                  <a:pt x="410" y="161"/>
                </a:cubicBezTo>
                <a:cubicBezTo>
                  <a:pt x="409" y="161"/>
                  <a:pt x="408" y="161"/>
                  <a:pt x="408" y="161"/>
                </a:cubicBezTo>
                <a:cubicBezTo>
                  <a:pt x="407" y="160"/>
                  <a:pt x="407" y="159"/>
                  <a:pt x="407" y="158"/>
                </a:cubicBezTo>
                <a:cubicBezTo>
                  <a:pt x="407" y="157"/>
                  <a:pt x="406" y="157"/>
                  <a:pt x="407" y="156"/>
                </a:cubicBezTo>
                <a:cubicBezTo>
                  <a:pt x="407" y="155"/>
                  <a:pt x="407" y="155"/>
                  <a:pt x="407" y="155"/>
                </a:cubicBezTo>
                <a:cubicBezTo>
                  <a:pt x="407" y="154"/>
                  <a:pt x="405" y="154"/>
                  <a:pt x="404" y="153"/>
                </a:cubicBezTo>
                <a:cubicBezTo>
                  <a:pt x="403" y="153"/>
                  <a:pt x="402" y="149"/>
                  <a:pt x="402" y="148"/>
                </a:cubicBezTo>
                <a:cubicBezTo>
                  <a:pt x="401" y="148"/>
                  <a:pt x="400" y="147"/>
                  <a:pt x="399" y="147"/>
                </a:cubicBezTo>
                <a:cubicBezTo>
                  <a:pt x="398" y="146"/>
                  <a:pt x="398" y="145"/>
                  <a:pt x="397" y="144"/>
                </a:cubicBezTo>
                <a:cubicBezTo>
                  <a:pt x="397" y="144"/>
                  <a:pt x="397" y="143"/>
                  <a:pt x="397" y="142"/>
                </a:cubicBezTo>
                <a:cubicBezTo>
                  <a:pt x="396" y="141"/>
                  <a:pt x="395" y="141"/>
                  <a:pt x="394" y="141"/>
                </a:cubicBezTo>
                <a:cubicBezTo>
                  <a:pt x="392" y="141"/>
                  <a:pt x="391" y="138"/>
                  <a:pt x="390" y="138"/>
                </a:cubicBezTo>
                <a:cubicBezTo>
                  <a:pt x="389" y="136"/>
                  <a:pt x="387" y="136"/>
                  <a:pt x="386" y="135"/>
                </a:cubicBezTo>
                <a:cubicBezTo>
                  <a:pt x="385" y="134"/>
                  <a:pt x="385" y="132"/>
                  <a:pt x="385" y="131"/>
                </a:cubicBezTo>
                <a:cubicBezTo>
                  <a:pt x="385" y="130"/>
                  <a:pt x="385" y="130"/>
                  <a:pt x="385" y="129"/>
                </a:cubicBezTo>
                <a:cubicBezTo>
                  <a:pt x="386" y="129"/>
                  <a:pt x="385" y="125"/>
                  <a:pt x="385" y="125"/>
                </a:cubicBezTo>
                <a:cubicBezTo>
                  <a:pt x="385" y="125"/>
                  <a:pt x="384" y="125"/>
                  <a:pt x="384" y="124"/>
                </a:cubicBezTo>
                <a:cubicBezTo>
                  <a:pt x="384" y="124"/>
                  <a:pt x="385" y="124"/>
                  <a:pt x="385" y="124"/>
                </a:cubicBezTo>
                <a:cubicBezTo>
                  <a:pt x="384" y="124"/>
                  <a:pt x="384" y="123"/>
                  <a:pt x="384" y="123"/>
                </a:cubicBezTo>
                <a:cubicBezTo>
                  <a:pt x="383" y="124"/>
                  <a:pt x="383" y="124"/>
                  <a:pt x="383" y="125"/>
                </a:cubicBezTo>
                <a:cubicBezTo>
                  <a:pt x="382" y="125"/>
                  <a:pt x="381" y="124"/>
                  <a:pt x="380" y="123"/>
                </a:cubicBezTo>
                <a:cubicBezTo>
                  <a:pt x="379" y="123"/>
                  <a:pt x="379" y="123"/>
                  <a:pt x="379" y="122"/>
                </a:cubicBezTo>
                <a:cubicBezTo>
                  <a:pt x="378" y="122"/>
                  <a:pt x="378" y="121"/>
                  <a:pt x="378" y="120"/>
                </a:cubicBezTo>
                <a:cubicBezTo>
                  <a:pt x="377" y="122"/>
                  <a:pt x="377" y="124"/>
                  <a:pt x="377" y="126"/>
                </a:cubicBezTo>
                <a:cubicBezTo>
                  <a:pt x="376" y="124"/>
                  <a:pt x="375" y="123"/>
                  <a:pt x="374" y="124"/>
                </a:cubicBezTo>
                <a:cubicBezTo>
                  <a:pt x="373" y="121"/>
                  <a:pt x="372" y="118"/>
                  <a:pt x="371" y="115"/>
                </a:cubicBezTo>
                <a:cubicBezTo>
                  <a:pt x="371" y="113"/>
                  <a:pt x="369" y="112"/>
                  <a:pt x="369" y="110"/>
                </a:cubicBezTo>
                <a:cubicBezTo>
                  <a:pt x="369" y="109"/>
                  <a:pt x="369" y="109"/>
                  <a:pt x="368" y="108"/>
                </a:cubicBezTo>
                <a:cubicBezTo>
                  <a:pt x="366" y="107"/>
                  <a:pt x="365" y="107"/>
                  <a:pt x="364" y="105"/>
                </a:cubicBezTo>
                <a:cubicBezTo>
                  <a:pt x="364" y="105"/>
                  <a:pt x="364" y="102"/>
                  <a:pt x="365" y="102"/>
                </a:cubicBezTo>
                <a:cubicBezTo>
                  <a:pt x="365" y="102"/>
                  <a:pt x="365" y="103"/>
                  <a:pt x="366" y="103"/>
                </a:cubicBezTo>
                <a:cubicBezTo>
                  <a:pt x="365" y="101"/>
                  <a:pt x="363" y="100"/>
                  <a:pt x="362" y="98"/>
                </a:cubicBezTo>
                <a:cubicBezTo>
                  <a:pt x="362" y="98"/>
                  <a:pt x="361" y="99"/>
                  <a:pt x="361" y="99"/>
                </a:cubicBezTo>
                <a:cubicBezTo>
                  <a:pt x="360" y="100"/>
                  <a:pt x="360" y="98"/>
                  <a:pt x="359" y="97"/>
                </a:cubicBezTo>
                <a:cubicBezTo>
                  <a:pt x="358" y="96"/>
                  <a:pt x="357" y="96"/>
                  <a:pt x="355" y="95"/>
                </a:cubicBezTo>
                <a:cubicBezTo>
                  <a:pt x="354" y="94"/>
                  <a:pt x="355" y="94"/>
                  <a:pt x="353" y="96"/>
                </a:cubicBezTo>
                <a:cubicBezTo>
                  <a:pt x="353" y="94"/>
                  <a:pt x="352" y="93"/>
                  <a:pt x="351" y="92"/>
                </a:cubicBezTo>
                <a:cubicBezTo>
                  <a:pt x="351" y="91"/>
                  <a:pt x="351" y="90"/>
                  <a:pt x="351" y="90"/>
                </a:cubicBezTo>
                <a:cubicBezTo>
                  <a:pt x="350" y="90"/>
                  <a:pt x="349" y="91"/>
                  <a:pt x="349" y="91"/>
                </a:cubicBezTo>
                <a:cubicBezTo>
                  <a:pt x="348" y="91"/>
                  <a:pt x="347" y="91"/>
                  <a:pt x="347" y="90"/>
                </a:cubicBezTo>
                <a:cubicBezTo>
                  <a:pt x="347" y="90"/>
                  <a:pt x="347" y="89"/>
                  <a:pt x="347" y="89"/>
                </a:cubicBezTo>
                <a:cubicBezTo>
                  <a:pt x="346" y="89"/>
                  <a:pt x="345" y="90"/>
                  <a:pt x="345" y="90"/>
                </a:cubicBezTo>
                <a:cubicBezTo>
                  <a:pt x="344" y="89"/>
                  <a:pt x="342" y="89"/>
                  <a:pt x="341" y="88"/>
                </a:cubicBezTo>
                <a:cubicBezTo>
                  <a:pt x="339" y="86"/>
                  <a:pt x="339" y="86"/>
                  <a:pt x="339" y="84"/>
                </a:cubicBezTo>
                <a:cubicBezTo>
                  <a:pt x="339" y="83"/>
                  <a:pt x="340" y="83"/>
                  <a:pt x="340" y="83"/>
                </a:cubicBezTo>
                <a:cubicBezTo>
                  <a:pt x="339" y="81"/>
                  <a:pt x="337" y="81"/>
                  <a:pt x="337" y="79"/>
                </a:cubicBezTo>
                <a:cubicBezTo>
                  <a:pt x="337" y="76"/>
                  <a:pt x="337" y="73"/>
                  <a:pt x="337" y="70"/>
                </a:cubicBezTo>
                <a:cubicBezTo>
                  <a:pt x="337" y="69"/>
                  <a:pt x="336" y="68"/>
                  <a:pt x="335" y="66"/>
                </a:cubicBezTo>
                <a:cubicBezTo>
                  <a:pt x="335" y="66"/>
                  <a:pt x="336" y="65"/>
                  <a:pt x="335" y="65"/>
                </a:cubicBezTo>
                <a:cubicBezTo>
                  <a:pt x="335" y="65"/>
                  <a:pt x="336" y="65"/>
                  <a:pt x="336" y="65"/>
                </a:cubicBezTo>
                <a:cubicBezTo>
                  <a:pt x="335" y="65"/>
                  <a:pt x="334" y="65"/>
                  <a:pt x="334" y="65"/>
                </a:cubicBezTo>
                <a:cubicBezTo>
                  <a:pt x="334" y="64"/>
                  <a:pt x="331" y="62"/>
                  <a:pt x="331" y="60"/>
                </a:cubicBezTo>
                <a:cubicBezTo>
                  <a:pt x="330" y="60"/>
                  <a:pt x="330" y="60"/>
                  <a:pt x="330" y="60"/>
                </a:cubicBezTo>
                <a:cubicBezTo>
                  <a:pt x="330" y="58"/>
                  <a:pt x="330" y="56"/>
                  <a:pt x="330" y="55"/>
                </a:cubicBezTo>
                <a:cubicBezTo>
                  <a:pt x="330" y="52"/>
                  <a:pt x="328" y="50"/>
                  <a:pt x="329" y="48"/>
                </a:cubicBezTo>
                <a:cubicBezTo>
                  <a:pt x="329" y="47"/>
                  <a:pt x="330" y="48"/>
                  <a:pt x="329" y="46"/>
                </a:cubicBezTo>
                <a:cubicBezTo>
                  <a:pt x="328" y="45"/>
                  <a:pt x="329" y="46"/>
                  <a:pt x="329" y="45"/>
                </a:cubicBezTo>
                <a:cubicBezTo>
                  <a:pt x="329" y="44"/>
                  <a:pt x="328" y="44"/>
                  <a:pt x="327" y="43"/>
                </a:cubicBezTo>
                <a:cubicBezTo>
                  <a:pt x="327" y="43"/>
                  <a:pt x="326" y="43"/>
                  <a:pt x="326" y="42"/>
                </a:cubicBezTo>
                <a:cubicBezTo>
                  <a:pt x="325" y="42"/>
                  <a:pt x="324" y="41"/>
                  <a:pt x="323" y="40"/>
                </a:cubicBezTo>
                <a:cubicBezTo>
                  <a:pt x="323" y="40"/>
                  <a:pt x="323" y="40"/>
                  <a:pt x="322" y="40"/>
                </a:cubicBezTo>
                <a:cubicBezTo>
                  <a:pt x="321" y="39"/>
                  <a:pt x="321" y="38"/>
                  <a:pt x="320" y="37"/>
                </a:cubicBezTo>
                <a:cubicBezTo>
                  <a:pt x="320" y="37"/>
                  <a:pt x="319" y="37"/>
                  <a:pt x="319" y="37"/>
                </a:cubicBezTo>
                <a:cubicBezTo>
                  <a:pt x="319" y="38"/>
                  <a:pt x="318" y="37"/>
                  <a:pt x="318" y="37"/>
                </a:cubicBezTo>
                <a:cubicBezTo>
                  <a:pt x="318" y="37"/>
                  <a:pt x="317" y="38"/>
                  <a:pt x="317" y="39"/>
                </a:cubicBezTo>
                <a:cubicBezTo>
                  <a:pt x="316" y="39"/>
                  <a:pt x="315" y="40"/>
                  <a:pt x="314" y="39"/>
                </a:cubicBezTo>
                <a:cubicBezTo>
                  <a:pt x="313" y="38"/>
                  <a:pt x="313" y="36"/>
                  <a:pt x="313" y="35"/>
                </a:cubicBezTo>
                <a:cubicBezTo>
                  <a:pt x="312" y="32"/>
                  <a:pt x="312" y="29"/>
                  <a:pt x="311" y="27"/>
                </a:cubicBezTo>
                <a:cubicBezTo>
                  <a:pt x="311" y="26"/>
                  <a:pt x="310" y="23"/>
                  <a:pt x="311" y="22"/>
                </a:cubicBezTo>
                <a:cubicBezTo>
                  <a:pt x="310" y="22"/>
                  <a:pt x="310" y="22"/>
                  <a:pt x="309" y="23"/>
                </a:cubicBezTo>
                <a:cubicBezTo>
                  <a:pt x="310" y="21"/>
                  <a:pt x="310" y="20"/>
                  <a:pt x="309" y="19"/>
                </a:cubicBezTo>
                <a:cubicBezTo>
                  <a:pt x="308" y="18"/>
                  <a:pt x="308" y="18"/>
                  <a:pt x="307" y="17"/>
                </a:cubicBezTo>
                <a:cubicBezTo>
                  <a:pt x="307" y="17"/>
                  <a:pt x="307" y="17"/>
                  <a:pt x="307" y="17"/>
                </a:cubicBezTo>
                <a:cubicBezTo>
                  <a:pt x="306" y="16"/>
                  <a:pt x="307" y="14"/>
                  <a:pt x="308" y="13"/>
                </a:cubicBezTo>
                <a:cubicBezTo>
                  <a:pt x="307" y="12"/>
                  <a:pt x="305" y="13"/>
                  <a:pt x="304" y="12"/>
                </a:cubicBezTo>
                <a:cubicBezTo>
                  <a:pt x="303" y="11"/>
                  <a:pt x="303" y="8"/>
                  <a:pt x="303" y="6"/>
                </a:cubicBezTo>
                <a:cubicBezTo>
                  <a:pt x="303" y="5"/>
                  <a:pt x="303" y="1"/>
                  <a:pt x="301" y="3"/>
                </a:cubicBezTo>
                <a:cubicBezTo>
                  <a:pt x="301" y="1"/>
                  <a:pt x="302" y="1"/>
                  <a:pt x="301" y="0"/>
                </a:cubicBezTo>
                <a:cubicBezTo>
                  <a:pt x="300" y="0"/>
                  <a:pt x="297" y="2"/>
                  <a:pt x="297" y="3"/>
                </a:cubicBezTo>
                <a:cubicBezTo>
                  <a:pt x="296" y="6"/>
                  <a:pt x="295" y="10"/>
                  <a:pt x="294" y="14"/>
                </a:cubicBezTo>
                <a:cubicBezTo>
                  <a:pt x="294" y="13"/>
                  <a:pt x="294" y="13"/>
                  <a:pt x="294" y="13"/>
                </a:cubicBezTo>
                <a:cubicBezTo>
                  <a:pt x="292" y="14"/>
                  <a:pt x="292" y="17"/>
                  <a:pt x="291" y="19"/>
                </a:cubicBezTo>
                <a:cubicBezTo>
                  <a:pt x="292" y="18"/>
                  <a:pt x="292" y="18"/>
                  <a:pt x="293" y="19"/>
                </a:cubicBezTo>
                <a:cubicBezTo>
                  <a:pt x="294" y="19"/>
                  <a:pt x="295" y="19"/>
                  <a:pt x="294" y="21"/>
                </a:cubicBezTo>
                <a:cubicBezTo>
                  <a:pt x="294" y="21"/>
                  <a:pt x="295" y="22"/>
                  <a:pt x="295" y="23"/>
                </a:cubicBezTo>
                <a:cubicBezTo>
                  <a:pt x="294" y="22"/>
                  <a:pt x="294" y="20"/>
                  <a:pt x="293" y="21"/>
                </a:cubicBezTo>
                <a:cubicBezTo>
                  <a:pt x="293" y="21"/>
                  <a:pt x="294" y="21"/>
                  <a:pt x="293" y="20"/>
                </a:cubicBezTo>
                <a:cubicBezTo>
                  <a:pt x="293" y="21"/>
                  <a:pt x="292" y="22"/>
                  <a:pt x="292" y="23"/>
                </a:cubicBezTo>
                <a:cubicBezTo>
                  <a:pt x="292" y="24"/>
                  <a:pt x="292" y="25"/>
                  <a:pt x="292" y="26"/>
                </a:cubicBezTo>
                <a:cubicBezTo>
                  <a:pt x="292" y="27"/>
                  <a:pt x="291" y="28"/>
                  <a:pt x="291" y="29"/>
                </a:cubicBezTo>
                <a:cubicBezTo>
                  <a:pt x="291" y="30"/>
                  <a:pt x="290" y="30"/>
                  <a:pt x="290" y="31"/>
                </a:cubicBezTo>
                <a:cubicBezTo>
                  <a:pt x="290" y="31"/>
                  <a:pt x="290" y="32"/>
                  <a:pt x="290" y="32"/>
                </a:cubicBezTo>
                <a:cubicBezTo>
                  <a:pt x="290" y="33"/>
                  <a:pt x="290" y="34"/>
                  <a:pt x="291" y="34"/>
                </a:cubicBezTo>
                <a:cubicBezTo>
                  <a:pt x="291" y="36"/>
                  <a:pt x="291" y="37"/>
                  <a:pt x="291" y="39"/>
                </a:cubicBezTo>
                <a:cubicBezTo>
                  <a:pt x="291" y="40"/>
                  <a:pt x="291" y="41"/>
                  <a:pt x="291" y="43"/>
                </a:cubicBezTo>
                <a:cubicBezTo>
                  <a:pt x="291" y="43"/>
                  <a:pt x="292" y="44"/>
                  <a:pt x="292" y="44"/>
                </a:cubicBezTo>
                <a:cubicBezTo>
                  <a:pt x="292" y="45"/>
                  <a:pt x="292" y="46"/>
                  <a:pt x="291" y="47"/>
                </a:cubicBezTo>
                <a:cubicBezTo>
                  <a:pt x="291" y="50"/>
                  <a:pt x="290" y="52"/>
                  <a:pt x="289" y="54"/>
                </a:cubicBezTo>
                <a:cubicBezTo>
                  <a:pt x="289" y="55"/>
                  <a:pt x="289" y="55"/>
                  <a:pt x="289" y="56"/>
                </a:cubicBezTo>
                <a:cubicBezTo>
                  <a:pt x="289" y="57"/>
                  <a:pt x="289" y="58"/>
                  <a:pt x="288" y="59"/>
                </a:cubicBezTo>
                <a:cubicBezTo>
                  <a:pt x="288" y="61"/>
                  <a:pt x="287" y="63"/>
                  <a:pt x="286" y="65"/>
                </a:cubicBezTo>
                <a:cubicBezTo>
                  <a:pt x="285" y="66"/>
                  <a:pt x="285" y="69"/>
                  <a:pt x="283" y="70"/>
                </a:cubicBezTo>
                <a:cubicBezTo>
                  <a:pt x="282" y="71"/>
                  <a:pt x="280" y="72"/>
                  <a:pt x="278" y="73"/>
                </a:cubicBezTo>
                <a:cubicBezTo>
                  <a:pt x="278" y="73"/>
                  <a:pt x="276" y="73"/>
                  <a:pt x="275" y="73"/>
                </a:cubicBezTo>
                <a:cubicBezTo>
                  <a:pt x="274" y="73"/>
                  <a:pt x="272" y="71"/>
                  <a:pt x="271" y="70"/>
                </a:cubicBezTo>
                <a:cubicBezTo>
                  <a:pt x="269" y="69"/>
                  <a:pt x="268" y="68"/>
                  <a:pt x="267" y="67"/>
                </a:cubicBezTo>
                <a:cubicBezTo>
                  <a:pt x="266" y="67"/>
                  <a:pt x="266" y="66"/>
                  <a:pt x="266" y="66"/>
                </a:cubicBezTo>
                <a:cubicBezTo>
                  <a:pt x="265" y="65"/>
                  <a:pt x="265" y="64"/>
                  <a:pt x="263" y="64"/>
                </a:cubicBezTo>
                <a:cubicBezTo>
                  <a:pt x="260" y="63"/>
                  <a:pt x="257" y="62"/>
                  <a:pt x="254" y="61"/>
                </a:cubicBezTo>
                <a:cubicBezTo>
                  <a:pt x="254" y="61"/>
                  <a:pt x="254" y="61"/>
                  <a:pt x="254" y="61"/>
                </a:cubicBezTo>
                <a:cubicBezTo>
                  <a:pt x="254" y="60"/>
                  <a:pt x="250" y="58"/>
                  <a:pt x="249" y="58"/>
                </a:cubicBezTo>
                <a:cubicBezTo>
                  <a:pt x="247" y="57"/>
                  <a:pt x="245" y="55"/>
                  <a:pt x="243" y="54"/>
                </a:cubicBezTo>
                <a:cubicBezTo>
                  <a:pt x="243" y="54"/>
                  <a:pt x="243" y="55"/>
                  <a:pt x="243" y="55"/>
                </a:cubicBezTo>
                <a:cubicBezTo>
                  <a:pt x="242" y="54"/>
                  <a:pt x="242" y="55"/>
                  <a:pt x="241" y="54"/>
                </a:cubicBezTo>
                <a:cubicBezTo>
                  <a:pt x="237" y="51"/>
                  <a:pt x="234" y="48"/>
                  <a:pt x="230" y="45"/>
                </a:cubicBezTo>
                <a:cubicBezTo>
                  <a:pt x="229" y="45"/>
                  <a:pt x="229" y="45"/>
                  <a:pt x="229" y="44"/>
                </a:cubicBezTo>
                <a:cubicBezTo>
                  <a:pt x="228" y="41"/>
                  <a:pt x="230" y="40"/>
                  <a:pt x="231" y="38"/>
                </a:cubicBezTo>
                <a:cubicBezTo>
                  <a:pt x="232" y="36"/>
                  <a:pt x="233" y="35"/>
                  <a:pt x="234" y="33"/>
                </a:cubicBezTo>
                <a:cubicBezTo>
                  <a:pt x="234" y="32"/>
                  <a:pt x="234" y="31"/>
                  <a:pt x="235" y="31"/>
                </a:cubicBezTo>
                <a:cubicBezTo>
                  <a:pt x="234" y="31"/>
                  <a:pt x="234" y="32"/>
                  <a:pt x="233" y="31"/>
                </a:cubicBezTo>
                <a:cubicBezTo>
                  <a:pt x="233" y="31"/>
                  <a:pt x="233" y="30"/>
                  <a:pt x="233" y="29"/>
                </a:cubicBezTo>
                <a:cubicBezTo>
                  <a:pt x="233" y="28"/>
                  <a:pt x="233" y="27"/>
                  <a:pt x="234" y="27"/>
                </a:cubicBezTo>
                <a:cubicBezTo>
                  <a:pt x="235" y="27"/>
                  <a:pt x="237" y="26"/>
                  <a:pt x="238" y="25"/>
                </a:cubicBezTo>
                <a:cubicBezTo>
                  <a:pt x="238" y="26"/>
                  <a:pt x="238" y="26"/>
                  <a:pt x="238" y="27"/>
                </a:cubicBezTo>
                <a:cubicBezTo>
                  <a:pt x="238" y="27"/>
                  <a:pt x="238" y="26"/>
                  <a:pt x="239" y="26"/>
                </a:cubicBezTo>
                <a:cubicBezTo>
                  <a:pt x="239" y="25"/>
                  <a:pt x="239" y="22"/>
                  <a:pt x="241" y="24"/>
                </a:cubicBezTo>
                <a:cubicBezTo>
                  <a:pt x="240" y="24"/>
                  <a:pt x="240" y="23"/>
                  <a:pt x="240" y="23"/>
                </a:cubicBezTo>
                <a:cubicBezTo>
                  <a:pt x="239" y="23"/>
                  <a:pt x="239" y="22"/>
                  <a:pt x="239" y="22"/>
                </a:cubicBezTo>
                <a:cubicBezTo>
                  <a:pt x="240" y="22"/>
                  <a:pt x="240" y="23"/>
                  <a:pt x="241" y="21"/>
                </a:cubicBezTo>
                <a:cubicBezTo>
                  <a:pt x="242" y="19"/>
                  <a:pt x="242" y="18"/>
                  <a:pt x="244" y="17"/>
                </a:cubicBezTo>
                <a:cubicBezTo>
                  <a:pt x="243" y="16"/>
                  <a:pt x="243" y="16"/>
                  <a:pt x="242" y="15"/>
                </a:cubicBezTo>
                <a:cubicBezTo>
                  <a:pt x="241" y="18"/>
                  <a:pt x="240" y="14"/>
                  <a:pt x="239" y="13"/>
                </a:cubicBezTo>
                <a:cubicBezTo>
                  <a:pt x="239" y="13"/>
                  <a:pt x="240" y="13"/>
                  <a:pt x="240" y="12"/>
                </a:cubicBezTo>
                <a:cubicBezTo>
                  <a:pt x="239" y="13"/>
                  <a:pt x="237" y="14"/>
                  <a:pt x="237" y="15"/>
                </a:cubicBezTo>
                <a:cubicBezTo>
                  <a:pt x="235" y="16"/>
                  <a:pt x="237" y="15"/>
                  <a:pt x="238" y="16"/>
                </a:cubicBezTo>
                <a:cubicBezTo>
                  <a:pt x="238" y="16"/>
                  <a:pt x="237" y="18"/>
                  <a:pt x="237" y="18"/>
                </a:cubicBezTo>
                <a:cubicBezTo>
                  <a:pt x="236" y="19"/>
                  <a:pt x="235" y="17"/>
                  <a:pt x="234" y="17"/>
                </a:cubicBezTo>
                <a:cubicBezTo>
                  <a:pt x="234" y="16"/>
                  <a:pt x="235" y="16"/>
                  <a:pt x="235" y="16"/>
                </a:cubicBezTo>
                <a:cubicBezTo>
                  <a:pt x="234" y="16"/>
                  <a:pt x="234" y="16"/>
                  <a:pt x="233" y="16"/>
                </a:cubicBezTo>
                <a:cubicBezTo>
                  <a:pt x="234" y="15"/>
                  <a:pt x="234" y="15"/>
                  <a:pt x="235" y="14"/>
                </a:cubicBezTo>
                <a:cubicBezTo>
                  <a:pt x="233" y="15"/>
                  <a:pt x="232" y="16"/>
                  <a:pt x="231" y="17"/>
                </a:cubicBezTo>
                <a:cubicBezTo>
                  <a:pt x="230" y="15"/>
                  <a:pt x="232" y="14"/>
                  <a:pt x="233" y="13"/>
                </a:cubicBezTo>
                <a:cubicBezTo>
                  <a:pt x="231" y="13"/>
                  <a:pt x="233" y="13"/>
                  <a:pt x="233" y="12"/>
                </a:cubicBezTo>
                <a:cubicBezTo>
                  <a:pt x="233" y="12"/>
                  <a:pt x="234" y="11"/>
                  <a:pt x="233" y="11"/>
                </a:cubicBezTo>
                <a:cubicBezTo>
                  <a:pt x="232" y="12"/>
                  <a:pt x="232" y="12"/>
                  <a:pt x="232" y="13"/>
                </a:cubicBezTo>
                <a:cubicBezTo>
                  <a:pt x="231" y="13"/>
                  <a:pt x="231" y="13"/>
                  <a:pt x="231" y="13"/>
                </a:cubicBezTo>
                <a:cubicBezTo>
                  <a:pt x="230" y="13"/>
                  <a:pt x="229" y="15"/>
                  <a:pt x="230" y="14"/>
                </a:cubicBezTo>
                <a:cubicBezTo>
                  <a:pt x="229" y="15"/>
                  <a:pt x="228" y="15"/>
                  <a:pt x="226" y="15"/>
                </a:cubicBezTo>
                <a:cubicBezTo>
                  <a:pt x="227" y="16"/>
                  <a:pt x="227" y="16"/>
                  <a:pt x="227" y="16"/>
                </a:cubicBezTo>
                <a:cubicBezTo>
                  <a:pt x="226" y="17"/>
                  <a:pt x="225" y="16"/>
                  <a:pt x="223" y="15"/>
                </a:cubicBezTo>
                <a:cubicBezTo>
                  <a:pt x="223" y="14"/>
                  <a:pt x="221" y="14"/>
                  <a:pt x="221" y="13"/>
                </a:cubicBezTo>
                <a:cubicBezTo>
                  <a:pt x="220" y="14"/>
                  <a:pt x="220" y="14"/>
                  <a:pt x="218" y="14"/>
                </a:cubicBezTo>
                <a:cubicBezTo>
                  <a:pt x="217" y="14"/>
                  <a:pt x="216" y="14"/>
                  <a:pt x="216" y="14"/>
                </a:cubicBezTo>
                <a:cubicBezTo>
                  <a:pt x="215" y="14"/>
                  <a:pt x="216" y="13"/>
                  <a:pt x="215" y="13"/>
                </a:cubicBezTo>
                <a:cubicBezTo>
                  <a:pt x="215" y="12"/>
                  <a:pt x="214" y="12"/>
                  <a:pt x="213" y="11"/>
                </a:cubicBezTo>
                <a:cubicBezTo>
                  <a:pt x="214" y="10"/>
                  <a:pt x="211" y="11"/>
                  <a:pt x="210" y="11"/>
                </a:cubicBezTo>
                <a:cubicBezTo>
                  <a:pt x="210" y="11"/>
                  <a:pt x="209" y="12"/>
                  <a:pt x="209" y="12"/>
                </a:cubicBezTo>
                <a:cubicBezTo>
                  <a:pt x="209" y="10"/>
                  <a:pt x="206" y="10"/>
                  <a:pt x="205" y="9"/>
                </a:cubicBezTo>
                <a:cubicBezTo>
                  <a:pt x="204" y="9"/>
                  <a:pt x="204" y="9"/>
                  <a:pt x="204" y="8"/>
                </a:cubicBezTo>
                <a:cubicBezTo>
                  <a:pt x="203" y="7"/>
                  <a:pt x="203" y="6"/>
                  <a:pt x="202" y="7"/>
                </a:cubicBezTo>
                <a:cubicBezTo>
                  <a:pt x="202" y="8"/>
                  <a:pt x="201" y="8"/>
                  <a:pt x="201" y="8"/>
                </a:cubicBezTo>
                <a:cubicBezTo>
                  <a:pt x="200" y="9"/>
                  <a:pt x="199" y="8"/>
                  <a:pt x="199" y="7"/>
                </a:cubicBezTo>
                <a:cubicBezTo>
                  <a:pt x="198" y="6"/>
                  <a:pt x="197" y="5"/>
                  <a:pt x="197" y="5"/>
                </a:cubicBezTo>
                <a:cubicBezTo>
                  <a:pt x="196" y="5"/>
                  <a:pt x="196" y="5"/>
                  <a:pt x="196" y="6"/>
                </a:cubicBezTo>
                <a:cubicBezTo>
                  <a:pt x="196" y="6"/>
                  <a:pt x="195" y="5"/>
                  <a:pt x="195" y="5"/>
                </a:cubicBezTo>
                <a:cubicBezTo>
                  <a:pt x="195" y="6"/>
                  <a:pt x="196" y="7"/>
                  <a:pt x="195" y="7"/>
                </a:cubicBezTo>
                <a:cubicBezTo>
                  <a:pt x="194" y="5"/>
                  <a:pt x="194" y="4"/>
                  <a:pt x="191" y="5"/>
                </a:cubicBezTo>
                <a:cubicBezTo>
                  <a:pt x="192" y="6"/>
                  <a:pt x="192" y="6"/>
                  <a:pt x="193" y="7"/>
                </a:cubicBezTo>
                <a:cubicBezTo>
                  <a:pt x="193" y="7"/>
                  <a:pt x="193" y="7"/>
                  <a:pt x="193" y="8"/>
                </a:cubicBezTo>
                <a:cubicBezTo>
                  <a:pt x="193" y="8"/>
                  <a:pt x="193" y="7"/>
                  <a:pt x="194" y="8"/>
                </a:cubicBezTo>
                <a:cubicBezTo>
                  <a:pt x="194" y="8"/>
                  <a:pt x="193" y="9"/>
                  <a:pt x="194" y="9"/>
                </a:cubicBezTo>
                <a:cubicBezTo>
                  <a:pt x="195" y="9"/>
                  <a:pt x="195" y="8"/>
                  <a:pt x="195" y="8"/>
                </a:cubicBezTo>
                <a:cubicBezTo>
                  <a:pt x="196" y="8"/>
                  <a:pt x="198" y="8"/>
                  <a:pt x="198" y="8"/>
                </a:cubicBezTo>
                <a:cubicBezTo>
                  <a:pt x="199" y="8"/>
                  <a:pt x="199" y="9"/>
                  <a:pt x="199" y="9"/>
                </a:cubicBezTo>
                <a:cubicBezTo>
                  <a:pt x="199" y="10"/>
                  <a:pt x="200" y="10"/>
                  <a:pt x="200" y="10"/>
                </a:cubicBezTo>
                <a:cubicBezTo>
                  <a:pt x="200" y="10"/>
                  <a:pt x="200" y="12"/>
                  <a:pt x="200" y="13"/>
                </a:cubicBezTo>
                <a:cubicBezTo>
                  <a:pt x="200" y="14"/>
                  <a:pt x="200" y="15"/>
                  <a:pt x="201" y="15"/>
                </a:cubicBezTo>
                <a:cubicBezTo>
                  <a:pt x="200" y="15"/>
                  <a:pt x="198" y="16"/>
                  <a:pt x="198" y="17"/>
                </a:cubicBezTo>
                <a:cubicBezTo>
                  <a:pt x="198" y="17"/>
                  <a:pt x="197" y="17"/>
                  <a:pt x="197" y="17"/>
                </a:cubicBezTo>
                <a:cubicBezTo>
                  <a:pt x="197" y="17"/>
                  <a:pt x="197" y="16"/>
                  <a:pt x="197" y="16"/>
                </a:cubicBezTo>
                <a:cubicBezTo>
                  <a:pt x="195" y="15"/>
                  <a:pt x="195" y="16"/>
                  <a:pt x="194" y="17"/>
                </a:cubicBezTo>
                <a:cubicBezTo>
                  <a:pt x="193" y="17"/>
                  <a:pt x="187" y="17"/>
                  <a:pt x="187" y="16"/>
                </a:cubicBezTo>
                <a:cubicBezTo>
                  <a:pt x="186" y="15"/>
                  <a:pt x="186" y="15"/>
                  <a:pt x="186" y="14"/>
                </a:cubicBezTo>
                <a:cubicBezTo>
                  <a:pt x="186" y="15"/>
                  <a:pt x="185" y="15"/>
                  <a:pt x="185" y="16"/>
                </a:cubicBezTo>
                <a:cubicBezTo>
                  <a:pt x="185" y="16"/>
                  <a:pt x="184" y="15"/>
                  <a:pt x="183" y="15"/>
                </a:cubicBezTo>
                <a:cubicBezTo>
                  <a:pt x="183" y="15"/>
                  <a:pt x="183" y="17"/>
                  <a:pt x="183" y="17"/>
                </a:cubicBezTo>
                <a:cubicBezTo>
                  <a:pt x="183" y="17"/>
                  <a:pt x="182" y="17"/>
                  <a:pt x="182" y="18"/>
                </a:cubicBezTo>
                <a:cubicBezTo>
                  <a:pt x="182" y="18"/>
                  <a:pt x="182" y="18"/>
                  <a:pt x="182" y="19"/>
                </a:cubicBezTo>
                <a:cubicBezTo>
                  <a:pt x="182" y="19"/>
                  <a:pt x="182" y="19"/>
                  <a:pt x="183" y="20"/>
                </a:cubicBezTo>
                <a:cubicBezTo>
                  <a:pt x="182" y="20"/>
                  <a:pt x="181" y="19"/>
                  <a:pt x="181" y="19"/>
                </a:cubicBezTo>
                <a:cubicBezTo>
                  <a:pt x="181" y="19"/>
                  <a:pt x="181" y="19"/>
                  <a:pt x="181" y="18"/>
                </a:cubicBezTo>
                <a:cubicBezTo>
                  <a:pt x="180" y="18"/>
                  <a:pt x="180" y="18"/>
                  <a:pt x="180" y="18"/>
                </a:cubicBezTo>
                <a:cubicBezTo>
                  <a:pt x="178" y="18"/>
                  <a:pt x="179" y="19"/>
                  <a:pt x="179" y="20"/>
                </a:cubicBezTo>
                <a:cubicBezTo>
                  <a:pt x="179" y="20"/>
                  <a:pt x="179" y="20"/>
                  <a:pt x="179" y="21"/>
                </a:cubicBezTo>
                <a:cubicBezTo>
                  <a:pt x="178" y="20"/>
                  <a:pt x="178" y="20"/>
                  <a:pt x="177" y="20"/>
                </a:cubicBezTo>
                <a:cubicBezTo>
                  <a:pt x="177" y="20"/>
                  <a:pt x="174" y="23"/>
                  <a:pt x="174" y="24"/>
                </a:cubicBezTo>
                <a:cubicBezTo>
                  <a:pt x="174" y="25"/>
                  <a:pt x="175" y="27"/>
                  <a:pt x="176" y="27"/>
                </a:cubicBezTo>
                <a:cubicBezTo>
                  <a:pt x="175" y="28"/>
                  <a:pt x="174" y="28"/>
                  <a:pt x="173" y="29"/>
                </a:cubicBezTo>
                <a:cubicBezTo>
                  <a:pt x="173" y="29"/>
                  <a:pt x="172" y="30"/>
                  <a:pt x="172" y="28"/>
                </a:cubicBezTo>
                <a:cubicBezTo>
                  <a:pt x="171" y="30"/>
                  <a:pt x="171" y="31"/>
                  <a:pt x="170" y="32"/>
                </a:cubicBezTo>
                <a:cubicBezTo>
                  <a:pt x="170" y="33"/>
                  <a:pt x="169" y="36"/>
                  <a:pt x="169" y="34"/>
                </a:cubicBezTo>
                <a:cubicBezTo>
                  <a:pt x="169" y="35"/>
                  <a:pt x="168" y="35"/>
                  <a:pt x="167" y="35"/>
                </a:cubicBezTo>
                <a:cubicBezTo>
                  <a:pt x="167" y="35"/>
                  <a:pt x="167" y="36"/>
                  <a:pt x="167" y="37"/>
                </a:cubicBezTo>
                <a:cubicBezTo>
                  <a:pt x="166" y="38"/>
                  <a:pt x="167" y="38"/>
                  <a:pt x="168" y="40"/>
                </a:cubicBezTo>
                <a:cubicBezTo>
                  <a:pt x="168" y="41"/>
                  <a:pt x="169" y="41"/>
                  <a:pt x="169" y="42"/>
                </a:cubicBezTo>
                <a:cubicBezTo>
                  <a:pt x="170" y="43"/>
                  <a:pt x="171" y="43"/>
                  <a:pt x="173" y="43"/>
                </a:cubicBezTo>
                <a:cubicBezTo>
                  <a:pt x="171" y="43"/>
                  <a:pt x="169" y="43"/>
                  <a:pt x="169" y="45"/>
                </a:cubicBezTo>
                <a:cubicBezTo>
                  <a:pt x="169" y="45"/>
                  <a:pt x="169" y="46"/>
                  <a:pt x="169" y="46"/>
                </a:cubicBezTo>
                <a:cubicBezTo>
                  <a:pt x="169" y="46"/>
                  <a:pt x="171" y="47"/>
                  <a:pt x="170" y="47"/>
                </a:cubicBezTo>
                <a:cubicBezTo>
                  <a:pt x="169" y="47"/>
                  <a:pt x="168" y="45"/>
                  <a:pt x="168" y="44"/>
                </a:cubicBezTo>
                <a:cubicBezTo>
                  <a:pt x="167" y="44"/>
                  <a:pt x="165" y="44"/>
                  <a:pt x="165" y="45"/>
                </a:cubicBezTo>
                <a:cubicBezTo>
                  <a:pt x="165" y="45"/>
                  <a:pt x="165" y="46"/>
                  <a:pt x="165" y="46"/>
                </a:cubicBezTo>
                <a:cubicBezTo>
                  <a:pt x="165" y="46"/>
                  <a:pt x="165" y="48"/>
                  <a:pt x="164" y="47"/>
                </a:cubicBezTo>
                <a:cubicBezTo>
                  <a:pt x="164" y="46"/>
                  <a:pt x="165" y="45"/>
                  <a:pt x="164" y="45"/>
                </a:cubicBezTo>
                <a:cubicBezTo>
                  <a:pt x="164" y="44"/>
                  <a:pt x="163" y="44"/>
                  <a:pt x="163" y="43"/>
                </a:cubicBezTo>
                <a:cubicBezTo>
                  <a:pt x="163" y="44"/>
                  <a:pt x="163" y="44"/>
                  <a:pt x="163" y="44"/>
                </a:cubicBezTo>
                <a:cubicBezTo>
                  <a:pt x="163" y="43"/>
                  <a:pt x="161" y="43"/>
                  <a:pt x="159" y="43"/>
                </a:cubicBezTo>
                <a:cubicBezTo>
                  <a:pt x="159" y="43"/>
                  <a:pt x="155" y="42"/>
                  <a:pt x="157" y="43"/>
                </a:cubicBezTo>
                <a:cubicBezTo>
                  <a:pt x="156" y="43"/>
                  <a:pt x="158" y="46"/>
                  <a:pt x="156" y="45"/>
                </a:cubicBezTo>
                <a:cubicBezTo>
                  <a:pt x="156" y="45"/>
                  <a:pt x="156" y="45"/>
                  <a:pt x="156" y="45"/>
                </a:cubicBezTo>
                <a:cubicBezTo>
                  <a:pt x="153" y="44"/>
                  <a:pt x="156" y="48"/>
                  <a:pt x="155" y="49"/>
                </a:cubicBezTo>
                <a:cubicBezTo>
                  <a:pt x="155" y="49"/>
                  <a:pt x="154" y="48"/>
                  <a:pt x="153" y="48"/>
                </a:cubicBezTo>
                <a:cubicBezTo>
                  <a:pt x="153" y="49"/>
                  <a:pt x="153" y="50"/>
                  <a:pt x="153" y="50"/>
                </a:cubicBezTo>
                <a:cubicBezTo>
                  <a:pt x="153" y="48"/>
                  <a:pt x="153" y="47"/>
                  <a:pt x="153" y="45"/>
                </a:cubicBezTo>
                <a:cubicBezTo>
                  <a:pt x="153" y="44"/>
                  <a:pt x="153" y="44"/>
                  <a:pt x="154" y="43"/>
                </a:cubicBezTo>
                <a:cubicBezTo>
                  <a:pt x="154" y="43"/>
                  <a:pt x="154" y="43"/>
                  <a:pt x="154" y="43"/>
                </a:cubicBezTo>
                <a:cubicBezTo>
                  <a:pt x="154" y="42"/>
                  <a:pt x="154" y="42"/>
                  <a:pt x="155" y="42"/>
                </a:cubicBezTo>
                <a:cubicBezTo>
                  <a:pt x="155" y="41"/>
                  <a:pt x="153" y="40"/>
                  <a:pt x="153" y="40"/>
                </a:cubicBezTo>
                <a:cubicBezTo>
                  <a:pt x="151" y="38"/>
                  <a:pt x="149" y="36"/>
                  <a:pt x="147" y="34"/>
                </a:cubicBezTo>
                <a:cubicBezTo>
                  <a:pt x="146" y="33"/>
                  <a:pt x="145" y="34"/>
                  <a:pt x="144" y="34"/>
                </a:cubicBezTo>
                <a:cubicBezTo>
                  <a:pt x="143" y="34"/>
                  <a:pt x="144" y="34"/>
                  <a:pt x="143" y="34"/>
                </a:cubicBezTo>
                <a:cubicBezTo>
                  <a:pt x="143" y="33"/>
                  <a:pt x="142" y="32"/>
                  <a:pt x="142" y="31"/>
                </a:cubicBezTo>
                <a:cubicBezTo>
                  <a:pt x="141" y="32"/>
                  <a:pt x="140" y="36"/>
                  <a:pt x="138" y="36"/>
                </a:cubicBezTo>
                <a:cubicBezTo>
                  <a:pt x="138" y="37"/>
                  <a:pt x="137" y="35"/>
                  <a:pt x="137" y="35"/>
                </a:cubicBezTo>
                <a:cubicBezTo>
                  <a:pt x="135" y="36"/>
                  <a:pt x="138" y="34"/>
                  <a:pt x="137" y="34"/>
                </a:cubicBezTo>
                <a:cubicBezTo>
                  <a:pt x="137" y="33"/>
                  <a:pt x="134" y="36"/>
                  <a:pt x="134" y="36"/>
                </a:cubicBezTo>
                <a:cubicBezTo>
                  <a:pt x="134" y="35"/>
                  <a:pt x="133" y="35"/>
                  <a:pt x="134" y="34"/>
                </a:cubicBezTo>
                <a:cubicBezTo>
                  <a:pt x="134" y="34"/>
                  <a:pt x="134" y="34"/>
                  <a:pt x="134" y="34"/>
                </a:cubicBezTo>
                <a:cubicBezTo>
                  <a:pt x="134" y="34"/>
                  <a:pt x="133" y="34"/>
                  <a:pt x="133" y="34"/>
                </a:cubicBezTo>
                <a:cubicBezTo>
                  <a:pt x="133" y="34"/>
                  <a:pt x="133" y="34"/>
                  <a:pt x="133" y="34"/>
                </a:cubicBezTo>
                <a:cubicBezTo>
                  <a:pt x="133" y="33"/>
                  <a:pt x="133" y="34"/>
                  <a:pt x="133" y="33"/>
                </a:cubicBezTo>
                <a:cubicBezTo>
                  <a:pt x="133" y="33"/>
                  <a:pt x="132" y="33"/>
                  <a:pt x="132" y="33"/>
                </a:cubicBezTo>
                <a:cubicBezTo>
                  <a:pt x="132" y="34"/>
                  <a:pt x="133" y="34"/>
                  <a:pt x="133" y="35"/>
                </a:cubicBezTo>
                <a:cubicBezTo>
                  <a:pt x="133" y="34"/>
                  <a:pt x="132" y="34"/>
                  <a:pt x="132" y="34"/>
                </a:cubicBezTo>
                <a:cubicBezTo>
                  <a:pt x="132" y="36"/>
                  <a:pt x="134" y="35"/>
                  <a:pt x="133" y="37"/>
                </a:cubicBezTo>
                <a:cubicBezTo>
                  <a:pt x="133" y="37"/>
                  <a:pt x="132" y="39"/>
                  <a:pt x="132" y="39"/>
                </a:cubicBezTo>
                <a:cubicBezTo>
                  <a:pt x="132" y="39"/>
                  <a:pt x="132" y="39"/>
                  <a:pt x="132" y="40"/>
                </a:cubicBezTo>
                <a:cubicBezTo>
                  <a:pt x="132" y="40"/>
                  <a:pt x="131" y="40"/>
                  <a:pt x="130" y="40"/>
                </a:cubicBezTo>
                <a:cubicBezTo>
                  <a:pt x="130" y="40"/>
                  <a:pt x="130" y="39"/>
                  <a:pt x="130" y="39"/>
                </a:cubicBezTo>
                <a:cubicBezTo>
                  <a:pt x="130" y="39"/>
                  <a:pt x="130" y="39"/>
                  <a:pt x="130" y="39"/>
                </a:cubicBezTo>
                <a:cubicBezTo>
                  <a:pt x="130" y="39"/>
                  <a:pt x="129" y="39"/>
                  <a:pt x="129" y="39"/>
                </a:cubicBezTo>
                <a:cubicBezTo>
                  <a:pt x="129" y="39"/>
                  <a:pt x="129" y="38"/>
                  <a:pt x="128" y="39"/>
                </a:cubicBezTo>
                <a:cubicBezTo>
                  <a:pt x="128" y="38"/>
                  <a:pt x="128" y="38"/>
                  <a:pt x="129" y="37"/>
                </a:cubicBezTo>
                <a:cubicBezTo>
                  <a:pt x="128" y="37"/>
                  <a:pt x="128" y="37"/>
                  <a:pt x="128" y="38"/>
                </a:cubicBezTo>
                <a:cubicBezTo>
                  <a:pt x="128" y="40"/>
                  <a:pt x="127" y="39"/>
                  <a:pt x="126" y="40"/>
                </a:cubicBezTo>
                <a:cubicBezTo>
                  <a:pt x="126" y="40"/>
                  <a:pt x="126" y="40"/>
                  <a:pt x="126" y="40"/>
                </a:cubicBezTo>
                <a:cubicBezTo>
                  <a:pt x="126" y="40"/>
                  <a:pt x="125" y="40"/>
                  <a:pt x="125" y="40"/>
                </a:cubicBezTo>
                <a:cubicBezTo>
                  <a:pt x="125" y="40"/>
                  <a:pt x="125" y="40"/>
                  <a:pt x="125" y="40"/>
                </a:cubicBezTo>
                <a:cubicBezTo>
                  <a:pt x="125" y="40"/>
                  <a:pt x="124" y="41"/>
                  <a:pt x="123" y="42"/>
                </a:cubicBezTo>
                <a:cubicBezTo>
                  <a:pt x="123" y="42"/>
                  <a:pt x="123" y="43"/>
                  <a:pt x="124" y="43"/>
                </a:cubicBezTo>
                <a:cubicBezTo>
                  <a:pt x="124" y="43"/>
                  <a:pt x="124" y="43"/>
                  <a:pt x="124" y="43"/>
                </a:cubicBezTo>
                <a:cubicBezTo>
                  <a:pt x="124" y="43"/>
                  <a:pt x="125" y="43"/>
                  <a:pt x="125" y="44"/>
                </a:cubicBezTo>
                <a:cubicBezTo>
                  <a:pt x="125" y="44"/>
                  <a:pt x="124" y="44"/>
                  <a:pt x="125" y="45"/>
                </a:cubicBezTo>
                <a:cubicBezTo>
                  <a:pt x="125" y="45"/>
                  <a:pt x="125" y="45"/>
                  <a:pt x="125" y="45"/>
                </a:cubicBezTo>
                <a:cubicBezTo>
                  <a:pt x="126" y="45"/>
                  <a:pt x="126" y="45"/>
                  <a:pt x="126" y="45"/>
                </a:cubicBezTo>
                <a:cubicBezTo>
                  <a:pt x="126" y="45"/>
                  <a:pt x="126" y="46"/>
                  <a:pt x="126" y="46"/>
                </a:cubicBezTo>
                <a:cubicBezTo>
                  <a:pt x="126" y="46"/>
                  <a:pt x="126" y="46"/>
                  <a:pt x="126" y="46"/>
                </a:cubicBezTo>
                <a:cubicBezTo>
                  <a:pt x="125" y="46"/>
                  <a:pt x="124" y="46"/>
                  <a:pt x="123" y="45"/>
                </a:cubicBezTo>
                <a:cubicBezTo>
                  <a:pt x="122" y="46"/>
                  <a:pt x="123" y="44"/>
                  <a:pt x="122" y="44"/>
                </a:cubicBezTo>
                <a:cubicBezTo>
                  <a:pt x="122" y="46"/>
                  <a:pt x="122" y="46"/>
                  <a:pt x="122" y="48"/>
                </a:cubicBezTo>
                <a:cubicBezTo>
                  <a:pt x="124" y="47"/>
                  <a:pt x="122" y="49"/>
                  <a:pt x="123" y="50"/>
                </a:cubicBezTo>
                <a:cubicBezTo>
                  <a:pt x="123" y="50"/>
                  <a:pt x="122" y="50"/>
                  <a:pt x="122" y="50"/>
                </a:cubicBezTo>
                <a:cubicBezTo>
                  <a:pt x="121" y="49"/>
                  <a:pt x="122" y="50"/>
                  <a:pt x="121" y="49"/>
                </a:cubicBezTo>
                <a:cubicBezTo>
                  <a:pt x="121" y="49"/>
                  <a:pt x="121" y="48"/>
                  <a:pt x="120" y="48"/>
                </a:cubicBezTo>
                <a:cubicBezTo>
                  <a:pt x="120" y="48"/>
                  <a:pt x="120" y="48"/>
                  <a:pt x="119" y="48"/>
                </a:cubicBezTo>
                <a:cubicBezTo>
                  <a:pt x="118" y="47"/>
                  <a:pt x="118" y="47"/>
                  <a:pt x="118" y="48"/>
                </a:cubicBezTo>
                <a:cubicBezTo>
                  <a:pt x="118" y="49"/>
                  <a:pt x="118" y="49"/>
                  <a:pt x="117" y="49"/>
                </a:cubicBezTo>
                <a:cubicBezTo>
                  <a:pt x="117" y="49"/>
                  <a:pt x="117" y="50"/>
                  <a:pt x="117" y="50"/>
                </a:cubicBezTo>
                <a:cubicBezTo>
                  <a:pt x="117" y="50"/>
                  <a:pt x="115" y="50"/>
                  <a:pt x="115" y="50"/>
                </a:cubicBezTo>
                <a:cubicBezTo>
                  <a:pt x="115" y="52"/>
                  <a:pt x="115" y="54"/>
                  <a:pt x="116" y="55"/>
                </a:cubicBezTo>
                <a:cubicBezTo>
                  <a:pt x="117" y="54"/>
                  <a:pt x="117" y="53"/>
                  <a:pt x="118" y="53"/>
                </a:cubicBezTo>
                <a:cubicBezTo>
                  <a:pt x="118" y="54"/>
                  <a:pt x="117" y="55"/>
                  <a:pt x="117" y="56"/>
                </a:cubicBezTo>
                <a:cubicBezTo>
                  <a:pt x="117" y="56"/>
                  <a:pt x="116" y="55"/>
                  <a:pt x="116" y="56"/>
                </a:cubicBezTo>
                <a:cubicBezTo>
                  <a:pt x="116" y="56"/>
                  <a:pt x="115" y="58"/>
                  <a:pt x="115" y="58"/>
                </a:cubicBezTo>
                <a:cubicBezTo>
                  <a:pt x="116" y="59"/>
                  <a:pt x="116" y="59"/>
                  <a:pt x="117" y="59"/>
                </a:cubicBezTo>
                <a:cubicBezTo>
                  <a:pt x="118" y="59"/>
                  <a:pt x="119" y="60"/>
                  <a:pt x="121" y="59"/>
                </a:cubicBezTo>
                <a:cubicBezTo>
                  <a:pt x="119" y="59"/>
                  <a:pt x="118" y="59"/>
                  <a:pt x="117" y="59"/>
                </a:cubicBezTo>
                <a:cubicBezTo>
                  <a:pt x="117" y="59"/>
                  <a:pt x="116" y="59"/>
                  <a:pt x="116" y="59"/>
                </a:cubicBezTo>
                <a:cubicBezTo>
                  <a:pt x="116" y="59"/>
                  <a:pt x="116" y="59"/>
                  <a:pt x="115" y="59"/>
                </a:cubicBezTo>
                <a:cubicBezTo>
                  <a:pt x="115" y="59"/>
                  <a:pt x="114" y="60"/>
                  <a:pt x="114" y="59"/>
                </a:cubicBezTo>
                <a:cubicBezTo>
                  <a:pt x="113" y="59"/>
                  <a:pt x="113" y="58"/>
                  <a:pt x="113" y="58"/>
                </a:cubicBezTo>
                <a:cubicBezTo>
                  <a:pt x="112" y="58"/>
                  <a:pt x="111" y="58"/>
                  <a:pt x="111" y="57"/>
                </a:cubicBezTo>
                <a:cubicBezTo>
                  <a:pt x="111" y="58"/>
                  <a:pt x="111" y="59"/>
                  <a:pt x="111" y="59"/>
                </a:cubicBezTo>
                <a:cubicBezTo>
                  <a:pt x="111" y="59"/>
                  <a:pt x="110" y="59"/>
                  <a:pt x="110" y="59"/>
                </a:cubicBezTo>
                <a:cubicBezTo>
                  <a:pt x="110" y="58"/>
                  <a:pt x="110" y="59"/>
                  <a:pt x="109" y="58"/>
                </a:cubicBezTo>
                <a:cubicBezTo>
                  <a:pt x="109" y="58"/>
                  <a:pt x="109" y="58"/>
                  <a:pt x="109" y="58"/>
                </a:cubicBezTo>
                <a:cubicBezTo>
                  <a:pt x="109" y="58"/>
                  <a:pt x="109" y="58"/>
                  <a:pt x="109" y="58"/>
                </a:cubicBezTo>
                <a:cubicBezTo>
                  <a:pt x="109" y="57"/>
                  <a:pt x="109" y="57"/>
                  <a:pt x="107" y="57"/>
                </a:cubicBezTo>
                <a:cubicBezTo>
                  <a:pt x="108" y="58"/>
                  <a:pt x="109" y="59"/>
                  <a:pt x="109" y="59"/>
                </a:cubicBezTo>
                <a:cubicBezTo>
                  <a:pt x="108" y="60"/>
                  <a:pt x="107" y="59"/>
                  <a:pt x="106" y="59"/>
                </a:cubicBezTo>
                <a:cubicBezTo>
                  <a:pt x="107" y="60"/>
                  <a:pt x="107" y="60"/>
                  <a:pt x="108" y="60"/>
                </a:cubicBezTo>
                <a:cubicBezTo>
                  <a:pt x="107" y="61"/>
                  <a:pt x="106" y="60"/>
                  <a:pt x="106" y="60"/>
                </a:cubicBezTo>
                <a:cubicBezTo>
                  <a:pt x="106" y="61"/>
                  <a:pt x="107" y="61"/>
                  <a:pt x="107" y="61"/>
                </a:cubicBezTo>
                <a:cubicBezTo>
                  <a:pt x="108" y="61"/>
                  <a:pt x="107" y="61"/>
                  <a:pt x="107" y="62"/>
                </a:cubicBezTo>
                <a:cubicBezTo>
                  <a:pt x="108" y="63"/>
                  <a:pt x="108" y="63"/>
                  <a:pt x="109" y="63"/>
                </a:cubicBezTo>
                <a:cubicBezTo>
                  <a:pt x="109" y="64"/>
                  <a:pt x="109" y="64"/>
                  <a:pt x="109" y="65"/>
                </a:cubicBezTo>
                <a:cubicBezTo>
                  <a:pt x="110" y="65"/>
                  <a:pt x="111" y="64"/>
                  <a:pt x="111" y="64"/>
                </a:cubicBezTo>
                <a:cubicBezTo>
                  <a:pt x="111" y="65"/>
                  <a:pt x="108" y="67"/>
                  <a:pt x="111" y="68"/>
                </a:cubicBezTo>
                <a:cubicBezTo>
                  <a:pt x="110" y="67"/>
                  <a:pt x="108" y="66"/>
                  <a:pt x="108" y="66"/>
                </a:cubicBezTo>
                <a:cubicBezTo>
                  <a:pt x="107" y="67"/>
                  <a:pt x="108" y="67"/>
                  <a:pt x="108" y="68"/>
                </a:cubicBezTo>
                <a:cubicBezTo>
                  <a:pt x="108" y="68"/>
                  <a:pt x="107" y="69"/>
                  <a:pt x="107" y="69"/>
                </a:cubicBezTo>
                <a:cubicBezTo>
                  <a:pt x="107" y="70"/>
                  <a:pt x="107" y="71"/>
                  <a:pt x="107" y="72"/>
                </a:cubicBezTo>
                <a:cubicBezTo>
                  <a:pt x="106" y="70"/>
                  <a:pt x="105" y="68"/>
                  <a:pt x="104" y="66"/>
                </a:cubicBezTo>
                <a:cubicBezTo>
                  <a:pt x="104" y="65"/>
                  <a:pt x="103" y="65"/>
                  <a:pt x="103" y="65"/>
                </a:cubicBezTo>
                <a:cubicBezTo>
                  <a:pt x="103" y="64"/>
                  <a:pt x="102" y="63"/>
                  <a:pt x="102" y="62"/>
                </a:cubicBezTo>
                <a:cubicBezTo>
                  <a:pt x="102" y="63"/>
                  <a:pt x="102" y="62"/>
                  <a:pt x="101" y="62"/>
                </a:cubicBezTo>
                <a:cubicBezTo>
                  <a:pt x="101" y="61"/>
                  <a:pt x="101" y="62"/>
                  <a:pt x="101" y="61"/>
                </a:cubicBezTo>
                <a:cubicBezTo>
                  <a:pt x="101" y="60"/>
                  <a:pt x="101" y="59"/>
                  <a:pt x="101" y="59"/>
                </a:cubicBezTo>
                <a:cubicBezTo>
                  <a:pt x="100" y="59"/>
                  <a:pt x="99" y="63"/>
                  <a:pt x="99" y="63"/>
                </a:cubicBezTo>
                <a:cubicBezTo>
                  <a:pt x="98" y="64"/>
                  <a:pt x="96" y="63"/>
                  <a:pt x="97" y="65"/>
                </a:cubicBezTo>
                <a:cubicBezTo>
                  <a:pt x="94" y="63"/>
                  <a:pt x="92" y="70"/>
                  <a:pt x="92" y="72"/>
                </a:cubicBezTo>
                <a:cubicBezTo>
                  <a:pt x="93" y="72"/>
                  <a:pt x="93" y="73"/>
                  <a:pt x="93" y="74"/>
                </a:cubicBezTo>
                <a:cubicBezTo>
                  <a:pt x="93" y="75"/>
                  <a:pt x="93" y="75"/>
                  <a:pt x="93" y="76"/>
                </a:cubicBezTo>
                <a:cubicBezTo>
                  <a:pt x="94" y="75"/>
                  <a:pt x="95" y="76"/>
                  <a:pt x="95" y="77"/>
                </a:cubicBezTo>
                <a:cubicBezTo>
                  <a:pt x="94" y="79"/>
                  <a:pt x="91" y="80"/>
                  <a:pt x="90" y="81"/>
                </a:cubicBezTo>
                <a:cubicBezTo>
                  <a:pt x="89" y="81"/>
                  <a:pt x="89" y="81"/>
                  <a:pt x="89" y="83"/>
                </a:cubicBezTo>
                <a:cubicBezTo>
                  <a:pt x="89" y="84"/>
                  <a:pt x="88" y="84"/>
                  <a:pt x="87" y="85"/>
                </a:cubicBezTo>
                <a:cubicBezTo>
                  <a:pt x="86" y="86"/>
                  <a:pt x="86" y="88"/>
                  <a:pt x="85" y="90"/>
                </a:cubicBezTo>
                <a:cubicBezTo>
                  <a:pt x="81" y="95"/>
                  <a:pt x="73" y="96"/>
                  <a:pt x="68" y="97"/>
                </a:cubicBezTo>
                <a:cubicBezTo>
                  <a:pt x="67" y="98"/>
                  <a:pt x="67" y="98"/>
                  <a:pt x="66" y="98"/>
                </a:cubicBezTo>
                <a:cubicBezTo>
                  <a:pt x="66" y="98"/>
                  <a:pt x="64" y="98"/>
                  <a:pt x="63" y="97"/>
                </a:cubicBezTo>
                <a:cubicBezTo>
                  <a:pt x="62" y="97"/>
                  <a:pt x="61" y="98"/>
                  <a:pt x="60" y="99"/>
                </a:cubicBezTo>
                <a:cubicBezTo>
                  <a:pt x="58" y="100"/>
                  <a:pt x="57" y="100"/>
                  <a:pt x="55" y="101"/>
                </a:cubicBezTo>
                <a:cubicBezTo>
                  <a:pt x="54" y="101"/>
                  <a:pt x="53" y="101"/>
                  <a:pt x="52" y="101"/>
                </a:cubicBezTo>
                <a:cubicBezTo>
                  <a:pt x="51" y="102"/>
                  <a:pt x="49" y="103"/>
                  <a:pt x="48" y="104"/>
                </a:cubicBezTo>
                <a:cubicBezTo>
                  <a:pt x="47" y="105"/>
                  <a:pt x="45" y="105"/>
                  <a:pt x="43" y="105"/>
                </a:cubicBezTo>
                <a:cubicBezTo>
                  <a:pt x="43" y="105"/>
                  <a:pt x="42" y="105"/>
                  <a:pt x="42" y="105"/>
                </a:cubicBezTo>
                <a:cubicBezTo>
                  <a:pt x="42" y="104"/>
                  <a:pt x="42" y="104"/>
                  <a:pt x="42" y="104"/>
                </a:cubicBezTo>
                <a:cubicBezTo>
                  <a:pt x="41" y="104"/>
                  <a:pt x="36" y="106"/>
                  <a:pt x="38" y="103"/>
                </a:cubicBezTo>
                <a:cubicBezTo>
                  <a:pt x="37" y="103"/>
                  <a:pt x="36" y="104"/>
                  <a:pt x="35" y="105"/>
                </a:cubicBezTo>
                <a:cubicBezTo>
                  <a:pt x="32" y="107"/>
                  <a:pt x="29" y="109"/>
                  <a:pt x="26" y="111"/>
                </a:cubicBezTo>
                <a:cubicBezTo>
                  <a:pt x="24" y="113"/>
                  <a:pt x="21" y="114"/>
                  <a:pt x="18" y="116"/>
                </a:cubicBezTo>
                <a:cubicBezTo>
                  <a:pt x="18" y="116"/>
                  <a:pt x="17" y="117"/>
                  <a:pt x="16" y="117"/>
                </a:cubicBezTo>
                <a:cubicBezTo>
                  <a:pt x="15" y="118"/>
                  <a:pt x="14" y="121"/>
                  <a:pt x="13" y="123"/>
                </a:cubicBezTo>
                <a:cubicBezTo>
                  <a:pt x="13" y="123"/>
                  <a:pt x="13" y="124"/>
                  <a:pt x="13" y="124"/>
                </a:cubicBezTo>
                <a:cubicBezTo>
                  <a:pt x="13" y="124"/>
                  <a:pt x="11" y="124"/>
                  <a:pt x="11" y="124"/>
                </a:cubicBezTo>
                <a:cubicBezTo>
                  <a:pt x="10" y="122"/>
                  <a:pt x="10" y="119"/>
                  <a:pt x="10" y="117"/>
                </a:cubicBezTo>
                <a:cubicBezTo>
                  <a:pt x="8" y="119"/>
                  <a:pt x="8" y="120"/>
                  <a:pt x="7" y="122"/>
                </a:cubicBezTo>
                <a:cubicBezTo>
                  <a:pt x="7" y="123"/>
                  <a:pt x="6" y="124"/>
                  <a:pt x="6" y="125"/>
                </a:cubicBezTo>
                <a:cubicBezTo>
                  <a:pt x="6" y="126"/>
                  <a:pt x="7" y="128"/>
                  <a:pt x="7" y="129"/>
                </a:cubicBezTo>
                <a:cubicBezTo>
                  <a:pt x="7" y="131"/>
                  <a:pt x="7" y="134"/>
                  <a:pt x="7" y="135"/>
                </a:cubicBezTo>
                <a:cubicBezTo>
                  <a:pt x="6" y="136"/>
                  <a:pt x="5" y="136"/>
                  <a:pt x="5" y="137"/>
                </a:cubicBezTo>
                <a:cubicBezTo>
                  <a:pt x="4" y="138"/>
                  <a:pt x="4" y="139"/>
                  <a:pt x="4" y="140"/>
                </a:cubicBezTo>
                <a:cubicBezTo>
                  <a:pt x="3" y="141"/>
                  <a:pt x="3" y="142"/>
                  <a:pt x="3" y="143"/>
                </a:cubicBezTo>
                <a:cubicBezTo>
                  <a:pt x="3" y="145"/>
                  <a:pt x="5" y="147"/>
                  <a:pt x="6" y="149"/>
                </a:cubicBezTo>
                <a:cubicBezTo>
                  <a:pt x="7" y="152"/>
                  <a:pt x="9" y="155"/>
                  <a:pt x="10" y="158"/>
                </a:cubicBezTo>
                <a:cubicBezTo>
                  <a:pt x="10" y="159"/>
                  <a:pt x="11" y="159"/>
                  <a:pt x="11" y="160"/>
                </a:cubicBezTo>
                <a:cubicBezTo>
                  <a:pt x="12" y="161"/>
                  <a:pt x="12" y="161"/>
                  <a:pt x="11" y="162"/>
                </a:cubicBezTo>
                <a:cubicBezTo>
                  <a:pt x="11" y="164"/>
                  <a:pt x="11" y="165"/>
                  <a:pt x="10" y="166"/>
                </a:cubicBezTo>
                <a:cubicBezTo>
                  <a:pt x="8" y="165"/>
                  <a:pt x="8" y="163"/>
                  <a:pt x="8" y="161"/>
                </a:cubicBezTo>
                <a:cubicBezTo>
                  <a:pt x="8" y="162"/>
                  <a:pt x="7" y="165"/>
                  <a:pt x="6" y="164"/>
                </a:cubicBezTo>
                <a:cubicBezTo>
                  <a:pt x="5" y="163"/>
                  <a:pt x="7" y="161"/>
                  <a:pt x="6" y="160"/>
                </a:cubicBezTo>
                <a:cubicBezTo>
                  <a:pt x="6" y="158"/>
                  <a:pt x="4" y="158"/>
                  <a:pt x="4" y="157"/>
                </a:cubicBezTo>
                <a:cubicBezTo>
                  <a:pt x="4" y="158"/>
                  <a:pt x="3" y="158"/>
                  <a:pt x="4" y="159"/>
                </a:cubicBezTo>
                <a:cubicBezTo>
                  <a:pt x="4" y="161"/>
                  <a:pt x="5" y="163"/>
                  <a:pt x="7" y="164"/>
                </a:cubicBezTo>
                <a:cubicBezTo>
                  <a:pt x="7" y="165"/>
                  <a:pt x="7" y="165"/>
                  <a:pt x="7" y="165"/>
                </a:cubicBezTo>
                <a:cubicBezTo>
                  <a:pt x="8" y="165"/>
                  <a:pt x="8" y="166"/>
                  <a:pt x="8" y="166"/>
                </a:cubicBezTo>
                <a:cubicBezTo>
                  <a:pt x="8" y="167"/>
                  <a:pt x="8" y="168"/>
                  <a:pt x="7" y="169"/>
                </a:cubicBezTo>
                <a:cubicBezTo>
                  <a:pt x="7" y="169"/>
                  <a:pt x="7" y="168"/>
                  <a:pt x="7" y="168"/>
                </a:cubicBezTo>
                <a:cubicBezTo>
                  <a:pt x="6" y="169"/>
                  <a:pt x="5" y="169"/>
                  <a:pt x="5" y="167"/>
                </a:cubicBezTo>
                <a:cubicBezTo>
                  <a:pt x="5" y="168"/>
                  <a:pt x="5" y="168"/>
                  <a:pt x="5" y="169"/>
                </a:cubicBezTo>
                <a:cubicBezTo>
                  <a:pt x="4" y="168"/>
                  <a:pt x="5" y="166"/>
                  <a:pt x="4" y="165"/>
                </a:cubicBezTo>
                <a:cubicBezTo>
                  <a:pt x="4" y="165"/>
                  <a:pt x="4" y="166"/>
                  <a:pt x="4" y="166"/>
                </a:cubicBezTo>
                <a:cubicBezTo>
                  <a:pt x="4" y="165"/>
                  <a:pt x="4" y="164"/>
                  <a:pt x="3" y="163"/>
                </a:cubicBezTo>
                <a:cubicBezTo>
                  <a:pt x="3" y="164"/>
                  <a:pt x="3" y="164"/>
                  <a:pt x="3" y="164"/>
                </a:cubicBezTo>
                <a:cubicBezTo>
                  <a:pt x="3" y="163"/>
                  <a:pt x="3" y="163"/>
                  <a:pt x="3" y="162"/>
                </a:cubicBezTo>
                <a:cubicBezTo>
                  <a:pt x="3" y="163"/>
                  <a:pt x="2" y="165"/>
                  <a:pt x="3" y="166"/>
                </a:cubicBezTo>
                <a:cubicBezTo>
                  <a:pt x="2" y="165"/>
                  <a:pt x="2" y="163"/>
                  <a:pt x="2" y="162"/>
                </a:cubicBezTo>
                <a:cubicBezTo>
                  <a:pt x="2" y="163"/>
                  <a:pt x="2" y="164"/>
                  <a:pt x="2" y="164"/>
                </a:cubicBezTo>
                <a:cubicBezTo>
                  <a:pt x="1" y="164"/>
                  <a:pt x="1" y="164"/>
                  <a:pt x="0" y="164"/>
                </a:cubicBezTo>
                <a:cubicBezTo>
                  <a:pt x="2" y="166"/>
                  <a:pt x="4" y="169"/>
                  <a:pt x="6" y="172"/>
                </a:cubicBezTo>
                <a:cubicBezTo>
                  <a:pt x="7" y="173"/>
                  <a:pt x="8" y="174"/>
                  <a:pt x="9" y="176"/>
                </a:cubicBezTo>
                <a:cubicBezTo>
                  <a:pt x="10" y="177"/>
                  <a:pt x="10" y="178"/>
                  <a:pt x="10" y="179"/>
                </a:cubicBezTo>
                <a:cubicBezTo>
                  <a:pt x="10" y="181"/>
                  <a:pt x="10" y="183"/>
                  <a:pt x="11" y="184"/>
                </a:cubicBezTo>
                <a:cubicBezTo>
                  <a:pt x="12" y="189"/>
                  <a:pt x="17" y="192"/>
                  <a:pt x="18" y="197"/>
                </a:cubicBezTo>
                <a:cubicBezTo>
                  <a:pt x="19" y="200"/>
                  <a:pt x="19" y="204"/>
                  <a:pt x="19" y="207"/>
                </a:cubicBezTo>
                <a:cubicBezTo>
                  <a:pt x="20" y="210"/>
                  <a:pt x="21" y="213"/>
                  <a:pt x="22" y="216"/>
                </a:cubicBezTo>
                <a:cubicBezTo>
                  <a:pt x="23" y="219"/>
                  <a:pt x="25" y="222"/>
                  <a:pt x="26" y="226"/>
                </a:cubicBezTo>
                <a:cubicBezTo>
                  <a:pt x="27" y="225"/>
                  <a:pt x="27" y="225"/>
                  <a:pt x="28" y="225"/>
                </a:cubicBezTo>
                <a:cubicBezTo>
                  <a:pt x="30" y="225"/>
                  <a:pt x="31" y="226"/>
                  <a:pt x="31" y="228"/>
                </a:cubicBezTo>
                <a:cubicBezTo>
                  <a:pt x="31" y="229"/>
                  <a:pt x="30" y="231"/>
                  <a:pt x="28" y="231"/>
                </a:cubicBezTo>
                <a:cubicBezTo>
                  <a:pt x="28" y="231"/>
                  <a:pt x="28" y="231"/>
                  <a:pt x="27" y="231"/>
                </a:cubicBezTo>
                <a:cubicBezTo>
                  <a:pt x="27" y="233"/>
                  <a:pt x="27" y="236"/>
                  <a:pt x="27" y="238"/>
                </a:cubicBezTo>
                <a:cubicBezTo>
                  <a:pt x="26" y="237"/>
                  <a:pt x="26" y="236"/>
                  <a:pt x="26" y="235"/>
                </a:cubicBezTo>
                <a:cubicBezTo>
                  <a:pt x="25" y="236"/>
                  <a:pt x="26" y="237"/>
                  <a:pt x="26" y="238"/>
                </a:cubicBezTo>
                <a:cubicBezTo>
                  <a:pt x="26" y="240"/>
                  <a:pt x="27" y="243"/>
                  <a:pt x="25" y="245"/>
                </a:cubicBezTo>
                <a:cubicBezTo>
                  <a:pt x="24" y="246"/>
                  <a:pt x="21" y="247"/>
                  <a:pt x="20" y="247"/>
                </a:cubicBezTo>
                <a:cubicBezTo>
                  <a:pt x="20" y="247"/>
                  <a:pt x="20" y="246"/>
                  <a:pt x="20" y="246"/>
                </a:cubicBezTo>
                <a:cubicBezTo>
                  <a:pt x="19" y="248"/>
                  <a:pt x="19" y="251"/>
                  <a:pt x="19" y="253"/>
                </a:cubicBezTo>
                <a:cubicBezTo>
                  <a:pt x="19" y="253"/>
                  <a:pt x="20" y="254"/>
                  <a:pt x="20" y="254"/>
                </a:cubicBezTo>
                <a:cubicBezTo>
                  <a:pt x="20" y="255"/>
                  <a:pt x="22" y="256"/>
                  <a:pt x="23" y="256"/>
                </a:cubicBezTo>
                <a:cubicBezTo>
                  <a:pt x="26" y="258"/>
                  <a:pt x="28" y="258"/>
                  <a:pt x="30" y="260"/>
                </a:cubicBezTo>
                <a:cubicBezTo>
                  <a:pt x="31" y="262"/>
                  <a:pt x="34" y="263"/>
                  <a:pt x="36" y="263"/>
                </a:cubicBezTo>
                <a:cubicBezTo>
                  <a:pt x="38" y="264"/>
                  <a:pt x="40" y="263"/>
                  <a:pt x="42" y="263"/>
                </a:cubicBezTo>
                <a:cubicBezTo>
                  <a:pt x="45" y="264"/>
                  <a:pt x="47" y="264"/>
                  <a:pt x="50" y="264"/>
                </a:cubicBezTo>
                <a:cubicBezTo>
                  <a:pt x="50" y="264"/>
                  <a:pt x="49" y="264"/>
                  <a:pt x="48" y="263"/>
                </a:cubicBezTo>
                <a:cubicBezTo>
                  <a:pt x="50" y="263"/>
                  <a:pt x="52" y="263"/>
                  <a:pt x="53" y="263"/>
                </a:cubicBezTo>
                <a:cubicBezTo>
                  <a:pt x="56" y="261"/>
                  <a:pt x="58" y="259"/>
                  <a:pt x="60" y="257"/>
                </a:cubicBezTo>
                <a:cubicBezTo>
                  <a:pt x="61" y="256"/>
                  <a:pt x="63" y="258"/>
                  <a:pt x="63" y="258"/>
                </a:cubicBezTo>
                <a:cubicBezTo>
                  <a:pt x="63" y="257"/>
                  <a:pt x="64" y="257"/>
                  <a:pt x="64" y="257"/>
                </a:cubicBezTo>
                <a:cubicBezTo>
                  <a:pt x="66" y="256"/>
                  <a:pt x="65" y="256"/>
                  <a:pt x="65" y="255"/>
                </a:cubicBezTo>
                <a:cubicBezTo>
                  <a:pt x="66" y="253"/>
                  <a:pt x="68" y="252"/>
                  <a:pt x="70" y="252"/>
                </a:cubicBezTo>
                <a:cubicBezTo>
                  <a:pt x="73" y="251"/>
                  <a:pt x="76" y="250"/>
                  <a:pt x="79" y="250"/>
                </a:cubicBezTo>
                <a:cubicBezTo>
                  <a:pt x="82" y="250"/>
                  <a:pt x="85" y="249"/>
                  <a:pt x="88" y="250"/>
                </a:cubicBezTo>
                <a:cubicBezTo>
                  <a:pt x="90" y="250"/>
                  <a:pt x="91" y="249"/>
                  <a:pt x="92" y="251"/>
                </a:cubicBezTo>
                <a:cubicBezTo>
                  <a:pt x="92" y="252"/>
                  <a:pt x="91" y="251"/>
                  <a:pt x="92" y="252"/>
                </a:cubicBezTo>
                <a:cubicBezTo>
                  <a:pt x="94" y="252"/>
                  <a:pt x="97" y="251"/>
                  <a:pt x="98" y="251"/>
                </a:cubicBezTo>
                <a:cubicBezTo>
                  <a:pt x="99" y="250"/>
                  <a:pt x="101" y="250"/>
                  <a:pt x="102" y="250"/>
                </a:cubicBezTo>
                <a:cubicBezTo>
                  <a:pt x="103" y="250"/>
                  <a:pt x="102" y="251"/>
                  <a:pt x="103" y="251"/>
                </a:cubicBezTo>
                <a:cubicBezTo>
                  <a:pt x="103" y="252"/>
                  <a:pt x="105" y="251"/>
                  <a:pt x="106" y="250"/>
                </a:cubicBezTo>
                <a:cubicBezTo>
                  <a:pt x="106" y="250"/>
                  <a:pt x="106" y="251"/>
                  <a:pt x="107" y="250"/>
                </a:cubicBezTo>
                <a:cubicBezTo>
                  <a:pt x="108" y="250"/>
                  <a:pt x="109" y="248"/>
                  <a:pt x="110" y="247"/>
                </a:cubicBezTo>
                <a:cubicBezTo>
                  <a:pt x="111" y="246"/>
                  <a:pt x="112" y="245"/>
                  <a:pt x="112" y="244"/>
                </a:cubicBezTo>
                <a:cubicBezTo>
                  <a:pt x="112" y="243"/>
                  <a:pt x="113" y="241"/>
                  <a:pt x="114" y="240"/>
                </a:cubicBezTo>
                <a:cubicBezTo>
                  <a:pt x="117" y="239"/>
                  <a:pt x="120" y="237"/>
                  <a:pt x="124" y="236"/>
                </a:cubicBezTo>
                <a:cubicBezTo>
                  <a:pt x="125" y="235"/>
                  <a:pt x="127" y="235"/>
                  <a:pt x="128" y="234"/>
                </a:cubicBezTo>
                <a:cubicBezTo>
                  <a:pt x="129" y="233"/>
                  <a:pt x="130" y="233"/>
                  <a:pt x="131" y="232"/>
                </a:cubicBezTo>
                <a:cubicBezTo>
                  <a:pt x="133" y="231"/>
                  <a:pt x="135" y="232"/>
                  <a:pt x="138" y="232"/>
                </a:cubicBezTo>
                <a:cubicBezTo>
                  <a:pt x="140" y="232"/>
                  <a:pt x="143" y="232"/>
                  <a:pt x="145" y="232"/>
                </a:cubicBezTo>
                <a:cubicBezTo>
                  <a:pt x="151" y="230"/>
                  <a:pt x="157" y="227"/>
                  <a:pt x="162" y="225"/>
                </a:cubicBezTo>
                <a:cubicBezTo>
                  <a:pt x="163" y="225"/>
                  <a:pt x="163" y="225"/>
                  <a:pt x="163" y="225"/>
                </a:cubicBezTo>
                <a:cubicBezTo>
                  <a:pt x="163" y="225"/>
                  <a:pt x="163" y="225"/>
                  <a:pt x="163" y="225"/>
                </a:cubicBezTo>
                <a:cubicBezTo>
                  <a:pt x="166" y="225"/>
                  <a:pt x="169" y="224"/>
                  <a:pt x="173" y="224"/>
                </a:cubicBezTo>
                <a:cubicBezTo>
                  <a:pt x="176" y="224"/>
                  <a:pt x="179" y="225"/>
                  <a:pt x="182" y="224"/>
                </a:cubicBezTo>
                <a:cubicBezTo>
                  <a:pt x="184" y="223"/>
                  <a:pt x="184" y="223"/>
                  <a:pt x="186" y="224"/>
                </a:cubicBezTo>
                <a:cubicBezTo>
                  <a:pt x="189" y="225"/>
                  <a:pt x="192" y="226"/>
                  <a:pt x="194" y="228"/>
                </a:cubicBezTo>
                <a:cubicBezTo>
                  <a:pt x="194" y="228"/>
                  <a:pt x="195" y="229"/>
                  <a:pt x="195" y="229"/>
                </a:cubicBezTo>
                <a:cubicBezTo>
                  <a:pt x="196" y="229"/>
                  <a:pt x="197" y="228"/>
                  <a:pt x="199" y="228"/>
                </a:cubicBezTo>
                <a:cubicBezTo>
                  <a:pt x="200" y="228"/>
                  <a:pt x="201" y="228"/>
                  <a:pt x="202" y="229"/>
                </a:cubicBezTo>
                <a:cubicBezTo>
                  <a:pt x="204" y="229"/>
                  <a:pt x="205" y="230"/>
                  <a:pt x="207" y="231"/>
                </a:cubicBezTo>
                <a:cubicBezTo>
                  <a:pt x="208" y="231"/>
                  <a:pt x="208" y="230"/>
                  <a:pt x="209" y="230"/>
                </a:cubicBezTo>
                <a:cubicBezTo>
                  <a:pt x="209" y="230"/>
                  <a:pt x="209" y="230"/>
                  <a:pt x="210" y="230"/>
                </a:cubicBezTo>
                <a:cubicBezTo>
                  <a:pt x="211" y="230"/>
                  <a:pt x="212" y="233"/>
                  <a:pt x="213" y="233"/>
                </a:cubicBezTo>
                <a:cubicBezTo>
                  <a:pt x="212" y="233"/>
                  <a:pt x="212" y="234"/>
                  <a:pt x="212" y="235"/>
                </a:cubicBezTo>
                <a:cubicBezTo>
                  <a:pt x="213" y="235"/>
                  <a:pt x="214" y="234"/>
                  <a:pt x="216" y="234"/>
                </a:cubicBezTo>
                <a:cubicBezTo>
                  <a:pt x="216" y="235"/>
                  <a:pt x="216" y="237"/>
                  <a:pt x="216" y="238"/>
                </a:cubicBezTo>
                <a:cubicBezTo>
                  <a:pt x="216" y="238"/>
                  <a:pt x="214" y="236"/>
                  <a:pt x="214" y="237"/>
                </a:cubicBezTo>
                <a:cubicBezTo>
                  <a:pt x="215" y="239"/>
                  <a:pt x="214" y="238"/>
                  <a:pt x="214" y="239"/>
                </a:cubicBezTo>
                <a:cubicBezTo>
                  <a:pt x="214" y="240"/>
                  <a:pt x="216" y="241"/>
                  <a:pt x="216" y="242"/>
                </a:cubicBezTo>
                <a:cubicBezTo>
                  <a:pt x="217" y="243"/>
                  <a:pt x="219" y="243"/>
                  <a:pt x="220" y="243"/>
                </a:cubicBezTo>
                <a:cubicBezTo>
                  <a:pt x="220" y="242"/>
                  <a:pt x="220" y="242"/>
                  <a:pt x="220" y="242"/>
                </a:cubicBezTo>
                <a:cubicBezTo>
                  <a:pt x="221" y="244"/>
                  <a:pt x="221" y="246"/>
                  <a:pt x="222" y="247"/>
                </a:cubicBezTo>
                <a:cubicBezTo>
                  <a:pt x="224" y="249"/>
                  <a:pt x="226" y="250"/>
                  <a:pt x="226" y="252"/>
                </a:cubicBezTo>
                <a:cubicBezTo>
                  <a:pt x="226" y="252"/>
                  <a:pt x="226" y="253"/>
                  <a:pt x="226" y="253"/>
                </a:cubicBezTo>
                <a:cubicBezTo>
                  <a:pt x="227" y="253"/>
                  <a:pt x="226" y="253"/>
                  <a:pt x="226" y="253"/>
                </a:cubicBezTo>
                <a:cubicBezTo>
                  <a:pt x="226" y="254"/>
                  <a:pt x="227" y="254"/>
                  <a:pt x="227" y="254"/>
                </a:cubicBezTo>
                <a:cubicBezTo>
                  <a:pt x="228" y="255"/>
                  <a:pt x="227" y="258"/>
                  <a:pt x="228" y="259"/>
                </a:cubicBezTo>
                <a:cubicBezTo>
                  <a:pt x="228" y="259"/>
                  <a:pt x="227" y="258"/>
                  <a:pt x="227" y="258"/>
                </a:cubicBezTo>
                <a:cubicBezTo>
                  <a:pt x="226" y="258"/>
                  <a:pt x="226" y="257"/>
                  <a:pt x="226" y="257"/>
                </a:cubicBezTo>
                <a:cubicBezTo>
                  <a:pt x="226" y="257"/>
                  <a:pt x="225" y="258"/>
                  <a:pt x="225" y="258"/>
                </a:cubicBezTo>
                <a:cubicBezTo>
                  <a:pt x="225" y="259"/>
                  <a:pt x="226" y="259"/>
                  <a:pt x="227" y="259"/>
                </a:cubicBezTo>
                <a:cubicBezTo>
                  <a:pt x="227" y="260"/>
                  <a:pt x="228" y="259"/>
                  <a:pt x="228" y="260"/>
                </a:cubicBezTo>
                <a:cubicBezTo>
                  <a:pt x="228" y="260"/>
                  <a:pt x="229" y="260"/>
                  <a:pt x="229" y="261"/>
                </a:cubicBezTo>
                <a:cubicBezTo>
                  <a:pt x="229" y="261"/>
                  <a:pt x="230" y="262"/>
                  <a:pt x="230" y="262"/>
                </a:cubicBezTo>
                <a:cubicBezTo>
                  <a:pt x="231" y="262"/>
                  <a:pt x="232" y="262"/>
                  <a:pt x="233" y="262"/>
                </a:cubicBezTo>
                <a:cubicBezTo>
                  <a:pt x="233" y="262"/>
                  <a:pt x="233" y="262"/>
                  <a:pt x="233" y="263"/>
                </a:cubicBezTo>
                <a:cubicBezTo>
                  <a:pt x="234" y="263"/>
                  <a:pt x="233" y="263"/>
                  <a:pt x="234" y="263"/>
                </a:cubicBezTo>
                <a:cubicBezTo>
                  <a:pt x="234" y="263"/>
                  <a:pt x="234" y="261"/>
                  <a:pt x="233" y="260"/>
                </a:cubicBezTo>
                <a:cubicBezTo>
                  <a:pt x="233" y="261"/>
                  <a:pt x="233" y="261"/>
                  <a:pt x="232" y="261"/>
                </a:cubicBezTo>
                <a:cubicBezTo>
                  <a:pt x="234" y="257"/>
                  <a:pt x="237" y="254"/>
                  <a:pt x="240" y="251"/>
                </a:cubicBezTo>
                <a:cubicBezTo>
                  <a:pt x="241" y="249"/>
                  <a:pt x="244" y="249"/>
                  <a:pt x="245" y="248"/>
                </a:cubicBezTo>
                <a:cubicBezTo>
                  <a:pt x="246" y="248"/>
                  <a:pt x="247" y="247"/>
                  <a:pt x="247" y="246"/>
                </a:cubicBezTo>
                <a:cubicBezTo>
                  <a:pt x="248" y="244"/>
                  <a:pt x="249" y="242"/>
                  <a:pt x="250" y="240"/>
                </a:cubicBezTo>
                <a:cubicBezTo>
                  <a:pt x="251" y="239"/>
                  <a:pt x="251" y="240"/>
                  <a:pt x="252" y="239"/>
                </a:cubicBezTo>
                <a:cubicBezTo>
                  <a:pt x="252" y="238"/>
                  <a:pt x="252" y="238"/>
                  <a:pt x="252" y="237"/>
                </a:cubicBezTo>
                <a:cubicBezTo>
                  <a:pt x="252" y="237"/>
                  <a:pt x="252" y="236"/>
                  <a:pt x="252" y="236"/>
                </a:cubicBezTo>
                <a:cubicBezTo>
                  <a:pt x="252" y="236"/>
                  <a:pt x="252" y="235"/>
                  <a:pt x="252" y="235"/>
                </a:cubicBezTo>
                <a:cubicBezTo>
                  <a:pt x="253" y="236"/>
                  <a:pt x="253" y="237"/>
                  <a:pt x="254" y="238"/>
                </a:cubicBezTo>
                <a:cubicBezTo>
                  <a:pt x="254" y="239"/>
                  <a:pt x="254" y="240"/>
                  <a:pt x="255" y="241"/>
                </a:cubicBezTo>
                <a:cubicBezTo>
                  <a:pt x="255" y="241"/>
                  <a:pt x="254" y="242"/>
                  <a:pt x="253" y="242"/>
                </a:cubicBezTo>
                <a:cubicBezTo>
                  <a:pt x="253" y="242"/>
                  <a:pt x="253" y="242"/>
                  <a:pt x="253" y="243"/>
                </a:cubicBezTo>
                <a:cubicBezTo>
                  <a:pt x="252" y="243"/>
                  <a:pt x="254" y="244"/>
                  <a:pt x="253" y="245"/>
                </a:cubicBezTo>
                <a:cubicBezTo>
                  <a:pt x="253" y="247"/>
                  <a:pt x="253" y="248"/>
                  <a:pt x="252" y="249"/>
                </a:cubicBezTo>
                <a:cubicBezTo>
                  <a:pt x="251" y="250"/>
                  <a:pt x="250" y="251"/>
                  <a:pt x="250" y="252"/>
                </a:cubicBezTo>
                <a:cubicBezTo>
                  <a:pt x="249" y="255"/>
                  <a:pt x="250" y="259"/>
                  <a:pt x="249" y="261"/>
                </a:cubicBezTo>
                <a:cubicBezTo>
                  <a:pt x="248" y="263"/>
                  <a:pt x="247" y="262"/>
                  <a:pt x="245" y="262"/>
                </a:cubicBezTo>
                <a:cubicBezTo>
                  <a:pt x="244" y="262"/>
                  <a:pt x="245" y="262"/>
                  <a:pt x="244" y="262"/>
                </a:cubicBezTo>
                <a:cubicBezTo>
                  <a:pt x="244" y="263"/>
                  <a:pt x="244" y="264"/>
                  <a:pt x="244" y="264"/>
                </a:cubicBezTo>
                <a:cubicBezTo>
                  <a:pt x="244" y="265"/>
                  <a:pt x="243" y="265"/>
                  <a:pt x="243" y="266"/>
                </a:cubicBezTo>
                <a:cubicBezTo>
                  <a:pt x="245" y="266"/>
                  <a:pt x="247" y="265"/>
                  <a:pt x="249" y="264"/>
                </a:cubicBezTo>
                <a:cubicBezTo>
                  <a:pt x="250" y="264"/>
                  <a:pt x="251" y="266"/>
                  <a:pt x="252" y="265"/>
                </a:cubicBezTo>
                <a:cubicBezTo>
                  <a:pt x="253" y="264"/>
                  <a:pt x="253" y="261"/>
                  <a:pt x="253" y="260"/>
                </a:cubicBezTo>
                <a:cubicBezTo>
                  <a:pt x="253" y="258"/>
                  <a:pt x="254" y="256"/>
                  <a:pt x="255" y="254"/>
                </a:cubicBezTo>
                <a:cubicBezTo>
                  <a:pt x="255" y="254"/>
                  <a:pt x="255" y="253"/>
                  <a:pt x="256" y="253"/>
                </a:cubicBezTo>
                <a:cubicBezTo>
                  <a:pt x="256" y="255"/>
                  <a:pt x="257" y="256"/>
                  <a:pt x="258" y="257"/>
                </a:cubicBezTo>
                <a:cubicBezTo>
                  <a:pt x="258" y="258"/>
                  <a:pt x="259" y="259"/>
                  <a:pt x="259" y="259"/>
                </a:cubicBezTo>
                <a:cubicBezTo>
                  <a:pt x="259" y="260"/>
                  <a:pt x="260" y="260"/>
                  <a:pt x="260" y="260"/>
                </a:cubicBezTo>
                <a:cubicBezTo>
                  <a:pt x="260" y="261"/>
                  <a:pt x="260" y="263"/>
                  <a:pt x="259" y="264"/>
                </a:cubicBezTo>
                <a:cubicBezTo>
                  <a:pt x="259" y="266"/>
                  <a:pt x="259" y="267"/>
                  <a:pt x="258" y="268"/>
                </a:cubicBezTo>
                <a:cubicBezTo>
                  <a:pt x="257" y="269"/>
                  <a:pt x="256" y="269"/>
                  <a:pt x="255" y="270"/>
                </a:cubicBezTo>
                <a:cubicBezTo>
                  <a:pt x="256" y="270"/>
                  <a:pt x="257" y="270"/>
                  <a:pt x="258" y="271"/>
                </a:cubicBezTo>
                <a:cubicBezTo>
                  <a:pt x="259" y="271"/>
                  <a:pt x="260" y="270"/>
                  <a:pt x="261" y="270"/>
                </a:cubicBezTo>
                <a:cubicBezTo>
                  <a:pt x="262" y="269"/>
                  <a:pt x="264" y="269"/>
                  <a:pt x="265" y="268"/>
                </a:cubicBezTo>
                <a:cubicBezTo>
                  <a:pt x="266" y="268"/>
                  <a:pt x="266" y="267"/>
                  <a:pt x="268" y="267"/>
                </a:cubicBezTo>
                <a:cubicBezTo>
                  <a:pt x="267" y="268"/>
                  <a:pt x="267" y="269"/>
                  <a:pt x="267" y="270"/>
                </a:cubicBezTo>
                <a:cubicBezTo>
                  <a:pt x="267" y="270"/>
                  <a:pt x="267" y="271"/>
                  <a:pt x="267" y="271"/>
                </a:cubicBezTo>
                <a:cubicBezTo>
                  <a:pt x="267" y="271"/>
                  <a:pt x="267" y="270"/>
                  <a:pt x="267" y="270"/>
                </a:cubicBezTo>
                <a:cubicBezTo>
                  <a:pt x="267" y="268"/>
                  <a:pt x="265" y="270"/>
                  <a:pt x="265" y="270"/>
                </a:cubicBezTo>
                <a:cubicBezTo>
                  <a:pt x="266" y="270"/>
                  <a:pt x="266" y="271"/>
                  <a:pt x="267" y="271"/>
                </a:cubicBezTo>
                <a:cubicBezTo>
                  <a:pt x="265" y="270"/>
                  <a:pt x="264" y="270"/>
                  <a:pt x="264" y="270"/>
                </a:cubicBezTo>
                <a:cubicBezTo>
                  <a:pt x="265" y="271"/>
                  <a:pt x="267" y="273"/>
                  <a:pt x="268" y="274"/>
                </a:cubicBezTo>
                <a:cubicBezTo>
                  <a:pt x="270" y="276"/>
                  <a:pt x="271" y="277"/>
                  <a:pt x="272" y="279"/>
                </a:cubicBezTo>
                <a:cubicBezTo>
                  <a:pt x="272" y="280"/>
                  <a:pt x="273" y="281"/>
                  <a:pt x="273" y="282"/>
                </a:cubicBezTo>
                <a:cubicBezTo>
                  <a:pt x="274" y="284"/>
                  <a:pt x="272" y="286"/>
                  <a:pt x="272" y="287"/>
                </a:cubicBezTo>
                <a:cubicBezTo>
                  <a:pt x="272" y="290"/>
                  <a:pt x="274" y="291"/>
                  <a:pt x="276" y="292"/>
                </a:cubicBezTo>
                <a:cubicBezTo>
                  <a:pt x="277" y="293"/>
                  <a:pt x="278" y="296"/>
                  <a:pt x="279" y="297"/>
                </a:cubicBezTo>
                <a:cubicBezTo>
                  <a:pt x="280" y="299"/>
                  <a:pt x="283" y="299"/>
                  <a:pt x="285" y="299"/>
                </a:cubicBezTo>
                <a:cubicBezTo>
                  <a:pt x="285" y="299"/>
                  <a:pt x="285" y="299"/>
                  <a:pt x="285" y="299"/>
                </a:cubicBezTo>
                <a:cubicBezTo>
                  <a:pt x="285" y="300"/>
                  <a:pt x="288" y="301"/>
                  <a:pt x="289" y="302"/>
                </a:cubicBezTo>
                <a:cubicBezTo>
                  <a:pt x="289" y="302"/>
                  <a:pt x="289" y="303"/>
                  <a:pt x="289" y="303"/>
                </a:cubicBezTo>
                <a:cubicBezTo>
                  <a:pt x="290" y="303"/>
                  <a:pt x="291" y="303"/>
                  <a:pt x="292" y="302"/>
                </a:cubicBezTo>
                <a:cubicBezTo>
                  <a:pt x="294" y="301"/>
                  <a:pt x="294" y="302"/>
                  <a:pt x="297" y="302"/>
                </a:cubicBezTo>
                <a:cubicBezTo>
                  <a:pt x="298" y="303"/>
                  <a:pt x="299" y="302"/>
                  <a:pt x="300" y="303"/>
                </a:cubicBezTo>
                <a:cubicBezTo>
                  <a:pt x="301" y="303"/>
                  <a:pt x="303" y="305"/>
                  <a:pt x="304" y="305"/>
                </a:cubicBezTo>
                <a:cubicBezTo>
                  <a:pt x="305" y="306"/>
                  <a:pt x="311" y="308"/>
                  <a:pt x="311" y="308"/>
                </a:cubicBezTo>
                <a:cubicBezTo>
                  <a:pt x="314" y="306"/>
                  <a:pt x="316" y="304"/>
                  <a:pt x="319" y="302"/>
                </a:cubicBezTo>
                <a:cubicBezTo>
                  <a:pt x="320" y="302"/>
                  <a:pt x="321" y="302"/>
                  <a:pt x="322" y="301"/>
                </a:cubicBezTo>
                <a:cubicBezTo>
                  <a:pt x="323" y="301"/>
                  <a:pt x="323" y="300"/>
                  <a:pt x="322" y="300"/>
                </a:cubicBezTo>
                <a:cubicBezTo>
                  <a:pt x="322" y="300"/>
                  <a:pt x="319" y="301"/>
                  <a:pt x="320" y="299"/>
                </a:cubicBezTo>
                <a:cubicBezTo>
                  <a:pt x="320" y="299"/>
                  <a:pt x="323" y="298"/>
                  <a:pt x="324" y="298"/>
                </a:cubicBezTo>
                <a:cubicBezTo>
                  <a:pt x="324" y="297"/>
                  <a:pt x="325" y="297"/>
                  <a:pt x="325" y="297"/>
                </a:cubicBezTo>
                <a:cubicBezTo>
                  <a:pt x="326" y="298"/>
                  <a:pt x="327" y="299"/>
                  <a:pt x="327" y="300"/>
                </a:cubicBezTo>
                <a:cubicBezTo>
                  <a:pt x="327" y="301"/>
                  <a:pt x="326" y="301"/>
                  <a:pt x="326" y="302"/>
                </a:cubicBezTo>
                <a:cubicBezTo>
                  <a:pt x="325" y="302"/>
                  <a:pt x="325" y="303"/>
                  <a:pt x="323" y="303"/>
                </a:cubicBezTo>
                <a:cubicBezTo>
                  <a:pt x="324" y="303"/>
                  <a:pt x="324" y="303"/>
                  <a:pt x="324" y="304"/>
                </a:cubicBezTo>
                <a:cubicBezTo>
                  <a:pt x="325" y="304"/>
                  <a:pt x="325" y="304"/>
                  <a:pt x="325" y="304"/>
                </a:cubicBezTo>
                <a:cubicBezTo>
                  <a:pt x="326" y="304"/>
                  <a:pt x="329" y="302"/>
                  <a:pt x="329" y="302"/>
                </a:cubicBezTo>
                <a:cubicBezTo>
                  <a:pt x="330" y="302"/>
                  <a:pt x="330" y="301"/>
                  <a:pt x="331" y="301"/>
                </a:cubicBezTo>
                <a:cubicBezTo>
                  <a:pt x="331" y="301"/>
                  <a:pt x="331" y="302"/>
                  <a:pt x="331" y="303"/>
                </a:cubicBezTo>
                <a:cubicBezTo>
                  <a:pt x="331" y="303"/>
                  <a:pt x="330" y="304"/>
                  <a:pt x="330" y="304"/>
                </a:cubicBezTo>
                <a:cubicBezTo>
                  <a:pt x="330" y="305"/>
                  <a:pt x="331" y="305"/>
                  <a:pt x="331" y="305"/>
                </a:cubicBezTo>
                <a:cubicBezTo>
                  <a:pt x="332" y="306"/>
                  <a:pt x="332" y="306"/>
                  <a:pt x="333" y="307"/>
                </a:cubicBezTo>
                <a:cubicBezTo>
                  <a:pt x="333" y="307"/>
                  <a:pt x="335" y="309"/>
                  <a:pt x="336" y="309"/>
                </a:cubicBezTo>
                <a:cubicBezTo>
                  <a:pt x="337" y="308"/>
                  <a:pt x="338" y="308"/>
                  <a:pt x="339" y="309"/>
                </a:cubicBezTo>
                <a:cubicBezTo>
                  <a:pt x="339" y="310"/>
                  <a:pt x="339" y="311"/>
                  <a:pt x="340" y="312"/>
                </a:cubicBezTo>
                <a:cubicBezTo>
                  <a:pt x="340" y="311"/>
                  <a:pt x="340" y="309"/>
                  <a:pt x="340" y="308"/>
                </a:cubicBezTo>
                <a:cubicBezTo>
                  <a:pt x="339" y="310"/>
                  <a:pt x="339" y="308"/>
                  <a:pt x="338" y="307"/>
                </a:cubicBezTo>
                <a:cubicBezTo>
                  <a:pt x="339" y="307"/>
                  <a:pt x="344" y="306"/>
                  <a:pt x="345" y="306"/>
                </a:cubicBezTo>
                <a:cubicBezTo>
                  <a:pt x="347" y="305"/>
                  <a:pt x="348" y="303"/>
                  <a:pt x="350" y="301"/>
                </a:cubicBezTo>
                <a:cubicBezTo>
                  <a:pt x="353" y="300"/>
                  <a:pt x="355" y="297"/>
                  <a:pt x="358" y="296"/>
                </a:cubicBezTo>
                <a:cubicBezTo>
                  <a:pt x="361" y="296"/>
                  <a:pt x="364" y="296"/>
                  <a:pt x="367" y="296"/>
                </a:cubicBezTo>
                <a:cubicBezTo>
                  <a:pt x="368" y="296"/>
                  <a:pt x="369" y="296"/>
                  <a:pt x="369" y="296"/>
                </a:cubicBezTo>
                <a:cubicBezTo>
                  <a:pt x="370" y="296"/>
                  <a:pt x="372" y="295"/>
                  <a:pt x="372" y="295"/>
                </a:cubicBezTo>
                <a:cubicBezTo>
                  <a:pt x="373" y="294"/>
                  <a:pt x="374" y="293"/>
                  <a:pt x="374" y="292"/>
                </a:cubicBezTo>
                <a:cubicBezTo>
                  <a:pt x="376" y="292"/>
                  <a:pt x="377" y="293"/>
                  <a:pt x="377" y="291"/>
                </a:cubicBezTo>
                <a:cubicBezTo>
                  <a:pt x="377" y="291"/>
                  <a:pt x="378" y="290"/>
                  <a:pt x="377" y="289"/>
                </a:cubicBezTo>
                <a:cubicBezTo>
                  <a:pt x="377" y="288"/>
                  <a:pt x="377" y="288"/>
                  <a:pt x="376" y="288"/>
                </a:cubicBezTo>
                <a:cubicBezTo>
                  <a:pt x="376" y="287"/>
                  <a:pt x="376" y="286"/>
                  <a:pt x="376" y="286"/>
                </a:cubicBezTo>
                <a:cubicBezTo>
                  <a:pt x="376" y="284"/>
                  <a:pt x="377" y="282"/>
                  <a:pt x="377" y="281"/>
                </a:cubicBezTo>
                <a:cubicBezTo>
                  <a:pt x="378" y="278"/>
                  <a:pt x="379" y="274"/>
                  <a:pt x="380" y="271"/>
                </a:cubicBezTo>
                <a:cubicBezTo>
                  <a:pt x="381" y="269"/>
                  <a:pt x="382" y="267"/>
                  <a:pt x="383" y="266"/>
                </a:cubicBezTo>
                <a:cubicBezTo>
                  <a:pt x="383" y="265"/>
                  <a:pt x="386" y="265"/>
                  <a:pt x="384" y="264"/>
                </a:cubicBezTo>
                <a:cubicBezTo>
                  <a:pt x="386" y="264"/>
                  <a:pt x="385" y="264"/>
                  <a:pt x="385" y="263"/>
                </a:cubicBezTo>
                <a:cubicBezTo>
                  <a:pt x="385" y="262"/>
                  <a:pt x="385" y="262"/>
                  <a:pt x="385" y="261"/>
                </a:cubicBezTo>
                <a:cubicBezTo>
                  <a:pt x="385" y="260"/>
                  <a:pt x="386" y="259"/>
                  <a:pt x="386" y="258"/>
                </a:cubicBezTo>
                <a:cubicBezTo>
                  <a:pt x="386" y="258"/>
                  <a:pt x="386" y="258"/>
                  <a:pt x="385" y="258"/>
                </a:cubicBezTo>
                <a:cubicBezTo>
                  <a:pt x="386" y="257"/>
                  <a:pt x="387" y="255"/>
                  <a:pt x="388" y="254"/>
                </a:cubicBezTo>
                <a:cubicBezTo>
                  <a:pt x="388" y="254"/>
                  <a:pt x="388" y="253"/>
                  <a:pt x="388" y="253"/>
                </a:cubicBezTo>
                <a:cubicBezTo>
                  <a:pt x="387" y="252"/>
                  <a:pt x="387" y="251"/>
                  <a:pt x="387" y="250"/>
                </a:cubicBezTo>
                <a:cubicBezTo>
                  <a:pt x="387" y="249"/>
                  <a:pt x="388" y="247"/>
                  <a:pt x="389" y="247"/>
                </a:cubicBezTo>
                <a:cubicBezTo>
                  <a:pt x="390" y="247"/>
                  <a:pt x="390" y="247"/>
                  <a:pt x="390" y="248"/>
                </a:cubicBezTo>
                <a:cubicBezTo>
                  <a:pt x="390" y="247"/>
                  <a:pt x="390" y="247"/>
                  <a:pt x="390" y="246"/>
                </a:cubicBezTo>
                <a:cubicBezTo>
                  <a:pt x="390" y="247"/>
                  <a:pt x="391" y="246"/>
                  <a:pt x="391" y="245"/>
                </a:cubicBezTo>
                <a:cubicBezTo>
                  <a:pt x="392" y="244"/>
                  <a:pt x="393" y="243"/>
                  <a:pt x="394" y="241"/>
                </a:cubicBezTo>
                <a:cubicBezTo>
                  <a:pt x="395" y="240"/>
                  <a:pt x="395" y="239"/>
                  <a:pt x="397" y="238"/>
                </a:cubicBezTo>
                <a:cubicBezTo>
                  <a:pt x="398" y="238"/>
                  <a:pt x="401" y="237"/>
                  <a:pt x="398" y="237"/>
                </a:cubicBezTo>
                <a:cubicBezTo>
                  <a:pt x="400" y="236"/>
                  <a:pt x="402" y="235"/>
                  <a:pt x="403" y="233"/>
                </a:cubicBezTo>
                <a:cubicBezTo>
                  <a:pt x="403" y="233"/>
                  <a:pt x="403" y="232"/>
                  <a:pt x="403" y="232"/>
                </a:cubicBezTo>
                <a:cubicBezTo>
                  <a:pt x="403" y="231"/>
                  <a:pt x="403" y="230"/>
                  <a:pt x="403" y="230"/>
                </a:cubicBezTo>
                <a:cubicBezTo>
                  <a:pt x="404" y="228"/>
                  <a:pt x="405" y="227"/>
                  <a:pt x="405" y="226"/>
                </a:cubicBezTo>
                <a:cubicBezTo>
                  <a:pt x="407" y="224"/>
                  <a:pt x="407" y="222"/>
                  <a:pt x="407" y="220"/>
                </a:cubicBezTo>
                <a:cubicBezTo>
                  <a:pt x="408" y="217"/>
                  <a:pt x="407" y="214"/>
                  <a:pt x="408" y="211"/>
                </a:cubicBezTo>
                <a:cubicBezTo>
                  <a:pt x="409" y="209"/>
                  <a:pt x="410" y="207"/>
                  <a:pt x="411" y="204"/>
                </a:cubicBezTo>
                <a:cubicBezTo>
                  <a:pt x="411" y="201"/>
                  <a:pt x="411" y="199"/>
                  <a:pt x="412" y="196"/>
                </a:cubicBezTo>
                <a:cubicBezTo>
                  <a:pt x="412" y="195"/>
                  <a:pt x="413" y="194"/>
                  <a:pt x="413" y="193"/>
                </a:cubicBezTo>
                <a:cubicBezTo>
                  <a:pt x="414" y="192"/>
                  <a:pt x="414" y="191"/>
                  <a:pt x="413" y="189"/>
                </a:cubicBezTo>
                <a:cubicBezTo>
                  <a:pt x="413" y="186"/>
                  <a:pt x="413" y="183"/>
                  <a:pt x="411" y="180"/>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60" name="Freeform 2816">
            <a:extLst>
              <a:ext uri="{FF2B5EF4-FFF2-40B4-BE49-F238E27FC236}">
                <a16:creationId xmlns:a16="http://schemas.microsoft.com/office/drawing/2014/main" id="{42C7FB45-F6D2-4A8B-95CF-00158F02D498}"/>
              </a:ext>
            </a:extLst>
          </p:cNvPr>
          <p:cNvSpPr>
            <a:spLocks/>
          </p:cNvSpPr>
          <p:nvPr/>
        </p:nvSpPr>
        <p:spPr bwMode="auto">
          <a:xfrm>
            <a:off x="4458474" y="3641052"/>
            <a:ext cx="991" cy="4155"/>
          </a:xfrm>
          <a:custGeom>
            <a:avLst/>
            <a:gdLst>
              <a:gd name="T0" fmla="*/ 1 w 1"/>
              <a:gd name="T1" fmla="*/ 3 h 3"/>
              <a:gd name="T2" fmla="*/ 1 w 1"/>
              <a:gd name="T3" fmla="*/ 0 h 3"/>
              <a:gd name="T4" fmla="*/ 1 w 1"/>
              <a:gd name="T5" fmla="*/ 3 h 3"/>
            </a:gdLst>
            <a:ahLst/>
            <a:cxnLst>
              <a:cxn ang="0">
                <a:pos x="T0" y="T1"/>
              </a:cxn>
              <a:cxn ang="0">
                <a:pos x="T2" y="T3"/>
              </a:cxn>
              <a:cxn ang="0">
                <a:pos x="T4" y="T5"/>
              </a:cxn>
            </a:cxnLst>
            <a:rect l="0" t="0" r="r" b="b"/>
            <a:pathLst>
              <a:path w="1" h="3">
                <a:moveTo>
                  <a:pt x="1" y="3"/>
                </a:moveTo>
                <a:cubicBezTo>
                  <a:pt x="1" y="2"/>
                  <a:pt x="1" y="1"/>
                  <a:pt x="1" y="0"/>
                </a:cubicBezTo>
                <a:cubicBezTo>
                  <a:pt x="0" y="1"/>
                  <a:pt x="1" y="2"/>
                  <a:pt x="1" y="3"/>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61" name="Freeform 2817">
            <a:extLst>
              <a:ext uri="{FF2B5EF4-FFF2-40B4-BE49-F238E27FC236}">
                <a16:creationId xmlns:a16="http://schemas.microsoft.com/office/drawing/2014/main" id="{B37F88D6-CB19-4897-B5A0-17302132EA61}"/>
              </a:ext>
            </a:extLst>
          </p:cNvPr>
          <p:cNvSpPr>
            <a:spLocks/>
          </p:cNvSpPr>
          <p:nvPr/>
        </p:nvSpPr>
        <p:spPr bwMode="auto">
          <a:xfrm>
            <a:off x="4460456" y="3653518"/>
            <a:ext cx="1487" cy="1187"/>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1" y="0"/>
                  <a:pt x="1" y="0"/>
                </a:cubicBezTo>
                <a:cubicBezTo>
                  <a:pt x="0" y="0"/>
                  <a:pt x="0" y="0"/>
                  <a:pt x="0"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62" name="Freeform 2818">
            <a:extLst>
              <a:ext uri="{FF2B5EF4-FFF2-40B4-BE49-F238E27FC236}">
                <a16:creationId xmlns:a16="http://schemas.microsoft.com/office/drawing/2014/main" id="{7FF68BDB-AA26-4404-932A-B25386B6E8D9}"/>
              </a:ext>
            </a:extLst>
          </p:cNvPr>
          <p:cNvSpPr>
            <a:spLocks/>
          </p:cNvSpPr>
          <p:nvPr/>
        </p:nvSpPr>
        <p:spPr bwMode="auto">
          <a:xfrm>
            <a:off x="4449058" y="3572195"/>
            <a:ext cx="991" cy="2374"/>
          </a:xfrm>
          <a:custGeom>
            <a:avLst/>
            <a:gdLst>
              <a:gd name="T0" fmla="*/ 1 w 1"/>
              <a:gd name="T1" fmla="*/ 0 h 2"/>
              <a:gd name="T2" fmla="*/ 0 w 1"/>
              <a:gd name="T3" fmla="*/ 1 h 2"/>
              <a:gd name="T4" fmla="*/ 1 w 1"/>
              <a:gd name="T5" fmla="*/ 2 h 2"/>
              <a:gd name="T6" fmla="*/ 1 w 1"/>
              <a:gd name="T7" fmla="*/ 1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1" y="1"/>
                  <a:pt x="0" y="1"/>
                  <a:pt x="0" y="1"/>
                </a:cubicBezTo>
                <a:cubicBezTo>
                  <a:pt x="0" y="2"/>
                  <a:pt x="1" y="2"/>
                  <a:pt x="1" y="2"/>
                </a:cubicBezTo>
                <a:cubicBezTo>
                  <a:pt x="1" y="2"/>
                  <a:pt x="1" y="1"/>
                  <a:pt x="1" y="1"/>
                </a:cubicBezTo>
                <a:cubicBezTo>
                  <a:pt x="1" y="1"/>
                  <a:pt x="1" y="1"/>
                  <a:pt x="1"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63" name="Freeform 2819">
            <a:extLst>
              <a:ext uri="{FF2B5EF4-FFF2-40B4-BE49-F238E27FC236}">
                <a16:creationId xmlns:a16="http://schemas.microsoft.com/office/drawing/2014/main" id="{42391E48-9CA0-4860-8678-5A8CEBA7ED6B}"/>
              </a:ext>
            </a:extLst>
          </p:cNvPr>
          <p:cNvSpPr>
            <a:spLocks/>
          </p:cNvSpPr>
          <p:nvPr/>
        </p:nvSpPr>
        <p:spPr bwMode="auto">
          <a:xfrm>
            <a:off x="4455005" y="3639271"/>
            <a:ext cx="991" cy="1781"/>
          </a:xfrm>
          <a:custGeom>
            <a:avLst/>
            <a:gdLst>
              <a:gd name="T0" fmla="*/ 0 w 1"/>
              <a:gd name="T1" fmla="*/ 0 h 1"/>
              <a:gd name="T2" fmla="*/ 0 w 1"/>
              <a:gd name="T3" fmla="*/ 1 h 1"/>
              <a:gd name="T4" fmla="*/ 1 w 1"/>
              <a:gd name="T5" fmla="*/ 1 h 1"/>
              <a:gd name="T6" fmla="*/ 0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1"/>
                </a:cubicBezTo>
                <a:cubicBezTo>
                  <a:pt x="0" y="1"/>
                  <a:pt x="0" y="1"/>
                  <a:pt x="1" y="1"/>
                </a:cubicBezTo>
                <a:cubicBezTo>
                  <a:pt x="0" y="1"/>
                  <a:pt x="0" y="1"/>
                  <a:pt x="0" y="1"/>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64" name="Freeform 2820">
            <a:extLst>
              <a:ext uri="{FF2B5EF4-FFF2-40B4-BE49-F238E27FC236}">
                <a16:creationId xmlns:a16="http://schemas.microsoft.com/office/drawing/2014/main" id="{2EDA9E09-13DF-40BC-9263-454CBA1333A7}"/>
              </a:ext>
            </a:extLst>
          </p:cNvPr>
          <p:cNvSpPr>
            <a:spLocks/>
          </p:cNvSpPr>
          <p:nvPr/>
        </p:nvSpPr>
        <p:spPr bwMode="auto">
          <a:xfrm>
            <a:off x="4445589" y="3601281"/>
            <a:ext cx="1982" cy="8310"/>
          </a:xfrm>
          <a:custGeom>
            <a:avLst/>
            <a:gdLst>
              <a:gd name="T0" fmla="*/ 0 w 2"/>
              <a:gd name="T1" fmla="*/ 2 h 6"/>
              <a:gd name="T2" fmla="*/ 0 w 2"/>
              <a:gd name="T3" fmla="*/ 4 h 6"/>
              <a:gd name="T4" fmla="*/ 0 w 2"/>
              <a:gd name="T5" fmla="*/ 4 h 6"/>
              <a:gd name="T6" fmla="*/ 2 w 2"/>
              <a:gd name="T7" fmla="*/ 2 h 6"/>
              <a:gd name="T8" fmla="*/ 2 w 2"/>
              <a:gd name="T9" fmla="*/ 2 h 6"/>
              <a:gd name="T10" fmla="*/ 0 w 2"/>
              <a:gd name="T11" fmla="*/ 2 h 6"/>
            </a:gdLst>
            <a:ahLst/>
            <a:cxnLst>
              <a:cxn ang="0">
                <a:pos x="T0" y="T1"/>
              </a:cxn>
              <a:cxn ang="0">
                <a:pos x="T2" y="T3"/>
              </a:cxn>
              <a:cxn ang="0">
                <a:pos x="T4" y="T5"/>
              </a:cxn>
              <a:cxn ang="0">
                <a:pos x="T6" y="T7"/>
              </a:cxn>
              <a:cxn ang="0">
                <a:pos x="T8" y="T9"/>
              </a:cxn>
              <a:cxn ang="0">
                <a:pos x="T10" y="T11"/>
              </a:cxn>
            </a:cxnLst>
            <a:rect l="0" t="0" r="r" b="b"/>
            <a:pathLst>
              <a:path w="2" h="6">
                <a:moveTo>
                  <a:pt x="0" y="2"/>
                </a:moveTo>
                <a:cubicBezTo>
                  <a:pt x="0" y="2"/>
                  <a:pt x="0" y="3"/>
                  <a:pt x="0" y="4"/>
                </a:cubicBezTo>
                <a:cubicBezTo>
                  <a:pt x="0" y="4"/>
                  <a:pt x="0" y="4"/>
                  <a:pt x="0" y="4"/>
                </a:cubicBezTo>
                <a:cubicBezTo>
                  <a:pt x="2" y="6"/>
                  <a:pt x="2" y="3"/>
                  <a:pt x="2" y="2"/>
                </a:cubicBezTo>
                <a:cubicBezTo>
                  <a:pt x="2" y="2"/>
                  <a:pt x="2" y="2"/>
                  <a:pt x="2" y="2"/>
                </a:cubicBezTo>
                <a:cubicBezTo>
                  <a:pt x="2" y="0"/>
                  <a:pt x="0" y="1"/>
                  <a:pt x="0" y="2"/>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65" name="Freeform 2821">
            <a:extLst>
              <a:ext uri="{FF2B5EF4-FFF2-40B4-BE49-F238E27FC236}">
                <a16:creationId xmlns:a16="http://schemas.microsoft.com/office/drawing/2014/main" id="{6742BC42-A9DA-4738-8271-609758E14A61}"/>
              </a:ext>
            </a:extLst>
          </p:cNvPr>
          <p:cNvSpPr>
            <a:spLocks/>
          </p:cNvSpPr>
          <p:nvPr/>
        </p:nvSpPr>
        <p:spPr bwMode="auto">
          <a:xfrm>
            <a:off x="4455996" y="3643427"/>
            <a:ext cx="2478" cy="2968"/>
          </a:xfrm>
          <a:custGeom>
            <a:avLst/>
            <a:gdLst>
              <a:gd name="T0" fmla="*/ 2 w 2"/>
              <a:gd name="T1" fmla="*/ 2 h 2"/>
              <a:gd name="T2" fmla="*/ 2 w 2"/>
              <a:gd name="T3" fmla="*/ 0 h 2"/>
              <a:gd name="T4" fmla="*/ 2 w 2"/>
              <a:gd name="T5" fmla="*/ 2 h 2"/>
            </a:gdLst>
            <a:ahLst/>
            <a:cxnLst>
              <a:cxn ang="0">
                <a:pos x="T0" y="T1"/>
              </a:cxn>
              <a:cxn ang="0">
                <a:pos x="T2" y="T3"/>
              </a:cxn>
              <a:cxn ang="0">
                <a:pos x="T4" y="T5"/>
              </a:cxn>
            </a:cxnLst>
            <a:rect l="0" t="0" r="r" b="b"/>
            <a:pathLst>
              <a:path w="2" h="2">
                <a:moveTo>
                  <a:pt x="2" y="2"/>
                </a:moveTo>
                <a:cubicBezTo>
                  <a:pt x="2" y="1"/>
                  <a:pt x="2" y="1"/>
                  <a:pt x="2" y="0"/>
                </a:cubicBezTo>
                <a:cubicBezTo>
                  <a:pt x="0" y="1"/>
                  <a:pt x="1" y="2"/>
                  <a:pt x="2" y="2"/>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66" name="Freeform 2822">
            <a:extLst>
              <a:ext uri="{FF2B5EF4-FFF2-40B4-BE49-F238E27FC236}">
                <a16:creationId xmlns:a16="http://schemas.microsoft.com/office/drawing/2014/main" id="{DCB6BE77-BDF6-4B91-A65E-00CAF15BB9E5}"/>
              </a:ext>
            </a:extLst>
          </p:cNvPr>
          <p:cNvSpPr>
            <a:spLocks/>
          </p:cNvSpPr>
          <p:nvPr/>
        </p:nvSpPr>
        <p:spPr bwMode="auto">
          <a:xfrm>
            <a:off x="4451041" y="3563291"/>
            <a:ext cx="3964" cy="18401"/>
          </a:xfrm>
          <a:custGeom>
            <a:avLst/>
            <a:gdLst>
              <a:gd name="T0" fmla="*/ 2 w 3"/>
              <a:gd name="T1" fmla="*/ 3 h 13"/>
              <a:gd name="T2" fmla="*/ 2 w 3"/>
              <a:gd name="T3" fmla="*/ 2 h 13"/>
              <a:gd name="T4" fmla="*/ 2 w 3"/>
              <a:gd name="T5" fmla="*/ 2 h 13"/>
              <a:gd name="T6" fmla="*/ 2 w 3"/>
              <a:gd name="T7" fmla="*/ 0 h 13"/>
              <a:gd name="T8" fmla="*/ 0 w 3"/>
              <a:gd name="T9" fmla="*/ 6 h 13"/>
              <a:gd name="T10" fmla="*/ 0 w 3"/>
              <a:gd name="T11" fmla="*/ 7 h 13"/>
              <a:gd name="T12" fmla="*/ 0 w 3"/>
              <a:gd name="T13" fmla="*/ 7 h 13"/>
              <a:gd name="T14" fmla="*/ 0 w 3"/>
              <a:gd name="T15" fmla="*/ 10 h 13"/>
              <a:gd name="T16" fmla="*/ 0 w 3"/>
              <a:gd name="T17" fmla="*/ 13 h 13"/>
              <a:gd name="T18" fmla="*/ 0 w 3"/>
              <a:gd name="T19" fmla="*/ 13 h 13"/>
              <a:gd name="T20" fmla="*/ 0 w 3"/>
              <a:gd name="T21" fmla="*/ 13 h 13"/>
              <a:gd name="T22" fmla="*/ 2 w 3"/>
              <a:gd name="T23" fmla="*/ 11 h 13"/>
              <a:gd name="T24" fmla="*/ 1 w 3"/>
              <a:gd name="T25" fmla="*/ 9 h 13"/>
              <a:gd name="T26" fmla="*/ 1 w 3"/>
              <a:gd name="T27" fmla="*/ 7 h 13"/>
              <a:gd name="T28" fmla="*/ 1 w 3"/>
              <a:gd name="T29" fmla="*/ 7 h 13"/>
              <a:gd name="T30" fmla="*/ 1 w 3"/>
              <a:gd name="T31" fmla="*/ 5 h 13"/>
              <a:gd name="T32" fmla="*/ 2 w 3"/>
              <a:gd name="T33" fmla="*/ 5 h 13"/>
              <a:gd name="T34" fmla="*/ 2 w 3"/>
              <a:gd name="T35" fmla="*/ 4 h 13"/>
              <a:gd name="T36" fmla="*/ 2 w 3"/>
              <a:gd name="T37"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 h="13">
                <a:moveTo>
                  <a:pt x="2" y="3"/>
                </a:moveTo>
                <a:cubicBezTo>
                  <a:pt x="2" y="2"/>
                  <a:pt x="2" y="3"/>
                  <a:pt x="2" y="2"/>
                </a:cubicBezTo>
                <a:cubicBezTo>
                  <a:pt x="2" y="3"/>
                  <a:pt x="3" y="1"/>
                  <a:pt x="2" y="2"/>
                </a:cubicBezTo>
                <a:cubicBezTo>
                  <a:pt x="3" y="1"/>
                  <a:pt x="2" y="0"/>
                  <a:pt x="2" y="0"/>
                </a:cubicBezTo>
                <a:cubicBezTo>
                  <a:pt x="2" y="2"/>
                  <a:pt x="1" y="4"/>
                  <a:pt x="0" y="6"/>
                </a:cubicBezTo>
                <a:cubicBezTo>
                  <a:pt x="0" y="6"/>
                  <a:pt x="0" y="7"/>
                  <a:pt x="0" y="7"/>
                </a:cubicBezTo>
                <a:cubicBezTo>
                  <a:pt x="0" y="7"/>
                  <a:pt x="0" y="7"/>
                  <a:pt x="0" y="7"/>
                </a:cubicBezTo>
                <a:cubicBezTo>
                  <a:pt x="0" y="7"/>
                  <a:pt x="0" y="9"/>
                  <a:pt x="0" y="10"/>
                </a:cubicBezTo>
                <a:cubicBezTo>
                  <a:pt x="0" y="12"/>
                  <a:pt x="0" y="13"/>
                  <a:pt x="0" y="13"/>
                </a:cubicBezTo>
                <a:cubicBezTo>
                  <a:pt x="0" y="13"/>
                  <a:pt x="0" y="13"/>
                  <a:pt x="0" y="13"/>
                </a:cubicBezTo>
                <a:cubicBezTo>
                  <a:pt x="0" y="13"/>
                  <a:pt x="0" y="13"/>
                  <a:pt x="0" y="13"/>
                </a:cubicBezTo>
                <a:cubicBezTo>
                  <a:pt x="1" y="13"/>
                  <a:pt x="2" y="12"/>
                  <a:pt x="2" y="11"/>
                </a:cubicBezTo>
                <a:cubicBezTo>
                  <a:pt x="2" y="10"/>
                  <a:pt x="2" y="9"/>
                  <a:pt x="1" y="9"/>
                </a:cubicBezTo>
                <a:cubicBezTo>
                  <a:pt x="1" y="8"/>
                  <a:pt x="1" y="7"/>
                  <a:pt x="1" y="7"/>
                </a:cubicBezTo>
                <a:cubicBezTo>
                  <a:pt x="1" y="7"/>
                  <a:pt x="1" y="7"/>
                  <a:pt x="1" y="7"/>
                </a:cubicBezTo>
                <a:cubicBezTo>
                  <a:pt x="1" y="7"/>
                  <a:pt x="1" y="6"/>
                  <a:pt x="1" y="5"/>
                </a:cubicBezTo>
                <a:cubicBezTo>
                  <a:pt x="1" y="5"/>
                  <a:pt x="2" y="5"/>
                  <a:pt x="2" y="5"/>
                </a:cubicBezTo>
                <a:cubicBezTo>
                  <a:pt x="3" y="4"/>
                  <a:pt x="3" y="4"/>
                  <a:pt x="2" y="4"/>
                </a:cubicBezTo>
                <a:cubicBezTo>
                  <a:pt x="2" y="3"/>
                  <a:pt x="2" y="3"/>
                  <a:pt x="2" y="3"/>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67" name="Freeform 2823">
            <a:extLst>
              <a:ext uri="{FF2B5EF4-FFF2-40B4-BE49-F238E27FC236}">
                <a16:creationId xmlns:a16="http://schemas.microsoft.com/office/drawing/2014/main" id="{8A866FB8-E6DB-4706-A9C2-0EEB856E2F89}"/>
              </a:ext>
            </a:extLst>
          </p:cNvPr>
          <p:cNvSpPr>
            <a:spLocks/>
          </p:cNvSpPr>
          <p:nvPr/>
        </p:nvSpPr>
        <p:spPr bwMode="auto">
          <a:xfrm>
            <a:off x="4447572" y="3581693"/>
            <a:ext cx="4956" cy="11278"/>
          </a:xfrm>
          <a:custGeom>
            <a:avLst/>
            <a:gdLst>
              <a:gd name="T0" fmla="*/ 2 w 4"/>
              <a:gd name="T1" fmla="*/ 2 h 8"/>
              <a:gd name="T2" fmla="*/ 2 w 4"/>
              <a:gd name="T3" fmla="*/ 2 h 8"/>
              <a:gd name="T4" fmla="*/ 1 w 4"/>
              <a:gd name="T5" fmla="*/ 2 h 8"/>
              <a:gd name="T6" fmla="*/ 1 w 4"/>
              <a:gd name="T7" fmla="*/ 3 h 8"/>
              <a:gd name="T8" fmla="*/ 1 w 4"/>
              <a:gd name="T9" fmla="*/ 4 h 8"/>
              <a:gd name="T10" fmla="*/ 0 w 4"/>
              <a:gd name="T11" fmla="*/ 5 h 8"/>
              <a:gd name="T12" fmla="*/ 1 w 4"/>
              <a:gd name="T13" fmla="*/ 6 h 8"/>
              <a:gd name="T14" fmla="*/ 1 w 4"/>
              <a:gd name="T15" fmla="*/ 7 h 8"/>
              <a:gd name="T16" fmla="*/ 2 w 4"/>
              <a:gd name="T17" fmla="*/ 8 h 8"/>
              <a:gd name="T18" fmla="*/ 2 w 4"/>
              <a:gd name="T19" fmla="*/ 6 h 8"/>
              <a:gd name="T20" fmla="*/ 2 w 4"/>
              <a:gd name="T21" fmla="*/ 3 h 8"/>
              <a:gd name="T22" fmla="*/ 3 w 4"/>
              <a:gd name="T23" fmla="*/ 1 h 8"/>
              <a:gd name="T24" fmla="*/ 4 w 4"/>
              <a:gd name="T25" fmla="*/ 0 h 8"/>
              <a:gd name="T26" fmla="*/ 3 w 4"/>
              <a:gd name="T27" fmla="*/ 0 h 8"/>
              <a:gd name="T28" fmla="*/ 3 w 4"/>
              <a:gd name="T29" fmla="*/ 0 h 8"/>
              <a:gd name="T30" fmla="*/ 2 w 4"/>
              <a:gd name="T3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8">
                <a:moveTo>
                  <a:pt x="2" y="2"/>
                </a:moveTo>
                <a:cubicBezTo>
                  <a:pt x="2" y="2"/>
                  <a:pt x="2" y="2"/>
                  <a:pt x="2" y="2"/>
                </a:cubicBezTo>
                <a:cubicBezTo>
                  <a:pt x="2" y="1"/>
                  <a:pt x="1" y="1"/>
                  <a:pt x="1" y="2"/>
                </a:cubicBezTo>
                <a:cubicBezTo>
                  <a:pt x="1" y="2"/>
                  <a:pt x="1" y="3"/>
                  <a:pt x="1" y="3"/>
                </a:cubicBezTo>
                <a:cubicBezTo>
                  <a:pt x="1" y="3"/>
                  <a:pt x="1" y="4"/>
                  <a:pt x="1" y="4"/>
                </a:cubicBezTo>
                <a:cubicBezTo>
                  <a:pt x="0" y="4"/>
                  <a:pt x="0" y="4"/>
                  <a:pt x="0" y="5"/>
                </a:cubicBezTo>
                <a:cubicBezTo>
                  <a:pt x="0" y="6"/>
                  <a:pt x="1" y="6"/>
                  <a:pt x="1" y="6"/>
                </a:cubicBezTo>
                <a:cubicBezTo>
                  <a:pt x="1" y="7"/>
                  <a:pt x="1" y="7"/>
                  <a:pt x="1" y="7"/>
                </a:cubicBezTo>
                <a:cubicBezTo>
                  <a:pt x="1" y="8"/>
                  <a:pt x="1" y="8"/>
                  <a:pt x="2" y="8"/>
                </a:cubicBezTo>
                <a:cubicBezTo>
                  <a:pt x="2" y="8"/>
                  <a:pt x="2" y="7"/>
                  <a:pt x="2" y="6"/>
                </a:cubicBezTo>
                <a:cubicBezTo>
                  <a:pt x="2" y="5"/>
                  <a:pt x="2" y="4"/>
                  <a:pt x="2" y="3"/>
                </a:cubicBezTo>
                <a:cubicBezTo>
                  <a:pt x="3" y="2"/>
                  <a:pt x="3" y="1"/>
                  <a:pt x="3" y="1"/>
                </a:cubicBezTo>
                <a:cubicBezTo>
                  <a:pt x="3" y="0"/>
                  <a:pt x="3" y="0"/>
                  <a:pt x="4" y="0"/>
                </a:cubicBezTo>
                <a:cubicBezTo>
                  <a:pt x="3" y="0"/>
                  <a:pt x="3" y="0"/>
                  <a:pt x="3" y="0"/>
                </a:cubicBezTo>
                <a:cubicBezTo>
                  <a:pt x="3" y="0"/>
                  <a:pt x="3" y="0"/>
                  <a:pt x="3" y="0"/>
                </a:cubicBezTo>
                <a:cubicBezTo>
                  <a:pt x="2" y="0"/>
                  <a:pt x="2" y="1"/>
                  <a:pt x="2" y="2"/>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68" name="Freeform 2824">
            <a:extLst>
              <a:ext uri="{FF2B5EF4-FFF2-40B4-BE49-F238E27FC236}">
                <a16:creationId xmlns:a16="http://schemas.microsoft.com/office/drawing/2014/main" id="{F5F69245-1877-46E6-9373-BDC1E75E619F}"/>
              </a:ext>
            </a:extLst>
          </p:cNvPr>
          <p:cNvSpPr>
            <a:spLocks/>
          </p:cNvSpPr>
          <p:nvPr/>
        </p:nvSpPr>
        <p:spPr bwMode="auto">
          <a:xfrm>
            <a:off x="4449058" y="3592971"/>
            <a:ext cx="991" cy="2968"/>
          </a:xfrm>
          <a:custGeom>
            <a:avLst/>
            <a:gdLst>
              <a:gd name="T0" fmla="*/ 0 w 1"/>
              <a:gd name="T1" fmla="*/ 2 h 2"/>
              <a:gd name="T2" fmla="*/ 0 w 1"/>
              <a:gd name="T3" fmla="*/ 0 h 2"/>
              <a:gd name="T4" fmla="*/ 0 w 1"/>
              <a:gd name="T5" fmla="*/ 2 h 2"/>
            </a:gdLst>
            <a:ahLst/>
            <a:cxnLst>
              <a:cxn ang="0">
                <a:pos x="T0" y="T1"/>
              </a:cxn>
              <a:cxn ang="0">
                <a:pos x="T2" y="T3"/>
              </a:cxn>
              <a:cxn ang="0">
                <a:pos x="T4" y="T5"/>
              </a:cxn>
            </a:cxnLst>
            <a:rect l="0" t="0" r="r" b="b"/>
            <a:pathLst>
              <a:path w="1" h="2">
                <a:moveTo>
                  <a:pt x="0" y="2"/>
                </a:moveTo>
                <a:cubicBezTo>
                  <a:pt x="1" y="1"/>
                  <a:pt x="1" y="1"/>
                  <a:pt x="0" y="0"/>
                </a:cubicBezTo>
                <a:cubicBezTo>
                  <a:pt x="0" y="1"/>
                  <a:pt x="0" y="1"/>
                  <a:pt x="0" y="2"/>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69" name="Freeform 2825">
            <a:extLst>
              <a:ext uri="{FF2B5EF4-FFF2-40B4-BE49-F238E27FC236}">
                <a16:creationId xmlns:a16="http://schemas.microsoft.com/office/drawing/2014/main" id="{EA541403-F5A8-4A0E-B204-D2254A614515}"/>
              </a:ext>
            </a:extLst>
          </p:cNvPr>
          <p:cNvSpPr>
            <a:spLocks/>
          </p:cNvSpPr>
          <p:nvPr/>
        </p:nvSpPr>
        <p:spPr bwMode="auto">
          <a:xfrm>
            <a:off x="4450049" y="3626806"/>
            <a:ext cx="991" cy="1187"/>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0" y="0"/>
                  <a:pt x="1" y="0"/>
                </a:cubicBezTo>
                <a:cubicBezTo>
                  <a:pt x="0" y="0"/>
                  <a:pt x="0" y="0"/>
                  <a:pt x="0"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70" name="Freeform 2826">
            <a:extLst>
              <a:ext uri="{FF2B5EF4-FFF2-40B4-BE49-F238E27FC236}">
                <a16:creationId xmlns:a16="http://schemas.microsoft.com/office/drawing/2014/main" id="{F9CC44AB-4F96-4A76-80B2-09D97E3F0CB7}"/>
              </a:ext>
            </a:extLst>
          </p:cNvPr>
          <p:cNvSpPr>
            <a:spLocks/>
          </p:cNvSpPr>
          <p:nvPr/>
        </p:nvSpPr>
        <p:spPr bwMode="auto">
          <a:xfrm>
            <a:off x="4460456" y="3654705"/>
            <a:ext cx="3469" cy="7123"/>
          </a:xfrm>
          <a:custGeom>
            <a:avLst/>
            <a:gdLst>
              <a:gd name="T0" fmla="*/ 0 w 3"/>
              <a:gd name="T1" fmla="*/ 2 h 5"/>
              <a:gd name="T2" fmla="*/ 1 w 3"/>
              <a:gd name="T3" fmla="*/ 3 h 5"/>
              <a:gd name="T4" fmla="*/ 2 w 3"/>
              <a:gd name="T5" fmla="*/ 4 h 5"/>
              <a:gd name="T6" fmla="*/ 2 w 3"/>
              <a:gd name="T7" fmla="*/ 5 h 5"/>
              <a:gd name="T8" fmla="*/ 3 w 3"/>
              <a:gd name="T9" fmla="*/ 2 h 5"/>
              <a:gd name="T10" fmla="*/ 3 w 3"/>
              <a:gd name="T11" fmla="*/ 1 h 5"/>
              <a:gd name="T12" fmla="*/ 0 w 3"/>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0" y="2"/>
                </a:moveTo>
                <a:cubicBezTo>
                  <a:pt x="1" y="3"/>
                  <a:pt x="1" y="3"/>
                  <a:pt x="1" y="3"/>
                </a:cubicBezTo>
                <a:cubicBezTo>
                  <a:pt x="1" y="4"/>
                  <a:pt x="2" y="4"/>
                  <a:pt x="2" y="4"/>
                </a:cubicBezTo>
                <a:cubicBezTo>
                  <a:pt x="2" y="5"/>
                  <a:pt x="2" y="5"/>
                  <a:pt x="2" y="5"/>
                </a:cubicBezTo>
                <a:cubicBezTo>
                  <a:pt x="2" y="4"/>
                  <a:pt x="2" y="3"/>
                  <a:pt x="3" y="2"/>
                </a:cubicBezTo>
                <a:cubicBezTo>
                  <a:pt x="3" y="1"/>
                  <a:pt x="3" y="1"/>
                  <a:pt x="3" y="1"/>
                </a:cubicBezTo>
                <a:cubicBezTo>
                  <a:pt x="2" y="0"/>
                  <a:pt x="0" y="1"/>
                  <a:pt x="0" y="2"/>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71" name="Freeform 2827">
            <a:extLst>
              <a:ext uri="{FF2B5EF4-FFF2-40B4-BE49-F238E27FC236}">
                <a16:creationId xmlns:a16="http://schemas.microsoft.com/office/drawing/2014/main" id="{0D5C5122-D18B-46CD-8204-F2585F06C919}"/>
              </a:ext>
            </a:extLst>
          </p:cNvPr>
          <p:cNvSpPr>
            <a:spLocks/>
          </p:cNvSpPr>
          <p:nvPr/>
        </p:nvSpPr>
        <p:spPr bwMode="auto">
          <a:xfrm>
            <a:off x="4207720" y="3862463"/>
            <a:ext cx="991" cy="2968"/>
          </a:xfrm>
          <a:custGeom>
            <a:avLst/>
            <a:gdLst>
              <a:gd name="T0" fmla="*/ 0 w 1"/>
              <a:gd name="T1" fmla="*/ 2 h 2"/>
              <a:gd name="T2" fmla="*/ 0 w 1"/>
              <a:gd name="T3" fmla="*/ 0 h 2"/>
              <a:gd name="T4" fmla="*/ 0 w 1"/>
              <a:gd name="T5" fmla="*/ 2 h 2"/>
            </a:gdLst>
            <a:ahLst/>
            <a:cxnLst>
              <a:cxn ang="0">
                <a:pos x="T0" y="T1"/>
              </a:cxn>
              <a:cxn ang="0">
                <a:pos x="T2" y="T3"/>
              </a:cxn>
              <a:cxn ang="0">
                <a:pos x="T4" y="T5"/>
              </a:cxn>
            </a:cxnLst>
            <a:rect l="0" t="0" r="r" b="b"/>
            <a:pathLst>
              <a:path w="1" h="2">
                <a:moveTo>
                  <a:pt x="0" y="2"/>
                </a:moveTo>
                <a:cubicBezTo>
                  <a:pt x="0" y="2"/>
                  <a:pt x="1" y="1"/>
                  <a:pt x="0" y="0"/>
                </a:cubicBezTo>
                <a:cubicBezTo>
                  <a:pt x="0" y="1"/>
                  <a:pt x="0" y="2"/>
                  <a:pt x="0" y="2"/>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72" name="Freeform 2828">
            <a:extLst>
              <a:ext uri="{FF2B5EF4-FFF2-40B4-BE49-F238E27FC236}">
                <a16:creationId xmlns:a16="http://schemas.microsoft.com/office/drawing/2014/main" id="{C39EB597-18AF-4D9D-8CC5-58C7909F6E12}"/>
              </a:ext>
            </a:extLst>
          </p:cNvPr>
          <p:cNvSpPr>
            <a:spLocks/>
          </p:cNvSpPr>
          <p:nvPr/>
        </p:nvSpPr>
        <p:spPr bwMode="auto">
          <a:xfrm>
            <a:off x="4926779" y="3927165"/>
            <a:ext cx="1487" cy="1781"/>
          </a:xfrm>
          <a:custGeom>
            <a:avLst/>
            <a:gdLst>
              <a:gd name="T0" fmla="*/ 0 w 1"/>
              <a:gd name="T1" fmla="*/ 0 h 1"/>
              <a:gd name="T2" fmla="*/ 0 w 1"/>
              <a:gd name="T3" fmla="*/ 1 h 1"/>
              <a:gd name="T4" fmla="*/ 0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1"/>
                  <a:pt x="0" y="1"/>
                </a:cubicBezTo>
                <a:cubicBezTo>
                  <a:pt x="0" y="1"/>
                  <a:pt x="0" y="1"/>
                  <a:pt x="0" y="1"/>
                </a:cubicBezTo>
                <a:cubicBezTo>
                  <a:pt x="0" y="0"/>
                  <a:pt x="0" y="0"/>
                  <a:pt x="1" y="0"/>
                </a:cubicBezTo>
                <a:cubicBezTo>
                  <a:pt x="1"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73" name="Freeform 2829">
            <a:extLst>
              <a:ext uri="{FF2B5EF4-FFF2-40B4-BE49-F238E27FC236}">
                <a16:creationId xmlns:a16="http://schemas.microsoft.com/office/drawing/2014/main" id="{41FB0AD8-FCF7-4954-AA94-9C08959FA439}"/>
              </a:ext>
            </a:extLst>
          </p:cNvPr>
          <p:cNvSpPr>
            <a:spLocks/>
          </p:cNvSpPr>
          <p:nvPr/>
        </p:nvSpPr>
        <p:spPr bwMode="auto">
          <a:xfrm>
            <a:off x="4838073" y="3968123"/>
            <a:ext cx="991" cy="2968"/>
          </a:xfrm>
          <a:custGeom>
            <a:avLst/>
            <a:gdLst>
              <a:gd name="T0" fmla="*/ 0 w 1"/>
              <a:gd name="T1" fmla="*/ 2 h 2"/>
              <a:gd name="T2" fmla="*/ 0 w 1"/>
              <a:gd name="T3" fmla="*/ 1 h 2"/>
              <a:gd name="T4" fmla="*/ 1 w 1"/>
              <a:gd name="T5" fmla="*/ 1 h 2"/>
              <a:gd name="T6" fmla="*/ 1 w 1"/>
              <a:gd name="T7" fmla="*/ 0 h 2"/>
              <a:gd name="T8" fmla="*/ 1 w 1"/>
              <a:gd name="T9" fmla="*/ 0 h 2"/>
              <a:gd name="T10" fmla="*/ 0 w 1"/>
              <a:gd name="T11" fmla="*/ 0 h 2"/>
              <a:gd name="T12" fmla="*/ 0 w 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2"/>
                </a:moveTo>
                <a:cubicBezTo>
                  <a:pt x="0" y="2"/>
                  <a:pt x="0" y="1"/>
                  <a:pt x="0" y="1"/>
                </a:cubicBezTo>
                <a:cubicBezTo>
                  <a:pt x="1" y="1"/>
                  <a:pt x="1" y="1"/>
                  <a:pt x="1" y="1"/>
                </a:cubicBezTo>
                <a:cubicBezTo>
                  <a:pt x="1" y="1"/>
                  <a:pt x="1" y="1"/>
                  <a:pt x="1" y="0"/>
                </a:cubicBezTo>
                <a:cubicBezTo>
                  <a:pt x="1" y="0"/>
                  <a:pt x="1" y="0"/>
                  <a:pt x="1" y="0"/>
                </a:cubicBezTo>
                <a:cubicBezTo>
                  <a:pt x="1" y="0"/>
                  <a:pt x="1" y="0"/>
                  <a:pt x="0" y="0"/>
                </a:cubicBezTo>
                <a:cubicBezTo>
                  <a:pt x="0" y="1"/>
                  <a:pt x="0" y="1"/>
                  <a:pt x="0" y="2"/>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74" name="Freeform 2830">
            <a:extLst>
              <a:ext uri="{FF2B5EF4-FFF2-40B4-BE49-F238E27FC236}">
                <a16:creationId xmlns:a16="http://schemas.microsoft.com/office/drawing/2014/main" id="{BBCF4BCE-9109-48C5-A2CA-6E6F918F1C9C}"/>
              </a:ext>
            </a:extLst>
          </p:cNvPr>
          <p:cNvSpPr>
            <a:spLocks/>
          </p:cNvSpPr>
          <p:nvPr/>
        </p:nvSpPr>
        <p:spPr bwMode="auto">
          <a:xfrm>
            <a:off x="4831135" y="3980588"/>
            <a:ext cx="991" cy="1187"/>
          </a:xfrm>
          <a:custGeom>
            <a:avLst/>
            <a:gdLst>
              <a:gd name="T0" fmla="*/ 0 w 1"/>
              <a:gd name="T1" fmla="*/ 0 h 1"/>
              <a:gd name="T2" fmla="*/ 0 w 1"/>
              <a:gd name="T3" fmla="*/ 1 h 1"/>
              <a:gd name="T4" fmla="*/ 0 w 1"/>
              <a:gd name="T5" fmla="*/ 1 h 1"/>
              <a:gd name="T6" fmla="*/ 0 w 1"/>
              <a:gd name="T7" fmla="*/ 1 h 1"/>
              <a:gd name="T8" fmla="*/ 1 w 1"/>
              <a:gd name="T9" fmla="*/ 1 h 1"/>
              <a:gd name="T10" fmla="*/ 1 w 1"/>
              <a:gd name="T11" fmla="*/ 1 h 1"/>
              <a:gd name="T12" fmla="*/ 1 w 1"/>
              <a:gd name="T13" fmla="*/ 0 h 1"/>
              <a:gd name="T14" fmla="*/ 1 w 1"/>
              <a:gd name="T15" fmla="*/ 0 h 1"/>
              <a:gd name="T16" fmla="*/ 0 w 1"/>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
                <a:moveTo>
                  <a:pt x="0" y="0"/>
                </a:moveTo>
                <a:cubicBezTo>
                  <a:pt x="0" y="0"/>
                  <a:pt x="0" y="1"/>
                  <a:pt x="0" y="1"/>
                </a:cubicBezTo>
                <a:cubicBezTo>
                  <a:pt x="0" y="1"/>
                  <a:pt x="0" y="1"/>
                  <a:pt x="0" y="1"/>
                </a:cubicBezTo>
                <a:cubicBezTo>
                  <a:pt x="0" y="1"/>
                  <a:pt x="0" y="1"/>
                  <a:pt x="0" y="1"/>
                </a:cubicBezTo>
                <a:cubicBezTo>
                  <a:pt x="0" y="1"/>
                  <a:pt x="1" y="1"/>
                  <a:pt x="1" y="1"/>
                </a:cubicBezTo>
                <a:cubicBezTo>
                  <a:pt x="1" y="1"/>
                  <a:pt x="1" y="1"/>
                  <a:pt x="1" y="1"/>
                </a:cubicBezTo>
                <a:cubicBezTo>
                  <a:pt x="1" y="1"/>
                  <a:pt x="1" y="0"/>
                  <a:pt x="1" y="0"/>
                </a:cubicBezTo>
                <a:cubicBezTo>
                  <a:pt x="1" y="0"/>
                  <a:pt x="1" y="0"/>
                  <a:pt x="1"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75" name="Freeform 2831">
            <a:extLst>
              <a:ext uri="{FF2B5EF4-FFF2-40B4-BE49-F238E27FC236}">
                <a16:creationId xmlns:a16="http://schemas.microsoft.com/office/drawing/2014/main" id="{C343FB64-A68B-4BBC-A60B-3C551C3592D8}"/>
              </a:ext>
            </a:extLst>
          </p:cNvPr>
          <p:cNvSpPr>
            <a:spLocks/>
          </p:cNvSpPr>
          <p:nvPr/>
        </p:nvSpPr>
        <p:spPr bwMode="auto">
          <a:xfrm>
            <a:off x="4058557" y="3048051"/>
            <a:ext cx="5947" cy="4155"/>
          </a:xfrm>
          <a:custGeom>
            <a:avLst/>
            <a:gdLst>
              <a:gd name="T0" fmla="*/ 0 w 5"/>
              <a:gd name="T1" fmla="*/ 1 h 3"/>
              <a:gd name="T2" fmla="*/ 2 w 5"/>
              <a:gd name="T3" fmla="*/ 2 h 3"/>
              <a:gd name="T4" fmla="*/ 5 w 5"/>
              <a:gd name="T5" fmla="*/ 1 h 3"/>
              <a:gd name="T6" fmla="*/ 0 w 5"/>
              <a:gd name="T7" fmla="*/ 1 h 3"/>
            </a:gdLst>
            <a:ahLst/>
            <a:cxnLst>
              <a:cxn ang="0">
                <a:pos x="T0" y="T1"/>
              </a:cxn>
              <a:cxn ang="0">
                <a:pos x="T2" y="T3"/>
              </a:cxn>
              <a:cxn ang="0">
                <a:pos x="T4" y="T5"/>
              </a:cxn>
              <a:cxn ang="0">
                <a:pos x="T6" y="T7"/>
              </a:cxn>
            </a:cxnLst>
            <a:rect l="0" t="0" r="r" b="b"/>
            <a:pathLst>
              <a:path w="5" h="3">
                <a:moveTo>
                  <a:pt x="0" y="1"/>
                </a:moveTo>
                <a:cubicBezTo>
                  <a:pt x="0" y="2"/>
                  <a:pt x="2" y="2"/>
                  <a:pt x="2" y="2"/>
                </a:cubicBezTo>
                <a:cubicBezTo>
                  <a:pt x="4" y="3"/>
                  <a:pt x="4" y="2"/>
                  <a:pt x="5" y="1"/>
                </a:cubicBezTo>
                <a:cubicBezTo>
                  <a:pt x="5" y="0"/>
                  <a:pt x="0" y="1"/>
                  <a:pt x="0"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76" name="Freeform 2832">
            <a:extLst>
              <a:ext uri="{FF2B5EF4-FFF2-40B4-BE49-F238E27FC236}">
                <a16:creationId xmlns:a16="http://schemas.microsoft.com/office/drawing/2014/main" id="{F33A3527-EE3C-4609-A07B-F3F912C8A26D}"/>
              </a:ext>
            </a:extLst>
          </p:cNvPr>
          <p:cNvSpPr>
            <a:spLocks/>
          </p:cNvSpPr>
          <p:nvPr/>
        </p:nvSpPr>
        <p:spPr bwMode="auto">
          <a:xfrm>
            <a:off x="5282095" y="2524500"/>
            <a:ext cx="1982" cy="1187"/>
          </a:xfrm>
          <a:custGeom>
            <a:avLst/>
            <a:gdLst>
              <a:gd name="T0" fmla="*/ 2 w 2"/>
              <a:gd name="T1" fmla="*/ 0 h 1"/>
              <a:gd name="T2" fmla="*/ 0 w 2"/>
              <a:gd name="T3" fmla="*/ 0 h 1"/>
              <a:gd name="T4" fmla="*/ 2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1" y="0"/>
                  <a:pt x="1" y="0"/>
                  <a:pt x="0" y="0"/>
                </a:cubicBezTo>
                <a:cubicBezTo>
                  <a:pt x="1" y="1"/>
                  <a:pt x="1" y="1"/>
                  <a:pt x="2" y="1"/>
                </a:cubicBezTo>
                <a:cubicBezTo>
                  <a:pt x="2" y="1"/>
                  <a:pt x="2" y="1"/>
                  <a:pt x="2"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77" name="Freeform 2833">
            <a:extLst>
              <a:ext uri="{FF2B5EF4-FFF2-40B4-BE49-F238E27FC236}">
                <a16:creationId xmlns:a16="http://schemas.microsoft.com/office/drawing/2014/main" id="{756C1A79-63FA-495D-9F4E-766E386C6089}"/>
              </a:ext>
            </a:extLst>
          </p:cNvPr>
          <p:cNvSpPr>
            <a:spLocks/>
          </p:cNvSpPr>
          <p:nvPr/>
        </p:nvSpPr>
        <p:spPr bwMode="auto">
          <a:xfrm>
            <a:off x="5259795" y="2518564"/>
            <a:ext cx="3469" cy="2968"/>
          </a:xfrm>
          <a:custGeom>
            <a:avLst/>
            <a:gdLst>
              <a:gd name="T0" fmla="*/ 1 w 3"/>
              <a:gd name="T1" fmla="*/ 1 h 2"/>
              <a:gd name="T2" fmla="*/ 3 w 3"/>
              <a:gd name="T3" fmla="*/ 1 h 2"/>
              <a:gd name="T4" fmla="*/ 1 w 3"/>
              <a:gd name="T5" fmla="*/ 0 h 2"/>
              <a:gd name="T6" fmla="*/ 1 w 3"/>
              <a:gd name="T7" fmla="*/ 0 h 2"/>
              <a:gd name="T8" fmla="*/ 1 w 3"/>
              <a:gd name="T9" fmla="*/ 0 h 2"/>
              <a:gd name="T10" fmla="*/ 0 w 3"/>
              <a:gd name="T11" fmla="*/ 0 h 2"/>
              <a:gd name="T12" fmla="*/ 1 w 3"/>
              <a:gd name="T13" fmla="*/ 0 h 2"/>
              <a:gd name="T14" fmla="*/ 1 w 3"/>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1" y="1"/>
                </a:moveTo>
                <a:cubicBezTo>
                  <a:pt x="2" y="2"/>
                  <a:pt x="2" y="1"/>
                  <a:pt x="3" y="1"/>
                </a:cubicBezTo>
                <a:cubicBezTo>
                  <a:pt x="3" y="1"/>
                  <a:pt x="2" y="0"/>
                  <a:pt x="1" y="0"/>
                </a:cubicBezTo>
                <a:cubicBezTo>
                  <a:pt x="1" y="0"/>
                  <a:pt x="1" y="0"/>
                  <a:pt x="1" y="0"/>
                </a:cubicBezTo>
                <a:cubicBezTo>
                  <a:pt x="1" y="0"/>
                  <a:pt x="1" y="0"/>
                  <a:pt x="1" y="0"/>
                </a:cubicBezTo>
                <a:cubicBezTo>
                  <a:pt x="1" y="0"/>
                  <a:pt x="1" y="0"/>
                  <a:pt x="0" y="0"/>
                </a:cubicBezTo>
                <a:cubicBezTo>
                  <a:pt x="0" y="0"/>
                  <a:pt x="0" y="0"/>
                  <a:pt x="1" y="0"/>
                </a:cubicBezTo>
                <a:cubicBezTo>
                  <a:pt x="0" y="1"/>
                  <a:pt x="0" y="1"/>
                  <a:pt x="1"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78" name="Freeform 2834">
            <a:extLst>
              <a:ext uri="{FF2B5EF4-FFF2-40B4-BE49-F238E27FC236}">
                <a16:creationId xmlns:a16="http://schemas.microsoft.com/office/drawing/2014/main" id="{7B3D7970-4C63-424A-B552-EEDFA93F3EE1}"/>
              </a:ext>
            </a:extLst>
          </p:cNvPr>
          <p:cNvSpPr>
            <a:spLocks/>
          </p:cNvSpPr>
          <p:nvPr/>
        </p:nvSpPr>
        <p:spPr bwMode="auto">
          <a:xfrm>
            <a:off x="4827171" y="2436055"/>
            <a:ext cx="4956" cy="2374"/>
          </a:xfrm>
          <a:custGeom>
            <a:avLst/>
            <a:gdLst>
              <a:gd name="T0" fmla="*/ 1 w 4"/>
              <a:gd name="T1" fmla="*/ 2 h 2"/>
              <a:gd name="T2" fmla="*/ 1 w 4"/>
              <a:gd name="T3" fmla="*/ 2 h 2"/>
              <a:gd name="T4" fmla="*/ 3 w 4"/>
              <a:gd name="T5" fmla="*/ 2 h 2"/>
              <a:gd name="T6" fmla="*/ 3 w 4"/>
              <a:gd name="T7" fmla="*/ 2 h 2"/>
              <a:gd name="T8" fmla="*/ 3 w 4"/>
              <a:gd name="T9" fmla="*/ 1 h 2"/>
              <a:gd name="T10" fmla="*/ 3 w 4"/>
              <a:gd name="T11" fmla="*/ 1 h 2"/>
              <a:gd name="T12" fmla="*/ 3 w 4"/>
              <a:gd name="T13" fmla="*/ 1 h 2"/>
              <a:gd name="T14" fmla="*/ 3 w 4"/>
              <a:gd name="T15" fmla="*/ 1 h 2"/>
              <a:gd name="T16" fmla="*/ 1 w 4"/>
              <a:gd name="T17" fmla="*/ 1 h 2"/>
              <a:gd name="T18" fmla="*/ 0 w 4"/>
              <a:gd name="T19" fmla="*/ 2 h 2"/>
              <a:gd name="T20" fmla="*/ 1 w 4"/>
              <a:gd name="T21" fmla="*/ 2 h 2"/>
              <a:gd name="T22" fmla="*/ 1 w 4"/>
              <a:gd name="T2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2">
                <a:moveTo>
                  <a:pt x="1" y="2"/>
                </a:moveTo>
                <a:cubicBezTo>
                  <a:pt x="1" y="2"/>
                  <a:pt x="1" y="2"/>
                  <a:pt x="1" y="2"/>
                </a:cubicBezTo>
                <a:cubicBezTo>
                  <a:pt x="2" y="2"/>
                  <a:pt x="2" y="2"/>
                  <a:pt x="3" y="2"/>
                </a:cubicBezTo>
                <a:cubicBezTo>
                  <a:pt x="3" y="2"/>
                  <a:pt x="3" y="2"/>
                  <a:pt x="3" y="2"/>
                </a:cubicBezTo>
                <a:cubicBezTo>
                  <a:pt x="3" y="2"/>
                  <a:pt x="4" y="2"/>
                  <a:pt x="3" y="1"/>
                </a:cubicBezTo>
                <a:cubicBezTo>
                  <a:pt x="3" y="1"/>
                  <a:pt x="3" y="1"/>
                  <a:pt x="3" y="1"/>
                </a:cubicBezTo>
                <a:cubicBezTo>
                  <a:pt x="3" y="1"/>
                  <a:pt x="3" y="1"/>
                  <a:pt x="3" y="1"/>
                </a:cubicBezTo>
                <a:cubicBezTo>
                  <a:pt x="3" y="1"/>
                  <a:pt x="3" y="1"/>
                  <a:pt x="3" y="1"/>
                </a:cubicBezTo>
                <a:cubicBezTo>
                  <a:pt x="2" y="0"/>
                  <a:pt x="1" y="1"/>
                  <a:pt x="1" y="1"/>
                </a:cubicBezTo>
                <a:cubicBezTo>
                  <a:pt x="1" y="1"/>
                  <a:pt x="1" y="2"/>
                  <a:pt x="0" y="2"/>
                </a:cubicBezTo>
                <a:cubicBezTo>
                  <a:pt x="0" y="2"/>
                  <a:pt x="1" y="2"/>
                  <a:pt x="1" y="2"/>
                </a:cubicBezTo>
                <a:cubicBezTo>
                  <a:pt x="1" y="2"/>
                  <a:pt x="1" y="2"/>
                  <a:pt x="1" y="2"/>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79" name="Freeform 2835">
            <a:extLst>
              <a:ext uri="{FF2B5EF4-FFF2-40B4-BE49-F238E27FC236}">
                <a16:creationId xmlns:a16="http://schemas.microsoft.com/office/drawing/2014/main" id="{73663E63-FD33-46AB-ABD0-978C112241C9}"/>
              </a:ext>
            </a:extLst>
          </p:cNvPr>
          <p:cNvSpPr>
            <a:spLocks/>
          </p:cNvSpPr>
          <p:nvPr/>
        </p:nvSpPr>
        <p:spPr bwMode="auto">
          <a:xfrm>
            <a:off x="4800411" y="3313388"/>
            <a:ext cx="4460" cy="2968"/>
          </a:xfrm>
          <a:custGeom>
            <a:avLst/>
            <a:gdLst>
              <a:gd name="T0" fmla="*/ 0 w 4"/>
              <a:gd name="T1" fmla="*/ 0 h 2"/>
              <a:gd name="T2" fmla="*/ 3 w 4"/>
              <a:gd name="T3" fmla="*/ 2 h 2"/>
              <a:gd name="T4" fmla="*/ 0 w 4"/>
              <a:gd name="T5" fmla="*/ 0 h 2"/>
            </a:gdLst>
            <a:ahLst/>
            <a:cxnLst>
              <a:cxn ang="0">
                <a:pos x="T0" y="T1"/>
              </a:cxn>
              <a:cxn ang="0">
                <a:pos x="T2" y="T3"/>
              </a:cxn>
              <a:cxn ang="0">
                <a:pos x="T4" y="T5"/>
              </a:cxn>
            </a:cxnLst>
            <a:rect l="0" t="0" r="r" b="b"/>
            <a:pathLst>
              <a:path w="4" h="2">
                <a:moveTo>
                  <a:pt x="0" y="0"/>
                </a:moveTo>
                <a:cubicBezTo>
                  <a:pt x="1" y="1"/>
                  <a:pt x="2" y="2"/>
                  <a:pt x="3" y="2"/>
                </a:cubicBezTo>
                <a:cubicBezTo>
                  <a:pt x="4" y="0"/>
                  <a:pt x="1"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80" name="Freeform 2836">
            <a:extLst>
              <a:ext uri="{FF2B5EF4-FFF2-40B4-BE49-F238E27FC236}">
                <a16:creationId xmlns:a16="http://schemas.microsoft.com/office/drawing/2014/main" id="{FE870957-ACF3-47F9-9B00-E609FB7A72B2}"/>
              </a:ext>
            </a:extLst>
          </p:cNvPr>
          <p:cNvSpPr>
            <a:spLocks/>
          </p:cNvSpPr>
          <p:nvPr/>
        </p:nvSpPr>
        <p:spPr bwMode="auto">
          <a:xfrm>
            <a:off x="4801402" y="3319324"/>
            <a:ext cx="0" cy="1187"/>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81" name="Freeform 2837">
            <a:extLst>
              <a:ext uri="{FF2B5EF4-FFF2-40B4-BE49-F238E27FC236}">
                <a16:creationId xmlns:a16="http://schemas.microsoft.com/office/drawing/2014/main" id="{A6435D28-073C-4347-8A5E-826273D3A93F}"/>
              </a:ext>
            </a:extLst>
          </p:cNvPr>
          <p:cNvSpPr>
            <a:spLocks/>
          </p:cNvSpPr>
          <p:nvPr/>
        </p:nvSpPr>
        <p:spPr bwMode="auto">
          <a:xfrm>
            <a:off x="4748872" y="3699818"/>
            <a:ext cx="2478" cy="1187"/>
          </a:xfrm>
          <a:custGeom>
            <a:avLst/>
            <a:gdLst>
              <a:gd name="T0" fmla="*/ 0 w 2"/>
              <a:gd name="T1" fmla="*/ 0 h 1"/>
              <a:gd name="T2" fmla="*/ 1 w 2"/>
              <a:gd name="T3" fmla="*/ 1 h 1"/>
              <a:gd name="T4" fmla="*/ 2 w 2"/>
              <a:gd name="T5" fmla="*/ 0 h 1"/>
              <a:gd name="T6" fmla="*/ 0 w 2"/>
              <a:gd name="T7" fmla="*/ 0 h 1"/>
            </a:gdLst>
            <a:ahLst/>
            <a:cxnLst>
              <a:cxn ang="0">
                <a:pos x="T0" y="T1"/>
              </a:cxn>
              <a:cxn ang="0">
                <a:pos x="T2" y="T3"/>
              </a:cxn>
              <a:cxn ang="0">
                <a:pos x="T4" y="T5"/>
              </a:cxn>
              <a:cxn ang="0">
                <a:pos x="T6" y="T7"/>
              </a:cxn>
            </a:cxnLst>
            <a:rect l="0" t="0" r="r" b="b"/>
            <a:pathLst>
              <a:path w="2" h="1">
                <a:moveTo>
                  <a:pt x="0" y="0"/>
                </a:moveTo>
                <a:cubicBezTo>
                  <a:pt x="1" y="0"/>
                  <a:pt x="1" y="1"/>
                  <a:pt x="1" y="1"/>
                </a:cubicBezTo>
                <a:cubicBezTo>
                  <a:pt x="2" y="1"/>
                  <a:pt x="2" y="1"/>
                  <a:pt x="2" y="0"/>
                </a:cubicBezTo>
                <a:cubicBezTo>
                  <a:pt x="1" y="0"/>
                  <a:pt x="1"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82" name="Freeform 2838">
            <a:extLst>
              <a:ext uri="{FF2B5EF4-FFF2-40B4-BE49-F238E27FC236}">
                <a16:creationId xmlns:a16="http://schemas.microsoft.com/office/drawing/2014/main" id="{8F643E4D-FA24-468E-9B23-08545F6DFBC8}"/>
              </a:ext>
            </a:extLst>
          </p:cNvPr>
          <p:cNvSpPr>
            <a:spLocks/>
          </p:cNvSpPr>
          <p:nvPr/>
        </p:nvSpPr>
        <p:spPr bwMode="auto">
          <a:xfrm>
            <a:off x="4749863" y="3708128"/>
            <a:ext cx="1487" cy="1187"/>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1"/>
                  <a:pt x="0" y="0"/>
                  <a:pt x="0" y="0"/>
                </a:cubicBezTo>
                <a:cubicBezTo>
                  <a:pt x="0" y="0"/>
                  <a:pt x="0" y="1"/>
                  <a:pt x="1"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83" name="Freeform 2839">
            <a:extLst>
              <a:ext uri="{FF2B5EF4-FFF2-40B4-BE49-F238E27FC236}">
                <a16:creationId xmlns:a16="http://schemas.microsoft.com/office/drawing/2014/main" id="{FC363BA8-E95C-48AC-A620-1681D66A7774}"/>
              </a:ext>
            </a:extLst>
          </p:cNvPr>
          <p:cNvSpPr>
            <a:spLocks/>
          </p:cNvSpPr>
          <p:nvPr/>
        </p:nvSpPr>
        <p:spPr bwMode="auto">
          <a:xfrm>
            <a:off x="4746395" y="3709316"/>
            <a:ext cx="2478" cy="2968"/>
          </a:xfrm>
          <a:custGeom>
            <a:avLst/>
            <a:gdLst>
              <a:gd name="T0" fmla="*/ 2 w 2"/>
              <a:gd name="T1" fmla="*/ 2 h 2"/>
              <a:gd name="T2" fmla="*/ 1 w 2"/>
              <a:gd name="T3" fmla="*/ 0 h 2"/>
              <a:gd name="T4" fmla="*/ 2 w 2"/>
              <a:gd name="T5" fmla="*/ 2 h 2"/>
            </a:gdLst>
            <a:ahLst/>
            <a:cxnLst>
              <a:cxn ang="0">
                <a:pos x="T0" y="T1"/>
              </a:cxn>
              <a:cxn ang="0">
                <a:pos x="T2" y="T3"/>
              </a:cxn>
              <a:cxn ang="0">
                <a:pos x="T4" y="T5"/>
              </a:cxn>
            </a:cxnLst>
            <a:rect l="0" t="0" r="r" b="b"/>
            <a:pathLst>
              <a:path w="2" h="2">
                <a:moveTo>
                  <a:pt x="2" y="2"/>
                </a:moveTo>
                <a:cubicBezTo>
                  <a:pt x="1" y="2"/>
                  <a:pt x="1" y="1"/>
                  <a:pt x="1" y="0"/>
                </a:cubicBezTo>
                <a:cubicBezTo>
                  <a:pt x="0" y="1"/>
                  <a:pt x="1" y="2"/>
                  <a:pt x="2" y="2"/>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84" name="Freeform 2840">
            <a:extLst>
              <a:ext uri="{FF2B5EF4-FFF2-40B4-BE49-F238E27FC236}">
                <a16:creationId xmlns:a16="http://schemas.microsoft.com/office/drawing/2014/main" id="{BD99E7E3-A99E-49B5-BFDB-4990C72AF2BC}"/>
              </a:ext>
            </a:extLst>
          </p:cNvPr>
          <p:cNvSpPr>
            <a:spLocks/>
          </p:cNvSpPr>
          <p:nvPr/>
        </p:nvSpPr>
        <p:spPr bwMode="auto">
          <a:xfrm>
            <a:off x="4742926" y="3708128"/>
            <a:ext cx="3469" cy="1187"/>
          </a:xfrm>
          <a:custGeom>
            <a:avLst/>
            <a:gdLst>
              <a:gd name="T0" fmla="*/ 1 w 3"/>
              <a:gd name="T1" fmla="*/ 1 h 1"/>
              <a:gd name="T2" fmla="*/ 2 w 3"/>
              <a:gd name="T3" fmla="*/ 1 h 1"/>
              <a:gd name="T4" fmla="*/ 3 w 3"/>
              <a:gd name="T5" fmla="*/ 1 h 1"/>
              <a:gd name="T6" fmla="*/ 3 w 3"/>
              <a:gd name="T7" fmla="*/ 1 h 1"/>
              <a:gd name="T8" fmla="*/ 0 w 3"/>
              <a:gd name="T9" fmla="*/ 0 h 1"/>
              <a:gd name="T10" fmla="*/ 1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1" y="1"/>
                </a:moveTo>
                <a:cubicBezTo>
                  <a:pt x="1" y="1"/>
                  <a:pt x="1" y="1"/>
                  <a:pt x="2" y="1"/>
                </a:cubicBezTo>
                <a:cubicBezTo>
                  <a:pt x="2" y="1"/>
                  <a:pt x="2" y="1"/>
                  <a:pt x="3" y="1"/>
                </a:cubicBezTo>
                <a:cubicBezTo>
                  <a:pt x="3" y="1"/>
                  <a:pt x="3" y="1"/>
                  <a:pt x="3" y="1"/>
                </a:cubicBezTo>
                <a:cubicBezTo>
                  <a:pt x="2" y="0"/>
                  <a:pt x="1" y="0"/>
                  <a:pt x="0" y="0"/>
                </a:cubicBezTo>
                <a:cubicBezTo>
                  <a:pt x="1" y="0"/>
                  <a:pt x="1" y="0"/>
                  <a:pt x="1"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85" name="Freeform 2841">
            <a:extLst>
              <a:ext uri="{FF2B5EF4-FFF2-40B4-BE49-F238E27FC236}">
                <a16:creationId xmlns:a16="http://schemas.microsoft.com/office/drawing/2014/main" id="{31CA3CBA-745D-4796-83A8-93C06C959ED7}"/>
              </a:ext>
            </a:extLst>
          </p:cNvPr>
          <p:cNvSpPr>
            <a:spLocks/>
          </p:cNvSpPr>
          <p:nvPr/>
        </p:nvSpPr>
        <p:spPr bwMode="auto">
          <a:xfrm>
            <a:off x="4148749" y="256367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86" name="Freeform 2842">
            <a:extLst>
              <a:ext uri="{FF2B5EF4-FFF2-40B4-BE49-F238E27FC236}">
                <a16:creationId xmlns:a16="http://schemas.microsoft.com/office/drawing/2014/main" id="{B7BEF0C1-A2DE-46F0-9880-D14E592A2159}"/>
              </a:ext>
            </a:extLst>
          </p:cNvPr>
          <p:cNvSpPr>
            <a:spLocks/>
          </p:cNvSpPr>
          <p:nvPr/>
        </p:nvSpPr>
        <p:spPr bwMode="auto">
          <a:xfrm>
            <a:off x="4699812" y="2442584"/>
            <a:ext cx="991" cy="1781"/>
          </a:xfrm>
          <a:custGeom>
            <a:avLst/>
            <a:gdLst>
              <a:gd name="T0" fmla="*/ 1 w 1"/>
              <a:gd name="T1" fmla="*/ 0 h 1"/>
              <a:gd name="T2" fmla="*/ 1 w 1"/>
              <a:gd name="T3" fmla="*/ 0 h 1"/>
              <a:gd name="T4" fmla="*/ 0 w 1"/>
              <a:gd name="T5" fmla="*/ 0 h 1"/>
              <a:gd name="T6" fmla="*/ 0 w 1"/>
              <a:gd name="T7" fmla="*/ 0 h 1"/>
              <a:gd name="T8" fmla="*/ 1 w 1"/>
              <a:gd name="T9" fmla="*/ 1 h 1"/>
              <a:gd name="T10" fmla="*/ 1 w 1"/>
              <a:gd name="T11" fmla="*/ 1 h 1"/>
              <a:gd name="T12" fmla="*/ 1 w 1"/>
              <a:gd name="T13" fmla="*/ 1 h 1"/>
              <a:gd name="T14" fmla="*/ 1 w 1"/>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1" y="0"/>
                </a:moveTo>
                <a:cubicBezTo>
                  <a:pt x="1" y="0"/>
                  <a:pt x="1" y="0"/>
                  <a:pt x="1" y="0"/>
                </a:cubicBezTo>
                <a:cubicBezTo>
                  <a:pt x="0" y="0"/>
                  <a:pt x="0" y="0"/>
                  <a:pt x="0" y="0"/>
                </a:cubicBezTo>
                <a:cubicBezTo>
                  <a:pt x="0" y="0"/>
                  <a:pt x="0" y="0"/>
                  <a:pt x="0" y="0"/>
                </a:cubicBezTo>
                <a:cubicBezTo>
                  <a:pt x="1" y="0"/>
                  <a:pt x="1" y="0"/>
                  <a:pt x="1" y="1"/>
                </a:cubicBezTo>
                <a:cubicBezTo>
                  <a:pt x="1" y="1"/>
                  <a:pt x="1" y="1"/>
                  <a:pt x="1" y="1"/>
                </a:cubicBezTo>
                <a:cubicBezTo>
                  <a:pt x="1" y="1"/>
                  <a:pt x="1" y="1"/>
                  <a:pt x="1" y="1"/>
                </a:cubicBezTo>
                <a:lnTo>
                  <a:pt x="1" y="0"/>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87" name="Rectangle 2843">
            <a:extLst>
              <a:ext uri="{FF2B5EF4-FFF2-40B4-BE49-F238E27FC236}">
                <a16:creationId xmlns:a16="http://schemas.microsoft.com/office/drawing/2014/main" id="{E38BC741-9F48-4043-A85D-5F20D539B7A1}"/>
              </a:ext>
            </a:extLst>
          </p:cNvPr>
          <p:cNvSpPr>
            <a:spLocks noChangeArrowheads="1"/>
          </p:cNvSpPr>
          <p:nvPr/>
        </p:nvSpPr>
        <p:spPr bwMode="auto">
          <a:xfrm>
            <a:off x="3628906" y="2645000"/>
            <a:ext cx="496" cy="594"/>
          </a:xfrm>
          <a:prstGeom prst="rect">
            <a:avLst/>
          </a:prstGeom>
          <a:solidFill>
            <a:schemeClr val="tx1">
              <a:lumMod val="40000"/>
              <a:lumOff val="60000"/>
            </a:schemeClr>
          </a:solid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88" name="Freeform 2844">
            <a:extLst>
              <a:ext uri="{FF2B5EF4-FFF2-40B4-BE49-F238E27FC236}">
                <a16:creationId xmlns:a16="http://schemas.microsoft.com/office/drawing/2014/main" id="{EA9F0E64-7834-4C68-A57C-D8C645DAD384}"/>
              </a:ext>
            </a:extLst>
          </p:cNvPr>
          <p:cNvSpPr>
            <a:spLocks/>
          </p:cNvSpPr>
          <p:nvPr/>
        </p:nvSpPr>
        <p:spPr bwMode="auto">
          <a:xfrm>
            <a:off x="3408381" y="2972071"/>
            <a:ext cx="10902" cy="13059"/>
          </a:xfrm>
          <a:custGeom>
            <a:avLst/>
            <a:gdLst>
              <a:gd name="T0" fmla="*/ 8 w 9"/>
              <a:gd name="T1" fmla="*/ 5 h 9"/>
              <a:gd name="T2" fmla="*/ 8 w 9"/>
              <a:gd name="T3" fmla="*/ 5 h 9"/>
              <a:gd name="T4" fmla="*/ 8 w 9"/>
              <a:gd name="T5" fmla="*/ 5 h 9"/>
              <a:gd name="T6" fmla="*/ 7 w 9"/>
              <a:gd name="T7" fmla="*/ 5 h 9"/>
              <a:gd name="T8" fmla="*/ 6 w 9"/>
              <a:gd name="T9" fmla="*/ 4 h 9"/>
              <a:gd name="T10" fmla="*/ 5 w 9"/>
              <a:gd name="T11" fmla="*/ 2 h 9"/>
              <a:gd name="T12" fmla="*/ 5 w 9"/>
              <a:gd name="T13" fmla="*/ 2 h 9"/>
              <a:gd name="T14" fmla="*/ 5 w 9"/>
              <a:gd name="T15" fmla="*/ 2 h 9"/>
              <a:gd name="T16" fmla="*/ 4 w 9"/>
              <a:gd name="T17" fmla="*/ 0 h 9"/>
              <a:gd name="T18" fmla="*/ 4 w 9"/>
              <a:gd name="T19" fmla="*/ 0 h 9"/>
              <a:gd name="T20" fmla="*/ 3 w 9"/>
              <a:gd name="T21" fmla="*/ 0 h 9"/>
              <a:gd name="T22" fmla="*/ 3 w 9"/>
              <a:gd name="T23" fmla="*/ 0 h 9"/>
              <a:gd name="T24" fmla="*/ 2 w 9"/>
              <a:gd name="T25" fmla="*/ 1 h 9"/>
              <a:gd name="T26" fmla="*/ 2 w 9"/>
              <a:gd name="T27" fmla="*/ 2 h 9"/>
              <a:gd name="T28" fmla="*/ 2 w 9"/>
              <a:gd name="T29" fmla="*/ 2 h 9"/>
              <a:gd name="T30" fmla="*/ 1 w 9"/>
              <a:gd name="T31" fmla="*/ 4 h 9"/>
              <a:gd name="T32" fmla="*/ 1 w 9"/>
              <a:gd name="T33" fmla="*/ 4 h 9"/>
              <a:gd name="T34" fmla="*/ 2 w 9"/>
              <a:gd name="T35" fmla="*/ 7 h 9"/>
              <a:gd name="T36" fmla="*/ 2 w 9"/>
              <a:gd name="T37" fmla="*/ 8 h 9"/>
              <a:gd name="T38" fmla="*/ 1 w 9"/>
              <a:gd name="T39" fmla="*/ 8 h 9"/>
              <a:gd name="T40" fmla="*/ 2 w 9"/>
              <a:gd name="T41" fmla="*/ 9 h 9"/>
              <a:gd name="T42" fmla="*/ 5 w 9"/>
              <a:gd name="T43" fmla="*/ 9 h 9"/>
              <a:gd name="T44" fmla="*/ 6 w 9"/>
              <a:gd name="T45" fmla="*/ 9 h 9"/>
              <a:gd name="T46" fmla="*/ 7 w 9"/>
              <a:gd name="T47" fmla="*/ 9 h 9"/>
              <a:gd name="T48" fmla="*/ 7 w 9"/>
              <a:gd name="T49" fmla="*/ 9 h 9"/>
              <a:gd name="T50" fmla="*/ 7 w 9"/>
              <a:gd name="T51" fmla="*/ 9 h 9"/>
              <a:gd name="T52" fmla="*/ 7 w 9"/>
              <a:gd name="T53" fmla="*/ 9 h 9"/>
              <a:gd name="T54" fmla="*/ 7 w 9"/>
              <a:gd name="T55" fmla="*/ 9 h 9"/>
              <a:gd name="T56" fmla="*/ 7 w 9"/>
              <a:gd name="T57" fmla="*/ 9 h 9"/>
              <a:gd name="T58" fmla="*/ 8 w 9"/>
              <a:gd name="T59"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 h="9">
                <a:moveTo>
                  <a:pt x="8" y="5"/>
                </a:moveTo>
                <a:cubicBezTo>
                  <a:pt x="8" y="5"/>
                  <a:pt x="8" y="5"/>
                  <a:pt x="8" y="5"/>
                </a:cubicBezTo>
                <a:cubicBezTo>
                  <a:pt x="8" y="5"/>
                  <a:pt x="8" y="5"/>
                  <a:pt x="8" y="5"/>
                </a:cubicBezTo>
                <a:cubicBezTo>
                  <a:pt x="7" y="5"/>
                  <a:pt x="7" y="5"/>
                  <a:pt x="7" y="5"/>
                </a:cubicBezTo>
                <a:cubicBezTo>
                  <a:pt x="7" y="4"/>
                  <a:pt x="7" y="4"/>
                  <a:pt x="6" y="4"/>
                </a:cubicBezTo>
                <a:cubicBezTo>
                  <a:pt x="6" y="4"/>
                  <a:pt x="5" y="3"/>
                  <a:pt x="5" y="2"/>
                </a:cubicBezTo>
                <a:cubicBezTo>
                  <a:pt x="5" y="2"/>
                  <a:pt x="5" y="2"/>
                  <a:pt x="5" y="2"/>
                </a:cubicBezTo>
                <a:cubicBezTo>
                  <a:pt x="5" y="2"/>
                  <a:pt x="5" y="2"/>
                  <a:pt x="5" y="2"/>
                </a:cubicBezTo>
                <a:cubicBezTo>
                  <a:pt x="5" y="1"/>
                  <a:pt x="4" y="1"/>
                  <a:pt x="4" y="0"/>
                </a:cubicBezTo>
                <a:cubicBezTo>
                  <a:pt x="4" y="0"/>
                  <a:pt x="4" y="0"/>
                  <a:pt x="4" y="0"/>
                </a:cubicBezTo>
                <a:cubicBezTo>
                  <a:pt x="4" y="0"/>
                  <a:pt x="4" y="0"/>
                  <a:pt x="3" y="0"/>
                </a:cubicBezTo>
                <a:cubicBezTo>
                  <a:pt x="3" y="0"/>
                  <a:pt x="3" y="0"/>
                  <a:pt x="3" y="0"/>
                </a:cubicBezTo>
                <a:cubicBezTo>
                  <a:pt x="3" y="0"/>
                  <a:pt x="2" y="1"/>
                  <a:pt x="2" y="1"/>
                </a:cubicBezTo>
                <a:cubicBezTo>
                  <a:pt x="2" y="1"/>
                  <a:pt x="2" y="2"/>
                  <a:pt x="2" y="2"/>
                </a:cubicBezTo>
                <a:cubicBezTo>
                  <a:pt x="2" y="2"/>
                  <a:pt x="2" y="2"/>
                  <a:pt x="2" y="2"/>
                </a:cubicBezTo>
                <a:cubicBezTo>
                  <a:pt x="1" y="3"/>
                  <a:pt x="1" y="3"/>
                  <a:pt x="1" y="4"/>
                </a:cubicBezTo>
                <a:cubicBezTo>
                  <a:pt x="1" y="4"/>
                  <a:pt x="1" y="4"/>
                  <a:pt x="1" y="4"/>
                </a:cubicBezTo>
                <a:cubicBezTo>
                  <a:pt x="0" y="4"/>
                  <a:pt x="2" y="5"/>
                  <a:pt x="2" y="7"/>
                </a:cubicBezTo>
                <a:cubicBezTo>
                  <a:pt x="2" y="7"/>
                  <a:pt x="2" y="8"/>
                  <a:pt x="2" y="8"/>
                </a:cubicBezTo>
                <a:cubicBezTo>
                  <a:pt x="1" y="8"/>
                  <a:pt x="1" y="8"/>
                  <a:pt x="1" y="8"/>
                </a:cubicBezTo>
                <a:cubicBezTo>
                  <a:pt x="2" y="8"/>
                  <a:pt x="2" y="9"/>
                  <a:pt x="2" y="9"/>
                </a:cubicBezTo>
                <a:cubicBezTo>
                  <a:pt x="3" y="9"/>
                  <a:pt x="4" y="9"/>
                  <a:pt x="5" y="9"/>
                </a:cubicBezTo>
                <a:cubicBezTo>
                  <a:pt x="5" y="9"/>
                  <a:pt x="6" y="9"/>
                  <a:pt x="6" y="9"/>
                </a:cubicBezTo>
                <a:cubicBezTo>
                  <a:pt x="6"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6" y="8"/>
                  <a:pt x="9" y="6"/>
                  <a:pt x="8" y="5"/>
                </a:cubicBezTo>
                <a:close/>
              </a:path>
            </a:pathLst>
          </a:custGeom>
          <a:solidFill>
            <a:srgbClr val="00A5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89" name="Rectangle 2845">
            <a:extLst>
              <a:ext uri="{FF2B5EF4-FFF2-40B4-BE49-F238E27FC236}">
                <a16:creationId xmlns:a16="http://schemas.microsoft.com/office/drawing/2014/main" id="{CE4D11DA-A4AC-44F4-9437-C58F0ABB375E}"/>
              </a:ext>
            </a:extLst>
          </p:cNvPr>
          <p:cNvSpPr>
            <a:spLocks noChangeArrowheads="1"/>
          </p:cNvSpPr>
          <p:nvPr/>
        </p:nvSpPr>
        <p:spPr bwMode="auto">
          <a:xfrm>
            <a:off x="3926242" y="3035585"/>
            <a:ext cx="496" cy="594"/>
          </a:xfrm>
          <a:prstGeom prst="rect">
            <a:avLst/>
          </a:prstGeom>
          <a:solidFill>
            <a:schemeClr val="tx1">
              <a:lumMod val="40000"/>
              <a:lumOff val="60000"/>
            </a:schemeClr>
          </a:solid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90" name="Freeform 2846">
            <a:extLst>
              <a:ext uri="{FF2B5EF4-FFF2-40B4-BE49-F238E27FC236}">
                <a16:creationId xmlns:a16="http://schemas.microsoft.com/office/drawing/2014/main" id="{2F4B0A2F-52B8-43F7-ADF0-BEBFA26E0275}"/>
              </a:ext>
            </a:extLst>
          </p:cNvPr>
          <p:cNvSpPr>
            <a:spLocks/>
          </p:cNvSpPr>
          <p:nvPr/>
        </p:nvSpPr>
        <p:spPr bwMode="auto">
          <a:xfrm>
            <a:off x="4705759" y="3431513"/>
            <a:ext cx="3469" cy="2968"/>
          </a:xfrm>
          <a:custGeom>
            <a:avLst/>
            <a:gdLst>
              <a:gd name="T0" fmla="*/ 0 w 3"/>
              <a:gd name="T1" fmla="*/ 1 h 2"/>
              <a:gd name="T2" fmla="*/ 2 w 3"/>
              <a:gd name="T3" fmla="*/ 2 h 2"/>
              <a:gd name="T4" fmla="*/ 3 w 3"/>
              <a:gd name="T5" fmla="*/ 1 h 2"/>
              <a:gd name="T6" fmla="*/ 3 w 3"/>
              <a:gd name="T7" fmla="*/ 1 h 2"/>
              <a:gd name="T8" fmla="*/ 2 w 3"/>
              <a:gd name="T9" fmla="*/ 0 h 2"/>
              <a:gd name="T10" fmla="*/ 1 w 3"/>
              <a:gd name="T11" fmla="*/ 0 h 2"/>
              <a:gd name="T12" fmla="*/ 0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0" y="1"/>
                </a:moveTo>
                <a:cubicBezTo>
                  <a:pt x="1" y="2"/>
                  <a:pt x="2" y="2"/>
                  <a:pt x="2" y="2"/>
                </a:cubicBezTo>
                <a:cubicBezTo>
                  <a:pt x="2" y="2"/>
                  <a:pt x="3" y="1"/>
                  <a:pt x="3" y="1"/>
                </a:cubicBezTo>
                <a:cubicBezTo>
                  <a:pt x="3" y="1"/>
                  <a:pt x="3" y="1"/>
                  <a:pt x="3" y="1"/>
                </a:cubicBezTo>
                <a:cubicBezTo>
                  <a:pt x="3" y="0"/>
                  <a:pt x="3" y="0"/>
                  <a:pt x="2" y="0"/>
                </a:cubicBezTo>
                <a:cubicBezTo>
                  <a:pt x="2" y="0"/>
                  <a:pt x="0" y="1"/>
                  <a:pt x="1" y="0"/>
                </a:cubicBezTo>
                <a:cubicBezTo>
                  <a:pt x="0" y="0"/>
                  <a:pt x="0" y="0"/>
                  <a:pt x="0"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91" name="Freeform 2847">
            <a:extLst>
              <a:ext uri="{FF2B5EF4-FFF2-40B4-BE49-F238E27FC236}">
                <a16:creationId xmlns:a16="http://schemas.microsoft.com/office/drawing/2014/main" id="{0775A592-F583-4DC6-BFA4-F11B0D942050}"/>
              </a:ext>
            </a:extLst>
          </p:cNvPr>
          <p:cNvSpPr>
            <a:spLocks/>
          </p:cNvSpPr>
          <p:nvPr/>
        </p:nvSpPr>
        <p:spPr bwMode="auto">
          <a:xfrm>
            <a:off x="3618003" y="2795179"/>
            <a:ext cx="2478" cy="2968"/>
          </a:xfrm>
          <a:custGeom>
            <a:avLst/>
            <a:gdLst>
              <a:gd name="T0" fmla="*/ 2 w 2"/>
              <a:gd name="T1" fmla="*/ 1 h 2"/>
              <a:gd name="T2" fmla="*/ 0 w 2"/>
              <a:gd name="T3" fmla="*/ 0 h 2"/>
              <a:gd name="T4" fmla="*/ 2 w 2"/>
              <a:gd name="T5" fmla="*/ 1 h 2"/>
            </a:gdLst>
            <a:ahLst/>
            <a:cxnLst>
              <a:cxn ang="0">
                <a:pos x="T0" y="T1"/>
              </a:cxn>
              <a:cxn ang="0">
                <a:pos x="T2" y="T3"/>
              </a:cxn>
              <a:cxn ang="0">
                <a:pos x="T4" y="T5"/>
              </a:cxn>
            </a:cxnLst>
            <a:rect l="0" t="0" r="r" b="b"/>
            <a:pathLst>
              <a:path w="2" h="2">
                <a:moveTo>
                  <a:pt x="2" y="1"/>
                </a:moveTo>
                <a:cubicBezTo>
                  <a:pt x="1" y="1"/>
                  <a:pt x="0" y="1"/>
                  <a:pt x="0" y="0"/>
                </a:cubicBezTo>
                <a:cubicBezTo>
                  <a:pt x="0" y="1"/>
                  <a:pt x="1" y="2"/>
                  <a:pt x="2"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92" name="Freeform 2848">
            <a:extLst>
              <a:ext uri="{FF2B5EF4-FFF2-40B4-BE49-F238E27FC236}">
                <a16:creationId xmlns:a16="http://schemas.microsoft.com/office/drawing/2014/main" id="{83013649-62BF-4EDB-BB68-C51505FC09CB}"/>
              </a:ext>
            </a:extLst>
          </p:cNvPr>
          <p:cNvSpPr>
            <a:spLocks/>
          </p:cNvSpPr>
          <p:nvPr/>
        </p:nvSpPr>
        <p:spPr bwMode="auto">
          <a:xfrm>
            <a:off x="3616021" y="2802303"/>
            <a:ext cx="5947" cy="5936"/>
          </a:xfrm>
          <a:custGeom>
            <a:avLst/>
            <a:gdLst>
              <a:gd name="T0" fmla="*/ 1 w 5"/>
              <a:gd name="T1" fmla="*/ 3 h 4"/>
              <a:gd name="T2" fmla="*/ 3 w 5"/>
              <a:gd name="T3" fmla="*/ 2 h 4"/>
              <a:gd name="T4" fmla="*/ 1 w 5"/>
              <a:gd name="T5" fmla="*/ 3 h 4"/>
            </a:gdLst>
            <a:ahLst/>
            <a:cxnLst>
              <a:cxn ang="0">
                <a:pos x="T0" y="T1"/>
              </a:cxn>
              <a:cxn ang="0">
                <a:pos x="T2" y="T3"/>
              </a:cxn>
              <a:cxn ang="0">
                <a:pos x="T4" y="T5"/>
              </a:cxn>
            </a:cxnLst>
            <a:rect l="0" t="0" r="r" b="b"/>
            <a:pathLst>
              <a:path w="5" h="4">
                <a:moveTo>
                  <a:pt x="1" y="3"/>
                </a:moveTo>
                <a:cubicBezTo>
                  <a:pt x="3" y="3"/>
                  <a:pt x="5" y="4"/>
                  <a:pt x="3" y="2"/>
                </a:cubicBezTo>
                <a:cubicBezTo>
                  <a:pt x="2" y="0"/>
                  <a:pt x="0" y="2"/>
                  <a:pt x="1" y="3"/>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93" name="Freeform 2849">
            <a:extLst>
              <a:ext uri="{FF2B5EF4-FFF2-40B4-BE49-F238E27FC236}">
                <a16:creationId xmlns:a16="http://schemas.microsoft.com/office/drawing/2014/main" id="{96F40D0F-6EC3-4811-A5A1-DFF24F1A0BA8}"/>
              </a:ext>
            </a:extLst>
          </p:cNvPr>
          <p:cNvSpPr>
            <a:spLocks/>
          </p:cNvSpPr>
          <p:nvPr/>
        </p:nvSpPr>
        <p:spPr bwMode="auto">
          <a:xfrm>
            <a:off x="3155646" y="2677054"/>
            <a:ext cx="991" cy="1781"/>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1" y="1"/>
                </a:cubicBezTo>
                <a:cubicBezTo>
                  <a:pt x="1" y="1"/>
                  <a:pt x="0" y="1"/>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94" name="Freeform 2850">
            <a:extLst>
              <a:ext uri="{FF2B5EF4-FFF2-40B4-BE49-F238E27FC236}">
                <a16:creationId xmlns:a16="http://schemas.microsoft.com/office/drawing/2014/main" id="{E9F17E73-3696-4B7F-B9F6-39360F52D034}"/>
              </a:ext>
            </a:extLst>
          </p:cNvPr>
          <p:cNvSpPr>
            <a:spLocks/>
          </p:cNvSpPr>
          <p:nvPr/>
        </p:nvSpPr>
        <p:spPr bwMode="auto">
          <a:xfrm>
            <a:off x="3167043" y="266874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95" name="Freeform 2851">
            <a:extLst>
              <a:ext uri="{FF2B5EF4-FFF2-40B4-BE49-F238E27FC236}">
                <a16:creationId xmlns:a16="http://schemas.microsoft.com/office/drawing/2014/main" id="{0D21495A-9E6C-4829-97B6-80B48A14E090}"/>
              </a:ext>
            </a:extLst>
          </p:cNvPr>
          <p:cNvSpPr>
            <a:spLocks/>
          </p:cNvSpPr>
          <p:nvPr/>
        </p:nvSpPr>
        <p:spPr bwMode="auto">
          <a:xfrm>
            <a:off x="3559527" y="2789837"/>
            <a:ext cx="1487" cy="1187"/>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0" y="1"/>
                </a:cubicBezTo>
                <a:cubicBezTo>
                  <a:pt x="0" y="1"/>
                  <a:pt x="1"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96" name="Rectangle 2852">
            <a:extLst>
              <a:ext uri="{FF2B5EF4-FFF2-40B4-BE49-F238E27FC236}">
                <a16:creationId xmlns:a16="http://schemas.microsoft.com/office/drawing/2014/main" id="{2C5088C9-3743-4F3B-8222-BFDE278C235B}"/>
              </a:ext>
            </a:extLst>
          </p:cNvPr>
          <p:cNvSpPr>
            <a:spLocks noChangeArrowheads="1"/>
          </p:cNvSpPr>
          <p:nvPr/>
        </p:nvSpPr>
        <p:spPr bwMode="auto">
          <a:xfrm>
            <a:off x="3599668" y="2761345"/>
            <a:ext cx="496" cy="1781"/>
          </a:xfrm>
          <a:prstGeom prst="rect">
            <a:avLst/>
          </a:prstGeom>
          <a:solidFill>
            <a:schemeClr val="tx1">
              <a:lumMod val="40000"/>
              <a:lumOff val="60000"/>
            </a:schemeClr>
          </a:solid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97" name="Freeform 2853">
            <a:extLst>
              <a:ext uri="{FF2B5EF4-FFF2-40B4-BE49-F238E27FC236}">
                <a16:creationId xmlns:a16="http://schemas.microsoft.com/office/drawing/2014/main" id="{4E4F5712-3093-4609-BCEB-706FDBFBABFC}"/>
              </a:ext>
            </a:extLst>
          </p:cNvPr>
          <p:cNvSpPr>
            <a:spLocks/>
          </p:cNvSpPr>
          <p:nvPr/>
        </p:nvSpPr>
        <p:spPr bwMode="auto">
          <a:xfrm>
            <a:off x="3737929" y="333891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98" name="Freeform 2854">
            <a:extLst>
              <a:ext uri="{FF2B5EF4-FFF2-40B4-BE49-F238E27FC236}">
                <a16:creationId xmlns:a16="http://schemas.microsoft.com/office/drawing/2014/main" id="{569C8A8E-C07B-4AF2-B4F3-E45A72A05E0B}"/>
              </a:ext>
            </a:extLst>
          </p:cNvPr>
          <p:cNvSpPr>
            <a:spLocks/>
          </p:cNvSpPr>
          <p:nvPr/>
        </p:nvSpPr>
        <p:spPr bwMode="auto">
          <a:xfrm>
            <a:off x="3951020" y="3899266"/>
            <a:ext cx="2478" cy="0"/>
          </a:xfrm>
          <a:custGeom>
            <a:avLst/>
            <a:gdLst>
              <a:gd name="T0" fmla="*/ 0 w 2"/>
              <a:gd name="T1" fmla="*/ 0 w 2"/>
              <a:gd name="T2" fmla="*/ 2 w 2"/>
              <a:gd name="T3" fmla="*/ 2 w 2"/>
              <a:gd name="T4" fmla="*/ 0 w 2"/>
            </a:gdLst>
            <a:ahLst/>
            <a:cxnLst>
              <a:cxn ang="0">
                <a:pos x="T0" y="0"/>
              </a:cxn>
              <a:cxn ang="0">
                <a:pos x="T1" y="0"/>
              </a:cxn>
              <a:cxn ang="0">
                <a:pos x="T2" y="0"/>
              </a:cxn>
              <a:cxn ang="0">
                <a:pos x="T3" y="0"/>
              </a:cxn>
              <a:cxn ang="0">
                <a:pos x="T4" y="0"/>
              </a:cxn>
            </a:cxnLst>
            <a:rect l="0" t="0" r="r" b="b"/>
            <a:pathLst>
              <a:path w="2">
                <a:moveTo>
                  <a:pt x="0" y="0"/>
                </a:moveTo>
                <a:cubicBezTo>
                  <a:pt x="0" y="0"/>
                  <a:pt x="0" y="0"/>
                  <a:pt x="0" y="0"/>
                </a:cubicBezTo>
                <a:cubicBezTo>
                  <a:pt x="1" y="0"/>
                  <a:pt x="1" y="0"/>
                  <a:pt x="2" y="0"/>
                </a:cubicBezTo>
                <a:cubicBezTo>
                  <a:pt x="2" y="0"/>
                  <a:pt x="2" y="0"/>
                  <a:pt x="2" y="0"/>
                </a:cubicBezTo>
                <a:cubicBezTo>
                  <a:pt x="1"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99" name="Freeform 2855">
            <a:extLst>
              <a:ext uri="{FF2B5EF4-FFF2-40B4-BE49-F238E27FC236}">
                <a16:creationId xmlns:a16="http://schemas.microsoft.com/office/drawing/2014/main" id="{3485DEEA-F8C7-4A2F-BBE8-AB0EF7CB70C1}"/>
              </a:ext>
            </a:extLst>
          </p:cNvPr>
          <p:cNvSpPr>
            <a:spLocks/>
          </p:cNvSpPr>
          <p:nvPr/>
        </p:nvSpPr>
        <p:spPr bwMode="auto">
          <a:xfrm>
            <a:off x="3815236" y="3869586"/>
            <a:ext cx="3469" cy="4155"/>
          </a:xfrm>
          <a:custGeom>
            <a:avLst/>
            <a:gdLst>
              <a:gd name="T0" fmla="*/ 3 w 3"/>
              <a:gd name="T1" fmla="*/ 0 h 3"/>
              <a:gd name="T2" fmla="*/ 0 w 3"/>
              <a:gd name="T3" fmla="*/ 3 h 3"/>
              <a:gd name="T4" fmla="*/ 3 w 3"/>
              <a:gd name="T5" fmla="*/ 0 h 3"/>
            </a:gdLst>
            <a:ahLst/>
            <a:cxnLst>
              <a:cxn ang="0">
                <a:pos x="T0" y="T1"/>
              </a:cxn>
              <a:cxn ang="0">
                <a:pos x="T2" y="T3"/>
              </a:cxn>
              <a:cxn ang="0">
                <a:pos x="T4" y="T5"/>
              </a:cxn>
            </a:cxnLst>
            <a:rect l="0" t="0" r="r" b="b"/>
            <a:pathLst>
              <a:path w="3" h="3">
                <a:moveTo>
                  <a:pt x="3" y="0"/>
                </a:moveTo>
                <a:cubicBezTo>
                  <a:pt x="2" y="1"/>
                  <a:pt x="1" y="2"/>
                  <a:pt x="0" y="3"/>
                </a:cubicBezTo>
                <a:cubicBezTo>
                  <a:pt x="1" y="2"/>
                  <a:pt x="3" y="2"/>
                  <a:pt x="3"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00" name="Freeform 2856">
            <a:extLst>
              <a:ext uri="{FF2B5EF4-FFF2-40B4-BE49-F238E27FC236}">
                <a16:creationId xmlns:a16="http://schemas.microsoft.com/office/drawing/2014/main" id="{49829EC0-E9F0-431D-B87D-BF25AA19134B}"/>
              </a:ext>
            </a:extLst>
          </p:cNvPr>
          <p:cNvSpPr>
            <a:spLocks/>
          </p:cNvSpPr>
          <p:nvPr/>
        </p:nvSpPr>
        <p:spPr bwMode="auto">
          <a:xfrm>
            <a:off x="3809290" y="3841687"/>
            <a:ext cx="4460" cy="9498"/>
          </a:xfrm>
          <a:custGeom>
            <a:avLst/>
            <a:gdLst>
              <a:gd name="T0" fmla="*/ 1 w 4"/>
              <a:gd name="T1" fmla="*/ 0 h 7"/>
              <a:gd name="T2" fmla="*/ 0 w 4"/>
              <a:gd name="T3" fmla="*/ 3 h 7"/>
              <a:gd name="T4" fmla="*/ 4 w 4"/>
              <a:gd name="T5" fmla="*/ 7 h 7"/>
              <a:gd name="T6" fmla="*/ 4 w 4"/>
              <a:gd name="T7" fmla="*/ 5 h 7"/>
              <a:gd name="T8" fmla="*/ 1 w 4"/>
              <a:gd name="T9" fmla="*/ 0 h 7"/>
            </a:gdLst>
            <a:ahLst/>
            <a:cxnLst>
              <a:cxn ang="0">
                <a:pos x="T0" y="T1"/>
              </a:cxn>
              <a:cxn ang="0">
                <a:pos x="T2" y="T3"/>
              </a:cxn>
              <a:cxn ang="0">
                <a:pos x="T4" y="T5"/>
              </a:cxn>
              <a:cxn ang="0">
                <a:pos x="T6" y="T7"/>
              </a:cxn>
              <a:cxn ang="0">
                <a:pos x="T8" y="T9"/>
              </a:cxn>
            </a:cxnLst>
            <a:rect l="0" t="0" r="r" b="b"/>
            <a:pathLst>
              <a:path w="4" h="7">
                <a:moveTo>
                  <a:pt x="1" y="0"/>
                </a:moveTo>
                <a:cubicBezTo>
                  <a:pt x="1" y="1"/>
                  <a:pt x="0" y="2"/>
                  <a:pt x="0" y="3"/>
                </a:cubicBezTo>
                <a:cubicBezTo>
                  <a:pt x="1" y="5"/>
                  <a:pt x="2" y="6"/>
                  <a:pt x="4" y="7"/>
                </a:cubicBezTo>
                <a:cubicBezTo>
                  <a:pt x="4" y="6"/>
                  <a:pt x="4" y="5"/>
                  <a:pt x="4" y="5"/>
                </a:cubicBezTo>
                <a:cubicBezTo>
                  <a:pt x="2" y="6"/>
                  <a:pt x="2" y="1"/>
                  <a:pt x="1"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01" name="Freeform 2857">
            <a:extLst>
              <a:ext uri="{FF2B5EF4-FFF2-40B4-BE49-F238E27FC236}">
                <a16:creationId xmlns:a16="http://schemas.microsoft.com/office/drawing/2014/main" id="{DE0CC392-5A05-445C-BCF1-20719B626506}"/>
              </a:ext>
            </a:extLst>
          </p:cNvPr>
          <p:cNvSpPr>
            <a:spLocks/>
          </p:cNvSpPr>
          <p:nvPr/>
        </p:nvSpPr>
        <p:spPr bwMode="auto">
          <a:xfrm>
            <a:off x="3813750" y="3829222"/>
            <a:ext cx="3469" cy="8310"/>
          </a:xfrm>
          <a:custGeom>
            <a:avLst/>
            <a:gdLst>
              <a:gd name="T0" fmla="*/ 2 w 3"/>
              <a:gd name="T1" fmla="*/ 6 h 6"/>
              <a:gd name="T2" fmla="*/ 3 w 3"/>
              <a:gd name="T3" fmla="*/ 4 h 6"/>
              <a:gd name="T4" fmla="*/ 3 w 3"/>
              <a:gd name="T5" fmla="*/ 2 h 6"/>
              <a:gd name="T6" fmla="*/ 3 w 3"/>
              <a:gd name="T7" fmla="*/ 1 h 6"/>
              <a:gd name="T8" fmla="*/ 1 w 3"/>
              <a:gd name="T9" fmla="*/ 0 h 6"/>
              <a:gd name="T10" fmla="*/ 2 w 3"/>
              <a:gd name="T11" fmla="*/ 4 h 6"/>
              <a:gd name="T12" fmla="*/ 2 w 3"/>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 h="6">
                <a:moveTo>
                  <a:pt x="2" y="6"/>
                </a:moveTo>
                <a:cubicBezTo>
                  <a:pt x="2" y="5"/>
                  <a:pt x="3" y="5"/>
                  <a:pt x="3" y="4"/>
                </a:cubicBezTo>
                <a:cubicBezTo>
                  <a:pt x="3" y="3"/>
                  <a:pt x="3" y="3"/>
                  <a:pt x="3" y="2"/>
                </a:cubicBezTo>
                <a:cubicBezTo>
                  <a:pt x="3" y="2"/>
                  <a:pt x="3" y="2"/>
                  <a:pt x="3" y="1"/>
                </a:cubicBezTo>
                <a:cubicBezTo>
                  <a:pt x="3" y="0"/>
                  <a:pt x="2" y="1"/>
                  <a:pt x="1" y="0"/>
                </a:cubicBezTo>
                <a:cubicBezTo>
                  <a:pt x="1" y="1"/>
                  <a:pt x="2" y="2"/>
                  <a:pt x="2" y="4"/>
                </a:cubicBezTo>
                <a:cubicBezTo>
                  <a:pt x="1" y="4"/>
                  <a:pt x="0" y="6"/>
                  <a:pt x="2" y="6"/>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02" name="Freeform 2858">
            <a:extLst>
              <a:ext uri="{FF2B5EF4-FFF2-40B4-BE49-F238E27FC236}">
                <a16:creationId xmlns:a16="http://schemas.microsoft.com/office/drawing/2014/main" id="{6B61D547-4187-4D74-B3A7-B84829012C94}"/>
              </a:ext>
            </a:extLst>
          </p:cNvPr>
          <p:cNvSpPr>
            <a:spLocks/>
          </p:cNvSpPr>
          <p:nvPr/>
        </p:nvSpPr>
        <p:spPr bwMode="auto">
          <a:xfrm>
            <a:off x="3817219" y="3530050"/>
            <a:ext cx="7433" cy="4155"/>
          </a:xfrm>
          <a:custGeom>
            <a:avLst/>
            <a:gdLst>
              <a:gd name="T0" fmla="*/ 1 w 6"/>
              <a:gd name="T1" fmla="*/ 2 h 3"/>
              <a:gd name="T2" fmla="*/ 5 w 6"/>
              <a:gd name="T3" fmla="*/ 3 h 3"/>
              <a:gd name="T4" fmla="*/ 4 w 6"/>
              <a:gd name="T5" fmla="*/ 2 h 3"/>
              <a:gd name="T6" fmla="*/ 3 w 6"/>
              <a:gd name="T7" fmla="*/ 2 h 3"/>
              <a:gd name="T8" fmla="*/ 2 w 6"/>
              <a:gd name="T9" fmla="*/ 1 h 3"/>
              <a:gd name="T10" fmla="*/ 1 w 6"/>
              <a:gd name="T11" fmla="*/ 0 h 3"/>
              <a:gd name="T12" fmla="*/ 2 w 6"/>
              <a:gd name="T13" fmla="*/ 2 h 3"/>
              <a:gd name="T14" fmla="*/ 1 w 6"/>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1" y="2"/>
                </a:moveTo>
                <a:cubicBezTo>
                  <a:pt x="1" y="3"/>
                  <a:pt x="4" y="3"/>
                  <a:pt x="5" y="3"/>
                </a:cubicBezTo>
                <a:cubicBezTo>
                  <a:pt x="6" y="3"/>
                  <a:pt x="6" y="2"/>
                  <a:pt x="4" y="2"/>
                </a:cubicBezTo>
                <a:cubicBezTo>
                  <a:pt x="4" y="2"/>
                  <a:pt x="3" y="2"/>
                  <a:pt x="3" y="2"/>
                </a:cubicBezTo>
                <a:cubicBezTo>
                  <a:pt x="2" y="2"/>
                  <a:pt x="3" y="0"/>
                  <a:pt x="2" y="1"/>
                </a:cubicBezTo>
                <a:cubicBezTo>
                  <a:pt x="3" y="0"/>
                  <a:pt x="2" y="0"/>
                  <a:pt x="1" y="0"/>
                </a:cubicBezTo>
                <a:cubicBezTo>
                  <a:pt x="0" y="0"/>
                  <a:pt x="1" y="2"/>
                  <a:pt x="2" y="2"/>
                </a:cubicBezTo>
                <a:cubicBezTo>
                  <a:pt x="1" y="2"/>
                  <a:pt x="1" y="2"/>
                  <a:pt x="1" y="2"/>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03" name="Freeform 2859">
            <a:extLst>
              <a:ext uri="{FF2B5EF4-FFF2-40B4-BE49-F238E27FC236}">
                <a16:creationId xmlns:a16="http://schemas.microsoft.com/office/drawing/2014/main" id="{BCC9CC08-973C-4EC4-A88B-8D4C6AB3E136}"/>
              </a:ext>
            </a:extLst>
          </p:cNvPr>
          <p:cNvSpPr>
            <a:spLocks/>
          </p:cNvSpPr>
          <p:nvPr/>
        </p:nvSpPr>
        <p:spPr bwMode="auto">
          <a:xfrm>
            <a:off x="3428204" y="3734840"/>
            <a:ext cx="1487" cy="2968"/>
          </a:xfrm>
          <a:custGeom>
            <a:avLst/>
            <a:gdLst>
              <a:gd name="T0" fmla="*/ 0 w 1"/>
              <a:gd name="T1" fmla="*/ 2 h 2"/>
              <a:gd name="T2" fmla="*/ 1 w 1"/>
              <a:gd name="T3" fmla="*/ 0 h 2"/>
              <a:gd name="T4" fmla="*/ 0 w 1"/>
              <a:gd name="T5" fmla="*/ 2 h 2"/>
            </a:gdLst>
            <a:ahLst/>
            <a:cxnLst>
              <a:cxn ang="0">
                <a:pos x="T0" y="T1"/>
              </a:cxn>
              <a:cxn ang="0">
                <a:pos x="T2" y="T3"/>
              </a:cxn>
              <a:cxn ang="0">
                <a:pos x="T4" y="T5"/>
              </a:cxn>
            </a:cxnLst>
            <a:rect l="0" t="0" r="r" b="b"/>
            <a:pathLst>
              <a:path w="1" h="2">
                <a:moveTo>
                  <a:pt x="0" y="2"/>
                </a:moveTo>
                <a:cubicBezTo>
                  <a:pt x="1" y="1"/>
                  <a:pt x="1" y="1"/>
                  <a:pt x="1" y="0"/>
                </a:cubicBezTo>
                <a:cubicBezTo>
                  <a:pt x="0" y="0"/>
                  <a:pt x="1" y="1"/>
                  <a:pt x="0" y="2"/>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04" name="Freeform 2860">
            <a:extLst>
              <a:ext uri="{FF2B5EF4-FFF2-40B4-BE49-F238E27FC236}">
                <a16:creationId xmlns:a16="http://schemas.microsoft.com/office/drawing/2014/main" id="{E7278F13-80A2-45BD-8BDB-AA5DA8703A06}"/>
              </a:ext>
            </a:extLst>
          </p:cNvPr>
          <p:cNvSpPr>
            <a:spLocks/>
          </p:cNvSpPr>
          <p:nvPr/>
        </p:nvSpPr>
        <p:spPr bwMode="auto">
          <a:xfrm>
            <a:off x="3277058" y="3684385"/>
            <a:ext cx="2478" cy="1187"/>
          </a:xfrm>
          <a:custGeom>
            <a:avLst/>
            <a:gdLst>
              <a:gd name="T0" fmla="*/ 0 w 2"/>
              <a:gd name="T1" fmla="*/ 0 h 1"/>
              <a:gd name="T2" fmla="*/ 2 w 2"/>
              <a:gd name="T3" fmla="*/ 0 h 1"/>
              <a:gd name="T4" fmla="*/ 0 w 2"/>
              <a:gd name="T5" fmla="*/ 0 h 1"/>
            </a:gdLst>
            <a:ahLst/>
            <a:cxnLst>
              <a:cxn ang="0">
                <a:pos x="T0" y="T1"/>
              </a:cxn>
              <a:cxn ang="0">
                <a:pos x="T2" y="T3"/>
              </a:cxn>
              <a:cxn ang="0">
                <a:pos x="T4" y="T5"/>
              </a:cxn>
            </a:cxnLst>
            <a:rect l="0" t="0" r="r" b="b"/>
            <a:pathLst>
              <a:path w="2" h="1">
                <a:moveTo>
                  <a:pt x="0" y="0"/>
                </a:moveTo>
                <a:cubicBezTo>
                  <a:pt x="1" y="0"/>
                  <a:pt x="1" y="1"/>
                  <a:pt x="2" y="0"/>
                </a:cubicBezTo>
                <a:cubicBezTo>
                  <a:pt x="1"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05" name="Freeform 2861">
            <a:extLst>
              <a:ext uri="{FF2B5EF4-FFF2-40B4-BE49-F238E27FC236}">
                <a16:creationId xmlns:a16="http://schemas.microsoft.com/office/drawing/2014/main" id="{CB4DB22D-EDDC-4887-8BB5-220D99B77672}"/>
              </a:ext>
            </a:extLst>
          </p:cNvPr>
          <p:cNvSpPr>
            <a:spLocks/>
          </p:cNvSpPr>
          <p:nvPr/>
        </p:nvSpPr>
        <p:spPr bwMode="auto">
          <a:xfrm>
            <a:off x="3279536" y="3684385"/>
            <a:ext cx="1487"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06" name="Freeform 2862">
            <a:extLst>
              <a:ext uri="{FF2B5EF4-FFF2-40B4-BE49-F238E27FC236}">
                <a16:creationId xmlns:a16="http://schemas.microsoft.com/office/drawing/2014/main" id="{641BAFDB-9B5E-49DF-A775-C5A8F04A3DE0}"/>
              </a:ext>
            </a:extLst>
          </p:cNvPr>
          <p:cNvSpPr>
            <a:spLocks/>
          </p:cNvSpPr>
          <p:nvPr/>
        </p:nvSpPr>
        <p:spPr bwMode="auto">
          <a:xfrm>
            <a:off x="3163574" y="3600094"/>
            <a:ext cx="991" cy="1187"/>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1" y="0"/>
                  <a:pt x="1" y="0"/>
                  <a:pt x="1" y="0"/>
                </a:cubicBezTo>
                <a:cubicBezTo>
                  <a:pt x="0" y="0"/>
                  <a:pt x="1" y="0"/>
                  <a:pt x="0"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07" name="Rectangle 2863">
            <a:extLst>
              <a:ext uri="{FF2B5EF4-FFF2-40B4-BE49-F238E27FC236}">
                <a16:creationId xmlns:a16="http://schemas.microsoft.com/office/drawing/2014/main" id="{3BA5B518-C044-4BB3-8041-D51752A1BD15}"/>
              </a:ext>
            </a:extLst>
          </p:cNvPr>
          <p:cNvSpPr>
            <a:spLocks noChangeArrowheads="1"/>
          </p:cNvSpPr>
          <p:nvPr/>
        </p:nvSpPr>
        <p:spPr bwMode="auto">
          <a:xfrm>
            <a:off x="3182406" y="3626806"/>
            <a:ext cx="496" cy="594"/>
          </a:xfrm>
          <a:prstGeom prst="rect">
            <a:avLst/>
          </a:prstGeom>
          <a:solidFill>
            <a:schemeClr val="tx1">
              <a:lumMod val="40000"/>
              <a:lumOff val="60000"/>
            </a:schemeClr>
          </a:solid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08" name="Freeform 2864">
            <a:extLst>
              <a:ext uri="{FF2B5EF4-FFF2-40B4-BE49-F238E27FC236}">
                <a16:creationId xmlns:a16="http://schemas.microsoft.com/office/drawing/2014/main" id="{EDFC0D7F-EBDE-4E1B-AD65-292A5A296CD9}"/>
              </a:ext>
            </a:extLst>
          </p:cNvPr>
          <p:cNvSpPr>
            <a:spLocks/>
          </p:cNvSpPr>
          <p:nvPr/>
        </p:nvSpPr>
        <p:spPr bwMode="auto">
          <a:xfrm>
            <a:off x="3156637" y="3594158"/>
            <a:ext cx="991" cy="1781"/>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1" y="0"/>
                  <a:pt x="1" y="0"/>
                  <a:pt x="1" y="0"/>
                </a:cubicBezTo>
                <a:cubicBezTo>
                  <a:pt x="1" y="0"/>
                  <a:pt x="1" y="0"/>
                  <a:pt x="0"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09" name="Freeform 2865">
            <a:extLst>
              <a:ext uri="{FF2B5EF4-FFF2-40B4-BE49-F238E27FC236}">
                <a16:creationId xmlns:a16="http://schemas.microsoft.com/office/drawing/2014/main" id="{D15DF04E-10B5-476F-9DEA-CA0F11A04678}"/>
              </a:ext>
            </a:extLst>
          </p:cNvPr>
          <p:cNvSpPr>
            <a:spLocks/>
          </p:cNvSpPr>
          <p:nvPr/>
        </p:nvSpPr>
        <p:spPr bwMode="auto">
          <a:xfrm>
            <a:off x="3424735" y="369150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10" name="Freeform 2866">
            <a:extLst>
              <a:ext uri="{FF2B5EF4-FFF2-40B4-BE49-F238E27FC236}">
                <a16:creationId xmlns:a16="http://schemas.microsoft.com/office/drawing/2014/main" id="{6F1C8B8A-397C-4A21-8416-BD23AA5FD89A}"/>
              </a:ext>
            </a:extLst>
          </p:cNvPr>
          <p:cNvSpPr>
            <a:spLocks/>
          </p:cNvSpPr>
          <p:nvPr/>
        </p:nvSpPr>
        <p:spPr bwMode="auto">
          <a:xfrm>
            <a:off x="3142761" y="3577538"/>
            <a:ext cx="3469" cy="1187"/>
          </a:xfrm>
          <a:custGeom>
            <a:avLst/>
            <a:gdLst>
              <a:gd name="T0" fmla="*/ 3 w 3"/>
              <a:gd name="T1" fmla="*/ 0 h 1"/>
              <a:gd name="T2" fmla="*/ 0 w 3"/>
              <a:gd name="T3" fmla="*/ 0 h 1"/>
              <a:gd name="T4" fmla="*/ 3 w 3"/>
              <a:gd name="T5" fmla="*/ 0 h 1"/>
            </a:gdLst>
            <a:ahLst/>
            <a:cxnLst>
              <a:cxn ang="0">
                <a:pos x="T0" y="T1"/>
              </a:cxn>
              <a:cxn ang="0">
                <a:pos x="T2" y="T3"/>
              </a:cxn>
              <a:cxn ang="0">
                <a:pos x="T4" y="T5"/>
              </a:cxn>
            </a:cxnLst>
            <a:rect l="0" t="0" r="r" b="b"/>
            <a:pathLst>
              <a:path w="3" h="1">
                <a:moveTo>
                  <a:pt x="3" y="0"/>
                </a:moveTo>
                <a:cubicBezTo>
                  <a:pt x="2" y="0"/>
                  <a:pt x="1" y="0"/>
                  <a:pt x="0" y="0"/>
                </a:cubicBezTo>
                <a:cubicBezTo>
                  <a:pt x="2" y="1"/>
                  <a:pt x="2" y="0"/>
                  <a:pt x="3"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11" name="Freeform 2867">
            <a:extLst>
              <a:ext uri="{FF2B5EF4-FFF2-40B4-BE49-F238E27FC236}">
                <a16:creationId xmlns:a16="http://schemas.microsoft.com/office/drawing/2014/main" id="{B5A94844-BDE8-43A5-A6BF-367E06E172FE}"/>
              </a:ext>
            </a:extLst>
          </p:cNvPr>
          <p:cNvSpPr>
            <a:spLocks/>
          </p:cNvSpPr>
          <p:nvPr/>
        </p:nvSpPr>
        <p:spPr bwMode="auto">
          <a:xfrm>
            <a:off x="3141274" y="3554981"/>
            <a:ext cx="3469" cy="1781"/>
          </a:xfrm>
          <a:custGeom>
            <a:avLst/>
            <a:gdLst>
              <a:gd name="T0" fmla="*/ 0 w 3"/>
              <a:gd name="T1" fmla="*/ 1 h 1"/>
              <a:gd name="T2" fmla="*/ 3 w 3"/>
              <a:gd name="T3" fmla="*/ 0 h 1"/>
              <a:gd name="T4" fmla="*/ 0 w 3"/>
              <a:gd name="T5" fmla="*/ 1 h 1"/>
            </a:gdLst>
            <a:ahLst/>
            <a:cxnLst>
              <a:cxn ang="0">
                <a:pos x="T0" y="T1"/>
              </a:cxn>
              <a:cxn ang="0">
                <a:pos x="T2" y="T3"/>
              </a:cxn>
              <a:cxn ang="0">
                <a:pos x="T4" y="T5"/>
              </a:cxn>
            </a:cxnLst>
            <a:rect l="0" t="0" r="r" b="b"/>
            <a:pathLst>
              <a:path w="3" h="1">
                <a:moveTo>
                  <a:pt x="0" y="1"/>
                </a:moveTo>
                <a:cubicBezTo>
                  <a:pt x="1" y="1"/>
                  <a:pt x="2" y="0"/>
                  <a:pt x="3" y="0"/>
                </a:cubicBezTo>
                <a:cubicBezTo>
                  <a:pt x="2" y="0"/>
                  <a:pt x="1" y="1"/>
                  <a:pt x="0"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12" name="Freeform 2868">
            <a:extLst>
              <a:ext uri="{FF2B5EF4-FFF2-40B4-BE49-F238E27FC236}">
                <a16:creationId xmlns:a16="http://schemas.microsoft.com/office/drawing/2014/main" id="{4BD90064-2FC3-4B6A-B959-CEAC4506A434}"/>
              </a:ext>
            </a:extLst>
          </p:cNvPr>
          <p:cNvSpPr>
            <a:spLocks/>
          </p:cNvSpPr>
          <p:nvPr/>
        </p:nvSpPr>
        <p:spPr bwMode="auto">
          <a:xfrm>
            <a:off x="3146230" y="3577538"/>
            <a:ext cx="991"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13" name="Freeform 2869">
            <a:extLst>
              <a:ext uri="{FF2B5EF4-FFF2-40B4-BE49-F238E27FC236}">
                <a16:creationId xmlns:a16="http://schemas.microsoft.com/office/drawing/2014/main" id="{5BB983F3-8DE5-47C1-9B59-838AF5DAF69A}"/>
              </a:ext>
            </a:extLst>
          </p:cNvPr>
          <p:cNvSpPr>
            <a:spLocks/>
          </p:cNvSpPr>
          <p:nvPr/>
        </p:nvSpPr>
        <p:spPr bwMode="auto">
          <a:xfrm>
            <a:off x="3182406" y="3626806"/>
            <a:ext cx="0" cy="1187"/>
          </a:xfrm>
          <a:custGeom>
            <a:avLst/>
            <a:gdLst>
              <a:gd name="T0" fmla="*/ 0 h 1"/>
              <a:gd name="T1" fmla="*/ 0 h 1"/>
              <a:gd name="T2" fmla="*/ 0 h 1"/>
            </a:gdLst>
            <a:ahLst/>
            <a:cxnLst>
              <a:cxn ang="0">
                <a:pos x="0" y="T0"/>
              </a:cxn>
              <a:cxn ang="0">
                <a:pos x="0" y="T1"/>
              </a:cxn>
              <a:cxn ang="0">
                <a:pos x="0" y="T2"/>
              </a:cxn>
            </a:cxnLst>
            <a:rect l="0" t="0" r="r" b="b"/>
            <a:pathLst>
              <a:path h="1">
                <a:moveTo>
                  <a:pt x="0" y="0"/>
                </a:moveTo>
                <a:cubicBezTo>
                  <a:pt x="0" y="0"/>
                  <a:pt x="0" y="0"/>
                  <a:pt x="0" y="0"/>
                </a:cubicBezTo>
                <a:cubicBezTo>
                  <a:pt x="0" y="0"/>
                  <a:pt x="0" y="1"/>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14" name="Freeform 2870">
            <a:extLst>
              <a:ext uri="{FF2B5EF4-FFF2-40B4-BE49-F238E27FC236}">
                <a16:creationId xmlns:a16="http://schemas.microsoft.com/office/drawing/2014/main" id="{7D4DA4ED-E3F5-4DCE-8C33-35C87C53C54D}"/>
              </a:ext>
            </a:extLst>
          </p:cNvPr>
          <p:cNvSpPr>
            <a:spLocks/>
          </p:cNvSpPr>
          <p:nvPr/>
        </p:nvSpPr>
        <p:spPr bwMode="auto">
          <a:xfrm>
            <a:off x="3141274" y="35567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15" name="Rectangle 2871">
            <a:extLst>
              <a:ext uri="{FF2B5EF4-FFF2-40B4-BE49-F238E27FC236}">
                <a16:creationId xmlns:a16="http://schemas.microsoft.com/office/drawing/2014/main" id="{59371923-2468-41CE-864D-118EA7854D89}"/>
              </a:ext>
            </a:extLst>
          </p:cNvPr>
          <p:cNvSpPr>
            <a:spLocks noChangeArrowheads="1"/>
          </p:cNvSpPr>
          <p:nvPr/>
        </p:nvSpPr>
        <p:spPr bwMode="auto">
          <a:xfrm>
            <a:off x="3952011" y="3608404"/>
            <a:ext cx="496" cy="594"/>
          </a:xfrm>
          <a:prstGeom prst="rect">
            <a:avLst/>
          </a:prstGeom>
          <a:solidFill>
            <a:schemeClr val="tx1">
              <a:lumMod val="40000"/>
              <a:lumOff val="60000"/>
            </a:schemeClr>
          </a:solid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16" name="Freeform 2872">
            <a:extLst>
              <a:ext uri="{FF2B5EF4-FFF2-40B4-BE49-F238E27FC236}">
                <a16:creationId xmlns:a16="http://schemas.microsoft.com/office/drawing/2014/main" id="{79179C7D-4839-4219-9B17-E47B645B7A6C}"/>
              </a:ext>
            </a:extLst>
          </p:cNvPr>
          <p:cNvSpPr>
            <a:spLocks/>
          </p:cNvSpPr>
          <p:nvPr/>
        </p:nvSpPr>
        <p:spPr bwMode="auto">
          <a:xfrm>
            <a:off x="3951020" y="3608404"/>
            <a:ext cx="991"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17" name="Freeform 2873">
            <a:extLst>
              <a:ext uri="{FF2B5EF4-FFF2-40B4-BE49-F238E27FC236}">
                <a16:creationId xmlns:a16="http://schemas.microsoft.com/office/drawing/2014/main" id="{6B0E5500-937B-4476-8349-D2A281B0FEB5}"/>
              </a:ext>
            </a:extLst>
          </p:cNvPr>
          <p:cNvSpPr>
            <a:spLocks/>
          </p:cNvSpPr>
          <p:nvPr/>
        </p:nvSpPr>
        <p:spPr bwMode="auto">
          <a:xfrm>
            <a:off x="3294898" y="3681417"/>
            <a:ext cx="991" cy="1781"/>
          </a:xfrm>
          <a:custGeom>
            <a:avLst/>
            <a:gdLst>
              <a:gd name="T0" fmla="*/ 0 w 1"/>
              <a:gd name="T1" fmla="*/ 1 h 1"/>
              <a:gd name="T2" fmla="*/ 1 w 1"/>
              <a:gd name="T3" fmla="*/ 1 h 1"/>
              <a:gd name="T4" fmla="*/ 0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0" y="1"/>
                  <a:pt x="1" y="1"/>
                  <a:pt x="1" y="1"/>
                </a:cubicBezTo>
                <a:cubicBezTo>
                  <a:pt x="0" y="1"/>
                  <a:pt x="0" y="1"/>
                  <a:pt x="0" y="0"/>
                </a:cubicBezTo>
                <a:cubicBezTo>
                  <a:pt x="0" y="1"/>
                  <a:pt x="0" y="1"/>
                  <a:pt x="0"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18" name="Freeform 2874">
            <a:extLst>
              <a:ext uri="{FF2B5EF4-FFF2-40B4-BE49-F238E27FC236}">
                <a16:creationId xmlns:a16="http://schemas.microsoft.com/office/drawing/2014/main" id="{BF502B34-53B4-4251-ABCF-74A8635D33CD}"/>
              </a:ext>
            </a:extLst>
          </p:cNvPr>
          <p:cNvSpPr>
            <a:spLocks/>
          </p:cNvSpPr>
          <p:nvPr/>
        </p:nvSpPr>
        <p:spPr bwMode="auto">
          <a:xfrm>
            <a:off x="3374683" y="346950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19" name="Rectangle 2875">
            <a:extLst>
              <a:ext uri="{FF2B5EF4-FFF2-40B4-BE49-F238E27FC236}">
                <a16:creationId xmlns:a16="http://schemas.microsoft.com/office/drawing/2014/main" id="{56CDB8BB-D67E-4C15-B152-B4E062BDB56D}"/>
              </a:ext>
            </a:extLst>
          </p:cNvPr>
          <p:cNvSpPr>
            <a:spLocks noChangeArrowheads="1"/>
          </p:cNvSpPr>
          <p:nvPr/>
        </p:nvSpPr>
        <p:spPr bwMode="auto">
          <a:xfrm>
            <a:off x="3374683" y="3469503"/>
            <a:ext cx="496" cy="594"/>
          </a:xfrm>
          <a:prstGeom prst="rect">
            <a:avLst/>
          </a:prstGeom>
          <a:solidFill>
            <a:schemeClr val="tx1">
              <a:lumMod val="40000"/>
              <a:lumOff val="60000"/>
            </a:schemeClr>
          </a:solid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20" name="Freeform 2876">
            <a:extLst>
              <a:ext uri="{FF2B5EF4-FFF2-40B4-BE49-F238E27FC236}">
                <a16:creationId xmlns:a16="http://schemas.microsoft.com/office/drawing/2014/main" id="{ADE57DA7-0170-4916-9C03-1782AECA15E0}"/>
              </a:ext>
            </a:extLst>
          </p:cNvPr>
          <p:cNvSpPr>
            <a:spLocks/>
          </p:cNvSpPr>
          <p:nvPr/>
        </p:nvSpPr>
        <p:spPr bwMode="auto">
          <a:xfrm>
            <a:off x="3407390" y="368022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21" name="Freeform 2877">
            <a:extLst>
              <a:ext uri="{FF2B5EF4-FFF2-40B4-BE49-F238E27FC236}">
                <a16:creationId xmlns:a16="http://schemas.microsoft.com/office/drawing/2014/main" id="{6D170F32-751B-462C-A928-C9116EB2F1A4}"/>
              </a:ext>
            </a:extLst>
          </p:cNvPr>
          <p:cNvSpPr>
            <a:spLocks/>
          </p:cNvSpPr>
          <p:nvPr/>
        </p:nvSpPr>
        <p:spPr bwMode="auto">
          <a:xfrm>
            <a:off x="3456451" y="3793606"/>
            <a:ext cx="1487" cy="1781"/>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1"/>
                  <a:pt x="1" y="0"/>
                  <a:pt x="0" y="0"/>
                </a:cubicBezTo>
                <a:cubicBezTo>
                  <a:pt x="1" y="1"/>
                  <a:pt x="1" y="1"/>
                  <a:pt x="1"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22" name="Freeform 2878">
            <a:extLst>
              <a:ext uri="{FF2B5EF4-FFF2-40B4-BE49-F238E27FC236}">
                <a16:creationId xmlns:a16="http://schemas.microsoft.com/office/drawing/2014/main" id="{DEAAC4A2-F201-42A6-8ADB-DB8BFF5DE524}"/>
              </a:ext>
            </a:extLst>
          </p:cNvPr>
          <p:cNvSpPr>
            <a:spLocks/>
          </p:cNvSpPr>
          <p:nvPr/>
        </p:nvSpPr>
        <p:spPr bwMode="auto">
          <a:xfrm>
            <a:off x="3457937" y="3792419"/>
            <a:ext cx="4460" cy="4155"/>
          </a:xfrm>
          <a:custGeom>
            <a:avLst/>
            <a:gdLst>
              <a:gd name="T0" fmla="*/ 2 w 4"/>
              <a:gd name="T1" fmla="*/ 3 h 3"/>
              <a:gd name="T2" fmla="*/ 0 w 4"/>
              <a:gd name="T3" fmla="*/ 2 h 3"/>
              <a:gd name="T4" fmla="*/ 2 w 4"/>
              <a:gd name="T5" fmla="*/ 3 h 3"/>
              <a:gd name="T6" fmla="*/ 3 w 4"/>
              <a:gd name="T7" fmla="*/ 3 h 3"/>
              <a:gd name="T8" fmla="*/ 3 w 4"/>
              <a:gd name="T9" fmla="*/ 2 h 3"/>
              <a:gd name="T10" fmla="*/ 2 w 4"/>
              <a:gd name="T11" fmla="*/ 3 h 3"/>
            </a:gdLst>
            <a:ahLst/>
            <a:cxnLst>
              <a:cxn ang="0">
                <a:pos x="T0" y="T1"/>
              </a:cxn>
              <a:cxn ang="0">
                <a:pos x="T2" y="T3"/>
              </a:cxn>
              <a:cxn ang="0">
                <a:pos x="T4" y="T5"/>
              </a:cxn>
              <a:cxn ang="0">
                <a:pos x="T6" y="T7"/>
              </a:cxn>
              <a:cxn ang="0">
                <a:pos x="T8" y="T9"/>
              </a:cxn>
              <a:cxn ang="0">
                <a:pos x="T10" y="T11"/>
              </a:cxn>
            </a:cxnLst>
            <a:rect l="0" t="0" r="r" b="b"/>
            <a:pathLst>
              <a:path w="4" h="3">
                <a:moveTo>
                  <a:pt x="2" y="3"/>
                </a:moveTo>
                <a:cubicBezTo>
                  <a:pt x="1" y="2"/>
                  <a:pt x="0" y="0"/>
                  <a:pt x="0" y="2"/>
                </a:cubicBezTo>
                <a:cubicBezTo>
                  <a:pt x="1" y="2"/>
                  <a:pt x="1" y="3"/>
                  <a:pt x="2" y="3"/>
                </a:cubicBezTo>
                <a:cubicBezTo>
                  <a:pt x="2" y="3"/>
                  <a:pt x="3" y="3"/>
                  <a:pt x="3" y="3"/>
                </a:cubicBezTo>
                <a:cubicBezTo>
                  <a:pt x="3" y="3"/>
                  <a:pt x="4" y="3"/>
                  <a:pt x="3" y="2"/>
                </a:cubicBezTo>
                <a:cubicBezTo>
                  <a:pt x="3" y="2"/>
                  <a:pt x="2" y="3"/>
                  <a:pt x="2" y="3"/>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23" name="Freeform 2879">
            <a:extLst>
              <a:ext uri="{FF2B5EF4-FFF2-40B4-BE49-F238E27FC236}">
                <a16:creationId xmlns:a16="http://schemas.microsoft.com/office/drawing/2014/main" id="{67CFDF94-765B-4699-BD12-DA5393C12268}"/>
              </a:ext>
            </a:extLst>
          </p:cNvPr>
          <p:cNvSpPr>
            <a:spLocks/>
          </p:cNvSpPr>
          <p:nvPr/>
        </p:nvSpPr>
        <p:spPr bwMode="auto">
          <a:xfrm>
            <a:off x="3841006" y="3576350"/>
            <a:ext cx="18831" cy="27899"/>
          </a:xfrm>
          <a:custGeom>
            <a:avLst/>
            <a:gdLst>
              <a:gd name="T0" fmla="*/ 6 w 16"/>
              <a:gd name="T1" fmla="*/ 2 h 20"/>
              <a:gd name="T2" fmla="*/ 6 w 16"/>
              <a:gd name="T3" fmla="*/ 2 h 20"/>
              <a:gd name="T4" fmla="*/ 6 w 16"/>
              <a:gd name="T5" fmla="*/ 3 h 20"/>
              <a:gd name="T6" fmla="*/ 1 w 16"/>
              <a:gd name="T7" fmla="*/ 9 h 20"/>
              <a:gd name="T8" fmla="*/ 1 w 16"/>
              <a:gd name="T9" fmla="*/ 9 h 20"/>
              <a:gd name="T10" fmla="*/ 0 w 16"/>
              <a:gd name="T11" fmla="*/ 10 h 20"/>
              <a:gd name="T12" fmla="*/ 0 w 16"/>
              <a:gd name="T13" fmla="*/ 10 h 20"/>
              <a:gd name="T14" fmla="*/ 0 w 16"/>
              <a:gd name="T15" fmla="*/ 12 h 20"/>
              <a:gd name="T16" fmla="*/ 0 w 16"/>
              <a:gd name="T17" fmla="*/ 13 h 20"/>
              <a:gd name="T18" fmla="*/ 0 w 16"/>
              <a:gd name="T19" fmla="*/ 13 h 20"/>
              <a:gd name="T20" fmla="*/ 0 w 16"/>
              <a:gd name="T21" fmla="*/ 14 h 20"/>
              <a:gd name="T22" fmla="*/ 0 w 16"/>
              <a:gd name="T23" fmla="*/ 15 h 20"/>
              <a:gd name="T24" fmla="*/ 0 w 16"/>
              <a:gd name="T25" fmla="*/ 18 h 20"/>
              <a:gd name="T26" fmla="*/ 9 w 16"/>
              <a:gd name="T27" fmla="*/ 17 h 20"/>
              <a:gd name="T28" fmla="*/ 11 w 16"/>
              <a:gd name="T29" fmla="*/ 17 h 20"/>
              <a:gd name="T30" fmla="*/ 11 w 16"/>
              <a:gd name="T31" fmla="*/ 17 h 20"/>
              <a:gd name="T32" fmla="*/ 15 w 16"/>
              <a:gd name="T33" fmla="*/ 12 h 20"/>
              <a:gd name="T34" fmla="*/ 14 w 16"/>
              <a:gd name="T35" fmla="*/ 12 h 20"/>
              <a:gd name="T36" fmla="*/ 7 w 16"/>
              <a:gd name="T37" fmla="*/ 12 h 20"/>
              <a:gd name="T38" fmla="*/ 13 w 16"/>
              <a:gd name="T39" fmla="*/ 9 h 20"/>
              <a:gd name="T40" fmla="*/ 16 w 16"/>
              <a:gd name="T41" fmla="*/ 7 h 20"/>
              <a:gd name="T42" fmla="*/ 16 w 16"/>
              <a:gd name="T43" fmla="*/ 6 h 20"/>
              <a:gd name="T44" fmla="*/ 15 w 16"/>
              <a:gd name="T45" fmla="*/ 2 h 20"/>
              <a:gd name="T46" fmla="*/ 14 w 16"/>
              <a:gd name="T47" fmla="*/ 0 h 20"/>
              <a:gd name="T48" fmla="*/ 14 w 16"/>
              <a:gd name="T49" fmla="*/ 0 h 20"/>
              <a:gd name="T50" fmla="*/ 13 w 16"/>
              <a:gd name="T51" fmla="*/ 0 h 20"/>
              <a:gd name="T52" fmla="*/ 9 w 16"/>
              <a:gd name="T53" fmla="*/ 3 h 20"/>
              <a:gd name="T54" fmla="*/ 6 w 16"/>
              <a:gd name="T55"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20">
                <a:moveTo>
                  <a:pt x="6" y="2"/>
                </a:moveTo>
                <a:cubicBezTo>
                  <a:pt x="6" y="2"/>
                  <a:pt x="6" y="2"/>
                  <a:pt x="6" y="2"/>
                </a:cubicBezTo>
                <a:cubicBezTo>
                  <a:pt x="6" y="3"/>
                  <a:pt x="6" y="3"/>
                  <a:pt x="6" y="3"/>
                </a:cubicBezTo>
                <a:cubicBezTo>
                  <a:pt x="5" y="3"/>
                  <a:pt x="2" y="8"/>
                  <a:pt x="1" y="9"/>
                </a:cubicBezTo>
                <a:cubicBezTo>
                  <a:pt x="1" y="9"/>
                  <a:pt x="1" y="9"/>
                  <a:pt x="1" y="9"/>
                </a:cubicBezTo>
                <a:cubicBezTo>
                  <a:pt x="1" y="10"/>
                  <a:pt x="1" y="10"/>
                  <a:pt x="0" y="10"/>
                </a:cubicBezTo>
                <a:cubicBezTo>
                  <a:pt x="0" y="10"/>
                  <a:pt x="0" y="10"/>
                  <a:pt x="0" y="10"/>
                </a:cubicBezTo>
                <a:cubicBezTo>
                  <a:pt x="0" y="10"/>
                  <a:pt x="0" y="11"/>
                  <a:pt x="0" y="12"/>
                </a:cubicBezTo>
                <a:cubicBezTo>
                  <a:pt x="0" y="12"/>
                  <a:pt x="0" y="12"/>
                  <a:pt x="0" y="13"/>
                </a:cubicBezTo>
                <a:cubicBezTo>
                  <a:pt x="0" y="13"/>
                  <a:pt x="0" y="13"/>
                  <a:pt x="0" y="13"/>
                </a:cubicBezTo>
                <a:cubicBezTo>
                  <a:pt x="0" y="13"/>
                  <a:pt x="0" y="13"/>
                  <a:pt x="0" y="14"/>
                </a:cubicBezTo>
                <a:cubicBezTo>
                  <a:pt x="0" y="14"/>
                  <a:pt x="0" y="15"/>
                  <a:pt x="0" y="15"/>
                </a:cubicBezTo>
                <a:cubicBezTo>
                  <a:pt x="0" y="16"/>
                  <a:pt x="0" y="17"/>
                  <a:pt x="0" y="18"/>
                </a:cubicBezTo>
                <a:cubicBezTo>
                  <a:pt x="1" y="20"/>
                  <a:pt x="7" y="16"/>
                  <a:pt x="9" y="17"/>
                </a:cubicBezTo>
                <a:cubicBezTo>
                  <a:pt x="10" y="17"/>
                  <a:pt x="11" y="17"/>
                  <a:pt x="11" y="17"/>
                </a:cubicBezTo>
                <a:cubicBezTo>
                  <a:pt x="11" y="17"/>
                  <a:pt x="11" y="17"/>
                  <a:pt x="11" y="17"/>
                </a:cubicBezTo>
                <a:cubicBezTo>
                  <a:pt x="13" y="16"/>
                  <a:pt x="14" y="13"/>
                  <a:pt x="15" y="12"/>
                </a:cubicBezTo>
                <a:cubicBezTo>
                  <a:pt x="14" y="12"/>
                  <a:pt x="14" y="12"/>
                  <a:pt x="14" y="12"/>
                </a:cubicBezTo>
                <a:cubicBezTo>
                  <a:pt x="13" y="11"/>
                  <a:pt x="8" y="12"/>
                  <a:pt x="7" y="12"/>
                </a:cubicBezTo>
                <a:cubicBezTo>
                  <a:pt x="9" y="11"/>
                  <a:pt x="11" y="10"/>
                  <a:pt x="13" y="9"/>
                </a:cubicBezTo>
                <a:cubicBezTo>
                  <a:pt x="14" y="8"/>
                  <a:pt x="15" y="8"/>
                  <a:pt x="16" y="7"/>
                </a:cubicBezTo>
                <a:cubicBezTo>
                  <a:pt x="16" y="7"/>
                  <a:pt x="16" y="6"/>
                  <a:pt x="16" y="6"/>
                </a:cubicBezTo>
                <a:cubicBezTo>
                  <a:pt x="16" y="5"/>
                  <a:pt x="16" y="3"/>
                  <a:pt x="15" y="2"/>
                </a:cubicBezTo>
                <a:cubicBezTo>
                  <a:pt x="15" y="2"/>
                  <a:pt x="14" y="1"/>
                  <a:pt x="14" y="0"/>
                </a:cubicBezTo>
                <a:cubicBezTo>
                  <a:pt x="14" y="0"/>
                  <a:pt x="14" y="0"/>
                  <a:pt x="14" y="0"/>
                </a:cubicBezTo>
                <a:cubicBezTo>
                  <a:pt x="13" y="0"/>
                  <a:pt x="13" y="0"/>
                  <a:pt x="13" y="0"/>
                </a:cubicBezTo>
                <a:cubicBezTo>
                  <a:pt x="13" y="0"/>
                  <a:pt x="10" y="3"/>
                  <a:pt x="9" y="3"/>
                </a:cubicBezTo>
                <a:cubicBezTo>
                  <a:pt x="9" y="3"/>
                  <a:pt x="8" y="3"/>
                  <a:pt x="6" y="2"/>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24" name="Freeform 2880">
            <a:extLst>
              <a:ext uri="{FF2B5EF4-FFF2-40B4-BE49-F238E27FC236}">
                <a16:creationId xmlns:a16="http://schemas.microsoft.com/office/drawing/2014/main" id="{5D39DD4B-85BB-40AC-871C-24D73EB54434}"/>
              </a:ext>
            </a:extLst>
          </p:cNvPr>
          <p:cNvSpPr>
            <a:spLocks/>
          </p:cNvSpPr>
          <p:nvPr/>
        </p:nvSpPr>
        <p:spPr bwMode="auto">
          <a:xfrm>
            <a:off x="3497582" y="382625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25" name="Freeform 2881">
            <a:extLst>
              <a:ext uri="{FF2B5EF4-FFF2-40B4-BE49-F238E27FC236}">
                <a16:creationId xmlns:a16="http://schemas.microsoft.com/office/drawing/2014/main" id="{03B0422D-84E3-414E-BA51-D01171A077AC}"/>
              </a:ext>
            </a:extLst>
          </p:cNvPr>
          <p:cNvSpPr>
            <a:spLocks/>
          </p:cNvSpPr>
          <p:nvPr/>
        </p:nvSpPr>
        <p:spPr bwMode="auto">
          <a:xfrm>
            <a:off x="3737929" y="396100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26" name="Freeform 2882">
            <a:extLst>
              <a:ext uri="{FF2B5EF4-FFF2-40B4-BE49-F238E27FC236}">
                <a16:creationId xmlns:a16="http://schemas.microsoft.com/office/drawing/2014/main" id="{9F08FE58-F898-4814-B443-650EC3EDEA1C}"/>
              </a:ext>
            </a:extLst>
          </p:cNvPr>
          <p:cNvSpPr>
            <a:spLocks/>
          </p:cNvSpPr>
          <p:nvPr/>
        </p:nvSpPr>
        <p:spPr bwMode="auto">
          <a:xfrm>
            <a:off x="3765680" y="3689727"/>
            <a:ext cx="1487" cy="1781"/>
          </a:xfrm>
          <a:custGeom>
            <a:avLst/>
            <a:gdLst>
              <a:gd name="T0" fmla="*/ 0 w 1"/>
              <a:gd name="T1" fmla="*/ 1 h 1"/>
              <a:gd name="T2" fmla="*/ 1 w 1"/>
              <a:gd name="T3" fmla="*/ 1 h 1"/>
              <a:gd name="T4" fmla="*/ 0 w 1"/>
              <a:gd name="T5" fmla="*/ 1 h 1"/>
              <a:gd name="T6" fmla="*/ 0 w 1"/>
              <a:gd name="T7" fmla="*/ 0 h 1"/>
              <a:gd name="T8" fmla="*/ 0 w 1"/>
              <a:gd name="T9" fmla="*/ 0 h 1"/>
              <a:gd name="T10" fmla="*/ 0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0" y="1"/>
                </a:moveTo>
                <a:cubicBezTo>
                  <a:pt x="1" y="1"/>
                  <a:pt x="1" y="1"/>
                  <a:pt x="1" y="1"/>
                </a:cubicBezTo>
                <a:cubicBezTo>
                  <a:pt x="1" y="1"/>
                  <a:pt x="0" y="1"/>
                  <a:pt x="0" y="1"/>
                </a:cubicBezTo>
                <a:cubicBezTo>
                  <a:pt x="0" y="1"/>
                  <a:pt x="0" y="0"/>
                  <a:pt x="0" y="0"/>
                </a:cubicBezTo>
                <a:cubicBezTo>
                  <a:pt x="0" y="0"/>
                  <a:pt x="0" y="0"/>
                  <a:pt x="0" y="0"/>
                </a:cubicBezTo>
                <a:cubicBezTo>
                  <a:pt x="0" y="1"/>
                  <a:pt x="0" y="1"/>
                  <a:pt x="0"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27" name="Rectangle 2883">
            <a:extLst>
              <a:ext uri="{FF2B5EF4-FFF2-40B4-BE49-F238E27FC236}">
                <a16:creationId xmlns:a16="http://schemas.microsoft.com/office/drawing/2014/main" id="{7E076278-B351-444A-863E-13C2770273D0}"/>
              </a:ext>
            </a:extLst>
          </p:cNvPr>
          <p:cNvSpPr>
            <a:spLocks noChangeArrowheads="1"/>
          </p:cNvSpPr>
          <p:nvPr/>
        </p:nvSpPr>
        <p:spPr bwMode="auto">
          <a:xfrm>
            <a:off x="3374683" y="3469503"/>
            <a:ext cx="496" cy="594"/>
          </a:xfrm>
          <a:prstGeom prst="rect">
            <a:avLst/>
          </a:prstGeom>
          <a:solidFill>
            <a:schemeClr val="tx1">
              <a:lumMod val="40000"/>
              <a:lumOff val="60000"/>
            </a:schemeClr>
          </a:solid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28" name="Rectangle 2884">
            <a:extLst>
              <a:ext uri="{FF2B5EF4-FFF2-40B4-BE49-F238E27FC236}">
                <a16:creationId xmlns:a16="http://schemas.microsoft.com/office/drawing/2014/main" id="{528417A0-A68E-4AD3-B8F5-39666C3223CA}"/>
              </a:ext>
            </a:extLst>
          </p:cNvPr>
          <p:cNvSpPr>
            <a:spLocks noChangeArrowheads="1"/>
          </p:cNvSpPr>
          <p:nvPr/>
        </p:nvSpPr>
        <p:spPr bwMode="auto">
          <a:xfrm>
            <a:off x="3374683" y="3469503"/>
            <a:ext cx="496" cy="594"/>
          </a:xfrm>
          <a:prstGeom prst="rect">
            <a:avLst/>
          </a:prstGeom>
          <a:solidFill>
            <a:schemeClr val="tx1">
              <a:lumMod val="40000"/>
              <a:lumOff val="60000"/>
            </a:schemeClr>
          </a:solid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29" name="Freeform 2885">
            <a:extLst>
              <a:ext uri="{FF2B5EF4-FFF2-40B4-BE49-F238E27FC236}">
                <a16:creationId xmlns:a16="http://schemas.microsoft.com/office/drawing/2014/main" id="{C2E8EA89-DC30-4EC9-837B-04A458AE2CC5}"/>
              </a:ext>
            </a:extLst>
          </p:cNvPr>
          <p:cNvSpPr>
            <a:spLocks/>
          </p:cNvSpPr>
          <p:nvPr/>
        </p:nvSpPr>
        <p:spPr bwMode="auto">
          <a:xfrm>
            <a:off x="3185875" y="3649363"/>
            <a:ext cx="4460" cy="4155"/>
          </a:xfrm>
          <a:custGeom>
            <a:avLst/>
            <a:gdLst>
              <a:gd name="T0" fmla="*/ 0 w 4"/>
              <a:gd name="T1" fmla="*/ 0 h 3"/>
              <a:gd name="T2" fmla="*/ 4 w 4"/>
              <a:gd name="T3" fmla="*/ 2 h 3"/>
              <a:gd name="T4" fmla="*/ 4 w 4"/>
              <a:gd name="T5" fmla="*/ 3 h 3"/>
              <a:gd name="T6" fmla="*/ 4 w 4"/>
              <a:gd name="T7" fmla="*/ 1 h 3"/>
              <a:gd name="T8" fmla="*/ 0 w 4"/>
              <a:gd name="T9" fmla="*/ 0 h 3"/>
            </a:gdLst>
            <a:ahLst/>
            <a:cxnLst>
              <a:cxn ang="0">
                <a:pos x="T0" y="T1"/>
              </a:cxn>
              <a:cxn ang="0">
                <a:pos x="T2" y="T3"/>
              </a:cxn>
              <a:cxn ang="0">
                <a:pos x="T4" y="T5"/>
              </a:cxn>
              <a:cxn ang="0">
                <a:pos x="T6" y="T7"/>
              </a:cxn>
              <a:cxn ang="0">
                <a:pos x="T8" y="T9"/>
              </a:cxn>
            </a:cxnLst>
            <a:rect l="0" t="0" r="r" b="b"/>
            <a:pathLst>
              <a:path w="4" h="3">
                <a:moveTo>
                  <a:pt x="0" y="0"/>
                </a:moveTo>
                <a:cubicBezTo>
                  <a:pt x="1" y="1"/>
                  <a:pt x="3" y="2"/>
                  <a:pt x="4" y="2"/>
                </a:cubicBezTo>
                <a:cubicBezTo>
                  <a:pt x="4" y="2"/>
                  <a:pt x="3" y="3"/>
                  <a:pt x="4" y="3"/>
                </a:cubicBezTo>
                <a:cubicBezTo>
                  <a:pt x="4" y="3"/>
                  <a:pt x="4" y="2"/>
                  <a:pt x="4" y="1"/>
                </a:cubicBezTo>
                <a:cubicBezTo>
                  <a:pt x="4" y="0"/>
                  <a:pt x="2" y="1"/>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30" name="Freeform 2886">
            <a:extLst>
              <a:ext uri="{FF2B5EF4-FFF2-40B4-BE49-F238E27FC236}">
                <a16:creationId xmlns:a16="http://schemas.microsoft.com/office/drawing/2014/main" id="{4AE5A9F0-55B4-4BA6-BC5F-3B3FC711691C}"/>
              </a:ext>
            </a:extLst>
          </p:cNvPr>
          <p:cNvSpPr>
            <a:spLocks/>
          </p:cNvSpPr>
          <p:nvPr/>
        </p:nvSpPr>
        <p:spPr bwMode="auto">
          <a:xfrm>
            <a:off x="3894526" y="3893330"/>
            <a:ext cx="1487"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0" y="0"/>
                  <a:pt x="1"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31" name="Freeform 2887">
            <a:extLst>
              <a:ext uri="{FF2B5EF4-FFF2-40B4-BE49-F238E27FC236}">
                <a16:creationId xmlns:a16="http://schemas.microsoft.com/office/drawing/2014/main" id="{B8CC45A9-A691-452F-BED6-F5BE71F994D4}"/>
              </a:ext>
            </a:extLst>
          </p:cNvPr>
          <p:cNvSpPr>
            <a:spLocks/>
          </p:cNvSpPr>
          <p:nvPr/>
        </p:nvSpPr>
        <p:spPr bwMode="auto">
          <a:xfrm>
            <a:off x="3893535" y="3895111"/>
            <a:ext cx="3469" cy="0"/>
          </a:xfrm>
          <a:custGeom>
            <a:avLst/>
            <a:gdLst>
              <a:gd name="T0" fmla="*/ 3 w 3"/>
              <a:gd name="T1" fmla="*/ 0 w 3"/>
              <a:gd name="T2" fmla="*/ 3 w 3"/>
            </a:gdLst>
            <a:ahLst/>
            <a:cxnLst>
              <a:cxn ang="0">
                <a:pos x="T0" y="0"/>
              </a:cxn>
              <a:cxn ang="0">
                <a:pos x="T1" y="0"/>
              </a:cxn>
              <a:cxn ang="0">
                <a:pos x="T2" y="0"/>
              </a:cxn>
            </a:cxnLst>
            <a:rect l="0" t="0" r="r" b="b"/>
            <a:pathLst>
              <a:path w="3">
                <a:moveTo>
                  <a:pt x="3" y="0"/>
                </a:moveTo>
                <a:cubicBezTo>
                  <a:pt x="2" y="0"/>
                  <a:pt x="1" y="0"/>
                  <a:pt x="0" y="0"/>
                </a:cubicBezTo>
                <a:cubicBezTo>
                  <a:pt x="1" y="0"/>
                  <a:pt x="3" y="0"/>
                  <a:pt x="3"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32" name="Freeform 2888">
            <a:extLst>
              <a:ext uri="{FF2B5EF4-FFF2-40B4-BE49-F238E27FC236}">
                <a16:creationId xmlns:a16="http://schemas.microsoft.com/office/drawing/2014/main" id="{2275DDC5-4045-4B43-A85B-0025B0E80757}"/>
              </a:ext>
            </a:extLst>
          </p:cNvPr>
          <p:cNvSpPr>
            <a:spLocks/>
          </p:cNvSpPr>
          <p:nvPr/>
        </p:nvSpPr>
        <p:spPr bwMode="auto">
          <a:xfrm>
            <a:off x="3146230" y="3597126"/>
            <a:ext cx="991"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33" name="Freeform 2889">
            <a:extLst>
              <a:ext uri="{FF2B5EF4-FFF2-40B4-BE49-F238E27FC236}">
                <a16:creationId xmlns:a16="http://schemas.microsoft.com/office/drawing/2014/main" id="{431CF39E-C8E0-430A-A93A-3F8A85DDBDD7}"/>
              </a:ext>
            </a:extLst>
          </p:cNvPr>
          <p:cNvSpPr>
            <a:spLocks/>
          </p:cNvSpPr>
          <p:nvPr/>
        </p:nvSpPr>
        <p:spPr bwMode="auto">
          <a:xfrm>
            <a:off x="3153168" y="3591784"/>
            <a:ext cx="2478" cy="1187"/>
          </a:xfrm>
          <a:custGeom>
            <a:avLst/>
            <a:gdLst>
              <a:gd name="T0" fmla="*/ 0 w 2"/>
              <a:gd name="T1" fmla="*/ 1 h 1"/>
              <a:gd name="T2" fmla="*/ 2 w 2"/>
              <a:gd name="T3" fmla="*/ 0 h 1"/>
              <a:gd name="T4" fmla="*/ 0 w 2"/>
              <a:gd name="T5" fmla="*/ 1 h 1"/>
            </a:gdLst>
            <a:ahLst/>
            <a:cxnLst>
              <a:cxn ang="0">
                <a:pos x="T0" y="T1"/>
              </a:cxn>
              <a:cxn ang="0">
                <a:pos x="T2" y="T3"/>
              </a:cxn>
              <a:cxn ang="0">
                <a:pos x="T4" y="T5"/>
              </a:cxn>
            </a:cxnLst>
            <a:rect l="0" t="0" r="r" b="b"/>
            <a:pathLst>
              <a:path w="2" h="1">
                <a:moveTo>
                  <a:pt x="0" y="1"/>
                </a:moveTo>
                <a:cubicBezTo>
                  <a:pt x="1" y="1"/>
                  <a:pt x="1" y="0"/>
                  <a:pt x="2" y="0"/>
                </a:cubicBezTo>
                <a:cubicBezTo>
                  <a:pt x="1" y="0"/>
                  <a:pt x="1" y="1"/>
                  <a:pt x="0"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34" name="Freeform 2890">
            <a:extLst>
              <a:ext uri="{FF2B5EF4-FFF2-40B4-BE49-F238E27FC236}">
                <a16:creationId xmlns:a16="http://schemas.microsoft.com/office/drawing/2014/main" id="{6A81E099-9CAB-4A9A-BA2C-D80E9F4FFF4F}"/>
              </a:ext>
            </a:extLst>
          </p:cNvPr>
          <p:cNvSpPr>
            <a:spLocks/>
          </p:cNvSpPr>
          <p:nvPr/>
        </p:nvSpPr>
        <p:spPr bwMode="auto">
          <a:xfrm>
            <a:off x="3151681" y="3595939"/>
            <a:ext cx="1487" cy="2968"/>
          </a:xfrm>
          <a:custGeom>
            <a:avLst/>
            <a:gdLst>
              <a:gd name="T0" fmla="*/ 0 w 1"/>
              <a:gd name="T1" fmla="*/ 2 h 2"/>
              <a:gd name="T2" fmla="*/ 1 w 1"/>
              <a:gd name="T3" fmla="*/ 1 h 2"/>
              <a:gd name="T4" fmla="*/ 1 w 1"/>
              <a:gd name="T5" fmla="*/ 0 h 2"/>
              <a:gd name="T6" fmla="*/ 0 w 1"/>
              <a:gd name="T7" fmla="*/ 2 h 2"/>
            </a:gdLst>
            <a:ahLst/>
            <a:cxnLst>
              <a:cxn ang="0">
                <a:pos x="T0" y="T1"/>
              </a:cxn>
              <a:cxn ang="0">
                <a:pos x="T2" y="T3"/>
              </a:cxn>
              <a:cxn ang="0">
                <a:pos x="T4" y="T5"/>
              </a:cxn>
              <a:cxn ang="0">
                <a:pos x="T6" y="T7"/>
              </a:cxn>
            </a:cxnLst>
            <a:rect l="0" t="0" r="r" b="b"/>
            <a:pathLst>
              <a:path w="1" h="2">
                <a:moveTo>
                  <a:pt x="0" y="2"/>
                </a:moveTo>
                <a:cubicBezTo>
                  <a:pt x="0" y="1"/>
                  <a:pt x="1" y="1"/>
                  <a:pt x="1" y="1"/>
                </a:cubicBezTo>
                <a:cubicBezTo>
                  <a:pt x="1" y="1"/>
                  <a:pt x="1" y="1"/>
                  <a:pt x="1" y="0"/>
                </a:cubicBezTo>
                <a:cubicBezTo>
                  <a:pt x="1" y="1"/>
                  <a:pt x="0" y="1"/>
                  <a:pt x="0" y="2"/>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35" name="Freeform 2891">
            <a:extLst>
              <a:ext uri="{FF2B5EF4-FFF2-40B4-BE49-F238E27FC236}">
                <a16:creationId xmlns:a16="http://schemas.microsoft.com/office/drawing/2014/main" id="{F5EA7EF4-D0FE-4968-8037-D26770D88036}"/>
              </a:ext>
            </a:extLst>
          </p:cNvPr>
          <p:cNvSpPr>
            <a:spLocks/>
          </p:cNvSpPr>
          <p:nvPr/>
        </p:nvSpPr>
        <p:spPr bwMode="auto">
          <a:xfrm>
            <a:off x="3143752" y="3592971"/>
            <a:ext cx="2478" cy="1187"/>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2" y="0"/>
                  <a:pt x="2" y="0"/>
                  <a:pt x="2" y="0"/>
                </a:cubicBezTo>
                <a:cubicBezTo>
                  <a:pt x="1" y="0"/>
                  <a:pt x="1" y="0"/>
                  <a:pt x="0" y="0"/>
                </a:cubicBezTo>
                <a:cubicBezTo>
                  <a:pt x="1" y="0"/>
                  <a:pt x="1" y="1"/>
                  <a:pt x="1"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36" name="Freeform 2892">
            <a:extLst>
              <a:ext uri="{FF2B5EF4-FFF2-40B4-BE49-F238E27FC236}">
                <a16:creationId xmlns:a16="http://schemas.microsoft.com/office/drawing/2014/main" id="{51806BBB-CD44-48E8-A51F-96290124C51B}"/>
              </a:ext>
            </a:extLst>
          </p:cNvPr>
          <p:cNvSpPr>
            <a:spLocks/>
          </p:cNvSpPr>
          <p:nvPr/>
        </p:nvSpPr>
        <p:spPr bwMode="auto">
          <a:xfrm>
            <a:off x="3149699" y="3598907"/>
            <a:ext cx="991" cy="1187"/>
          </a:xfrm>
          <a:custGeom>
            <a:avLst/>
            <a:gdLst>
              <a:gd name="T0" fmla="*/ 0 w 1"/>
              <a:gd name="T1" fmla="*/ 1 h 1"/>
              <a:gd name="T2" fmla="*/ 0 w 1"/>
              <a:gd name="T3" fmla="*/ 0 h 1"/>
              <a:gd name="T4" fmla="*/ 0 w 1"/>
              <a:gd name="T5" fmla="*/ 1 h 1"/>
            </a:gdLst>
            <a:ahLst/>
            <a:cxnLst>
              <a:cxn ang="0">
                <a:pos x="T0" y="T1"/>
              </a:cxn>
              <a:cxn ang="0">
                <a:pos x="T2" y="T3"/>
              </a:cxn>
              <a:cxn ang="0">
                <a:pos x="T4" y="T5"/>
              </a:cxn>
            </a:cxnLst>
            <a:rect l="0" t="0" r="r" b="b"/>
            <a:pathLst>
              <a:path w="1" h="1">
                <a:moveTo>
                  <a:pt x="0" y="1"/>
                </a:moveTo>
                <a:cubicBezTo>
                  <a:pt x="0" y="1"/>
                  <a:pt x="1" y="0"/>
                  <a:pt x="0" y="0"/>
                </a:cubicBezTo>
                <a:cubicBezTo>
                  <a:pt x="0" y="0"/>
                  <a:pt x="0" y="1"/>
                  <a:pt x="0"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37" name="Freeform 2893">
            <a:extLst>
              <a:ext uri="{FF2B5EF4-FFF2-40B4-BE49-F238E27FC236}">
                <a16:creationId xmlns:a16="http://schemas.microsoft.com/office/drawing/2014/main" id="{6B11A6A2-ED56-40A9-98BC-97505B2961E6}"/>
              </a:ext>
            </a:extLst>
          </p:cNvPr>
          <p:cNvSpPr>
            <a:spLocks/>
          </p:cNvSpPr>
          <p:nvPr/>
        </p:nvSpPr>
        <p:spPr bwMode="auto">
          <a:xfrm>
            <a:off x="3144743" y="3597126"/>
            <a:ext cx="3469" cy="2968"/>
          </a:xfrm>
          <a:custGeom>
            <a:avLst/>
            <a:gdLst>
              <a:gd name="T0" fmla="*/ 2 w 3"/>
              <a:gd name="T1" fmla="*/ 2 h 2"/>
              <a:gd name="T2" fmla="*/ 3 w 3"/>
              <a:gd name="T3" fmla="*/ 1 h 2"/>
              <a:gd name="T4" fmla="*/ 2 w 3"/>
              <a:gd name="T5" fmla="*/ 2 h 2"/>
            </a:gdLst>
            <a:ahLst/>
            <a:cxnLst>
              <a:cxn ang="0">
                <a:pos x="T0" y="T1"/>
              </a:cxn>
              <a:cxn ang="0">
                <a:pos x="T2" y="T3"/>
              </a:cxn>
              <a:cxn ang="0">
                <a:pos x="T4" y="T5"/>
              </a:cxn>
            </a:cxnLst>
            <a:rect l="0" t="0" r="r" b="b"/>
            <a:pathLst>
              <a:path w="3" h="2">
                <a:moveTo>
                  <a:pt x="2" y="2"/>
                </a:moveTo>
                <a:cubicBezTo>
                  <a:pt x="3" y="2"/>
                  <a:pt x="3" y="1"/>
                  <a:pt x="3" y="1"/>
                </a:cubicBezTo>
                <a:cubicBezTo>
                  <a:pt x="3" y="0"/>
                  <a:pt x="0" y="1"/>
                  <a:pt x="2" y="2"/>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38" name="Freeform 2894">
            <a:extLst>
              <a:ext uri="{FF2B5EF4-FFF2-40B4-BE49-F238E27FC236}">
                <a16:creationId xmlns:a16="http://schemas.microsoft.com/office/drawing/2014/main" id="{718A4B0E-8A3E-4440-BAD7-5CCAEC116B3D}"/>
              </a:ext>
            </a:extLst>
          </p:cNvPr>
          <p:cNvSpPr>
            <a:spLocks/>
          </p:cNvSpPr>
          <p:nvPr/>
        </p:nvSpPr>
        <p:spPr bwMode="auto">
          <a:xfrm>
            <a:off x="3147221" y="3587629"/>
            <a:ext cx="991" cy="2374"/>
          </a:xfrm>
          <a:custGeom>
            <a:avLst/>
            <a:gdLst>
              <a:gd name="T0" fmla="*/ 0 w 1"/>
              <a:gd name="T1" fmla="*/ 1 h 2"/>
              <a:gd name="T2" fmla="*/ 1 w 1"/>
              <a:gd name="T3" fmla="*/ 0 h 2"/>
              <a:gd name="T4" fmla="*/ 0 w 1"/>
              <a:gd name="T5" fmla="*/ 1 h 2"/>
            </a:gdLst>
            <a:ahLst/>
            <a:cxnLst>
              <a:cxn ang="0">
                <a:pos x="T0" y="T1"/>
              </a:cxn>
              <a:cxn ang="0">
                <a:pos x="T2" y="T3"/>
              </a:cxn>
              <a:cxn ang="0">
                <a:pos x="T4" y="T5"/>
              </a:cxn>
            </a:cxnLst>
            <a:rect l="0" t="0" r="r" b="b"/>
            <a:pathLst>
              <a:path w="1" h="2">
                <a:moveTo>
                  <a:pt x="0" y="1"/>
                </a:moveTo>
                <a:cubicBezTo>
                  <a:pt x="0" y="2"/>
                  <a:pt x="1" y="2"/>
                  <a:pt x="1" y="0"/>
                </a:cubicBezTo>
                <a:cubicBezTo>
                  <a:pt x="1" y="0"/>
                  <a:pt x="0" y="0"/>
                  <a:pt x="0"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39" name="Freeform 2895">
            <a:extLst>
              <a:ext uri="{FF2B5EF4-FFF2-40B4-BE49-F238E27FC236}">
                <a16:creationId xmlns:a16="http://schemas.microsoft.com/office/drawing/2014/main" id="{CD4692FA-4981-49C2-985C-B3D89F5664BF}"/>
              </a:ext>
            </a:extLst>
          </p:cNvPr>
          <p:cNvSpPr>
            <a:spLocks/>
          </p:cNvSpPr>
          <p:nvPr/>
        </p:nvSpPr>
        <p:spPr bwMode="auto">
          <a:xfrm>
            <a:off x="3148212" y="3592971"/>
            <a:ext cx="1487" cy="1187"/>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1" y="0"/>
                  <a:pt x="1"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40" name="Freeform 2896">
            <a:extLst>
              <a:ext uri="{FF2B5EF4-FFF2-40B4-BE49-F238E27FC236}">
                <a16:creationId xmlns:a16="http://schemas.microsoft.com/office/drawing/2014/main" id="{41C3C5BC-F2E5-48BF-AB1E-8E2683CF5E71}"/>
              </a:ext>
            </a:extLst>
          </p:cNvPr>
          <p:cNvSpPr>
            <a:spLocks/>
          </p:cNvSpPr>
          <p:nvPr/>
        </p:nvSpPr>
        <p:spPr bwMode="auto">
          <a:xfrm>
            <a:off x="3879659" y="3941411"/>
            <a:ext cx="1982" cy="5342"/>
          </a:xfrm>
          <a:custGeom>
            <a:avLst/>
            <a:gdLst>
              <a:gd name="T0" fmla="*/ 1 w 2"/>
              <a:gd name="T1" fmla="*/ 1 h 4"/>
              <a:gd name="T2" fmla="*/ 1 w 2"/>
              <a:gd name="T3" fmla="*/ 2 h 4"/>
              <a:gd name="T4" fmla="*/ 1 w 2"/>
              <a:gd name="T5" fmla="*/ 4 h 4"/>
              <a:gd name="T6" fmla="*/ 1 w 2"/>
              <a:gd name="T7" fmla="*/ 1 h 4"/>
            </a:gdLst>
            <a:ahLst/>
            <a:cxnLst>
              <a:cxn ang="0">
                <a:pos x="T0" y="T1"/>
              </a:cxn>
              <a:cxn ang="0">
                <a:pos x="T2" y="T3"/>
              </a:cxn>
              <a:cxn ang="0">
                <a:pos x="T4" y="T5"/>
              </a:cxn>
              <a:cxn ang="0">
                <a:pos x="T6" y="T7"/>
              </a:cxn>
            </a:cxnLst>
            <a:rect l="0" t="0" r="r" b="b"/>
            <a:pathLst>
              <a:path w="2" h="4">
                <a:moveTo>
                  <a:pt x="1" y="1"/>
                </a:moveTo>
                <a:cubicBezTo>
                  <a:pt x="0" y="0"/>
                  <a:pt x="0" y="1"/>
                  <a:pt x="1" y="2"/>
                </a:cubicBezTo>
                <a:cubicBezTo>
                  <a:pt x="1" y="3"/>
                  <a:pt x="1" y="3"/>
                  <a:pt x="1" y="4"/>
                </a:cubicBezTo>
                <a:cubicBezTo>
                  <a:pt x="1" y="2"/>
                  <a:pt x="2" y="2"/>
                  <a:pt x="1"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41" name="Freeform 2897">
            <a:extLst>
              <a:ext uri="{FF2B5EF4-FFF2-40B4-BE49-F238E27FC236}">
                <a16:creationId xmlns:a16="http://schemas.microsoft.com/office/drawing/2014/main" id="{56E0023B-EB7C-497B-B063-B05BFA42F143}"/>
              </a:ext>
            </a:extLst>
          </p:cNvPr>
          <p:cNvSpPr>
            <a:spLocks/>
          </p:cNvSpPr>
          <p:nvPr/>
        </p:nvSpPr>
        <p:spPr bwMode="auto">
          <a:xfrm>
            <a:off x="3857359" y="3931320"/>
            <a:ext cx="87714" cy="203603"/>
          </a:xfrm>
          <a:custGeom>
            <a:avLst/>
            <a:gdLst>
              <a:gd name="T0" fmla="*/ 69 w 75"/>
              <a:gd name="T1" fmla="*/ 12 h 145"/>
              <a:gd name="T2" fmla="*/ 64 w 75"/>
              <a:gd name="T3" fmla="*/ 5 h 145"/>
              <a:gd name="T4" fmla="*/ 63 w 75"/>
              <a:gd name="T5" fmla="*/ 3 h 145"/>
              <a:gd name="T6" fmla="*/ 58 w 75"/>
              <a:gd name="T7" fmla="*/ 4 h 145"/>
              <a:gd name="T8" fmla="*/ 58 w 75"/>
              <a:gd name="T9" fmla="*/ 8 h 145"/>
              <a:gd name="T10" fmla="*/ 57 w 75"/>
              <a:gd name="T11" fmla="*/ 15 h 145"/>
              <a:gd name="T12" fmla="*/ 54 w 75"/>
              <a:gd name="T13" fmla="*/ 16 h 145"/>
              <a:gd name="T14" fmla="*/ 51 w 75"/>
              <a:gd name="T15" fmla="*/ 18 h 145"/>
              <a:gd name="T16" fmla="*/ 50 w 75"/>
              <a:gd name="T17" fmla="*/ 17 h 145"/>
              <a:gd name="T18" fmla="*/ 49 w 75"/>
              <a:gd name="T19" fmla="*/ 24 h 145"/>
              <a:gd name="T20" fmla="*/ 48 w 75"/>
              <a:gd name="T21" fmla="*/ 24 h 145"/>
              <a:gd name="T22" fmla="*/ 47 w 75"/>
              <a:gd name="T23" fmla="*/ 28 h 145"/>
              <a:gd name="T24" fmla="*/ 49 w 75"/>
              <a:gd name="T25" fmla="*/ 29 h 145"/>
              <a:gd name="T26" fmla="*/ 48 w 75"/>
              <a:gd name="T27" fmla="*/ 28 h 145"/>
              <a:gd name="T28" fmla="*/ 43 w 75"/>
              <a:gd name="T29" fmla="*/ 32 h 145"/>
              <a:gd name="T30" fmla="*/ 43 w 75"/>
              <a:gd name="T31" fmla="*/ 29 h 145"/>
              <a:gd name="T32" fmla="*/ 41 w 75"/>
              <a:gd name="T33" fmla="*/ 36 h 145"/>
              <a:gd name="T34" fmla="*/ 39 w 75"/>
              <a:gd name="T35" fmla="*/ 34 h 145"/>
              <a:gd name="T36" fmla="*/ 33 w 75"/>
              <a:gd name="T37" fmla="*/ 38 h 145"/>
              <a:gd name="T38" fmla="*/ 34 w 75"/>
              <a:gd name="T39" fmla="*/ 42 h 145"/>
              <a:gd name="T40" fmla="*/ 31 w 75"/>
              <a:gd name="T41" fmla="*/ 40 h 145"/>
              <a:gd name="T42" fmla="*/ 27 w 75"/>
              <a:gd name="T43" fmla="*/ 40 h 145"/>
              <a:gd name="T44" fmla="*/ 23 w 75"/>
              <a:gd name="T45" fmla="*/ 42 h 145"/>
              <a:gd name="T46" fmla="*/ 20 w 75"/>
              <a:gd name="T47" fmla="*/ 42 h 145"/>
              <a:gd name="T48" fmla="*/ 13 w 75"/>
              <a:gd name="T49" fmla="*/ 44 h 145"/>
              <a:gd name="T50" fmla="*/ 8 w 75"/>
              <a:gd name="T51" fmla="*/ 56 h 145"/>
              <a:gd name="T52" fmla="*/ 10 w 75"/>
              <a:gd name="T53" fmla="*/ 69 h 145"/>
              <a:gd name="T54" fmla="*/ 13 w 75"/>
              <a:gd name="T55" fmla="*/ 81 h 145"/>
              <a:gd name="T56" fmla="*/ 11 w 75"/>
              <a:gd name="T57" fmla="*/ 88 h 145"/>
              <a:gd name="T58" fmla="*/ 8 w 75"/>
              <a:gd name="T59" fmla="*/ 92 h 145"/>
              <a:gd name="T60" fmla="*/ 3 w 75"/>
              <a:gd name="T61" fmla="*/ 100 h 145"/>
              <a:gd name="T62" fmla="*/ 2 w 75"/>
              <a:gd name="T63" fmla="*/ 102 h 145"/>
              <a:gd name="T64" fmla="*/ 1 w 75"/>
              <a:gd name="T65" fmla="*/ 104 h 145"/>
              <a:gd name="T66" fmla="*/ 4 w 75"/>
              <a:gd name="T67" fmla="*/ 120 h 145"/>
              <a:gd name="T68" fmla="*/ 5 w 75"/>
              <a:gd name="T69" fmla="*/ 123 h 145"/>
              <a:gd name="T70" fmla="*/ 5 w 75"/>
              <a:gd name="T71" fmla="*/ 132 h 145"/>
              <a:gd name="T72" fmla="*/ 11 w 75"/>
              <a:gd name="T73" fmla="*/ 139 h 145"/>
              <a:gd name="T74" fmla="*/ 31 w 75"/>
              <a:gd name="T75" fmla="*/ 140 h 145"/>
              <a:gd name="T76" fmla="*/ 39 w 75"/>
              <a:gd name="T77" fmla="*/ 138 h 145"/>
              <a:gd name="T78" fmla="*/ 44 w 75"/>
              <a:gd name="T79" fmla="*/ 128 h 145"/>
              <a:gd name="T80" fmla="*/ 60 w 75"/>
              <a:gd name="T81" fmla="*/ 72 h 145"/>
              <a:gd name="T82" fmla="*/ 64 w 75"/>
              <a:gd name="T83" fmla="*/ 57 h 145"/>
              <a:gd name="T84" fmla="*/ 66 w 75"/>
              <a:gd name="T85" fmla="*/ 53 h 145"/>
              <a:gd name="T86" fmla="*/ 67 w 75"/>
              <a:gd name="T87" fmla="*/ 49 h 145"/>
              <a:gd name="T88" fmla="*/ 66 w 75"/>
              <a:gd name="T89" fmla="*/ 42 h 145"/>
              <a:gd name="T90" fmla="*/ 67 w 75"/>
              <a:gd name="T91" fmla="*/ 36 h 145"/>
              <a:gd name="T92" fmla="*/ 73 w 75"/>
              <a:gd name="T93" fmla="*/ 40 h 145"/>
              <a:gd name="T94" fmla="*/ 73 w 75"/>
              <a:gd name="T95" fmla="*/ 28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5" h="145">
                <a:moveTo>
                  <a:pt x="71" y="21"/>
                </a:moveTo>
                <a:cubicBezTo>
                  <a:pt x="71" y="18"/>
                  <a:pt x="70" y="15"/>
                  <a:pt x="69" y="12"/>
                </a:cubicBezTo>
                <a:cubicBezTo>
                  <a:pt x="69" y="11"/>
                  <a:pt x="67" y="10"/>
                  <a:pt x="67" y="9"/>
                </a:cubicBezTo>
                <a:cubicBezTo>
                  <a:pt x="65" y="8"/>
                  <a:pt x="65" y="7"/>
                  <a:pt x="64" y="5"/>
                </a:cubicBezTo>
                <a:cubicBezTo>
                  <a:pt x="63" y="5"/>
                  <a:pt x="63" y="3"/>
                  <a:pt x="62" y="4"/>
                </a:cubicBezTo>
                <a:cubicBezTo>
                  <a:pt x="62" y="3"/>
                  <a:pt x="62" y="2"/>
                  <a:pt x="63" y="3"/>
                </a:cubicBezTo>
                <a:cubicBezTo>
                  <a:pt x="63" y="2"/>
                  <a:pt x="62" y="1"/>
                  <a:pt x="62" y="0"/>
                </a:cubicBezTo>
                <a:cubicBezTo>
                  <a:pt x="61" y="1"/>
                  <a:pt x="60" y="3"/>
                  <a:pt x="58" y="4"/>
                </a:cubicBezTo>
                <a:cubicBezTo>
                  <a:pt x="58" y="5"/>
                  <a:pt x="56" y="5"/>
                  <a:pt x="57" y="5"/>
                </a:cubicBezTo>
                <a:cubicBezTo>
                  <a:pt x="58" y="6"/>
                  <a:pt x="58" y="7"/>
                  <a:pt x="58" y="8"/>
                </a:cubicBezTo>
                <a:cubicBezTo>
                  <a:pt x="59" y="10"/>
                  <a:pt x="58" y="11"/>
                  <a:pt x="57" y="13"/>
                </a:cubicBezTo>
                <a:cubicBezTo>
                  <a:pt x="57" y="14"/>
                  <a:pt x="58" y="14"/>
                  <a:pt x="57" y="15"/>
                </a:cubicBezTo>
                <a:cubicBezTo>
                  <a:pt x="56" y="15"/>
                  <a:pt x="55" y="16"/>
                  <a:pt x="54" y="15"/>
                </a:cubicBezTo>
                <a:cubicBezTo>
                  <a:pt x="54" y="15"/>
                  <a:pt x="55" y="16"/>
                  <a:pt x="54" y="16"/>
                </a:cubicBezTo>
                <a:cubicBezTo>
                  <a:pt x="54" y="16"/>
                  <a:pt x="53" y="16"/>
                  <a:pt x="53" y="17"/>
                </a:cubicBezTo>
                <a:cubicBezTo>
                  <a:pt x="52" y="18"/>
                  <a:pt x="52" y="20"/>
                  <a:pt x="51" y="18"/>
                </a:cubicBezTo>
                <a:cubicBezTo>
                  <a:pt x="51" y="18"/>
                  <a:pt x="51" y="18"/>
                  <a:pt x="51" y="17"/>
                </a:cubicBezTo>
                <a:cubicBezTo>
                  <a:pt x="51" y="17"/>
                  <a:pt x="50" y="17"/>
                  <a:pt x="50" y="17"/>
                </a:cubicBezTo>
                <a:cubicBezTo>
                  <a:pt x="50" y="16"/>
                  <a:pt x="50" y="16"/>
                  <a:pt x="49" y="16"/>
                </a:cubicBezTo>
                <a:cubicBezTo>
                  <a:pt x="47" y="18"/>
                  <a:pt x="50" y="22"/>
                  <a:pt x="49" y="24"/>
                </a:cubicBezTo>
                <a:cubicBezTo>
                  <a:pt x="49" y="23"/>
                  <a:pt x="49" y="22"/>
                  <a:pt x="48" y="22"/>
                </a:cubicBezTo>
                <a:cubicBezTo>
                  <a:pt x="48" y="23"/>
                  <a:pt x="49" y="24"/>
                  <a:pt x="48" y="24"/>
                </a:cubicBezTo>
                <a:cubicBezTo>
                  <a:pt x="48" y="24"/>
                  <a:pt x="47" y="23"/>
                  <a:pt x="47" y="24"/>
                </a:cubicBezTo>
                <a:cubicBezTo>
                  <a:pt x="47" y="25"/>
                  <a:pt x="46" y="27"/>
                  <a:pt x="47" y="28"/>
                </a:cubicBezTo>
                <a:cubicBezTo>
                  <a:pt x="47" y="28"/>
                  <a:pt x="48" y="27"/>
                  <a:pt x="49" y="27"/>
                </a:cubicBezTo>
                <a:cubicBezTo>
                  <a:pt x="49" y="28"/>
                  <a:pt x="50" y="28"/>
                  <a:pt x="49" y="29"/>
                </a:cubicBezTo>
                <a:cubicBezTo>
                  <a:pt x="49" y="29"/>
                  <a:pt x="49" y="28"/>
                  <a:pt x="49" y="28"/>
                </a:cubicBezTo>
                <a:cubicBezTo>
                  <a:pt x="49" y="28"/>
                  <a:pt x="48" y="28"/>
                  <a:pt x="48" y="28"/>
                </a:cubicBezTo>
                <a:cubicBezTo>
                  <a:pt x="49" y="28"/>
                  <a:pt x="47" y="28"/>
                  <a:pt x="47" y="28"/>
                </a:cubicBezTo>
                <a:cubicBezTo>
                  <a:pt x="46" y="28"/>
                  <a:pt x="44" y="31"/>
                  <a:pt x="43" y="32"/>
                </a:cubicBezTo>
                <a:cubicBezTo>
                  <a:pt x="43" y="31"/>
                  <a:pt x="44" y="30"/>
                  <a:pt x="44" y="29"/>
                </a:cubicBezTo>
                <a:cubicBezTo>
                  <a:pt x="44" y="28"/>
                  <a:pt x="44" y="28"/>
                  <a:pt x="43" y="29"/>
                </a:cubicBezTo>
                <a:cubicBezTo>
                  <a:pt x="42" y="30"/>
                  <a:pt x="40" y="34"/>
                  <a:pt x="40" y="35"/>
                </a:cubicBezTo>
                <a:cubicBezTo>
                  <a:pt x="40" y="35"/>
                  <a:pt x="41" y="36"/>
                  <a:pt x="41" y="36"/>
                </a:cubicBezTo>
                <a:cubicBezTo>
                  <a:pt x="40" y="37"/>
                  <a:pt x="39" y="37"/>
                  <a:pt x="39" y="37"/>
                </a:cubicBezTo>
                <a:cubicBezTo>
                  <a:pt x="39" y="36"/>
                  <a:pt x="40" y="35"/>
                  <a:pt x="39" y="34"/>
                </a:cubicBezTo>
                <a:cubicBezTo>
                  <a:pt x="38" y="34"/>
                  <a:pt x="37" y="35"/>
                  <a:pt x="36" y="35"/>
                </a:cubicBezTo>
                <a:cubicBezTo>
                  <a:pt x="35" y="36"/>
                  <a:pt x="34" y="37"/>
                  <a:pt x="33" y="38"/>
                </a:cubicBezTo>
                <a:cubicBezTo>
                  <a:pt x="32" y="38"/>
                  <a:pt x="32" y="40"/>
                  <a:pt x="32" y="40"/>
                </a:cubicBezTo>
                <a:cubicBezTo>
                  <a:pt x="33" y="41"/>
                  <a:pt x="33" y="41"/>
                  <a:pt x="34" y="42"/>
                </a:cubicBezTo>
                <a:cubicBezTo>
                  <a:pt x="33" y="41"/>
                  <a:pt x="32" y="42"/>
                  <a:pt x="32" y="41"/>
                </a:cubicBezTo>
                <a:cubicBezTo>
                  <a:pt x="31" y="41"/>
                  <a:pt x="31" y="40"/>
                  <a:pt x="31" y="40"/>
                </a:cubicBezTo>
                <a:cubicBezTo>
                  <a:pt x="30" y="38"/>
                  <a:pt x="29" y="40"/>
                  <a:pt x="28" y="40"/>
                </a:cubicBezTo>
                <a:cubicBezTo>
                  <a:pt x="28" y="39"/>
                  <a:pt x="28" y="40"/>
                  <a:pt x="27" y="40"/>
                </a:cubicBezTo>
                <a:cubicBezTo>
                  <a:pt x="27" y="40"/>
                  <a:pt x="26" y="40"/>
                  <a:pt x="25" y="40"/>
                </a:cubicBezTo>
                <a:cubicBezTo>
                  <a:pt x="25" y="41"/>
                  <a:pt x="24" y="41"/>
                  <a:pt x="23" y="42"/>
                </a:cubicBezTo>
                <a:cubicBezTo>
                  <a:pt x="23" y="42"/>
                  <a:pt x="22" y="42"/>
                  <a:pt x="22" y="43"/>
                </a:cubicBezTo>
                <a:cubicBezTo>
                  <a:pt x="21" y="42"/>
                  <a:pt x="21" y="41"/>
                  <a:pt x="20" y="42"/>
                </a:cubicBezTo>
                <a:cubicBezTo>
                  <a:pt x="19" y="43"/>
                  <a:pt x="18" y="44"/>
                  <a:pt x="17" y="44"/>
                </a:cubicBezTo>
                <a:cubicBezTo>
                  <a:pt x="16" y="45"/>
                  <a:pt x="14" y="44"/>
                  <a:pt x="13" y="44"/>
                </a:cubicBezTo>
                <a:cubicBezTo>
                  <a:pt x="12" y="45"/>
                  <a:pt x="12" y="50"/>
                  <a:pt x="11" y="52"/>
                </a:cubicBezTo>
                <a:cubicBezTo>
                  <a:pt x="10" y="54"/>
                  <a:pt x="9" y="55"/>
                  <a:pt x="8" y="56"/>
                </a:cubicBezTo>
                <a:cubicBezTo>
                  <a:pt x="8" y="57"/>
                  <a:pt x="7" y="58"/>
                  <a:pt x="8" y="59"/>
                </a:cubicBezTo>
                <a:cubicBezTo>
                  <a:pt x="8" y="62"/>
                  <a:pt x="9" y="66"/>
                  <a:pt x="10" y="69"/>
                </a:cubicBezTo>
                <a:cubicBezTo>
                  <a:pt x="10" y="72"/>
                  <a:pt x="11" y="75"/>
                  <a:pt x="12" y="77"/>
                </a:cubicBezTo>
                <a:cubicBezTo>
                  <a:pt x="13" y="78"/>
                  <a:pt x="13" y="79"/>
                  <a:pt x="13" y="81"/>
                </a:cubicBezTo>
                <a:cubicBezTo>
                  <a:pt x="12" y="83"/>
                  <a:pt x="13" y="84"/>
                  <a:pt x="12" y="86"/>
                </a:cubicBezTo>
                <a:cubicBezTo>
                  <a:pt x="11" y="87"/>
                  <a:pt x="11" y="88"/>
                  <a:pt x="11" y="88"/>
                </a:cubicBezTo>
                <a:cubicBezTo>
                  <a:pt x="10" y="89"/>
                  <a:pt x="10" y="89"/>
                  <a:pt x="9" y="90"/>
                </a:cubicBezTo>
                <a:cubicBezTo>
                  <a:pt x="9" y="91"/>
                  <a:pt x="9" y="92"/>
                  <a:pt x="8" y="92"/>
                </a:cubicBezTo>
                <a:cubicBezTo>
                  <a:pt x="7" y="94"/>
                  <a:pt x="7" y="96"/>
                  <a:pt x="6" y="97"/>
                </a:cubicBezTo>
                <a:cubicBezTo>
                  <a:pt x="5" y="99"/>
                  <a:pt x="3" y="97"/>
                  <a:pt x="3" y="100"/>
                </a:cubicBezTo>
                <a:cubicBezTo>
                  <a:pt x="3" y="100"/>
                  <a:pt x="3" y="101"/>
                  <a:pt x="3" y="101"/>
                </a:cubicBezTo>
                <a:cubicBezTo>
                  <a:pt x="3" y="102"/>
                  <a:pt x="3" y="102"/>
                  <a:pt x="2" y="102"/>
                </a:cubicBezTo>
                <a:cubicBezTo>
                  <a:pt x="2" y="103"/>
                  <a:pt x="2" y="104"/>
                  <a:pt x="1" y="105"/>
                </a:cubicBezTo>
                <a:cubicBezTo>
                  <a:pt x="1" y="105"/>
                  <a:pt x="1" y="105"/>
                  <a:pt x="1" y="104"/>
                </a:cubicBezTo>
                <a:cubicBezTo>
                  <a:pt x="0" y="106"/>
                  <a:pt x="0" y="108"/>
                  <a:pt x="1" y="110"/>
                </a:cubicBezTo>
                <a:cubicBezTo>
                  <a:pt x="1" y="114"/>
                  <a:pt x="3" y="116"/>
                  <a:pt x="4" y="120"/>
                </a:cubicBezTo>
                <a:cubicBezTo>
                  <a:pt x="5" y="121"/>
                  <a:pt x="6" y="122"/>
                  <a:pt x="6" y="123"/>
                </a:cubicBezTo>
                <a:cubicBezTo>
                  <a:pt x="6" y="123"/>
                  <a:pt x="5" y="123"/>
                  <a:pt x="5" y="123"/>
                </a:cubicBezTo>
                <a:cubicBezTo>
                  <a:pt x="4" y="124"/>
                  <a:pt x="5" y="125"/>
                  <a:pt x="5" y="126"/>
                </a:cubicBezTo>
                <a:cubicBezTo>
                  <a:pt x="5" y="128"/>
                  <a:pt x="5" y="130"/>
                  <a:pt x="5" y="132"/>
                </a:cubicBezTo>
                <a:cubicBezTo>
                  <a:pt x="6" y="133"/>
                  <a:pt x="7" y="135"/>
                  <a:pt x="8" y="136"/>
                </a:cubicBezTo>
                <a:cubicBezTo>
                  <a:pt x="9" y="138"/>
                  <a:pt x="9" y="138"/>
                  <a:pt x="11" y="139"/>
                </a:cubicBezTo>
                <a:cubicBezTo>
                  <a:pt x="15" y="141"/>
                  <a:pt x="19" y="145"/>
                  <a:pt x="24" y="144"/>
                </a:cubicBezTo>
                <a:cubicBezTo>
                  <a:pt x="26" y="144"/>
                  <a:pt x="29" y="141"/>
                  <a:pt x="31" y="140"/>
                </a:cubicBezTo>
                <a:cubicBezTo>
                  <a:pt x="33" y="140"/>
                  <a:pt x="35" y="140"/>
                  <a:pt x="37" y="139"/>
                </a:cubicBezTo>
                <a:cubicBezTo>
                  <a:pt x="38" y="139"/>
                  <a:pt x="39" y="139"/>
                  <a:pt x="39" y="138"/>
                </a:cubicBezTo>
                <a:cubicBezTo>
                  <a:pt x="40" y="136"/>
                  <a:pt x="40" y="135"/>
                  <a:pt x="41" y="133"/>
                </a:cubicBezTo>
                <a:cubicBezTo>
                  <a:pt x="42" y="131"/>
                  <a:pt x="43" y="129"/>
                  <a:pt x="44" y="128"/>
                </a:cubicBezTo>
                <a:cubicBezTo>
                  <a:pt x="48" y="115"/>
                  <a:pt x="51" y="102"/>
                  <a:pt x="55" y="89"/>
                </a:cubicBezTo>
                <a:cubicBezTo>
                  <a:pt x="57" y="83"/>
                  <a:pt x="59" y="77"/>
                  <a:pt x="60" y="72"/>
                </a:cubicBezTo>
                <a:cubicBezTo>
                  <a:pt x="61" y="68"/>
                  <a:pt x="62" y="64"/>
                  <a:pt x="64" y="61"/>
                </a:cubicBezTo>
                <a:cubicBezTo>
                  <a:pt x="64" y="59"/>
                  <a:pt x="64" y="59"/>
                  <a:pt x="64" y="57"/>
                </a:cubicBezTo>
                <a:cubicBezTo>
                  <a:pt x="64" y="57"/>
                  <a:pt x="63" y="56"/>
                  <a:pt x="64" y="56"/>
                </a:cubicBezTo>
                <a:cubicBezTo>
                  <a:pt x="65" y="55"/>
                  <a:pt x="65" y="54"/>
                  <a:pt x="66" y="53"/>
                </a:cubicBezTo>
                <a:cubicBezTo>
                  <a:pt x="67" y="52"/>
                  <a:pt x="68" y="51"/>
                  <a:pt x="67" y="51"/>
                </a:cubicBezTo>
                <a:cubicBezTo>
                  <a:pt x="66" y="50"/>
                  <a:pt x="67" y="49"/>
                  <a:pt x="67" y="49"/>
                </a:cubicBezTo>
                <a:cubicBezTo>
                  <a:pt x="67" y="47"/>
                  <a:pt x="68" y="45"/>
                  <a:pt x="68" y="44"/>
                </a:cubicBezTo>
                <a:cubicBezTo>
                  <a:pt x="67" y="43"/>
                  <a:pt x="66" y="44"/>
                  <a:pt x="66" y="42"/>
                </a:cubicBezTo>
                <a:cubicBezTo>
                  <a:pt x="67" y="41"/>
                  <a:pt x="66" y="40"/>
                  <a:pt x="66" y="39"/>
                </a:cubicBezTo>
                <a:cubicBezTo>
                  <a:pt x="66" y="38"/>
                  <a:pt x="66" y="37"/>
                  <a:pt x="67" y="36"/>
                </a:cubicBezTo>
                <a:cubicBezTo>
                  <a:pt x="69" y="35"/>
                  <a:pt x="69" y="38"/>
                  <a:pt x="70" y="39"/>
                </a:cubicBezTo>
                <a:cubicBezTo>
                  <a:pt x="71" y="41"/>
                  <a:pt x="72" y="43"/>
                  <a:pt x="73" y="40"/>
                </a:cubicBezTo>
                <a:cubicBezTo>
                  <a:pt x="74" y="39"/>
                  <a:pt x="75" y="37"/>
                  <a:pt x="75" y="35"/>
                </a:cubicBezTo>
                <a:cubicBezTo>
                  <a:pt x="75" y="33"/>
                  <a:pt x="73" y="30"/>
                  <a:pt x="73" y="28"/>
                </a:cubicBezTo>
                <a:cubicBezTo>
                  <a:pt x="72" y="26"/>
                  <a:pt x="72" y="23"/>
                  <a:pt x="71" y="2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42" name="Freeform 2898">
            <a:extLst>
              <a:ext uri="{FF2B5EF4-FFF2-40B4-BE49-F238E27FC236}">
                <a16:creationId xmlns:a16="http://schemas.microsoft.com/office/drawing/2014/main" id="{450D9171-3987-4F19-A7D5-AB479FAA3A4E}"/>
              </a:ext>
            </a:extLst>
          </p:cNvPr>
          <p:cNvSpPr>
            <a:spLocks/>
          </p:cNvSpPr>
          <p:nvPr/>
        </p:nvSpPr>
        <p:spPr bwMode="auto">
          <a:xfrm>
            <a:off x="3937144" y="4001958"/>
            <a:ext cx="1982" cy="5342"/>
          </a:xfrm>
          <a:custGeom>
            <a:avLst/>
            <a:gdLst>
              <a:gd name="T0" fmla="*/ 2 w 2"/>
              <a:gd name="T1" fmla="*/ 0 h 4"/>
              <a:gd name="T2" fmla="*/ 0 w 2"/>
              <a:gd name="T3" fmla="*/ 4 h 4"/>
              <a:gd name="T4" fmla="*/ 2 w 2"/>
              <a:gd name="T5" fmla="*/ 0 h 4"/>
            </a:gdLst>
            <a:ahLst/>
            <a:cxnLst>
              <a:cxn ang="0">
                <a:pos x="T0" y="T1"/>
              </a:cxn>
              <a:cxn ang="0">
                <a:pos x="T2" y="T3"/>
              </a:cxn>
              <a:cxn ang="0">
                <a:pos x="T4" y="T5"/>
              </a:cxn>
            </a:cxnLst>
            <a:rect l="0" t="0" r="r" b="b"/>
            <a:pathLst>
              <a:path w="2" h="4">
                <a:moveTo>
                  <a:pt x="2" y="0"/>
                </a:moveTo>
                <a:cubicBezTo>
                  <a:pt x="1" y="1"/>
                  <a:pt x="0" y="2"/>
                  <a:pt x="0" y="4"/>
                </a:cubicBezTo>
                <a:cubicBezTo>
                  <a:pt x="1" y="2"/>
                  <a:pt x="1" y="1"/>
                  <a:pt x="2"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43" name="Freeform 2899">
            <a:extLst>
              <a:ext uri="{FF2B5EF4-FFF2-40B4-BE49-F238E27FC236}">
                <a16:creationId xmlns:a16="http://schemas.microsoft.com/office/drawing/2014/main" id="{2326916A-FF21-411B-992F-7D9C17AFFD99}"/>
              </a:ext>
            </a:extLst>
          </p:cNvPr>
          <p:cNvSpPr>
            <a:spLocks/>
          </p:cNvSpPr>
          <p:nvPr/>
        </p:nvSpPr>
        <p:spPr bwMode="auto">
          <a:xfrm>
            <a:off x="3916826" y="3949722"/>
            <a:ext cx="2478" cy="2968"/>
          </a:xfrm>
          <a:custGeom>
            <a:avLst/>
            <a:gdLst>
              <a:gd name="T0" fmla="*/ 1 w 2"/>
              <a:gd name="T1" fmla="*/ 0 h 2"/>
              <a:gd name="T2" fmla="*/ 0 w 2"/>
              <a:gd name="T3" fmla="*/ 1 h 2"/>
              <a:gd name="T4" fmla="*/ 2 w 2"/>
              <a:gd name="T5" fmla="*/ 2 h 2"/>
              <a:gd name="T6" fmla="*/ 1 w 2"/>
              <a:gd name="T7" fmla="*/ 0 h 2"/>
            </a:gdLst>
            <a:ahLst/>
            <a:cxnLst>
              <a:cxn ang="0">
                <a:pos x="T0" y="T1"/>
              </a:cxn>
              <a:cxn ang="0">
                <a:pos x="T2" y="T3"/>
              </a:cxn>
              <a:cxn ang="0">
                <a:pos x="T4" y="T5"/>
              </a:cxn>
              <a:cxn ang="0">
                <a:pos x="T6" y="T7"/>
              </a:cxn>
            </a:cxnLst>
            <a:rect l="0" t="0" r="r" b="b"/>
            <a:pathLst>
              <a:path w="2" h="2">
                <a:moveTo>
                  <a:pt x="1" y="0"/>
                </a:moveTo>
                <a:cubicBezTo>
                  <a:pt x="1" y="0"/>
                  <a:pt x="0" y="0"/>
                  <a:pt x="0" y="1"/>
                </a:cubicBezTo>
                <a:cubicBezTo>
                  <a:pt x="0" y="2"/>
                  <a:pt x="1" y="2"/>
                  <a:pt x="2" y="2"/>
                </a:cubicBezTo>
                <a:cubicBezTo>
                  <a:pt x="2" y="2"/>
                  <a:pt x="2" y="0"/>
                  <a:pt x="1"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44" name="Freeform 2900">
            <a:extLst>
              <a:ext uri="{FF2B5EF4-FFF2-40B4-BE49-F238E27FC236}">
                <a16:creationId xmlns:a16="http://schemas.microsoft.com/office/drawing/2014/main" id="{3AB38654-C230-48B6-8622-C58EB3FFE7F4}"/>
              </a:ext>
            </a:extLst>
          </p:cNvPr>
          <p:cNvSpPr>
            <a:spLocks/>
          </p:cNvSpPr>
          <p:nvPr/>
        </p:nvSpPr>
        <p:spPr bwMode="auto">
          <a:xfrm>
            <a:off x="3441088" y="3703973"/>
            <a:ext cx="7433" cy="10091"/>
          </a:xfrm>
          <a:custGeom>
            <a:avLst/>
            <a:gdLst>
              <a:gd name="T0" fmla="*/ 2 w 6"/>
              <a:gd name="T1" fmla="*/ 2 h 7"/>
              <a:gd name="T2" fmla="*/ 1 w 6"/>
              <a:gd name="T3" fmla="*/ 4 h 7"/>
              <a:gd name="T4" fmla="*/ 0 w 6"/>
              <a:gd name="T5" fmla="*/ 4 h 7"/>
              <a:gd name="T6" fmla="*/ 0 w 6"/>
              <a:gd name="T7" fmla="*/ 6 h 7"/>
              <a:gd name="T8" fmla="*/ 2 w 6"/>
              <a:gd name="T9" fmla="*/ 7 h 7"/>
              <a:gd name="T10" fmla="*/ 5 w 6"/>
              <a:gd name="T11" fmla="*/ 3 h 7"/>
              <a:gd name="T12" fmla="*/ 2 w 6"/>
              <a:gd name="T13" fmla="*/ 2 h 7"/>
            </a:gdLst>
            <a:ahLst/>
            <a:cxnLst>
              <a:cxn ang="0">
                <a:pos x="T0" y="T1"/>
              </a:cxn>
              <a:cxn ang="0">
                <a:pos x="T2" y="T3"/>
              </a:cxn>
              <a:cxn ang="0">
                <a:pos x="T4" y="T5"/>
              </a:cxn>
              <a:cxn ang="0">
                <a:pos x="T6" y="T7"/>
              </a:cxn>
              <a:cxn ang="0">
                <a:pos x="T8" y="T9"/>
              </a:cxn>
              <a:cxn ang="0">
                <a:pos x="T10" y="T11"/>
              </a:cxn>
              <a:cxn ang="0">
                <a:pos x="T12" y="T13"/>
              </a:cxn>
            </a:cxnLst>
            <a:rect l="0" t="0" r="r" b="b"/>
            <a:pathLst>
              <a:path w="6" h="7">
                <a:moveTo>
                  <a:pt x="2" y="2"/>
                </a:moveTo>
                <a:cubicBezTo>
                  <a:pt x="2" y="2"/>
                  <a:pt x="2" y="4"/>
                  <a:pt x="1" y="4"/>
                </a:cubicBezTo>
                <a:cubicBezTo>
                  <a:pt x="1" y="4"/>
                  <a:pt x="1" y="4"/>
                  <a:pt x="0" y="4"/>
                </a:cubicBezTo>
                <a:cubicBezTo>
                  <a:pt x="0" y="4"/>
                  <a:pt x="0" y="6"/>
                  <a:pt x="0" y="6"/>
                </a:cubicBezTo>
                <a:cubicBezTo>
                  <a:pt x="1" y="6"/>
                  <a:pt x="2" y="7"/>
                  <a:pt x="2" y="7"/>
                </a:cubicBezTo>
                <a:cubicBezTo>
                  <a:pt x="3" y="6"/>
                  <a:pt x="5" y="3"/>
                  <a:pt x="5" y="3"/>
                </a:cubicBezTo>
                <a:cubicBezTo>
                  <a:pt x="6" y="0"/>
                  <a:pt x="3" y="2"/>
                  <a:pt x="2" y="2"/>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45" name="Freeform 2901">
            <a:extLst>
              <a:ext uri="{FF2B5EF4-FFF2-40B4-BE49-F238E27FC236}">
                <a16:creationId xmlns:a16="http://schemas.microsoft.com/office/drawing/2014/main" id="{368B18E1-8219-4B12-B898-63393909E656}"/>
              </a:ext>
            </a:extLst>
          </p:cNvPr>
          <p:cNvSpPr>
            <a:spLocks/>
          </p:cNvSpPr>
          <p:nvPr/>
        </p:nvSpPr>
        <p:spPr bwMode="auto">
          <a:xfrm>
            <a:off x="3870244" y="3933101"/>
            <a:ext cx="3469" cy="4155"/>
          </a:xfrm>
          <a:custGeom>
            <a:avLst/>
            <a:gdLst>
              <a:gd name="T0" fmla="*/ 2 w 3"/>
              <a:gd name="T1" fmla="*/ 0 h 3"/>
              <a:gd name="T2" fmla="*/ 0 w 3"/>
              <a:gd name="T3" fmla="*/ 1 h 3"/>
              <a:gd name="T4" fmla="*/ 3 w 3"/>
              <a:gd name="T5" fmla="*/ 3 h 3"/>
              <a:gd name="T6" fmla="*/ 2 w 3"/>
              <a:gd name="T7" fmla="*/ 0 h 3"/>
            </a:gdLst>
            <a:ahLst/>
            <a:cxnLst>
              <a:cxn ang="0">
                <a:pos x="T0" y="T1"/>
              </a:cxn>
              <a:cxn ang="0">
                <a:pos x="T2" y="T3"/>
              </a:cxn>
              <a:cxn ang="0">
                <a:pos x="T4" y="T5"/>
              </a:cxn>
              <a:cxn ang="0">
                <a:pos x="T6" y="T7"/>
              </a:cxn>
            </a:cxnLst>
            <a:rect l="0" t="0" r="r" b="b"/>
            <a:pathLst>
              <a:path w="3" h="3">
                <a:moveTo>
                  <a:pt x="2" y="0"/>
                </a:moveTo>
                <a:cubicBezTo>
                  <a:pt x="2" y="0"/>
                  <a:pt x="1" y="2"/>
                  <a:pt x="0" y="1"/>
                </a:cubicBezTo>
                <a:cubicBezTo>
                  <a:pt x="0" y="2"/>
                  <a:pt x="2" y="3"/>
                  <a:pt x="3" y="3"/>
                </a:cubicBezTo>
                <a:cubicBezTo>
                  <a:pt x="3" y="3"/>
                  <a:pt x="3" y="1"/>
                  <a:pt x="2"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46" name="Freeform 2902">
            <a:extLst>
              <a:ext uri="{FF2B5EF4-FFF2-40B4-BE49-F238E27FC236}">
                <a16:creationId xmlns:a16="http://schemas.microsoft.com/office/drawing/2014/main" id="{E02634CD-1198-4C5C-81E4-A5576D223DF1}"/>
              </a:ext>
            </a:extLst>
          </p:cNvPr>
          <p:cNvSpPr>
            <a:spLocks/>
          </p:cNvSpPr>
          <p:nvPr/>
        </p:nvSpPr>
        <p:spPr bwMode="auto">
          <a:xfrm>
            <a:off x="3863306" y="3935475"/>
            <a:ext cx="1982" cy="1781"/>
          </a:xfrm>
          <a:custGeom>
            <a:avLst/>
            <a:gdLst>
              <a:gd name="T0" fmla="*/ 0 w 2"/>
              <a:gd name="T1" fmla="*/ 0 h 1"/>
              <a:gd name="T2" fmla="*/ 2 w 2"/>
              <a:gd name="T3" fmla="*/ 1 h 1"/>
              <a:gd name="T4" fmla="*/ 0 w 2"/>
              <a:gd name="T5" fmla="*/ 0 h 1"/>
            </a:gdLst>
            <a:ahLst/>
            <a:cxnLst>
              <a:cxn ang="0">
                <a:pos x="T0" y="T1"/>
              </a:cxn>
              <a:cxn ang="0">
                <a:pos x="T2" y="T3"/>
              </a:cxn>
              <a:cxn ang="0">
                <a:pos x="T4" y="T5"/>
              </a:cxn>
            </a:cxnLst>
            <a:rect l="0" t="0" r="r" b="b"/>
            <a:pathLst>
              <a:path w="2" h="1">
                <a:moveTo>
                  <a:pt x="0" y="0"/>
                </a:moveTo>
                <a:cubicBezTo>
                  <a:pt x="0" y="1"/>
                  <a:pt x="1" y="1"/>
                  <a:pt x="2" y="1"/>
                </a:cubicBezTo>
                <a:cubicBezTo>
                  <a:pt x="1" y="1"/>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47" name="Freeform 2903">
            <a:extLst>
              <a:ext uri="{FF2B5EF4-FFF2-40B4-BE49-F238E27FC236}">
                <a16:creationId xmlns:a16="http://schemas.microsoft.com/office/drawing/2014/main" id="{8E537E81-4C8D-43E4-A5E1-923FB7D4AEAE}"/>
              </a:ext>
            </a:extLst>
          </p:cNvPr>
          <p:cNvSpPr>
            <a:spLocks/>
          </p:cNvSpPr>
          <p:nvPr/>
        </p:nvSpPr>
        <p:spPr bwMode="auto">
          <a:xfrm>
            <a:off x="3857359" y="3921823"/>
            <a:ext cx="3469" cy="9498"/>
          </a:xfrm>
          <a:custGeom>
            <a:avLst/>
            <a:gdLst>
              <a:gd name="T0" fmla="*/ 2 w 3"/>
              <a:gd name="T1" fmla="*/ 4 h 7"/>
              <a:gd name="T2" fmla="*/ 2 w 3"/>
              <a:gd name="T3" fmla="*/ 2 h 7"/>
              <a:gd name="T4" fmla="*/ 1 w 3"/>
              <a:gd name="T5" fmla="*/ 4 h 7"/>
              <a:gd name="T6" fmla="*/ 3 w 3"/>
              <a:gd name="T7" fmla="*/ 7 h 7"/>
              <a:gd name="T8" fmla="*/ 2 w 3"/>
              <a:gd name="T9" fmla="*/ 4 h 7"/>
            </a:gdLst>
            <a:ahLst/>
            <a:cxnLst>
              <a:cxn ang="0">
                <a:pos x="T0" y="T1"/>
              </a:cxn>
              <a:cxn ang="0">
                <a:pos x="T2" y="T3"/>
              </a:cxn>
              <a:cxn ang="0">
                <a:pos x="T4" y="T5"/>
              </a:cxn>
              <a:cxn ang="0">
                <a:pos x="T6" y="T7"/>
              </a:cxn>
              <a:cxn ang="0">
                <a:pos x="T8" y="T9"/>
              </a:cxn>
            </a:cxnLst>
            <a:rect l="0" t="0" r="r" b="b"/>
            <a:pathLst>
              <a:path w="3" h="7">
                <a:moveTo>
                  <a:pt x="2" y="4"/>
                </a:moveTo>
                <a:cubicBezTo>
                  <a:pt x="2" y="3"/>
                  <a:pt x="2" y="3"/>
                  <a:pt x="2" y="2"/>
                </a:cubicBezTo>
                <a:cubicBezTo>
                  <a:pt x="2" y="0"/>
                  <a:pt x="1" y="2"/>
                  <a:pt x="1" y="4"/>
                </a:cubicBezTo>
                <a:cubicBezTo>
                  <a:pt x="0" y="5"/>
                  <a:pt x="1" y="6"/>
                  <a:pt x="3" y="7"/>
                </a:cubicBezTo>
                <a:cubicBezTo>
                  <a:pt x="3" y="6"/>
                  <a:pt x="2" y="5"/>
                  <a:pt x="2" y="4"/>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48" name="Freeform 2904">
            <a:extLst>
              <a:ext uri="{FF2B5EF4-FFF2-40B4-BE49-F238E27FC236}">
                <a16:creationId xmlns:a16="http://schemas.microsoft.com/office/drawing/2014/main" id="{4B6B7135-2D4C-47C2-B6CE-99B7A9A3ECA8}"/>
              </a:ext>
            </a:extLst>
          </p:cNvPr>
          <p:cNvSpPr>
            <a:spLocks/>
          </p:cNvSpPr>
          <p:nvPr/>
        </p:nvSpPr>
        <p:spPr bwMode="auto">
          <a:xfrm>
            <a:off x="3977780" y="3574570"/>
            <a:ext cx="15362" cy="7123"/>
          </a:xfrm>
          <a:custGeom>
            <a:avLst/>
            <a:gdLst>
              <a:gd name="T0" fmla="*/ 5 w 13"/>
              <a:gd name="T1" fmla="*/ 1 h 5"/>
              <a:gd name="T2" fmla="*/ 2 w 13"/>
              <a:gd name="T3" fmla="*/ 1 h 5"/>
              <a:gd name="T4" fmla="*/ 0 w 13"/>
              <a:gd name="T5" fmla="*/ 3 h 5"/>
              <a:gd name="T6" fmla="*/ 5 w 13"/>
              <a:gd name="T7" fmla="*/ 5 h 5"/>
              <a:gd name="T8" fmla="*/ 10 w 13"/>
              <a:gd name="T9" fmla="*/ 4 h 5"/>
              <a:gd name="T10" fmla="*/ 13 w 13"/>
              <a:gd name="T11" fmla="*/ 3 h 5"/>
              <a:gd name="T12" fmla="*/ 9 w 13"/>
              <a:gd name="T13" fmla="*/ 1 h 5"/>
              <a:gd name="T14" fmla="*/ 5 w 13"/>
              <a:gd name="T15" fmla="*/ 1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5">
                <a:moveTo>
                  <a:pt x="5" y="1"/>
                </a:moveTo>
                <a:cubicBezTo>
                  <a:pt x="4" y="1"/>
                  <a:pt x="3" y="0"/>
                  <a:pt x="2" y="1"/>
                </a:cubicBezTo>
                <a:cubicBezTo>
                  <a:pt x="1" y="1"/>
                  <a:pt x="2" y="3"/>
                  <a:pt x="0" y="3"/>
                </a:cubicBezTo>
                <a:cubicBezTo>
                  <a:pt x="2" y="4"/>
                  <a:pt x="3" y="4"/>
                  <a:pt x="5" y="5"/>
                </a:cubicBezTo>
                <a:cubicBezTo>
                  <a:pt x="7" y="5"/>
                  <a:pt x="8" y="5"/>
                  <a:pt x="10" y="4"/>
                </a:cubicBezTo>
                <a:cubicBezTo>
                  <a:pt x="10" y="4"/>
                  <a:pt x="12" y="2"/>
                  <a:pt x="13" y="3"/>
                </a:cubicBezTo>
                <a:cubicBezTo>
                  <a:pt x="12" y="2"/>
                  <a:pt x="10" y="1"/>
                  <a:pt x="9" y="1"/>
                </a:cubicBezTo>
                <a:cubicBezTo>
                  <a:pt x="8" y="1"/>
                  <a:pt x="6" y="2"/>
                  <a:pt x="5"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49" name="Freeform 2905">
            <a:extLst>
              <a:ext uri="{FF2B5EF4-FFF2-40B4-BE49-F238E27FC236}">
                <a16:creationId xmlns:a16="http://schemas.microsoft.com/office/drawing/2014/main" id="{800BC90A-B3B5-45CD-912C-6D3FA259B772}"/>
              </a:ext>
            </a:extLst>
          </p:cNvPr>
          <p:cNvSpPr>
            <a:spLocks/>
          </p:cNvSpPr>
          <p:nvPr/>
        </p:nvSpPr>
        <p:spPr bwMode="auto">
          <a:xfrm>
            <a:off x="3963905" y="3583473"/>
            <a:ext cx="3469" cy="1187"/>
          </a:xfrm>
          <a:custGeom>
            <a:avLst/>
            <a:gdLst>
              <a:gd name="T0" fmla="*/ 0 w 3"/>
              <a:gd name="T1" fmla="*/ 0 h 1"/>
              <a:gd name="T2" fmla="*/ 3 w 3"/>
              <a:gd name="T3" fmla="*/ 1 h 1"/>
              <a:gd name="T4" fmla="*/ 0 w 3"/>
              <a:gd name="T5" fmla="*/ 0 h 1"/>
            </a:gdLst>
            <a:ahLst/>
            <a:cxnLst>
              <a:cxn ang="0">
                <a:pos x="T0" y="T1"/>
              </a:cxn>
              <a:cxn ang="0">
                <a:pos x="T2" y="T3"/>
              </a:cxn>
              <a:cxn ang="0">
                <a:pos x="T4" y="T5"/>
              </a:cxn>
            </a:cxnLst>
            <a:rect l="0" t="0" r="r" b="b"/>
            <a:pathLst>
              <a:path w="3" h="1">
                <a:moveTo>
                  <a:pt x="0" y="0"/>
                </a:moveTo>
                <a:cubicBezTo>
                  <a:pt x="1" y="0"/>
                  <a:pt x="2" y="0"/>
                  <a:pt x="3" y="1"/>
                </a:cubicBezTo>
                <a:cubicBezTo>
                  <a:pt x="2" y="0"/>
                  <a:pt x="1"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50" name="Freeform 2906">
            <a:extLst>
              <a:ext uri="{FF2B5EF4-FFF2-40B4-BE49-F238E27FC236}">
                <a16:creationId xmlns:a16="http://schemas.microsoft.com/office/drawing/2014/main" id="{9CDD1804-8A32-4D47-AF69-C8C1BFFA864D}"/>
              </a:ext>
            </a:extLst>
          </p:cNvPr>
          <p:cNvSpPr>
            <a:spLocks/>
          </p:cNvSpPr>
          <p:nvPr/>
        </p:nvSpPr>
        <p:spPr bwMode="auto">
          <a:xfrm>
            <a:off x="3734460" y="3296767"/>
            <a:ext cx="4460" cy="1187"/>
          </a:xfrm>
          <a:custGeom>
            <a:avLst/>
            <a:gdLst>
              <a:gd name="T0" fmla="*/ 0 w 4"/>
              <a:gd name="T1" fmla="*/ 1 h 1"/>
              <a:gd name="T2" fmla="*/ 4 w 4"/>
              <a:gd name="T3" fmla="*/ 0 h 1"/>
              <a:gd name="T4" fmla="*/ 0 w 4"/>
              <a:gd name="T5" fmla="*/ 1 h 1"/>
            </a:gdLst>
            <a:ahLst/>
            <a:cxnLst>
              <a:cxn ang="0">
                <a:pos x="T0" y="T1"/>
              </a:cxn>
              <a:cxn ang="0">
                <a:pos x="T2" y="T3"/>
              </a:cxn>
              <a:cxn ang="0">
                <a:pos x="T4" y="T5"/>
              </a:cxn>
            </a:cxnLst>
            <a:rect l="0" t="0" r="r" b="b"/>
            <a:pathLst>
              <a:path w="4" h="1">
                <a:moveTo>
                  <a:pt x="0" y="1"/>
                </a:moveTo>
                <a:cubicBezTo>
                  <a:pt x="1" y="0"/>
                  <a:pt x="2" y="0"/>
                  <a:pt x="4" y="0"/>
                </a:cubicBezTo>
                <a:cubicBezTo>
                  <a:pt x="2" y="0"/>
                  <a:pt x="2" y="0"/>
                  <a:pt x="0"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51" name="Freeform 2907">
            <a:extLst>
              <a:ext uri="{FF2B5EF4-FFF2-40B4-BE49-F238E27FC236}">
                <a16:creationId xmlns:a16="http://schemas.microsoft.com/office/drawing/2014/main" id="{6DC950BD-9AF9-46D9-85C5-4167F8716ACF}"/>
              </a:ext>
            </a:extLst>
          </p:cNvPr>
          <p:cNvSpPr>
            <a:spLocks/>
          </p:cNvSpPr>
          <p:nvPr/>
        </p:nvSpPr>
        <p:spPr bwMode="auto">
          <a:xfrm>
            <a:off x="3134336" y="3270055"/>
            <a:ext cx="5947" cy="4155"/>
          </a:xfrm>
          <a:custGeom>
            <a:avLst/>
            <a:gdLst>
              <a:gd name="T0" fmla="*/ 3 w 5"/>
              <a:gd name="T1" fmla="*/ 3 h 3"/>
              <a:gd name="T2" fmla="*/ 5 w 5"/>
              <a:gd name="T3" fmla="*/ 1 h 3"/>
              <a:gd name="T4" fmla="*/ 3 w 5"/>
              <a:gd name="T5" fmla="*/ 1 h 3"/>
              <a:gd name="T6" fmla="*/ 0 w 5"/>
              <a:gd name="T7" fmla="*/ 1 h 3"/>
              <a:gd name="T8" fmla="*/ 3 w 5"/>
              <a:gd name="T9" fmla="*/ 3 h 3"/>
            </a:gdLst>
            <a:ahLst/>
            <a:cxnLst>
              <a:cxn ang="0">
                <a:pos x="T0" y="T1"/>
              </a:cxn>
              <a:cxn ang="0">
                <a:pos x="T2" y="T3"/>
              </a:cxn>
              <a:cxn ang="0">
                <a:pos x="T4" y="T5"/>
              </a:cxn>
              <a:cxn ang="0">
                <a:pos x="T6" y="T7"/>
              </a:cxn>
              <a:cxn ang="0">
                <a:pos x="T8" y="T9"/>
              </a:cxn>
            </a:cxnLst>
            <a:rect l="0" t="0" r="r" b="b"/>
            <a:pathLst>
              <a:path w="5" h="3">
                <a:moveTo>
                  <a:pt x="3" y="3"/>
                </a:moveTo>
                <a:cubicBezTo>
                  <a:pt x="4" y="2"/>
                  <a:pt x="5" y="2"/>
                  <a:pt x="5" y="1"/>
                </a:cubicBezTo>
                <a:cubicBezTo>
                  <a:pt x="4" y="1"/>
                  <a:pt x="4" y="1"/>
                  <a:pt x="3" y="1"/>
                </a:cubicBezTo>
                <a:cubicBezTo>
                  <a:pt x="2" y="0"/>
                  <a:pt x="1" y="1"/>
                  <a:pt x="0" y="1"/>
                </a:cubicBezTo>
                <a:cubicBezTo>
                  <a:pt x="0" y="2"/>
                  <a:pt x="2" y="2"/>
                  <a:pt x="3" y="3"/>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52" name="Freeform 2908">
            <a:extLst>
              <a:ext uri="{FF2B5EF4-FFF2-40B4-BE49-F238E27FC236}">
                <a16:creationId xmlns:a16="http://schemas.microsoft.com/office/drawing/2014/main" id="{1B935F2F-0503-449D-B108-E78F775FDEFB}"/>
              </a:ext>
            </a:extLst>
          </p:cNvPr>
          <p:cNvSpPr>
            <a:spLocks/>
          </p:cNvSpPr>
          <p:nvPr/>
        </p:nvSpPr>
        <p:spPr bwMode="auto">
          <a:xfrm>
            <a:off x="3124921" y="3332976"/>
            <a:ext cx="3469" cy="5936"/>
          </a:xfrm>
          <a:custGeom>
            <a:avLst/>
            <a:gdLst>
              <a:gd name="T0" fmla="*/ 2 w 3"/>
              <a:gd name="T1" fmla="*/ 1 h 4"/>
              <a:gd name="T2" fmla="*/ 0 w 3"/>
              <a:gd name="T3" fmla="*/ 1 h 4"/>
              <a:gd name="T4" fmla="*/ 2 w 3"/>
              <a:gd name="T5" fmla="*/ 4 h 4"/>
              <a:gd name="T6" fmla="*/ 2 w 3"/>
              <a:gd name="T7" fmla="*/ 1 h 4"/>
            </a:gdLst>
            <a:ahLst/>
            <a:cxnLst>
              <a:cxn ang="0">
                <a:pos x="T0" y="T1"/>
              </a:cxn>
              <a:cxn ang="0">
                <a:pos x="T2" y="T3"/>
              </a:cxn>
              <a:cxn ang="0">
                <a:pos x="T4" y="T5"/>
              </a:cxn>
              <a:cxn ang="0">
                <a:pos x="T6" y="T7"/>
              </a:cxn>
            </a:cxnLst>
            <a:rect l="0" t="0" r="r" b="b"/>
            <a:pathLst>
              <a:path w="3" h="4">
                <a:moveTo>
                  <a:pt x="2" y="1"/>
                </a:moveTo>
                <a:cubicBezTo>
                  <a:pt x="2" y="0"/>
                  <a:pt x="0" y="1"/>
                  <a:pt x="0" y="1"/>
                </a:cubicBezTo>
                <a:cubicBezTo>
                  <a:pt x="0" y="2"/>
                  <a:pt x="2" y="4"/>
                  <a:pt x="2" y="4"/>
                </a:cubicBezTo>
                <a:cubicBezTo>
                  <a:pt x="2" y="3"/>
                  <a:pt x="3" y="1"/>
                  <a:pt x="2"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53" name="Freeform 2909">
            <a:extLst>
              <a:ext uri="{FF2B5EF4-FFF2-40B4-BE49-F238E27FC236}">
                <a16:creationId xmlns:a16="http://schemas.microsoft.com/office/drawing/2014/main" id="{B3C80487-4B57-4512-89DE-948725823BE1}"/>
              </a:ext>
            </a:extLst>
          </p:cNvPr>
          <p:cNvSpPr>
            <a:spLocks/>
          </p:cNvSpPr>
          <p:nvPr/>
        </p:nvSpPr>
        <p:spPr bwMode="auto">
          <a:xfrm>
            <a:off x="3121452" y="3348410"/>
            <a:ext cx="4460" cy="4749"/>
          </a:xfrm>
          <a:custGeom>
            <a:avLst/>
            <a:gdLst>
              <a:gd name="T0" fmla="*/ 3 w 4"/>
              <a:gd name="T1" fmla="*/ 3 h 3"/>
              <a:gd name="T2" fmla="*/ 4 w 4"/>
              <a:gd name="T3" fmla="*/ 0 h 3"/>
              <a:gd name="T4" fmla="*/ 2 w 4"/>
              <a:gd name="T5" fmla="*/ 1 h 3"/>
              <a:gd name="T6" fmla="*/ 3 w 4"/>
              <a:gd name="T7" fmla="*/ 3 h 3"/>
            </a:gdLst>
            <a:ahLst/>
            <a:cxnLst>
              <a:cxn ang="0">
                <a:pos x="T0" y="T1"/>
              </a:cxn>
              <a:cxn ang="0">
                <a:pos x="T2" y="T3"/>
              </a:cxn>
              <a:cxn ang="0">
                <a:pos x="T4" y="T5"/>
              </a:cxn>
              <a:cxn ang="0">
                <a:pos x="T6" y="T7"/>
              </a:cxn>
            </a:cxnLst>
            <a:rect l="0" t="0" r="r" b="b"/>
            <a:pathLst>
              <a:path w="4" h="3">
                <a:moveTo>
                  <a:pt x="3" y="3"/>
                </a:moveTo>
                <a:cubicBezTo>
                  <a:pt x="3" y="2"/>
                  <a:pt x="4" y="1"/>
                  <a:pt x="4" y="0"/>
                </a:cubicBezTo>
                <a:cubicBezTo>
                  <a:pt x="3" y="1"/>
                  <a:pt x="3" y="1"/>
                  <a:pt x="2" y="1"/>
                </a:cubicBezTo>
                <a:cubicBezTo>
                  <a:pt x="0" y="2"/>
                  <a:pt x="2" y="2"/>
                  <a:pt x="3" y="3"/>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54" name="Freeform 2910">
            <a:extLst>
              <a:ext uri="{FF2B5EF4-FFF2-40B4-BE49-F238E27FC236}">
                <a16:creationId xmlns:a16="http://schemas.microsoft.com/office/drawing/2014/main" id="{DFAF7036-85B3-4FA4-B653-4BF6CC0DAA8C}"/>
              </a:ext>
            </a:extLst>
          </p:cNvPr>
          <p:cNvSpPr>
            <a:spLocks/>
          </p:cNvSpPr>
          <p:nvPr/>
        </p:nvSpPr>
        <p:spPr bwMode="auto">
          <a:xfrm>
            <a:off x="3129876" y="3343068"/>
            <a:ext cx="8920" cy="4155"/>
          </a:xfrm>
          <a:custGeom>
            <a:avLst/>
            <a:gdLst>
              <a:gd name="T0" fmla="*/ 4 w 8"/>
              <a:gd name="T1" fmla="*/ 3 h 3"/>
              <a:gd name="T2" fmla="*/ 4 w 8"/>
              <a:gd name="T3" fmla="*/ 3 h 3"/>
            </a:gdLst>
            <a:ahLst/>
            <a:cxnLst>
              <a:cxn ang="0">
                <a:pos x="T0" y="T1"/>
              </a:cxn>
              <a:cxn ang="0">
                <a:pos x="T2" y="T3"/>
              </a:cxn>
            </a:cxnLst>
            <a:rect l="0" t="0" r="r" b="b"/>
            <a:pathLst>
              <a:path w="8" h="3">
                <a:moveTo>
                  <a:pt x="4" y="3"/>
                </a:moveTo>
                <a:cubicBezTo>
                  <a:pt x="8" y="0"/>
                  <a:pt x="0" y="1"/>
                  <a:pt x="4" y="3"/>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55" name="Freeform 2911">
            <a:extLst>
              <a:ext uri="{FF2B5EF4-FFF2-40B4-BE49-F238E27FC236}">
                <a16:creationId xmlns:a16="http://schemas.microsoft.com/office/drawing/2014/main" id="{86614C08-14A1-48B7-925A-13ACD2F4963A}"/>
              </a:ext>
            </a:extLst>
          </p:cNvPr>
          <p:cNvSpPr>
            <a:spLocks/>
          </p:cNvSpPr>
          <p:nvPr/>
        </p:nvSpPr>
        <p:spPr bwMode="auto">
          <a:xfrm>
            <a:off x="3137805" y="3337725"/>
            <a:ext cx="9416" cy="9498"/>
          </a:xfrm>
          <a:custGeom>
            <a:avLst/>
            <a:gdLst>
              <a:gd name="T0" fmla="*/ 0 w 8"/>
              <a:gd name="T1" fmla="*/ 3 h 7"/>
              <a:gd name="T2" fmla="*/ 1 w 8"/>
              <a:gd name="T3" fmla="*/ 4 h 7"/>
              <a:gd name="T4" fmla="*/ 3 w 8"/>
              <a:gd name="T5" fmla="*/ 7 h 7"/>
              <a:gd name="T6" fmla="*/ 8 w 8"/>
              <a:gd name="T7" fmla="*/ 0 h 7"/>
              <a:gd name="T8" fmla="*/ 6 w 8"/>
              <a:gd name="T9" fmla="*/ 1 h 7"/>
              <a:gd name="T10" fmla="*/ 5 w 8"/>
              <a:gd name="T11" fmla="*/ 2 h 7"/>
              <a:gd name="T12" fmla="*/ 0 w 8"/>
              <a:gd name="T13" fmla="*/ 3 h 7"/>
              <a:gd name="T14" fmla="*/ 0 w 8"/>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7">
                <a:moveTo>
                  <a:pt x="0" y="3"/>
                </a:moveTo>
                <a:cubicBezTo>
                  <a:pt x="0" y="3"/>
                  <a:pt x="0" y="3"/>
                  <a:pt x="1" y="4"/>
                </a:cubicBezTo>
                <a:cubicBezTo>
                  <a:pt x="1" y="5"/>
                  <a:pt x="2" y="6"/>
                  <a:pt x="3" y="7"/>
                </a:cubicBezTo>
                <a:cubicBezTo>
                  <a:pt x="4" y="5"/>
                  <a:pt x="6" y="3"/>
                  <a:pt x="8" y="0"/>
                </a:cubicBezTo>
                <a:cubicBezTo>
                  <a:pt x="7" y="1"/>
                  <a:pt x="7" y="0"/>
                  <a:pt x="6" y="1"/>
                </a:cubicBezTo>
                <a:cubicBezTo>
                  <a:pt x="5" y="1"/>
                  <a:pt x="5" y="1"/>
                  <a:pt x="5" y="2"/>
                </a:cubicBezTo>
                <a:cubicBezTo>
                  <a:pt x="4" y="3"/>
                  <a:pt x="2" y="3"/>
                  <a:pt x="0" y="3"/>
                </a:cubicBezTo>
                <a:cubicBezTo>
                  <a:pt x="0" y="3"/>
                  <a:pt x="0" y="3"/>
                  <a:pt x="0" y="3"/>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56" name="Freeform 2912">
            <a:extLst>
              <a:ext uri="{FF2B5EF4-FFF2-40B4-BE49-F238E27FC236}">
                <a16:creationId xmlns:a16="http://schemas.microsoft.com/office/drawing/2014/main" id="{3032079C-7CE5-4DD9-9BC6-2407B1A53CFE}"/>
              </a:ext>
            </a:extLst>
          </p:cNvPr>
          <p:cNvSpPr>
            <a:spLocks/>
          </p:cNvSpPr>
          <p:nvPr/>
        </p:nvSpPr>
        <p:spPr bwMode="auto">
          <a:xfrm>
            <a:off x="3150690" y="3344255"/>
            <a:ext cx="6938" cy="7123"/>
          </a:xfrm>
          <a:custGeom>
            <a:avLst/>
            <a:gdLst>
              <a:gd name="T0" fmla="*/ 3 w 6"/>
              <a:gd name="T1" fmla="*/ 5 h 5"/>
              <a:gd name="T2" fmla="*/ 4 w 6"/>
              <a:gd name="T3" fmla="*/ 0 h 5"/>
              <a:gd name="T4" fmla="*/ 2 w 6"/>
              <a:gd name="T5" fmla="*/ 0 h 5"/>
              <a:gd name="T6" fmla="*/ 0 w 6"/>
              <a:gd name="T7" fmla="*/ 3 h 5"/>
              <a:gd name="T8" fmla="*/ 3 w 6"/>
              <a:gd name="T9" fmla="*/ 5 h 5"/>
            </a:gdLst>
            <a:ahLst/>
            <a:cxnLst>
              <a:cxn ang="0">
                <a:pos x="T0" y="T1"/>
              </a:cxn>
              <a:cxn ang="0">
                <a:pos x="T2" y="T3"/>
              </a:cxn>
              <a:cxn ang="0">
                <a:pos x="T4" y="T5"/>
              </a:cxn>
              <a:cxn ang="0">
                <a:pos x="T6" y="T7"/>
              </a:cxn>
              <a:cxn ang="0">
                <a:pos x="T8" y="T9"/>
              </a:cxn>
            </a:cxnLst>
            <a:rect l="0" t="0" r="r" b="b"/>
            <a:pathLst>
              <a:path w="6" h="5">
                <a:moveTo>
                  <a:pt x="3" y="5"/>
                </a:moveTo>
                <a:cubicBezTo>
                  <a:pt x="5" y="3"/>
                  <a:pt x="6" y="2"/>
                  <a:pt x="4" y="0"/>
                </a:cubicBezTo>
                <a:cubicBezTo>
                  <a:pt x="4" y="1"/>
                  <a:pt x="2" y="0"/>
                  <a:pt x="2" y="0"/>
                </a:cubicBezTo>
                <a:cubicBezTo>
                  <a:pt x="2" y="1"/>
                  <a:pt x="0" y="1"/>
                  <a:pt x="0" y="3"/>
                </a:cubicBezTo>
                <a:cubicBezTo>
                  <a:pt x="1" y="4"/>
                  <a:pt x="2" y="5"/>
                  <a:pt x="3" y="5"/>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57" name="Freeform 2913">
            <a:extLst>
              <a:ext uri="{FF2B5EF4-FFF2-40B4-BE49-F238E27FC236}">
                <a16:creationId xmlns:a16="http://schemas.microsoft.com/office/drawing/2014/main" id="{9C71BBD7-5D82-4CE2-8F31-7E27949E21A8}"/>
              </a:ext>
            </a:extLst>
          </p:cNvPr>
          <p:cNvSpPr>
            <a:spLocks/>
          </p:cNvSpPr>
          <p:nvPr/>
        </p:nvSpPr>
        <p:spPr bwMode="auto">
          <a:xfrm>
            <a:off x="3167043" y="3332976"/>
            <a:ext cx="8425" cy="13059"/>
          </a:xfrm>
          <a:custGeom>
            <a:avLst/>
            <a:gdLst>
              <a:gd name="T0" fmla="*/ 1 w 7"/>
              <a:gd name="T1" fmla="*/ 9 h 9"/>
              <a:gd name="T2" fmla="*/ 6 w 7"/>
              <a:gd name="T3" fmla="*/ 5 h 9"/>
              <a:gd name="T4" fmla="*/ 7 w 7"/>
              <a:gd name="T5" fmla="*/ 2 h 9"/>
              <a:gd name="T6" fmla="*/ 7 w 7"/>
              <a:gd name="T7" fmla="*/ 3 h 9"/>
              <a:gd name="T8" fmla="*/ 5 w 7"/>
              <a:gd name="T9" fmla="*/ 0 h 9"/>
              <a:gd name="T10" fmla="*/ 5 w 7"/>
              <a:gd name="T11" fmla="*/ 2 h 9"/>
              <a:gd name="T12" fmla="*/ 4 w 7"/>
              <a:gd name="T13" fmla="*/ 4 h 9"/>
              <a:gd name="T14" fmla="*/ 3 w 7"/>
              <a:gd name="T15" fmla="*/ 6 h 9"/>
              <a:gd name="T16" fmla="*/ 0 w 7"/>
              <a:gd name="T17" fmla="*/ 9 h 9"/>
              <a:gd name="T18" fmla="*/ 0 w 7"/>
              <a:gd name="T19" fmla="*/ 9 h 9"/>
              <a:gd name="T20" fmla="*/ 0 w 7"/>
              <a:gd name="T21" fmla="*/ 9 h 9"/>
              <a:gd name="T22" fmla="*/ 1 w 7"/>
              <a:gd name="T23"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9">
                <a:moveTo>
                  <a:pt x="1" y="9"/>
                </a:moveTo>
                <a:cubicBezTo>
                  <a:pt x="4" y="8"/>
                  <a:pt x="6" y="7"/>
                  <a:pt x="6" y="5"/>
                </a:cubicBezTo>
                <a:cubicBezTo>
                  <a:pt x="7" y="4"/>
                  <a:pt x="7" y="3"/>
                  <a:pt x="7" y="2"/>
                </a:cubicBezTo>
                <a:cubicBezTo>
                  <a:pt x="7" y="3"/>
                  <a:pt x="7" y="3"/>
                  <a:pt x="7" y="3"/>
                </a:cubicBezTo>
                <a:cubicBezTo>
                  <a:pt x="7" y="2"/>
                  <a:pt x="6" y="1"/>
                  <a:pt x="5" y="0"/>
                </a:cubicBezTo>
                <a:cubicBezTo>
                  <a:pt x="5" y="1"/>
                  <a:pt x="5" y="1"/>
                  <a:pt x="5" y="2"/>
                </a:cubicBezTo>
                <a:cubicBezTo>
                  <a:pt x="5" y="2"/>
                  <a:pt x="5" y="3"/>
                  <a:pt x="4" y="4"/>
                </a:cubicBezTo>
                <a:cubicBezTo>
                  <a:pt x="4" y="5"/>
                  <a:pt x="3" y="5"/>
                  <a:pt x="3" y="6"/>
                </a:cubicBezTo>
                <a:cubicBezTo>
                  <a:pt x="2" y="8"/>
                  <a:pt x="2" y="8"/>
                  <a:pt x="0" y="9"/>
                </a:cubicBezTo>
                <a:cubicBezTo>
                  <a:pt x="0" y="9"/>
                  <a:pt x="0" y="9"/>
                  <a:pt x="0" y="9"/>
                </a:cubicBezTo>
                <a:cubicBezTo>
                  <a:pt x="0" y="9"/>
                  <a:pt x="0" y="9"/>
                  <a:pt x="0" y="9"/>
                </a:cubicBezTo>
                <a:cubicBezTo>
                  <a:pt x="1" y="9"/>
                  <a:pt x="1" y="9"/>
                  <a:pt x="1" y="9"/>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58" name="Freeform 2914">
            <a:extLst>
              <a:ext uri="{FF2B5EF4-FFF2-40B4-BE49-F238E27FC236}">
                <a16:creationId xmlns:a16="http://schemas.microsoft.com/office/drawing/2014/main" id="{AD96B234-E54D-4B62-B7F1-DB6B029C196A}"/>
              </a:ext>
            </a:extLst>
          </p:cNvPr>
          <p:cNvSpPr>
            <a:spLocks/>
          </p:cNvSpPr>
          <p:nvPr/>
        </p:nvSpPr>
        <p:spPr bwMode="auto">
          <a:xfrm>
            <a:off x="3175468" y="3327634"/>
            <a:ext cx="4460" cy="7123"/>
          </a:xfrm>
          <a:custGeom>
            <a:avLst/>
            <a:gdLst>
              <a:gd name="T0" fmla="*/ 3 w 4"/>
              <a:gd name="T1" fmla="*/ 2 h 5"/>
              <a:gd name="T2" fmla="*/ 3 w 4"/>
              <a:gd name="T3" fmla="*/ 0 h 5"/>
              <a:gd name="T4" fmla="*/ 0 w 4"/>
              <a:gd name="T5" fmla="*/ 5 h 5"/>
              <a:gd name="T6" fmla="*/ 3 w 4"/>
              <a:gd name="T7" fmla="*/ 2 h 5"/>
            </a:gdLst>
            <a:ahLst/>
            <a:cxnLst>
              <a:cxn ang="0">
                <a:pos x="T0" y="T1"/>
              </a:cxn>
              <a:cxn ang="0">
                <a:pos x="T2" y="T3"/>
              </a:cxn>
              <a:cxn ang="0">
                <a:pos x="T4" y="T5"/>
              </a:cxn>
              <a:cxn ang="0">
                <a:pos x="T6" y="T7"/>
              </a:cxn>
            </a:cxnLst>
            <a:rect l="0" t="0" r="r" b="b"/>
            <a:pathLst>
              <a:path w="4" h="5">
                <a:moveTo>
                  <a:pt x="3" y="2"/>
                </a:moveTo>
                <a:cubicBezTo>
                  <a:pt x="4" y="1"/>
                  <a:pt x="4" y="0"/>
                  <a:pt x="3" y="0"/>
                </a:cubicBezTo>
                <a:cubicBezTo>
                  <a:pt x="1" y="2"/>
                  <a:pt x="0" y="2"/>
                  <a:pt x="0" y="5"/>
                </a:cubicBezTo>
                <a:cubicBezTo>
                  <a:pt x="1" y="3"/>
                  <a:pt x="3" y="4"/>
                  <a:pt x="3" y="2"/>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59" name="Freeform 2915">
            <a:extLst>
              <a:ext uri="{FF2B5EF4-FFF2-40B4-BE49-F238E27FC236}">
                <a16:creationId xmlns:a16="http://schemas.microsoft.com/office/drawing/2014/main" id="{1E94F9FC-A88C-401F-85A1-6D465636D36B}"/>
              </a:ext>
            </a:extLst>
          </p:cNvPr>
          <p:cNvSpPr>
            <a:spLocks/>
          </p:cNvSpPr>
          <p:nvPr/>
        </p:nvSpPr>
        <p:spPr bwMode="auto">
          <a:xfrm>
            <a:off x="3417797" y="3753242"/>
            <a:ext cx="3469" cy="5342"/>
          </a:xfrm>
          <a:custGeom>
            <a:avLst/>
            <a:gdLst>
              <a:gd name="T0" fmla="*/ 1 w 3"/>
              <a:gd name="T1" fmla="*/ 1 h 4"/>
              <a:gd name="T2" fmla="*/ 1 w 3"/>
              <a:gd name="T3" fmla="*/ 4 h 4"/>
              <a:gd name="T4" fmla="*/ 3 w 3"/>
              <a:gd name="T5" fmla="*/ 2 h 4"/>
              <a:gd name="T6" fmla="*/ 1 w 3"/>
              <a:gd name="T7" fmla="*/ 1 h 4"/>
            </a:gdLst>
            <a:ahLst/>
            <a:cxnLst>
              <a:cxn ang="0">
                <a:pos x="T0" y="T1"/>
              </a:cxn>
              <a:cxn ang="0">
                <a:pos x="T2" y="T3"/>
              </a:cxn>
              <a:cxn ang="0">
                <a:pos x="T4" y="T5"/>
              </a:cxn>
              <a:cxn ang="0">
                <a:pos x="T6" y="T7"/>
              </a:cxn>
            </a:cxnLst>
            <a:rect l="0" t="0" r="r" b="b"/>
            <a:pathLst>
              <a:path w="3" h="4">
                <a:moveTo>
                  <a:pt x="1" y="1"/>
                </a:moveTo>
                <a:cubicBezTo>
                  <a:pt x="0" y="2"/>
                  <a:pt x="0" y="3"/>
                  <a:pt x="1" y="4"/>
                </a:cubicBezTo>
                <a:cubicBezTo>
                  <a:pt x="1" y="4"/>
                  <a:pt x="3" y="3"/>
                  <a:pt x="3" y="2"/>
                </a:cubicBezTo>
                <a:cubicBezTo>
                  <a:pt x="3" y="0"/>
                  <a:pt x="2" y="0"/>
                  <a:pt x="1"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60" name="Freeform 2916">
            <a:extLst>
              <a:ext uri="{FF2B5EF4-FFF2-40B4-BE49-F238E27FC236}">
                <a16:creationId xmlns:a16="http://schemas.microsoft.com/office/drawing/2014/main" id="{72DBC454-95D9-4C95-81F0-6EEC884B17A1}"/>
              </a:ext>
            </a:extLst>
          </p:cNvPr>
          <p:cNvSpPr>
            <a:spLocks/>
          </p:cNvSpPr>
          <p:nvPr/>
        </p:nvSpPr>
        <p:spPr bwMode="auto">
          <a:xfrm>
            <a:off x="4027336" y="4049445"/>
            <a:ext cx="4460" cy="8310"/>
          </a:xfrm>
          <a:custGeom>
            <a:avLst/>
            <a:gdLst>
              <a:gd name="T0" fmla="*/ 2 w 4"/>
              <a:gd name="T1" fmla="*/ 0 h 6"/>
              <a:gd name="T2" fmla="*/ 0 w 4"/>
              <a:gd name="T3" fmla="*/ 6 h 6"/>
              <a:gd name="T4" fmla="*/ 4 w 4"/>
              <a:gd name="T5" fmla="*/ 4 h 6"/>
              <a:gd name="T6" fmla="*/ 2 w 4"/>
              <a:gd name="T7" fmla="*/ 0 h 6"/>
            </a:gdLst>
            <a:ahLst/>
            <a:cxnLst>
              <a:cxn ang="0">
                <a:pos x="T0" y="T1"/>
              </a:cxn>
              <a:cxn ang="0">
                <a:pos x="T2" y="T3"/>
              </a:cxn>
              <a:cxn ang="0">
                <a:pos x="T4" y="T5"/>
              </a:cxn>
              <a:cxn ang="0">
                <a:pos x="T6" y="T7"/>
              </a:cxn>
            </a:cxnLst>
            <a:rect l="0" t="0" r="r" b="b"/>
            <a:pathLst>
              <a:path w="4" h="6">
                <a:moveTo>
                  <a:pt x="2" y="0"/>
                </a:moveTo>
                <a:cubicBezTo>
                  <a:pt x="1" y="1"/>
                  <a:pt x="0" y="4"/>
                  <a:pt x="0" y="6"/>
                </a:cubicBezTo>
                <a:cubicBezTo>
                  <a:pt x="1" y="6"/>
                  <a:pt x="3" y="6"/>
                  <a:pt x="4" y="4"/>
                </a:cubicBezTo>
                <a:cubicBezTo>
                  <a:pt x="4" y="3"/>
                  <a:pt x="3" y="0"/>
                  <a:pt x="2"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61" name="Freeform 2917">
            <a:extLst>
              <a:ext uri="{FF2B5EF4-FFF2-40B4-BE49-F238E27FC236}">
                <a16:creationId xmlns:a16="http://schemas.microsoft.com/office/drawing/2014/main" id="{DBA495C6-A301-4BC8-8870-0E8A02A82D99}"/>
              </a:ext>
            </a:extLst>
          </p:cNvPr>
          <p:cNvSpPr>
            <a:spLocks/>
          </p:cNvSpPr>
          <p:nvPr/>
        </p:nvSpPr>
        <p:spPr bwMode="auto">
          <a:xfrm>
            <a:off x="4000081" y="4063692"/>
            <a:ext cx="10902" cy="7123"/>
          </a:xfrm>
          <a:custGeom>
            <a:avLst/>
            <a:gdLst>
              <a:gd name="T0" fmla="*/ 4 w 9"/>
              <a:gd name="T1" fmla="*/ 0 h 5"/>
              <a:gd name="T2" fmla="*/ 5 w 9"/>
              <a:gd name="T3" fmla="*/ 5 h 5"/>
              <a:gd name="T4" fmla="*/ 4 w 9"/>
              <a:gd name="T5" fmla="*/ 0 h 5"/>
            </a:gdLst>
            <a:ahLst/>
            <a:cxnLst>
              <a:cxn ang="0">
                <a:pos x="T0" y="T1"/>
              </a:cxn>
              <a:cxn ang="0">
                <a:pos x="T2" y="T3"/>
              </a:cxn>
              <a:cxn ang="0">
                <a:pos x="T4" y="T5"/>
              </a:cxn>
            </a:cxnLst>
            <a:rect l="0" t="0" r="r" b="b"/>
            <a:pathLst>
              <a:path w="9" h="5">
                <a:moveTo>
                  <a:pt x="4" y="0"/>
                </a:moveTo>
                <a:cubicBezTo>
                  <a:pt x="0" y="0"/>
                  <a:pt x="1" y="5"/>
                  <a:pt x="5" y="5"/>
                </a:cubicBezTo>
                <a:cubicBezTo>
                  <a:pt x="9" y="5"/>
                  <a:pt x="7" y="0"/>
                  <a:pt x="4"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62" name="Oval 2918">
            <a:extLst>
              <a:ext uri="{FF2B5EF4-FFF2-40B4-BE49-F238E27FC236}">
                <a16:creationId xmlns:a16="http://schemas.microsoft.com/office/drawing/2014/main" id="{7FBA9310-1FF9-41AB-A5CB-551AC1CAB48C}"/>
              </a:ext>
            </a:extLst>
          </p:cNvPr>
          <p:cNvSpPr>
            <a:spLocks noChangeArrowheads="1"/>
          </p:cNvSpPr>
          <p:nvPr/>
        </p:nvSpPr>
        <p:spPr bwMode="auto">
          <a:xfrm>
            <a:off x="3642781" y="4017391"/>
            <a:ext cx="496" cy="594"/>
          </a:xfrm>
          <a:prstGeom prst="ellipse">
            <a:avLst/>
          </a:pr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63" name="Freeform 2919">
            <a:extLst>
              <a:ext uri="{FF2B5EF4-FFF2-40B4-BE49-F238E27FC236}">
                <a16:creationId xmlns:a16="http://schemas.microsoft.com/office/drawing/2014/main" id="{265329E3-9CA6-4F7E-9B23-9BFE1016969B}"/>
              </a:ext>
            </a:extLst>
          </p:cNvPr>
          <p:cNvSpPr>
            <a:spLocks/>
          </p:cNvSpPr>
          <p:nvPr/>
        </p:nvSpPr>
        <p:spPr bwMode="auto">
          <a:xfrm>
            <a:off x="2352838" y="3101474"/>
            <a:ext cx="991" cy="4155"/>
          </a:xfrm>
          <a:custGeom>
            <a:avLst/>
            <a:gdLst>
              <a:gd name="T0" fmla="*/ 1 w 1"/>
              <a:gd name="T1" fmla="*/ 0 h 3"/>
              <a:gd name="T2" fmla="*/ 0 w 1"/>
              <a:gd name="T3" fmla="*/ 3 h 3"/>
              <a:gd name="T4" fmla="*/ 1 w 1"/>
              <a:gd name="T5" fmla="*/ 0 h 3"/>
            </a:gdLst>
            <a:ahLst/>
            <a:cxnLst>
              <a:cxn ang="0">
                <a:pos x="T0" y="T1"/>
              </a:cxn>
              <a:cxn ang="0">
                <a:pos x="T2" y="T3"/>
              </a:cxn>
              <a:cxn ang="0">
                <a:pos x="T4" y="T5"/>
              </a:cxn>
            </a:cxnLst>
            <a:rect l="0" t="0" r="r" b="b"/>
            <a:pathLst>
              <a:path w="1" h="3">
                <a:moveTo>
                  <a:pt x="1" y="0"/>
                </a:moveTo>
                <a:cubicBezTo>
                  <a:pt x="0" y="3"/>
                  <a:pt x="0" y="3"/>
                  <a:pt x="0" y="3"/>
                </a:cubicBezTo>
                <a:cubicBezTo>
                  <a:pt x="0" y="2"/>
                  <a:pt x="1" y="1"/>
                  <a:pt x="1"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64" name="Freeform 2920">
            <a:extLst>
              <a:ext uri="{FF2B5EF4-FFF2-40B4-BE49-F238E27FC236}">
                <a16:creationId xmlns:a16="http://schemas.microsoft.com/office/drawing/2014/main" id="{3DD319E6-5AA2-4F72-A477-461976A53F91}"/>
              </a:ext>
            </a:extLst>
          </p:cNvPr>
          <p:cNvSpPr>
            <a:spLocks/>
          </p:cNvSpPr>
          <p:nvPr/>
        </p:nvSpPr>
        <p:spPr bwMode="auto">
          <a:xfrm>
            <a:off x="2330537" y="30397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65" name="Freeform 2921">
            <a:extLst>
              <a:ext uri="{FF2B5EF4-FFF2-40B4-BE49-F238E27FC236}">
                <a16:creationId xmlns:a16="http://schemas.microsoft.com/office/drawing/2014/main" id="{04A70E74-9E7F-4936-96C4-3067B8DF27D6}"/>
              </a:ext>
            </a:extLst>
          </p:cNvPr>
          <p:cNvSpPr>
            <a:spLocks/>
          </p:cNvSpPr>
          <p:nvPr/>
        </p:nvSpPr>
        <p:spPr bwMode="auto">
          <a:xfrm>
            <a:off x="2351846" y="3105630"/>
            <a:ext cx="991" cy="4155"/>
          </a:xfrm>
          <a:custGeom>
            <a:avLst/>
            <a:gdLst>
              <a:gd name="T0" fmla="*/ 0 w 1"/>
              <a:gd name="T1" fmla="*/ 2 h 3"/>
              <a:gd name="T2" fmla="*/ 0 w 1"/>
              <a:gd name="T3" fmla="*/ 3 h 3"/>
              <a:gd name="T4" fmla="*/ 1 w 1"/>
              <a:gd name="T5" fmla="*/ 0 h 3"/>
              <a:gd name="T6" fmla="*/ 0 w 1"/>
              <a:gd name="T7" fmla="*/ 2 h 3"/>
              <a:gd name="T8" fmla="*/ 0 w 1"/>
              <a:gd name="T9" fmla="*/ 2 h 3"/>
              <a:gd name="T10" fmla="*/ 0 w 1"/>
              <a:gd name="T11" fmla="*/ 2 h 3"/>
            </a:gdLst>
            <a:ahLst/>
            <a:cxnLst>
              <a:cxn ang="0">
                <a:pos x="T0" y="T1"/>
              </a:cxn>
              <a:cxn ang="0">
                <a:pos x="T2" y="T3"/>
              </a:cxn>
              <a:cxn ang="0">
                <a:pos x="T4" y="T5"/>
              </a:cxn>
              <a:cxn ang="0">
                <a:pos x="T6" y="T7"/>
              </a:cxn>
              <a:cxn ang="0">
                <a:pos x="T8" y="T9"/>
              </a:cxn>
              <a:cxn ang="0">
                <a:pos x="T10" y="T11"/>
              </a:cxn>
            </a:cxnLst>
            <a:rect l="0" t="0" r="r" b="b"/>
            <a:pathLst>
              <a:path w="1" h="3">
                <a:moveTo>
                  <a:pt x="0" y="2"/>
                </a:moveTo>
                <a:cubicBezTo>
                  <a:pt x="0" y="2"/>
                  <a:pt x="0" y="2"/>
                  <a:pt x="0" y="3"/>
                </a:cubicBezTo>
                <a:cubicBezTo>
                  <a:pt x="0" y="2"/>
                  <a:pt x="1" y="1"/>
                  <a:pt x="1" y="0"/>
                </a:cubicBezTo>
                <a:cubicBezTo>
                  <a:pt x="1" y="0"/>
                  <a:pt x="0" y="1"/>
                  <a:pt x="0" y="2"/>
                </a:cubicBezTo>
                <a:cubicBezTo>
                  <a:pt x="0" y="2"/>
                  <a:pt x="0" y="2"/>
                  <a:pt x="0" y="2"/>
                </a:cubicBezTo>
                <a:cubicBezTo>
                  <a:pt x="0" y="2"/>
                  <a:pt x="0" y="2"/>
                  <a:pt x="0" y="2"/>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66" name="Freeform 2922">
            <a:extLst>
              <a:ext uri="{FF2B5EF4-FFF2-40B4-BE49-F238E27FC236}">
                <a16:creationId xmlns:a16="http://schemas.microsoft.com/office/drawing/2014/main" id="{D018A803-E8E6-413A-A23A-5D13ED4489C7}"/>
              </a:ext>
            </a:extLst>
          </p:cNvPr>
          <p:cNvSpPr>
            <a:spLocks/>
          </p:cNvSpPr>
          <p:nvPr/>
        </p:nvSpPr>
        <p:spPr bwMode="auto">
          <a:xfrm>
            <a:off x="2393969" y="309850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67" name="Freeform 2923">
            <a:extLst>
              <a:ext uri="{FF2B5EF4-FFF2-40B4-BE49-F238E27FC236}">
                <a16:creationId xmlns:a16="http://schemas.microsoft.com/office/drawing/2014/main" id="{2E663123-5170-4384-8916-E73B0F99DD5A}"/>
              </a:ext>
            </a:extLst>
          </p:cNvPr>
          <p:cNvSpPr>
            <a:spLocks/>
          </p:cNvSpPr>
          <p:nvPr/>
        </p:nvSpPr>
        <p:spPr bwMode="auto">
          <a:xfrm>
            <a:off x="4169067" y="2871160"/>
            <a:ext cx="0" cy="1187"/>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1"/>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68" name="Freeform 2924">
            <a:extLst>
              <a:ext uri="{FF2B5EF4-FFF2-40B4-BE49-F238E27FC236}">
                <a16:creationId xmlns:a16="http://schemas.microsoft.com/office/drawing/2014/main" id="{F40BE161-F130-44E7-9324-19F7C0B7B359}"/>
              </a:ext>
            </a:extLst>
          </p:cNvPr>
          <p:cNvSpPr>
            <a:spLocks/>
          </p:cNvSpPr>
          <p:nvPr/>
        </p:nvSpPr>
        <p:spPr bwMode="auto">
          <a:xfrm>
            <a:off x="4272143" y="322791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69" name="Freeform 2925">
            <a:extLst>
              <a:ext uri="{FF2B5EF4-FFF2-40B4-BE49-F238E27FC236}">
                <a16:creationId xmlns:a16="http://schemas.microsoft.com/office/drawing/2014/main" id="{1CBC5776-5BA9-416D-B4C0-D63872277159}"/>
              </a:ext>
            </a:extLst>
          </p:cNvPr>
          <p:cNvSpPr>
            <a:spLocks/>
          </p:cNvSpPr>
          <p:nvPr/>
        </p:nvSpPr>
        <p:spPr bwMode="auto">
          <a:xfrm>
            <a:off x="4855418" y="3189920"/>
            <a:ext cx="1487" cy="1187"/>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0" y="1"/>
                  <a:pt x="0" y="1"/>
                  <a:pt x="0" y="1"/>
                </a:cubicBezTo>
                <a:cubicBezTo>
                  <a:pt x="1" y="0"/>
                  <a:pt x="1" y="0"/>
                  <a:pt x="1" y="0"/>
                </a:cubicBezTo>
                <a:lnTo>
                  <a:pt x="0" y="1"/>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70" name="Freeform 2926">
            <a:extLst>
              <a:ext uri="{FF2B5EF4-FFF2-40B4-BE49-F238E27FC236}">
                <a16:creationId xmlns:a16="http://schemas.microsoft.com/office/drawing/2014/main" id="{EC8A379E-336A-4FA7-A69D-5BDC017944AF}"/>
              </a:ext>
            </a:extLst>
          </p:cNvPr>
          <p:cNvSpPr>
            <a:spLocks/>
          </p:cNvSpPr>
          <p:nvPr/>
        </p:nvSpPr>
        <p:spPr bwMode="auto">
          <a:xfrm>
            <a:off x="3947551" y="3375122"/>
            <a:ext cx="10407" cy="24337"/>
          </a:xfrm>
          <a:custGeom>
            <a:avLst/>
            <a:gdLst>
              <a:gd name="T0" fmla="*/ 2 w 9"/>
              <a:gd name="T1" fmla="*/ 17 h 17"/>
              <a:gd name="T2" fmla="*/ 3 w 9"/>
              <a:gd name="T3" fmla="*/ 17 h 17"/>
              <a:gd name="T4" fmla="*/ 3 w 9"/>
              <a:gd name="T5" fmla="*/ 17 h 17"/>
              <a:gd name="T6" fmla="*/ 3 w 9"/>
              <a:gd name="T7" fmla="*/ 17 h 17"/>
              <a:gd name="T8" fmla="*/ 3 w 9"/>
              <a:gd name="T9" fmla="*/ 17 h 17"/>
              <a:gd name="T10" fmla="*/ 3 w 9"/>
              <a:gd name="T11" fmla="*/ 17 h 17"/>
              <a:gd name="T12" fmla="*/ 4 w 9"/>
              <a:gd name="T13" fmla="*/ 17 h 17"/>
              <a:gd name="T14" fmla="*/ 6 w 9"/>
              <a:gd name="T15" fmla="*/ 17 h 17"/>
              <a:gd name="T16" fmla="*/ 6 w 9"/>
              <a:gd name="T17" fmla="*/ 17 h 17"/>
              <a:gd name="T18" fmla="*/ 7 w 9"/>
              <a:gd name="T19" fmla="*/ 17 h 17"/>
              <a:gd name="T20" fmla="*/ 8 w 9"/>
              <a:gd name="T21" fmla="*/ 16 h 17"/>
              <a:gd name="T22" fmla="*/ 7 w 9"/>
              <a:gd name="T23" fmla="*/ 16 h 17"/>
              <a:gd name="T24" fmla="*/ 8 w 9"/>
              <a:gd name="T25" fmla="*/ 14 h 17"/>
              <a:gd name="T26" fmla="*/ 9 w 9"/>
              <a:gd name="T27" fmla="*/ 10 h 17"/>
              <a:gd name="T28" fmla="*/ 8 w 9"/>
              <a:gd name="T29" fmla="*/ 6 h 17"/>
              <a:gd name="T30" fmla="*/ 8 w 9"/>
              <a:gd name="T31" fmla="*/ 2 h 17"/>
              <a:gd name="T32" fmla="*/ 7 w 9"/>
              <a:gd name="T33" fmla="*/ 2 h 17"/>
              <a:gd name="T34" fmla="*/ 6 w 9"/>
              <a:gd name="T35" fmla="*/ 0 h 17"/>
              <a:gd name="T36" fmla="*/ 4 w 9"/>
              <a:gd name="T37" fmla="*/ 0 h 17"/>
              <a:gd name="T38" fmla="*/ 3 w 9"/>
              <a:gd name="T39" fmla="*/ 4 h 17"/>
              <a:gd name="T40" fmla="*/ 1 w 9"/>
              <a:gd name="T41" fmla="*/ 7 h 17"/>
              <a:gd name="T42" fmla="*/ 0 w 9"/>
              <a:gd name="T43" fmla="*/ 11 h 17"/>
              <a:gd name="T44" fmla="*/ 1 w 9"/>
              <a:gd name="T45" fmla="*/ 15 h 17"/>
              <a:gd name="T46" fmla="*/ 1 w 9"/>
              <a:gd name="T47" fmla="*/ 15 h 17"/>
              <a:gd name="T48" fmla="*/ 1 w 9"/>
              <a:gd name="T49" fmla="*/ 15 h 17"/>
              <a:gd name="T50" fmla="*/ 2 w 9"/>
              <a:gd name="T5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 h="17">
                <a:moveTo>
                  <a:pt x="2" y="17"/>
                </a:moveTo>
                <a:cubicBezTo>
                  <a:pt x="2" y="17"/>
                  <a:pt x="3" y="17"/>
                  <a:pt x="3" y="17"/>
                </a:cubicBezTo>
                <a:cubicBezTo>
                  <a:pt x="3" y="17"/>
                  <a:pt x="3" y="17"/>
                  <a:pt x="3" y="17"/>
                </a:cubicBezTo>
                <a:cubicBezTo>
                  <a:pt x="3" y="17"/>
                  <a:pt x="3" y="17"/>
                  <a:pt x="3" y="17"/>
                </a:cubicBezTo>
                <a:cubicBezTo>
                  <a:pt x="3" y="17"/>
                  <a:pt x="3" y="17"/>
                  <a:pt x="3" y="17"/>
                </a:cubicBezTo>
                <a:cubicBezTo>
                  <a:pt x="3" y="17"/>
                  <a:pt x="3" y="17"/>
                  <a:pt x="3" y="17"/>
                </a:cubicBezTo>
                <a:cubicBezTo>
                  <a:pt x="4" y="17"/>
                  <a:pt x="4" y="17"/>
                  <a:pt x="4" y="17"/>
                </a:cubicBezTo>
                <a:cubicBezTo>
                  <a:pt x="5" y="17"/>
                  <a:pt x="5" y="17"/>
                  <a:pt x="6" y="17"/>
                </a:cubicBezTo>
                <a:cubicBezTo>
                  <a:pt x="6" y="17"/>
                  <a:pt x="6" y="17"/>
                  <a:pt x="6" y="17"/>
                </a:cubicBezTo>
                <a:cubicBezTo>
                  <a:pt x="6" y="17"/>
                  <a:pt x="7" y="17"/>
                  <a:pt x="7" y="17"/>
                </a:cubicBezTo>
                <a:cubicBezTo>
                  <a:pt x="8" y="16"/>
                  <a:pt x="8" y="16"/>
                  <a:pt x="8" y="16"/>
                </a:cubicBezTo>
                <a:cubicBezTo>
                  <a:pt x="8" y="16"/>
                  <a:pt x="7" y="16"/>
                  <a:pt x="7" y="16"/>
                </a:cubicBezTo>
                <a:cubicBezTo>
                  <a:pt x="8" y="15"/>
                  <a:pt x="8" y="15"/>
                  <a:pt x="8" y="14"/>
                </a:cubicBezTo>
                <a:cubicBezTo>
                  <a:pt x="8" y="13"/>
                  <a:pt x="9" y="11"/>
                  <a:pt x="9" y="10"/>
                </a:cubicBezTo>
                <a:cubicBezTo>
                  <a:pt x="8" y="9"/>
                  <a:pt x="8" y="8"/>
                  <a:pt x="8" y="6"/>
                </a:cubicBezTo>
                <a:cubicBezTo>
                  <a:pt x="8" y="5"/>
                  <a:pt x="9" y="3"/>
                  <a:pt x="8" y="2"/>
                </a:cubicBezTo>
                <a:cubicBezTo>
                  <a:pt x="8" y="2"/>
                  <a:pt x="7" y="2"/>
                  <a:pt x="7" y="2"/>
                </a:cubicBezTo>
                <a:cubicBezTo>
                  <a:pt x="7" y="2"/>
                  <a:pt x="6" y="1"/>
                  <a:pt x="6" y="0"/>
                </a:cubicBezTo>
                <a:cubicBezTo>
                  <a:pt x="5" y="0"/>
                  <a:pt x="5" y="0"/>
                  <a:pt x="4" y="0"/>
                </a:cubicBezTo>
                <a:cubicBezTo>
                  <a:pt x="3" y="1"/>
                  <a:pt x="3" y="2"/>
                  <a:pt x="3" y="4"/>
                </a:cubicBezTo>
                <a:cubicBezTo>
                  <a:pt x="2" y="5"/>
                  <a:pt x="2" y="6"/>
                  <a:pt x="1" y="7"/>
                </a:cubicBezTo>
                <a:cubicBezTo>
                  <a:pt x="1" y="8"/>
                  <a:pt x="0" y="10"/>
                  <a:pt x="0" y="11"/>
                </a:cubicBezTo>
                <a:cubicBezTo>
                  <a:pt x="1" y="12"/>
                  <a:pt x="1" y="13"/>
                  <a:pt x="1" y="15"/>
                </a:cubicBezTo>
                <a:cubicBezTo>
                  <a:pt x="1" y="15"/>
                  <a:pt x="1" y="15"/>
                  <a:pt x="1" y="15"/>
                </a:cubicBezTo>
                <a:cubicBezTo>
                  <a:pt x="1" y="15"/>
                  <a:pt x="1" y="15"/>
                  <a:pt x="1" y="15"/>
                </a:cubicBezTo>
                <a:cubicBezTo>
                  <a:pt x="1" y="16"/>
                  <a:pt x="2" y="17"/>
                  <a:pt x="2" y="17"/>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71" name="Freeform 2927">
            <a:extLst>
              <a:ext uri="{FF2B5EF4-FFF2-40B4-BE49-F238E27FC236}">
                <a16:creationId xmlns:a16="http://schemas.microsoft.com/office/drawing/2014/main" id="{E4354A36-902F-44BF-BDAE-4FD7F0D6D541}"/>
              </a:ext>
            </a:extLst>
          </p:cNvPr>
          <p:cNvSpPr>
            <a:spLocks/>
          </p:cNvSpPr>
          <p:nvPr/>
        </p:nvSpPr>
        <p:spPr bwMode="auto">
          <a:xfrm>
            <a:off x="4668096" y="2442584"/>
            <a:ext cx="991" cy="1781"/>
          </a:xfrm>
          <a:custGeom>
            <a:avLst/>
            <a:gdLst>
              <a:gd name="T0" fmla="*/ 0 w 1"/>
              <a:gd name="T1" fmla="*/ 1 h 1"/>
              <a:gd name="T2" fmla="*/ 0 w 1"/>
              <a:gd name="T3" fmla="*/ 0 h 1"/>
              <a:gd name="T4" fmla="*/ 0 w 1"/>
              <a:gd name="T5" fmla="*/ 0 h 1"/>
              <a:gd name="T6" fmla="*/ 0 w 1"/>
              <a:gd name="T7" fmla="*/ 0 h 1"/>
              <a:gd name="T8" fmla="*/ 0 w 1"/>
              <a:gd name="T9" fmla="*/ 0 h 1"/>
              <a:gd name="T10" fmla="*/ 1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0" y="0"/>
                  <a:pt x="0" y="0"/>
                </a:cubicBezTo>
                <a:cubicBezTo>
                  <a:pt x="0" y="0"/>
                  <a:pt x="0" y="0"/>
                  <a:pt x="0" y="0"/>
                </a:cubicBezTo>
                <a:cubicBezTo>
                  <a:pt x="0" y="0"/>
                  <a:pt x="0" y="0"/>
                  <a:pt x="0" y="0"/>
                </a:cubicBezTo>
                <a:cubicBezTo>
                  <a:pt x="0" y="0"/>
                  <a:pt x="0" y="0"/>
                  <a:pt x="0" y="0"/>
                </a:cubicBezTo>
                <a:cubicBezTo>
                  <a:pt x="0" y="0"/>
                  <a:pt x="0" y="0"/>
                  <a:pt x="1" y="1"/>
                </a:cubicBezTo>
                <a:cubicBezTo>
                  <a:pt x="0" y="1"/>
                  <a:pt x="0" y="1"/>
                  <a:pt x="0"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72" name="Freeform 2928">
            <a:extLst>
              <a:ext uri="{FF2B5EF4-FFF2-40B4-BE49-F238E27FC236}">
                <a16:creationId xmlns:a16="http://schemas.microsoft.com/office/drawing/2014/main" id="{82852F10-DFCD-4EE1-BB96-DF02214B125B}"/>
              </a:ext>
            </a:extLst>
          </p:cNvPr>
          <p:cNvSpPr>
            <a:spLocks/>
          </p:cNvSpPr>
          <p:nvPr/>
        </p:nvSpPr>
        <p:spPr bwMode="auto">
          <a:xfrm>
            <a:off x="4272143" y="3220787"/>
            <a:ext cx="30229" cy="35022"/>
          </a:xfrm>
          <a:custGeom>
            <a:avLst/>
            <a:gdLst>
              <a:gd name="T0" fmla="*/ 2 w 26"/>
              <a:gd name="T1" fmla="*/ 5 h 25"/>
              <a:gd name="T2" fmla="*/ 2 w 26"/>
              <a:gd name="T3" fmla="*/ 7 h 25"/>
              <a:gd name="T4" fmla="*/ 3 w 26"/>
              <a:gd name="T5" fmla="*/ 11 h 25"/>
              <a:gd name="T6" fmla="*/ 4 w 26"/>
              <a:gd name="T7" fmla="*/ 14 h 25"/>
              <a:gd name="T8" fmla="*/ 7 w 26"/>
              <a:gd name="T9" fmla="*/ 16 h 25"/>
              <a:gd name="T10" fmla="*/ 12 w 26"/>
              <a:gd name="T11" fmla="*/ 18 h 25"/>
              <a:gd name="T12" fmla="*/ 10 w 26"/>
              <a:gd name="T13" fmla="*/ 21 h 25"/>
              <a:gd name="T14" fmla="*/ 9 w 26"/>
              <a:gd name="T15" fmla="*/ 22 h 25"/>
              <a:gd name="T16" fmla="*/ 10 w 26"/>
              <a:gd name="T17" fmla="*/ 24 h 25"/>
              <a:gd name="T18" fmla="*/ 11 w 26"/>
              <a:gd name="T19" fmla="*/ 24 h 25"/>
              <a:gd name="T20" fmla="*/ 11 w 26"/>
              <a:gd name="T21" fmla="*/ 23 h 25"/>
              <a:gd name="T22" fmla="*/ 11 w 26"/>
              <a:gd name="T23" fmla="*/ 22 h 25"/>
              <a:gd name="T24" fmla="*/ 11 w 26"/>
              <a:gd name="T25" fmla="*/ 22 h 25"/>
              <a:gd name="T26" fmla="*/ 13 w 26"/>
              <a:gd name="T27" fmla="*/ 22 h 25"/>
              <a:gd name="T28" fmla="*/ 18 w 26"/>
              <a:gd name="T29" fmla="*/ 20 h 25"/>
              <a:gd name="T30" fmla="*/ 18 w 26"/>
              <a:gd name="T31" fmla="*/ 17 h 25"/>
              <a:gd name="T32" fmla="*/ 21 w 26"/>
              <a:gd name="T33" fmla="*/ 15 h 25"/>
              <a:gd name="T34" fmla="*/ 24 w 26"/>
              <a:gd name="T35" fmla="*/ 10 h 25"/>
              <a:gd name="T36" fmla="*/ 25 w 26"/>
              <a:gd name="T37" fmla="*/ 9 h 25"/>
              <a:gd name="T38" fmla="*/ 26 w 26"/>
              <a:gd name="T39" fmla="*/ 5 h 25"/>
              <a:gd name="T40" fmla="*/ 23 w 26"/>
              <a:gd name="T41" fmla="*/ 6 h 25"/>
              <a:gd name="T42" fmla="*/ 23 w 26"/>
              <a:gd name="T43" fmla="*/ 6 h 25"/>
              <a:gd name="T44" fmla="*/ 21 w 26"/>
              <a:gd name="T45" fmla="*/ 4 h 25"/>
              <a:gd name="T46" fmla="*/ 20 w 26"/>
              <a:gd name="T47" fmla="*/ 3 h 25"/>
              <a:gd name="T48" fmla="*/ 17 w 26"/>
              <a:gd name="T49" fmla="*/ 1 h 25"/>
              <a:gd name="T50" fmla="*/ 15 w 26"/>
              <a:gd name="T51" fmla="*/ 0 h 25"/>
              <a:gd name="T52" fmla="*/ 15 w 26"/>
              <a:gd name="T53" fmla="*/ 0 h 25"/>
              <a:gd name="T54" fmla="*/ 11 w 26"/>
              <a:gd name="T55" fmla="*/ 0 h 25"/>
              <a:gd name="T56" fmla="*/ 9 w 26"/>
              <a:gd name="T57" fmla="*/ 1 h 25"/>
              <a:gd name="T58" fmla="*/ 3 w 26"/>
              <a:gd name="T59" fmla="*/ 3 h 25"/>
              <a:gd name="T60" fmla="*/ 1 w 26"/>
              <a:gd name="T61" fmla="*/ 5 h 25"/>
              <a:gd name="T62" fmla="*/ 2 w 26"/>
              <a:gd name="T63" fmla="*/ 5 h 25"/>
              <a:gd name="T64" fmla="*/ 0 w 26"/>
              <a:gd name="T65"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 h="25">
                <a:moveTo>
                  <a:pt x="2" y="5"/>
                </a:moveTo>
                <a:cubicBezTo>
                  <a:pt x="2" y="5"/>
                  <a:pt x="2" y="5"/>
                  <a:pt x="2" y="5"/>
                </a:cubicBezTo>
                <a:cubicBezTo>
                  <a:pt x="2" y="5"/>
                  <a:pt x="2" y="5"/>
                  <a:pt x="2" y="6"/>
                </a:cubicBezTo>
                <a:cubicBezTo>
                  <a:pt x="2" y="6"/>
                  <a:pt x="2" y="7"/>
                  <a:pt x="2" y="7"/>
                </a:cubicBezTo>
                <a:cubicBezTo>
                  <a:pt x="2" y="8"/>
                  <a:pt x="2" y="8"/>
                  <a:pt x="2" y="9"/>
                </a:cubicBezTo>
                <a:cubicBezTo>
                  <a:pt x="3" y="9"/>
                  <a:pt x="3" y="10"/>
                  <a:pt x="3" y="11"/>
                </a:cubicBezTo>
                <a:cubicBezTo>
                  <a:pt x="3" y="11"/>
                  <a:pt x="3" y="11"/>
                  <a:pt x="4" y="11"/>
                </a:cubicBezTo>
                <a:cubicBezTo>
                  <a:pt x="4" y="12"/>
                  <a:pt x="4" y="13"/>
                  <a:pt x="4" y="14"/>
                </a:cubicBezTo>
                <a:cubicBezTo>
                  <a:pt x="4" y="14"/>
                  <a:pt x="5" y="14"/>
                  <a:pt x="5" y="14"/>
                </a:cubicBezTo>
                <a:cubicBezTo>
                  <a:pt x="5" y="15"/>
                  <a:pt x="6" y="16"/>
                  <a:pt x="7" y="16"/>
                </a:cubicBezTo>
                <a:cubicBezTo>
                  <a:pt x="7" y="17"/>
                  <a:pt x="8" y="17"/>
                  <a:pt x="9" y="17"/>
                </a:cubicBezTo>
                <a:cubicBezTo>
                  <a:pt x="10" y="18"/>
                  <a:pt x="11" y="18"/>
                  <a:pt x="12" y="18"/>
                </a:cubicBezTo>
                <a:cubicBezTo>
                  <a:pt x="11" y="19"/>
                  <a:pt x="11" y="19"/>
                  <a:pt x="11" y="19"/>
                </a:cubicBezTo>
                <a:cubicBezTo>
                  <a:pt x="10" y="21"/>
                  <a:pt x="10" y="21"/>
                  <a:pt x="10" y="21"/>
                </a:cubicBezTo>
                <a:cubicBezTo>
                  <a:pt x="9" y="21"/>
                  <a:pt x="9" y="21"/>
                  <a:pt x="9" y="21"/>
                </a:cubicBezTo>
                <a:cubicBezTo>
                  <a:pt x="9" y="21"/>
                  <a:pt x="9" y="22"/>
                  <a:pt x="9" y="22"/>
                </a:cubicBezTo>
                <a:cubicBezTo>
                  <a:pt x="9" y="23"/>
                  <a:pt x="9" y="23"/>
                  <a:pt x="10" y="23"/>
                </a:cubicBezTo>
                <a:cubicBezTo>
                  <a:pt x="10" y="23"/>
                  <a:pt x="10" y="24"/>
                  <a:pt x="10" y="24"/>
                </a:cubicBezTo>
                <a:cubicBezTo>
                  <a:pt x="10" y="24"/>
                  <a:pt x="10" y="24"/>
                  <a:pt x="10" y="25"/>
                </a:cubicBezTo>
                <a:cubicBezTo>
                  <a:pt x="11" y="24"/>
                  <a:pt x="11" y="24"/>
                  <a:pt x="11" y="24"/>
                </a:cubicBezTo>
                <a:cubicBezTo>
                  <a:pt x="11" y="23"/>
                  <a:pt x="11" y="23"/>
                  <a:pt x="11" y="23"/>
                </a:cubicBezTo>
                <a:cubicBezTo>
                  <a:pt x="11" y="23"/>
                  <a:pt x="11" y="23"/>
                  <a:pt x="11" y="23"/>
                </a:cubicBezTo>
                <a:cubicBezTo>
                  <a:pt x="11" y="22"/>
                  <a:pt x="11" y="22"/>
                  <a:pt x="11" y="22"/>
                </a:cubicBezTo>
                <a:cubicBezTo>
                  <a:pt x="11" y="22"/>
                  <a:pt x="11" y="22"/>
                  <a:pt x="11" y="22"/>
                </a:cubicBezTo>
                <a:cubicBezTo>
                  <a:pt x="11" y="22"/>
                  <a:pt x="11" y="22"/>
                  <a:pt x="11" y="22"/>
                </a:cubicBezTo>
                <a:cubicBezTo>
                  <a:pt x="11" y="22"/>
                  <a:pt x="11" y="22"/>
                  <a:pt x="11" y="22"/>
                </a:cubicBezTo>
                <a:cubicBezTo>
                  <a:pt x="12" y="22"/>
                  <a:pt x="12" y="22"/>
                  <a:pt x="13" y="22"/>
                </a:cubicBezTo>
                <a:cubicBezTo>
                  <a:pt x="13" y="22"/>
                  <a:pt x="13" y="22"/>
                  <a:pt x="13" y="22"/>
                </a:cubicBezTo>
                <a:cubicBezTo>
                  <a:pt x="14" y="22"/>
                  <a:pt x="14" y="22"/>
                  <a:pt x="14" y="22"/>
                </a:cubicBezTo>
                <a:cubicBezTo>
                  <a:pt x="15" y="22"/>
                  <a:pt x="17" y="21"/>
                  <a:pt x="18" y="20"/>
                </a:cubicBezTo>
                <a:cubicBezTo>
                  <a:pt x="18" y="19"/>
                  <a:pt x="17" y="18"/>
                  <a:pt x="17" y="18"/>
                </a:cubicBezTo>
                <a:cubicBezTo>
                  <a:pt x="17" y="17"/>
                  <a:pt x="18" y="17"/>
                  <a:pt x="18" y="17"/>
                </a:cubicBezTo>
                <a:cubicBezTo>
                  <a:pt x="19" y="17"/>
                  <a:pt x="19" y="18"/>
                  <a:pt x="19" y="17"/>
                </a:cubicBezTo>
                <a:cubicBezTo>
                  <a:pt x="20" y="16"/>
                  <a:pt x="20" y="16"/>
                  <a:pt x="21" y="15"/>
                </a:cubicBezTo>
                <a:cubicBezTo>
                  <a:pt x="22" y="14"/>
                  <a:pt x="23" y="13"/>
                  <a:pt x="23" y="12"/>
                </a:cubicBezTo>
                <a:cubicBezTo>
                  <a:pt x="24" y="11"/>
                  <a:pt x="24" y="11"/>
                  <a:pt x="24" y="10"/>
                </a:cubicBezTo>
                <a:cubicBezTo>
                  <a:pt x="24" y="10"/>
                  <a:pt x="24" y="10"/>
                  <a:pt x="25" y="9"/>
                </a:cubicBezTo>
                <a:cubicBezTo>
                  <a:pt x="25" y="9"/>
                  <a:pt x="25" y="9"/>
                  <a:pt x="25" y="9"/>
                </a:cubicBezTo>
                <a:cubicBezTo>
                  <a:pt x="25" y="8"/>
                  <a:pt x="25" y="7"/>
                  <a:pt x="26" y="6"/>
                </a:cubicBezTo>
                <a:cubicBezTo>
                  <a:pt x="26" y="6"/>
                  <a:pt x="26" y="5"/>
                  <a:pt x="26" y="5"/>
                </a:cubicBezTo>
                <a:cubicBezTo>
                  <a:pt x="25" y="5"/>
                  <a:pt x="25" y="5"/>
                  <a:pt x="24" y="5"/>
                </a:cubicBezTo>
                <a:cubicBezTo>
                  <a:pt x="24" y="5"/>
                  <a:pt x="23" y="6"/>
                  <a:pt x="23" y="6"/>
                </a:cubicBezTo>
                <a:cubicBezTo>
                  <a:pt x="23" y="6"/>
                  <a:pt x="23" y="6"/>
                  <a:pt x="23" y="6"/>
                </a:cubicBezTo>
                <a:cubicBezTo>
                  <a:pt x="23" y="6"/>
                  <a:pt x="23" y="6"/>
                  <a:pt x="23" y="6"/>
                </a:cubicBezTo>
                <a:cubicBezTo>
                  <a:pt x="22" y="6"/>
                  <a:pt x="22" y="5"/>
                  <a:pt x="22" y="5"/>
                </a:cubicBezTo>
                <a:cubicBezTo>
                  <a:pt x="21" y="4"/>
                  <a:pt x="21" y="4"/>
                  <a:pt x="21" y="4"/>
                </a:cubicBezTo>
                <a:cubicBezTo>
                  <a:pt x="21" y="4"/>
                  <a:pt x="21" y="4"/>
                  <a:pt x="21" y="4"/>
                </a:cubicBezTo>
                <a:cubicBezTo>
                  <a:pt x="20" y="4"/>
                  <a:pt x="20" y="3"/>
                  <a:pt x="20" y="3"/>
                </a:cubicBezTo>
                <a:cubicBezTo>
                  <a:pt x="19" y="2"/>
                  <a:pt x="18" y="2"/>
                  <a:pt x="18" y="1"/>
                </a:cubicBezTo>
                <a:cubicBezTo>
                  <a:pt x="17" y="1"/>
                  <a:pt x="17" y="1"/>
                  <a:pt x="17" y="1"/>
                </a:cubicBezTo>
                <a:cubicBezTo>
                  <a:pt x="17" y="1"/>
                  <a:pt x="16" y="0"/>
                  <a:pt x="16" y="0"/>
                </a:cubicBezTo>
                <a:cubicBezTo>
                  <a:pt x="16" y="0"/>
                  <a:pt x="15" y="0"/>
                  <a:pt x="15" y="0"/>
                </a:cubicBezTo>
                <a:cubicBezTo>
                  <a:pt x="15" y="0"/>
                  <a:pt x="15" y="0"/>
                  <a:pt x="15" y="0"/>
                </a:cubicBezTo>
                <a:cubicBezTo>
                  <a:pt x="15" y="0"/>
                  <a:pt x="15" y="0"/>
                  <a:pt x="15" y="0"/>
                </a:cubicBezTo>
                <a:cubicBezTo>
                  <a:pt x="14" y="0"/>
                  <a:pt x="14" y="0"/>
                  <a:pt x="14" y="0"/>
                </a:cubicBezTo>
                <a:cubicBezTo>
                  <a:pt x="13" y="0"/>
                  <a:pt x="12" y="0"/>
                  <a:pt x="11" y="0"/>
                </a:cubicBezTo>
                <a:cubicBezTo>
                  <a:pt x="11" y="0"/>
                  <a:pt x="11" y="0"/>
                  <a:pt x="11" y="0"/>
                </a:cubicBezTo>
                <a:cubicBezTo>
                  <a:pt x="10" y="0"/>
                  <a:pt x="9" y="0"/>
                  <a:pt x="9" y="1"/>
                </a:cubicBezTo>
                <a:cubicBezTo>
                  <a:pt x="7" y="2"/>
                  <a:pt x="5" y="3"/>
                  <a:pt x="4" y="3"/>
                </a:cubicBezTo>
                <a:cubicBezTo>
                  <a:pt x="4" y="3"/>
                  <a:pt x="4" y="3"/>
                  <a:pt x="3" y="3"/>
                </a:cubicBezTo>
                <a:cubicBezTo>
                  <a:pt x="3" y="4"/>
                  <a:pt x="3" y="4"/>
                  <a:pt x="3" y="4"/>
                </a:cubicBezTo>
                <a:cubicBezTo>
                  <a:pt x="2" y="4"/>
                  <a:pt x="1" y="4"/>
                  <a:pt x="1" y="5"/>
                </a:cubicBezTo>
                <a:cubicBezTo>
                  <a:pt x="0" y="5"/>
                  <a:pt x="0" y="5"/>
                  <a:pt x="0" y="5"/>
                </a:cubicBezTo>
                <a:cubicBezTo>
                  <a:pt x="1" y="5"/>
                  <a:pt x="1" y="5"/>
                  <a:pt x="2" y="5"/>
                </a:cubicBezTo>
                <a:cubicBezTo>
                  <a:pt x="1" y="5"/>
                  <a:pt x="1" y="5"/>
                  <a:pt x="0" y="5"/>
                </a:cubicBezTo>
                <a:cubicBezTo>
                  <a:pt x="0" y="5"/>
                  <a:pt x="0" y="5"/>
                  <a:pt x="0" y="5"/>
                </a:cubicBezTo>
                <a:cubicBezTo>
                  <a:pt x="0" y="5"/>
                  <a:pt x="1" y="5"/>
                  <a:pt x="2" y="5"/>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73" name="Freeform 2929">
            <a:extLst>
              <a:ext uri="{FF2B5EF4-FFF2-40B4-BE49-F238E27FC236}">
                <a16:creationId xmlns:a16="http://schemas.microsoft.com/office/drawing/2014/main" id="{FBD16870-5592-48AD-B4C2-EDFDCAD9841E}"/>
              </a:ext>
            </a:extLst>
          </p:cNvPr>
          <p:cNvSpPr>
            <a:spLocks/>
          </p:cNvSpPr>
          <p:nvPr/>
        </p:nvSpPr>
        <p:spPr bwMode="auto">
          <a:xfrm>
            <a:off x="4138342" y="2883625"/>
            <a:ext cx="1487"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0" y="0"/>
                  <a:pt x="1"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74" name="Freeform 2930">
            <a:extLst>
              <a:ext uri="{FF2B5EF4-FFF2-40B4-BE49-F238E27FC236}">
                <a16:creationId xmlns:a16="http://schemas.microsoft.com/office/drawing/2014/main" id="{2C8B43C0-78A4-450D-9804-292FCE6DDFAA}"/>
              </a:ext>
            </a:extLst>
          </p:cNvPr>
          <p:cNvSpPr>
            <a:spLocks/>
          </p:cNvSpPr>
          <p:nvPr/>
        </p:nvSpPr>
        <p:spPr bwMode="auto">
          <a:xfrm>
            <a:off x="2482674" y="3479001"/>
            <a:ext cx="0" cy="1781"/>
          </a:xfrm>
          <a:custGeom>
            <a:avLst/>
            <a:gdLst>
              <a:gd name="T0" fmla="*/ 1 h 1"/>
              <a:gd name="T1" fmla="*/ 1 h 1"/>
              <a:gd name="T2" fmla="*/ 1 h 1"/>
            </a:gdLst>
            <a:ahLst/>
            <a:cxnLst>
              <a:cxn ang="0">
                <a:pos x="0" y="T0"/>
              </a:cxn>
              <a:cxn ang="0">
                <a:pos x="0" y="T1"/>
              </a:cxn>
              <a:cxn ang="0">
                <a:pos x="0" y="T2"/>
              </a:cxn>
            </a:cxnLst>
            <a:rect l="0" t="0" r="r" b="b"/>
            <a:pathLst>
              <a:path h="1">
                <a:moveTo>
                  <a:pt x="0" y="1"/>
                </a:moveTo>
                <a:cubicBezTo>
                  <a:pt x="0" y="1"/>
                  <a:pt x="0" y="1"/>
                  <a:pt x="0" y="1"/>
                </a:cubicBezTo>
                <a:cubicBezTo>
                  <a:pt x="0" y="0"/>
                  <a:pt x="0" y="1"/>
                  <a:pt x="0"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75" name="Freeform 2931">
            <a:extLst>
              <a:ext uri="{FF2B5EF4-FFF2-40B4-BE49-F238E27FC236}">
                <a16:creationId xmlns:a16="http://schemas.microsoft.com/office/drawing/2014/main" id="{B7FE0906-B184-43BF-BA3D-C336DA4868F1}"/>
              </a:ext>
            </a:extLst>
          </p:cNvPr>
          <p:cNvSpPr>
            <a:spLocks/>
          </p:cNvSpPr>
          <p:nvPr/>
        </p:nvSpPr>
        <p:spPr bwMode="auto">
          <a:xfrm>
            <a:off x="3263182" y="2897871"/>
            <a:ext cx="991"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1" y="0"/>
                  <a:pt x="0" y="0"/>
                  <a:pt x="0" y="0"/>
                </a:cubicBezTo>
                <a:cubicBezTo>
                  <a:pt x="0" y="0"/>
                  <a:pt x="1" y="0"/>
                  <a:pt x="1"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76" name="Freeform 2932">
            <a:extLst>
              <a:ext uri="{FF2B5EF4-FFF2-40B4-BE49-F238E27FC236}">
                <a16:creationId xmlns:a16="http://schemas.microsoft.com/office/drawing/2014/main" id="{F5CEB1FB-207B-4A83-BCB4-36A7E0EC4C1C}"/>
              </a:ext>
            </a:extLst>
          </p:cNvPr>
          <p:cNvSpPr>
            <a:spLocks/>
          </p:cNvSpPr>
          <p:nvPr/>
        </p:nvSpPr>
        <p:spPr bwMode="auto">
          <a:xfrm>
            <a:off x="2315175" y="3591784"/>
            <a:ext cx="5947" cy="5342"/>
          </a:xfrm>
          <a:custGeom>
            <a:avLst/>
            <a:gdLst>
              <a:gd name="T0" fmla="*/ 0 w 5"/>
              <a:gd name="T1" fmla="*/ 0 h 4"/>
              <a:gd name="T2" fmla="*/ 0 w 5"/>
              <a:gd name="T3" fmla="*/ 0 h 4"/>
            </a:gdLst>
            <a:ahLst/>
            <a:cxnLst>
              <a:cxn ang="0">
                <a:pos x="T0" y="T1"/>
              </a:cxn>
              <a:cxn ang="0">
                <a:pos x="T2" y="T3"/>
              </a:cxn>
            </a:cxnLst>
            <a:rect l="0" t="0" r="r" b="b"/>
            <a:pathLst>
              <a:path w="5" h="4">
                <a:moveTo>
                  <a:pt x="0" y="0"/>
                </a:moveTo>
                <a:cubicBezTo>
                  <a:pt x="0" y="2"/>
                  <a:pt x="5" y="4"/>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77" name="Freeform 2933">
            <a:extLst>
              <a:ext uri="{FF2B5EF4-FFF2-40B4-BE49-F238E27FC236}">
                <a16:creationId xmlns:a16="http://schemas.microsoft.com/office/drawing/2014/main" id="{957AFAA1-E1A7-42DE-B59D-821957154C83}"/>
              </a:ext>
            </a:extLst>
          </p:cNvPr>
          <p:cNvSpPr>
            <a:spLocks/>
          </p:cNvSpPr>
          <p:nvPr/>
        </p:nvSpPr>
        <p:spPr bwMode="auto">
          <a:xfrm>
            <a:off x="3824652" y="391054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78" name="Freeform 2934">
            <a:extLst>
              <a:ext uri="{FF2B5EF4-FFF2-40B4-BE49-F238E27FC236}">
                <a16:creationId xmlns:a16="http://schemas.microsoft.com/office/drawing/2014/main" id="{CFEDFACD-9C77-4E2B-AFC8-00B438281F50}"/>
              </a:ext>
            </a:extLst>
          </p:cNvPr>
          <p:cNvSpPr>
            <a:spLocks/>
          </p:cNvSpPr>
          <p:nvPr/>
        </p:nvSpPr>
        <p:spPr bwMode="auto">
          <a:xfrm>
            <a:off x="3732973" y="415332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79" name="Freeform 2935">
            <a:extLst>
              <a:ext uri="{FF2B5EF4-FFF2-40B4-BE49-F238E27FC236}">
                <a16:creationId xmlns:a16="http://schemas.microsoft.com/office/drawing/2014/main" id="{35899040-271D-4FBE-95AE-72C7C457F159}"/>
              </a:ext>
            </a:extLst>
          </p:cNvPr>
          <p:cNvSpPr>
            <a:spLocks/>
          </p:cNvSpPr>
          <p:nvPr/>
        </p:nvSpPr>
        <p:spPr bwMode="auto">
          <a:xfrm>
            <a:off x="3744867" y="3899266"/>
            <a:ext cx="991"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1"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80" name="Rectangle 2936">
            <a:extLst>
              <a:ext uri="{FF2B5EF4-FFF2-40B4-BE49-F238E27FC236}">
                <a16:creationId xmlns:a16="http://schemas.microsoft.com/office/drawing/2014/main" id="{E7C08021-93FD-4F29-BEFB-DB36A15DD0AB}"/>
              </a:ext>
            </a:extLst>
          </p:cNvPr>
          <p:cNvSpPr>
            <a:spLocks noChangeArrowheads="1"/>
          </p:cNvSpPr>
          <p:nvPr/>
        </p:nvSpPr>
        <p:spPr bwMode="auto">
          <a:xfrm>
            <a:off x="3689860" y="3809040"/>
            <a:ext cx="496" cy="594"/>
          </a:xfrm>
          <a:prstGeom prst="rect">
            <a:avLst/>
          </a:prstGeom>
          <a:solidFill>
            <a:schemeClr val="tx1">
              <a:lumMod val="40000"/>
              <a:lumOff val="60000"/>
            </a:schemeClr>
          </a:solid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81" name="Freeform 2937">
            <a:extLst>
              <a:ext uri="{FF2B5EF4-FFF2-40B4-BE49-F238E27FC236}">
                <a16:creationId xmlns:a16="http://schemas.microsoft.com/office/drawing/2014/main" id="{66B79F80-4890-4FEB-8D0D-E833659D017D}"/>
              </a:ext>
            </a:extLst>
          </p:cNvPr>
          <p:cNvSpPr>
            <a:spLocks/>
          </p:cNvSpPr>
          <p:nvPr/>
        </p:nvSpPr>
        <p:spPr bwMode="auto">
          <a:xfrm>
            <a:off x="3771627" y="3789451"/>
            <a:ext cx="14371" cy="10091"/>
          </a:xfrm>
          <a:custGeom>
            <a:avLst/>
            <a:gdLst>
              <a:gd name="T0" fmla="*/ 0 w 12"/>
              <a:gd name="T1" fmla="*/ 0 h 7"/>
              <a:gd name="T2" fmla="*/ 12 w 12"/>
              <a:gd name="T3" fmla="*/ 7 h 7"/>
              <a:gd name="T4" fmla="*/ 0 w 12"/>
              <a:gd name="T5" fmla="*/ 0 h 7"/>
            </a:gdLst>
            <a:ahLst/>
            <a:cxnLst>
              <a:cxn ang="0">
                <a:pos x="T0" y="T1"/>
              </a:cxn>
              <a:cxn ang="0">
                <a:pos x="T2" y="T3"/>
              </a:cxn>
              <a:cxn ang="0">
                <a:pos x="T4" y="T5"/>
              </a:cxn>
            </a:cxnLst>
            <a:rect l="0" t="0" r="r" b="b"/>
            <a:pathLst>
              <a:path w="12" h="7">
                <a:moveTo>
                  <a:pt x="0" y="0"/>
                </a:moveTo>
                <a:cubicBezTo>
                  <a:pt x="4" y="2"/>
                  <a:pt x="8" y="5"/>
                  <a:pt x="12" y="7"/>
                </a:cubicBezTo>
                <a:cubicBezTo>
                  <a:pt x="8" y="5"/>
                  <a:pt x="4" y="2"/>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82" name="Freeform 2938">
            <a:extLst>
              <a:ext uri="{FF2B5EF4-FFF2-40B4-BE49-F238E27FC236}">
                <a16:creationId xmlns:a16="http://schemas.microsoft.com/office/drawing/2014/main" id="{0F782EDF-C102-4875-B1ED-75291AB0A6B7}"/>
              </a:ext>
            </a:extLst>
          </p:cNvPr>
          <p:cNvSpPr>
            <a:spLocks/>
          </p:cNvSpPr>
          <p:nvPr/>
        </p:nvSpPr>
        <p:spPr bwMode="auto">
          <a:xfrm>
            <a:off x="3703735" y="3984744"/>
            <a:ext cx="991"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0" y="0"/>
                  <a:pt x="0" y="0"/>
                  <a:pt x="0" y="0"/>
                </a:cubicBezTo>
                <a:lnTo>
                  <a:pt x="1" y="0"/>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83" name="Freeform 2939">
            <a:extLst>
              <a:ext uri="{FF2B5EF4-FFF2-40B4-BE49-F238E27FC236}">
                <a16:creationId xmlns:a16="http://schemas.microsoft.com/office/drawing/2014/main" id="{A40ABC57-3333-44AA-89AE-0CEF850598AF}"/>
              </a:ext>
            </a:extLst>
          </p:cNvPr>
          <p:cNvSpPr>
            <a:spLocks/>
          </p:cNvSpPr>
          <p:nvPr/>
        </p:nvSpPr>
        <p:spPr bwMode="auto">
          <a:xfrm>
            <a:off x="3760229" y="3925978"/>
            <a:ext cx="6938" cy="1187"/>
          </a:xfrm>
          <a:custGeom>
            <a:avLst/>
            <a:gdLst>
              <a:gd name="T0" fmla="*/ 0 w 6"/>
              <a:gd name="T1" fmla="*/ 0 h 1"/>
              <a:gd name="T2" fmla="*/ 6 w 6"/>
              <a:gd name="T3" fmla="*/ 0 h 1"/>
              <a:gd name="T4" fmla="*/ 0 w 6"/>
              <a:gd name="T5" fmla="*/ 0 h 1"/>
            </a:gdLst>
            <a:ahLst/>
            <a:cxnLst>
              <a:cxn ang="0">
                <a:pos x="T0" y="T1"/>
              </a:cxn>
              <a:cxn ang="0">
                <a:pos x="T2" y="T3"/>
              </a:cxn>
              <a:cxn ang="0">
                <a:pos x="T4" y="T5"/>
              </a:cxn>
            </a:cxnLst>
            <a:rect l="0" t="0" r="r" b="b"/>
            <a:pathLst>
              <a:path w="6" h="1">
                <a:moveTo>
                  <a:pt x="0" y="0"/>
                </a:moveTo>
                <a:cubicBezTo>
                  <a:pt x="2" y="0"/>
                  <a:pt x="5" y="1"/>
                  <a:pt x="6" y="0"/>
                </a:cubicBezTo>
                <a:cubicBezTo>
                  <a:pt x="5" y="1"/>
                  <a:pt x="2"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84" name="Freeform 2940">
            <a:extLst>
              <a:ext uri="{FF2B5EF4-FFF2-40B4-BE49-F238E27FC236}">
                <a16:creationId xmlns:a16="http://schemas.microsoft.com/office/drawing/2014/main" id="{F723AA2D-C692-4CA8-B9D2-8371E1B0E1C6}"/>
              </a:ext>
            </a:extLst>
          </p:cNvPr>
          <p:cNvSpPr>
            <a:spLocks/>
          </p:cNvSpPr>
          <p:nvPr/>
        </p:nvSpPr>
        <p:spPr bwMode="auto">
          <a:xfrm>
            <a:off x="3758743" y="3925978"/>
            <a:ext cx="1487" cy="0"/>
          </a:xfrm>
          <a:custGeom>
            <a:avLst/>
            <a:gdLst>
              <a:gd name="T0" fmla="*/ 0 w 1"/>
              <a:gd name="T1" fmla="*/ 1 w 1"/>
              <a:gd name="T2" fmla="*/ 0 w 1"/>
              <a:gd name="T3" fmla="*/ 0 w 1"/>
            </a:gdLst>
            <a:ahLst/>
            <a:cxnLst>
              <a:cxn ang="0">
                <a:pos x="T0" y="0"/>
              </a:cxn>
              <a:cxn ang="0">
                <a:pos x="T1" y="0"/>
              </a:cxn>
              <a:cxn ang="0">
                <a:pos x="T2" y="0"/>
              </a:cxn>
              <a:cxn ang="0">
                <a:pos x="T3" y="0"/>
              </a:cxn>
            </a:cxnLst>
            <a:rect l="0" t="0" r="r" b="b"/>
            <a:pathLst>
              <a:path w="1">
                <a:moveTo>
                  <a:pt x="0" y="0"/>
                </a:moveTo>
                <a:cubicBezTo>
                  <a:pt x="0" y="0"/>
                  <a:pt x="1" y="0"/>
                  <a:pt x="1" y="0"/>
                </a:cubicBezTo>
                <a:cubicBezTo>
                  <a:pt x="1"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85" name="Freeform 2941">
            <a:extLst>
              <a:ext uri="{FF2B5EF4-FFF2-40B4-BE49-F238E27FC236}">
                <a16:creationId xmlns:a16="http://schemas.microsoft.com/office/drawing/2014/main" id="{F0CE833D-F84F-4AB4-B644-FB118A2CBEF4}"/>
              </a:ext>
            </a:extLst>
          </p:cNvPr>
          <p:cNvSpPr>
            <a:spLocks/>
          </p:cNvSpPr>
          <p:nvPr/>
        </p:nvSpPr>
        <p:spPr bwMode="auto">
          <a:xfrm>
            <a:off x="3579350" y="4121270"/>
            <a:ext cx="0" cy="7123"/>
          </a:xfrm>
          <a:custGeom>
            <a:avLst/>
            <a:gdLst>
              <a:gd name="T0" fmla="*/ 0 h 5"/>
              <a:gd name="T1" fmla="*/ 5 h 5"/>
              <a:gd name="T2" fmla="*/ 0 h 5"/>
            </a:gdLst>
            <a:ahLst/>
            <a:cxnLst>
              <a:cxn ang="0">
                <a:pos x="0" y="T0"/>
              </a:cxn>
              <a:cxn ang="0">
                <a:pos x="0" y="T1"/>
              </a:cxn>
              <a:cxn ang="0">
                <a:pos x="0" y="T2"/>
              </a:cxn>
            </a:cxnLst>
            <a:rect l="0" t="0" r="r" b="b"/>
            <a:pathLst>
              <a:path h="5">
                <a:moveTo>
                  <a:pt x="0" y="0"/>
                </a:moveTo>
                <a:cubicBezTo>
                  <a:pt x="0" y="2"/>
                  <a:pt x="0" y="4"/>
                  <a:pt x="0" y="5"/>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86" name="Freeform 2942">
            <a:extLst>
              <a:ext uri="{FF2B5EF4-FFF2-40B4-BE49-F238E27FC236}">
                <a16:creationId xmlns:a16="http://schemas.microsoft.com/office/drawing/2014/main" id="{D9C88309-1B1B-4EAE-A104-120630DBA8C2}"/>
              </a:ext>
            </a:extLst>
          </p:cNvPr>
          <p:cNvSpPr>
            <a:spLocks/>
          </p:cNvSpPr>
          <p:nvPr/>
        </p:nvSpPr>
        <p:spPr bwMode="auto">
          <a:xfrm>
            <a:off x="3732973" y="4153325"/>
            <a:ext cx="1487"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87" name="Freeform 2943">
            <a:extLst>
              <a:ext uri="{FF2B5EF4-FFF2-40B4-BE49-F238E27FC236}">
                <a16:creationId xmlns:a16="http://schemas.microsoft.com/office/drawing/2014/main" id="{EE5F49DA-E32D-4543-90AB-2FA7627BC5DC}"/>
              </a:ext>
            </a:extLst>
          </p:cNvPr>
          <p:cNvSpPr>
            <a:spLocks/>
          </p:cNvSpPr>
          <p:nvPr/>
        </p:nvSpPr>
        <p:spPr bwMode="auto">
          <a:xfrm>
            <a:off x="3537227" y="4180036"/>
            <a:ext cx="1487"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0" y="0"/>
                </a:cubicBezTo>
                <a:cubicBezTo>
                  <a:pt x="0" y="0"/>
                  <a:pt x="1" y="0"/>
                  <a:pt x="1" y="0"/>
                </a:cubicBezTo>
                <a:cubicBezTo>
                  <a:pt x="1"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88" name="Freeform 2944">
            <a:extLst>
              <a:ext uri="{FF2B5EF4-FFF2-40B4-BE49-F238E27FC236}">
                <a16:creationId xmlns:a16="http://schemas.microsoft.com/office/drawing/2014/main" id="{B6E96CC3-A220-433A-AF83-E3AF9CD4F1CF}"/>
              </a:ext>
            </a:extLst>
          </p:cNvPr>
          <p:cNvSpPr>
            <a:spLocks/>
          </p:cNvSpPr>
          <p:nvPr/>
        </p:nvSpPr>
        <p:spPr bwMode="auto">
          <a:xfrm>
            <a:off x="3579350" y="4121270"/>
            <a:ext cx="1487" cy="1187"/>
          </a:xfrm>
          <a:custGeom>
            <a:avLst/>
            <a:gdLst>
              <a:gd name="T0" fmla="*/ 1 w 1"/>
              <a:gd name="T1" fmla="*/ 1 h 1"/>
              <a:gd name="T2" fmla="*/ 0 w 1"/>
              <a:gd name="T3" fmla="*/ 0 h 1"/>
              <a:gd name="T4" fmla="*/ 0 w 1"/>
              <a:gd name="T5" fmla="*/ 0 h 1"/>
              <a:gd name="T6" fmla="*/ 0 w 1"/>
              <a:gd name="T7" fmla="*/ 1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0" y="0"/>
                  <a:pt x="0" y="0"/>
                  <a:pt x="0" y="0"/>
                </a:cubicBezTo>
                <a:cubicBezTo>
                  <a:pt x="0" y="0"/>
                  <a:pt x="0" y="0"/>
                  <a:pt x="0" y="0"/>
                </a:cubicBezTo>
                <a:cubicBezTo>
                  <a:pt x="0" y="0"/>
                  <a:pt x="0" y="1"/>
                  <a:pt x="0" y="1"/>
                </a:cubicBezTo>
                <a:cubicBezTo>
                  <a:pt x="0" y="1"/>
                  <a:pt x="0" y="1"/>
                  <a:pt x="1"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89" name="Freeform 2945">
            <a:extLst>
              <a:ext uri="{FF2B5EF4-FFF2-40B4-BE49-F238E27FC236}">
                <a16:creationId xmlns:a16="http://schemas.microsoft.com/office/drawing/2014/main" id="{FF556078-272A-4F37-B75C-FD555BC7CC68}"/>
              </a:ext>
            </a:extLst>
          </p:cNvPr>
          <p:cNvSpPr>
            <a:spLocks/>
          </p:cNvSpPr>
          <p:nvPr/>
        </p:nvSpPr>
        <p:spPr bwMode="auto">
          <a:xfrm>
            <a:off x="3704727" y="377401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90" name="Freeform 2946">
            <a:extLst>
              <a:ext uri="{FF2B5EF4-FFF2-40B4-BE49-F238E27FC236}">
                <a16:creationId xmlns:a16="http://schemas.microsoft.com/office/drawing/2014/main" id="{13DF5C57-FBA1-4985-9519-A47E7A80ABB4}"/>
              </a:ext>
            </a:extLst>
          </p:cNvPr>
          <p:cNvSpPr>
            <a:spLocks/>
          </p:cNvSpPr>
          <p:nvPr/>
        </p:nvSpPr>
        <p:spPr bwMode="auto">
          <a:xfrm>
            <a:off x="4822711" y="3890956"/>
            <a:ext cx="6938" cy="5342"/>
          </a:xfrm>
          <a:custGeom>
            <a:avLst/>
            <a:gdLst>
              <a:gd name="T0" fmla="*/ 0 w 6"/>
              <a:gd name="T1" fmla="*/ 3 h 4"/>
              <a:gd name="T2" fmla="*/ 5 w 6"/>
              <a:gd name="T3" fmla="*/ 4 h 4"/>
              <a:gd name="T4" fmla="*/ 6 w 6"/>
              <a:gd name="T5" fmla="*/ 2 h 4"/>
              <a:gd name="T6" fmla="*/ 6 w 6"/>
              <a:gd name="T7" fmla="*/ 0 h 4"/>
              <a:gd name="T8" fmla="*/ 0 w 6"/>
              <a:gd name="T9" fmla="*/ 3 h 4"/>
            </a:gdLst>
            <a:ahLst/>
            <a:cxnLst>
              <a:cxn ang="0">
                <a:pos x="T0" y="T1"/>
              </a:cxn>
              <a:cxn ang="0">
                <a:pos x="T2" y="T3"/>
              </a:cxn>
              <a:cxn ang="0">
                <a:pos x="T4" y="T5"/>
              </a:cxn>
              <a:cxn ang="0">
                <a:pos x="T6" y="T7"/>
              </a:cxn>
              <a:cxn ang="0">
                <a:pos x="T8" y="T9"/>
              </a:cxn>
            </a:cxnLst>
            <a:rect l="0" t="0" r="r" b="b"/>
            <a:pathLst>
              <a:path w="6" h="4">
                <a:moveTo>
                  <a:pt x="0" y="3"/>
                </a:moveTo>
                <a:cubicBezTo>
                  <a:pt x="5" y="4"/>
                  <a:pt x="5" y="4"/>
                  <a:pt x="5" y="4"/>
                </a:cubicBezTo>
                <a:cubicBezTo>
                  <a:pt x="5" y="4"/>
                  <a:pt x="6" y="2"/>
                  <a:pt x="6" y="2"/>
                </a:cubicBezTo>
                <a:cubicBezTo>
                  <a:pt x="6" y="1"/>
                  <a:pt x="6" y="0"/>
                  <a:pt x="6" y="0"/>
                </a:cubicBezTo>
                <a:cubicBezTo>
                  <a:pt x="6" y="0"/>
                  <a:pt x="0" y="2"/>
                  <a:pt x="0" y="3"/>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91" name="Freeform 2947">
            <a:extLst>
              <a:ext uri="{FF2B5EF4-FFF2-40B4-BE49-F238E27FC236}">
                <a16:creationId xmlns:a16="http://schemas.microsoft.com/office/drawing/2014/main" id="{FB97DB16-B076-47DD-B91C-78C0DFE15784}"/>
              </a:ext>
            </a:extLst>
          </p:cNvPr>
          <p:cNvSpPr>
            <a:spLocks/>
          </p:cNvSpPr>
          <p:nvPr/>
        </p:nvSpPr>
        <p:spPr bwMode="auto">
          <a:xfrm>
            <a:off x="3558536" y="2788056"/>
            <a:ext cx="3469" cy="8904"/>
          </a:xfrm>
          <a:custGeom>
            <a:avLst/>
            <a:gdLst>
              <a:gd name="T0" fmla="*/ 2 w 3"/>
              <a:gd name="T1" fmla="*/ 2 h 6"/>
              <a:gd name="T2" fmla="*/ 2 w 3"/>
              <a:gd name="T3" fmla="*/ 2 h 6"/>
              <a:gd name="T4" fmla="*/ 2 w 3"/>
              <a:gd name="T5" fmla="*/ 2 h 6"/>
              <a:gd name="T6" fmla="*/ 3 w 3"/>
              <a:gd name="T7" fmla="*/ 2 h 6"/>
              <a:gd name="T8" fmla="*/ 3 w 3"/>
              <a:gd name="T9" fmla="*/ 2 h 6"/>
              <a:gd name="T10" fmla="*/ 3 w 3"/>
              <a:gd name="T11" fmla="*/ 2 h 6"/>
              <a:gd name="T12" fmla="*/ 3 w 3"/>
              <a:gd name="T13" fmla="*/ 1 h 6"/>
              <a:gd name="T14" fmla="*/ 2 w 3"/>
              <a:gd name="T15" fmla="*/ 0 h 6"/>
              <a:gd name="T16" fmla="*/ 0 w 3"/>
              <a:gd name="T17" fmla="*/ 0 h 6"/>
              <a:gd name="T18" fmla="*/ 0 w 3"/>
              <a:gd name="T19" fmla="*/ 1 h 6"/>
              <a:gd name="T20" fmla="*/ 0 w 3"/>
              <a:gd name="T21" fmla="*/ 2 h 6"/>
              <a:gd name="T22" fmla="*/ 0 w 3"/>
              <a:gd name="T23" fmla="*/ 2 h 6"/>
              <a:gd name="T24" fmla="*/ 1 w 3"/>
              <a:gd name="T25" fmla="*/ 2 h 6"/>
              <a:gd name="T26" fmla="*/ 0 w 3"/>
              <a:gd name="T27" fmla="*/ 6 h 6"/>
              <a:gd name="T28" fmla="*/ 2 w 3"/>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6">
                <a:moveTo>
                  <a:pt x="2" y="2"/>
                </a:moveTo>
                <a:cubicBezTo>
                  <a:pt x="2" y="2"/>
                  <a:pt x="2" y="2"/>
                  <a:pt x="2" y="2"/>
                </a:cubicBezTo>
                <a:cubicBezTo>
                  <a:pt x="2" y="2"/>
                  <a:pt x="2" y="2"/>
                  <a:pt x="2" y="2"/>
                </a:cubicBezTo>
                <a:cubicBezTo>
                  <a:pt x="3" y="2"/>
                  <a:pt x="3" y="2"/>
                  <a:pt x="3" y="2"/>
                </a:cubicBezTo>
                <a:cubicBezTo>
                  <a:pt x="3" y="2"/>
                  <a:pt x="3" y="2"/>
                  <a:pt x="3" y="2"/>
                </a:cubicBezTo>
                <a:cubicBezTo>
                  <a:pt x="3" y="2"/>
                  <a:pt x="3" y="2"/>
                  <a:pt x="3" y="2"/>
                </a:cubicBezTo>
                <a:cubicBezTo>
                  <a:pt x="3" y="1"/>
                  <a:pt x="3" y="1"/>
                  <a:pt x="3" y="1"/>
                </a:cubicBezTo>
                <a:cubicBezTo>
                  <a:pt x="2" y="0"/>
                  <a:pt x="2" y="0"/>
                  <a:pt x="2" y="0"/>
                </a:cubicBezTo>
                <a:cubicBezTo>
                  <a:pt x="0" y="0"/>
                  <a:pt x="0" y="0"/>
                  <a:pt x="0" y="0"/>
                </a:cubicBezTo>
                <a:cubicBezTo>
                  <a:pt x="0" y="1"/>
                  <a:pt x="0" y="1"/>
                  <a:pt x="0" y="1"/>
                </a:cubicBezTo>
                <a:cubicBezTo>
                  <a:pt x="0" y="2"/>
                  <a:pt x="0" y="2"/>
                  <a:pt x="0" y="2"/>
                </a:cubicBezTo>
                <a:cubicBezTo>
                  <a:pt x="0" y="2"/>
                  <a:pt x="0" y="2"/>
                  <a:pt x="0" y="2"/>
                </a:cubicBezTo>
                <a:cubicBezTo>
                  <a:pt x="1" y="2"/>
                  <a:pt x="1" y="2"/>
                  <a:pt x="1" y="2"/>
                </a:cubicBezTo>
                <a:cubicBezTo>
                  <a:pt x="0" y="6"/>
                  <a:pt x="0" y="6"/>
                  <a:pt x="0" y="6"/>
                </a:cubicBezTo>
                <a:lnTo>
                  <a:pt x="2" y="2"/>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92" name="Freeform 2948">
            <a:extLst>
              <a:ext uri="{FF2B5EF4-FFF2-40B4-BE49-F238E27FC236}">
                <a16:creationId xmlns:a16="http://schemas.microsoft.com/office/drawing/2014/main" id="{38E35920-E6B0-46CD-82A0-73EADBDF04CF}"/>
              </a:ext>
            </a:extLst>
          </p:cNvPr>
          <p:cNvSpPr>
            <a:spLocks/>
          </p:cNvSpPr>
          <p:nvPr/>
        </p:nvSpPr>
        <p:spPr bwMode="auto">
          <a:xfrm>
            <a:off x="3227006" y="3119876"/>
            <a:ext cx="37167" cy="82510"/>
          </a:xfrm>
          <a:custGeom>
            <a:avLst/>
            <a:gdLst>
              <a:gd name="T0" fmla="*/ 20 w 32"/>
              <a:gd name="T1" fmla="*/ 56 h 59"/>
              <a:gd name="T2" fmla="*/ 19 w 32"/>
              <a:gd name="T3" fmla="*/ 55 h 59"/>
              <a:gd name="T4" fmla="*/ 20 w 32"/>
              <a:gd name="T5" fmla="*/ 50 h 59"/>
              <a:gd name="T6" fmla="*/ 23 w 32"/>
              <a:gd name="T7" fmla="*/ 46 h 59"/>
              <a:gd name="T8" fmla="*/ 23 w 32"/>
              <a:gd name="T9" fmla="*/ 46 h 59"/>
              <a:gd name="T10" fmla="*/ 22 w 32"/>
              <a:gd name="T11" fmla="*/ 45 h 59"/>
              <a:gd name="T12" fmla="*/ 21 w 32"/>
              <a:gd name="T13" fmla="*/ 40 h 59"/>
              <a:gd name="T14" fmla="*/ 21 w 32"/>
              <a:gd name="T15" fmla="*/ 36 h 59"/>
              <a:gd name="T16" fmla="*/ 23 w 32"/>
              <a:gd name="T17" fmla="*/ 37 h 59"/>
              <a:gd name="T18" fmla="*/ 24 w 32"/>
              <a:gd name="T19" fmla="*/ 36 h 59"/>
              <a:gd name="T20" fmla="*/ 24 w 32"/>
              <a:gd name="T21" fmla="*/ 36 h 59"/>
              <a:gd name="T22" fmla="*/ 22 w 32"/>
              <a:gd name="T23" fmla="*/ 34 h 59"/>
              <a:gd name="T24" fmla="*/ 22 w 32"/>
              <a:gd name="T25" fmla="*/ 33 h 59"/>
              <a:gd name="T26" fmla="*/ 21 w 32"/>
              <a:gd name="T27" fmla="*/ 32 h 59"/>
              <a:gd name="T28" fmla="*/ 21 w 32"/>
              <a:gd name="T29" fmla="*/ 27 h 59"/>
              <a:gd name="T30" fmla="*/ 25 w 32"/>
              <a:gd name="T31" fmla="*/ 22 h 59"/>
              <a:gd name="T32" fmla="*/ 26 w 32"/>
              <a:gd name="T33" fmla="*/ 19 h 59"/>
              <a:gd name="T34" fmla="*/ 26 w 32"/>
              <a:gd name="T35" fmla="*/ 17 h 59"/>
              <a:gd name="T36" fmla="*/ 26 w 32"/>
              <a:gd name="T37" fmla="*/ 14 h 59"/>
              <a:gd name="T38" fmla="*/ 27 w 32"/>
              <a:gd name="T39" fmla="*/ 9 h 59"/>
              <a:gd name="T40" fmla="*/ 30 w 32"/>
              <a:gd name="T41" fmla="*/ 7 h 59"/>
              <a:gd name="T42" fmla="*/ 32 w 32"/>
              <a:gd name="T43" fmla="*/ 5 h 59"/>
              <a:gd name="T44" fmla="*/ 31 w 32"/>
              <a:gd name="T45" fmla="*/ 5 h 59"/>
              <a:gd name="T46" fmla="*/ 29 w 32"/>
              <a:gd name="T47" fmla="*/ 2 h 59"/>
              <a:gd name="T48" fmla="*/ 29 w 32"/>
              <a:gd name="T49" fmla="*/ 1 h 59"/>
              <a:gd name="T50" fmla="*/ 28 w 32"/>
              <a:gd name="T51" fmla="*/ 1 h 59"/>
              <a:gd name="T52" fmla="*/ 26 w 32"/>
              <a:gd name="T53" fmla="*/ 1 h 59"/>
              <a:gd name="T54" fmla="*/ 25 w 32"/>
              <a:gd name="T55" fmla="*/ 1 h 59"/>
              <a:gd name="T56" fmla="*/ 23 w 32"/>
              <a:gd name="T57" fmla="*/ 2 h 59"/>
              <a:gd name="T58" fmla="*/ 22 w 32"/>
              <a:gd name="T59" fmla="*/ 2 h 59"/>
              <a:gd name="T60" fmla="*/ 18 w 32"/>
              <a:gd name="T61" fmla="*/ 2 h 59"/>
              <a:gd name="T62" fmla="*/ 17 w 32"/>
              <a:gd name="T63" fmla="*/ 2 h 59"/>
              <a:gd name="T64" fmla="*/ 14 w 32"/>
              <a:gd name="T65" fmla="*/ 3 h 59"/>
              <a:gd name="T66" fmla="*/ 14 w 32"/>
              <a:gd name="T67" fmla="*/ 3 h 59"/>
              <a:gd name="T68" fmla="*/ 12 w 32"/>
              <a:gd name="T69" fmla="*/ 1 h 59"/>
              <a:gd name="T70" fmla="*/ 12 w 32"/>
              <a:gd name="T71" fmla="*/ 0 h 59"/>
              <a:gd name="T72" fmla="*/ 7 w 32"/>
              <a:gd name="T73" fmla="*/ 2 h 59"/>
              <a:gd name="T74" fmla="*/ 7 w 32"/>
              <a:gd name="T75" fmla="*/ 5 h 59"/>
              <a:gd name="T76" fmla="*/ 9 w 32"/>
              <a:gd name="T77" fmla="*/ 10 h 59"/>
              <a:gd name="T78" fmla="*/ 9 w 32"/>
              <a:gd name="T79" fmla="*/ 14 h 59"/>
              <a:gd name="T80" fmla="*/ 6 w 32"/>
              <a:gd name="T81" fmla="*/ 21 h 59"/>
              <a:gd name="T82" fmla="*/ 3 w 32"/>
              <a:gd name="T83" fmla="*/ 31 h 59"/>
              <a:gd name="T84" fmla="*/ 1 w 32"/>
              <a:gd name="T85" fmla="*/ 35 h 59"/>
              <a:gd name="T86" fmla="*/ 1 w 32"/>
              <a:gd name="T87" fmla="*/ 39 h 59"/>
              <a:gd name="T88" fmla="*/ 4 w 32"/>
              <a:gd name="T89" fmla="*/ 38 h 59"/>
              <a:gd name="T90" fmla="*/ 5 w 32"/>
              <a:gd name="T91" fmla="*/ 39 h 59"/>
              <a:gd name="T92" fmla="*/ 4 w 32"/>
              <a:gd name="T93" fmla="*/ 40 h 59"/>
              <a:gd name="T94" fmla="*/ 3 w 32"/>
              <a:gd name="T95" fmla="*/ 43 h 59"/>
              <a:gd name="T96" fmla="*/ 9 w 32"/>
              <a:gd name="T97" fmla="*/ 43 h 59"/>
              <a:gd name="T98" fmla="*/ 7 w 32"/>
              <a:gd name="T99" fmla="*/ 46 h 59"/>
              <a:gd name="T100" fmla="*/ 5 w 32"/>
              <a:gd name="T101" fmla="*/ 59 h 59"/>
              <a:gd name="T102" fmla="*/ 12 w 32"/>
              <a:gd name="T103" fmla="*/ 58 h 59"/>
              <a:gd name="T104" fmla="*/ 16 w 32"/>
              <a:gd name="T105" fmla="*/ 59 h 59"/>
              <a:gd name="T106" fmla="*/ 20 w 32"/>
              <a:gd name="T107" fmla="*/ 5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 h="59">
                <a:moveTo>
                  <a:pt x="20" y="57"/>
                </a:moveTo>
                <a:cubicBezTo>
                  <a:pt x="20" y="56"/>
                  <a:pt x="20" y="56"/>
                  <a:pt x="20" y="56"/>
                </a:cubicBezTo>
                <a:cubicBezTo>
                  <a:pt x="20" y="56"/>
                  <a:pt x="20" y="56"/>
                  <a:pt x="20" y="56"/>
                </a:cubicBezTo>
                <a:cubicBezTo>
                  <a:pt x="20" y="55"/>
                  <a:pt x="19" y="55"/>
                  <a:pt x="19" y="55"/>
                </a:cubicBezTo>
                <a:cubicBezTo>
                  <a:pt x="19" y="53"/>
                  <a:pt x="19" y="51"/>
                  <a:pt x="20" y="50"/>
                </a:cubicBezTo>
                <a:cubicBezTo>
                  <a:pt x="20" y="50"/>
                  <a:pt x="20" y="50"/>
                  <a:pt x="20" y="50"/>
                </a:cubicBezTo>
                <a:cubicBezTo>
                  <a:pt x="20" y="49"/>
                  <a:pt x="21" y="47"/>
                  <a:pt x="22" y="47"/>
                </a:cubicBezTo>
                <a:cubicBezTo>
                  <a:pt x="23" y="46"/>
                  <a:pt x="23" y="46"/>
                  <a:pt x="23" y="46"/>
                </a:cubicBezTo>
                <a:cubicBezTo>
                  <a:pt x="23" y="46"/>
                  <a:pt x="23" y="46"/>
                  <a:pt x="23" y="46"/>
                </a:cubicBezTo>
                <a:cubicBezTo>
                  <a:pt x="23" y="46"/>
                  <a:pt x="23" y="46"/>
                  <a:pt x="23" y="46"/>
                </a:cubicBezTo>
                <a:cubicBezTo>
                  <a:pt x="23" y="46"/>
                  <a:pt x="23" y="45"/>
                  <a:pt x="23" y="45"/>
                </a:cubicBezTo>
                <a:cubicBezTo>
                  <a:pt x="23" y="45"/>
                  <a:pt x="23" y="45"/>
                  <a:pt x="22" y="45"/>
                </a:cubicBezTo>
                <a:cubicBezTo>
                  <a:pt x="22" y="44"/>
                  <a:pt x="21" y="42"/>
                  <a:pt x="21" y="41"/>
                </a:cubicBezTo>
                <a:cubicBezTo>
                  <a:pt x="21" y="40"/>
                  <a:pt x="21" y="40"/>
                  <a:pt x="21" y="40"/>
                </a:cubicBezTo>
                <a:cubicBezTo>
                  <a:pt x="22" y="39"/>
                  <a:pt x="22" y="38"/>
                  <a:pt x="23" y="38"/>
                </a:cubicBezTo>
                <a:cubicBezTo>
                  <a:pt x="21" y="36"/>
                  <a:pt x="21" y="36"/>
                  <a:pt x="21" y="36"/>
                </a:cubicBezTo>
                <a:cubicBezTo>
                  <a:pt x="23" y="37"/>
                  <a:pt x="23" y="37"/>
                  <a:pt x="23" y="37"/>
                </a:cubicBezTo>
                <a:cubicBezTo>
                  <a:pt x="23" y="37"/>
                  <a:pt x="23" y="37"/>
                  <a:pt x="23" y="37"/>
                </a:cubicBezTo>
                <a:cubicBezTo>
                  <a:pt x="23" y="37"/>
                  <a:pt x="23" y="37"/>
                  <a:pt x="23" y="37"/>
                </a:cubicBezTo>
                <a:cubicBezTo>
                  <a:pt x="24" y="36"/>
                  <a:pt x="24" y="36"/>
                  <a:pt x="24" y="36"/>
                </a:cubicBezTo>
                <a:cubicBezTo>
                  <a:pt x="24" y="36"/>
                  <a:pt x="24" y="36"/>
                  <a:pt x="24" y="36"/>
                </a:cubicBezTo>
                <a:cubicBezTo>
                  <a:pt x="24" y="36"/>
                  <a:pt x="24" y="36"/>
                  <a:pt x="24" y="36"/>
                </a:cubicBezTo>
                <a:cubicBezTo>
                  <a:pt x="24" y="35"/>
                  <a:pt x="24" y="35"/>
                  <a:pt x="24" y="35"/>
                </a:cubicBezTo>
                <a:cubicBezTo>
                  <a:pt x="23" y="35"/>
                  <a:pt x="23" y="35"/>
                  <a:pt x="22" y="34"/>
                </a:cubicBezTo>
                <a:cubicBezTo>
                  <a:pt x="22" y="34"/>
                  <a:pt x="22" y="34"/>
                  <a:pt x="22" y="34"/>
                </a:cubicBezTo>
                <a:cubicBezTo>
                  <a:pt x="22" y="34"/>
                  <a:pt x="22" y="33"/>
                  <a:pt x="22" y="33"/>
                </a:cubicBezTo>
                <a:cubicBezTo>
                  <a:pt x="22" y="33"/>
                  <a:pt x="22" y="33"/>
                  <a:pt x="22" y="33"/>
                </a:cubicBezTo>
                <a:cubicBezTo>
                  <a:pt x="21" y="32"/>
                  <a:pt x="21" y="32"/>
                  <a:pt x="21" y="32"/>
                </a:cubicBezTo>
                <a:cubicBezTo>
                  <a:pt x="18" y="26"/>
                  <a:pt x="18" y="26"/>
                  <a:pt x="18" y="26"/>
                </a:cubicBezTo>
                <a:cubicBezTo>
                  <a:pt x="21" y="27"/>
                  <a:pt x="21" y="27"/>
                  <a:pt x="21" y="27"/>
                </a:cubicBezTo>
                <a:cubicBezTo>
                  <a:pt x="24" y="27"/>
                  <a:pt x="24" y="27"/>
                  <a:pt x="24" y="27"/>
                </a:cubicBezTo>
                <a:cubicBezTo>
                  <a:pt x="25" y="26"/>
                  <a:pt x="25" y="24"/>
                  <a:pt x="25" y="22"/>
                </a:cubicBezTo>
                <a:cubicBezTo>
                  <a:pt x="25" y="21"/>
                  <a:pt x="25" y="20"/>
                  <a:pt x="25" y="20"/>
                </a:cubicBezTo>
                <a:cubicBezTo>
                  <a:pt x="26" y="19"/>
                  <a:pt x="26" y="19"/>
                  <a:pt x="26" y="19"/>
                </a:cubicBezTo>
                <a:cubicBezTo>
                  <a:pt x="26" y="19"/>
                  <a:pt x="26" y="18"/>
                  <a:pt x="26" y="18"/>
                </a:cubicBezTo>
                <a:cubicBezTo>
                  <a:pt x="26" y="17"/>
                  <a:pt x="26" y="17"/>
                  <a:pt x="26" y="17"/>
                </a:cubicBezTo>
                <a:cubicBezTo>
                  <a:pt x="26" y="16"/>
                  <a:pt x="26" y="15"/>
                  <a:pt x="26" y="15"/>
                </a:cubicBezTo>
                <a:cubicBezTo>
                  <a:pt x="26" y="14"/>
                  <a:pt x="26" y="14"/>
                  <a:pt x="26" y="14"/>
                </a:cubicBezTo>
                <a:cubicBezTo>
                  <a:pt x="25" y="12"/>
                  <a:pt x="25" y="11"/>
                  <a:pt x="26" y="9"/>
                </a:cubicBezTo>
                <a:cubicBezTo>
                  <a:pt x="27" y="9"/>
                  <a:pt x="27" y="9"/>
                  <a:pt x="27" y="9"/>
                </a:cubicBezTo>
                <a:cubicBezTo>
                  <a:pt x="27" y="9"/>
                  <a:pt x="28" y="8"/>
                  <a:pt x="29" y="8"/>
                </a:cubicBezTo>
                <a:cubicBezTo>
                  <a:pt x="29" y="8"/>
                  <a:pt x="30" y="7"/>
                  <a:pt x="30" y="7"/>
                </a:cubicBezTo>
                <a:cubicBezTo>
                  <a:pt x="30" y="7"/>
                  <a:pt x="30" y="7"/>
                  <a:pt x="30" y="7"/>
                </a:cubicBezTo>
                <a:cubicBezTo>
                  <a:pt x="31" y="6"/>
                  <a:pt x="32" y="6"/>
                  <a:pt x="32" y="5"/>
                </a:cubicBezTo>
                <a:cubicBezTo>
                  <a:pt x="32" y="5"/>
                  <a:pt x="31" y="5"/>
                  <a:pt x="31" y="5"/>
                </a:cubicBezTo>
                <a:cubicBezTo>
                  <a:pt x="31" y="5"/>
                  <a:pt x="31" y="5"/>
                  <a:pt x="31" y="5"/>
                </a:cubicBezTo>
                <a:cubicBezTo>
                  <a:pt x="30" y="4"/>
                  <a:pt x="29" y="4"/>
                  <a:pt x="29" y="2"/>
                </a:cubicBezTo>
                <a:cubicBezTo>
                  <a:pt x="29" y="2"/>
                  <a:pt x="29" y="2"/>
                  <a:pt x="29" y="2"/>
                </a:cubicBezTo>
                <a:cubicBezTo>
                  <a:pt x="29" y="2"/>
                  <a:pt x="29" y="2"/>
                  <a:pt x="29" y="1"/>
                </a:cubicBezTo>
                <a:cubicBezTo>
                  <a:pt x="29" y="1"/>
                  <a:pt x="29" y="1"/>
                  <a:pt x="29" y="1"/>
                </a:cubicBezTo>
                <a:cubicBezTo>
                  <a:pt x="29" y="1"/>
                  <a:pt x="29" y="1"/>
                  <a:pt x="29" y="1"/>
                </a:cubicBezTo>
                <a:cubicBezTo>
                  <a:pt x="29" y="1"/>
                  <a:pt x="29" y="1"/>
                  <a:pt x="28" y="1"/>
                </a:cubicBezTo>
                <a:cubicBezTo>
                  <a:pt x="28" y="1"/>
                  <a:pt x="28" y="1"/>
                  <a:pt x="28" y="1"/>
                </a:cubicBezTo>
                <a:cubicBezTo>
                  <a:pt x="28" y="1"/>
                  <a:pt x="27" y="1"/>
                  <a:pt x="26" y="1"/>
                </a:cubicBezTo>
                <a:cubicBezTo>
                  <a:pt x="26" y="1"/>
                  <a:pt x="26" y="1"/>
                  <a:pt x="25" y="1"/>
                </a:cubicBezTo>
                <a:cubicBezTo>
                  <a:pt x="25" y="1"/>
                  <a:pt x="25" y="1"/>
                  <a:pt x="25" y="1"/>
                </a:cubicBezTo>
                <a:cubicBezTo>
                  <a:pt x="25" y="2"/>
                  <a:pt x="24" y="2"/>
                  <a:pt x="24" y="2"/>
                </a:cubicBezTo>
                <a:cubicBezTo>
                  <a:pt x="23" y="2"/>
                  <a:pt x="23" y="2"/>
                  <a:pt x="23" y="2"/>
                </a:cubicBezTo>
                <a:cubicBezTo>
                  <a:pt x="23" y="2"/>
                  <a:pt x="22" y="2"/>
                  <a:pt x="22" y="2"/>
                </a:cubicBezTo>
                <a:cubicBezTo>
                  <a:pt x="22" y="2"/>
                  <a:pt x="22" y="2"/>
                  <a:pt x="22" y="2"/>
                </a:cubicBezTo>
                <a:cubicBezTo>
                  <a:pt x="21" y="3"/>
                  <a:pt x="20" y="3"/>
                  <a:pt x="19" y="3"/>
                </a:cubicBezTo>
                <a:cubicBezTo>
                  <a:pt x="18" y="3"/>
                  <a:pt x="18" y="2"/>
                  <a:pt x="18" y="2"/>
                </a:cubicBezTo>
                <a:cubicBezTo>
                  <a:pt x="17" y="2"/>
                  <a:pt x="17" y="2"/>
                  <a:pt x="17" y="2"/>
                </a:cubicBezTo>
                <a:cubicBezTo>
                  <a:pt x="17" y="2"/>
                  <a:pt x="17" y="2"/>
                  <a:pt x="17" y="2"/>
                </a:cubicBezTo>
                <a:cubicBezTo>
                  <a:pt x="17" y="2"/>
                  <a:pt x="17" y="2"/>
                  <a:pt x="17" y="2"/>
                </a:cubicBezTo>
                <a:cubicBezTo>
                  <a:pt x="16" y="2"/>
                  <a:pt x="15" y="3"/>
                  <a:pt x="14" y="3"/>
                </a:cubicBezTo>
                <a:cubicBezTo>
                  <a:pt x="14" y="3"/>
                  <a:pt x="14" y="3"/>
                  <a:pt x="14" y="3"/>
                </a:cubicBezTo>
                <a:cubicBezTo>
                  <a:pt x="14" y="3"/>
                  <a:pt x="14" y="3"/>
                  <a:pt x="14" y="3"/>
                </a:cubicBezTo>
                <a:cubicBezTo>
                  <a:pt x="13" y="3"/>
                  <a:pt x="12" y="3"/>
                  <a:pt x="12" y="2"/>
                </a:cubicBezTo>
                <a:cubicBezTo>
                  <a:pt x="12" y="2"/>
                  <a:pt x="12" y="1"/>
                  <a:pt x="12" y="1"/>
                </a:cubicBezTo>
                <a:cubicBezTo>
                  <a:pt x="12" y="0"/>
                  <a:pt x="12" y="0"/>
                  <a:pt x="12" y="0"/>
                </a:cubicBezTo>
                <a:cubicBezTo>
                  <a:pt x="12" y="0"/>
                  <a:pt x="12" y="0"/>
                  <a:pt x="12" y="0"/>
                </a:cubicBezTo>
                <a:cubicBezTo>
                  <a:pt x="12" y="0"/>
                  <a:pt x="11" y="0"/>
                  <a:pt x="11" y="0"/>
                </a:cubicBezTo>
                <a:cubicBezTo>
                  <a:pt x="10" y="0"/>
                  <a:pt x="8" y="1"/>
                  <a:pt x="7" y="2"/>
                </a:cubicBezTo>
                <a:cubicBezTo>
                  <a:pt x="7" y="2"/>
                  <a:pt x="7" y="2"/>
                  <a:pt x="7" y="2"/>
                </a:cubicBezTo>
                <a:cubicBezTo>
                  <a:pt x="7" y="3"/>
                  <a:pt x="7" y="4"/>
                  <a:pt x="7" y="5"/>
                </a:cubicBezTo>
                <a:cubicBezTo>
                  <a:pt x="7" y="6"/>
                  <a:pt x="7" y="7"/>
                  <a:pt x="8" y="8"/>
                </a:cubicBezTo>
                <a:cubicBezTo>
                  <a:pt x="8" y="9"/>
                  <a:pt x="8" y="9"/>
                  <a:pt x="9" y="10"/>
                </a:cubicBezTo>
                <a:cubicBezTo>
                  <a:pt x="9" y="11"/>
                  <a:pt x="7" y="14"/>
                  <a:pt x="8" y="15"/>
                </a:cubicBezTo>
                <a:cubicBezTo>
                  <a:pt x="8" y="15"/>
                  <a:pt x="8" y="15"/>
                  <a:pt x="9" y="14"/>
                </a:cubicBezTo>
                <a:cubicBezTo>
                  <a:pt x="9" y="15"/>
                  <a:pt x="8" y="16"/>
                  <a:pt x="7" y="17"/>
                </a:cubicBezTo>
                <a:cubicBezTo>
                  <a:pt x="7" y="18"/>
                  <a:pt x="7" y="19"/>
                  <a:pt x="6" y="21"/>
                </a:cubicBezTo>
                <a:cubicBezTo>
                  <a:pt x="6" y="24"/>
                  <a:pt x="5" y="26"/>
                  <a:pt x="4" y="29"/>
                </a:cubicBezTo>
                <a:cubicBezTo>
                  <a:pt x="4" y="30"/>
                  <a:pt x="3" y="31"/>
                  <a:pt x="3" y="31"/>
                </a:cubicBezTo>
                <a:cubicBezTo>
                  <a:pt x="2" y="31"/>
                  <a:pt x="2" y="31"/>
                  <a:pt x="1" y="32"/>
                </a:cubicBezTo>
                <a:cubicBezTo>
                  <a:pt x="1" y="33"/>
                  <a:pt x="1" y="34"/>
                  <a:pt x="1" y="35"/>
                </a:cubicBezTo>
                <a:cubicBezTo>
                  <a:pt x="1" y="35"/>
                  <a:pt x="1" y="36"/>
                  <a:pt x="1" y="37"/>
                </a:cubicBezTo>
                <a:cubicBezTo>
                  <a:pt x="0" y="38"/>
                  <a:pt x="0" y="38"/>
                  <a:pt x="1" y="39"/>
                </a:cubicBezTo>
                <a:cubicBezTo>
                  <a:pt x="1" y="39"/>
                  <a:pt x="2" y="40"/>
                  <a:pt x="3" y="39"/>
                </a:cubicBezTo>
                <a:cubicBezTo>
                  <a:pt x="4" y="39"/>
                  <a:pt x="4" y="38"/>
                  <a:pt x="4" y="38"/>
                </a:cubicBezTo>
                <a:cubicBezTo>
                  <a:pt x="5" y="37"/>
                  <a:pt x="5" y="37"/>
                  <a:pt x="5" y="37"/>
                </a:cubicBezTo>
                <a:cubicBezTo>
                  <a:pt x="5" y="38"/>
                  <a:pt x="6" y="39"/>
                  <a:pt x="5" y="39"/>
                </a:cubicBezTo>
                <a:cubicBezTo>
                  <a:pt x="5" y="39"/>
                  <a:pt x="5" y="39"/>
                  <a:pt x="5" y="40"/>
                </a:cubicBezTo>
                <a:cubicBezTo>
                  <a:pt x="5" y="40"/>
                  <a:pt x="4" y="40"/>
                  <a:pt x="4" y="40"/>
                </a:cubicBezTo>
                <a:cubicBezTo>
                  <a:pt x="4" y="40"/>
                  <a:pt x="3" y="40"/>
                  <a:pt x="2" y="40"/>
                </a:cubicBezTo>
                <a:cubicBezTo>
                  <a:pt x="3" y="41"/>
                  <a:pt x="3" y="42"/>
                  <a:pt x="3" y="43"/>
                </a:cubicBezTo>
                <a:cubicBezTo>
                  <a:pt x="4" y="42"/>
                  <a:pt x="5" y="42"/>
                  <a:pt x="5" y="42"/>
                </a:cubicBezTo>
                <a:cubicBezTo>
                  <a:pt x="7" y="41"/>
                  <a:pt x="8" y="41"/>
                  <a:pt x="9" y="43"/>
                </a:cubicBezTo>
                <a:cubicBezTo>
                  <a:pt x="7" y="43"/>
                  <a:pt x="7" y="43"/>
                  <a:pt x="6" y="42"/>
                </a:cubicBezTo>
                <a:cubicBezTo>
                  <a:pt x="6" y="43"/>
                  <a:pt x="7" y="45"/>
                  <a:pt x="7" y="46"/>
                </a:cubicBezTo>
                <a:cubicBezTo>
                  <a:pt x="6" y="48"/>
                  <a:pt x="7" y="50"/>
                  <a:pt x="7" y="52"/>
                </a:cubicBezTo>
                <a:cubicBezTo>
                  <a:pt x="7" y="55"/>
                  <a:pt x="6" y="57"/>
                  <a:pt x="5" y="59"/>
                </a:cubicBezTo>
                <a:cubicBezTo>
                  <a:pt x="6" y="59"/>
                  <a:pt x="8" y="58"/>
                  <a:pt x="9" y="58"/>
                </a:cubicBezTo>
                <a:cubicBezTo>
                  <a:pt x="10" y="57"/>
                  <a:pt x="11" y="58"/>
                  <a:pt x="12" y="58"/>
                </a:cubicBezTo>
                <a:cubicBezTo>
                  <a:pt x="13" y="58"/>
                  <a:pt x="13" y="58"/>
                  <a:pt x="14" y="59"/>
                </a:cubicBezTo>
                <a:cubicBezTo>
                  <a:pt x="15" y="59"/>
                  <a:pt x="15" y="59"/>
                  <a:pt x="16" y="59"/>
                </a:cubicBezTo>
                <a:cubicBezTo>
                  <a:pt x="17" y="59"/>
                  <a:pt x="18" y="59"/>
                  <a:pt x="20" y="58"/>
                </a:cubicBezTo>
                <a:cubicBezTo>
                  <a:pt x="20" y="58"/>
                  <a:pt x="20" y="57"/>
                  <a:pt x="20" y="57"/>
                </a:cubicBezTo>
                <a:close/>
              </a:path>
            </a:pathLst>
          </a:custGeom>
          <a:solidFill>
            <a:srgbClr val="00A5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93" name="Freeform 2949">
            <a:extLst>
              <a:ext uri="{FF2B5EF4-FFF2-40B4-BE49-F238E27FC236}">
                <a16:creationId xmlns:a16="http://schemas.microsoft.com/office/drawing/2014/main" id="{0C24E738-E38A-41EE-9E94-660CDEC2395C}"/>
              </a:ext>
            </a:extLst>
          </p:cNvPr>
          <p:cNvSpPr>
            <a:spLocks/>
          </p:cNvSpPr>
          <p:nvPr/>
        </p:nvSpPr>
        <p:spPr bwMode="auto">
          <a:xfrm>
            <a:off x="3238404" y="3201198"/>
            <a:ext cx="243816" cy="279583"/>
          </a:xfrm>
          <a:custGeom>
            <a:avLst/>
            <a:gdLst>
              <a:gd name="T0" fmla="*/ 68 w 208"/>
              <a:gd name="T1" fmla="*/ 26 h 199"/>
              <a:gd name="T2" fmla="*/ 70 w 208"/>
              <a:gd name="T3" fmla="*/ 29 h 199"/>
              <a:gd name="T4" fmla="*/ 71 w 208"/>
              <a:gd name="T5" fmla="*/ 38 h 199"/>
              <a:gd name="T6" fmla="*/ 75 w 208"/>
              <a:gd name="T7" fmla="*/ 51 h 199"/>
              <a:gd name="T8" fmla="*/ 76 w 208"/>
              <a:gd name="T9" fmla="*/ 58 h 199"/>
              <a:gd name="T10" fmla="*/ 70 w 208"/>
              <a:gd name="T11" fmla="*/ 59 h 199"/>
              <a:gd name="T12" fmla="*/ 61 w 208"/>
              <a:gd name="T13" fmla="*/ 59 h 199"/>
              <a:gd name="T14" fmla="*/ 56 w 208"/>
              <a:gd name="T15" fmla="*/ 63 h 199"/>
              <a:gd name="T16" fmla="*/ 49 w 208"/>
              <a:gd name="T17" fmla="*/ 64 h 199"/>
              <a:gd name="T18" fmla="*/ 49 w 208"/>
              <a:gd name="T19" fmla="*/ 64 h 199"/>
              <a:gd name="T20" fmla="*/ 50 w 208"/>
              <a:gd name="T21" fmla="*/ 68 h 199"/>
              <a:gd name="T22" fmla="*/ 36 w 208"/>
              <a:gd name="T23" fmla="*/ 79 h 199"/>
              <a:gd name="T24" fmla="*/ 22 w 208"/>
              <a:gd name="T25" fmla="*/ 85 h 199"/>
              <a:gd name="T26" fmla="*/ 15 w 208"/>
              <a:gd name="T27" fmla="*/ 88 h 199"/>
              <a:gd name="T28" fmla="*/ 5 w 208"/>
              <a:gd name="T29" fmla="*/ 93 h 199"/>
              <a:gd name="T30" fmla="*/ 0 w 208"/>
              <a:gd name="T31" fmla="*/ 97 h 199"/>
              <a:gd name="T32" fmla="*/ 45 w 208"/>
              <a:gd name="T33" fmla="*/ 138 h 199"/>
              <a:gd name="T34" fmla="*/ 69 w 208"/>
              <a:gd name="T35" fmla="*/ 157 h 199"/>
              <a:gd name="T36" fmla="*/ 100 w 208"/>
              <a:gd name="T37" fmla="*/ 182 h 199"/>
              <a:gd name="T38" fmla="*/ 105 w 208"/>
              <a:gd name="T39" fmla="*/ 185 h 199"/>
              <a:gd name="T40" fmla="*/ 111 w 208"/>
              <a:gd name="T41" fmla="*/ 187 h 199"/>
              <a:gd name="T42" fmla="*/ 116 w 208"/>
              <a:gd name="T43" fmla="*/ 190 h 199"/>
              <a:gd name="T44" fmla="*/ 121 w 208"/>
              <a:gd name="T45" fmla="*/ 193 h 199"/>
              <a:gd name="T46" fmla="*/ 121 w 208"/>
              <a:gd name="T47" fmla="*/ 196 h 199"/>
              <a:gd name="T48" fmla="*/ 122 w 208"/>
              <a:gd name="T49" fmla="*/ 199 h 199"/>
              <a:gd name="T50" fmla="*/ 125 w 208"/>
              <a:gd name="T51" fmla="*/ 199 h 199"/>
              <a:gd name="T52" fmla="*/ 129 w 208"/>
              <a:gd name="T53" fmla="*/ 198 h 199"/>
              <a:gd name="T54" fmla="*/ 146 w 208"/>
              <a:gd name="T55" fmla="*/ 195 h 199"/>
              <a:gd name="T56" fmla="*/ 159 w 208"/>
              <a:gd name="T57" fmla="*/ 183 h 199"/>
              <a:gd name="T58" fmla="*/ 206 w 208"/>
              <a:gd name="T59" fmla="*/ 150 h 199"/>
              <a:gd name="T60" fmla="*/ 198 w 208"/>
              <a:gd name="T61" fmla="*/ 143 h 199"/>
              <a:gd name="T62" fmla="*/ 195 w 208"/>
              <a:gd name="T63" fmla="*/ 143 h 199"/>
              <a:gd name="T64" fmla="*/ 193 w 208"/>
              <a:gd name="T65" fmla="*/ 143 h 199"/>
              <a:gd name="T66" fmla="*/ 189 w 208"/>
              <a:gd name="T67" fmla="*/ 140 h 199"/>
              <a:gd name="T68" fmla="*/ 188 w 208"/>
              <a:gd name="T69" fmla="*/ 135 h 199"/>
              <a:gd name="T70" fmla="*/ 185 w 208"/>
              <a:gd name="T71" fmla="*/ 129 h 199"/>
              <a:gd name="T72" fmla="*/ 186 w 208"/>
              <a:gd name="T73" fmla="*/ 120 h 199"/>
              <a:gd name="T74" fmla="*/ 186 w 208"/>
              <a:gd name="T75" fmla="*/ 115 h 199"/>
              <a:gd name="T76" fmla="*/ 186 w 208"/>
              <a:gd name="T77" fmla="*/ 109 h 199"/>
              <a:gd name="T78" fmla="*/ 186 w 208"/>
              <a:gd name="T79" fmla="*/ 101 h 199"/>
              <a:gd name="T80" fmla="*/ 184 w 208"/>
              <a:gd name="T81" fmla="*/ 86 h 199"/>
              <a:gd name="T82" fmla="*/ 182 w 208"/>
              <a:gd name="T83" fmla="*/ 79 h 199"/>
              <a:gd name="T84" fmla="*/ 183 w 208"/>
              <a:gd name="T85" fmla="*/ 78 h 199"/>
              <a:gd name="T86" fmla="*/ 173 w 208"/>
              <a:gd name="T87" fmla="*/ 55 h 199"/>
              <a:gd name="T88" fmla="*/ 170 w 208"/>
              <a:gd name="T89" fmla="*/ 50 h 199"/>
              <a:gd name="T90" fmla="*/ 165 w 208"/>
              <a:gd name="T91" fmla="*/ 43 h 199"/>
              <a:gd name="T92" fmla="*/ 170 w 208"/>
              <a:gd name="T93" fmla="*/ 27 h 199"/>
              <a:gd name="T94" fmla="*/ 171 w 208"/>
              <a:gd name="T95" fmla="*/ 18 h 199"/>
              <a:gd name="T96" fmla="*/ 170 w 208"/>
              <a:gd name="T97" fmla="*/ 9 h 199"/>
              <a:gd name="T98" fmla="*/ 165 w 208"/>
              <a:gd name="T99" fmla="*/ 2 h 199"/>
              <a:gd name="T100" fmla="*/ 151 w 208"/>
              <a:gd name="T101" fmla="*/ 2 h 199"/>
              <a:gd name="T102" fmla="*/ 121 w 208"/>
              <a:gd name="T103" fmla="*/ 4 h 199"/>
              <a:gd name="T104" fmla="*/ 107 w 208"/>
              <a:gd name="T105" fmla="*/ 7 h 199"/>
              <a:gd name="T106" fmla="*/ 82 w 208"/>
              <a:gd name="T107" fmla="*/ 15 h 199"/>
              <a:gd name="T108" fmla="*/ 66 w 208"/>
              <a:gd name="T109" fmla="*/ 2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8" h="199">
                <a:moveTo>
                  <a:pt x="66" y="23"/>
                </a:moveTo>
                <a:cubicBezTo>
                  <a:pt x="66" y="24"/>
                  <a:pt x="66" y="24"/>
                  <a:pt x="66" y="24"/>
                </a:cubicBezTo>
                <a:cubicBezTo>
                  <a:pt x="67" y="24"/>
                  <a:pt x="67" y="24"/>
                  <a:pt x="67" y="25"/>
                </a:cubicBezTo>
                <a:cubicBezTo>
                  <a:pt x="68" y="25"/>
                  <a:pt x="68" y="25"/>
                  <a:pt x="68" y="25"/>
                </a:cubicBezTo>
                <a:cubicBezTo>
                  <a:pt x="68" y="25"/>
                  <a:pt x="68" y="25"/>
                  <a:pt x="68" y="26"/>
                </a:cubicBezTo>
                <a:cubicBezTo>
                  <a:pt x="69" y="26"/>
                  <a:pt x="69" y="26"/>
                  <a:pt x="69" y="26"/>
                </a:cubicBezTo>
                <a:cubicBezTo>
                  <a:pt x="69" y="26"/>
                  <a:pt x="70" y="27"/>
                  <a:pt x="70" y="27"/>
                </a:cubicBezTo>
                <a:cubicBezTo>
                  <a:pt x="70" y="28"/>
                  <a:pt x="70" y="28"/>
                  <a:pt x="70" y="28"/>
                </a:cubicBezTo>
                <a:cubicBezTo>
                  <a:pt x="70" y="28"/>
                  <a:pt x="70" y="28"/>
                  <a:pt x="70" y="28"/>
                </a:cubicBezTo>
                <a:cubicBezTo>
                  <a:pt x="70" y="28"/>
                  <a:pt x="70" y="29"/>
                  <a:pt x="70" y="29"/>
                </a:cubicBezTo>
                <a:cubicBezTo>
                  <a:pt x="70" y="29"/>
                  <a:pt x="70" y="29"/>
                  <a:pt x="70" y="30"/>
                </a:cubicBezTo>
                <a:cubicBezTo>
                  <a:pt x="71" y="30"/>
                  <a:pt x="71" y="32"/>
                  <a:pt x="70" y="32"/>
                </a:cubicBezTo>
                <a:cubicBezTo>
                  <a:pt x="70" y="32"/>
                  <a:pt x="70" y="32"/>
                  <a:pt x="70" y="32"/>
                </a:cubicBezTo>
                <a:cubicBezTo>
                  <a:pt x="71" y="34"/>
                  <a:pt x="71" y="34"/>
                  <a:pt x="71" y="34"/>
                </a:cubicBezTo>
                <a:cubicBezTo>
                  <a:pt x="71" y="36"/>
                  <a:pt x="71" y="37"/>
                  <a:pt x="71" y="38"/>
                </a:cubicBezTo>
                <a:cubicBezTo>
                  <a:pt x="71" y="39"/>
                  <a:pt x="71" y="39"/>
                  <a:pt x="71" y="39"/>
                </a:cubicBezTo>
                <a:cubicBezTo>
                  <a:pt x="71" y="39"/>
                  <a:pt x="71" y="39"/>
                  <a:pt x="71" y="39"/>
                </a:cubicBezTo>
                <a:cubicBezTo>
                  <a:pt x="71" y="40"/>
                  <a:pt x="71" y="40"/>
                  <a:pt x="71" y="40"/>
                </a:cubicBezTo>
                <a:cubicBezTo>
                  <a:pt x="74" y="50"/>
                  <a:pt x="74" y="50"/>
                  <a:pt x="74" y="50"/>
                </a:cubicBezTo>
                <a:cubicBezTo>
                  <a:pt x="75" y="50"/>
                  <a:pt x="75" y="51"/>
                  <a:pt x="75" y="51"/>
                </a:cubicBezTo>
                <a:cubicBezTo>
                  <a:pt x="76" y="51"/>
                  <a:pt x="76" y="51"/>
                  <a:pt x="76" y="51"/>
                </a:cubicBezTo>
                <a:cubicBezTo>
                  <a:pt x="77" y="52"/>
                  <a:pt x="77" y="52"/>
                  <a:pt x="77" y="53"/>
                </a:cubicBezTo>
                <a:cubicBezTo>
                  <a:pt x="77" y="55"/>
                  <a:pt x="77" y="55"/>
                  <a:pt x="76" y="56"/>
                </a:cubicBezTo>
                <a:cubicBezTo>
                  <a:pt x="76" y="56"/>
                  <a:pt x="76" y="56"/>
                  <a:pt x="76" y="56"/>
                </a:cubicBezTo>
                <a:cubicBezTo>
                  <a:pt x="76" y="57"/>
                  <a:pt x="76" y="57"/>
                  <a:pt x="76" y="58"/>
                </a:cubicBezTo>
                <a:cubicBezTo>
                  <a:pt x="76" y="58"/>
                  <a:pt x="76" y="59"/>
                  <a:pt x="76" y="59"/>
                </a:cubicBezTo>
                <a:cubicBezTo>
                  <a:pt x="75" y="59"/>
                  <a:pt x="74" y="59"/>
                  <a:pt x="73" y="59"/>
                </a:cubicBezTo>
                <a:cubicBezTo>
                  <a:pt x="73" y="59"/>
                  <a:pt x="71" y="59"/>
                  <a:pt x="70" y="59"/>
                </a:cubicBezTo>
                <a:cubicBezTo>
                  <a:pt x="70" y="59"/>
                  <a:pt x="70" y="59"/>
                  <a:pt x="70" y="59"/>
                </a:cubicBezTo>
                <a:cubicBezTo>
                  <a:pt x="70" y="59"/>
                  <a:pt x="70" y="59"/>
                  <a:pt x="70" y="59"/>
                </a:cubicBezTo>
                <a:cubicBezTo>
                  <a:pt x="70" y="59"/>
                  <a:pt x="70" y="59"/>
                  <a:pt x="70" y="59"/>
                </a:cubicBezTo>
                <a:cubicBezTo>
                  <a:pt x="70" y="59"/>
                  <a:pt x="69" y="59"/>
                  <a:pt x="68" y="59"/>
                </a:cubicBezTo>
                <a:cubicBezTo>
                  <a:pt x="67" y="59"/>
                  <a:pt x="66" y="59"/>
                  <a:pt x="65" y="59"/>
                </a:cubicBezTo>
                <a:cubicBezTo>
                  <a:pt x="65" y="59"/>
                  <a:pt x="65" y="59"/>
                  <a:pt x="65" y="59"/>
                </a:cubicBezTo>
                <a:cubicBezTo>
                  <a:pt x="63" y="59"/>
                  <a:pt x="62" y="59"/>
                  <a:pt x="61" y="59"/>
                </a:cubicBezTo>
                <a:cubicBezTo>
                  <a:pt x="61" y="59"/>
                  <a:pt x="61" y="59"/>
                  <a:pt x="60" y="59"/>
                </a:cubicBezTo>
                <a:cubicBezTo>
                  <a:pt x="60" y="59"/>
                  <a:pt x="60" y="59"/>
                  <a:pt x="60" y="59"/>
                </a:cubicBezTo>
                <a:cubicBezTo>
                  <a:pt x="60" y="59"/>
                  <a:pt x="59" y="59"/>
                  <a:pt x="59" y="59"/>
                </a:cubicBezTo>
                <a:cubicBezTo>
                  <a:pt x="59" y="59"/>
                  <a:pt x="58" y="60"/>
                  <a:pt x="58" y="60"/>
                </a:cubicBezTo>
                <a:cubicBezTo>
                  <a:pt x="57" y="61"/>
                  <a:pt x="57" y="62"/>
                  <a:pt x="56" y="63"/>
                </a:cubicBezTo>
                <a:cubicBezTo>
                  <a:pt x="55" y="63"/>
                  <a:pt x="55" y="63"/>
                  <a:pt x="55" y="63"/>
                </a:cubicBezTo>
                <a:cubicBezTo>
                  <a:pt x="54" y="63"/>
                  <a:pt x="54" y="63"/>
                  <a:pt x="54" y="63"/>
                </a:cubicBezTo>
                <a:cubicBezTo>
                  <a:pt x="53" y="63"/>
                  <a:pt x="52" y="64"/>
                  <a:pt x="51" y="64"/>
                </a:cubicBezTo>
                <a:cubicBezTo>
                  <a:pt x="51" y="64"/>
                  <a:pt x="51" y="64"/>
                  <a:pt x="51" y="64"/>
                </a:cubicBezTo>
                <a:cubicBezTo>
                  <a:pt x="50" y="64"/>
                  <a:pt x="50" y="64"/>
                  <a:pt x="49" y="64"/>
                </a:cubicBezTo>
                <a:cubicBezTo>
                  <a:pt x="49" y="64"/>
                  <a:pt x="49" y="64"/>
                  <a:pt x="49" y="64"/>
                </a:cubicBezTo>
                <a:cubicBezTo>
                  <a:pt x="49" y="64"/>
                  <a:pt x="49" y="64"/>
                  <a:pt x="49" y="64"/>
                </a:cubicBezTo>
                <a:cubicBezTo>
                  <a:pt x="49" y="64"/>
                  <a:pt x="49" y="64"/>
                  <a:pt x="49" y="64"/>
                </a:cubicBezTo>
                <a:cubicBezTo>
                  <a:pt x="49" y="64"/>
                  <a:pt x="49" y="64"/>
                  <a:pt x="49" y="64"/>
                </a:cubicBezTo>
                <a:cubicBezTo>
                  <a:pt x="49" y="64"/>
                  <a:pt x="49" y="64"/>
                  <a:pt x="49" y="64"/>
                </a:cubicBezTo>
                <a:cubicBezTo>
                  <a:pt x="49" y="64"/>
                  <a:pt x="49" y="64"/>
                  <a:pt x="49" y="64"/>
                </a:cubicBezTo>
                <a:cubicBezTo>
                  <a:pt x="50" y="65"/>
                  <a:pt x="50" y="65"/>
                  <a:pt x="50" y="65"/>
                </a:cubicBezTo>
                <a:cubicBezTo>
                  <a:pt x="50" y="66"/>
                  <a:pt x="50" y="66"/>
                  <a:pt x="50" y="67"/>
                </a:cubicBezTo>
                <a:cubicBezTo>
                  <a:pt x="50" y="67"/>
                  <a:pt x="50" y="67"/>
                  <a:pt x="49" y="67"/>
                </a:cubicBezTo>
                <a:cubicBezTo>
                  <a:pt x="50" y="67"/>
                  <a:pt x="50" y="68"/>
                  <a:pt x="50" y="68"/>
                </a:cubicBezTo>
                <a:cubicBezTo>
                  <a:pt x="50" y="68"/>
                  <a:pt x="51" y="69"/>
                  <a:pt x="51" y="69"/>
                </a:cubicBezTo>
                <a:cubicBezTo>
                  <a:pt x="52" y="71"/>
                  <a:pt x="50" y="72"/>
                  <a:pt x="49" y="73"/>
                </a:cubicBezTo>
                <a:cubicBezTo>
                  <a:pt x="49" y="73"/>
                  <a:pt x="48" y="73"/>
                  <a:pt x="48" y="73"/>
                </a:cubicBezTo>
                <a:cubicBezTo>
                  <a:pt x="38" y="78"/>
                  <a:pt x="38" y="78"/>
                  <a:pt x="38" y="78"/>
                </a:cubicBezTo>
                <a:cubicBezTo>
                  <a:pt x="37" y="78"/>
                  <a:pt x="36" y="79"/>
                  <a:pt x="36" y="79"/>
                </a:cubicBezTo>
                <a:cubicBezTo>
                  <a:pt x="36" y="80"/>
                  <a:pt x="35" y="80"/>
                  <a:pt x="35" y="81"/>
                </a:cubicBezTo>
                <a:cubicBezTo>
                  <a:pt x="34" y="81"/>
                  <a:pt x="34" y="81"/>
                  <a:pt x="34" y="81"/>
                </a:cubicBezTo>
                <a:cubicBezTo>
                  <a:pt x="34" y="82"/>
                  <a:pt x="34" y="82"/>
                  <a:pt x="33" y="82"/>
                </a:cubicBezTo>
                <a:cubicBezTo>
                  <a:pt x="33" y="83"/>
                  <a:pt x="32" y="83"/>
                  <a:pt x="31" y="84"/>
                </a:cubicBezTo>
                <a:cubicBezTo>
                  <a:pt x="29" y="84"/>
                  <a:pt x="25" y="85"/>
                  <a:pt x="22" y="85"/>
                </a:cubicBezTo>
                <a:cubicBezTo>
                  <a:pt x="21" y="86"/>
                  <a:pt x="21" y="87"/>
                  <a:pt x="19" y="88"/>
                </a:cubicBezTo>
                <a:cubicBezTo>
                  <a:pt x="19" y="88"/>
                  <a:pt x="19" y="88"/>
                  <a:pt x="18" y="88"/>
                </a:cubicBezTo>
                <a:cubicBezTo>
                  <a:pt x="18" y="88"/>
                  <a:pt x="18" y="88"/>
                  <a:pt x="18" y="87"/>
                </a:cubicBezTo>
                <a:cubicBezTo>
                  <a:pt x="17" y="87"/>
                  <a:pt x="17" y="87"/>
                  <a:pt x="17" y="87"/>
                </a:cubicBezTo>
                <a:cubicBezTo>
                  <a:pt x="17" y="88"/>
                  <a:pt x="16" y="88"/>
                  <a:pt x="15" y="88"/>
                </a:cubicBezTo>
                <a:cubicBezTo>
                  <a:pt x="14" y="88"/>
                  <a:pt x="14" y="88"/>
                  <a:pt x="14" y="88"/>
                </a:cubicBezTo>
                <a:cubicBezTo>
                  <a:pt x="13" y="88"/>
                  <a:pt x="13" y="89"/>
                  <a:pt x="12" y="89"/>
                </a:cubicBezTo>
                <a:cubicBezTo>
                  <a:pt x="11" y="89"/>
                  <a:pt x="10" y="89"/>
                  <a:pt x="10" y="90"/>
                </a:cubicBezTo>
                <a:cubicBezTo>
                  <a:pt x="9" y="90"/>
                  <a:pt x="9" y="90"/>
                  <a:pt x="8" y="90"/>
                </a:cubicBezTo>
                <a:cubicBezTo>
                  <a:pt x="7" y="91"/>
                  <a:pt x="6" y="92"/>
                  <a:pt x="5" y="93"/>
                </a:cubicBezTo>
                <a:cubicBezTo>
                  <a:pt x="3" y="94"/>
                  <a:pt x="3" y="94"/>
                  <a:pt x="3" y="94"/>
                </a:cubicBezTo>
                <a:cubicBezTo>
                  <a:pt x="3" y="94"/>
                  <a:pt x="3" y="94"/>
                  <a:pt x="3" y="95"/>
                </a:cubicBezTo>
                <a:cubicBezTo>
                  <a:pt x="2" y="95"/>
                  <a:pt x="2" y="95"/>
                  <a:pt x="2" y="95"/>
                </a:cubicBezTo>
                <a:cubicBezTo>
                  <a:pt x="1" y="96"/>
                  <a:pt x="0" y="96"/>
                  <a:pt x="0" y="96"/>
                </a:cubicBezTo>
                <a:cubicBezTo>
                  <a:pt x="0" y="96"/>
                  <a:pt x="0" y="97"/>
                  <a:pt x="0" y="97"/>
                </a:cubicBezTo>
                <a:cubicBezTo>
                  <a:pt x="0" y="106"/>
                  <a:pt x="0" y="106"/>
                  <a:pt x="0" y="106"/>
                </a:cubicBezTo>
                <a:cubicBezTo>
                  <a:pt x="0" y="111"/>
                  <a:pt x="0" y="111"/>
                  <a:pt x="0" y="111"/>
                </a:cubicBezTo>
                <a:cubicBezTo>
                  <a:pt x="14" y="120"/>
                  <a:pt x="26" y="128"/>
                  <a:pt x="38" y="135"/>
                </a:cubicBezTo>
                <a:cubicBezTo>
                  <a:pt x="38" y="136"/>
                  <a:pt x="38" y="136"/>
                  <a:pt x="38" y="136"/>
                </a:cubicBezTo>
                <a:cubicBezTo>
                  <a:pt x="45" y="138"/>
                  <a:pt x="45" y="138"/>
                  <a:pt x="45" y="138"/>
                </a:cubicBezTo>
                <a:cubicBezTo>
                  <a:pt x="41" y="138"/>
                  <a:pt x="41" y="138"/>
                  <a:pt x="41" y="138"/>
                </a:cubicBezTo>
                <a:cubicBezTo>
                  <a:pt x="46" y="141"/>
                  <a:pt x="46" y="141"/>
                  <a:pt x="46" y="141"/>
                </a:cubicBezTo>
                <a:cubicBezTo>
                  <a:pt x="46" y="141"/>
                  <a:pt x="46" y="141"/>
                  <a:pt x="46" y="141"/>
                </a:cubicBezTo>
                <a:cubicBezTo>
                  <a:pt x="48" y="143"/>
                  <a:pt x="52" y="145"/>
                  <a:pt x="54" y="147"/>
                </a:cubicBezTo>
                <a:cubicBezTo>
                  <a:pt x="59" y="150"/>
                  <a:pt x="64" y="154"/>
                  <a:pt x="69" y="157"/>
                </a:cubicBezTo>
                <a:cubicBezTo>
                  <a:pt x="75" y="161"/>
                  <a:pt x="82" y="166"/>
                  <a:pt x="89" y="171"/>
                </a:cubicBezTo>
                <a:cubicBezTo>
                  <a:pt x="99" y="177"/>
                  <a:pt x="99" y="177"/>
                  <a:pt x="99" y="177"/>
                </a:cubicBezTo>
                <a:cubicBezTo>
                  <a:pt x="99" y="178"/>
                  <a:pt x="100" y="178"/>
                  <a:pt x="100" y="179"/>
                </a:cubicBezTo>
                <a:cubicBezTo>
                  <a:pt x="100" y="180"/>
                  <a:pt x="100" y="181"/>
                  <a:pt x="100" y="181"/>
                </a:cubicBezTo>
                <a:cubicBezTo>
                  <a:pt x="100" y="181"/>
                  <a:pt x="100" y="182"/>
                  <a:pt x="100" y="182"/>
                </a:cubicBezTo>
                <a:cubicBezTo>
                  <a:pt x="100" y="182"/>
                  <a:pt x="101" y="182"/>
                  <a:pt x="101" y="182"/>
                </a:cubicBezTo>
                <a:cubicBezTo>
                  <a:pt x="101" y="182"/>
                  <a:pt x="101" y="182"/>
                  <a:pt x="101" y="182"/>
                </a:cubicBezTo>
                <a:cubicBezTo>
                  <a:pt x="102" y="182"/>
                  <a:pt x="102" y="182"/>
                  <a:pt x="102" y="182"/>
                </a:cubicBezTo>
                <a:cubicBezTo>
                  <a:pt x="104" y="183"/>
                  <a:pt x="104" y="183"/>
                  <a:pt x="105" y="184"/>
                </a:cubicBezTo>
                <a:cubicBezTo>
                  <a:pt x="105" y="185"/>
                  <a:pt x="105" y="185"/>
                  <a:pt x="105" y="185"/>
                </a:cubicBezTo>
                <a:cubicBezTo>
                  <a:pt x="105" y="186"/>
                  <a:pt x="106" y="186"/>
                  <a:pt x="108" y="187"/>
                </a:cubicBezTo>
                <a:cubicBezTo>
                  <a:pt x="109" y="187"/>
                  <a:pt x="109" y="187"/>
                  <a:pt x="109" y="187"/>
                </a:cubicBezTo>
                <a:cubicBezTo>
                  <a:pt x="109" y="187"/>
                  <a:pt x="109" y="186"/>
                  <a:pt x="109" y="186"/>
                </a:cubicBezTo>
                <a:cubicBezTo>
                  <a:pt x="109" y="186"/>
                  <a:pt x="109" y="186"/>
                  <a:pt x="110" y="186"/>
                </a:cubicBezTo>
                <a:cubicBezTo>
                  <a:pt x="110" y="186"/>
                  <a:pt x="110" y="186"/>
                  <a:pt x="111" y="187"/>
                </a:cubicBezTo>
                <a:cubicBezTo>
                  <a:pt x="111" y="187"/>
                  <a:pt x="111" y="187"/>
                  <a:pt x="111" y="187"/>
                </a:cubicBezTo>
                <a:cubicBezTo>
                  <a:pt x="112" y="187"/>
                  <a:pt x="112" y="187"/>
                  <a:pt x="112" y="187"/>
                </a:cubicBezTo>
                <a:cubicBezTo>
                  <a:pt x="113" y="188"/>
                  <a:pt x="114" y="189"/>
                  <a:pt x="116" y="189"/>
                </a:cubicBezTo>
                <a:cubicBezTo>
                  <a:pt x="116" y="189"/>
                  <a:pt x="116" y="189"/>
                  <a:pt x="116" y="189"/>
                </a:cubicBezTo>
                <a:cubicBezTo>
                  <a:pt x="116" y="190"/>
                  <a:pt x="116" y="190"/>
                  <a:pt x="116" y="190"/>
                </a:cubicBezTo>
                <a:cubicBezTo>
                  <a:pt x="117" y="190"/>
                  <a:pt x="118" y="190"/>
                  <a:pt x="118" y="190"/>
                </a:cubicBezTo>
                <a:cubicBezTo>
                  <a:pt x="118" y="190"/>
                  <a:pt x="118" y="190"/>
                  <a:pt x="119" y="190"/>
                </a:cubicBezTo>
                <a:cubicBezTo>
                  <a:pt x="119" y="190"/>
                  <a:pt x="119" y="190"/>
                  <a:pt x="119" y="191"/>
                </a:cubicBezTo>
                <a:cubicBezTo>
                  <a:pt x="120" y="191"/>
                  <a:pt x="120" y="191"/>
                  <a:pt x="120" y="191"/>
                </a:cubicBezTo>
                <a:cubicBezTo>
                  <a:pt x="121" y="192"/>
                  <a:pt x="121" y="192"/>
                  <a:pt x="121" y="193"/>
                </a:cubicBezTo>
                <a:cubicBezTo>
                  <a:pt x="121" y="193"/>
                  <a:pt x="121" y="193"/>
                  <a:pt x="121" y="194"/>
                </a:cubicBezTo>
                <a:cubicBezTo>
                  <a:pt x="121" y="194"/>
                  <a:pt x="121" y="194"/>
                  <a:pt x="121" y="194"/>
                </a:cubicBezTo>
                <a:cubicBezTo>
                  <a:pt x="121" y="195"/>
                  <a:pt x="121" y="195"/>
                  <a:pt x="121" y="195"/>
                </a:cubicBezTo>
                <a:cubicBezTo>
                  <a:pt x="121" y="195"/>
                  <a:pt x="121" y="195"/>
                  <a:pt x="121" y="195"/>
                </a:cubicBezTo>
                <a:cubicBezTo>
                  <a:pt x="121" y="196"/>
                  <a:pt x="121" y="196"/>
                  <a:pt x="121" y="196"/>
                </a:cubicBezTo>
                <a:cubicBezTo>
                  <a:pt x="121" y="197"/>
                  <a:pt x="121" y="197"/>
                  <a:pt x="121" y="198"/>
                </a:cubicBezTo>
                <a:cubicBezTo>
                  <a:pt x="121" y="198"/>
                  <a:pt x="121" y="198"/>
                  <a:pt x="121" y="198"/>
                </a:cubicBezTo>
                <a:cubicBezTo>
                  <a:pt x="121" y="198"/>
                  <a:pt x="121" y="198"/>
                  <a:pt x="121" y="198"/>
                </a:cubicBezTo>
                <a:cubicBezTo>
                  <a:pt x="120" y="199"/>
                  <a:pt x="120" y="199"/>
                  <a:pt x="120" y="199"/>
                </a:cubicBezTo>
                <a:cubicBezTo>
                  <a:pt x="121" y="199"/>
                  <a:pt x="121" y="199"/>
                  <a:pt x="122" y="199"/>
                </a:cubicBezTo>
                <a:cubicBezTo>
                  <a:pt x="122" y="199"/>
                  <a:pt x="122" y="199"/>
                  <a:pt x="123" y="199"/>
                </a:cubicBezTo>
                <a:cubicBezTo>
                  <a:pt x="123" y="199"/>
                  <a:pt x="123" y="199"/>
                  <a:pt x="123" y="199"/>
                </a:cubicBezTo>
                <a:cubicBezTo>
                  <a:pt x="123" y="199"/>
                  <a:pt x="124" y="199"/>
                  <a:pt x="124" y="199"/>
                </a:cubicBezTo>
                <a:cubicBezTo>
                  <a:pt x="124" y="199"/>
                  <a:pt x="124" y="199"/>
                  <a:pt x="124" y="199"/>
                </a:cubicBezTo>
                <a:cubicBezTo>
                  <a:pt x="124" y="199"/>
                  <a:pt x="125" y="199"/>
                  <a:pt x="125" y="199"/>
                </a:cubicBezTo>
                <a:cubicBezTo>
                  <a:pt x="125" y="199"/>
                  <a:pt x="126" y="199"/>
                  <a:pt x="126" y="199"/>
                </a:cubicBezTo>
                <a:cubicBezTo>
                  <a:pt x="129" y="198"/>
                  <a:pt x="129" y="198"/>
                  <a:pt x="129" y="198"/>
                </a:cubicBezTo>
                <a:cubicBezTo>
                  <a:pt x="129" y="198"/>
                  <a:pt x="129" y="198"/>
                  <a:pt x="129" y="198"/>
                </a:cubicBezTo>
                <a:cubicBezTo>
                  <a:pt x="129" y="198"/>
                  <a:pt x="129" y="198"/>
                  <a:pt x="129" y="198"/>
                </a:cubicBezTo>
                <a:cubicBezTo>
                  <a:pt x="129" y="198"/>
                  <a:pt x="129" y="198"/>
                  <a:pt x="129" y="198"/>
                </a:cubicBezTo>
                <a:cubicBezTo>
                  <a:pt x="130" y="198"/>
                  <a:pt x="130" y="198"/>
                  <a:pt x="130" y="198"/>
                </a:cubicBezTo>
                <a:cubicBezTo>
                  <a:pt x="139" y="196"/>
                  <a:pt x="139" y="196"/>
                  <a:pt x="139" y="196"/>
                </a:cubicBezTo>
                <a:cubicBezTo>
                  <a:pt x="140" y="196"/>
                  <a:pt x="140" y="196"/>
                  <a:pt x="141" y="196"/>
                </a:cubicBezTo>
                <a:cubicBezTo>
                  <a:pt x="141" y="196"/>
                  <a:pt x="141" y="196"/>
                  <a:pt x="141" y="196"/>
                </a:cubicBezTo>
                <a:cubicBezTo>
                  <a:pt x="143" y="196"/>
                  <a:pt x="145" y="196"/>
                  <a:pt x="146" y="195"/>
                </a:cubicBezTo>
                <a:cubicBezTo>
                  <a:pt x="146" y="195"/>
                  <a:pt x="146" y="194"/>
                  <a:pt x="147" y="194"/>
                </a:cubicBezTo>
                <a:cubicBezTo>
                  <a:pt x="147" y="194"/>
                  <a:pt x="147" y="194"/>
                  <a:pt x="147" y="194"/>
                </a:cubicBezTo>
                <a:cubicBezTo>
                  <a:pt x="148" y="193"/>
                  <a:pt x="149" y="192"/>
                  <a:pt x="150" y="192"/>
                </a:cubicBezTo>
                <a:cubicBezTo>
                  <a:pt x="155" y="186"/>
                  <a:pt x="155" y="186"/>
                  <a:pt x="155" y="186"/>
                </a:cubicBezTo>
                <a:cubicBezTo>
                  <a:pt x="157" y="185"/>
                  <a:pt x="158" y="184"/>
                  <a:pt x="159" y="183"/>
                </a:cubicBezTo>
                <a:cubicBezTo>
                  <a:pt x="162" y="181"/>
                  <a:pt x="164" y="179"/>
                  <a:pt x="166" y="178"/>
                </a:cubicBezTo>
                <a:cubicBezTo>
                  <a:pt x="208" y="152"/>
                  <a:pt x="208" y="152"/>
                  <a:pt x="208" y="152"/>
                </a:cubicBezTo>
                <a:cubicBezTo>
                  <a:pt x="207" y="152"/>
                  <a:pt x="207" y="152"/>
                  <a:pt x="207" y="151"/>
                </a:cubicBezTo>
                <a:cubicBezTo>
                  <a:pt x="207" y="151"/>
                  <a:pt x="207" y="151"/>
                  <a:pt x="207" y="151"/>
                </a:cubicBezTo>
                <a:cubicBezTo>
                  <a:pt x="207" y="151"/>
                  <a:pt x="206" y="150"/>
                  <a:pt x="206" y="150"/>
                </a:cubicBezTo>
                <a:cubicBezTo>
                  <a:pt x="206" y="149"/>
                  <a:pt x="205" y="148"/>
                  <a:pt x="205" y="147"/>
                </a:cubicBezTo>
                <a:cubicBezTo>
                  <a:pt x="205" y="147"/>
                  <a:pt x="205" y="147"/>
                  <a:pt x="204" y="147"/>
                </a:cubicBezTo>
                <a:cubicBezTo>
                  <a:pt x="204" y="146"/>
                  <a:pt x="203" y="145"/>
                  <a:pt x="203" y="145"/>
                </a:cubicBezTo>
                <a:cubicBezTo>
                  <a:pt x="201" y="144"/>
                  <a:pt x="201" y="144"/>
                  <a:pt x="201" y="144"/>
                </a:cubicBezTo>
                <a:cubicBezTo>
                  <a:pt x="200" y="144"/>
                  <a:pt x="199" y="144"/>
                  <a:pt x="198" y="143"/>
                </a:cubicBezTo>
                <a:cubicBezTo>
                  <a:pt x="197" y="143"/>
                  <a:pt x="197" y="143"/>
                  <a:pt x="196" y="143"/>
                </a:cubicBezTo>
                <a:cubicBezTo>
                  <a:pt x="196" y="143"/>
                  <a:pt x="196" y="143"/>
                  <a:pt x="196" y="143"/>
                </a:cubicBezTo>
                <a:cubicBezTo>
                  <a:pt x="196" y="143"/>
                  <a:pt x="196" y="143"/>
                  <a:pt x="196" y="143"/>
                </a:cubicBezTo>
                <a:cubicBezTo>
                  <a:pt x="196" y="143"/>
                  <a:pt x="196" y="143"/>
                  <a:pt x="195" y="143"/>
                </a:cubicBezTo>
                <a:cubicBezTo>
                  <a:pt x="195" y="143"/>
                  <a:pt x="195" y="143"/>
                  <a:pt x="195" y="143"/>
                </a:cubicBezTo>
                <a:cubicBezTo>
                  <a:pt x="195" y="143"/>
                  <a:pt x="195" y="143"/>
                  <a:pt x="194" y="143"/>
                </a:cubicBezTo>
                <a:cubicBezTo>
                  <a:pt x="195" y="146"/>
                  <a:pt x="195" y="146"/>
                  <a:pt x="195" y="146"/>
                </a:cubicBezTo>
                <a:cubicBezTo>
                  <a:pt x="194" y="143"/>
                  <a:pt x="194" y="143"/>
                  <a:pt x="194" y="143"/>
                </a:cubicBezTo>
                <a:cubicBezTo>
                  <a:pt x="194" y="143"/>
                  <a:pt x="194" y="143"/>
                  <a:pt x="193" y="143"/>
                </a:cubicBezTo>
                <a:cubicBezTo>
                  <a:pt x="193" y="143"/>
                  <a:pt x="193" y="143"/>
                  <a:pt x="193" y="143"/>
                </a:cubicBezTo>
                <a:cubicBezTo>
                  <a:pt x="193" y="143"/>
                  <a:pt x="193" y="143"/>
                  <a:pt x="193" y="143"/>
                </a:cubicBezTo>
                <a:cubicBezTo>
                  <a:pt x="192" y="143"/>
                  <a:pt x="192" y="143"/>
                  <a:pt x="191" y="142"/>
                </a:cubicBezTo>
                <a:cubicBezTo>
                  <a:pt x="191" y="142"/>
                  <a:pt x="191" y="142"/>
                  <a:pt x="191" y="142"/>
                </a:cubicBezTo>
                <a:cubicBezTo>
                  <a:pt x="191" y="142"/>
                  <a:pt x="191" y="142"/>
                  <a:pt x="191" y="142"/>
                </a:cubicBezTo>
                <a:cubicBezTo>
                  <a:pt x="190" y="141"/>
                  <a:pt x="190" y="140"/>
                  <a:pt x="189" y="140"/>
                </a:cubicBezTo>
                <a:cubicBezTo>
                  <a:pt x="189" y="139"/>
                  <a:pt x="189" y="139"/>
                  <a:pt x="189" y="139"/>
                </a:cubicBezTo>
                <a:cubicBezTo>
                  <a:pt x="189" y="139"/>
                  <a:pt x="189" y="139"/>
                  <a:pt x="189" y="138"/>
                </a:cubicBezTo>
                <a:cubicBezTo>
                  <a:pt x="188" y="138"/>
                  <a:pt x="188" y="138"/>
                  <a:pt x="188" y="138"/>
                </a:cubicBezTo>
                <a:cubicBezTo>
                  <a:pt x="188" y="138"/>
                  <a:pt x="188" y="138"/>
                  <a:pt x="188" y="138"/>
                </a:cubicBezTo>
                <a:cubicBezTo>
                  <a:pt x="188" y="137"/>
                  <a:pt x="188" y="136"/>
                  <a:pt x="188" y="135"/>
                </a:cubicBezTo>
                <a:cubicBezTo>
                  <a:pt x="188" y="134"/>
                  <a:pt x="187" y="133"/>
                  <a:pt x="187" y="132"/>
                </a:cubicBezTo>
                <a:cubicBezTo>
                  <a:pt x="187" y="131"/>
                  <a:pt x="186" y="131"/>
                  <a:pt x="186" y="130"/>
                </a:cubicBezTo>
                <a:cubicBezTo>
                  <a:pt x="186" y="130"/>
                  <a:pt x="186" y="130"/>
                  <a:pt x="186" y="130"/>
                </a:cubicBezTo>
                <a:cubicBezTo>
                  <a:pt x="186" y="130"/>
                  <a:pt x="186" y="130"/>
                  <a:pt x="185" y="130"/>
                </a:cubicBezTo>
                <a:cubicBezTo>
                  <a:pt x="185" y="129"/>
                  <a:pt x="185" y="129"/>
                  <a:pt x="185" y="129"/>
                </a:cubicBezTo>
                <a:cubicBezTo>
                  <a:pt x="185" y="129"/>
                  <a:pt x="185" y="129"/>
                  <a:pt x="185" y="129"/>
                </a:cubicBezTo>
                <a:cubicBezTo>
                  <a:pt x="183" y="127"/>
                  <a:pt x="182" y="126"/>
                  <a:pt x="182" y="124"/>
                </a:cubicBezTo>
                <a:cubicBezTo>
                  <a:pt x="182" y="123"/>
                  <a:pt x="182" y="122"/>
                  <a:pt x="183" y="121"/>
                </a:cubicBezTo>
                <a:cubicBezTo>
                  <a:pt x="184" y="121"/>
                  <a:pt x="184" y="121"/>
                  <a:pt x="184" y="120"/>
                </a:cubicBezTo>
                <a:cubicBezTo>
                  <a:pt x="185" y="120"/>
                  <a:pt x="185" y="120"/>
                  <a:pt x="186" y="120"/>
                </a:cubicBezTo>
                <a:cubicBezTo>
                  <a:pt x="186" y="120"/>
                  <a:pt x="186" y="120"/>
                  <a:pt x="186" y="120"/>
                </a:cubicBezTo>
                <a:cubicBezTo>
                  <a:pt x="186" y="120"/>
                  <a:pt x="186" y="119"/>
                  <a:pt x="186" y="119"/>
                </a:cubicBezTo>
                <a:cubicBezTo>
                  <a:pt x="186" y="119"/>
                  <a:pt x="186" y="119"/>
                  <a:pt x="186" y="119"/>
                </a:cubicBezTo>
                <a:cubicBezTo>
                  <a:pt x="186" y="119"/>
                  <a:pt x="186" y="119"/>
                  <a:pt x="186" y="119"/>
                </a:cubicBezTo>
                <a:cubicBezTo>
                  <a:pt x="186" y="117"/>
                  <a:pt x="186" y="116"/>
                  <a:pt x="186" y="115"/>
                </a:cubicBezTo>
                <a:cubicBezTo>
                  <a:pt x="186" y="115"/>
                  <a:pt x="186" y="115"/>
                  <a:pt x="186" y="115"/>
                </a:cubicBezTo>
                <a:cubicBezTo>
                  <a:pt x="186" y="114"/>
                  <a:pt x="186" y="114"/>
                  <a:pt x="186" y="114"/>
                </a:cubicBezTo>
                <a:cubicBezTo>
                  <a:pt x="186" y="114"/>
                  <a:pt x="186" y="113"/>
                  <a:pt x="186" y="113"/>
                </a:cubicBezTo>
                <a:cubicBezTo>
                  <a:pt x="185" y="113"/>
                  <a:pt x="185" y="112"/>
                  <a:pt x="185" y="112"/>
                </a:cubicBezTo>
                <a:cubicBezTo>
                  <a:pt x="185" y="111"/>
                  <a:pt x="186" y="110"/>
                  <a:pt x="186" y="109"/>
                </a:cubicBezTo>
                <a:cubicBezTo>
                  <a:pt x="186" y="109"/>
                  <a:pt x="186" y="108"/>
                  <a:pt x="186" y="108"/>
                </a:cubicBezTo>
                <a:cubicBezTo>
                  <a:pt x="186" y="108"/>
                  <a:pt x="186" y="108"/>
                  <a:pt x="187" y="107"/>
                </a:cubicBezTo>
                <a:cubicBezTo>
                  <a:pt x="187" y="106"/>
                  <a:pt x="187" y="106"/>
                  <a:pt x="187" y="105"/>
                </a:cubicBezTo>
                <a:cubicBezTo>
                  <a:pt x="187" y="104"/>
                  <a:pt x="187" y="104"/>
                  <a:pt x="187" y="104"/>
                </a:cubicBezTo>
                <a:cubicBezTo>
                  <a:pt x="186" y="103"/>
                  <a:pt x="186" y="102"/>
                  <a:pt x="186" y="101"/>
                </a:cubicBezTo>
                <a:cubicBezTo>
                  <a:pt x="186" y="100"/>
                  <a:pt x="186" y="98"/>
                  <a:pt x="186" y="96"/>
                </a:cubicBezTo>
                <a:cubicBezTo>
                  <a:pt x="186" y="96"/>
                  <a:pt x="186" y="96"/>
                  <a:pt x="186" y="96"/>
                </a:cubicBezTo>
                <a:cubicBezTo>
                  <a:pt x="186" y="96"/>
                  <a:pt x="186" y="95"/>
                  <a:pt x="186" y="95"/>
                </a:cubicBezTo>
                <a:cubicBezTo>
                  <a:pt x="186" y="92"/>
                  <a:pt x="186" y="89"/>
                  <a:pt x="185" y="87"/>
                </a:cubicBezTo>
                <a:cubicBezTo>
                  <a:pt x="185" y="87"/>
                  <a:pt x="184" y="87"/>
                  <a:pt x="184" y="86"/>
                </a:cubicBezTo>
                <a:cubicBezTo>
                  <a:pt x="183" y="84"/>
                  <a:pt x="181" y="82"/>
                  <a:pt x="181" y="81"/>
                </a:cubicBezTo>
                <a:cubicBezTo>
                  <a:pt x="181" y="81"/>
                  <a:pt x="181" y="80"/>
                  <a:pt x="181" y="80"/>
                </a:cubicBezTo>
                <a:cubicBezTo>
                  <a:pt x="181" y="80"/>
                  <a:pt x="181" y="80"/>
                  <a:pt x="181" y="80"/>
                </a:cubicBezTo>
                <a:cubicBezTo>
                  <a:pt x="182" y="79"/>
                  <a:pt x="182" y="79"/>
                  <a:pt x="182" y="79"/>
                </a:cubicBezTo>
                <a:cubicBezTo>
                  <a:pt x="182" y="79"/>
                  <a:pt x="182" y="79"/>
                  <a:pt x="182" y="79"/>
                </a:cubicBezTo>
                <a:cubicBezTo>
                  <a:pt x="183" y="79"/>
                  <a:pt x="183" y="79"/>
                  <a:pt x="183" y="79"/>
                </a:cubicBezTo>
                <a:cubicBezTo>
                  <a:pt x="182" y="79"/>
                  <a:pt x="182" y="79"/>
                  <a:pt x="182" y="79"/>
                </a:cubicBezTo>
                <a:cubicBezTo>
                  <a:pt x="183" y="79"/>
                  <a:pt x="183" y="79"/>
                  <a:pt x="183" y="78"/>
                </a:cubicBezTo>
                <a:cubicBezTo>
                  <a:pt x="183" y="78"/>
                  <a:pt x="183" y="78"/>
                  <a:pt x="183" y="78"/>
                </a:cubicBezTo>
                <a:cubicBezTo>
                  <a:pt x="183" y="78"/>
                  <a:pt x="183" y="78"/>
                  <a:pt x="183" y="78"/>
                </a:cubicBezTo>
                <a:cubicBezTo>
                  <a:pt x="179" y="60"/>
                  <a:pt x="179" y="60"/>
                  <a:pt x="179" y="60"/>
                </a:cubicBezTo>
                <a:cubicBezTo>
                  <a:pt x="179" y="60"/>
                  <a:pt x="178" y="60"/>
                  <a:pt x="178" y="59"/>
                </a:cubicBezTo>
                <a:cubicBezTo>
                  <a:pt x="178" y="59"/>
                  <a:pt x="177" y="59"/>
                  <a:pt x="177" y="58"/>
                </a:cubicBezTo>
                <a:cubicBezTo>
                  <a:pt x="176" y="58"/>
                  <a:pt x="176" y="58"/>
                  <a:pt x="176" y="58"/>
                </a:cubicBezTo>
                <a:cubicBezTo>
                  <a:pt x="173" y="55"/>
                  <a:pt x="173" y="55"/>
                  <a:pt x="173" y="55"/>
                </a:cubicBezTo>
                <a:cubicBezTo>
                  <a:pt x="172" y="55"/>
                  <a:pt x="172" y="55"/>
                  <a:pt x="172" y="55"/>
                </a:cubicBezTo>
                <a:cubicBezTo>
                  <a:pt x="172" y="54"/>
                  <a:pt x="172" y="54"/>
                  <a:pt x="172" y="54"/>
                </a:cubicBezTo>
                <a:cubicBezTo>
                  <a:pt x="171" y="53"/>
                  <a:pt x="171" y="52"/>
                  <a:pt x="171" y="51"/>
                </a:cubicBezTo>
                <a:cubicBezTo>
                  <a:pt x="171" y="51"/>
                  <a:pt x="171" y="51"/>
                  <a:pt x="171" y="51"/>
                </a:cubicBezTo>
                <a:cubicBezTo>
                  <a:pt x="171" y="50"/>
                  <a:pt x="170" y="50"/>
                  <a:pt x="170" y="50"/>
                </a:cubicBezTo>
                <a:cubicBezTo>
                  <a:pt x="170" y="50"/>
                  <a:pt x="170" y="50"/>
                  <a:pt x="170" y="50"/>
                </a:cubicBezTo>
                <a:cubicBezTo>
                  <a:pt x="170" y="49"/>
                  <a:pt x="170" y="49"/>
                  <a:pt x="170" y="49"/>
                </a:cubicBezTo>
                <a:cubicBezTo>
                  <a:pt x="170" y="49"/>
                  <a:pt x="170" y="49"/>
                  <a:pt x="170" y="49"/>
                </a:cubicBezTo>
                <a:cubicBezTo>
                  <a:pt x="169" y="48"/>
                  <a:pt x="168" y="47"/>
                  <a:pt x="168" y="47"/>
                </a:cubicBezTo>
                <a:cubicBezTo>
                  <a:pt x="166" y="46"/>
                  <a:pt x="165" y="45"/>
                  <a:pt x="165" y="43"/>
                </a:cubicBezTo>
                <a:cubicBezTo>
                  <a:pt x="164" y="42"/>
                  <a:pt x="163" y="40"/>
                  <a:pt x="162" y="38"/>
                </a:cubicBezTo>
                <a:cubicBezTo>
                  <a:pt x="162" y="36"/>
                  <a:pt x="163" y="34"/>
                  <a:pt x="163" y="34"/>
                </a:cubicBezTo>
                <a:cubicBezTo>
                  <a:pt x="164" y="33"/>
                  <a:pt x="164" y="33"/>
                  <a:pt x="164" y="33"/>
                </a:cubicBezTo>
                <a:cubicBezTo>
                  <a:pt x="165" y="33"/>
                  <a:pt x="165" y="32"/>
                  <a:pt x="167" y="31"/>
                </a:cubicBezTo>
                <a:cubicBezTo>
                  <a:pt x="168" y="30"/>
                  <a:pt x="169" y="29"/>
                  <a:pt x="170" y="27"/>
                </a:cubicBezTo>
                <a:cubicBezTo>
                  <a:pt x="171" y="26"/>
                  <a:pt x="171" y="24"/>
                  <a:pt x="172" y="22"/>
                </a:cubicBezTo>
                <a:cubicBezTo>
                  <a:pt x="172" y="22"/>
                  <a:pt x="172" y="22"/>
                  <a:pt x="172" y="21"/>
                </a:cubicBezTo>
                <a:cubicBezTo>
                  <a:pt x="172" y="21"/>
                  <a:pt x="172" y="21"/>
                  <a:pt x="172" y="21"/>
                </a:cubicBezTo>
                <a:cubicBezTo>
                  <a:pt x="171" y="21"/>
                  <a:pt x="171" y="20"/>
                  <a:pt x="171" y="20"/>
                </a:cubicBezTo>
                <a:cubicBezTo>
                  <a:pt x="171" y="18"/>
                  <a:pt x="171" y="18"/>
                  <a:pt x="171" y="18"/>
                </a:cubicBezTo>
                <a:cubicBezTo>
                  <a:pt x="171" y="18"/>
                  <a:pt x="171" y="18"/>
                  <a:pt x="171" y="18"/>
                </a:cubicBezTo>
                <a:cubicBezTo>
                  <a:pt x="171" y="17"/>
                  <a:pt x="171" y="17"/>
                  <a:pt x="171" y="17"/>
                </a:cubicBezTo>
                <a:cubicBezTo>
                  <a:pt x="170" y="16"/>
                  <a:pt x="170" y="14"/>
                  <a:pt x="170" y="13"/>
                </a:cubicBezTo>
                <a:cubicBezTo>
                  <a:pt x="171" y="10"/>
                  <a:pt x="171" y="10"/>
                  <a:pt x="171" y="10"/>
                </a:cubicBezTo>
                <a:cubicBezTo>
                  <a:pt x="171" y="9"/>
                  <a:pt x="171" y="9"/>
                  <a:pt x="170" y="9"/>
                </a:cubicBezTo>
                <a:cubicBezTo>
                  <a:pt x="169" y="7"/>
                  <a:pt x="169" y="7"/>
                  <a:pt x="169" y="7"/>
                </a:cubicBezTo>
                <a:cubicBezTo>
                  <a:pt x="173" y="2"/>
                  <a:pt x="173" y="2"/>
                  <a:pt x="173" y="2"/>
                </a:cubicBezTo>
                <a:cubicBezTo>
                  <a:pt x="172" y="2"/>
                  <a:pt x="170" y="2"/>
                  <a:pt x="169" y="3"/>
                </a:cubicBezTo>
                <a:cubicBezTo>
                  <a:pt x="168" y="3"/>
                  <a:pt x="167" y="3"/>
                  <a:pt x="166" y="3"/>
                </a:cubicBezTo>
                <a:cubicBezTo>
                  <a:pt x="166" y="2"/>
                  <a:pt x="166" y="2"/>
                  <a:pt x="165" y="2"/>
                </a:cubicBezTo>
                <a:cubicBezTo>
                  <a:pt x="163" y="1"/>
                  <a:pt x="162" y="0"/>
                  <a:pt x="160" y="1"/>
                </a:cubicBezTo>
                <a:cubicBezTo>
                  <a:pt x="159" y="2"/>
                  <a:pt x="158" y="3"/>
                  <a:pt x="157" y="3"/>
                </a:cubicBezTo>
                <a:cubicBezTo>
                  <a:pt x="157" y="3"/>
                  <a:pt x="157" y="2"/>
                  <a:pt x="156" y="2"/>
                </a:cubicBezTo>
                <a:cubicBezTo>
                  <a:pt x="156" y="2"/>
                  <a:pt x="155" y="2"/>
                  <a:pt x="155" y="2"/>
                </a:cubicBezTo>
                <a:cubicBezTo>
                  <a:pt x="152" y="1"/>
                  <a:pt x="152" y="0"/>
                  <a:pt x="151" y="2"/>
                </a:cubicBezTo>
                <a:cubicBezTo>
                  <a:pt x="148" y="3"/>
                  <a:pt x="145" y="4"/>
                  <a:pt x="142" y="5"/>
                </a:cubicBezTo>
                <a:cubicBezTo>
                  <a:pt x="142" y="6"/>
                  <a:pt x="140" y="5"/>
                  <a:pt x="139" y="4"/>
                </a:cubicBezTo>
                <a:cubicBezTo>
                  <a:pt x="137" y="4"/>
                  <a:pt x="136" y="3"/>
                  <a:pt x="134" y="3"/>
                </a:cubicBezTo>
                <a:cubicBezTo>
                  <a:pt x="132" y="2"/>
                  <a:pt x="129" y="3"/>
                  <a:pt x="127" y="3"/>
                </a:cubicBezTo>
                <a:cubicBezTo>
                  <a:pt x="125" y="3"/>
                  <a:pt x="123" y="4"/>
                  <a:pt x="121" y="4"/>
                </a:cubicBezTo>
                <a:cubicBezTo>
                  <a:pt x="119" y="4"/>
                  <a:pt x="119" y="4"/>
                  <a:pt x="119" y="4"/>
                </a:cubicBezTo>
                <a:cubicBezTo>
                  <a:pt x="117" y="4"/>
                  <a:pt x="117" y="4"/>
                  <a:pt x="117" y="4"/>
                </a:cubicBezTo>
                <a:cubicBezTo>
                  <a:pt x="115" y="5"/>
                  <a:pt x="115" y="5"/>
                  <a:pt x="115" y="5"/>
                </a:cubicBezTo>
                <a:cubicBezTo>
                  <a:pt x="114" y="5"/>
                  <a:pt x="113" y="6"/>
                  <a:pt x="113" y="6"/>
                </a:cubicBezTo>
                <a:cubicBezTo>
                  <a:pt x="111" y="7"/>
                  <a:pt x="109" y="6"/>
                  <a:pt x="107" y="7"/>
                </a:cubicBezTo>
                <a:cubicBezTo>
                  <a:pt x="104" y="7"/>
                  <a:pt x="101" y="8"/>
                  <a:pt x="98" y="8"/>
                </a:cubicBezTo>
                <a:cubicBezTo>
                  <a:pt x="95" y="9"/>
                  <a:pt x="92" y="10"/>
                  <a:pt x="90" y="11"/>
                </a:cubicBezTo>
                <a:cubicBezTo>
                  <a:pt x="89" y="12"/>
                  <a:pt x="88" y="14"/>
                  <a:pt x="86" y="15"/>
                </a:cubicBezTo>
                <a:cubicBezTo>
                  <a:pt x="85" y="16"/>
                  <a:pt x="85" y="15"/>
                  <a:pt x="83" y="14"/>
                </a:cubicBezTo>
                <a:cubicBezTo>
                  <a:pt x="82" y="14"/>
                  <a:pt x="82" y="15"/>
                  <a:pt x="82" y="15"/>
                </a:cubicBezTo>
                <a:cubicBezTo>
                  <a:pt x="81" y="15"/>
                  <a:pt x="80" y="16"/>
                  <a:pt x="79" y="16"/>
                </a:cubicBezTo>
                <a:cubicBezTo>
                  <a:pt x="78" y="16"/>
                  <a:pt x="76" y="17"/>
                  <a:pt x="76" y="18"/>
                </a:cubicBezTo>
                <a:cubicBezTo>
                  <a:pt x="75" y="18"/>
                  <a:pt x="74" y="20"/>
                  <a:pt x="73" y="21"/>
                </a:cubicBezTo>
                <a:cubicBezTo>
                  <a:pt x="72" y="22"/>
                  <a:pt x="70" y="22"/>
                  <a:pt x="68" y="22"/>
                </a:cubicBezTo>
                <a:cubicBezTo>
                  <a:pt x="68" y="23"/>
                  <a:pt x="67" y="23"/>
                  <a:pt x="66" y="23"/>
                </a:cubicBezTo>
                <a:cubicBezTo>
                  <a:pt x="66" y="23"/>
                  <a:pt x="66" y="23"/>
                  <a:pt x="66" y="23"/>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94" name="Freeform 2950">
            <a:extLst>
              <a:ext uri="{FF2B5EF4-FFF2-40B4-BE49-F238E27FC236}">
                <a16:creationId xmlns:a16="http://schemas.microsoft.com/office/drawing/2014/main" id="{F0272F2A-30CB-40A7-8ED3-BEE55FA70A44}"/>
              </a:ext>
            </a:extLst>
          </p:cNvPr>
          <p:cNvSpPr>
            <a:spLocks/>
          </p:cNvSpPr>
          <p:nvPr/>
        </p:nvSpPr>
        <p:spPr bwMode="auto">
          <a:xfrm>
            <a:off x="2636298" y="374315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95" name="Freeform 2951">
            <a:extLst>
              <a:ext uri="{FF2B5EF4-FFF2-40B4-BE49-F238E27FC236}">
                <a16:creationId xmlns:a16="http://schemas.microsoft.com/office/drawing/2014/main" id="{A96EB42D-D991-483B-9210-68355CA14C76}"/>
              </a:ext>
            </a:extLst>
          </p:cNvPr>
          <p:cNvSpPr>
            <a:spLocks/>
          </p:cNvSpPr>
          <p:nvPr/>
        </p:nvSpPr>
        <p:spPr bwMode="auto">
          <a:xfrm>
            <a:off x="2670492" y="37336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96" name="Freeform 2952">
            <a:extLst>
              <a:ext uri="{FF2B5EF4-FFF2-40B4-BE49-F238E27FC236}">
                <a16:creationId xmlns:a16="http://schemas.microsoft.com/office/drawing/2014/main" id="{554C0B14-18C3-4603-91A5-F0B01A80B288}"/>
              </a:ext>
            </a:extLst>
          </p:cNvPr>
          <p:cNvSpPr>
            <a:spLocks/>
          </p:cNvSpPr>
          <p:nvPr/>
        </p:nvSpPr>
        <p:spPr bwMode="auto">
          <a:xfrm>
            <a:off x="2639767" y="415926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97" name="Freeform 2953">
            <a:extLst>
              <a:ext uri="{FF2B5EF4-FFF2-40B4-BE49-F238E27FC236}">
                <a16:creationId xmlns:a16="http://schemas.microsoft.com/office/drawing/2014/main" id="{24BB7EB7-8A8D-42AE-927F-541269CE25D7}"/>
              </a:ext>
            </a:extLst>
          </p:cNvPr>
          <p:cNvSpPr>
            <a:spLocks/>
          </p:cNvSpPr>
          <p:nvPr/>
        </p:nvSpPr>
        <p:spPr bwMode="auto">
          <a:xfrm>
            <a:off x="2456905" y="3685572"/>
            <a:ext cx="467809" cy="575787"/>
          </a:xfrm>
          <a:custGeom>
            <a:avLst/>
            <a:gdLst>
              <a:gd name="T0" fmla="*/ 310 w 399"/>
              <a:gd name="T1" fmla="*/ 77 h 410"/>
              <a:gd name="T2" fmla="*/ 298 w 399"/>
              <a:gd name="T3" fmla="*/ 75 h 410"/>
              <a:gd name="T4" fmla="*/ 288 w 399"/>
              <a:gd name="T5" fmla="*/ 65 h 410"/>
              <a:gd name="T6" fmla="*/ 274 w 399"/>
              <a:gd name="T7" fmla="*/ 61 h 410"/>
              <a:gd name="T8" fmla="*/ 247 w 399"/>
              <a:gd name="T9" fmla="*/ 71 h 410"/>
              <a:gd name="T10" fmla="*/ 248 w 399"/>
              <a:gd name="T11" fmla="*/ 68 h 410"/>
              <a:gd name="T12" fmla="*/ 257 w 399"/>
              <a:gd name="T13" fmla="*/ 64 h 410"/>
              <a:gd name="T14" fmla="*/ 260 w 399"/>
              <a:gd name="T15" fmla="*/ 55 h 410"/>
              <a:gd name="T16" fmla="*/ 236 w 399"/>
              <a:gd name="T17" fmla="*/ 58 h 410"/>
              <a:gd name="T18" fmla="*/ 236 w 399"/>
              <a:gd name="T19" fmla="*/ 63 h 410"/>
              <a:gd name="T20" fmla="*/ 236 w 399"/>
              <a:gd name="T21" fmla="*/ 70 h 410"/>
              <a:gd name="T22" fmla="*/ 244 w 399"/>
              <a:gd name="T23" fmla="*/ 40 h 410"/>
              <a:gd name="T24" fmla="*/ 232 w 399"/>
              <a:gd name="T25" fmla="*/ 12 h 410"/>
              <a:gd name="T26" fmla="*/ 219 w 399"/>
              <a:gd name="T27" fmla="*/ 26 h 410"/>
              <a:gd name="T28" fmla="*/ 201 w 399"/>
              <a:gd name="T29" fmla="*/ 31 h 410"/>
              <a:gd name="T30" fmla="*/ 183 w 399"/>
              <a:gd name="T31" fmla="*/ 29 h 410"/>
              <a:gd name="T32" fmla="*/ 175 w 399"/>
              <a:gd name="T33" fmla="*/ 34 h 410"/>
              <a:gd name="T34" fmla="*/ 152 w 399"/>
              <a:gd name="T35" fmla="*/ 41 h 410"/>
              <a:gd name="T36" fmla="*/ 140 w 399"/>
              <a:gd name="T37" fmla="*/ 1 h 410"/>
              <a:gd name="T38" fmla="*/ 134 w 399"/>
              <a:gd name="T39" fmla="*/ 7 h 410"/>
              <a:gd name="T40" fmla="*/ 114 w 399"/>
              <a:gd name="T41" fmla="*/ 14 h 410"/>
              <a:gd name="T42" fmla="*/ 99 w 399"/>
              <a:gd name="T43" fmla="*/ 16 h 410"/>
              <a:gd name="T44" fmla="*/ 104 w 399"/>
              <a:gd name="T45" fmla="*/ 32 h 410"/>
              <a:gd name="T46" fmla="*/ 88 w 399"/>
              <a:gd name="T47" fmla="*/ 44 h 410"/>
              <a:gd name="T48" fmla="*/ 69 w 399"/>
              <a:gd name="T49" fmla="*/ 41 h 410"/>
              <a:gd name="T50" fmla="*/ 46 w 399"/>
              <a:gd name="T51" fmla="*/ 40 h 410"/>
              <a:gd name="T52" fmla="*/ 44 w 399"/>
              <a:gd name="T53" fmla="*/ 75 h 410"/>
              <a:gd name="T54" fmla="*/ 34 w 399"/>
              <a:gd name="T55" fmla="*/ 96 h 410"/>
              <a:gd name="T56" fmla="*/ 11 w 399"/>
              <a:gd name="T57" fmla="*/ 106 h 410"/>
              <a:gd name="T58" fmla="*/ 2 w 399"/>
              <a:gd name="T59" fmla="*/ 124 h 410"/>
              <a:gd name="T60" fmla="*/ 18 w 399"/>
              <a:gd name="T61" fmla="*/ 152 h 410"/>
              <a:gd name="T62" fmla="*/ 35 w 399"/>
              <a:gd name="T63" fmla="*/ 151 h 410"/>
              <a:gd name="T64" fmla="*/ 48 w 399"/>
              <a:gd name="T65" fmla="*/ 165 h 410"/>
              <a:gd name="T66" fmla="*/ 62 w 399"/>
              <a:gd name="T67" fmla="*/ 160 h 410"/>
              <a:gd name="T68" fmla="*/ 84 w 399"/>
              <a:gd name="T69" fmla="*/ 152 h 410"/>
              <a:gd name="T70" fmla="*/ 87 w 399"/>
              <a:gd name="T71" fmla="*/ 159 h 410"/>
              <a:gd name="T72" fmla="*/ 99 w 399"/>
              <a:gd name="T73" fmla="*/ 180 h 410"/>
              <a:gd name="T74" fmla="*/ 111 w 399"/>
              <a:gd name="T75" fmla="*/ 183 h 410"/>
              <a:gd name="T76" fmla="*/ 125 w 399"/>
              <a:gd name="T77" fmla="*/ 190 h 410"/>
              <a:gd name="T78" fmla="*/ 140 w 399"/>
              <a:gd name="T79" fmla="*/ 206 h 410"/>
              <a:gd name="T80" fmla="*/ 142 w 399"/>
              <a:gd name="T81" fmla="*/ 219 h 410"/>
              <a:gd name="T82" fmla="*/ 166 w 399"/>
              <a:gd name="T83" fmla="*/ 236 h 410"/>
              <a:gd name="T84" fmla="*/ 162 w 399"/>
              <a:gd name="T85" fmla="*/ 256 h 410"/>
              <a:gd name="T86" fmla="*/ 159 w 399"/>
              <a:gd name="T87" fmla="*/ 258 h 410"/>
              <a:gd name="T88" fmla="*/ 120 w 399"/>
              <a:gd name="T89" fmla="*/ 266 h 410"/>
              <a:gd name="T90" fmla="*/ 121 w 399"/>
              <a:gd name="T91" fmla="*/ 287 h 410"/>
              <a:gd name="T92" fmla="*/ 137 w 399"/>
              <a:gd name="T93" fmla="*/ 300 h 410"/>
              <a:gd name="T94" fmla="*/ 164 w 399"/>
              <a:gd name="T95" fmla="*/ 337 h 410"/>
              <a:gd name="T96" fmla="*/ 184 w 399"/>
              <a:gd name="T97" fmla="*/ 338 h 410"/>
              <a:gd name="T98" fmla="*/ 201 w 399"/>
              <a:gd name="T99" fmla="*/ 318 h 410"/>
              <a:gd name="T100" fmla="*/ 203 w 399"/>
              <a:gd name="T101" fmla="*/ 339 h 410"/>
              <a:gd name="T102" fmla="*/ 186 w 399"/>
              <a:gd name="T103" fmla="*/ 352 h 410"/>
              <a:gd name="T104" fmla="*/ 184 w 399"/>
              <a:gd name="T105" fmla="*/ 378 h 410"/>
              <a:gd name="T106" fmla="*/ 204 w 399"/>
              <a:gd name="T107" fmla="*/ 390 h 410"/>
              <a:gd name="T108" fmla="*/ 216 w 399"/>
              <a:gd name="T109" fmla="*/ 403 h 410"/>
              <a:gd name="T110" fmla="*/ 238 w 399"/>
              <a:gd name="T111" fmla="*/ 371 h 410"/>
              <a:gd name="T112" fmla="*/ 247 w 399"/>
              <a:gd name="T113" fmla="*/ 360 h 410"/>
              <a:gd name="T114" fmla="*/ 256 w 399"/>
              <a:gd name="T115" fmla="*/ 326 h 410"/>
              <a:gd name="T116" fmla="*/ 264 w 399"/>
              <a:gd name="T117" fmla="*/ 313 h 410"/>
              <a:gd name="T118" fmla="*/ 298 w 399"/>
              <a:gd name="T119" fmla="*/ 292 h 410"/>
              <a:gd name="T120" fmla="*/ 331 w 399"/>
              <a:gd name="T121" fmla="*/ 283 h 410"/>
              <a:gd name="T122" fmla="*/ 356 w 399"/>
              <a:gd name="T123" fmla="*/ 197 h 410"/>
              <a:gd name="T124" fmla="*/ 372 w 399"/>
              <a:gd name="T125" fmla="*/ 167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9" h="410">
                <a:moveTo>
                  <a:pt x="398" y="129"/>
                </a:moveTo>
                <a:cubicBezTo>
                  <a:pt x="398" y="128"/>
                  <a:pt x="399" y="126"/>
                  <a:pt x="399" y="125"/>
                </a:cubicBezTo>
                <a:cubicBezTo>
                  <a:pt x="398" y="119"/>
                  <a:pt x="395" y="113"/>
                  <a:pt x="393" y="107"/>
                </a:cubicBezTo>
                <a:cubicBezTo>
                  <a:pt x="392" y="102"/>
                  <a:pt x="384" y="104"/>
                  <a:pt x="381" y="104"/>
                </a:cubicBezTo>
                <a:cubicBezTo>
                  <a:pt x="378" y="104"/>
                  <a:pt x="375" y="102"/>
                  <a:pt x="373" y="101"/>
                </a:cubicBezTo>
                <a:cubicBezTo>
                  <a:pt x="371" y="99"/>
                  <a:pt x="368" y="97"/>
                  <a:pt x="366" y="95"/>
                </a:cubicBezTo>
                <a:cubicBezTo>
                  <a:pt x="362" y="91"/>
                  <a:pt x="357" y="88"/>
                  <a:pt x="351" y="85"/>
                </a:cubicBezTo>
                <a:cubicBezTo>
                  <a:pt x="348" y="83"/>
                  <a:pt x="345" y="82"/>
                  <a:pt x="342" y="81"/>
                </a:cubicBezTo>
                <a:cubicBezTo>
                  <a:pt x="340" y="80"/>
                  <a:pt x="340" y="81"/>
                  <a:pt x="339" y="81"/>
                </a:cubicBezTo>
                <a:cubicBezTo>
                  <a:pt x="338" y="81"/>
                  <a:pt x="337" y="81"/>
                  <a:pt x="336" y="81"/>
                </a:cubicBezTo>
                <a:cubicBezTo>
                  <a:pt x="335" y="81"/>
                  <a:pt x="333" y="81"/>
                  <a:pt x="332" y="82"/>
                </a:cubicBezTo>
                <a:cubicBezTo>
                  <a:pt x="332" y="82"/>
                  <a:pt x="333" y="82"/>
                  <a:pt x="333" y="83"/>
                </a:cubicBezTo>
                <a:cubicBezTo>
                  <a:pt x="331" y="82"/>
                  <a:pt x="328" y="80"/>
                  <a:pt x="326" y="80"/>
                </a:cubicBezTo>
                <a:cubicBezTo>
                  <a:pt x="325" y="81"/>
                  <a:pt x="324" y="81"/>
                  <a:pt x="323" y="81"/>
                </a:cubicBezTo>
                <a:cubicBezTo>
                  <a:pt x="322" y="81"/>
                  <a:pt x="321" y="80"/>
                  <a:pt x="320" y="80"/>
                </a:cubicBezTo>
                <a:cubicBezTo>
                  <a:pt x="317" y="79"/>
                  <a:pt x="315" y="78"/>
                  <a:pt x="312" y="77"/>
                </a:cubicBezTo>
                <a:cubicBezTo>
                  <a:pt x="312" y="77"/>
                  <a:pt x="309" y="76"/>
                  <a:pt x="310" y="77"/>
                </a:cubicBezTo>
                <a:cubicBezTo>
                  <a:pt x="309" y="77"/>
                  <a:pt x="307" y="77"/>
                  <a:pt x="305" y="78"/>
                </a:cubicBezTo>
                <a:cubicBezTo>
                  <a:pt x="305" y="78"/>
                  <a:pt x="305" y="79"/>
                  <a:pt x="304" y="79"/>
                </a:cubicBezTo>
                <a:cubicBezTo>
                  <a:pt x="303" y="80"/>
                  <a:pt x="303" y="81"/>
                  <a:pt x="301" y="80"/>
                </a:cubicBezTo>
                <a:cubicBezTo>
                  <a:pt x="303" y="80"/>
                  <a:pt x="304" y="78"/>
                  <a:pt x="304" y="77"/>
                </a:cubicBezTo>
                <a:cubicBezTo>
                  <a:pt x="304" y="76"/>
                  <a:pt x="301" y="77"/>
                  <a:pt x="301" y="78"/>
                </a:cubicBezTo>
                <a:cubicBezTo>
                  <a:pt x="301" y="78"/>
                  <a:pt x="301" y="80"/>
                  <a:pt x="301" y="80"/>
                </a:cubicBezTo>
                <a:cubicBezTo>
                  <a:pt x="300" y="82"/>
                  <a:pt x="299" y="84"/>
                  <a:pt x="297" y="85"/>
                </a:cubicBezTo>
                <a:cubicBezTo>
                  <a:pt x="297" y="86"/>
                  <a:pt x="297" y="85"/>
                  <a:pt x="297" y="85"/>
                </a:cubicBezTo>
                <a:cubicBezTo>
                  <a:pt x="297" y="85"/>
                  <a:pt x="297" y="84"/>
                  <a:pt x="297" y="84"/>
                </a:cubicBezTo>
                <a:cubicBezTo>
                  <a:pt x="298" y="82"/>
                  <a:pt x="298" y="80"/>
                  <a:pt x="299" y="78"/>
                </a:cubicBezTo>
                <a:cubicBezTo>
                  <a:pt x="299" y="78"/>
                  <a:pt x="299" y="78"/>
                  <a:pt x="299" y="78"/>
                </a:cubicBezTo>
                <a:cubicBezTo>
                  <a:pt x="299" y="78"/>
                  <a:pt x="298" y="78"/>
                  <a:pt x="298" y="78"/>
                </a:cubicBezTo>
                <a:cubicBezTo>
                  <a:pt x="298" y="78"/>
                  <a:pt x="301" y="74"/>
                  <a:pt x="301" y="74"/>
                </a:cubicBezTo>
                <a:cubicBezTo>
                  <a:pt x="300" y="73"/>
                  <a:pt x="300" y="74"/>
                  <a:pt x="299" y="74"/>
                </a:cubicBezTo>
                <a:cubicBezTo>
                  <a:pt x="299" y="74"/>
                  <a:pt x="298" y="75"/>
                  <a:pt x="298" y="75"/>
                </a:cubicBezTo>
                <a:cubicBezTo>
                  <a:pt x="298" y="75"/>
                  <a:pt x="297" y="75"/>
                  <a:pt x="296" y="75"/>
                </a:cubicBezTo>
                <a:cubicBezTo>
                  <a:pt x="297" y="75"/>
                  <a:pt x="298" y="75"/>
                  <a:pt x="298" y="75"/>
                </a:cubicBezTo>
                <a:cubicBezTo>
                  <a:pt x="298" y="74"/>
                  <a:pt x="299" y="71"/>
                  <a:pt x="299" y="71"/>
                </a:cubicBezTo>
                <a:cubicBezTo>
                  <a:pt x="299" y="70"/>
                  <a:pt x="298" y="70"/>
                  <a:pt x="298" y="70"/>
                </a:cubicBezTo>
                <a:cubicBezTo>
                  <a:pt x="298" y="71"/>
                  <a:pt x="297" y="71"/>
                  <a:pt x="296" y="70"/>
                </a:cubicBezTo>
                <a:cubicBezTo>
                  <a:pt x="297" y="70"/>
                  <a:pt x="297" y="70"/>
                  <a:pt x="297" y="70"/>
                </a:cubicBezTo>
                <a:cubicBezTo>
                  <a:pt x="297" y="70"/>
                  <a:pt x="297" y="69"/>
                  <a:pt x="296" y="68"/>
                </a:cubicBezTo>
                <a:cubicBezTo>
                  <a:pt x="296" y="68"/>
                  <a:pt x="296" y="69"/>
                  <a:pt x="296" y="68"/>
                </a:cubicBezTo>
                <a:cubicBezTo>
                  <a:pt x="296" y="68"/>
                  <a:pt x="296" y="69"/>
                  <a:pt x="295" y="68"/>
                </a:cubicBezTo>
                <a:cubicBezTo>
                  <a:pt x="295" y="68"/>
                  <a:pt x="296" y="67"/>
                  <a:pt x="296" y="67"/>
                </a:cubicBezTo>
                <a:cubicBezTo>
                  <a:pt x="295" y="67"/>
                  <a:pt x="295" y="67"/>
                  <a:pt x="295" y="68"/>
                </a:cubicBezTo>
                <a:cubicBezTo>
                  <a:pt x="294" y="67"/>
                  <a:pt x="294" y="67"/>
                  <a:pt x="294" y="67"/>
                </a:cubicBezTo>
                <a:cubicBezTo>
                  <a:pt x="294" y="67"/>
                  <a:pt x="294" y="67"/>
                  <a:pt x="294" y="67"/>
                </a:cubicBezTo>
                <a:cubicBezTo>
                  <a:pt x="293" y="67"/>
                  <a:pt x="293" y="67"/>
                  <a:pt x="293" y="67"/>
                </a:cubicBezTo>
                <a:cubicBezTo>
                  <a:pt x="292" y="67"/>
                  <a:pt x="292" y="69"/>
                  <a:pt x="291" y="70"/>
                </a:cubicBezTo>
                <a:cubicBezTo>
                  <a:pt x="291" y="68"/>
                  <a:pt x="291" y="67"/>
                  <a:pt x="291" y="65"/>
                </a:cubicBezTo>
                <a:cubicBezTo>
                  <a:pt x="290" y="66"/>
                  <a:pt x="290" y="67"/>
                  <a:pt x="289" y="67"/>
                </a:cubicBezTo>
                <a:cubicBezTo>
                  <a:pt x="290" y="67"/>
                  <a:pt x="290" y="66"/>
                  <a:pt x="290" y="65"/>
                </a:cubicBezTo>
                <a:cubicBezTo>
                  <a:pt x="289" y="66"/>
                  <a:pt x="289" y="65"/>
                  <a:pt x="288" y="65"/>
                </a:cubicBezTo>
                <a:cubicBezTo>
                  <a:pt x="288" y="65"/>
                  <a:pt x="288" y="66"/>
                  <a:pt x="287" y="66"/>
                </a:cubicBezTo>
                <a:cubicBezTo>
                  <a:pt x="287" y="66"/>
                  <a:pt x="287" y="64"/>
                  <a:pt x="287" y="64"/>
                </a:cubicBezTo>
                <a:cubicBezTo>
                  <a:pt x="287" y="64"/>
                  <a:pt x="287" y="64"/>
                  <a:pt x="286" y="64"/>
                </a:cubicBezTo>
                <a:cubicBezTo>
                  <a:pt x="286" y="64"/>
                  <a:pt x="286" y="64"/>
                  <a:pt x="285" y="64"/>
                </a:cubicBezTo>
                <a:cubicBezTo>
                  <a:pt x="285" y="64"/>
                  <a:pt x="285" y="64"/>
                  <a:pt x="285" y="64"/>
                </a:cubicBezTo>
                <a:cubicBezTo>
                  <a:pt x="285" y="64"/>
                  <a:pt x="284" y="65"/>
                  <a:pt x="284" y="64"/>
                </a:cubicBezTo>
                <a:cubicBezTo>
                  <a:pt x="284" y="64"/>
                  <a:pt x="284" y="63"/>
                  <a:pt x="284" y="63"/>
                </a:cubicBezTo>
                <a:cubicBezTo>
                  <a:pt x="284" y="63"/>
                  <a:pt x="284" y="64"/>
                  <a:pt x="283" y="64"/>
                </a:cubicBezTo>
                <a:cubicBezTo>
                  <a:pt x="283" y="62"/>
                  <a:pt x="283" y="64"/>
                  <a:pt x="282" y="64"/>
                </a:cubicBezTo>
                <a:cubicBezTo>
                  <a:pt x="282" y="63"/>
                  <a:pt x="282" y="62"/>
                  <a:pt x="282" y="62"/>
                </a:cubicBezTo>
                <a:cubicBezTo>
                  <a:pt x="282" y="61"/>
                  <a:pt x="282" y="62"/>
                  <a:pt x="282" y="62"/>
                </a:cubicBezTo>
                <a:cubicBezTo>
                  <a:pt x="281" y="62"/>
                  <a:pt x="281" y="63"/>
                  <a:pt x="280" y="63"/>
                </a:cubicBezTo>
                <a:cubicBezTo>
                  <a:pt x="279" y="63"/>
                  <a:pt x="278" y="63"/>
                  <a:pt x="276" y="62"/>
                </a:cubicBezTo>
                <a:cubicBezTo>
                  <a:pt x="277" y="62"/>
                  <a:pt x="278" y="61"/>
                  <a:pt x="277" y="61"/>
                </a:cubicBezTo>
                <a:cubicBezTo>
                  <a:pt x="277" y="60"/>
                  <a:pt x="277" y="62"/>
                  <a:pt x="276" y="61"/>
                </a:cubicBezTo>
                <a:cubicBezTo>
                  <a:pt x="276" y="61"/>
                  <a:pt x="276" y="60"/>
                  <a:pt x="276" y="59"/>
                </a:cubicBezTo>
                <a:cubicBezTo>
                  <a:pt x="275" y="60"/>
                  <a:pt x="275" y="60"/>
                  <a:pt x="274" y="61"/>
                </a:cubicBezTo>
                <a:cubicBezTo>
                  <a:pt x="274" y="61"/>
                  <a:pt x="274" y="60"/>
                  <a:pt x="274" y="60"/>
                </a:cubicBezTo>
                <a:cubicBezTo>
                  <a:pt x="273" y="62"/>
                  <a:pt x="271" y="59"/>
                  <a:pt x="270" y="59"/>
                </a:cubicBezTo>
                <a:cubicBezTo>
                  <a:pt x="269" y="58"/>
                  <a:pt x="268" y="58"/>
                  <a:pt x="267" y="59"/>
                </a:cubicBezTo>
                <a:cubicBezTo>
                  <a:pt x="264" y="59"/>
                  <a:pt x="263" y="59"/>
                  <a:pt x="261" y="61"/>
                </a:cubicBezTo>
                <a:cubicBezTo>
                  <a:pt x="261" y="61"/>
                  <a:pt x="260" y="62"/>
                  <a:pt x="260" y="62"/>
                </a:cubicBezTo>
                <a:cubicBezTo>
                  <a:pt x="260" y="63"/>
                  <a:pt x="261" y="63"/>
                  <a:pt x="261" y="63"/>
                </a:cubicBezTo>
                <a:cubicBezTo>
                  <a:pt x="261" y="63"/>
                  <a:pt x="261" y="64"/>
                  <a:pt x="261" y="64"/>
                </a:cubicBezTo>
                <a:cubicBezTo>
                  <a:pt x="260" y="64"/>
                  <a:pt x="260" y="65"/>
                  <a:pt x="259" y="65"/>
                </a:cubicBezTo>
                <a:cubicBezTo>
                  <a:pt x="259" y="65"/>
                  <a:pt x="258" y="67"/>
                  <a:pt x="259" y="67"/>
                </a:cubicBezTo>
                <a:cubicBezTo>
                  <a:pt x="259" y="67"/>
                  <a:pt x="261" y="67"/>
                  <a:pt x="262" y="67"/>
                </a:cubicBezTo>
                <a:cubicBezTo>
                  <a:pt x="260" y="67"/>
                  <a:pt x="258" y="67"/>
                  <a:pt x="259" y="69"/>
                </a:cubicBezTo>
                <a:cubicBezTo>
                  <a:pt x="258" y="68"/>
                  <a:pt x="258" y="67"/>
                  <a:pt x="256" y="68"/>
                </a:cubicBezTo>
                <a:cubicBezTo>
                  <a:pt x="255" y="69"/>
                  <a:pt x="252" y="70"/>
                  <a:pt x="251" y="72"/>
                </a:cubicBezTo>
                <a:cubicBezTo>
                  <a:pt x="250" y="74"/>
                  <a:pt x="249" y="76"/>
                  <a:pt x="248" y="78"/>
                </a:cubicBezTo>
                <a:cubicBezTo>
                  <a:pt x="248" y="77"/>
                  <a:pt x="249" y="75"/>
                  <a:pt x="249" y="74"/>
                </a:cubicBezTo>
                <a:cubicBezTo>
                  <a:pt x="250" y="72"/>
                  <a:pt x="250" y="71"/>
                  <a:pt x="250" y="69"/>
                </a:cubicBezTo>
                <a:cubicBezTo>
                  <a:pt x="249" y="70"/>
                  <a:pt x="248" y="70"/>
                  <a:pt x="247" y="71"/>
                </a:cubicBezTo>
                <a:cubicBezTo>
                  <a:pt x="247" y="71"/>
                  <a:pt x="246" y="71"/>
                  <a:pt x="246" y="71"/>
                </a:cubicBezTo>
                <a:cubicBezTo>
                  <a:pt x="245" y="72"/>
                  <a:pt x="245" y="72"/>
                  <a:pt x="245" y="72"/>
                </a:cubicBezTo>
                <a:cubicBezTo>
                  <a:pt x="245" y="71"/>
                  <a:pt x="242" y="70"/>
                  <a:pt x="241" y="72"/>
                </a:cubicBezTo>
                <a:cubicBezTo>
                  <a:pt x="241" y="71"/>
                  <a:pt x="240" y="71"/>
                  <a:pt x="239" y="71"/>
                </a:cubicBezTo>
                <a:cubicBezTo>
                  <a:pt x="241" y="70"/>
                  <a:pt x="242" y="70"/>
                  <a:pt x="245" y="71"/>
                </a:cubicBezTo>
                <a:cubicBezTo>
                  <a:pt x="245" y="71"/>
                  <a:pt x="246" y="70"/>
                  <a:pt x="246" y="70"/>
                </a:cubicBezTo>
                <a:cubicBezTo>
                  <a:pt x="246" y="70"/>
                  <a:pt x="247" y="70"/>
                  <a:pt x="247" y="70"/>
                </a:cubicBezTo>
                <a:cubicBezTo>
                  <a:pt x="247" y="70"/>
                  <a:pt x="247" y="70"/>
                  <a:pt x="247" y="70"/>
                </a:cubicBezTo>
                <a:cubicBezTo>
                  <a:pt x="247" y="70"/>
                  <a:pt x="247" y="70"/>
                  <a:pt x="247" y="70"/>
                </a:cubicBezTo>
                <a:cubicBezTo>
                  <a:pt x="247" y="70"/>
                  <a:pt x="247" y="70"/>
                  <a:pt x="247" y="70"/>
                </a:cubicBezTo>
                <a:cubicBezTo>
                  <a:pt x="248" y="70"/>
                  <a:pt x="248" y="70"/>
                  <a:pt x="248" y="70"/>
                </a:cubicBezTo>
                <a:cubicBezTo>
                  <a:pt x="248" y="70"/>
                  <a:pt x="248" y="70"/>
                  <a:pt x="248" y="70"/>
                </a:cubicBezTo>
                <a:cubicBezTo>
                  <a:pt x="248" y="69"/>
                  <a:pt x="248" y="69"/>
                  <a:pt x="248" y="69"/>
                </a:cubicBezTo>
                <a:cubicBezTo>
                  <a:pt x="248" y="69"/>
                  <a:pt x="248" y="69"/>
                  <a:pt x="248" y="69"/>
                </a:cubicBezTo>
                <a:cubicBezTo>
                  <a:pt x="248" y="69"/>
                  <a:pt x="248" y="69"/>
                  <a:pt x="248" y="69"/>
                </a:cubicBezTo>
                <a:cubicBezTo>
                  <a:pt x="248" y="68"/>
                  <a:pt x="248" y="68"/>
                  <a:pt x="248" y="68"/>
                </a:cubicBezTo>
                <a:cubicBezTo>
                  <a:pt x="248" y="68"/>
                  <a:pt x="248" y="68"/>
                  <a:pt x="248" y="68"/>
                </a:cubicBezTo>
                <a:cubicBezTo>
                  <a:pt x="248" y="68"/>
                  <a:pt x="248" y="68"/>
                  <a:pt x="248" y="68"/>
                </a:cubicBezTo>
                <a:cubicBezTo>
                  <a:pt x="249" y="68"/>
                  <a:pt x="249" y="69"/>
                  <a:pt x="249" y="69"/>
                </a:cubicBezTo>
                <a:cubicBezTo>
                  <a:pt x="249" y="69"/>
                  <a:pt x="249" y="69"/>
                  <a:pt x="249" y="69"/>
                </a:cubicBezTo>
                <a:cubicBezTo>
                  <a:pt x="249" y="69"/>
                  <a:pt x="249" y="69"/>
                  <a:pt x="249" y="69"/>
                </a:cubicBezTo>
                <a:cubicBezTo>
                  <a:pt x="249" y="69"/>
                  <a:pt x="249" y="69"/>
                  <a:pt x="249" y="69"/>
                </a:cubicBezTo>
                <a:cubicBezTo>
                  <a:pt x="249" y="69"/>
                  <a:pt x="249" y="69"/>
                  <a:pt x="249" y="69"/>
                </a:cubicBezTo>
                <a:cubicBezTo>
                  <a:pt x="249" y="69"/>
                  <a:pt x="249" y="69"/>
                  <a:pt x="249" y="69"/>
                </a:cubicBezTo>
                <a:cubicBezTo>
                  <a:pt x="249" y="69"/>
                  <a:pt x="250" y="69"/>
                  <a:pt x="250" y="69"/>
                </a:cubicBezTo>
                <a:cubicBezTo>
                  <a:pt x="250" y="69"/>
                  <a:pt x="250" y="69"/>
                  <a:pt x="250" y="69"/>
                </a:cubicBezTo>
                <a:cubicBezTo>
                  <a:pt x="250" y="69"/>
                  <a:pt x="250" y="69"/>
                  <a:pt x="250" y="69"/>
                </a:cubicBezTo>
                <a:cubicBezTo>
                  <a:pt x="250" y="69"/>
                  <a:pt x="250" y="69"/>
                  <a:pt x="250" y="69"/>
                </a:cubicBezTo>
                <a:cubicBezTo>
                  <a:pt x="250" y="69"/>
                  <a:pt x="250" y="69"/>
                  <a:pt x="250" y="69"/>
                </a:cubicBezTo>
                <a:cubicBezTo>
                  <a:pt x="251" y="69"/>
                  <a:pt x="251" y="69"/>
                  <a:pt x="252" y="69"/>
                </a:cubicBezTo>
                <a:cubicBezTo>
                  <a:pt x="252" y="69"/>
                  <a:pt x="254" y="68"/>
                  <a:pt x="255" y="67"/>
                </a:cubicBezTo>
                <a:cubicBezTo>
                  <a:pt x="256" y="67"/>
                  <a:pt x="256" y="65"/>
                  <a:pt x="256" y="64"/>
                </a:cubicBezTo>
                <a:cubicBezTo>
                  <a:pt x="256" y="64"/>
                  <a:pt x="257" y="64"/>
                  <a:pt x="257" y="64"/>
                </a:cubicBezTo>
                <a:cubicBezTo>
                  <a:pt x="257" y="64"/>
                  <a:pt x="257" y="64"/>
                  <a:pt x="257" y="64"/>
                </a:cubicBezTo>
                <a:cubicBezTo>
                  <a:pt x="257" y="64"/>
                  <a:pt x="257" y="63"/>
                  <a:pt x="257" y="63"/>
                </a:cubicBezTo>
                <a:cubicBezTo>
                  <a:pt x="257" y="63"/>
                  <a:pt x="257" y="63"/>
                  <a:pt x="257" y="62"/>
                </a:cubicBezTo>
                <a:cubicBezTo>
                  <a:pt x="257" y="62"/>
                  <a:pt x="257" y="62"/>
                  <a:pt x="257" y="62"/>
                </a:cubicBezTo>
                <a:cubicBezTo>
                  <a:pt x="258" y="62"/>
                  <a:pt x="258" y="62"/>
                  <a:pt x="258" y="62"/>
                </a:cubicBezTo>
                <a:cubicBezTo>
                  <a:pt x="258" y="62"/>
                  <a:pt x="258" y="61"/>
                  <a:pt x="258" y="61"/>
                </a:cubicBezTo>
                <a:cubicBezTo>
                  <a:pt x="258" y="61"/>
                  <a:pt x="258" y="61"/>
                  <a:pt x="258" y="61"/>
                </a:cubicBezTo>
                <a:cubicBezTo>
                  <a:pt x="258" y="61"/>
                  <a:pt x="258" y="61"/>
                  <a:pt x="258" y="61"/>
                </a:cubicBezTo>
                <a:cubicBezTo>
                  <a:pt x="258" y="61"/>
                  <a:pt x="258" y="61"/>
                  <a:pt x="258" y="61"/>
                </a:cubicBezTo>
                <a:cubicBezTo>
                  <a:pt x="258" y="61"/>
                  <a:pt x="258" y="61"/>
                  <a:pt x="258" y="60"/>
                </a:cubicBezTo>
                <a:cubicBezTo>
                  <a:pt x="258" y="60"/>
                  <a:pt x="258" y="60"/>
                  <a:pt x="258" y="60"/>
                </a:cubicBezTo>
                <a:cubicBezTo>
                  <a:pt x="258" y="60"/>
                  <a:pt x="258" y="60"/>
                  <a:pt x="259" y="60"/>
                </a:cubicBezTo>
                <a:cubicBezTo>
                  <a:pt x="259" y="60"/>
                  <a:pt x="259" y="60"/>
                  <a:pt x="259" y="60"/>
                </a:cubicBezTo>
                <a:cubicBezTo>
                  <a:pt x="259" y="59"/>
                  <a:pt x="259" y="59"/>
                  <a:pt x="259" y="58"/>
                </a:cubicBezTo>
                <a:cubicBezTo>
                  <a:pt x="259" y="58"/>
                  <a:pt x="259" y="57"/>
                  <a:pt x="259" y="57"/>
                </a:cubicBezTo>
                <a:cubicBezTo>
                  <a:pt x="260" y="57"/>
                  <a:pt x="260" y="57"/>
                  <a:pt x="260" y="56"/>
                </a:cubicBezTo>
                <a:cubicBezTo>
                  <a:pt x="260" y="56"/>
                  <a:pt x="260" y="56"/>
                  <a:pt x="260" y="56"/>
                </a:cubicBezTo>
                <a:cubicBezTo>
                  <a:pt x="260" y="56"/>
                  <a:pt x="260" y="56"/>
                  <a:pt x="260" y="55"/>
                </a:cubicBezTo>
                <a:cubicBezTo>
                  <a:pt x="259" y="55"/>
                  <a:pt x="259" y="55"/>
                  <a:pt x="258" y="55"/>
                </a:cubicBezTo>
                <a:cubicBezTo>
                  <a:pt x="257" y="55"/>
                  <a:pt x="256" y="55"/>
                  <a:pt x="254" y="54"/>
                </a:cubicBezTo>
                <a:cubicBezTo>
                  <a:pt x="254" y="54"/>
                  <a:pt x="253" y="54"/>
                  <a:pt x="252" y="54"/>
                </a:cubicBezTo>
                <a:cubicBezTo>
                  <a:pt x="252" y="54"/>
                  <a:pt x="252" y="54"/>
                  <a:pt x="252" y="54"/>
                </a:cubicBezTo>
                <a:cubicBezTo>
                  <a:pt x="252" y="54"/>
                  <a:pt x="251" y="54"/>
                  <a:pt x="251" y="54"/>
                </a:cubicBezTo>
                <a:cubicBezTo>
                  <a:pt x="251" y="54"/>
                  <a:pt x="250" y="54"/>
                  <a:pt x="250" y="55"/>
                </a:cubicBezTo>
                <a:cubicBezTo>
                  <a:pt x="250" y="55"/>
                  <a:pt x="249" y="55"/>
                  <a:pt x="249" y="55"/>
                </a:cubicBezTo>
                <a:cubicBezTo>
                  <a:pt x="249" y="55"/>
                  <a:pt x="249" y="55"/>
                  <a:pt x="249" y="55"/>
                </a:cubicBezTo>
                <a:cubicBezTo>
                  <a:pt x="246" y="55"/>
                  <a:pt x="244" y="54"/>
                  <a:pt x="241" y="54"/>
                </a:cubicBezTo>
                <a:cubicBezTo>
                  <a:pt x="241" y="54"/>
                  <a:pt x="241" y="54"/>
                  <a:pt x="241" y="54"/>
                </a:cubicBezTo>
                <a:cubicBezTo>
                  <a:pt x="241" y="54"/>
                  <a:pt x="241" y="54"/>
                  <a:pt x="241" y="54"/>
                </a:cubicBezTo>
                <a:cubicBezTo>
                  <a:pt x="241" y="54"/>
                  <a:pt x="241" y="54"/>
                  <a:pt x="240" y="54"/>
                </a:cubicBezTo>
                <a:cubicBezTo>
                  <a:pt x="240" y="54"/>
                  <a:pt x="239" y="54"/>
                  <a:pt x="239" y="53"/>
                </a:cubicBezTo>
                <a:cubicBezTo>
                  <a:pt x="239" y="54"/>
                  <a:pt x="239" y="54"/>
                  <a:pt x="238" y="54"/>
                </a:cubicBezTo>
                <a:cubicBezTo>
                  <a:pt x="238" y="54"/>
                  <a:pt x="238" y="54"/>
                  <a:pt x="237" y="54"/>
                </a:cubicBezTo>
                <a:cubicBezTo>
                  <a:pt x="236" y="55"/>
                  <a:pt x="236" y="56"/>
                  <a:pt x="236" y="57"/>
                </a:cubicBezTo>
                <a:cubicBezTo>
                  <a:pt x="236" y="58"/>
                  <a:pt x="236" y="58"/>
                  <a:pt x="236" y="58"/>
                </a:cubicBezTo>
                <a:cubicBezTo>
                  <a:pt x="236" y="58"/>
                  <a:pt x="236" y="58"/>
                  <a:pt x="237" y="58"/>
                </a:cubicBezTo>
                <a:cubicBezTo>
                  <a:pt x="237" y="58"/>
                  <a:pt x="237" y="58"/>
                  <a:pt x="237" y="59"/>
                </a:cubicBezTo>
                <a:cubicBezTo>
                  <a:pt x="237" y="59"/>
                  <a:pt x="237" y="59"/>
                  <a:pt x="238" y="59"/>
                </a:cubicBezTo>
                <a:cubicBezTo>
                  <a:pt x="237" y="59"/>
                  <a:pt x="236" y="59"/>
                  <a:pt x="236" y="58"/>
                </a:cubicBezTo>
                <a:cubicBezTo>
                  <a:pt x="236" y="58"/>
                  <a:pt x="235" y="59"/>
                  <a:pt x="235" y="59"/>
                </a:cubicBezTo>
                <a:cubicBezTo>
                  <a:pt x="235" y="59"/>
                  <a:pt x="235" y="59"/>
                  <a:pt x="235" y="59"/>
                </a:cubicBezTo>
                <a:cubicBezTo>
                  <a:pt x="235" y="59"/>
                  <a:pt x="235" y="60"/>
                  <a:pt x="235" y="60"/>
                </a:cubicBezTo>
                <a:cubicBezTo>
                  <a:pt x="235" y="60"/>
                  <a:pt x="235" y="60"/>
                  <a:pt x="235" y="60"/>
                </a:cubicBezTo>
                <a:cubicBezTo>
                  <a:pt x="235" y="60"/>
                  <a:pt x="235" y="61"/>
                  <a:pt x="235" y="61"/>
                </a:cubicBezTo>
                <a:cubicBezTo>
                  <a:pt x="235" y="61"/>
                  <a:pt x="235" y="61"/>
                  <a:pt x="235" y="61"/>
                </a:cubicBezTo>
                <a:cubicBezTo>
                  <a:pt x="235" y="61"/>
                  <a:pt x="235" y="62"/>
                  <a:pt x="235" y="62"/>
                </a:cubicBezTo>
                <a:cubicBezTo>
                  <a:pt x="235" y="62"/>
                  <a:pt x="235" y="62"/>
                  <a:pt x="235" y="62"/>
                </a:cubicBezTo>
                <a:cubicBezTo>
                  <a:pt x="235" y="62"/>
                  <a:pt x="235" y="62"/>
                  <a:pt x="235" y="62"/>
                </a:cubicBezTo>
                <a:cubicBezTo>
                  <a:pt x="235" y="62"/>
                  <a:pt x="235" y="62"/>
                  <a:pt x="235" y="62"/>
                </a:cubicBezTo>
                <a:cubicBezTo>
                  <a:pt x="235" y="62"/>
                  <a:pt x="235" y="62"/>
                  <a:pt x="236" y="62"/>
                </a:cubicBezTo>
                <a:cubicBezTo>
                  <a:pt x="236" y="62"/>
                  <a:pt x="236" y="63"/>
                  <a:pt x="236" y="63"/>
                </a:cubicBezTo>
                <a:cubicBezTo>
                  <a:pt x="236" y="63"/>
                  <a:pt x="236" y="63"/>
                  <a:pt x="236" y="63"/>
                </a:cubicBezTo>
                <a:cubicBezTo>
                  <a:pt x="236" y="63"/>
                  <a:pt x="237" y="63"/>
                  <a:pt x="238" y="63"/>
                </a:cubicBezTo>
                <a:cubicBezTo>
                  <a:pt x="238" y="63"/>
                  <a:pt x="238" y="63"/>
                  <a:pt x="238" y="63"/>
                </a:cubicBezTo>
                <a:cubicBezTo>
                  <a:pt x="238" y="63"/>
                  <a:pt x="238" y="63"/>
                  <a:pt x="238" y="63"/>
                </a:cubicBezTo>
                <a:cubicBezTo>
                  <a:pt x="238" y="63"/>
                  <a:pt x="238" y="63"/>
                  <a:pt x="238" y="63"/>
                </a:cubicBezTo>
                <a:cubicBezTo>
                  <a:pt x="237" y="64"/>
                  <a:pt x="237" y="64"/>
                  <a:pt x="236" y="64"/>
                </a:cubicBezTo>
                <a:cubicBezTo>
                  <a:pt x="236" y="64"/>
                  <a:pt x="236" y="64"/>
                  <a:pt x="235" y="64"/>
                </a:cubicBezTo>
                <a:cubicBezTo>
                  <a:pt x="235" y="64"/>
                  <a:pt x="235" y="64"/>
                  <a:pt x="235" y="64"/>
                </a:cubicBezTo>
                <a:cubicBezTo>
                  <a:pt x="235" y="64"/>
                  <a:pt x="235" y="64"/>
                  <a:pt x="235" y="64"/>
                </a:cubicBezTo>
                <a:cubicBezTo>
                  <a:pt x="235" y="64"/>
                  <a:pt x="235" y="64"/>
                  <a:pt x="235" y="64"/>
                </a:cubicBezTo>
                <a:cubicBezTo>
                  <a:pt x="235" y="64"/>
                  <a:pt x="235" y="64"/>
                  <a:pt x="235" y="64"/>
                </a:cubicBezTo>
                <a:cubicBezTo>
                  <a:pt x="235" y="64"/>
                  <a:pt x="235" y="65"/>
                  <a:pt x="236" y="66"/>
                </a:cubicBezTo>
                <a:cubicBezTo>
                  <a:pt x="236" y="66"/>
                  <a:pt x="236" y="67"/>
                  <a:pt x="236" y="67"/>
                </a:cubicBezTo>
                <a:cubicBezTo>
                  <a:pt x="236" y="68"/>
                  <a:pt x="237" y="69"/>
                  <a:pt x="238" y="70"/>
                </a:cubicBezTo>
                <a:cubicBezTo>
                  <a:pt x="238" y="70"/>
                  <a:pt x="238" y="70"/>
                  <a:pt x="238" y="71"/>
                </a:cubicBezTo>
                <a:cubicBezTo>
                  <a:pt x="237" y="70"/>
                  <a:pt x="237" y="70"/>
                  <a:pt x="236" y="70"/>
                </a:cubicBezTo>
                <a:cubicBezTo>
                  <a:pt x="236" y="70"/>
                  <a:pt x="236" y="70"/>
                  <a:pt x="236" y="70"/>
                </a:cubicBezTo>
                <a:cubicBezTo>
                  <a:pt x="236" y="70"/>
                  <a:pt x="236" y="70"/>
                  <a:pt x="236" y="70"/>
                </a:cubicBezTo>
                <a:cubicBezTo>
                  <a:pt x="236" y="70"/>
                  <a:pt x="236" y="70"/>
                  <a:pt x="236" y="70"/>
                </a:cubicBezTo>
                <a:cubicBezTo>
                  <a:pt x="236" y="68"/>
                  <a:pt x="235" y="67"/>
                  <a:pt x="235" y="65"/>
                </a:cubicBezTo>
                <a:cubicBezTo>
                  <a:pt x="235" y="64"/>
                  <a:pt x="234" y="61"/>
                  <a:pt x="233" y="62"/>
                </a:cubicBezTo>
                <a:cubicBezTo>
                  <a:pt x="233" y="62"/>
                  <a:pt x="232" y="63"/>
                  <a:pt x="232" y="63"/>
                </a:cubicBezTo>
                <a:cubicBezTo>
                  <a:pt x="231" y="64"/>
                  <a:pt x="231" y="64"/>
                  <a:pt x="230" y="65"/>
                </a:cubicBezTo>
                <a:cubicBezTo>
                  <a:pt x="229" y="65"/>
                  <a:pt x="227" y="66"/>
                  <a:pt x="226" y="67"/>
                </a:cubicBezTo>
                <a:cubicBezTo>
                  <a:pt x="225" y="67"/>
                  <a:pt x="221" y="70"/>
                  <a:pt x="220" y="69"/>
                </a:cubicBezTo>
                <a:cubicBezTo>
                  <a:pt x="220" y="69"/>
                  <a:pt x="220" y="68"/>
                  <a:pt x="219" y="68"/>
                </a:cubicBezTo>
                <a:cubicBezTo>
                  <a:pt x="219" y="67"/>
                  <a:pt x="216" y="68"/>
                  <a:pt x="216" y="68"/>
                </a:cubicBezTo>
                <a:cubicBezTo>
                  <a:pt x="216" y="67"/>
                  <a:pt x="219" y="66"/>
                  <a:pt x="220" y="66"/>
                </a:cubicBezTo>
                <a:cubicBezTo>
                  <a:pt x="221" y="66"/>
                  <a:pt x="221" y="66"/>
                  <a:pt x="222" y="66"/>
                </a:cubicBezTo>
                <a:cubicBezTo>
                  <a:pt x="222" y="66"/>
                  <a:pt x="222" y="66"/>
                  <a:pt x="222" y="66"/>
                </a:cubicBezTo>
                <a:cubicBezTo>
                  <a:pt x="224" y="67"/>
                  <a:pt x="224" y="64"/>
                  <a:pt x="224" y="63"/>
                </a:cubicBezTo>
                <a:cubicBezTo>
                  <a:pt x="226" y="60"/>
                  <a:pt x="228" y="58"/>
                  <a:pt x="229" y="56"/>
                </a:cubicBezTo>
                <a:cubicBezTo>
                  <a:pt x="230" y="54"/>
                  <a:pt x="231" y="53"/>
                  <a:pt x="232" y="52"/>
                </a:cubicBezTo>
                <a:cubicBezTo>
                  <a:pt x="236" y="49"/>
                  <a:pt x="239" y="45"/>
                  <a:pt x="242" y="42"/>
                </a:cubicBezTo>
                <a:cubicBezTo>
                  <a:pt x="243" y="42"/>
                  <a:pt x="244" y="41"/>
                  <a:pt x="244" y="40"/>
                </a:cubicBezTo>
                <a:cubicBezTo>
                  <a:pt x="244" y="39"/>
                  <a:pt x="243" y="39"/>
                  <a:pt x="242" y="40"/>
                </a:cubicBezTo>
                <a:cubicBezTo>
                  <a:pt x="244" y="39"/>
                  <a:pt x="245" y="38"/>
                  <a:pt x="244" y="36"/>
                </a:cubicBezTo>
                <a:cubicBezTo>
                  <a:pt x="244" y="35"/>
                  <a:pt x="244" y="34"/>
                  <a:pt x="242" y="34"/>
                </a:cubicBezTo>
                <a:cubicBezTo>
                  <a:pt x="241" y="33"/>
                  <a:pt x="240" y="34"/>
                  <a:pt x="239" y="33"/>
                </a:cubicBezTo>
                <a:cubicBezTo>
                  <a:pt x="239" y="33"/>
                  <a:pt x="239" y="33"/>
                  <a:pt x="239" y="33"/>
                </a:cubicBezTo>
                <a:cubicBezTo>
                  <a:pt x="239" y="33"/>
                  <a:pt x="239" y="33"/>
                  <a:pt x="239" y="33"/>
                </a:cubicBezTo>
                <a:cubicBezTo>
                  <a:pt x="240" y="33"/>
                  <a:pt x="240" y="32"/>
                  <a:pt x="240" y="32"/>
                </a:cubicBezTo>
                <a:cubicBezTo>
                  <a:pt x="240" y="32"/>
                  <a:pt x="240" y="31"/>
                  <a:pt x="240" y="31"/>
                </a:cubicBezTo>
                <a:cubicBezTo>
                  <a:pt x="239" y="31"/>
                  <a:pt x="239" y="31"/>
                  <a:pt x="238" y="31"/>
                </a:cubicBezTo>
                <a:cubicBezTo>
                  <a:pt x="238" y="31"/>
                  <a:pt x="238" y="31"/>
                  <a:pt x="238" y="31"/>
                </a:cubicBezTo>
                <a:cubicBezTo>
                  <a:pt x="238" y="31"/>
                  <a:pt x="238" y="31"/>
                  <a:pt x="238" y="31"/>
                </a:cubicBezTo>
                <a:cubicBezTo>
                  <a:pt x="238" y="31"/>
                  <a:pt x="238" y="31"/>
                  <a:pt x="238" y="32"/>
                </a:cubicBezTo>
                <a:cubicBezTo>
                  <a:pt x="238" y="31"/>
                  <a:pt x="237" y="30"/>
                  <a:pt x="237" y="30"/>
                </a:cubicBezTo>
                <a:cubicBezTo>
                  <a:pt x="236" y="30"/>
                  <a:pt x="235" y="31"/>
                  <a:pt x="235" y="30"/>
                </a:cubicBezTo>
                <a:cubicBezTo>
                  <a:pt x="235" y="30"/>
                  <a:pt x="236" y="30"/>
                  <a:pt x="236" y="30"/>
                </a:cubicBezTo>
                <a:cubicBezTo>
                  <a:pt x="235" y="27"/>
                  <a:pt x="234" y="23"/>
                  <a:pt x="233" y="19"/>
                </a:cubicBezTo>
                <a:cubicBezTo>
                  <a:pt x="232" y="17"/>
                  <a:pt x="233" y="14"/>
                  <a:pt x="232" y="12"/>
                </a:cubicBezTo>
                <a:cubicBezTo>
                  <a:pt x="231" y="13"/>
                  <a:pt x="231" y="14"/>
                  <a:pt x="231" y="14"/>
                </a:cubicBezTo>
                <a:cubicBezTo>
                  <a:pt x="231" y="12"/>
                  <a:pt x="231" y="10"/>
                  <a:pt x="229" y="8"/>
                </a:cubicBezTo>
                <a:cubicBezTo>
                  <a:pt x="229" y="8"/>
                  <a:pt x="228" y="7"/>
                  <a:pt x="227" y="7"/>
                </a:cubicBezTo>
                <a:cubicBezTo>
                  <a:pt x="227" y="7"/>
                  <a:pt x="228" y="9"/>
                  <a:pt x="228" y="9"/>
                </a:cubicBezTo>
                <a:cubicBezTo>
                  <a:pt x="228" y="9"/>
                  <a:pt x="227" y="9"/>
                  <a:pt x="227" y="9"/>
                </a:cubicBezTo>
                <a:cubicBezTo>
                  <a:pt x="227" y="9"/>
                  <a:pt x="227" y="9"/>
                  <a:pt x="227" y="9"/>
                </a:cubicBezTo>
                <a:cubicBezTo>
                  <a:pt x="228" y="10"/>
                  <a:pt x="228" y="10"/>
                  <a:pt x="228" y="10"/>
                </a:cubicBezTo>
                <a:cubicBezTo>
                  <a:pt x="227" y="12"/>
                  <a:pt x="227" y="12"/>
                  <a:pt x="227" y="12"/>
                </a:cubicBezTo>
                <a:cubicBezTo>
                  <a:pt x="225" y="15"/>
                  <a:pt x="225" y="15"/>
                  <a:pt x="225" y="15"/>
                </a:cubicBezTo>
                <a:cubicBezTo>
                  <a:pt x="225" y="15"/>
                  <a:pt x="224" y="16"/>
                  <a:pt x="224" y="16"/>
                </a:cubicBezTo>
                <a:cubicBezTo>
                  <a:pt x="223" y="18"/>
                  <a:pt x="222" y="19"/>
                  <a:pt x="221" y="20"/>
                </a:cubicBezTo>
                <a:cubicBezTo>
                  <a:pt x="221" y="21"/>
                  <a:pt x="221" y="21"/>
                  <a:pt x="221" y="21"/>
                </a:cubicBezTo>
                <a:cubicBezTo>
                  <a:pt x="221" y="21"/>
                  <a:pt x="220" y="22"/>
                  <a:pt x="220" y="22"/>
                </a:cubicBezTo>
                <a:cubicBezTo>
                  <a:pt x="220" y="22"/>
                  <a:pt x="220" y="22"/>
                  <a:pt x="220" y="22"/>
                </a:cubicBezTo>
                <a:cubicBezTo>
                  <a:pt x="220" y="23"/>
                  <a:pt x="219" y="24"/>
                  <a:pt x="219" y="24"/>
                </a:cubicBezTo>
                <a:cubicBezTo>
                  <a:pt x="219" y="25"/>
                  <a:pt x="219" y="25"/>
                  <a:pt x="219" y="25"/>
                </a:cubicBezTo>
                <a:cubicBezTo>
                  <a:pt x="219" y="25"/>
                  <a:pt x="219" y="25"/>
                  <a:pt x="219" y="26"/>
                </a:cubicBezTo>
                <a:cubicBezTo>
                  <a:pt x="218" y="26"/>
                  <a:pt x="218" y="27"/>
                  <a:pt x="218" y="28"/>
                </a:cubicBezTo>
                <a:cubicBezTo>
                  <a:pt x="218" y="28"/>
                  <a:pt x="218" y="28"/>
                  <a:pt x="218" y="28"/>
                </a:cubicBezTo>
                <a:cubicBezTo>
                  <a:pt x="217" y="28"/>
                  <a:pt x="217" y="28"/>
                  <a:pt x="217" y="28"/>
                </a:cubicBezTo>
                <a:cubicBezTo>
                  <a:pt x="217" y="29"/>
                  <a:pt x="216" y="30"/>
                  <a:pt x="215" y="30"/>
                </a:cubicBezTo>
                <a:cubicBezTo>
                  <a:pt x="215" y="30"/>
                  <a:pt x="215" y="30"/>
                  <a:pt x="215" y="30"/>
                </a:cubicBezTo>
                <a:cubicBezTo>
                  <a:pt x="215" y="31"/>
                  <a:pt x="215" y="31"/>
                  <a:pt x="214" y="31"/>
                </a:cubicBezTo>
                <a:cubicBezTo>
                  <a:pt x="214" y="31"/>
                  <a:pt x="214" y="31"/>
                  <a:pt x="213" y="31"/>
                </a:cubicBezTo>
                <a:cubicBezTo>
                  <a:pt x="213" y="31"/>
                  <a:pt x="213" y="31"/>
                  <a:pt x="212" y="31"/>
                </a:cubicBezTo>
                <a:cubicBezTo>
                  <a:pt x="210" y="31"/>
                  <a:pt x="210" y="31"/>
                  <a:pt x="210" y="31"/>
                </a:cubicBezTo>
                <a:cubicBezTo>
                  <a:pt x="209" y="31"/>
                  <a:pt x="209" y="31"/>
                  <a:pt x="209" y="30"/>
                </a:cubicBezTo>
                <a:cubicBezTo>
                  <a:pt x="208" y="30"/>
                  <a:pt x="208" y="30"/>
                  <a:pt x="208" y="30"/>
                </a:cubicBezTo>
                <a:cubicBezTo>
                  <a:pt x="208" y="30"/>
                  <a:pt x="207" y="30"/>
                  <a:pt x="207" y="30"/>
                </a:cubicBezTo>
                <a:cubicBezTo>
                  <a:pt x="205" y="30"/>
                  <a:pt x="204" y="31"/>
                  <a:pt x="203" y="31"/>
                </a:cubicBezTo>
                <a:cubicBezTo>
                  <a:pt x="203" y="31"/>
                  <a:pt x="203" y="31"/>
                  <a:pt x="203" y="31"/>
                </a:cubicBezTo>
                <a:cubicBezTo>
                  <a:pt x="202" y="32"/>
                  <a:pt x="202" y="32"/>
                  <a:pt x="202" y="32"/>
                </a:cubicBezTo>
                <a:cubicBezTo>
                  <a:pt x="201" y="32"/>
                  <a:pt x="201" y="32"/>
                  <a:pt x="201" y="32"/>
                </a:cubicBezTo>
                <a:cubicBezTo>
                  <a:pt x="201" y="31"/>
                  <a:pt x="201" y="31"/>
                  <a:pt x="201" y="31"/>
                </a:cubicBezTo>
                <a:cubicBezTo>
                  <a:pt x="201" y="32"/>
                  <a:pt x="201" y="32"/>
                  <a:pt x="201" y="32"/>
                </a:cubicBezTo>
                <a:cubicBezTo>
                  <a:pt x="201" y="32"/>
                  <a:pt x="200" y="32"/>
                  <a:pt x="200" y="32"/>
                </a:cubicBezTo>
                <a:cubicBezTo>
                  <a:pt x="200" y="32"/>
                  <a:pt x="200" y="32"/>
                  <a:pt x="200" y="32"/>
                </a:cubicBezTo>
                <a:cubicBezTo>
                  <a:pt x="199" y="31"/>
                  <a:pt x="199" y="31"/>
                  <a:pt x="199" y="31"/>
                </a:cubicBezTo>
                <a:cubicBezTo>
                  <a:pt x="198" y="31"/>
                  <a:pt x="198" y="31"/>
                  <a:pt x="197" y="30"/>
                </a:cubicBezTo>
                <a:cubicBezTo>
                  <a:pt x="195" y="29"/>
                  <a:pt x="195" y="29"/>
                  <a:pt x="195" y="29"/>
                </a:cubicBezTo>
                <a:cubicBezTo>
                  <a:pt x="194" y="29"/>
                  <a:pt x="194" y="29"/>
                  <a:pt x="194" y="29"/>
                </a:cubicBezTo>
                <a:cubicBezTo>
                  <a:pt x="194" y="29"/>
                  <a:pt x="194" y="29"/>
                  <a:pt x="194" y="29"/>
                </a:cubicBezTo>
                <a:cubicBezTo>
                  <a:pt x="194" y="28"/>
                  <a:pt x="194" y="28"/>
                  <a:pt x="194" y="28"/>
                </a:cubicBezTo>
                <a:cubicBezTo>
                  <a:pt x="192" y="27"/>
                  <a:pt x="192" y="27"/>
                  <a:pt x="192" y="27"/>
                </a:cubicBezTo>
                <a:cubicBezTo>
                  <a:pt x="191" y="27"/>
                  <a:pt x="191" y="28"/>
                  <a:pt x="191" y="28"/>
                </a:cubicBezTo>
                <a:cubicBezTo>
                  <a:pt x="190" y="28"/>
                  <a:pt x="189" y="29"/>
                  <a:pt x="187" y="29"/>
                </a:cubicBezTo>
                <a:cubicBezTo>
                  <a:pt x="187" y="29"/>
                  <a:pt x="187" y="29"/>
                  <a:pt x="187" y="29"/>
                </a:cubicBezTo>
                <a:cubicBezTo>
                  <a:pt x="187" y="29"/>
                  <a:pt x="186" y="29"/>
                  <a:pt x="186" y="29"/>
                </a:cubicBezTo>
                <a:cubicBezTo>
                  <a:pt x="185" y="29"/>
                  <a:pt x="184" y="29"/>
                  <a:pt x="183" y="28"/>
                </a:cubicBezTo>
                <a:cubicBezTo>
                  <a:pt x="183" y="29"/>
                  <a:pt x="183" y="29"/>
                  <a:pt x="183" y="29"/>
                </a:cubicBezTo>
                <a:cubicBezTo>
                  <a:pt x="183" y="29"/>
                  <a:pt x="183" y="29"/>
                  <a:pt x="183" y="29"/>
                </a:cubicBezTo>
                <a:cubicBezTo>
                  <a:pt x="183" y="30"/>
                  <a:pt x="183" y="30"/>
                  <a:pt x="184" y="31"/>
                </a:cubicBezTo>
                <a:cubicBezTo>
                  <a:pt x="184" y="31"/>
                  <a:pt x="184" y="32"/>
                  <a:pt x="184" y="32"/>
                </a:cubicBezTo>
                <a:cubicBezTo>
                  <a:pt x="184" y="33"/>
                  <a:pt x="184" y="34"/>
                  <a:pt x="183" y="34"/>
                </a:cubicBezTo>
                <a:cubicBezTo>
                  <a:pt x="183" y="34"/>
                  <a:pt x="183" y="34"/>
                  <a:pt x="183" y="34"/>
                </a:cubicBezTo>
                <a:cubicBezTo>
                  <a:pt x="183" y="34"/>
                  <a:pt x="183" y="34"/>
                  <a:pt x="182" y="34"/>
                </a:cubicBezTo>
                <a:cubicBezTo>
                  <a:pt x="182" y="34"/>
                  <a:pt x="182" y="34"/>
                  <a:pt x="182" y="34"/>
                </a:cubicBezTo>
                <a:cubicBezTo>
                  <a:pt x="182" y="35"/>
                  <a:pt x="182" y="35"/>
                  <a:pt x="182" y="35"/>
                </a:cubicBezTo>
                <a:cubicBezTo>
                  <a:pt x="182" y="34"/>
                  <a:pt x="182" y="34"/>
                  <a:pt x="182" y="34"/>
                </a:cubicBezTo>
                <a:cubicBezTo>
                  <a:pt x="182" y="34"/>
                  <a:pt x="182" y="34"/>
                  <a:pt x="182" y="34"/>
                </a:cubicBezTo>
                <a:cubicBezTo>
                  <a:pt x="182" y="34"/>
                  <a:pt x="181" y="34"/>
                  <a:pt x="181" y="34"/>
                </a:cubicBezTo>
                <a:cubicBezTo>
                  <a:pt x="180" y="34"/>
                  <a:pt x="180" y="34"/>
                  <a:pt x="180" y="34"/>
                </a:cubicBezTo>
                <a:cubicBezTo>
                  <a:pt x="179" y="34"/>
                  <a:pt x="177" y="34"/>
                  <a:pt x="176" y="34"/>
                </a:cubicBezTo>
                <a:cubicBezTo>
                  <a:pt x="176" y="34"/>
                  <a:pt x="176" y="34"/>
                  <a:pt x="176" y="34"/>
                </a:cubicBezTo>
                <a:cubicBezTo>
                  <a:pt x="176" y="34"/>
                  <a:pt x="176" y="34"/>
                  <a:pt x="176" y="34"/>
                </a:cubicBezTo>
                <a:cubicBezTo>
                  <a:pt x="176" y="34"/>
                  <a:pt x="176" y="34"/>
                  <a:pt x="176" y="34"/>
                </a:cubicBezTo>
                <a:cubicBezTo>
                  <a:pt x="176" y="34"/>
                  <a:pt x="176" y="34"/>
                  <a:pt x="176" y="34"/>
                </a:cubicBezTo>
                <a:cubicBezTo>
                  <a:pt x="175" y="34"/>
                  <a:pt x="175" y="34"/>
                  <a:pt x="175" y="34"/>
                </a:cubicBezTo>
                <a:cubicBezTo>
                  <a:pt x="175" y="34"/>
                  <a:pt x="175" y="34"/>
                  <a:pt x="174" y="34"/>
                </a:cubicBezTo>
                <a:cubicBezTo>
                  <a:pt x="174" y="34"/>
                  <a:pt x="174" y="34"/>
                  <a:pt x="174" y="34"/>
                </a:cubicBezTo>
                <a:cubicBezTo>
                  <a:pt x="174" y="34"/>
                  <a:pt x="174" y="34"/>
                  <a:pt x="174" y="34"/>
                </a:cubicBezTo>
                <a:cubicBezTo>
                  <a:pt x="173" y="34"/>
                  <a:pt x="173" y="34"/>
                  <a:pt x="173" y="34"/>
                </a:cubicBezTo>
                <a:cubicBezTo>
                  <a:pt x="173" y="34"/>
                  <a:pt x="173" y="34"/>
                  <a:pt x="173" y="34"/>
                </a:cubicBezTo>
                <a:cubicBezTo>
                  <a:pt x="172" y="34"/>
                  <a:pt x="172" y="34"/>
                  <a:pt x="172" y="34"/>
                </a:cubicBezTo>
                <a:cubicBezTo>
                  <a:pt x="172" y="34"/>
                  <a:pt x="171" y="34"/>
                  <a:pt x="171" y="34"/>
                </a:cubicBezTo>
                <a:cubicBezTo>
                  <a:pt x="170" y="33"/>
                  <a:pt x="170" y="33"/>
                  <a:pt x="170" y="33"/>
                </a:cubicBezTo>
                <a:cubicBezTo>
                  <a:pt x="169" y="33"/>
                  <a:pt x="169" y="34"/>
                  <a:pt x="169" y="34"/>
                </a:cubicBezTo>
                <a:cubicBezTo>
                  <a:pt x="167" y="36"/>
                  <a:pt x="165" y="36"/>
                  <a:pt x="165" y="37"/>
                </a:cubicBezTo>
                <a:cubicBezTo>
                  <a:pt x="165" y="37"/>
                  <a:pt x="165" y="37"/>
                  <a:pt x="165" y="37"/>
                </a:cubicBezTo>
                <a:cubicBezTo>
                  <a:pt x="164" y="37"/>
                  <a:pt x="162" y="37"/>
                  <a:pt x="158" y="38"/>
                </a:cubicBezTo>
                <a:cubicBezTo>
                  <a:pt x="158" y="39"/>
                  <a:pt x="158" y="39"/>
                  <a:pt x="158" y="39"/>
                </a:cubicBezTo>
                <a:cubicBezTo>
                  <a:pt x="157" y="40"/>
                  <a:pt x="157" y="41"/>
                  <a:pt x="155" y="41"/>
                </a:cubicBezTo>
                <a:cubicBezTo>
                  <a:pt x="154" y="41"/>
                  <a:pt x="153" y="41"/>
                  <a:pt x="153" y="41"/>
                </a:cubicBezTo>
                <a:cubicBezTo>
                  <a:pt x="153" y="41"/>
                  <a:pt x="152" y="41"/>
                  <a:pt x="152" y="41"/>
                </a:cubicBezTo>
                <a:cubicBezTo>
                  <a:pt x="152" y="41"/>
                  <a:pt x="152" y="41"/>
                  <a:pt x="152" y="41"/>
                </a:cubicBezTo>
                <a:cubicBezTo>
                  <a:pt x="152" y="41"/>
                  <a:pt x="152" y="41"/>
                  <a:pt x="152" y="41"/>
                </a:cubicBezTo>
                <a:cubicBezTo>
                  <a:pt x="152" y="41"/>
                  <a:pt x="151" y="40"/>
                  <a:pt x="151" y="40"/>
                </a:cubicBezTo>
                <a:cubicBezTo>
                  <a:pt x="151" y="40"/>
                  <a:pt x="151" y="40"/>
                  <a:pt x="150" y="40"/>
                </a:cubicBezTo>
                <a:cubicBezTo>
                  <a:pt x="148" y="40"/>
                  <a:pt x="147" y="38"/>
                  <a:pt x="146" y="38"/>
                </a:cubicBezTo>
                <a:cubicBezTo>
                  <a:pt x="146" y="37"/>
                  <a:pt x="146" y="37"/>
                  <a:pt x="146" y="37"/>
                </a:cubicBezTo>
                <a:cubicBezTo>
                  <a:pt x="145" y="37"/>
                  <a:pt x="143" y="35"/>
                  <a:pt x="143" y="33"/>
                </a:cubicBezTo>
                <a:cubicBezTo>
                  <a:pt x="143" y="30"/>
                  <a:pt x="142" y="29"/>
                  <a:pt x="142" y="29"/>
                </a:cubicBezTo>
                <a:cubicBezTo>
                  <a:pt x="141" y="29"/>
                  <a:pt x="141" y="29"/>
                  <a:pt x="141" y="29"/>
                </a:cubicBezTo>
                <a:cubicBezTo>
                  <a:pt x="141" y="29"/>
                  <a:pt x="141" y="28"/>
                  <a:pt x="141" y="27"/>
                </a:cubicBezTo>
                <a:cubicBezTo>
                  <a:pt x="140" y="25"/>
                  <a:pt x="140" y="23"/>
                  <a:pt x="141" y="19"/>
                </a:cubicBezTo>
                <a:cubicBezTo>
                  <a:pt x="141" y="19"/>
                  <a:pt x="143" y="14"/>
                  <a:pt x="144" y="13"/>
                </a:cubicBezTo>
                <a:cubicBezTo>
                  <a:pt x="144" y="13"/>
                  <a:pt x="144" y="13"/>
                  <a:pt x="144" y="13"/>
                </a:cubicBezTo>
                <a:cubicBezTo>
                  <a:pt x="143" y="11"/>
                  <a:pt x="142" y="9"/>
                  <a:pt x="143" y="8"/>
                </a:cubicBezTo>
                <a:cubicBezTo>
                  <a:pt x="142" y="8"/>
                  <a:pt x="141" y="8"/>
                  <a:pt x="140" y="8"/>
                </a:cubicBezTo>
                <a:cubicBezTo>
                  <a:pt x="138" y="7"/>
                  <a:pt x="138" y="7"/>
                  <a:pt x="138" y="7"/>
                </a:cubicBezTo>
                <a:cubicBezTo>
                  <a:pt x="139" y="6"/>
                  <a:pt x="139" y="6"/>
                  <a:pt x="139" y="6"/>
                </a:cubicBezTo>
                <a:cubicBezTo>
                  <a:pt x="140" y="3"/>
                  <a:pt x="140" y="1"/>
                  <a:pt x="140" y="1"/>
                </a:cubicBezTo>
                <a:cubicBezTo>
                  <a:pt x="139" y="0"/>
                  <a:pt x="139" y="0"/>
                  <a:pt x="139" y="0"/>
                </a:cubicBezTo>
                <a:cubicBezTo>
                  <a:pt x="139" y="0"/>
                  <a:pt x="139" y="0"/>
                  <a:pt x="139" y="0"/>
                </a:cubicBezTo>
                <a:cubicBezTo>
                  <a:pt x="139" y="0"/>
                  <a:pt x="138" y="0"/>
                  <a:pt x="138" y="0"/>
                </a:cubicBezTo>
                <a:cubicBezTo>
                  <a:pt x="138" y="0"/>
                  <a:pt x="138" y="0"/>
                  <a:pt x="138" y="0"/>
                </a:cubicBezTo>
                <a:cubicBezTo>
                  <a:pt x="137" y="0"/>
                  <a:pt x="137" y="0"/>
                  <a:pt x="137" y="0"/>
                </a:cubicBezTo>
                <a:cubicBezTo>
                  <a:pt x="136" y="0"/>
                  <a:pt x="136" y="0"/>
                  <a:pt x="136" y="0"/>
                </a:cubicBezTo>
                <a:cubicBezTo>
                  <a:pt x="136" y="0"/>
                  <a:pt x="136" y="1"/>
                  <a:pt x="136" y="1"/>
                </a:cubicBezTo>
                <a:cubicBezTo>
                  <a:pt x="136" y="1"/>
                  <a:pt x="136" y="1"/>
                  <a:pt x="136" y="2"/>
                </a:cubicBezTo>
                <a:cubicBezTo>
                  <a:pt x="136" y="2"/>
                  <a:pt x="136" y="2"/>
                  <a:pt x="136" y="2"/>
                </a:cubicBezTo>
                <a:cubicBezTo>
                  <a:pt x="136" y="2"/>
                  <a:pt x="136" y="2"/>
                  <a:pt x="136" y="3"/>
                </a:cubicBezTo>
                <a:cubicBezTo>
                  <a:pt x="138" y="4"/>
                  <a:pt x="138" y="4"/>
                  <a:pt x="138" y="4"/>
                </a:cubicBezTo>
                <a:cubicBezTo>
                  <a:pt x="135" y="3"/>
                  <a:pt x="135" y="3"/>
                  <a:pt x="135" y="3"/>
                </a:cubicBezTo>
                <a:cubicBezTo>
                  <a:pt x="135" y="4"/>
                  <a:pt x="135" y="4"/>
                  <a:pt x="135" y="4"/>
                </a:cubicBezTo>
                <a:cubicBezTo>
                  <a:pt x="135" y="4"/>
                  <a:pt x="135" y="4"/>
                  <a:pt x="135" y="4"/>
                </a:cubicBezTo>
                <a:cubicBezTo>
                  <a:pt x="135" y="4"/>
                  <a:pt x="135" y="4"/>
                  <a:pt x="135" y="4"/>
                </a:cubicBezTo>
                <a:cubicBezTo>
                  <a:pt x="134" y="4"/>
                  <a:pt x="133" y="5"/>
                  <a:pt x="133" y="6"/>
                </a:cubicBezTo>
                <a:cubicBezTo>
                  <a:pt x="134" y="7"/>
                  <a:pt x="134" y="7"/>
                  <a:pt x="134" y="7"/>
                </a:cubicBezTo>
                <a:cubicBezTo>
                  <a:pt x="132" y="6"/>
                  <a:pt x="132" y="6"/>
                  <a:pt x="132" y="6"/>
                </a:cubicBezTo>
                <a:cubicBezTo>
                  <a:pt x="132" y="6"/>
                  <a:pt x="132" y="6"/>
                  <a:pt x="132" y="6"/>
                </a:cubicBezTo>
                <a:cubicBezTo>
                  <a:pt x="132" y="6"/>
                  <a:pt x="131" y="7"/>
                  <a:pt x="131" y="7"/>
                </a:cubicBezTo>
                <a:cubicBezTo>
                  <a:pt x="130" y="7"/>
                  <a:pt x="130" y="7"/>
                  <a:pt x="130" y="7"/>
                </a:cubicBezTo>
                <a:cubicBezTo>
                  <a:pt x="130" y="7"/>
                  <a:pt x="129" y="7"/>
                  <a:pt x="129" y="7"/>
                </a:cubicBezTo>
                <a:cubicBezTo>
                  <a:pt x="129" y="7"/>
                  <a:pt x="129" y="7"/>
                  <a:pt x="129" y="7"/>
                </a:cubicBezTo>
                <a:cubicBezTo>
                  <a:pt x="129" y="7"/>
                  <a:pt x="128" y="8"/>
                  <a:pt x="128" y="8"/>
                </a:cubicBezTo>
                <a:cubicBezTo>
                  <a:pt x="128" y="8"/>
                  <a:pt x="127" y="8"/>
                  <a:pt x="127" y="8"/>
                </a:cubicBezTo>
                <a:cubicBezTo>
                  <a:pt x="126" y="9"/>
                  <a:pt x="126" y="10"/>
                  <a:pt x="124" y="10"/>
                </a:cubicBezTo>
                <a:cubicBezTo>
                  <a:pt x="123" y="10"/>
                  <a:pt x="123" y="10"/>
                  <a:pt x="123" y="10"/>
                </a:cubicBezTo>
                <a:cubicBezTo>
                  <a:pt x="120" y="10"/>
                  <a:pt x="118" y="11"/>
                  <a:pt x="115" y="11"/>
                </a:cubicBezTo>
                <a:cubicBezTo>
                  <a:pt x="115" y="12"/>
                  <a:pt x="115" y="12"/>
                  <a:pt x="115" y="12"/>
                </a:cubicBezTo>
                <a:cubicBezTo>
                  <a:pt x="114" y="12"/>
                  <a:pt x="114" y="12"/>
                  <a:pt x="114" y="12"/>
                </a:cubicBezTo>
                <a:cubicBezTo>
                  <a:pt x="114" y="12"/>
                  <a:pt x="114" y="12"/>
                  <a:pt x="114" y="12"/>
                </a:cubicBezTo>
                <a:cubicBezTo>
                  <a:pt x="114" y="12"/>
                  <a:pt x="114" y="12"/>
                  <a:pt x="114" y="12"/>
                </a:cubicBezTo>
                <a:cubicBezTo>
                  <a:pt x="114" y="12"/>
                  <a:pt x="114" y="12"/>
                  <a:pt x="114" y="12"/>
                </a:cubicBezTo>
                <a:cubicBezTo>
                  <a:pt x="114" y="13"/>
                  <a:pt x="114" y="13"/>
                  <a:pt x="114" y="14"/>
                </a:cubicBezTo>
                <a:cubicBezTo>
                  <a:pt x="114" y="14"/>
                  <a:pt x="114" y="14"/>
                  <a:pt x="114" y="14"/>
                </a:cubicBezTo>
                <a:cubicBezTo>
                  <a:pt x="113" y="16"/>
                  <a:pt x="112" y="17"/>
                  <a:pt x="111" y="17"/>
                </a:cubicBezTo>
                <a:cubicBezTo>
                  <a:pt x="110" y="17"/>
                  <a:pt x="109" y="16"/>
                  <a:pt x="108" y="14"/>
                </a:cubicBezTo>
                <a:cubicBezTo>
                  <a:pt x="108" y="14"/>
                  <a:pt x="107" y="14"/>
                  <a:pt x="107" y="13"/>
                </a:cubicBezTo>
                <a:cubicBezTo>
                  <a:pt x="107" y="13"/>
                  <a:pt x="107" y="13"/>
                  <a:pt x="107" y="13"/>
                </a:cubicBezTo>
                <a:cubicBezTo>
                  <a:pt x="106" y="15"/>
                  <a:pt x="106" y="15"/>
                  <a:pt x="106" y="15"/>
                </a:cubicBezTo>
                <a:cubicBezTo>
                  <a:pt x="105" y="14"/>
                  <a:pt x="105" y="14"/>
                  <a:pt x="105" y="14"/>
                </a:cubicBezTo>
                <a:cubicBezTo>
                  <a:pt x="104" y="13"/>
                  <a:pt x="103" y="13"/>
                  <a:pt x="102" y="13"/>
                </a:cubicBezTo>
                <a:cubicBezTo>
                  <a:pt x="102" y="13"/>
                  <a:pt x="101" y="13"/>
                  <a:pt x="101" y="13"/>
                </a:cubicBezTo>
                <a:cubicBezTo>
                  <a:pt x="100" y="13"/>
                  <a:pt x="100" y="13"/>
                  <a:pt x="99" y="13"/>
                </a:cubicBezTo>
                <a:cubicBezTo>
                  <a:pt x="99" y="13"/>
                  <a:pt x="99" y="13"/>
                  <a:pt x="99" y="13"/>
                </a:cubicBezTo>
                <a:cubicBezTo>
                  <a:pt x="98" y="13"/>
                  <a:pt x="98" y="12"/>
                  <a:pt x="97" y="12"/>
                </a:cubicBezTo>
                <a:cubicBezTo>
                  <a:pt x="96" y="11"/>
                  <a:pt x="96" y="11"/>
                  <a:pt x="95" y="11"/>
                </a:cubicBezTo>
                <a:cubicBezTo>
                  <a:pt x="95" y="11"/>
                  <a:pt x="96" y="12"/>
                  <a:pt x="96" y="12"/>
                </a:cubicBezTo>
                <a:cubicBezTo>
                  <a:pt x="96" y="12"/>
                  <a:pt x="97" y="12"/>
                  <a:pt x="97" y="13"/>
                </a:cubicBezTo>
                <a:cubicBezTo>
                  <a:pt x="98" y="13"/>
                  <a:pt x="98" y="14"/>
                  <a:pt x="99" y="14"/>
                </a:cubicBezTo>
                <a:cubicBezTo>
                  <a:pt x="99" y="15"/>
                  <a:pt x="99" y="15"/>
                  <a:pt x="99" y="16"/>
                </a:cubicBezTo>
                <a:cubicBezTo>
                  <a:pt x="100" y="16"/>
                  <a:pt x="99" y="16"/>
                  <a:pt x="99" y="17"/>
                </a:cubicBezTo>
                <a:cubicBezTo>
                  <a:pt x="99" y="17"/>
                  <a:pt x="99" y="17"/>
                  <a:pt x="99" y="17"/>
                </a:cubicBezTo>
                <a:cubicBezTo>
                  <a:pt x="99" y="18"/>
                  <a:pt x="100" y="19"/>
                  <a:pt x="100" y="20"/>
                </a:cubicBezTo>
                <a:cubicBezTo>
                  <a:pt x="101" y="21"/>
                  <a:pt x="101" y="22"/>
                  <a:pt x="101" y="23"/>
                </a:cubicBezTo>
                <a:cubicBezTo>
                  <a:pt x="101" y="24"/>
                  <a:pt x="101" y="25"/>
                  <a:pt x="101" y="25"/>
                </a:cubicBezTo>
                <a:cubicBezTo>
                  <a:pt x="101" y="26"/>
                  <a:pt x="101" y="26"/>
                  <a:pt x="101" y="26"/>
                </a:cubicBezTo>
                <a:cubicBezTo>
                  <a:pt x="101" y="26"/>
                  <a:pt x="101" y="26"/>
                  <a:pt x="101" y="26"/>
                </a:cubicBezTo>
                <a:cubicBezTo>
                  <a:pt x="102" y="26"/>
                  <a:pt x="103" y="26"/>
                  <a:pt x="106" y="26"/>
                </a:cubicBezTo>
                <a:cubicBezTo>
                  <a:pt x="106" y="26"/>
                  <a:pt x="106" y="26"/>
                  <a:pt x="106" y="26"/>
                </a:cubicBezTo>
                <a:cubicBezTo>
                  <a:pt x="107" y="26"/>
                  <a:pt x="107" y="26"/>
                  <a:pt x="107" y="26"/>
                </a:cubicBezTo>
                <a:cubicBezTo>
                  <a:pt x="108" y="27"/>
                  <a:pt x="108" y="27"/>
                  <a:pt x="108" y="27"/>
                </a:cubicBezTo>
                <a:cubicBezTo>
                  <a:pt x="108" y="28"/>
                  <a:pt x="108" y="28"/>
                  <a:pt x="108" y="28"/>
                </a:cubicBezTo>
                <a:cubicBezTo>
                  <a:pt x="108" y="28"/>
                  <a:pt x="108" y="28"/>
                  <a:pt x="108" y="28"/>
                </a:cubicBezTo>
                <a:cubicBezTo>
                  <a:pt x="107" y="30"/>
                  <a:pt x="107" y="30"/>
                  <a:pt x="106" y="31"/>
                </a:cubicBezTo>
                <a:cubicBezTo>
                  <a:pt x="107" y="33"/>
                  <a:pt x="107" y="33"/>
                  <a:pt x="107" y="33"/>
                </a:cubicBezTo>
                <a:cubicBezTo>
                  <a:pt x="105" y="31"/>
                  <a:pt x="105" y="31"/>
                  <a:pt x="105" y="31"/>
                </a:cubicBezTo>
                <a:cubicBezTo>
                  <a:pt x="104" y="32"/>
                  <a:pt x="104" y="32"/>
                  <a:pt x="104" y="32"/>
                </a:cubicBezTo>
                <a:cubicBezTo>
                  <a:pt x="103" y="32"/>
                  <a:pt x="102" y="33"/>
                  <a:pt x="101" y="33"/>
                </a:cubicBezTo>
                <a:cubicBezTo>
                  <a:pt x="101" y="33"/>
                  <a:pt x="101" y="34"/>
                  <a:pt x="101" y="34"/>
                </a:cubicBezTo>
                <a:cubicBezTo>
                  <a:pt x="101" y="34"/>
                  <a:pt x="101" y="34"/>
                  <a:pt x="101" y="34"/>
                </a:cubicBezTo>
                <a:cubicBezTo>
                  <a:pt x="100" y="35"/>
                  <a:pt x="99" y="38"/>
                  <a:pt x="98" y="39"/>
                </a:cubicBezTo>
                <a:cubicBezTo>
                  <a:pt x="98" y="39"/>
                  <a:pt x="98" y="39"/>
                  <a:pt x="98" y="39"/>
                </a:cubicBezTo>
                <a:cubicBezTo>
                  <a:pt x="98" y="39"/>
                  <a:pt x="97" y="39"/>
                  <a:pt x="97" y="39"/>
                </a:cubicBezTo>
                <a:cubicBezTo>
                  <a:pt x="97" y="39"/>
                  <a:pt x="97" y="39"/>
                  <a:pt x="97" y="39"/>
                </a:cubicBezTo>
                <a:cubicBezTo>
                  <a:pt x="97" y="39"/>
                  <a:pt x="97" y="39"/>
                  <a:pt x="97" y="39"/>
                </a:cubicBezTo>
                <a:cubicBezTo>
                  <a:pt x="96" y="39"/>
                  <a:pt x="96" y="39"/>
                  <a:pt x="96" y="39"/>
                </a:cubicBezTo>
                <a:cubicBezTo>
                  <a:pt x="96" y="39"/>
                  <a:pt x="96" y="39"/>
                  <a:pt x="95" y="39"/>
                </a:cubicBezTo>
                <a:cubicBezTo>
                  <a:pt x="95" y="39"/>
                  <a:pt x="95" y="39"/>
                  <a:pt x="95" y="39"/>
                </a:cubicBezTo>
                <a:cubicBezTo>
                  <a:pt x="94" y="40"/>
                  <a:pt x="93" y="40"/>
                  <a:pt x="92" y="41"/>
                </a:cubicBezTo>
                <a:cubicBezTo>
                  <a:pt x="92" y="41"/>
                  <a:pt x="92" y="41"/>
                  <a:pt x="92" y="41"/>
                </a:cubicBezTo>
                <a:cubicBezTo>
                  <a:pt x="90" y="41"/>
                  <a:pt x="90" y="41"/>
                  <a:pt x="89" y="42"/>
                </a:cubicBezTo>
                <a:cubicBezTo>
                  <a:pt x="89" y="43"/>
                  <a:pt x="88" y="43"/>
                  <a:pt x="88" y="44"/>
                </a:cubicBezTo>
                <a:cubicBezTo>
                  <a:pt x="88" y="44"/>
                  <a:pt x="88" y="44"/>
                  <a:pt x="88" y="44"/>
                </a:cubicBezTo>
                <a:cubicBezTo>
                  <a:pt x="88" y="44"/>
                  <a:pt x="88" y="44"/>
                  <a:pt x="88" y="44"/>
                </a:cubicBezTo>
                <a:cubicBezTo>
                  <a:pt x="87" y="44"/>
                  <a:pt x="87" y="44"/>
                  <a:pt x="87" y="45"/>
                </a:cubicBezTo>
                <a:cubicBezTo>
                  <a:pt x="87" y="45"/>
                  <a:pt x="87" y="45"/>
                  <a:pt x="87" y="45"/>
                </a:cubicBezTo>
                <a:cubicBezTo>
                  <a:pt x="85" y="46"/>
                  <a:pt x="85" y="46"/>
                  <a:pt x="84" y="46"/>
                </a:cubicBezTo>
                <a:cubicBezTo>
                  <a:pt x="84" y="46"/>
                  <a:pt x="83" y="46"/>
                  <a:pt x="83" y="46"/>
                </a:cubicBezTo>
                <a:cubicBezTo>
                  <a:pt x="83" y="45"/>
                  <a:pt x="83" y="45"/>
                  <a:pt x="83" y="44"/>
                </a:cubicBezTo>
                <a:cubicBezTo>
                  <a:pt x="82" y="44"/>
                  <a:pt x="82" y="45"/>
                  <a:pt x="81" y="45"/>
                </a:cubicBezTo>
                <a:cubicBezTo>
                  <a:pt x="81" y="45"/>
                  <a:pt x="81" y="45"/>
                  <a:pt x="81" y="45"/>
                </a:cubicBezTo>
                <a:cubicBezTo>
                  <a:pt x="80" y="45"/>
                  <a:pt x="79" y="46"/>
                  <a:pt x="78" y="46"/>
                </a:cubicBezTo>
                <a:cubicBezTo>
                  <a:pt x="76" y="46"/>
                  <a:pt x="75" y="45"/>
                  <a:pt x="74" y="44"/>
                </a:cubicBezTo>
                <a:cubicBezTo>
                  <a:pt x="73" y="43"/>
                  <a:pt x="73" y="43"/>
                  <a:pt x="72" y="42"/>
                </a:cubicBezTo>
                <a:cubicBezTo>
                  <a:pt x="72" y="42"/>
                  <a:pt x="72" y="42"/>
                  <a:pt x="72" y="42"/>
                </a:cubicBezTo>
                <a:cubicBezTo>
                  <a:pt x="72" y="42"/>
                  <a:pt x="71" y="42"/>
                  <a:pt x="71" y="42"/>
                </a:cubicBezTo>
                <a:cubicBezTo>
                  <a:pt x="71" y="42"/>
                  <a:pt x="71" y="42"/>
                  <a:pt x="71" y="42"/>
                </a:cubicBezTo>
                <a:cubicBezTo>
                  <a:pt x="71" y="41"/>
                  <a:pt x="71" y="41"/>
                  <a:pt x="70" y="41"/>
                </a:cubicBezTo>
                <a:cubicBezTo>
                  <a:pt x="70" y="41"/>
                  <a:pt x="70" y="41"/>
                  <a:pt x="70" y="41"/>
                </a:cubicBezTo>
                <a:cubicBezTo>
                  <a:pt x="70" y="41"/>
                  <a:pt x="70" y="41"/>
                  <a:pt x="70" y="41"/>
                </a:cubicBezTo>
                <a:cubicBezTo>
                  <a:pt x="70" y="41"/>
                  <a:pt x="70" y="41"/>
                  <a:pt x="69" y="41"/>
                </a:cubicBezTo>
                <a:cubicBezTo>
                  <a:pt x="69" y="41"/>
                  <a:pt x="69" y="41"/>
                  <a:pt x="69" y="41"/>
                </a:cubicBezTo>
                <a:cubicBezTo>
                  <a:pt x="69" y="41"/>
                  <a:pt x="69" y="41"/>
                  <a:pt x="69" y="41"/>
                </a:cubicBezTo>
                <a:cubicBezTo>
                  <a:pt x="69" y="41"/>
                  <a:pt x="68" y="41"/>
                  <a:pt x="68" y="41"/>
                </a:cubicBezTo>
                <a:cubicBezTo>
                  <a:pt x="67" y="40"/>
                  <a:pt x="67" y="38"/>
                  <a:pt x="67" y="36"/>
                </a:cubicBezTo>
                <a:cubicBezTo>
                  <a:pt x="68" y="35"/>
                  <a:pt x="66" y="33"/>
                  <a:pt x="65" y="32"/>
                </a:cubicBezTo>
                <a:cubicBezTo>
                  <a:pt x="65" y="32"/>
                  <a:pt x="64" y="32"/>
                  <a:pt x="63" y="33"/>
                </a:cubicBezTo>
                <a:cubicBezTo>
                  <a:pt x="63" y="34"/>
                  <a:pt x="62" y="34"/>
                  <a:pt x="62" y="34"/>
                </a:cubicBezTo>
                <a:cubicBezTo>
                  <a:pt x="62" y="35"/>
                  <a:pt x="61" y="35"/>
                  <a:pt x="61" y="35"/>
                </a:cubicBezTo>
                <a:cubicBezTo>
                  <a:pt x="61" y="36"/>
                  <a:pt x="61" y="36"/>
                  <a:pt x="61" y="36"/>
                </a:cubicBezTo>
                <a:cubicBezTo>
                  <a:pt x="57" y="36"/>
                  <a:pt x="57" y="36"/>
                  <a:pt x="57" y="36"/>
                </a:cubicBezTo>
                <a:cubicBezTo>
                  <a:pt x="55" y="36"/>
                  <a:pt x="49" y="36"/>
                  <a:pt x="45" y="36"/>
                </a:cubicBezTo>
                <a:cubicBezTo>
                  <a:pt x="45" y="36"/>
                  <a:pt x="44" y="36"/>
                  <a:pt x="44" y="36"/>
                </a:cubicBezTo>
                <a:cubicBezTo>
                  <a:pt x="43" y="36"/>
                  <a:pt x="42" y="36"/>
                  <a:pt x="42" y="36"/>
                </a:cubicBezTo>
                <a:cubicBezTo>
                  <a:pt x="42" y="36"/>
                  <a:pt x="42" y="36"/>
                  <a:pt x="42" y="36"/>
                </a:cubicBezTo>
                <a:cubicBezTo>
                  <a:pt x="42" y="37"/>
                  <a:pt x="42" y="38"/>
                  <a:pt x="42" y="39"/>
                </a:cubicBezTo>
                <a:cubicBezTo>
                  <a:pt x="43" y="39"/>
                  <a:pt x="44" y="40"/>
                  <a:pt x="45" y="40"/>
                </a:cubicBezTo>
                <a:cubicBezTo>
                  <a:pt x="45" y="40"/>
                  <a:pt x="45" y="40"/>
                  <a:pt x="46" y="40"/>
                </a:cubicBezTo>
                <a:cubicBezTo>
                  <a:pt x="47" y="40"/>
                  <a:pt x="48" y="41"/>
                  <a:pt x="48" y="42"/>
                </a:cubicBezTo>
                <a:cubicBezTo>
                  <a:pt x="48" y="43"/>
                  <a:pt x="49" y="44"/>
                  <a:pt x="49" y="45"/>
                </a:cubicBezTo>
                <a:cubicBezTo>
                  <a:pt x="49" y="47"/>
                  <a:pt x="49" y="47"/>
                  <a:pt x="49" y="47"/>
                </a:cubicBezTo>
                <a:cubicBezTo>
                  <a:pt x="48" y="47"/>
                  <a:pt x="48" y="47"/>
                  <a:pt x="48" y="47"/>
                </a:cubicBezTo>
                <a:cubicBezTo>
                  <a:pt x="48" y="47"/>
                  <a:pt x="48" y="47"/>
                  <a:pt x="47" y="47"/>
                </a:cubicBezTo>
                <a:cubicBezTo>
                  <a:pt x="47" y="47"/>
                  <a:pt x="46" y="46"/>
                  <a:pt x="45" y="46"/>
                </a:cubicBezTo>
                <a:cubicBezTo>
                  <a:pt x="44" y="46"/>
                  <a:pt x="44" y="46"/>
                  <a:pt x="43" y="46"/>
                </a:cubicBezTo>
                <a:cubicBezTo>
                  <a:pt x="42" y="46"/>
                  <a:pt x="42" y="46"/>
                  <a:pt x="42" y="46"/>
                </a:cubicBezTo>
                <a:cubicBezTo>
                  <a:pt x="41" y="46"/>
                  <a:pt x="41" y="46"/>
                  <a:pt x="41" y="46"/>
                </a:cubicBezTo>
                <a:cubicBezTo>
                  <a:pt x="40" y="47"/>
                  <a:pt x="39" y="47"/>
                  <a:pt x="39" y="47"/>
                </a:cubicBezTo>
                <a:cubicBezTo>
                  <a:pt x="40" y="48"/>
                  <a:pt x="39" y="49"/>
                  <a:pt x="39" y="50"/>
                </a:cubicBezTo>
                <a:cubicBezTo>
                  <a:pt x="39" y="51"/>
                  <a:pt x="39" y="51"/>
                  <a:pt x="39" y="52"/>
                </a:cubicBezTo>
                <a:cubicBezTo>
                  <a:pt x="39" y="53"/>
                  <a:pt x="41" y="55"/>
                  <a:pt x="43" y="56"/>
                </a:cubicBezTo>
                <a:cubicBezTo>
                  <a:pt x="44" y="57"/>
                  <a:pt x="45" y="59"/>
                  <a:pt x="45" y="60"/>
                </a:cubicBezTo>
                <a:cubicBezTo>
                  <a:pt x="45" y="61"/>
                  <a:pt x="45" y="61"/>
                  <a:pt x="45" y="62"/>
                </a:cubicBezTo>
                <a:cubicBezTo>
                  <a:pt x="46" y="64"/>
                  <a:pt x="46" y="67"/>
                  <a:pt x="45" y="73"/>
                </a:cubicBezTo>
                <a:cubicBezTo>
                  <a:pt x="44" y="75"/>
                  <a:pt x="44" y="75"/>
                  <a:pt x="44" y="75"/>
                </a:cubicBezTo>
                <a:cubicBezTo>
                  <a:pt x="44" y="75"/>
                  <a:pt x="44" y="76"/>
                  <a:pt x="44" y="76"/>
                </a:cubicBezTo>
                <a:cubicBezTo>
                  <a:pt x="44" y="77"/>
                  <a:pt x="44" y="77"/>
                  <a:pt x="44" y="77"/>
                </a:cubicBezTo>
                <a:cubicBezTo>
                  <a:pt x="44" y="77"/>
                  <a:pt x="44" y="77"/>
                  <a:pt x="44" y="77"/>
                </a:cubicBezTo>
                <a:cubicBezTo>
                  <a:pt x="44" y="79"/>
                  <a:pt x="44" y="79"/>
                  <a:pt x="44" y="79"/>
                </a:cubicBezTo>
                <a:cubicBezTo>
                  <a:pt x="44" y="79"/>
                  <a:pt x="44" y="79"/>
                  <a:pt x="43" y="80"/>
                </a:cubicBezTo>
                <a:cubicBezTo>
                  <a:pt x="43" y="80"/>
                  <a:pt x="43" y="80"/>
                  <a:pt x="43" y="80"/>
                </a:cubicBezTo>
                <a:cubicBezTo>
                  <a:pt x="43" y="81"/>
                  <a:pt x="43" y="81"/>
                  <a:pt x="43" y="81"/>
                </a:cubicBezTo>
                <a:cubicBezTo>
                  <a:pt x="43" y="82"/>
                  <a:pt x="43" y="82"/>
                  <a:pt x="43" y="82"/>
                </a:cubicBezTo>
                <a:cubicBezTo>
                  <a:pt x="43" y="82"/>
                  <a:pt x="43" y="83"/>
                  <a:pt x="43" y="83"/>
                </a:cubicBezTo>
                <a:cubicBezTo>
                  <a:pt x="43" y="83"/>
                  <a:pt x="43" y="84"/>
                  <a:pt x="43" y="84"/>
                </a:cubicBezTo>
                <a:cubicBezTo>
                  <a:pt x="42" y="88"/>
                  <a:pt x="41" y="93"/>
                  <a:pt x="40" y="95"/>
                </a:cubicBezTo>
                <a:cubicBezTo>
                  <a:pt x="41" y="96"/>
                  <a:pt x="41" y="97"/>
                  <a:pt x="40" y="98"/>
                </a:cubicBezTo>
                <a:cubicBezTo>
                  <a:pt x="39" y="98"/>
                  <a:pt x="39" y="98"/>
                  <a:pt x="39" y="98"/>
                </a:cubicBezTo>
                <a:cubicBezTo>
                  <a:pt x="38" y="98"/>
                  <a:pt x="38" y="98"/>
                  <a:pt x="38" y="98"/>
                </a:cubicBezTo>
                <a:cubicBezTo>
                  <a:pt x="38" y="97"/>
                  <a:pt x="37" y="97"/>
                  <a:pt x="37" y="97"/>
                </a:cubicBezTo>
                <a:cubicBezTo>
                  <a:pt x="36" y="97"/>
                  <a:pt x="35" y="97"/>
                  <a:pt x="35" y="96"/>
                </a:cubicBezTo>
                <a:cubicBezTo>
                  <a:pt x="34" y="96"/>
                  <a:pt x="34" y="96"/>
                  <a:pt x="34" y="96"/>
                </a:cubicBezTo>
                <a:cubicBezTo>
                  <a:pt x="34" y="96"/>
                  <a:pt x="34" y="95"/>
                  <a:pt x="33" y="96"/>
                </a:cubicBezTo>
                <a:cubicBezTo>
                  <a:pt x="33" y="96"/>
                  <a:pt x="33" y="96"/>
                  <a:pt x="32" y="96"/>
                </a:cubicBezTo>
                <a:cubicBezTo>
                  <a:pt x="32" y="96"/>
                  <a:pt x="32" y="96"/>
                  <a:pt x="32" y="97"/>
                </a:cubicBezTo>
                <a:cubicBezTo>
                  <a:pt x="31" y="97"/>
                  <a:pt x="31" y="97"/>
                  <a:pt x="31" y="97"/>
                </a:cubicBezTo>
                <a:cubicBezTo>
                  <a:pt x="31" y="97"/>
                  <a:pt x="30" y="98"/>
                  <a:pt x="30" y="98"/>
                </a:cubicBezTo>
                <a:cubicBezTo>
                  <a:pt x="29" y="99"/>
                  <a:pt x="28" y="98"/>
                  <a:pt x="27" y="98"/>
                </a:cubicBezTo>
                <a:cubicBezTo>
                  <a:pt x="27" y="98"/>
                  <a:pt x="27" y="98"/>
                  <a:pt x="27" y="98"/>
                </a:cubicBezTo>
                <a:cubicBezTo>
                  <a:pt x="26" y="98"/>
                  <a:pt x="25" y="99"/>
                  <a:pt x="24" y="99"/>
                </a:cubicBezTo>
                <a:cubicBezTo>
                  <a:pt x="23" y="99"/>
                  <a:pt x="23" y="99"/>
                  <a:pt x="23" y="99"/>
                </a:cubicBezTo>
                <a:cubicBezTo>
                  <a:pt x="23" y="99"/>
                  <a:pt x="23" y="99"/>
                  <a:pt x="22" y="99"/>
                </a:cubicBezTo>
                <a:cubicBezTo>
                  <a:pt x="22" y="99"/>
                  <a:pt x="22" y="99"/>
                  <a:pt x="22" y="99"/>
                </a:cubicBezTo>
                <a:cubicBezTo>
                  <a:pt x="20" y="100"/>
                  <a:pt x="19" y="100"/>
                  <a:pt x="17" y="101"/>
                </a:cubicBezTo>
                <a:cubicBezTo>
                  <a:pt x="16" y="102"/>
                  <a:pt x="16" y="102"/>
                  <a:pt x="15" y="103"/>
                </a:cubicBezTo>
                <a:cubicBezTo>
                  <a:pt x="15" y="103"/>
                  <a:pt x="15" y="103"/>
                  <a:pt x="15" y="103"/>
                </a:cubicBezTo>
                <a:cubicBezTo>
                  <a:pt x="14" y="104"/>
                  <a:pt x="13" y="104"/>
                  <a:pt x="12" y="105"/>
                </a:cubicBezTo>
                <a:cubicBezTo>
                  <a:pt x="11" y="105"/>
                  <a:pt x="11" y="105"/>
                  <a:pt x="11" y="105"/>
                </a:cubicBezTo>
                <a:cubicBezTo>
                  <a:pt x="11" y="106"/>
                  <a:pt x="11" y="106"/>
                  <a:pt x="11" y="106"/>
                </a:cubicBezTo>
                <a:cubicBezTo>
                  <a:pt x="11" y="106"/>
                  <a:pt x="11" y="106"/>
                  <a:pt x="11" y="106"/>
                </a:cubicBezTo>
                <a:cubicBezTo>
                  <a:pt x="10" y="107"/>
                  <a:pt x="10" y="109"/>
                  <a:pt x="10" y="110"/>
                </a:cubicBezTo>
                <a:cubicBezTo>
                  <a:pt x="10" y="110"/>
                  <a:pt x="10" y="110"/>
                  <a:pt x="10" y="110"/>
                </a:cubicBezTo>
                <a:cubicBezTo>
                  <a:pt x="10" y="111"/>
                  <a:pt x="10" y="111"/>
                  <a:pt x="10" y="111"/>
                </a:cubicBezTo>
                <a:cubicBezTo>
                  <a:pt x="9" y="112"/>
                  <a:pt x="9" y="113"/>
                  <a:pt x="9" y="113"/>
                </a:cubicBezTo>
                <a:cubicBezTo>
                  <a:pt x="8" y="114"/>
                  <a:pt x="8" y="114"/>
                  <a:pt x="8" y="115"/>
                </a:cubicBezTo>
                <a:cubicBezTo>
                  <a:pt x="8" y="115"/>
                  <a:pt x="8" y="115"/>
                  <a:pt x="8" y="115"/>
                </a:cubicBezTo>
                <a:cubicBezTo>
                  <a:pt x="8" y="115"/>
                  <a:pt x="8" y="115"/>
                  <a:pt x="8" y="115"/>
                </a:cubicBezTo>
                <a:cubicBezTo>
                  <a:pt x="8" y="115"/>
                  <a:pt x="8" y="115"/>
                  <a:pt x="8" y="115"/>
                </a:cubicBezTo>
                <a:cubicBezTo>
                  <a:pt x="8" y="116"/>
                  <a:pt x="8" y="116"/>
                  <a:pt x="8" y="116"/>
                </a:cubicBezTo>
                <a:cubicBezTo>
                  <a:pt x="8" y="116"/>
                  <a:pt x="8" y="116"/>
                  <a:pt x="8" y="116"/>
                </a:cubicBezTo>
                <a:cubicBezTo>
                  <a:pt x="8" y="116"/>
                  <a:pt x="8" y="117"/>
                  <a:pt x="8" y="117"/>
                </a:cubicBezTo>
                <a:cubicBezTo>
                  <a:pt x="8" y="117"/>
                  <a:pt x="8" y="117"/>
                  <a:pt x="8" y="117"/>
                </a:cubicBezTo>
                <a:cubicBezTo>
                  <a:pt x="8" y="118"/>
                  <a:pt x="8" y="119"/>
                  <a:pt x="7" y="119"/>
                </a:cubicBezTo>
                <a:cubicBezTo>
                  <a:pt x="7" y="120"/>
                  <a:pt x="6" y="120"/>
                  <a:pt x="5" y="121"/>
                </a:cubicBezTo>
                <a:cubicBezTo>
                  <a:pt x="5" y="121"/>
                  <a:pt x="5" y="121"/>
                  <a:pt x="5" y="121"/>
                </a:cubicBezTo>
                <a:cubicBezTo>
                  <a:pt x="3" y="122"/>
                  <a:pt x="2" y="123"/>
                  <a:pt x="2" y="124"/>
                </a:cubicBezTo>
                <a:cubicBezTo>
                  <a:pt x="1" y="125"/>
                  <a:pt x="1" y="125"/>
                  <a:pt x="2" y="126"/>
                </a:cubicBezTo>
                <a:cubicBezTo>
                  <a:pt x="2" y="126"/>
                  <a:pt x="2" y="127"/>
                  <a:pt x="2" y="128"/>
                </a:cubicBezTo>
                <a:cubicBezTo>
                  <a:pt x="2" y="128"/>
                  <a:pt x="2" y="128"/>
                  <a:pt x="2" y="128"/>
                </a:cubicBezTo>
                <a:cubicBezTo>
                  <a:pt x="2" y="128"/>
                  <a:pt x="2" y="128"/>
                  <a:pt x="2" y="128"/>
                </a:cubicBezTo>
                <a:cubicBezTo>
                  <a:pt x="1" y="129"/>
                  <a:pt x="1" y="129"/>
                  <a:pt x="0" y="129"/>
                </a:cubicBezTo>
                <a:cubicBezTo>
                  <a:pt x="1" y="130"/>
                  <a:pt x="2" y="131"/>
                  <a:pt x="2" y="132"/>
                </a:cubicBezTo>
                <a:cubicBezTo>
                  <a:pt x="3" y="133"/>
                  <a:pt x="3" y="134"/>
                  <a:pt x="3" y="134"/>
                </a:cubicBezTo>
                <a:cubicBezTo>
                  <a:pt x="3" y="135"/>
                  <a:pt x="3" y="136"/>
                  <a:pt x="4" y="137"/>
                </a:cubicBezTo>
                <a:cubicBezTo>
                  <a:pt x="5" y="138"/>
                  <a:pt x="6" y="140"/>
                  <a:pt x="7" y="141"/>
                </a:cubicBezTo>
                <a:cubicBezTo>
                  <a:pt x="8" y="142"/>
                  <a:pt x="8" y="142"/>
                  <a:pt x="8" y="142"/>
                </a:cubicBezTo>
                <a:cubicBezTo>
                  <a:pt x="8" y="142"/>
                  <a:pt x="8" y="142"/>
                  <a:pt x="8" y="142"/>
                </a:cubicBezTo>
                <a:cubicBezTo>
                  <a:pt x="9" y="143"/>
                  <a:pt x="10" y="144"/>
                  <a:pt x="10" y="145"/>
                </a:cubicBezTo>
                <a:cubicBezTo>
                  <a:pt x="10" y="146"/>
                  <a:pt x="10" y="147"/>
                  <a:pt x="9" y="148"/>
                </a:cubicBezTo>
                <a:cubicBezTo>
                  <a:pt x="12" y="148"/>
                  <a:pt x="16" y="148"/>
                  <a:pt x="17" y="151"/>
                </a:cubicBezTo>
                <a:cubicBezTo>
                  <a:pt x="17" y="151"/>
                  <a:pt x="17" y="151"/>
                  <a:pt x="17" y="151"/>
                </a:cubicBezTo>
                <a:cubicBezTo>
                  <a:pt x="17" y="151"/>
                  <a:pt x="17" y="151"/>
                  <a:pt x="17" y="151"/>
                </a:cubicBezTo>
                <a:cubicBezTo>
                  <a:pt x="17" y="152"/>
                  <a:pt x="18" y="152"/>
                  <a:pt x="18" y="152"/>
                </a:cubicBezTo>
                <a:cubicBezTo>
                  <a:pt x="18" y="153"/>
                  <a:pt x="18" y="153"/>
                  <a:pt x="18" y="154"/>
                </a:cubicBezTo>
                <a:cubicBezTo>
                  <a:pt x="18" y="154"/>
                  <a:pt x="19" y="154"/>
                  <a:pt x="19" y="154"/>
                </a:cubicBezTo>
                <a:cubicBezTo>
                  <a:pt x="20" y="154"/>
                  <a:pt x="20" y="154"/>
                  <a:pt x="20" y="154"/>
                </a:cubicBezTo>
                <a:cubicBezTo>
                  <a:pt x="21" y="154"/>
                  <a:pt x="22" y="154"/>
                  <a:pt x="23" y="154"/>
                </a:cubicBezTo>
                <a:cubicBezTo>
                  <a:pt x="24" y="154"/>
                  <a:pt x="25" y="154"/>
                  <a:pt x="25" y="153"/>
                </a:cubicBezTo>
                <a:cubicBezTo>
                  <a:pt x="26" y="153"/>
                  <a:pt x="26" y="153"/>
                  <a:pt x="26" y="153"/>
                </a:cubicBezTo>
                <a:cubicBezTo>
                  <a:pt x="26" y="153"/>
                  <a:pt x="26" y="153"/>
                  <a:pt x="26" y="153"/>
                </a:cubicBezTo>
                <a:cubicBezTo>
                  <a:pt x="27" y="153"/>
                  <a:pt x="27" y="153"/>
                  <a:pt x="27" y="152"/>
                </a:cubicBezTo>
                <a:cubicBezTo>
                  <a:pt x="27" y="152"/>
                  <a:pt x="27" y="152"/>
                  <a:pt x="27" y="152"/>
                </a:cubicBezTo>
                <a:cubicBezTo>
                  <a:pt x="28" y="152"/>
                  <a:pt x="28" y="152"/>
                  <a:pt x="28" y="152"/>
                </a:cubicBezTo>
                <a:cubicBezTo>
                  <a:pt x="28" y="152"/>
                  <a:pt x="28" y="152"/>
                  <a:pt x="28" y="151"/>
                </a:cubicBezTo>
                <a:cubicBezTo>
                  <a:pt x="29" y="151"/>
                  <a:pt x="29" y="151"/>
                  <a:pt x="29" y="151"/>
                </a:cubicBezTo>
                <a:cubicBezTo>
                  <a:pt x="30" y="150"/>
                  <a:pt x="32" y="149"/>
                  <a:pt x="33" y="148"/>
                </a:cubicBezTo>
                <a:cubicBezTo>
                  <a:pt x="36" y="146"/>
                  <a:pt x="36" y="146"/>
                  <a:pt x="36" y="146"/>
                </a:cubicBezTo>
                <a:cubicBezTo>
                  <a:pt x="35" y="150"/>
                  <a:pt x="35" y="150"/>
                  <a:pt x="35" y="150"/>
                </a:cubicBezTo>
                <a:cubicBezTo>
                  <a:pt x="35" y="150"/>
                  <a:pt x="34" y="150"/>
                  <a:pt x="34" y="151"/>
                </a:cubicBezTo>
                <a:cubicBezTo>
                  <a:pt x="34" y="151"/>
                  <a:pt x="35" y="151"/>
                  <a:pt x="35" y="151"/>
                </a:cubicBezTo>
                <a:cubicBezTo>
                  <a:pt x="35" y="152"/>
                  <a:pt x="35" y="152"/>
                  <a:pt x="34" y="153"/>
                </a:cubicBezTo>
                <a:cubicBezTo>
                  <a:pt x="33" y="155"/>
                  <a:pt x="33" y="159"/>
                  <a:pt x="34" y="162"/>
                </a:cubicBezTo>
                <a:cubicBezTo>
                  <a:pt x="34" y="162"/>
                  <a:pt x="34" y="163"/>
                  <a:pt x="34" y="164"/>
                </a:cubicBezTo>
                <a:cubicBezTo>
                  <a:pt x="34" y="164"/>
                  <a:pt x="35" y="164"/>
                  <a:pt x="35" y="164"/>
                </a:cubicBezTo>
                <a:cubicBezTo>
                  <a:pt x="35" y="164"/>
                  <a:pt x="36" y="165"/>
                  <a:pt x="36" y="165"/>
                </a:cubicBezTo>
                <a:cubicBezTo>
                  <a:pt x="36" y="164"/>
                  <a:pt x="37" y="164"/>
                  <a:pt x="38" y="164"/>
                </a:cubicBezTo>
                <a:cubicBezTo>
                  <a:pt x="38" y="164"/>
                  <a:pt x="38" y="164"/>
                  <a:pt x="38" y="164"/>
                </a:cubicBezTo>
                <a:cubicBezTo>
                  <a:pt x="39" y="163"/>
                  <a:pt x="39" y="163"/>
                  <a:pt x="40" y="163"/>
                </a:cubicBezTo>
                <a:cubicBezTo>
                  <a:pt x="40" y="163"/>
                  <a:pt x="41" y="163"/>
                  <a:pt x="41" y="163"/>
                </a:cubicBezTo>
                <a:cubicBezTo>
                  <a:pt x="41" y="163"/>
                  <a:pt x="41" y="163"/>
                  <a:pt x="41" y="163"/>
                </a:cubicBezTo>
                <a:cubicBezTo>
                  <a:pt x="41" y="163"/>
                  <a:pt x="41" y="163"/>
                  <a:pt x="41" y="163"/>
                </a:cubicBezTo>
                <a:cubicBezTo>
                  <a:pt x="40" y="162"/>
                  <a:pt x="40" y="162"/>
                  <a:pt x="40" y="162"/>
                </a:cubicBezTo>
                <a:cubicBezTo>
                  <a:pt x="44" y="164"/>
                  <a:pt x="44" y="164"/>
                  <a:pt x="44" y="164"/>
                </a:cubicBezTo>
                <a:cubicBezTo>
                  <a:pt x="47" y="164"/>
                  <a:pt x="47" y="164"/>
                  <a:pt x="47" y="164"/>
                </a:cubicBezTo>
                <a:cubicBezTo>
                  <a:pt x="47" y="164"/>
                  <a:pt x="47" y="164"/>
                  <a:pt x="48" y="164"/>
                </a:cubicBezTo>
                <a:cubicBezTo>
                  <a:pt x="48" y="165"/>
                  <a:pt x="48" y="165"/>
                  <a:pt x="48" y="165"/>
                </a:cubicBezTo>
                <a:cubicBezTo>
                  <a:pt x="48" y="165"/>
                  <a:pt x="48" y="165"/>
                  <a:pt x="48" y="165"/>
                </a:cubicBezTo>
                <a:cubicBezTo>
                  <a:pt x="48" y="164"/>
                  <a:pt x="48" y="164"/>
                  <a:pt x="48" y="164"/>
                </a:cubicBezTo>
                <a:cubicBezTo>
                  <a:pt x="48" y="164"/>
                  <a:pt x="49" y="165"/>
                  <a:pt x="49" y="165"/>
                </a:cubicBezTo>
                <a:cubicBezTo>
                  <a:pt x="49" y="165"/>
                  <a:pt x="49" y="165"/>
                  <a:pt x="49" y="165"/>
                </a:cubicBezTo>
                <a:cubicBezTo>
                  <a:pt x="50" y="165"/>
                  <a:pt x="50" y="165"/>
                  <a:pt x="50" y="165"/>
                </a:cubicBezTo>
                <a:cubicBezTo>
                  <a:pt x="51" y="165"/>
                  <a:pt x="51" y="165"/>
                  <a:pt x="51" y="165"/>
                </a:cubicBezTo>
                <a:cubicBezTo>
                  <a:pt x="51" y="165"/>
                  <a:pt x="51" y="165"/>
                  <a:pt x="52" y="165"/>
                </a:cubicBezTo>
                <a:cubicBezTo>
                  <a:pt x="52" y="165"/>
                  <a:pt x="52" y="165"/>
                  <a:pt x="52" y="165"/>
                </a:cubicBezTo>
                <a:cubicBezTo>
                  <a:pt x="53" y="165"/>
                  <a:pt x="53" y="165"/>
                  <a:pt x="54" y="165"/>
                </a:cubicBezTo>
                <a:cubicBezTo>
                  <a:pt x="54" y="165"/>
                  <a:pt x="54" y="165"/>
                  <a:pt x="54" y="165"/>
                </a:cubicBezTo>
                <a:cubicBezTo>
                  <a:pt x="55" y="165"/>
                  <a:pt x="55" y="164"/>
                  <a:pt x="55" y="164"/>
                </a:cubicBezTo>
                <a:cubicBezTo>
                  <a:pt x="56" y="164"/>
                  <a:pt x="56" y="164"/>
                  <a:pt x="56" y="163"/>
                </a:cubicBezTo>
                <a:cubicBezTo>
                  <a:pt x="56" y="163"/>
                  <a:pt x="57" y="162"/>
                  <a:pt x="58" y="162"/>
                </a:cubicBezTo>
                <a:cubicBezTo>
                  <a:pt x="59" y="162"/>
                  <a:pt x="59" y="162"/>
                  <a:pt x="59" y="162"/>
                </a:cubicBezTo>
                <a:cubicBezTo>
                  <a:pt x="60" y="162"/>
                  <a:pt x="60" y="162"/>
                  <a:pt x="60" y="162"/>
                </a:cubicBezTo>
                <a:cubicBezTo>
                  <a:pt x="60" y="161"/>
                  <a:pt x="61" y="161"/>
                  <a:pt x="61" y="161"/>
                </a:cubicBezTo>
                <a:cubicBezTo>
                  <a:pt x="61" y="161"/>
                  <a:pt x="62" y="161"/>
                  <a:pt x="62" y="161"/>
                </a:cubicBezTo>
                <a:cubicBezTo>
                  <a:pt x="62" y="160"/>
                  <a:pt x="62" y="160"/>
                  <a:pt x="62" y="160"/>
                </a:cubicBezTo>
                <a:cubicBezTo>
                  <a:pt x="62" y="160"/>
                  <a:pt x="63" y="159"/>
                  <a:pt x="63" y="159"/>
                </a:cubicBezTo>
                <a:cubicBezTo>
                  <a:pt x="64" y="159"/>
                  <a:pt x="65" y="158"/>
                  <a:pt x="65" y="158"/>
                </a:cubicBezTo>
                <a:cubicBezTo>
                  <a:pt x="66" y="158"/>
                  <a:pt x="67" y="157"/>
                  <a:pt x="67" y="157"/>
                </a:cubicBezTo>
                <a:cubicBezTo>
                  <a:pt x="68" y="157"/>
                  <a:pt x="69" y="156"/>
                  <a:pt x="70" y="155"/>
                </a:cubicBezTo>
                <a:cubicBezTo>
                  <a:pt x="70" y="155"/>
                  <a:pt x="70" y="155"/>
                  <a:pt x="70" y="155"/>
                </a:cubicBezTo>
                <a:cubicBezTo>
                  <a:pt x="70" y="155"/>
                  <a:pt x="71" y="154"/>
                  <a:pt x="71" y="154"/>
                </a:cubicBezTo>
                <a:cubicBezTo>
                  <a:pt x="72" y="153"/>
                  <a:pt x="73" y="153"/>
                  <a:pt x="74" y="152"/>
                </a:cubicBezTo>
                <a:cubicBezTo>
                  <a:pt x="75" y="152"/>
                  <a:pt x="75" y="152"/>
                  <a:pt x="75" y="152"/>
                </a:cubicBezTo>
                <a:cubicBezTo>
                  <a:pt x="80" y="151"/>
                  <a:pt x="80" y="151"/>
                  <a:pt x="80" y="151"/>
                </a:cubicBezTo>
                <a:cubicBezTo>
                  <a:pt x="80" y="151"/>
                  <a:pt x="80" y="151"/>
                  <a:pt x="81" y="151"/>
                </a:cubicBezTo>
                <a:cubicBezTo>
                  <a:pt x="81" y="151"/>
                  <a:pt x="81" y="151"/>
                  <a:pt x="81" y="151"/>
                </a:cubicBezTo>
                <a:cubicBezTo>
                  <a:pt x="81" y="151"/>
                  <a:pt x="81" y="151"/>
                  <a:pt x="82" y="151"/>
                </a:cubicBezTo>
                <a:cubicBezTo>
                  <a:pt x="82" y="151"/>
                  <a:pt x="82" y="151"/>
                  <a:pt x="82" y="151"/>
                </a:cubicBezTo>
                <a:cubicBezTo>
                  <a:pt x="82" y="151"/>
                  <a:pt x="83" y="151"/>
                  <a:pt x="83" y="151"/>
                </a:cubicBezTo>
                <a:cubicBezTo>
                  <a:pt x="83" y="152"/>
                  <a:pt x="83" y="152"/>
                  <a:pt x="84" y="152"/>
                </a:cubicBezTo>
                <a:cubicBezTo>
                  <a:pt x="84" y="152"/>
                  <a:pt x="84" y="152"/>
                  <a:pt x="84" y="152"/>
                </a:cubicBezTo>
                <a:cubicBezTo>
                  <a:pt x="84" y="152"/>
                  <a:pt x="84" y="152"/>
                  <a:pt x="84" y="152"/>
                </a:cubicBezTo>
                <a:cubicBezTo>
                  <a:pt x="84" y="151"/>
                  <a:pt x="84" y="151"/>
                  <a:pt x="84" y="151"/>
                </a:cubicBezTo>
                <a:cubicBezTo>
                  <a:pt x="84" y="151"/>
                  <a:pt x="84" y="151"/>
                  <a:pt x="84" y="151"/>
                </a:cubicBezTo>
                <a:cubicBezTo>
                  <a:pt x="85" y="150"/>
                  <a:pt x="85" y="150"/>
                  <a:pt x="85" y="150"/>
                </a:cubicBezTo>
                <a:cubicBezTo>
                  <a:pt x="86" y="150"/>
                  <a:pt x="86" y="150"/>
                  <a:pt x="86" y="150"/>
                </a:cubicBezTo>
                <a:cubicBezTo>
                  <a:pt x="86" y="150"/>
                  <a:pt x="86" y="150"/>
                  <a:pt x="86" y="150"/>
                </a:cubicBezTo>
                <a:cubicBezTo>
                  <a:pt x="86" y="150"/>
                  <a:pt x="86" y="150"/>
                  <a:pt x="86" y="151"/>
                </a:cubicBezTo>
                <a:cubicBezTo>
                  <a:pt x="86" y="151"/>
                  <a:pt x="86" y="151"/>
                  <a:pt x="86" y="151"/>
                </a:cubicBezTo>
                <a:cubicBezTo>
                  <a:pt x="87" y="151"/>
                  <a:pt x="87" y="151"/>
                  <a:pt x="87" y="151"/>
                </a:cubicBezTo>
                <a:cubicBezTo>
                  <a:pt x="87" y="151"/>
                  <a:pt x="87" y="151"/>
                  <a:pt x="87" y="151"/>
                </a:cubicBezTo>
                <a:cubicBezTo>
                  <a:pt x="87" y="151"/>
                  <a:pt x="87" y="151"/>
                  <a:pt x="87" y="151"/>
                </a:cubicBezTo>
                <a:cubicBezTo>
                  <a:pt x="87" y="151"/>
                  <a:pt x="87" y="151"/>
                  <a:pt x="87" y="151"/>
                </a:cubicBezTo>
                <a:cubicBezTo>
                  <a:pt x="87" y="152"/>
                  <a:pt x="88" y="152"/>
                  <a:pt x="88" y="152"/>
                </a:cubicBezTo>
                <a:cubicBezTo>
                  <a:pt x="88" y="153"/>
                  <a:pt x="88" y="154"/>
                  <a:pt x="88" y="155"/>
                </a:cubicBezTo>
                <a:cubicBezTo>
                  <a:pt x="88" y="156"/>
                  <a:pt x="88" y="156"/>
                  <a:pt x="88" y="156"/>
                </a:cubicBezTo>
                <a:cubicBezTo>
                  <a:pt x="88" y="157"/>
                  <a:pt x="87" y="158"/>
                  <a:pt x="87" y="158"/>
                </a:cubicBezTo>
                <a:cubicBezTo>
                  <a:pt x="87" y="159"/>
                  <a:pt x="87" y="159"/>
                  <a:pt x="87" y="159"/>
                </a:cubicBezTo>
                <a:cubicBezTo>
                  <a:pt x="87" y="159"/>
                  <a:pt x="87" y="159"/>
                  <a:pt x="87" y="159"/>
                </a:cubicBezTo>
                <a:cubicBezTo>
                  <a:pt x="87" y="160"/>
                  <a:pt x="87" y="161"/>
                  <a:pt x="87" y="162"/>
                </a:cubicBezTo>
                <a:cubicBezTo>
                  <a:pt x="87" y="163"/>
                  <a:pt x="87" y="163"/>
                  <a:pt x="87" y="163"/>
                </a:cubicBezTo>
                <a:cubicBezTo>
                  <a:pt x="87" y="163"/>
                  <a:pt x="87" y="163"/>
                  <a:pt x="87" y="163"/>
                </a:cubicBezTo>
                <a:cubicBezTo>
                  <a:pt x="87" y="163"/>
                  <a:pt x="87" y="163"/>
                  <a:pt x="87" y="163"/>
                </a:cubicBezTo>
                <a:cubicBezTo>
                  <a:pt x="87" y="164"/>
                  <a:pt x="87" y="164"/>
                  <a:pt x="87" y="164"/>
                </a:cubicBezTo>
                <a:cubicBezTo>
                  <a:pt x="88" y="165"/>
                  <a:pt x="88" y="166"/>
                  <a:pt x="88" y="166"/>
                </a:cubicBezTo>
                <a:cubicBezTo>
                  <a:pt x="88" y="167"/>
                  <a:pt x="87" y="167"/>
                  <a:pt x="87" y="167"/>
                </a:cubicBezTo>
                <a:cubicBezTo>
                  <a:pt x="87" y="167"/>
                  <a:pt x="87" y="167"/>
                  <a:pt x="87" y="167"/>
                </a:cubicBezTo>
                <a:cubicBezTo>
                  <a:pt x="87" y="168"/>
                  <a:pt x="87" y="168"/>
                  <a:pt x="87" y="168"/>
                </a:cubicBezTo>
                <a:cubicBezTo>
                  <a:pt x="87" y="168"/>
                  <a:pt x="87" y="168"/>
                  <a:pt x="87" y="168"/>
                </a:cubicBezTo>
                <a:cubicBezTo>
                  <a:pt x="88" y="169"/>
                  <a:pt x="88" y="170"/>
                  <a:pt x="89" y="170"/>
                </a:cubicBezTo>
                <a:cubicBezTo>
                  <a:pt x="89" y="171"/>
                  <a:pt x="89" y="171"/>
                  <a:pt x="89" y="171"/>
                </a:cubicBezTo>
                <a:cubicBezTo>
                  <a:pt x="90" y="172"/>
                  <a:pt x="90" y="173"/>
                  <a:pt x="91" y="174"/>
                </a:cubicBezTo>
                <a:cubicBezTo>
                  <a:pt x="95" y="177"/>
                  <a:pt x="95" y="177"/>
                  <a:pt x="95" y="177"/>
                </a:cubicBezTo>
                <a:cubicBezTo>
                  <a:pt x="95" y="177"/>
                  <a:pt x="95" y="178"/>
                  <a:pt x="96" y="178"/>
                </a:cubicBezTo>
                <a:cubicBezTo>
                  <a:pt x="96" y="178"/>
                  <a:pt x="97" y="179"/>
                  <a:pt x="98" y="180"/>
                </a:cubicBezTo>
                <a:cubicBezTo>
                  <a:pt x="98" y="180"/>
                  <a:pt x="98" y="180"/>
                  <a:pt x="99" y="180"/>
                </a:cubicBezTo>
                <a:cubicBezTo>
                  <a:pt x="99" y="180"/>
                  <a:pt x="99" y="180"/>
                  <a:pt x="99" y="180"/>
                </a:cubicBezTo>
                <a:cubicBezTo>
                  <a:pt x="100" y="180"/>
                  <a:pt x="100" y="180"/>
                  <a:pt x="101" y="180"/>
                </a:cubicBezTo>
                <a:cubicBezTo>
                  <a:pt x="102" y="179"/>
                  <a:pt x="102" y="179"/>
                  <a:pt x="102" y="179"/>
                </a:cubicBezTo>
                <a:cubicBezTo>
                  <a:pt x="102" y="179"/>
                  <a:pt x="102" y="179"/>
                  <a:pt x="103" y="179"/>
                </a:cubicBezTo>
                <a:cubicBezTo>
                  <a:pt x="103" y="180"/>
                  <a:pt x="103" y="180"/>
                  <a:pt x="103" y="180"/>
                </a:cubicBezTo>
                <a:cubicBezTo>
                  <a:pt x="103" y="179"/>
                  <a:pt x="103" y="179"/>
                  <a:pt x="103" y="179"/>
                </a:cubicBezTo>
                <a:cubicBezTo>
                  <a:pt x="103" y="179"/>
                  <a:pt x="103" y="179"/>
                  <a:pt x="103" y="179"/>
                </a:cubicBezTo>
                <a:cubicBezTo>
                  <a:pt x="103" y="179"/>
                  <a:pt x="103" y="179"/>
                  <a:pt x="104" y="179"/>
                </a:cubicBezTo>
                <a:cubicBezTo>
                  <a:pt x="104" y="179"/>
                  <a:pt x="104" y="179"/>
                  <a:pt x="104" y="179"/>
                </a:cubicBezTo>
                <a:cubicBezTo>
                  <a:pt x="104" y="179"/>
                  <a:pt x="104" y="179"/>
                  <a:pt x="104" y="179"/>
                </a:cubicBezTo>
                <a:cubicBezTo>
                  <a:pt x="104" y="179"/>
                  <a:pt x="104" y="179"/>
                  <a:pt x="104" y="179"/>
                </a:cubicBezTo>
                <a:cubicBezTo>
                  <a:pt x="105" y="180"/>
                  <a:pt x="105" y="180"/>
                  <a:pt x="105" y="180"/>
                </a:cubicBezTo>
                <a:cubicBezTo>
                  <a:pt x="106" y="180"/>
                  <a:pt x="107" y="180"/>
                  <a:pt x="108" y="181"/>
                </a:cubicBezTo>
                <a:cubicBezTo>
                  <a:pt x="108" y="181"/>
                  <a:pt x="108" y="181"/>
                  <a:pt x="108" y="181"/>
                </a:cubicBezTo>
                <a:cubicBezTo>
                  <a:pt x="108" y="181"/>
                  <a:pt x="108" y="181"/>
                  <a:pt x="108" y="181"/>
                </a:cubicBezTo>
                <a:cubicBezTo>
                  <a:pt x="109" y="181"/>
                  <a:pt x="109" y="181"/>
                  <a:pt x="110" y="181"/>
                </a:cubicBezTo>
                <a:cubicBezTo>
                  <a:pt x="111" y="182"/>
                  <a:pt x="111" y="182"/>
                  <a:pt x="111" y="183"/>
                </a:cubicBezTo>
                <a:cubicBezTo>
                  <a:pt x="111" y="183"/>
                  <a:pt x="111" y="183"/>
                  <a:pt x="111" y="183"/>
                </a:cubicBezTo>
                <a:cubicBezTo>
                  <a:pt x="111" y="183"/>
                  <a:pt x="111" y="183"/>
                  <a:pt x="111" y="183"/>
                </a:cubicBezTo>
                <a:cubicBezTo>
                  <a:pt x="112" y="183"/>
                  <a:pt x="112" y="184"/>
                  <a:pt x="112" y="184"/>
                </a:cubicBezTo>
                <a:cubicBezTo>
                  <a:pt x="112" y="184"/>
                  <a:pt x="112" y="184"/>
                  <a:pt x="112" y="184"/>
                </a:cubicBezTo>
                <a:cubicBezTo>
                  <a:pt x="113" y="184"/>
                  <a:pt x="113" y="185"/>
                  <a:pt x="113" y="185"/>
                </a:cubicBezTo>
                <a:cubicBezTo>
                  <a:pt x="114" y="185"/>
                  <a:pt x="115" y="185"/>
                  <a:pt x="116" y="185"/>
                </a:cubicBezTo>
                <a:cubicBezTo>
                  <a:pt x="116" y="185"/>
                  <a:pt x="116" y="185"/>
                  <a:pt x="116" y="185"/>
                </a:cubicBezTo>
                <a:cubicBezTo>
                  <a:pt x="117" y="186"/>
                  <a:pt x="118" y="186"/>
                  <a:pt x="119" y="186"/>
                </a:cubicBezTo>
                <a:cubicBezTo>
                  <a:pt x="120" y="186"/>
                  <a:pt x="120" y="187"/>
                  <a:pt x="121" y="188"/>
                </a:cubicBezTo>
                <a:cubicBezTo>
                  <a:pt x="121" y="188"/>
                  <a:pt x="121" y="189"/>
                  <a:pt x="122" y="189"/>
                </a:cubicBezTo>
                <a:cubicBezTo>
                  <a:pt x="122" y="189"/>
                  <a:pt x="122" y="189"/>
                  <a:pt x="123" y="190"/>
                </a:cubicBezTo>
                <a:cubicBezTo>
                  <a:pt x="123" y="190"/>
                  <a:pt x="123" y="190"/>
                  <a:pt x="123" y="190"/>
                </a:cubicBezTo>
                <a:cubicBezTo>
                  <a:pt x="123" y="190"/>
                  <a:pt x="123" y="190"/>
                  <a:pt x="123" y="190"/>
                </a:cubicBezTo>
                <a:cubicBezTo>
                  <a:pt x="123" y="190"/>
                  <a:pt x="123" y="190"/>
                  <a:pt x="123" y="190"/>
                </a:cubicBezTo>
                <a:cubicBezTo>
                  <a:pt x="123" y="190"/>
                  <a:pt x="123" y="190"/>
                  <a:pt x="123" y="190"/>
                </a:cubicBezTo>
                <a:cubicBezTo>
                  <a:pt x="124" y="190"/>
                  <a:pt x="124" y="190"/>
                  <a:pt x="124" y="190"/>
                </a:cubicBezTo>
                <a:cubicBezTo>
                  <a:pt x="125" y="190"/>
                  <a:pt x="125" y="190"/>
                  <a:pt x="125" y="190"/>
                </a:cubicBezTo>
                <a:cubicBezTo>
                  <a:pt x="125" y="190"/>
                  <a:pt x="126" y="190"/>
                  <a:pt x="126" y="190"/>
                </a:cubicBezTo>
                <a:cubicBezTo>
                  <a:pt x="126" y="190"/>
                  <a:pt x="126" y="190"/>
                  <a:pt x="126" y="190"/>
                </a:cubicBezTo>
                <a:cubicBezTo>
                  <a:pt x="128" y="190"/>
                  <a:pt x="130" y="189"/>
                  <a:pt x="131" y="190"/>
                </a:cubicBezTo>
                <a:cubicBezTo>
                  <a:pt x="131" y="190"/>
                  <a:pt x="131" y="190"/>
                  <a:pt x="132" y="190"/>
                </a:cubicBezTo>
                <a:cubicBezTo>
                  <a:pt x="132" y="190"/>
                  <a:pt x="132" y="190"/>
                  <a:pt x="132" y="190"/>
                </a:cubicBezTo>
                <a:cubicBezTo>
                  <a:pt x="132" y="191"/>
                  <a:pt x="132" y="191"/>
                  <a:pt x="132" y="191"/>
                </a:cubicBezTo>
                <a:cubicBezTo>
                  <a:pt x="133" y="191"/>
                  <a:pt x="133" y="191"/>
                  <a:pt x="133" y="191"/>
                </a:cubicBezTo>
                <a:cubicBezTo>
                  <a:pt x="134" y="192"/>
                  <a:pt x="134" y="192"/>
                  <a:pt x="135" y="193"/>
                </a:cubicBezTo>
                <a:cubicBezTo>
                  <a:pt x="137" y="194"/>
                  <a:pt x="137" y="194"/>
                  <a:pt x="137" y="194"/>
                </a:cubicBezTo>
                <a:cubicBezTo>
                  <a:pt x="137" y="194"/>
                  <a:pt x="137" y="195"/>
                  <a:pt x="138" y="195"/>
                </a:cubicBezTo>
                <a:cubicBezTo>
                  <a:pt x="138" y="196"/>
                  <a:pt x="138" y="196"/>
                  <a:pt x="138" y="197"/>
                </a:cubicBezTo>
                <a:cubicBezTo>
                  <a:pt x="138" y="197"/>
                  <a:pt x="138" y="197"/>
                  <a:pt x="138" y="197"/>
                </a:cubicBezTo>
                <a:cubicBezTo>
                  <a:pt x="138" y="197"/>
                  <a:pt x="138" y="197"/>
                  <a:pt x="138" y="197"/>
                </a:cubicBezTo>
                <a:cubicBezTo>
                  <a:pt x="138" y="197"/>
                  <a:pt x="138" y="197"/>
                  <a:pt x="138" y="197"/>
                </a:cubicBezTo>
                <a:cubicBezTo>
                  <a:pt x="138" y="199"/>
                  <a:pt x="138" y="200"/>
                  <a:pt x="139" y="201"/>
                </a:cubicBezTo>
                <a:cubicBezTo>
                  <a:pt x="139" y="203"/>
                  <a:pt x="140" y="204"/>
                  <a:pt x="140" y="205"/>
                </a:cubicBezTo>
                <a:cubicBezTo>
                  <a:pt x="140" y="206"/>
                  <a:pt x="140" y="206"/>
                  <a:pt x="140" y="206"/>
                </a:cubicBezTo>
                <a:cubicBezTo>
                  <a:pt x="140" y="206"/>
                  <a:pt x="140" y="206"/>
                  <a:pt x="140" y="206"/>
                </a:cubicBezTo>
                <a:cubicBezTo>
                  <a:pt x="140" y="207"/>
                  <a:pt x="140" y="207"/>
                  <a:pt x="140" y="207"/>
                </a:cubicBezTo>
                <a:cubicBezTo>
                  <a:pt x="140" y="207"/>
                  <a:pt x="140" y="207"/>
                  <a:pt x="140" y="207"/>
                </a:cubicBezTo>
                <a:cubicBezTo>
                  <a:pt x="140" y="207"/>
                  <a:pt x="140" y="207"/>
                  <a:pt x="140" y="207"/>
                </a:cubicBezTo>
                <a:cubicBezTo>
                  <a:pt x="140" y="207"/>
                  <a:pt x="140" y="207"/>
                  <a:pt x="140" y="207"/>
                </a:cubicBezTo>
                <a:cubicBezTo>
                  <a:pt x="139" y="208"/>
                  <a:pt x="139" y="208"/>
                  <a:pt x="139" y="208"/>
                </a:cubicBezTo>
                <a:cubicBezTo>
                  <a:pt x="139" y="208"/>
                  <a:pt x="139" y="208"/>
                  <a:pt x="139" y="208"/>
                </a:cubicBezTo>
                <a:cubicBezTo>
                  <a:pt x="139" y="208"/>
                  <a:pt x="139" y="208"/>
                  <a:pt x="139" y="208"/>
                </a:cubicBezTo>
                <a:cubicBezTo>
                  <a:pt x="139" y="209"/>
                  <a:pt x="138" y="209"/>
                  <a:pt x="138" y="209"/>
                </a:cubicBezTo>
                <a:cubicBezTo>
                  <a:pt x="138" y="209"/>
                  <a:pt x="138" y="209"/>
                  <a:pt x="138" y="209"/>
                </a:cubicBezTo>
                <a:cubicBezTo>
                  <a:pt x="139" y="210"/>
                  <a:pt x="139" y="210"/>
                  <a:pt x="139" y="210"/>
                </a:cubicBezTo>
                <a:cubicBezTo>
                  <a:pt x="140" y="212"/>
                  <a:pt x="140" y="214"/>
                  <a:pt x="140" y="216"/>
                </a:cubicBezTo>
                <a:cubicBezTo>
                  <a:pt x="140" y="216"/>
                  <a:pt x="140" y="217"/>
                  <a:pt x="140" y="217"/>
                </a:cubicBezTo>
                <a:cubicBezTo>
                  <a:pt x="141" y="218"/>
                  <a:pt x="141" y="218"/>
                  <a:pt x="141" y="218"/>
                </a:cubicBezTo>
                <a:cubicBezTo>
                  <a:pt x="141" y="218"/>
                  <a:pt x="141" y="219"/>
                  <a:pt x="141" y="219"/>
                </a:cubicBezTo>
                <a:cubicBezTo>
                  <a:pt x="141" y="219"/>
                  <a:pt x="141" y="219"/>
                  <a:pt x="141" y="219"/>
                </a:cubicBezTo>
                <a:cubicBezTo>
                  <a:pt x="141" y="219"/>
                  <a:pt x="141" y="219"/>
                  <a:pt x="142" y="219"/>
                </a:cubicBezTo>
                <a:cubicBezTo>
                  <a:pt x="145" y="219"/>
                  <a:pt x="145" y="219"/>
                  <a:pt x="145" y="219"/>
                </a:cubicBezTo>
                <a:cubicBezTo>
                  <a:pt x="147" y="219"/>
                  <a:pt x="149" y="219"/>
                  <a:pt x="151" y="219"/>
                </a:cubicBezTo>
                <a:cubicBezTo>
                  <a:pt x="158" y="219"/>
                  <a:pt x="158" y="219"/>
                  <a:pt x="158" y="219"/>
                </a:cubicBezTo>
                <a:cubicBezTo>
                  <a:pt x="158" y="219"/>
                  <a:pt x="158" y="219"/>
                  <a:pt x="158" y="219"/>
                </a:cubicBezTo>
                <a:cubicBezTo>
                  <a:pt x="159" y="219"/>
                  <a:pt x="159" y="219"/>
                  <a:pt x="159" y="219"/>
                </a:cubicBezTo>
                <a:cubicBezTo>
                  <a:pt x="159" y="219"/>
                  <a:pt x="159" y="219"/>
                  <a:pt x="159" y="219"/>
                </a:cubicBezTo>
                <a:cubicBezTo>
                  <a:pt x="159" y="220"/>
                  <a:pt x="159" y="220"/>
                  <a:pt x="159" y="220"/>
                </a:cubicBezTo>
                <a:cubicBezTo>
                  <a:pt x="159" y="221"/>
                  <a:pt x="159" y="221"/>
                  <a:pt x="159" y="221"/>
                </a:cubicBezTo>
                <a:cubicBezTo>
                  <a:pt x="159" y="221"/>
                  <a:pt x="159" y="221"/>
                  <a:pt x="159" y="222"/>
                </a:cubicBezTo>
                <a:cubicBezTo>
                  <a:pt x="159" y="222"/>
                  <a:pt x="159" y="223"/>
                  <a:pt x="159" y="223"/>
                </a:cubicBezTo>
                <a:cubicBezTo>
                  <a:pt x="159" y="223"/>
                  <a:pt x="159" y="223"/>
                  <a:pt x="159" y="223"/>
                </a:cubicBezTo>
                <a:cubicBezTo>
                  <a:pt x="158" y="224"/>
                  <a:pt x="158" y="224"/>
                  <a:pt x="158" y="224"/>
                </a:cubicBezTo>
                <a:cubicBezTo>
                  <a:pt x="158" y="225"/>
                  <a:pt x="158" y="225"/>
                  <a:pt x="158" y="227"/>
                </a:cubicBezTo>
                <a:cubicBezTo>
                  <a:pt x="158" y="229"/>
                  <a:pt x="159" y="230"/>
                  <a:pt x="160" y="231"/>
                </a:cubicBezTo>
                <a:cubicBezTo>
                  <a:pt x="161" y="231"/>
                  <a:pt x="162" y="231"/>
                  <a:pt x="163" y="232"/>
                </a:cubicBezTo>
                <a:cubicBezTo>
                  <a:pt x="165" y="232"/>
                  <a:pt x="165" y="234"/>
                  <a:pt x="166" y="235"/>
                </a:cubicBezTo>
                <a:cubicBezTo>
                  <a:pt x="166" y="235"/>
                  <a:pt x="166" y="236"/>
                  <a:pt x="166" y="236"/>
                </a:cubicBezTo>
                <a:cubicBezTo>
                  <a:pt x="166" y="237"/>
                  <a:pt x="166" y="237"/>
                  <a:pt x="166" y="237"/>
                </a:cubicBezTo>
                <a:cubicBezTo>
                  <a:pt x="166" y="238"/>
                  <a:pt x="167" y="238"/>
                  <a:pt x="167" y="238"/>
                </a:cubicBezTo>
                <a:cubicBezTo>
                  <a:pt x="167" y="238"/>
                  <a:pt x="167" y="238"/>
                  <a:pt x="167" y="238"/>
                </a:cubicBezTo>
                <a:cubicBezTo>
                  <a:pt x="167" y="239"/>
                  <a:pt x="168" y="239"/>
                  <a:pt x="168" y="240"/>
                </a:cubicBezTo>
                <a:cubicBezTo>
                  <a:pt x="169" y="242"/>
                  <a:pt x="169" y="242"/>
                  <a:pt x="169" y="242"/>
                </a:cubicBezTo>
                <a:cubicBezTo>
                  <a:pt x="167" y="242"/>
                  <a:pt x="167" y="242"/>
                  <a:pt x="167" y="242"/>
                </a:cubicBezTo>
                <a:cubicBezTo>
                  <a:pt x="167" y="243"/>
                  <a:pt x="166" y="244"/>
                  <a:pt x="166" y="245"/>
                </a:cubicBezTo>
                <a:cubicBezTo>
                  <a:pt x="166" y="245"/>
                  <a:pt x="166" y="245"/>
                  <a:pt x="166" y="245"/>
                </a:cubicBezTo>
                <a:cubicBezTo>
                  <a:pt x="166" y="246"/>
                  <a:pt x="166" y="246"/>
                  <a:pt x="166" y="246"/>
                </a:cubicBezTo>
                <a:cubicBezTo>
                  <a:pt x="166" y="247"/>
                  <a:pt x="166" y="247"/>
                  <a:pt x="166" y="247"/>
                </a:cubicBezTo>
                <a:cubicBezTo>
                  <a:pt x="166" y="247"/>
                  <a:pt x="166" y="247"/>
                  <a:pt x="166" y="247"/>
                </a:cubicBezTo>
                <a:cubicBezTo>
                  <a:pt x="166" y="248"/>
                  <a:pt x="165" y="248"/>
                  <a:pt x="165" y="249"/>
                </a:cubicBezTo>
                <a:cubicBezTo>
                  <a:pt x="165" y="249"/>
                  <a:pt x="165" y="250"/>
                  <a:pt x="164" y="251"/>
                </a:cubicBezTo>
                <a:cubicBezTo>
                  <a:pt x="164" y="252"/>
                  <a:pt x="164" y="252"/>
                  <a:pt x="164" y="252"/>
                </a:cubicBezTo>
                <a:cubicBezTo>
                  <a:pt x="164" y="253"/>
                  <a:pt x="163" y="253"/>
                  <a:pt x="163" y="253"/>
                </a:cubicBezTo>
                <a:cubicBezTo>
                  <a:pt x="163" y="254"/>
                  <a:pt x="163" y="254"/>
                  <a:pt x="163" y="254"/>
                </a:cubicBezTo>
                <a:cubicBezTo>
                  <a:pt x="163" y="255"/>
                  <a:pt x="162" y="255"/>
                  <a:pt x="162" y="256"/>
                </a:cubicBezTo>
                <a:cubicBezTo>
                  <a:pt x="164" y="257"/>
                  <a:pt x="164" y="257"/>
                  <a:pt x="164" y="257"/>
                </a:cubicBezTo>
                <a:cubicBezTo>
                  <a:pt x="162" y="257"/>
                  <a:pt x="162" y="257"/>
                  <a:pt x="162" y="257"/>
                </a:cubicBezTo>
                <a:cubicBezTo>
                  <a:pt x="162" y="257"/>
                  <a:pt x="162" y="257"/>
                  <a:pt x="162" y="257"/>
                </a:cubicBezTo>
                <a:cubicBezTo>
                  <a:pt x="162" y="257"/>
                  <a:pt x="163" y="257"/>
                  <a:pt x="163" y="257"/>
                </a:cubicBezTo>
                <a:cubicBezTo>
                  <a:pt x="163" y="258"/>
                  <a:pt x="164" y="259"/>
                  <a:pt x="164" y="259"/>
                </a:cubicBezTo>
                <a:cubicBezTo>
                  <a:pt x="164" y="260"/>
                  <a:pt x="163" y="261"/>
                  <a:pt x="162" y="261"/>
                </a:cubicBezTo>
                <a:cubicBezTo>
                  <a:pt x="162" y="261"/>
                  <a:pt x="162" y="261"/>
                  <a:pt x="162" y="261"/>
                </a:cubicBezTo>
                <a:cubicBezTo>
                  <a:pt x="162" y="261"/>
                  <a:pt x="162" y="261"/>
                  <a:pt x="162" y="261"/>
                </a:cubicBezTo>
                <a:cubicBezTo>
                  <a:pt x="162" y="261"/>
                  <a:pt x="161" y="261"/>
                  <a:pt x="161" y="262"/>
                </a:cubicBezTo>
                <a:cubicBezTo>
                  <a:pt x="161" y="262"/>
                  <a:pt x="161" y="262"/>
                  <a:pt x="161" y="262"/>
                </a:cubicBezTo>
                <a:cubicBezTo>
                  <a:pt x="155" y="269"/>
                  <a:pt x="155" y="269"/>
                  <a:pt x="155" y="269"/>
                </a:cubicBezTo>
                <a:cubicBezTo>
                  <a:pt x="159" y="261"/>
                  <a:pt x="159" y="261"/>
                  <a:pt x="159" y="261"/>
                </a:cubicBezTo>
                <a:cubicBezTo>
                  <a:pt x="159" y="260"/>
                  <a:pt x="159" y="260"/>
                  <a:pt x="159" y="260"/>
                </a:cubicBezTo>
                <a:cubicBezTo>
                  <a:pt x="159" y="260"/>
                  <a:pt x="159" y="259"/>
                  <a:pt x="159" y="259"/>
                </a:cubicBezTo>
                <a:cubicBezTo>
                  <a:pt x="159" y="259"/>
                  <a:pt x="159" y="259"/>
                  <a:pt x="159" y="259"/>
                </a:cubicBezTo>
                <a:cubicBezTo>
                  <a:pt x="159" y="258"/>
                  <a:pt x="159" y="258"/>
                  <a:pt x="159" y="258"/>
                </a:cubicBezTo>
                <a:cubicBezTo>
                  <a:pt x="159" y="258"/>
                  <a:pt x="159" y="258"/>
                  <a:pt x="159" y="258"/>
                </a:cubicBezTo>
                <a:cubicBezTo>
                  <a:pt x="150" y="253"/>
                  <a:pt x="150" y="253"/>
                  <a:pt x="150" y="253"/>
                </a:cubicBezTo>
                <a:cubicBezTo>
                  <a:pt x="150" y="253"/>
                  <a:pt x="149" y="253"/>
                  <a:pt x="149" y="253"/>
                </a:cubicBezTo>
                <a:cubicBezTo>
                  <a:pt x="147" y="253"/>
                  <a:pt x="147" y="253"/>
                  <a:pt x="147" y="253"/>
                </a:cubicBezTo>
                <a:cubicBezTo>
                  <a:pt x="147" y="253"/>
                  <a:pt x="147" y="253"/>
                  <a:pt x="147" y="253"/>
                </a:cubicBezTo>
                <a:cubicBezTo>
                  <a:pt x="146" y="253"/>
                  <a:pt x="145" y="253"/>
                  <a:pt x="144" y="253"/>
                </a:cubicBezTo>
                <a:cubicBezTo>
                  <a:pt x="144" y="253"/>
                  <a:pt x="144" y="253"/>
                  <a:pt x="144" y="253"/>
                </a:cubicBezTo>
                <a:cubicBezTo>
                  <a:pt x="142" y="253"/>
                  <a:pt x="141" y="253"/>
                  <a:pt x="139" y="254"/>
                </a:cubicBezTo>
                <a:cubicBezTo>
                  <a:pt x="138" y="254"/>
                  <a:pt x="138" y="254"/>
                  <a:pt x="138" y="254"/>
                </a:cubicBezTo>
                <a:cubicBezTo>
                  <a:pt x="137" y="254"/>
                  <a:pt x="136" y="255"/>
                  <a:pt x="134" y="255"/>
                </a:cubicBezTo>
                <a:cubicBezTo>
                  <a:pt x="132" y="255"/>
                  <a:pt x="130" y="256"/>
                  <a:pt x="128" y="256"/>
                </a:cubicBezTo>
                <a:cubicBezTo>
                  <a:pt x="125" y="257"/>
                  <a:pt x="125" y="257"/>
                  <a:pt x="125" y="257"/>
                </a:cubicBezTo>
                <a:cubicBezTo>
                  <a:pt x="124" y="257"/>
                  <a:pt x="124" y="257"/>
                  <a:pt x="124" y="257"/>
                </a:cubicBezTo>
                <a:cubicBezTo>
                  <a:pt x="124" y="258"/>
                  <a:pt x="124" y="258"/>
                  <a:pt x="124" y="258"/>
                </a:cubicBezTo>
                <a:cubicBezTo>
                  <a:pt x="123" y="259"/>
                  <a:pt x="123" y="260"/>
                  <a:pt x="122" y="261"/>
                </a:cubicBezTo>
                <a:cubicBezTo>
                  <a:pt x="122" y="262"/>
                  <a:pt x="122" y="262"/>
                  <a:pt x="121" y="262"/>
                </a:cubicBezTo>
                <a:cubicBezTo>
                  <a:pt x="121" y="263"/>
                  <a:pt x="121" y="264"/>
                  <a:pt x="120" y="264"/>
                </a:cubicBezTo>
                <a:cubicBezTo>
                  <a:pt x="120" y="265"/>
                  <a:pt x="120" y="265"/>
                  <a:pt x="120" y="266"/>
                </a:cubicBezTo>
                <a:cubicBezTo>
                  <a:pt x="120" y="266"/>
                  <a:pt x="120" y="266"/>
                  <a:pt x="119" y="267"/>
                </a:cubicBezTo>
                <a:cubicBezTo>
                  <a:pt x="119" y="268"/>
                  <a:pt x="119" y="268"/>
                  <a:pt x="119" y="268"/>
                </a:cubicBezTo>
                <a:cubicBezTo>
                  <a:pt x="119" y="269"/>
                  <a:pt x="119" y="270"/>
                  <a:pt x="119" y="270"/>
                </a:cubicBezTo>
                <a:cubicBezTo>
                  <a:pt x="119" y="272"/>
                  <a:pt x="119" y="273"/>
                  <a:pt x="118" y="275"/>
                </a:cubicBezTo>
                <a:cubicBezTo>
                  <a:pt x="118" y="275"/>
                  <a:pt x="118" y="275"/>
                  <a:pt x="118" y="275"/>
                </a:cubicBezTo>
                <a:cubicBezTo>
                  <a:pt x="118" y="276"/>
                  <a:pt x="117" y="276"/>
                  <a:pt x="117" y="276"/>
                </a:cubicBezTo>
                <a:cubicBezTo>
                  <a:pt x="117" y="278"/>
                  <a:pt x="117" y="278"/>
                  <a:pt x="117" y="278"/>
                </a:cubicBezTo>
                <a:cubicBezTo>
                  <a:pt x="117" y="279"/>
                  <a:pt x="116" y="280"/>
                  <a:pt x="116" y="281"/>
                </a:cubicBezTo>
                <a:cubicBezTo>
                  <a:pt x="116" y="282"/>
                  <a:pt x="116" y="282"/>
                  <a:pt x="115" y="283"/>
                </a:cubicBezTo>
                <a:cubicBezTo>
                  <a:pt x="115" y="283"/>
                  <a:pt x="115" y="283"/>
                  <a:pt x="115" y="283"/>
                </a:cubicBezTo>
                <a:cubicBezTo>
                  <a:pt x="116" y="283"/>
                  <a:pt x="116" y="283"/>
                  <a:pt x="117" y="284"/>
                </a:cubicBezTo>
                <a:cubicBezTo>
                  <a:pt x="117" y="284"/>
                  <a:pt x="118" y="285"/>
                  <a:pt x="118" y="285"/>
                </a:cubicBezTo>
                <a:cubicBezTo>
                  <a:pt x="118" y="285"/>
                  <a:pt x="118" y="285"/>
                  <a:pt x="119" y="286"/>
                </a:cubicBezTo>
                <a:cubicBezTo>
                  <a:pt x="119" y="286"/>
                  <a:pt x="119" y="287"/>
                  <a:pt x="120" y="287"/>
                </a:cubicBezTo>
                <a:cubicBezTo>
                  <a:pt x="120" y="287"/>
                  <a:pt x="120" y="287"/>
                  <a:pt x="120" y="287"/>
                </a:cubicBezTo>
                <a:cubicBezTo>
                  <a:pt x="120" y="288"/>
                  <a:pt x="120" y="288"/>
                  <a:pt x="120" y="288"/>
                </a:cubicBezTo>
                <a:cubicBezTo>
                  <a:pt x="121" y="287"/>
                  <a:pt x="121" y="287"/>
                  <a:pt x="121" y="287"/>
                </a:cubicBezTo>
                <a:cubicBezTo>
                  <a:pt x="121" y="288"/>
                  <a:pt x="121" y="288"/>
                  <a:pt x="121" y="288"/>
                </a:cubicBezTo>
                <a:cubicBezTo>
                  <a:pt x="121" y="288"/>
                  <a:pt x="121" y="288"/>
                  <a:pt x="121" y="288"/>
                </a:cubicBezTo>
                <a:cubicBezTo>
                  <a:pt x="121" y="289"/>
                  <a:pt x="121" y="289"/>
                  <a:pt x="121" y="289"/>
                </a:cubicBezTo>
                <a:cubicBezTo>
                  <a:pt x="122" y="290"/>
                  <a:pt x="122" y="290"/>
                  <a:pt x="122" y="290"/>
                </a:cubicBezTo>
                <a:cubicBezTo>
                  <a:pt x="122" y="290"/>
                  <a:pt x="122" y="291"/>
                  <a:pt x="123" y="291"/>
                </a:cubicBezTo>
                <a:cubicBezTo>
                  <a:pt x="124" y="292"/>
                  <a:pt x="124" y="292"/>
                  <a:pt x="124" y="292"/>
                </a:cubicBezTo>
                <a:cubicBezTo>
                  <a:pt x="124" y="292"/>
                  <a:pt x="124" y="293"/>
                  <a:pt x="125" y="293"/>
                </a:cubicBezTo>
                <a:cubicBezTo>
                  <a:pt x="125" y="294"/>
                  <a:pt x="125" y="294"/>
                  <a:pt x="125" y="294"/>
                </a:cubicBezTo>
                <a:cubicBezTo>
                  <a:pt x="126" y="294"/>
                  <a:pt x="126" y="294"/>
                  <a:pt x="126" y="294"/>
                </a:cubicBezTo>
                <a:cubicBezTo>
                  <a:pt x="126" y="295"/>
                  <a:pt x="127" y="295"/>
                  <a:pt x="128" y="296"/>
                </a:cubicBezTo>
                <a:cubicBezTo>
                  <a:pt x="128" y="296"/>
                  <a:pt x="128" y="296"/>
                  <a:pt x="128" y="296"/>
                </a:cubicBezTo>
                <a:cubicBezTo>
                  <a:pt x="128" y="296"/>
                  <a:pt x="129" y="297"/>
                  <a:pt x="130" y="298"/>
                </a:cubicBezTo>
                <a:cubicBezTo>
                  <a:pt x="131" y="299"/>
                  <a:pt x="132" y="299"/>
                  <a:pt x="133" y="300"/>
                </a:cubicBezTo>
                <a:cubicBezTo>
                  <a:pt x="133" y="300"/>
                  <a:pt x="133" y="300"/>
                  <a:pt x="133" y="300"/>
                </a:cubicBezTo>
                <a:cubicBezTo>
                  <a:pt x="133" y="300"/>
                  <a:pt x="133" y="300"/>
                  <a:pt x="134" y="300"/>
                </a:cubicBezTo>
                <a:cubicBezTo>
                  <a:pt x="134" y="300"/>
                  <a:pt x="134" y="300"/>
                  <a:pt x="134" y="300"/>
                </a:cubicBezTo>
                <a:cubicBezTo>
                  <a:pt x="135" y="300"/>
                  <a:pt x="136" y="300"/>
                  <a:pt x="137" y="300"/>
                </a:cubicBezTo>
                <a:cubicBezTo>
                  <a:pt x="137" y="300"/>
                  <a:pt x="138" y="300"/>
                  <a:pt x="138" y="300"/>
                </a:cubicBezTo>
                <a:cubicBezTo>
                  <a:pt x="139" y="301"/>
                  <a:pt x="140" y="301"/>
                  <a:pt x="142" y="301"/>
                </a:cubicBezTo>
                <a:cubicBezTo>
                  <a:pt x="143" y="302"/>
                  <a:pt x="144" y="303"/>
                  <a:pt x="145" y="304"/>
                </a:cubicBezTo>
                <a:cubicBezTo>
                  <a:pt x="146" y="304"/>
                  <a:pt x="146" y="304"/>
                  <a:pt x="146" y="304"/>
                </a:cubicBezTo>
                <a:cubicBezTo>
                  <a:pt x="147" y="305"/>
                  <a:pt x="147" y="305"/>
                  <a:pt x="148" y="306"/>
                </a:cubicBezTo>
                <a:cubicBezTo>
                  <a:pt x="152" y="308"/>
                  <a:pt x="156" y="310"/>
                  <a:pt x="159" y="312"/>
                </a:cubicBezTo>
                <a:cubicBezTo>
                  <a:pt x="161" y="313"/>
                  <a:pt x="163" y="314"/>
                  <a:pt x="165" y="315"/>
                </a:cubicBezTo>
                <a:cubicBezTo>
                  <a:pt x="166" y="315"/>
                  <a:pt x="166" y="316"/>
                  <a:pt x="167" y="317"/>
                </a:cubicBezTo>
                <a:cubicBezTo>
                  <a:pt x="167" y="318"/>
                  <a:pt x="167" y="320"/>
                  <a:pt x="166" y="320"/>
                </a:cubicBezTo>
                <a:cubicBezTo>
                  <a:pt x="166" y="322"/>
                  <a:pt x="165" y="323"/>
                  <a:pt x="164" y="324"/>
                </a:cubicBezTo>
                <a:cubicBezTo>
                  <a:pt x="163" y="325"/>
                  <a:pt x="163" y="325"/>
                  <a:pt x="162" y="326"/>
                </a:cubicBezTo>
                <a:cubicBezTo>
                  <a:pt x="161" y="328"/>
                  <a:pt x="160" y="330"/>
                  <a:pt x="159" y="333"/>
                </a:cubicBezTo>
                <a:cubicBezTo>
                  <a:pt x="159" y="334"/>
                  <a:pt x="159" y="334"/>
                  <a:pt x="159" y="334"/>
                </a:cubicBezTo>
                <a:cubicBezTo>
                  <a:pt x="159" y="335"/>
                  <a:pt x="158" y="336"/>
                  <a:pt x="157" y="336"/>
                </a:cubicBezTo>
                <a:cubicBezTo>
                  <a:pt x="157" y="337"/>
                  <a:pt x="156" y="337"/>
                  <a:pt x="156" y="337"/>
                </a:cubicBezTo>
                <a:cubicBezTo>
                  <a:pt x="156" y="337"/>
                  <a:pt x="156" y="337"/>
                  <a:pt x="156" y="337"/>
                </a:cubicBezTo>
                <a:cubicBezTo>
                  <a:pt x="159" y="337"/>
                  <a:pt x="162" y="337"/>
                  <a:pt x="164" y="337"/>
                </a:cubicBezTo>
                <a:cubicBezTo>
                  <a:pt x="164" y="337"/>
                  <a:pt x="164" y="337"/>
                  <a:pt x="164" y="337"/>
                </a:cubicBezTo>
                <a:cubicBezTo>
                  <a:pt x="165" y="337"/>
                  <a:pt x="166" y="337"/>
                  <a:pt x="167" y="338"/>
                </a:cubicBezTo>
                <a:cubicBezTo>
                  <a:pt x="168" y="338"/>
                  <a:pt x="169" y="339"/>
                  <a:pt x="171" y="338"/>
                </a:cubicBezTo>
                <a:cubicBezTo>
                  <a:pt x="172" y="338"/>
                  <a:pt x="172" y="338"/>
                  <a:pt x="172" y="338"/>
                </a:cubicBezTo>
                <a:cubicBezTo>
                  <a:pt x="173" y="338"/>
                  <a:pt x="174" y="338"/>
                  <a:pt x="176" y="339"/>
                </a:cubicBezTo>
                <a:cubicBezTo>
                  <a:pt x="176" y="339"/>
                  <a:pt x="177" y="339"/>
                  <a:pt x="177" y="339"/>
                </a:cubicBezTo>
                <a:cubicBezTo>
                  <a:pt x="178" y="340"/>
                  <a:pt x="178" y="340"/>
                  <a:pt x="178" y="340"/>
                </a:cubicBezTo>
                <a:cubicBezTo>
                  <a:pt x="178" y="340"/>
                  <a:pt x="178" y="340"/>
                  <a:pt x="178" y="340"/>
                </a:cubicBezTo>
                <a:cubicBezTo>
                  <a:pt x="178" y="340"/>
                  <a:pt x="178" y="339"/>
                  <a:pt x="178" y="339"/>
                </a:cubicBezTo>
                <a:cubicBezTo>
                  <a:pt x="179" y="339"/>
                  <a:pt x="179" y="339"/>
                  <a:pt x="179" y="339"/>
                </a:cubicBezTo>
                <a:cubicBezTo>
                  <a:pt x="180" y="338"/>
                  <a:pt x="180" y="338"/>
                  <a:pt x="181" y="338"/>
                </a:cubicBezTo>
                <a:cubicBezTo>
                  <a:pt x="182" y="338"/>
                  <a:pt x="182" y="338"/>
                  <a:pt x="182" y="338"/>
                </a:cubicBezTo>
                <a:cubicBezTo>
                  <a:pt x="182" y="337"/>
                  <a:pt x="182" y="337"/>
                  <a:pt x="182" y="337"/>
                </a:cubicBezTo>
                <a:cubicBezTo>
                  <a:pt x="183" y="337"/>
                  <a:pt x="183" y="338"/>
                  <a:pt x="183" y="338"/>
                </a:cubicBezTo>
                <a:cubicBezTo>
                  <a:pt x="184" y="338"/>
                  <a:pt x="184" y="338"/>
                  <a:pt x="184" y="338"/>
                </a:cubicBezTo>
                <a:cubicBezTo>
                  <a:pt x="184" y="338"/>
                  <a:pt x="184" y="338"/>
                  <a:pt x="184" y="338"/>
                </a:cubicBezTo>
                <a:cubicBezTo>
                  <a:pt x="184" y="338"/>
                  <a:pt x="184" y="338"/>
                  <a:pt x="184" y="338"/>
                </a:cubicBezTo>
                <a:cubicBezTo>
                  <a:pt x="184" y="338"/>
                  <a:pt x="184" y="338"/>
                  <a:pt x="184" y="338"/>
                </a:cubicBezTo>
                <a:cubicBezTo>
                  <a:pt x="184" y="338"/>
                  <a:pt x="185" y="338"/>
                  <a:pt x="185" y="337"/>
                </a:cubicBezTo>
                <a:cubicBezTo>
                  <a:pt x="185" y="337"/>
                  <a:pt x="185" y="337"/>
                  <a:pt x="185" y="337"/>
                </a:cubicBezTo>
                <a:cubicBezTo>
                  <a:pt x="185" y="336"/>
                  <a:pt x="186" y="335"/>
                  <a:pt x="186" y="335"/>
                </a:cubicBezTo>
                <a:cubicBezTo>
                  <a:pt x="187" y="335"/>
                  <a:pt x="187" y="334"/>
                  <a:pt x="188" y="334"/>
                </a:cubicBezTo>
                <a:cubicBezTo>
                  <a:pt x="188" y="334"/>
                  <a:pt x="189" y="333"/>
                  <a:pt x="190" y="332"/>
                </a:cubicBezTo>
                <a:cubicBezTo>
                  <a:pt x="191" y="332"/>
                  <a:pt x="191" y="331"/>
                  <a:pt x="192" y="330"/>
                </a:cubicBezTo>
                <a:cubicBezTo>
                  <a:pt x="193" y="330"/>
                  <a:pt x="193" y="329"/>
                  <a:pt x="194" y="329"/>
                </a:cubicBezTo>
                <a:cubicBezTo>
                  <a:pt x="194" y="326"/>
                  <a:pt x="195" y="323"/>
                  <a:pt x="195" y="320"/>
                </a:cubicBezTo>
                <a:cubicBezTo>
                  <a:pt x="195" y="317"/>
                  <a:pt x="195" y="317"/>
                  <a:pt x="195" y="317"/>
                </a:cubicBezTo>
                <a:cubicBezTo>
                  <a:pt x="197" y="319"/>
                  <a:pt x="197" y="319"/>
                  <a:pt x="197" y="319"/>
                </a:cubicBezTo>
                <a:cubicBezTo>
                  <a:pt x="197" y="319"/>
                  <a:pt x="198" y="319"/>
                  <a:pt x="198" y="319"/>
                </a:cubicBezTo>
                <a:cubicBezTo>
                  <a:pt x="199" y="317"/>
                  <a:pt x="199" y="317"/>
                  <a:pt x="199" y="317"/>
                </a:cubicBezTo>
                <a:cubicBezTo>
                  <a:pt x="198" y="319"/>
                  <a:pt x="198" y="319"/>
                  <a:pt x="198" y="319"/>
                </a:cubicBezTo>
                <a:cubicBezTo>
                  <a:pt x="198" y="319"/>
                  <a:pt x="199" y="319"/>
                  <a:pt x="199" y="319"/>
                </a:cubicBezTo>
                <a:cubicBezTo>
                  <a:pt x="199" y="319"/>
                  <a:pt x="199" y="318"/>
                  <a:pt x="200" y="318"/>
                </a:cubicBezTo>
                <a:cubicBezTo>
                  <a:pt x="200" y="318"/>
                  <a:pt x="201" y="318"/>
                  <a:pt x="201" y="318"/>
                </a:cubicBezTo>
                <a:cubicBezTo>
                  <a:pt x="202" y="318"/>
                  <a:pt x="202" y="318"/>
                  <a:pt x="202" y="318"/>
                </a:cubicBezTo>
                <a:cubicBezTo>
                  <a:pt x="202" y="318"/>
                  <a:pt x="203" y="319"/>
                  <a:pt x="204" y="319"/>
                </a:cubicBezTo>
                <a:cubicBezTo>
                  <a:pt x="204" y="319"/>
                  <a:pt x="204" y="319"/>
                  <a:pt x="204" y="319"/>
                </a:cubicBezTo>
                <a:cubicBezTo>
                  <a:pt x="204" y="319"/>
                  <a:pt x="204" y="320"/>
                  <a:pt x="204" y="320"/>
                </a:cubicBezTo>
                <a:cubicBezTo>
                  <a:pt x="207" y="325"/>
                  <a:pt x="207" y="325"/>
                  <a:pt x="207" y="325"/>
                </a:cubicBezTo>
                <a:cubicBezTo>
                  <a:pt x="207" y="327"/>
                  <a:pt x="207" y="329"/>
                  <a:pt x="207" y="331"/>
                </a:cubicBezTo>
                <a:cubicBezTo>
                  <a:pt x="207" y="331"/>
                  <a:pt x="207" y="331"/>
                  <a:pt x="207" y="331"/>
                </a:cubicBezTo>
                <a:cubicBezTo>
                  <a:pt x="207" y="332"/>
                  <a:pt x="207" y="332"/>
                  <a:pt x="207" y="333"/>
                </a:cubicBezTo>
                <a:cubicBezTo>
                  <a:pt x="206" y="333"/>
                  <a:pt x="206" y="333"/>
                  <a:pt x="206" y="333"/>
                </a:cubicBezTo>
                <a:cubicBezTo>
                  <a:pt x="206" y="334"/>
                  <a:pt x="206" y="334"/>
                  <a:pt x="206" y="334"/>
                </a:cubicBezTo>
                <a:cubicBezTo>
                  <a:pt x="206" y="334"/>
                  <a:pt x="206" y="335"/>
                  <a:pt x="206" y="335"/>
                </a:cubicBezTo>
                <a:cubicBezTo>
                  <a:pt x="206" y="336"/>
                  <a:pt x="206" y="336"/>
                  <a:pt x="206" y="336"/>
                </a:cubicBezTo>
                <a:cubicBezTo>
                  <a:pt x="206" y="336"/>
                  <a:pt x="206" y="336"/>
                  <a:pt x="206" y="336"/>
                </a:cubicBezTo>
                <a:cubicBezTo>
                  <a:pt x="205" y="337"/>
                  <a:pt x="205" y="337"/>
                  <a:pt x="205" y="337"/>
                </a:cubicBezTo>
                <a:cubicBezTo>
                  <a:pt x="205" y="338"/>
                  <a:pt x="204" y="338"/>
                  <a:pt x="204" y="338"/>
                </a:cubicBezTo>
                <a:cubicBezTo>
                  <a:pt x="203" y="339"/>
                  <a:pt x="203" y="339"/>
                  <a:pt x="203" y="339"/>
                </a:cubicBezTo>
                <a:cubicBezTo>
                  <a:pt x="203" y="339"/>
                  <a:pt x="203" y="339"/>
                  <a:pt x="203" y="339"/>
                </a:cubicBezTo>
                <a:cubicBezTo>
                  <a:pt x="200" y="340"/>
                  <a:pt x="198" y="341"/>
                  <a:pt x="195" y="342"/>
                </a:cubicBezTo>
                <a:cubicBezTo>
                  <a:pt x="195" y="342"/>
                  <a:pt x="194" y="343"/>
                  <a:pt x="193" y="343"/>
                </a:cubicBezTo>
                <a:cubicBezTo>
                  <a:pt x="193" y="344"/>
                  <a:pt x="192" y="344"/>
                  <a:pt x="192" y="344"/>
                </a:cubicBezTo>
                <a:cubicBezTo>
                  <a:pt x="192" y="345"/>
                  <a:pt x="191" y="345"/>
                  <a:pt x="191" y="345"/>
                </a:cubicBezTo>
                <a:cubicBezTo>
                  <a:pt x="191" y="346"/>
                  <a:pt x="191" y="346"/>
                  <a:pt x="191" y="346"/>
                </a:cubicBezTo>
                <a:cubicBezTo>
                  <a:pt x="190" y="346"/>
                  <a:pt x="190" y="346"/>
                  <a:pt x="190" y="346"/>
                </a:cubicBezTo>
                <a:cubicBezTo>
                  <a:pt x="189" y="347"/>
                  <a:pt x="189" y="347"/>
                  <a:pt x="189" y="347"/>
                </a:cubicBezTo>
                <a:cubicBezTo>
                  <a:pt x="189" y="347"/>
                  <a:pt x="189" y="347"/>
                  <a:pt x="189" y="348"/>
                </a:cubicBezTo>
                <a:cubicBezTo>
                  <a:pt x="188" y="348"/>
                  <a:pt x="188" y="348"/>
                  <a:pt x="188" y="348"/>
                </a:cubicBezTo>
                <a:cubicBezTo>
                  <a:pt x="188" y="348"/>
                  <a:pt x="188" y="348"/>
                  <a:pt x="188" y="348"/>
                </a:cubicBezTo>
                <a:cubicBezTo>
                  <a:pt x="188" y="348"/>
                  <a:pt x="188" y="348"/>
                  <a:pt x="188" y="348"/>
                </a:cubicBezTo>
                <a:cubicBezTo>
                  <a:pt x="187" y="348"/>
                  <a:pt x="187" y="348"/>
                  <a:pt x="187" y="348"/>
                </a:cubicBezTo>
                <a:cubicBezTo>
                  <a:pt x="186" y="349"/>
                  <a:pt x="186" y="349"/>
                  <a:pt x="186" y="349"/>
                </a:cubicBezTo>
                <a:cubicBezTo>
                  <a:pt x="186" y="349"/>
                  <a:pt x="186" y="349"/>
                  <a:pt x="186" y="349"/>
                </a:cubicBezTo>
                <a:cubicBezTo>
                  <a:pt x="186" y="349"/>
                  <a:pt x="186" y="349"/>
                  <a:pt x="186" y="349"/>
                </a:cubicBezTo>
                <a:cubicBezTo>
                  <a:pt x="186" y="350"/>
                  <a:pt x="186" y="350"/>
                  <a:pt x="186" y="350"/>
                </a:cubicBezTo>
                <a:cubicBezTo>
                  <a:pt x="186" y="352"/>
                  <a:pt x="186" y="352"/>
                  <a:pt x="186" y="352"/>
                </a:cubicBezTo>
                <a:cubicBezTo>
                  <a:pt x="185" y="352"/>
                  <a:pt x="185" y="352"/>
                  <a:pt x="185" y="352"/>
                </a:cubicBezTo>
                <a:cubicBezTo>
                  <a:pt x="185" y="352"/>
                  <a:pt x="185" y="352"/>
                  <a:pt x="185" y="352"/>
                </a:cubicBezTo>
                <a:cubicBezTo>
                  <a:pt x="184" y="352"/>
                  <a:pt x="182" y="354"/>
                  <a:pt x="181" y="355"/>
                </a:cubicBezTo>
                <a:cubicBezTo>
                  <a:pt x="180" y="356"/>
                  <a:pt x="179" y="358"/>
                  <a:pt x="178" y="359"/>
                </a:cubicBezTo>
                <a:cubicBezTo>
                  <a:pt x="177" y="359"/>
                  <a:pt x="177" y="360"/>
                  <a:pt x="176" y="361"/>
                </a:cubicBezTo>
                <a:cubicBezTo>
                  <a:pt x="174" y="364"/>
                  <a:pt x="171" y="367"/>
                  <a:pt x="168" y="370"/>
                </a:cubicBezTo>
                <a:cubicBezTo>
                  <a:pt x="168" y="370"/>
                  <a:pt x="168" y="370"/>
                  <a:pt x="168" y="370"/>
                </a:cubicBezTo>
                <a:cubicBezTo>
                  <a:pt x="168" y="370"/>
                  <a:pt x="169" y="370"/>
                  <a:pt x="169" y="370"/>
                </a:cubicBezTo>
                <a:cubicBezTo>
                  <a:pt x="169" y="370"/>
                  <a:pt x="169" y="370"/>
                  <a:pt x="169" y="370"/>
                </a:cubicBezTo>
                <a:cubicBezTo>
                  <a:pt x="169" y="370"/>
                  <a:pt x="169" y="369"/>
                  <a:pt x="170" y="369"/>
                </a:cubicBezTo>
                <a:cubicBezTo>
                  <a:pt x="171" y="367"/>
                  <a:pt x="174" y="368"/>
                  <a:pt x="175" y="369"/>
                </a:cubicBezTo>
                <a:cubicBezTo>
                  <a:pt x="176" y="370"/>
                  <a:pt x="177" y="371"/>
                  <a:pt x="178" y="371"/>
                </a:cubicBezTo>
                <a:cubicBezTo>
                  <a:pt x="179" y="372"/>
                  <a:pt x="179" y="373"/>
                  <a:pt x="180" y="373"/>
                </a:cubicBezTo>
                <a:cubicBezTo>
                  <a:pt x="182" y="375"/>
                  <a:pt x="182" y="375"/>
                  <a:pt x="182" y="375"/>
                </a:cubicBezTo>
                <a:cubicBezTo>
                  <a:pt x="183" y="376"/>
                  <a:pt x="183" y="377"/>
                  <a:pt x="183" y="379"/>
                </a:cubicBezTo>
                <a:cubicBezTo>
                  <a:pt x="183" y="379"/>
                  <a:pt x="184" y="378"/>
                  <a:pt x="184" y="378"/>
                </a:cubicBezTo>
                <a:cubicBezTo>
                  <a:pt x="184" y="378"/>
                  <a:pt x="184" y="378"/>
                  <a:pt x="184" y="378"/>
                </a:cubicBezTo>
                <a:cubicBezTo>
                  <a:pt x="184" y="378"/>
                  <a:pt x="184" y="378"/>
                  <a:pt x="184" y="378"/>
                </a:cubicBezTo>
                <a:cubicBezTo>
                  <a:pt x="184" y="378"/>
                  <a:pt x="184" y="378"/>
                  <a:pt x="184" y="378"/>
                </a:cubicBezTo>
                <a:cubicBezTo>
                  <a:pt x="184" y="377"/>
                  <a:pt x="184" y="377"/>
                  <a:pt x="184" y="377"/>
                </a:cubicBezTo>
                <a:cubicBezTo>
                  <a:pt x="184" y="378"/>
                  <a:pt x="184" y="378"/>
                  <a:pt x="184" y="378"/>
                </a:cubicBezTo>
                <a:cubicBezTo>
                  <a:pt x="185" y="377"/>
                  <a:pt x="185" y="377"/>
                  <a:pt x="186" y="376"/>
                </a:cubicBezTo>
                <a:cubicBezTo>
                  <a:pt x="187" y="376"/>
                  <a:pt x="188" y="378"/>
                  <a:pt x="189" y="380"/>
                </a:cubicBezTo>
                <a:cubicBezTo>
                  <a:pt x="190" y="380"/>
                  <a:pt x="190" y="380"/>
                  <a:pt x="190" y="380"/>
                </a:cubicBezTo>
                <a:cubicBezTo>
                  <a:pt x="190" y="380"/>
                  <a:pt x="190" y="381"/>
                  <a:pt x="190" y="381"/>
                </a:cubicBezTo>
                <a:cubicBezTo>
                  <a:pt x="191" y="382"/>
                  <a:pt x="192" y="382"/>
                  <a:pt x="193" y="382"/>
                </a:cubicBezTo>
                <a:cubicBezTo>
                  <a:pt x="194" y="382"/>
                  <a:pt x="196" y="383"/>
                  <a:pt x="197" y="384"/>
                </a:cubicBezTo>
                <a:cubicBezTo>
                  <a:pt x="197" y="384"/>
                  <a:pt x="198" y="385"/>
                  <a:pt x="198" y="385"/>
                </a:cubicBezTo>
                <a:cubicBezTo>
                  <a:pt x="198" y="386"/>
                  <a:pt x="198" y="386"/>
                  <a:pt x="198" y="386"/>
                </a:cubicBezTo>
                <a:cubicBezTo>
                  <a:pt x="199" y="386"/>
                  <a:pt x="199" y="387"/>
                  <a:pt x="200" y="387"/>
                </a:cubicBezTo>
                <a:cubicBezTo>
                  <a:pt x="200" y="387"/>
                  <a:pt x="200" y="387"/>
                  <a:pt x="200" y="387"/>
                </a:cubicBezTo>
                <a:cubicBezTo>
                  <a:pt x="201" y="387"/>
                  <a:pt x="201" y="387"/>
                  <a:pt x="201" y="387"/>
                </a:cubicBezTo>
                <a:cubicBezTo>
                  <a:pt x="201" y="388"/>
                  <a:pt x="202" y="388"/>
                  <a:pt x="202" y="388"/>
                </a:cubicBezTo>
                <a:cubicBezTo>
                  <a:pt x="203" y="388"/>
                  <a:pt x="204" y="389"/>
                  <a:pt x="204" y="390"/>
                </a:cubicBezTo>
                <a:cubicBezTo>
                  <a:pt x="205" y="390"/>
                  <a:pt x="205" y="390"/>
                  <a:pt x="205" y="390"/>
                </a:cubicBezTo>
                <a:cubicBezTo>
                  <a:pt x="205" y="391"/>
                  <a:pt x="206" y="392"/>
                  <a:pt x="206" y="393"/>
                </a:cubicBezTo>
                <a:cubicBezTo>
                  <a:pt x="207" y="393"/>
                  <a:pt x="207" y="393"/>
                  <a:pt x="207" y="393"/>
                </a:cubicBezTo>
                <a:cubicBezTo>
                  <a:pt x="208" y="395"/>
                  <a:pt x="209" y="396"/>
                  <a:pt x="211" y="396"/>
                </a:cubicBezTo>
                <a:cubicBezTo>
                  <a:pt x="213" y="398"/>
                  <a:pt x="213" y="398"/>
                  <a:pt x="213" y="398"/>
                </a:cubicBezTo>
                <a:cubicBezTo>
                  <a:pt x="212" y="399"/>
                  <a:pt x="212" y="399"/>
                  <a:pt x="212" y="399"/>
                </a:cubicBezTo>
                <a:cubicBezTo>
                  <a:pt x="212" y="399"/>
                  <a:pt x="211" y="400"/>
                  <a:pt x="210" y="401"/>
                </a:cubicBezTo>
                <a:cubicBezTo>
                  <a:pt x="210" y="402"/>
                  <a:pt x="209" y="403"/>
                  <a:pt x="209" y="404"/>
                </a:cubicBezTo>
                <a:cubicBezTo>
                  <a:pt x="208" y="404"/>
                  <a:pt x="208" y="408"/>
                  <a:pt x="208" y="408"/>
                </a:cubicBezTo>
                <a:cubicBezTo>
                  <a:pt x="208" y="408"/>
                  <a:pt x="209" y="408"/>
                  <a:pt x="209" y="409"/>
                </a:cubicBezTo>
                <a:cubicBezTo>
                  <a:pt x="209" y="409"/>
                  <a:pt x="209" y="409"/>
                  <a:pt x="209" y="409"/>
                </a:cubicBezTo>
                <a:cubicBezTo>
                  <a:pt x="209" y="409"/>
                  <a:pt x="209" y="409"/>
                  <a:pt x="209" y="409"/>
                </a:cubicBezTo>
                <a:cubicBezTo>
                  <a:pt x="209" y="409"/>
                  <a:pt x="209" y="409"/>
                  <a:pt x="209" y="409"/>
                </a:cubicBezTo>
                <a:cubicBezTo>
                  <a:pt x="210" y="408"/>
                  <a:pt x="210" y="408"/>
                  <a:pt x="210" y="408"/>
                </a:cubicBezTo>
                <a:cubicBezTo>
                  <a:pt x="210" y="410"/>
                  <a:pt x="210" y="410"/>
                  <a:pt x="210" y="410"/>
                </a:cubicBezTo>
                <a:cubicBezTo>
                  <a:pt x="211" y="409"/>
                  <a:pt x="212" y="408"/>
                  <a:pt x="213" y="407"/>
                </a:cubicBezTo>
                <a:cubicBezTo>
                  <a:pt x="214" y="406"/>
                  <a:pt x="215" y="404"/>
                  <a:pt x="216" y="403"/>
                </a:cubicBezTo>
                <a:cubicBezTo>
                  <a:pt x="217" y="401"/>
                  <a:pt x="218" y="399"/>
                  <a:pt x="219" y="397"/>
                </a:cubicBezTo>
                <a:cubicBezTo>
                  <a:pt x="220" y="396"/>
                  <a:pt x="222" y="394"/>
                  <a:pt x="222" y="392"/>
                </a:cubicBezTo>
                <a:cubicBezTo>
                  <a:pt x="222" y="391"/>
                  <a:pt x="222" y="391"/>
                  <a:pt x="221" y="391"/>
                </a:cubicBezTo>
                <a:cubicBezTo>
                  <a:pt x="221" y="391"/>
                  <a:pt x="221" y="390"/>
                  <a:pt x="221" y="390"/>
                </a:cubicBezTo>
                <a:cubicBezTo>
                  <a:pt x="221" y="389"/>
                  <a:pt x="220" y="389"/>
                  <a:pt x="221" y="388"/>
                </a:cubicBezTo>
                <a:cubicBezTo>
                  <a:pt x="221" y="387"/>
                  <a:pt x="222" y="385"/>
                  <a:pt x="223" y="387"/>
                </a:cubicBezTo>
                <a:cubicBezTo>
                  <a:pt x="223" y="385"/>
                  <a:pt x="223" y="384"/>
                  <a:pt x="224" y="383"/>
                </a:cubicBezTo>
                <a:cubicBezTo>
                  <a:pt x="225" y="382"/>
                  <a:pt x="227" y="381"/>
                  <a:pt x="228" y="380"/>
                </a:cubicBezTo>
                <a:cubicBezTo>
                  <a:pt x="228" y="380"/>
                  <a:pt x="229" y="378"/>
                  <a:pt x="229" y="377"/>
                </a:cubicBezTo>
                <a:cubicBezTo>
                  <a:pt x="229" y="374"/>
                  <a:pt x="230" y="376"/>
                  <a:pt x="230" y="377"/>
                </a:cubicBezTo>
                <a:cubicBezTo>
                  <a:pt x="230" y="376"/>
                  <a:pt x="230" y="376"/>
                  <a:pt x="230" y="376"/>
                </a:cubicBezTo>
                <a:cubicBezTo>
                  <a:pt x="230" y="375"/>
                  <a:pt x="230" y="374"/>
                  <a:pt x="230" y="373"/>
                </a:cubicBezTo>
                <a:cubicBezTo>
                  <a:pt x="231" y="373"/>
                  <a:pt x="232" y="373"/>
                  <a:pt x="232" y="372"/>
                </a:cubicBezTo>
                <a:cubicBezTo>
                  <a:pt x="232" y="372"/>
                  <a:pt x="232" y="372"/>
                  <a:pt x="232" y="372"/>
                </a:cubicBezTo>
                <a:cubicBezTo>
                  <a:pt x="231" y="371"/>
                  <a:pt x="230" y="370"/>
                  <a:pt x="230" y="368"/>
                </a:cubicBezTo>
                <a:cubicBezTo>
                  <a:pt x="231" y="369"/>
                  <a:pt x="230" y="370"/>
                  <a:pt x="231" y="371"/>
                </a:cubicBezTo>
                <a:cubicBezTo>
                  <a:pt x="233" y="372"/>
                  <a:pt x="235" y="371"/>
                  <a:pt x="238" y="371"/>
                </a:cubicBezTo>
                <a:cubicBezTo>
                  <a:pt x="238" y="371"/>
                  <a:pt x="237" y="372"/>
                  <a:pt x="237" y="373"/>
                </a:cubicBezTo>
                <a:cubicBezTo>
                  <a:pt x="237" y="372"/>
                  <a:pt x="236" y="372"/>
                  <a:pt x="236" y="372"/>
                </a:cubicBezTo>
                <a:cubicBezTo>
                  <a:pt x="237" y="374"/>
                  <a:pt x="236" y="377"/>
                  <a:pt x="235" y="378"/>
                </a:cubicBezTo>
                <a:cubicBezTo>
                  <a:pt x="232" y="379"/>
                  <a:pt x="234" y="379"/>
                  <a:pt x="233" y="381"/>
                </a:cubicBezTo>
                <a:cubicBezTo>
                  <a:pt x="233" y="381"/>
                  <a:pt x="233" y="381"/>
                  <a:pt x="233" y="380"/>
                </a:cubicBezTo>
                <a:cubicBezTo>
                  <a:pt x="230" y="380"/>
                  <a:pt x="231" y="384"/>
                  <a:pt x="230" y="385"/>
                </a:cubicBezTo>
                <a:cubicBezTo>
                  <a:pt x="229" y="386"/>
                  <a:pt x="228" y="386"/>
                  <a:pt x="228" y="387"/>
                </a:cubicBezTo>
                <a:cubicBezTo>
                  <a:pt x="227" y="387"/>
                  <a:pt x="226" y="388"/>
                  <a:pt x="226" y="388"/>
                </a:cubicBezTo>
                <a:cubicBezTo>
                  <a:pt x="224" y="390"/>
                  <a:pt x="224" y="389"/>
                  <a:pt x="222" y="389"/>
                </a:cubicBezTo>
                <a:cubicBezTo>
                  <a:pt x="221" y="389"/>
                  <a:pt x="222" y="389"/>
                  <a:pt x="222" y="390"/>
                </a:cubicBezTo>
                <a:cubicBezTo>
                  <a:pt x="222" y="390"/>
                  <a:pt x="222" y="392"/>
                  <a:pt x="222" y="393"/>
                </a:cubicBezTo>
                <a:cubicBezTo>
                  <a:pt x="223" y="391"/>
                  <a:pt x="224" y="390"/>
                  <a:pt x="226" y="389"/>
                </a:cubicBezTo>
                <a:cubicBezTo>
                  <a:pt x="228" y="388"/>
                  <a:pt x="229" y="387"/>
                  <a:pt x="231" y="385"/>
                </a:cubicBezTo>
                <a:cubicBezTo>
                  <a:pt x="233" y="383"/>
                  <a:pt x="236" y="380"/>
                  <a:pt x="238" y="377"/>
                </a:cubicBezTo>
                <a:cubicBezTo>
                  <a:pt x="239" y="375"/>
                  <a:pt x="240" y="374"/>
                  <a:pt x="241" y="372"/>
                </a:cubicBezTo>
                <a:cubicBezTo>
                  <a:pt x="242" y="370"/>
                  <a:pt x="243" y="367"/>
                  <a:pt x="244" y="364"/>
                </a:cubicBezTo>
                <a:cubicBezTo>
                  <a:pt x="245" y="363"/>
                  <a:pt x="246" y="361"/>
                  <a:pt x="247" y="360"/>
                </a:cubicBezTo>
                <a:cubicBezTo>
                  <a:pt x="249" y="358"/>
                  <a:pt x="252" y="356"/>
                  <a:pt x="254" y="354"/>
                </a:cubicBezTo>
                <a:cubicBezTo>
                  <a:pt x="255" y="353"/>
                  <a:pt x="256" y="353"/>
                  <a:pt x="256" y="352"/>
                </a:cubicBezTo>
                <a:cubicBezTo>
                  <a:pt x="255" y="352"/>
                  <a:pt x="255" y="350"/>
                  <a:pt x="255" y="349"/>
                </a:cubicBezTo>
                <a:cubicBezTo>
                  <a:pt x="256" y="350"/>
                  <a:pt x="256" y="350"/>
                  <a:pt x="256" y="351"/>
                </a:cubicBezTo>
                <a:cubicBezTo>
                  <a:pt x="256" y="349"/>
                  <a:pt x="257" y="348"/>
                  <a:pt x="257" y="346"/>
                </a:cubicBezTo>
                <a:cubicBezTo>
                  <a:pt x="257" y="344"/>
                  <a:pt x="257" y="341"/>
                  <a:pt x="257" y="339"/>
                </a:cubicBezTo>
                <a:cubicBezTo>
                  <a:pt x="257" y="337"/>
                  <a:pt x="257" y="338"/>
                  <a:pt x="259" y="337"/>
                </a:cubicBezTo>
                <a:cubicBezTo>
                  <a:pt x="257" y="337"/>
                  <a:pt x="257" y="333"/>
                  <a:pt x="257" y="332"/>
                </a:cubicBezTo>
                <a:cubicBezTo>
                  <a:pt x="257" y="331"/>
                  <a:pt x="258" y="329"/>
                  <a:pt x="257" y="328"/>
                </a:cubicBezTo>
                <a:cubicBezTo>
                  <a:pt x="257" y="328"/>
                  <a:pt x="257" y="328"/>
                  <a:pt x="257" y="328"/>
                </a:cubicBezTo>
                <a:cubicBezTo>
                  <a:pt x="257" y="328"/>
                  <a:pt x="257" y="328"/>
                  <a:pt x="258" y="329"/>
                </a:cubicBezTo>
                <a:cubicBezTo>
                  <a:pt x="258" y="328"/>
                  <a:pt x="259" y="327"/>
                  <a:pt x="259" y="326"/>
                </a:cubicBezTo>
                <a:cubicBezTo>
                  <a:pt x="258" y="326"/>
                  <a:pt x="258" y="326"/>
                  <a:pt x="258" y="326"/>
                </a:cubicBezTo>
                <a:cubicBezTo>
                  <a:pt x="258" y="326"/>
                  <a:pt x="257" y="326"/>
                  <a:pt x="257" y="327"/>
                </a:cubicBezTo>
                <a:cubicBezTo>
                  <a:pt x="257" y="327"/>
                  <a:pt x="257" y="327"/>
                  <a:pt x="257" y="327"/>
                </a:cubicBezTo>
                <a:cubicBezTo>
                  <a:pt x="256" y="326"/>
                  <a:pt x="256" y="326"/>
                  <a:pt x="256" y="325"/>
                </a:cubicBezTo>
                <a:cubicBezTo>
                  <a:pt x="256" y="325"/>
                  <a:pt x="256" y="326"/>
                  <a:pt x="256" y="326"/>
                </a:cubicBezTo>
                <a:cubicBezTo>
                  <a:pt x="257" y="325"/>
                  <a:pt x="258" y="324"/>
                  <a:pt x="258" y="323"/>
                </a:cubicBezTo>
                <a:cubicBezTo>
                  <a:pt x="258" y="322"/>
                  <a:pt x="257" y="322"/>
                  <a:pt x="256" y="322"/>
                </a:cubicBezTo>
                <a:cubicBezTo>
                  <a:pt x="257" y="322"/>
                  <a:pt x="257" y="322"/>
                  <a:pt x="258" y="322"/>
                </a:cubicBezTo>
                <a:cubicBezTo>
                  <a:pt x="258" y="321"/>
                  <a:pt x="260" y="320"/>
                  <a:pt x="260" y="319"/>
                </a:cubicBezTo>
                <a:cubicBezTo>
                  <a:pt x="260" y="319"/>
                  <a:pt x="260" y="319"/>
                  <a:pt x="259" y="319"/>
                </a:cubicBezTo>
                <a:cubicBezTo>
                  <a:pt x="259" y="319"/>
                  <a:pt x="258" y="319"/>
                  <a:pt x="258" y="319"/>
                </a:cubicBezTo>
                <a:cubicBezTo>
                  <a:pt x="258" y="318"/>
                  <a:pt x="257" y="318"/>
                  <a:pt x="257" y="318"/>
                </a:cubicBezTo>
                <a:cubicBezTo>
                  <a:pt x="257" y="317"/>
                  <a:pt x="256" y="317"/>
                  <a:pt x="256" y="317"/>
                </a:cubicBezTo>
                <a:cubicBezTo>
                  <a:pt x="256" y="317"/>
                  <a:pt x="257" y="317"/>
                  <a:pt x="257" y="318"/>
                </a:cubicBezTo>
                <a:cubicBezTo>
                  <a:pt x="257" y="318"/>
                  <a:pt x="257" y="318"/>
                  <a:pt x="258" y="317"/>
                </a:cubicBezTo>
                <a:cubicBezTo>
                  <a:pt x="259" y="317"/>
                  <a:pt x="259" y="316"/>
                  <a:pt x="259" y="316"/>
                </a:cubicBezTo>
                <a:cubicBezTo>
                  <a:pt x="259" y="316"/>
                  <a:pt x="260" y="316"/>
                  <a:pt x="260" y="316"/>
                </a:cubicBezTo>
                <a:cubicBezTo>
                  <a:pt x="260" y="316"/>
                  <a:pt x="260" y="316"/>
                  <a:pt x="260" y="317"/>
                </a:cubicBezTo>
                <a:cubicBezTo>
                  <a:pt x="261" y="316"/>
                  <a:pt x="262" y="316"/>
                  <a:pt x="263" y="316"/>
                </a:cubicBezTo>
                <a:cubicBezTo>
                  <a:pt x="263" y="316"/>
                  <a:pt x="265" y="314"/>
                  <a:pt x="265" y="314"/>
                </a:cubicBezTo>
                <a:cubicBezTo>
                  <a:pt x="265" y="314"/>
                  <a:pt x="264" y="313"/>
                  <a:pt x="264" y="313"/>
                </a:cubicBezTo>
                <a:cubicBezTo>
                  <a:pt x="264" y="313"/>
                  <a:pt x="264" y="313"/>
                  <a:pt x="264" y="313"/>
                </a:cubicBezTo>
                <a:cubicBezTo>
                  <a:pt x="264" y="313"/>
                  <a:pt x="264" y="313"/>
                  <a:pt x="264" y="313"/>
                </a:cubicBezTo>
                <a:cubicBezTo>
                  <a:pt x="264" y="313"/>
                  <a:pt x="264" y="313"/>
                  <a:pt x="264" y="313"/>
                </a:cubicBezTo>
                <a:cubicBezTo>
                  <a:pt x="264" y="313"/>
                  <a:pt x="264" y="313"/>
                  <a:pt x="264" y="313"/>
                </a:cubicBezTo>
                <a:cubicBezTo>
                  <a:pt x="264" y="313"/>
                  <a:pt x="264" y="313"/>
                  <a:pt x="264" y="313"/>
                </a:cubicBezTo>
                <a:cubicBezTo>
                  <a:pt x="265" y="312"/>
                  <a:pt x="267" y="311"/>
                  <a:pt x="268" y="310"/>
                </a:cubicBezTo>
                <a:cubicBezTo>
                  <a:pt x="271" y="308"/>
                  <a:pt x="274" y="307"/>
                  <a:pt x="276" y="305"/>
                </a:cubicBezTo>
                <a:cubicBezTo>
                  <a:pt x="277" y="304"/>
                  <a:pt x="279" y="303"/>
                  <a:pt x="280" y="302"/>
                </a:cubicBezTo>
                <a:cubicBezTo>
                  <a:pt x="281" y="302"/>
                  <a:pt x="280" y="301"/>
                  <a:pt x="280" y="301"/>
                </a:cubicBezTo>
                <a:cubicBezTo>
                  <a:pt x="281" y="302"/>
                  <a:pt x="282" y="301"/>
                  <a:pt x="283" y="301"/>
                </a:cubicBezTo>
                <a:cubicBezTo>
                  <a:pt x="284" y="300"/>
                  <a:pt x="286" y="300"/>
                  <a:pt x="287" y="300"/>
                </a:cubicBezTo>
                <a:cubicBezTo>
                  <a:pt x="288" y="300"/>
                  <a:pt x="290" y="301"/>
                  <a:pt x="290" y="300"/>
                </a:cubicBezTo>
                <a:cubicBezTo>
                  <a:pt x="291" y="300"/>
                  <a:pt x="290" y="300"/>
                  <a:pt x="290" y="299"/>
                </a:cubicBezTo>
                <a:cubicBezTo>
                  <a:pt x="291" y="299"/>
                  <a:pt x="291" y="298"/>
                  <a:pt x="292" y="298"/>
                </a:cubicBezTo>
                <a:cubicBezTo>
                  <a:pt x="295" y="297"/>
                  <a:pt x="297" y="296"/>
                  <a:pt x="299" y="294"/>
                </a:cubicBezTo>
                <a:cubicBezTo>
                  <a:pt x="299" y="294"/>
                  <a:pt x="299" y="294"/>
                  <a:pt x="299" y="294"/>
                </a:cubicBezTo>
                <a:cubicBezTo>
                  <a:pt x="298" y="293"/>
                  <a:pt x="298" y="293"/>
                  <a:pt x="298" y="292"/>
                </a:cubicBezTo>
                <a:cubicBezTo>
                  <a:pt x="298" y="292"/>
                  <a:pt x="298" y="292"/>
                  <a:pt x="298" y="292"/>
                </a:cubicBezTo>
                <a:cubicBezTo>
                  <a:pt x="299" y="291"/>
                  <a:pt x="301" y="290"/>
                  <a:pt x="301" y="290"/>
                </a:cubicBezTo>
                <a:cubicBezTo>
                  <a:pt x="302" y="291"/>
                  <a:pt x="301" y="291"/>
                  <a:pt x="301" y="291"/>
                </a:cubicBezTo>
                <a:cubicBezTo>
                  <a:pt x="301" y="291"/>
                  <a:pt x="303" y="292"/>
                  <a:pt x="303" y="292"/>
                </a:cubicBezTo>
                <a:cubicBezTo>
                  <a:pt x="304" y="292"/>
                  <a:pt x="305" y="291"/>
                  <a:pt x="306" y="290"/>
                </a:cubicBezTo>
                <a:cubicBezTo>
                  <a:pt x="307" y="290"/>
                  <a:pt x="309" y="291"/>
                  <a:pt x="311" y="291"/>
                </a:cubicBezTo>
                <a:cubicBezTo>
                  <a:pt x="312" y="291"/>
                  <a:pt x="313" y="291"/>
                  <a:pt x="313" y="290"/>
                </a:cubicBezTo>
                <a:cubicBezTo>
                  <a:pt x="313" y="290"/>
                  <a:pt x="313" y="290"/>
                  <a:pt x="313" y="290"/>
                </a:cubicBezTo>
                <a:cubicBezTo>
                  <a:pt x="313" y="290"/>
                  <a:pt x="313" y="290"/>
                  <a:pt x="312" y="290"/>
                </a:cubicBezTo>
                <a:cubicBezTo>
                  <a:pt x="313" y="289"/>
                  <a:pt x="314" y="287"/>
                  <a:pt x="315" y="288"/>
                </a:cubicBezTo>
                <a:cubicBezTo>
                  <a:pt x="315" y="288"/>
                  <a:pt x="314" y="289"/>
                  <a:pt x="314" y="289"/>
                </a:cubicBezTo>
                <a:cubicBezTo>
                  <a:pt x="314" y="289"/>
                  <a:pt x="314" y="289"/>
                  <a:pt x="314" y="290"/>
                </a:cubicBezTo>
                <a:cubicBezTo>
                  <a:pt x="315" y="290"/>
                  <a:pt x="317" y="291"/>
                  <a:pt x="319" y="291"/>
                </a:cubicBezTo>
                <a:cubicBezTo>
                  <a:pt x="320" y="291"/>
                  <a:pt x="324" y="292"/>
                  <a:pt x="325" y="291"/>
                </a:cubicBezTo>
                <a:cubicBezTo>
                  <a:pt x="325" y="291"/>
                  <a:pt x="325" y="290"/>
                  <a:pt x="325" y="290"/>
                </a:cubicBezTo>
                <a:cubicBezTo>
                  <a:pt x="325" y="289"/>
                  <a:pt x="326" y="289"/>
                  <a:pt x="326" y="289"/>
                </a:cubicBezTo>
                <a:cubicBezTo>
                  <a:pt x="326" y="289"/>
                  <a:pt x="325" y="288"/>
                  <a:pt x="325" y="288"/>
                </a:cubicBezTo>
                <a:cubicBezTo>
                  <a:pt x="325" y="285"/>
                  <a:pt x="329" y="284"/>
                  <a:pt x="331" y="283"/>
                </a:cubicBezTo>
                <a:cubicBezTo>
                  <a:pt x="332" y="282"/>
                  <a:pt x="335" y="281"/>
                  <a:pt x="336" y="280"/>
                </a:cubicBezTo>
                <a:cubicBezTo>
                  <a:pt x="336" y="280"/>
                  <a:pt x="335" y="279"/>
                  <a:pt x="335" y="279"/>
                </a:cubicBezTo>
                <a:cubicBezTo>
                  <a:pt x="335" y="278"/>
                  <a:pt x="335" y="276"/>
                  <a:pt x="335" y="275"/>
                </a:cubicBezTo>
                <a:cubicBezTo>
                  <a:pt x="335" y="273"/>
                  <a:pt x="337" y="270"/>
                  <a:pt x="338" y="268"/>
                </a:cubicBezTo>
                <a:cubicBezTo>
                  <a:pt x="339" y="267"/>
                  <a:pt x="340" y="266"/>
                  <a:pt x="341" y="265"/>
                </a:cubicBezTo>
                <a:cubicBezTo>
                  <a:pt x="342" y="264"/>
                  <a:pt x="342" y="263"/>
                  <a:pt x="342" y="262"/>
                </a:cubicBezTo>
                <a:cubicBezTo>
                  <a:pt x="344" y="263"/>
                  <a:pt x="343" y="260"/>
                  <a:pt x="344" y="259"/>
                </a:cubicBezTo>
                <a:cubicBezTo>
                  <a:pt x="345" y="257"/>
                  <a:pt x="348" y="255"/>
                  <a:pt x="349" y="253"/>
                </a:cubicBezTo>
                <a:cubicBezTo>
                  <a:pt x="349" y="252"/>
                  <a:pt x="348" y="250"/>
                  <a:pt x="348" y="249"/>
                </a:cubicBezTo>
                <a:cubicBezTo>
                  <a:pt x="348" y="249"/>
                  <a:pt x="348" y="248"/>
                  <a:pt x="348" y="248"/>
                </a:cubicBezTo>
                <a:cubicBezTo>
                  <a:pt x="348" y="246"/>
                  <a:pt x="348" y="242"/>
                  <a:pt x="349" y="241"/>
                </a:cubicBezTo>
                <a:cubicBezTo>
                  <a:pt x="350" y="239"/>
                  <a:pt x="354" y="236"/>
                  <a:pt x="354" y="234"/>
                </a:cubicBezTo>
                <a:cubicBezTo>
                  <a:pt x="354" y="234"/>
                  <a:pt x="354" y="233"/>
                  <a:pt x="354" y="233"/>
                </a:cubicBezTo>
                <a:cubicBezTo>
                  <a:pt x="353" y="228"/>
                  <a:pt x="355" y="223"/>
                  <a:pt x="356" y="218"/>
                </a:cubicBezTo>
                <a:cubicBezTo>
                  <a:pt x="357" y="217"/>
                  <a:pt x="356" y="214"/>
                  <a:pt x="356" y="213"/>
                </a:cubicBezTo>
                <a:cubicBezTo>
                  <a:pt x="356" y="209"/>
                  <a:pt x="356" y="206"/>
                  <a:pt x="356" y="202"/>
                </a:cubicBezTo>
                <a:cubicBezTo>
                  <a:pt x="356" y="200"/>
                  <a:pt x="356" y="198"/>
                  <a:pt x="356" y="197"/>
                </a:cubicBezTo>
                <a:cubicBezTo>
                  <a:pt x="356" y="196"/>
                  <a:pt x="356" y="194"/>
                  <a:pt x="356" y="196"/>
                </a:cubicBezTo>
                <a:cubicBezTo>
                  <a:pt x="356" y="195"/>
                  <a:pt x="354" y="194"/>
                  <a:pt x="354" y="193"/>
                </a:cubicBezTo>
                <a:cubicBezTo>
                  <a:pt x="354" y="193"/>
                  <a:pt x="355" y="193"/>
                  <a:pt x="355" y="193"/>
                </a:cubicBezTo>
                <a:cubicBezTo>
                  <a:pt x="356" y="192"/>
                  <a:pt x="356" y="189"/>
                  <a:pt x="355" y="192"/>
                </a:cubicBezTo>
                <a:cubicBezTo>
                  <a:pt x="355" y="191"/>
                  <a:pt x="355" y="190"/>
                  <a:pt x="355" y="189"/>
                </a:cubicBezTo>
                <a:cubicBezTo>
                  <a:pt x="355" y="189"/>
                  <a:pt x="355" y="189"/>
                  <a:pt x="355" y="189"/>
                </a:cubicBezTo>
                <a:cubicBezTo>
                  <a:pt x="357" y="188"/>
                  <a:pt x="358" y="186"/>
                  <a:pt x="358" y="184"/>
                </a:cubicBezTo>
                <a:cubicBezTo>
                  <a:pt x="358" y="184"/>
                  <a:pt x="356" y="183"/>
                  <a:pt x="357" y="182"/>
                </a:cubicBezTo>
                <a:cubicBezTo>
                  <a:pt x="357" y="183"/>
                  <a:pt x="357" y="183"/>
                  <a:pt x="357" y="183"/>
                </a:cubicBezTo>
                <a:cubicBezTo>
                  <a:pt x="358" y="182"/>
                  <a:pt x="358" y="181"/>
                  <a:pt x="360" y="182"/>
                </a:cubicBezTo>
                <a:cubicBezTo>
                  <a:pt x="361" y="183"/>
                  <a:pt x="361" y="184"/>
                  <a:pt x="361" y="186"/>
                </a:cubicBezTo>
                <a:cubicBezTo>
                  <a:pt x="363" y="185"/>
                  <a:pt x="364" y="184"/>
                  <a:pt x="365" y="183"/>
                </a:cubicBezTo>
                <a:cubicBezTo>
                  <a:pt x="365" y="182"/>
                  <a:pt x="366" y="182"/>
                  <a:pt x="366" y="181"/>
                </a:cubicBezTo>
                <a:cubicBezTo>
                  <a:pt x="367" y="180"/>
                  <a:pt x="368" y="178"/>
                  <a:pt x="369" y="177"/>
                </a:cubicBezTo>
                <a:cubicBezTo>
                  <a:pt x="370" y="175"/>
                  <a:pt x="372" y="172"/>
                  <a:pt x="372" y="170"/>
                </a:cubicBezTo>
                <a:cubicBezTo>
                  <a:pt x="372" y="170"/>
                  <a:pt x="371" y="170"/>
                  <a:pt x="371" y="170"/>
                </a:cubicBezTo>
                <a:cubicBezTo>
                  <a:pt x="372" y="169"/>
                  <a:pt x="372" y="168"/>
                  <a:pt x="372" y="167"/>
                </a:cubicBezTo>
                <a:cubicBezTo>
                  <a:pt x="373" y="167"/>
                  <a:pt x="373" y="167"/>
                  <a:pt x="374" y="167"/>
                </a:cubicBezTo>
                <a:cubicBezTo>
                  <a:pt x="375" y="166"/>
                  <a:pt x="374" y="166"/>
                  <a:pt x="373" y="165"/>
                </a:cubicBezTo>
                <a:cubicBezTo>
                  <a:pt x="374" y="165"/>
                  <a:pt x="377" y="164"/>
                  <a:pt x="375" y="163"/>
                </a:cubicBezTo>
                <a:cubicBezTo>
                  <a:pt x="375" y="163"/>
                  <a:pt x="375" y="163"/>
                  <a:pt x="375" y="162"/>
                </a:cubicBezTo>
                <a:cubicBezTo>
                  <a:pt x="376" y="163"/>
                  <a:pt x="376" y="163"/>
                  <a:pt x="376" y="164"/>
                </a:cubicBezTo>
                <a:cubicBezTo>
                  <a:pt x="377" y="163"/>
                  <a:pt x="378" y="162"/>
                  <a:pt x="379" y="162"/>
                </a:cubicBezTo>
                <a:cubicBezTo>
                  <a:pt x="379" y="161"/>
                  <a:pt x="380" y="161"/>
                  <a:pt x="381" y="160"/>
                </a:cubicBezTo>
                <a:cubicBezTo>
                  <a:pt x="382" y="160"/>
                  <a:pt x="383" y="159"/>
                  <a:pt x="383" y="158"/>
                </a:cubicBezTo>
                <a:cubicBezTo>
                  <a:pt x="384" y="156"/>
                  <a:pt x="386" y="155"/>
                  <a:pt x="387" y="153"/>
                </a:cubicBezTo>
                <a:cubicBezTo>
                  <a:pt x="389" y="152"/>
                  <a:pt x="388" y="151"/>
                  <a:pt x="387" y="151"/>
                </a:cubicBezTo>
                <a:cubicBezTo>
                  <a:pt x="387" y="151"/>
                  <a:pt x="391" y="150"/>
                  <a:pt x="391" y="149"/>
                </a:cubicBezTo>
                <a:cubicBezTo>
                  <a:pt x="393" y="147"/>
                  <a:pt x="395" y="145"/>
                  <a:pt x="396" y="142"/>
                </a:cubicBezTo>
                <a:cubicBezTo>
                  <a:pt x="397" y="139"/>
                  <a:pt x="398" y="136"/>
                  <a:pt x="398" y="133"/>
                </a:cubicBezTo>
                <a:cubicBezTo>
                  <a:pt x="398" y="131"/>
                  <a:pt x="397" y="130"/>
                  <a:pt x="398" y="129"/>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98" name="Freeform 2954">
            <a:extLst>
              <a:ext uri="{FF2B5EF4-FFF2-40B4-BE49-F238E27FC236}">
                <a16:creationId xmlns:a16="http://schemas.microsoft.com/office/drawing/2014/main" id="{63403626-3E9F-45BF-827D-2C57122BD649}"/>
              </a:ext>
            </a:extLst>
          </p:cNvPr>
          <p:cNvSpPr>
            <a:spLocks/>
          </p:cNvSpPr>
          <p:nvPr/>
        </p:nvSpPr>
        <p:spPr bwMode="auto">
          <a:xfrm>
            <a:off x="2508444" y="3900453"/>
            <a:ext cx="142226" cy="189950"/>
          </a:xfrm>
          <a:custGeom>
            <a:avLst/>
            <a:gdLst>
              <a:gd name="T0" fmla="*/ 73 w 121"/>
              <a:gd name="T1" fmla="*/ 114 h 135"/>
              <a:gd name="T2" fmla="*/ 76 w 121"/>
              <a:gd name="T3" fmla="*/ 107 h 135"/>
              <a:gd name="T4" fmla="*/ 93 w 121"/>
              <a:gd name="T5" fmla="*/ 99 h 135"/>
              <a:gd name="T6" fmla="*/ 103 w 121"/>
              <a:gd name="T7" fmla="*/ 98 h 135"/>
              <a:gd name="T8" fmla="*/ 117 w 121"/>
              <a:gd name="T9" fmla="*/ 100 h 135"/>
              <a:gd name="T10" fmla="*/ 120 w 121"/>
              <a:gd name="T11" fmla="*/ 93 h 135"/>
              <a:gd name="T12" fmla="*/ 120 w 121"/>
              <a:gd name="T13" fmla="*/ 86 h 135"/>
              <a:gd name="T14" fmla="*/ 115 w 121"/>
              <a:gd name="T15" fmla="*/ 80 h 135"/>
              <a:gd name="T16" fmla="*/ 101 w 121"/>
              <a:gd name="T17" fmla="*/ 68 h 135"/>
              <a:gd name="T18" fmla="*/ 93 w 121"/>
              <a:gd name="T19" fmla="*/ 59 h 135"/>
              <a:gd name="T20" fmla="*/ 91 w 121"/>
              <a:gd name="T21" fmla="*/ 53 h 135"/>
              <a:gd name="T22" fmla="*/ 92 w 121"/>
              <a:gd name="T23" fmla="*/ 44 h 135"/>
              <a:gd name="T24" fmla="*/ 88 w 121"/>
              <a:gd name="T25" fmla="*/ 40 h 135"/>
              <a:gd name="T26" fmla="*/ 81 w 121"/>
              <a:gd name="T27" fmla="*/ 39 h 135"/>
              <a:gd name="T28" fmla="*/ 76 w 121"/>
              <a:gd name="T29" fmla="*/ 38 h 135"/>
              <a:gd name="T30" fmla="*/ 67 w 121"/>
              <a:gd name="T31" fmla="*/ 33 h 135"/>
              <a:gd name="T32" fmla="*/ 65 w 121"/>
              <a:gd name="T33" fmla="*/ 31 h 135"/>
              <a:gd name="T34" fmla="*/ 61 w 121"/>
              <a:gd name="T35" fmla="*/ 29 h 135"/>
              <a:gd name="T36" fmla="*/ 55 w 121"/>
              <a:gd name="T37" fmla="*/ 29 h 135"/>
              <a:gd name="T38" fmla="*/ 43 w 121"/>
              <a:gd name="T39" fmla="*/ 19 h 135"/>
              <a:gd name="T40" fmla="*/ 41 w 121"/>
              <a:gd name="T41" fmla="*/ 13 h 135"/>
              <a:gd name="T42" fmla="*/ 41 w 121"/>
              <a:gd name="T43" fmla="*/ 10 h 135"/>
              <a:gd name="T44" fmla="*/ 41 w 121"/>
              <a:gd name="T45" fmla="*/ 0 h 135"/>
              <a:gd name="T46" fmla="*/ 31 w 121"/>
              <a:gd name="T47" fmla="*/ 2 h 135"/>
              <a:gd name="T48" fmla="*/ 20 w 121"/>
              <a:gd name="T49" fmla="*/ 9 h 135"/>
              <a:gd name="T50" fmla="*/ 14 w 121"/>
              <a:gd name="T51" fmla="*/ 12 h 135"/>
              <a:gd name="T52" fmla="*/ 8 w 121"/>
              <a:gd name="T53" fmla="*/ 14 h 135"/>
              <a:gd name="T54" fmla="*/ 4 w 121"/>
              <a:gd name="T55" fmla="*/ 14 h 135"/>
              <a:gd name="T56" fmla="*/ 10 w 121"/>
              <a:gd name="T57" fmla="*/ 27 h 135"/>
              <a:gd name="T58" fmla="*/ 6 w 121"/>
              <a:gd name="T59" fmla="*/ 37 h 135"/>
              <a:gd name="T60" fmla="*/ 6 w 121"/>
              <a:gd name="T61" fmla="*/ 41 h 135"/>
              <a:gd name="T62" fmla="*/ 8 w 121"/>
              <a:gd name="T63" fmla="*/ 46 h 135"/>
              <a:gd name="T64" fmla="*/ 5 w 121"/>
              <a:gd name="T65" fmla="*/ 50 h 135"/>
              <a:gd name="T66" fmla="*/ 2 w 121"/>
              <a:gd name="T67" fmla="*/ 61 h 135"/>
              <a:gd name="T68" fmla="*/ 8 w 121"/>
              <a:gd name="T69" fmla="*/ 68 h 135"/>
              <a:gd name="T70" fmla="*/ 2 w 121"/>
              <a:gd name="T71" fmla="*/ 76 h 135"/>
              <a:gd name="T72" fmla="*/ 1 w 121"/>
              <a:gd name="T73" fmla="*/ 79 h 135"/>
              <a:gd name="T74" fmla="*/ 2 w 121"/>
              <a:gd name="T75" fmla="*/ 81 h 135"/>
              <a:gd name="T76" fmla="*/ 4 w 121"/>
              <a:gd name="T77" fmla="*/ 84 h 135"/>
              <a:gd name="T78" fmla="*/ 6 w 121"/>
              <a:gd name="T79" fmla="*/ 91 h 135"/>
              <a:gd name="T80" fmla="*/ 11 w 121"/>
              <a:gd name="T81" fmla="*/ 102 h 135"/>
              <a:gd name="T82" fmla="*/ 9 w 121"/>
              <a:gd name="T83" fmla="*/ 108 h 135"/>
              <a:gd name="T84" fmla="*/ 12 w 121"/>
              <a:gd name="T85" fmla="*/ 116 h 135"/>
              <a:gd name="T86" fmla="*/ 15 w 121"/>
              <a:gd name="T87" fmla="*/ 120 h 135"/>
              <a:gd name="T88" fmla="*/ 15 w 121"/>
              <a:gd name="T89" fmla="*/ 124 h 135"/>
              <a:gd name="T90" fmla="*/ 17 w 121"/>
              <a:gd name="T91" fmla="*/ 130 h 135"/>
              <a:gd name="T92" fmla="*/ 18 w 121"/>
              <a:gd name="T93" fmla="*/ 135 h 135"/>
              <a:gd name="T94" fmla="*/ 28 w 121"/>
              <a:gd name="T95" fmla="*/ 130 h 135"/>
              <a:gd name="T96" fmla="*/ 32 w 121"/>
              <a:gd name="T97" fmla="*/ 125 h 135"/>
              <a:gd name="T98" fmla="*/ 41 w 121"/>
              <a:gd name="T99" fmla="*/ 128 h 135"/>
              <a:gd name="T100" fmla="*/ 53 w 121"/>
              <a:gd name="T101" fmla="*/ 133 h 135"/>
              <a:gd name="T102" fmla="*/ 60 w 121"/>
              <a:gd name="T103" fmla="*/ 126 h 135"/>
              <a:gd name="T104" fmla="*/ 68 w 121"/>
              <a:gd name="T105" fmla="*/ 126 h 135"/>
              <a:gd name="T106" fmla="*/ 70 w 121"/>
              <a:gd name="T107" fmla="*/ 1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1" h="135">
                <a:moveTo>
                  <a:pt x="71" y="123"/>
                </a:moveTo>
                <a:cubicBezTo>
                  <a:pt x="71" y="122"/>
                  <a:pt x="71" y="122"/>
                  <a:pt x="71" y="121"/>
                </a:cubicBezTo>
                <a:cubicBezTo>
                  <a:pt x="72" y="121"/>
                  <a:pt x="72" y="121"/>
                  <a:pt x="72" y="121"/>
                </a:cubicBezTo>
                <a:cubicBezTo>
                  <a:pt x="72" y="119"/>
                  <a:pt x="73" y="118"/>
                  <a:pt x="73" y="117"/>
                </a:cubicBezTo>
                <a:cubicBezTo>
                  <a:pt x="73" y="116"/>
                  <a:pt x="73" y="116"/>
                  <a:pt x="73" y="115"/>
                </a:cubicBezTo>
                <a:cubicBezTo>
                  <a:pt x="73" y="115"/>
                  <a:pt x="73" y="114"/>
                  <a:pt x="73" y="114"/>
                </a:cubicBezTo>
                <a:cubicBezTo>
                  <a:pt x="73" y="113"/>
                  <a:pt x="73" y="113"/>
                  <a:pt x="73" y="113"/>
                </a:cubicBezTo>
                <a:cubicBezTo>
                  <a:pt x="73" y="113"/>
                  <a:pt x="73" y="113"/>
                  <a:pt x="73" y="112"/>
                </a:cubicBezTo>
                <a:cubicBezTo>
                  <a:pt x="73" y="111"/>
                  <a:pt x="74" y="110"/>
                  <a:pt x="74" y="110"/>
                </a:cubicBezTo>
                <a:cubicBezTo>
                  <a:pt x="75" y="109"/>
                  <a:pt x="75" y="108"/>
                  <a:pt x="75" y="108"/>
                </a:cubicBezTo>
                <a:cubicBezTo>
                  <a:pt x="76" y="108"/>
                  <a:pt x="76" y="108"/>
                  <a:pt x="76" y="108"/>
                </a:cubicBezTo>
                <a:cubicBezTo>
                  <a:pt x="76" y="107"/>
                  <a:pt x="76" y="107"/>
                  <a:pt x="76" y="107"/>
                </a:cubicBezTo>
                <a:cubicBezTo>
                  <a:pt x="77" y="106"/>
                  <a:pt x="77" y="105"/>
                  <a:pt x="77" y="104"/>
                </a:cubicBezTo>
                <a:cubicBezTo>
                  <a:pt x="78" y="103"/>
                  <a:pt x="78" y="103"/>
                  <a:pt x="78" y="103"/>
                </a:cubicBezTo>
                <a:cubicBezTo>
                  <a:pt x="78" y="102"/>
                  <a:pt x="79" y="102"/>
                  <a:pt x="80" y="101"/>
                </a:cubicBezTo>
                <a:cubicBezTo>
                  <a:pt x="84" y="100"/>
                  <a:pt x="84" y="100"/>
                  <a:pt x="84" y="100"/>
                </a:cubicBezTo>
                <a:cubicBezTo>
                  <a:pt x="86" y="100"/>
                  <a:pt x="88" y="100"/>
                  <a:pt x="90" y="100"/>
                </a:cubicBezTo>
                <a:cubicBezTo>
                  <a:pt x="91" y="99"/>
                  <a:pt x="92" y="99"/>
                  <a:pt x="93" y="99"/>
                </a:cubicBezTo>
                <a:cubicBezTo>
                  <a:pt x="94" y="98"/>
                  <a:pt x="94" y="98"/>
                  <a:pt x="94" y="98"/>
                </a:cubicBezTo>
                <a:cubicBezTo>
                  <a:pt x="96" y="98"/>
                  <a:pt x="98" y="98"/>
                  <a:pt x="100" y="98"/>
                </a:cubicBezTo>
                <a:cubicBezTo>
                  <a:pt x="100" y="98"/>
                  <a:pt x="100" y="98"/>
                  <a:pt x="100" y="98"/>
                </a:cubicBezTo>
                <a:cubicBezTo>
                  <a:pt x="101" y="98"/>
                  <a:pt x="102" y="98"/>
                  <a:pt x="103" y="98"/>
                </a:cubicBezTo>
                <a:cubicBezTo>
                  <a:pt x="103" y="98"/>
                  <a:pt x="103" y="98"/>
                  <a:pt x="103" y="98"/>
                </a:cubicBezTo>
                <a:cubicBezTo>
                  <a:pt x="103" y="98"/>
                  <a:pt x="103" y="98"/>
                  <a:pt x="103" y="98"/>
                </a:cubicBezTo>
                <a:cubicBezTo>
                  <a:pt x="104" y="98"/>
                  <a:pt x="105" y="98"/>
                  <a:pt x="106" y="98"/>
                </a:cubicBezTo>
                <a:cubicBezTo>
                  <a:pt x="107" y="98"/>
                  <a:pt x="107" y="98"/>
                  <a:pt x="107" y="98"/>
                </a:cubicBezTo>
                <a:cubicBezTo>
                  <a:pt x="107" y="98"/>
                  <a:pt x="107" y="98"/>
                  <a:pt x="107" y="98"/>
                </a:cubicBezTo>
                <a:cubicBezTo>
                  <a:pt x="115" y="103"/>
                  <a:pt x="115" y="103"/>
                  <a:pt x="115" y="103"/>
                </a:cubicBezTo>
                <a:cubicBezTo>
                  <a:pt x="116" y="103"/>
                  <a:pt x="116" y="103"/>
                  <a:pt x="116" y="103"/>
                </a:cubicBezTo>
                <a:cubicBezTo>
                  <a:pt x="116" y="102"/>
                  <a:pt x="116" y="101"/>
                  <a:pt x="117" y="100"/>
                </a:cubicBezTo>
                <a:cubicBezTo>
                  <a:pt x="117" y="99"/>
                  <a:pt x="117" y="99"/>
                  <a:pt x="117" y="99"/>
                </a:cubicBezTo>
                <a:cubicBezTo>
                  <a:pt x="117" y="99"/>
                  <a:pt x="117" y="99"/>
                  <a:pt x="117" y="98"/>
                </a:cubicBezTo>
                <a:cubicBezTo>
                  <a:pt x="118" y="97"/>
                  <a:pt x="118" y="97"/>
                  <a:pt x="118" y="97"/>
                </a:cubicBezTo>
                <a:cubicBezTo>
                  <a:pt x="118" y="96"/>
                  <a:pt x="119" y="95"/>
                  <a:pt x="119" y="95"/>
                </a:cubicBezTo>
                <a:cubicBezTo>
                  <a:pt x="119" y="94"/>
                  <a:pt x="119" y="94"/>
                  <a:pt x="119" y="94"/>
                </a:cubicBezTo>
                <a:cubicBezTo>
                  <a:pt x="119" y="93"/>
                  <a:pt x="120" y="93"/>
                  <a:pt x="120" y="93"/>
                </a:cubicBezTo>
                <a:cubicBezTo>
                  <a:pt x="120" y="93"/>
                  <a:pt x="120" y="92"/>
                  <a:pt x="120" y="92"/>
                </a:cubicBezTo>
                <a:cubicBezTo>
                  <a:pt x="120" y="91"/>
                  <a:pt x="120" y="91"/>
                  <a:pt x="120" y="91"/>
                </a:cubicBezTo>
                <a:cubicBezTo>
                  <a:pt x="120" y="90"/>
                  <a:pt x="120" y="89"/>
                  <a:pt x="121" y="88"/>
                </a:cubicBezTo>
                <a:cubicBezTo>
                  <a:pt x="121" y="88"/>
                  <a:pt x="121" y="87"/>
                  <a:pt x="121" y="87"/>
                </a:cubicBezTo>
                <a:cubicBezTo>
                  <a:pt x="121" y="87"/>
                  <a:pt x="121" y="87"/>
                  <a:pt x="121" y="87"/>
                </a:cubicBezTo>
                <a:cubicBezTo>
                  <a:pt x="120" y="86"/>
                  <a:pt x="120" y="86"/>
                  <a:pt x="120" y="86"/>
                </a:cubicBezTo>
                <a:cubicBezTo>
                  <a:pt x="120" y="86"/>
                  <a:pt x="120" y="86"/>
                  <a:pt x="120" y="86"/>
                </a:cubicBezTo>
                <a:cubicBezTo>
                  <a:pt x="120" y="85"/>
                  <a:pt x="120" y="84"/>
                  <a:pt x="119" y="84"/>
                </a:cubicBezTo>
                <a:cubicBezTo>
                  <a:pt x="119" y="84"/>
                  <a:pt x="119" y="84"/>
                  <a:pt x="119" y="84"/>
                </a:cubicBezTo>
                <a:cubicBezTo>
                  <a:pt x="119" y="83"/>
                  <a:pt x="119" y="83"/>
                  <a:pt x="119" y="83"/>
                </a:cubicBezTo>
                <a:cubicBezTo>
                  <a:pt x="119" y="82"/>
                  <a:pt x="119" y="81"/>
                  <a:pt x="118" y="81"/>
                </a:cubicBezTo>
                <a:cubicBezTo>
                  <a:pt x="117" y="81"/>
                  <a:pt x="116" y="81"/>
                  <a:pt x="115" y="80"/>
                </a:cubicBezTo>
                <a:cubicBezTo>
                  <a:pt x="113" y="79"/>
                  <a:pt x="112" y="77"/>
                  <a:pt x="112" y="74"/>
                </a:cubicBezTo>
                <a:cubicBezTo>
                  <a:pt x="111" y="73"/>
                  <a:pt x="111" y="71"/>
                  <a:pt x="112" y="70"/>
                </a:cubicBezTo>
                <a:cubicBezTo>
                  <a:pt x="112" y="69"/>
                  <a:pt x="112" y="69"/>
                  <a:pt x="112" y="69"/>
                </a:cubicBezTo>
                <a:cubicBezTo>
                  <a:pt x="113" y="69"/>
                  <a:pt x="113" y="69"/>
                  <a:pt x="113" y="68"/>
                </a:cubicBezTo>
                <a:cubicBezTo>
                  <a:pt x="107" y="68"/>
                  <a:pt x="107" y="68"/>
                  <a:pt x="107" y="68"/>
                </a:cubicBezTo>
                <a:cubicBezTo>
                  <a:pt x="105" y="68"/>
                  <a:pt x="103" y="68"/>
                  <a:pt x="101" y="68"/>
                </a:cubicBezTo>
                <a:cubicBezTo>
                  <a:pt x="98" y="68"/>
                  <a:pt x="98" y="68"/>
                  <a:pt x="98" y="68"/>
                </a:cubicBezTo>
                <a:cubicBezTo>
                  <a:pt x="97" y="68"/>
                  <a:pt x="97" y="68"/>
                  <a:pt x="97" y="68"/>
                </a:cubicBezTo>
                <a:cubicBezTo>
                  <a:pt x="94" y="68"/>
                  <a:pt x="94" y="67"/>
                  <a:pt x="94" y="65"/>
                </a:cubicBezTo>
                <a:cubicBezTo>
                  <a:pt x="94" y="65"/>
                  <a:pt x="94" y="65"/>
                  <a:pt x="94" y="65"/>
                </a:cubicBezTo>
                <a:cubicBezTo>
                  <a:pt x="94" y="64"/>
                  <a:pt x="94" y="64"/>
                  <a:pt x="94" y="63"/>
                </a:cubicBezTo>
                <a:cubicBezTo>
                  <a:pt x="94" y="61"/>
                  <a:pt x="94" y="60"/>
                  <a:pt x="93" y="59"/>
                </a:cubicBezTo>
                <a:cubicBezTo>
                  <a:pt x="92" y="58"/>
                  <a:pt x="91" y="57"/>
                  <a:pt x="90" y="56"/>
                </a:cubicBezTo>
                <a:cubicBezTo>
                  <a:pt x="89" y="54"/>
                  <a:pt x="89" y="54"/>
                  <a:pt x="89" y="54"/>
                </a:cubicBezTo>
                <a:cubicBezTo>
                  <a:pt x="91" y="54"/>
                  <a:pt x="91" y="54"/>
                  <a:pt x="91" y="54"/>
                </a:cubicBezTo>
                <a:cubicBezTo>
                  <a:pt x="91" y="53"/>
                  <a:pt x="92" y="53"/>
                  <a:pt x="92" y="53"/>
                </a:cubicBezTo>
                <a:cubicBezTo>
                  <a:pt x="93" y="53"/>
                  <a:pt x="93" y="53"/>
                  <a:pt x="93" y="53"/>
                </a:cubicBezTo>
                <a:cubicBezTo>
                  <a:pt x="91" y="53"/>
                  <a:pt x="91" y="53"/>
                  <a:pt x="91" y="53"/>
                </a:cubicBezTo>
                <a:cubicBezTo>
                  <a:pt x="93" y="53"/>
                  <a:pt x="93" y="53"/>
                  <a:pt x="93" y="53"/>
                </a:cubicBezTo>
                <a:cubicBezTo>
                  <a:pt x="93" y="53"/>
                  <a:pt x="93" y="53"/>
                  <a:pt x="93" y="53"/>
                </a:cubicBezTo>
                <a:cubicBezTo>
                  <a:pt x="93" y="51"/>
                  <a:pt x="93" y="50"/>
                  <a:pt x="92" y="49"/>
                </a:cubicBezTo>
                <a:cubicBezTo>
                  <a:pt x="92" y="49"/>
                  <a:pt x="92" y="49"/>
                  <a:pt x="92" y="49"/>
                </a:cubicBezTo>
                <a:cubicBezTo>
                  <a:pt x="92" y="48"/>
                  <a:pt x="92" y="46"/>
                  <a:pt x="92" y="45"/>
                </a:cubicBezTo>
                <a:cubicBezTo>
                  <a:pt x="92" y="44"/>
                  <a:pt x="92" y="44"/>
                  <a:pt x="92" y="44"/>
                </a:cubicBezTo>
                <a:cubicBezTo>
                  <a:pt x="92" y="44"/>
                  <a:pt x="91" y="44"/>
                  <a:pt x="91" y="44"/>
                </a:cubicBezTo>
                <a:cubicBezTo>
                  <a:pt x="91" y="44"/>
                  <a:pt x="91" y="44"/>
                  <a:pt x="92" y="43"/>
                </a:cubicBezTo>
                <a:cubicBezTo>
                  <a:pt x="91" y="43"/>
                  <a:pt x="91" y="43"/>
                  <a:pt x="91" y="43"/>
                </a:cubicBezTo>
                <a:cubicBezTo>
                  <a:pt x="91" y="43"/>
                  <a:pt x="91" y="43"/>
                  <a:pt x="91" y="43"/>
                </a:cubicBezTo>
                <a:cubicBezTo>
                  <a:pt x="90" y="42"/>
                  <a:pt x="90" y="42"/>
                  <a:pt x="89" y="42"/>
                </a:cubicBezTo>
                <a:cubicBezTo>
                  <a:pt x="89" y="41"/>
                  <a:pt x="88" y="41"/>
                  <a:pt x="88" y="40"/>
                </a:cubicBezTo>
                <a:cubicBezTo>
                  <a:pt x="87" y="40"/>
                  <a:pt x="87" y="40"/>
                  <a:pt x="86" y="40"/>
                </a:cubicBezTo>
                <a:cubicBezTo>
                  <a:pt x="86" y="39"/>
                  <a:pt x="86" y="39"/>
                  <a:pt x="86" y="39"/>
                </a:cubicBezTo>
                <a:cubicBezTo>
                  <a:pt x="86" y="39"/>
                  <a:pt x="86" y="39"/>
                  <a:pt x="86" y="39"/>
                </a:cubicBezTo>
                <a:cubicBezTo>
                  <a:pt x="85" y="39"/>
                  <a:pt x="84" y="39"/>
                  <a:pt x="82" y="39"/>
                </a:cubicBezTo>
                <a:cubicBezTo>
                  <a:pt x="82" y="39"/>
                  <a:pt x="82" y="39"/>
                  <a:pt x="82" y="39"/>
                </a:cubicBezTo>
                <a:cubicBezTo>
                  <a:pt x="82" y="39"/>
                  <a:pt x="82" y="39"/>
                  <a:pt x="81" y="39"/>
                </a:cubicBezTo>
                <a:cubicBezTo>
                  <a:pt x="81" y="39"/>
                  <a:pt x="81" y="39"/>
                  <a:pt x="81" y="39"/>
                </a:cubicBezTo>
                <a:cubicBezTo>
                  <a:pt x="81" y="40"/>
                  <a:pt x="81" y="40"/>
                  <a:pt x="81" y="40"/>
                </a:cubicBezTo>
                <a:cubicBezTo>
                  <a:pt x="80" y="40"/>
                  <a:pt x="78" y="40"/>
                  <a:pt x="78" y="39"/>
                </a:cubicBezTo>
                <a:cubicBezTo>
                  <a:pt x="77" y="39"/>
                  <a:pt x="77" y="39"/>
                  <a:pt x="77" y="39"/>
                </a:cubicBezTo>
                <a:cubicBezTo>
                  <a:pt x="77" y="38"/>
                  <a:pt x="77" y="38"/>
                  <a:pt x="77" y="38"/>
                </a:cubicBezTo>
                <a:cubicBezTo>
                  <a:pt x="76" y="38"/>
                  <a:pt x="76" y="38"/>
                  <a:pt x="76" y="38"/>
                </a:cubicBezTo>
                <a:cubicBezTo>
                  <a:pt x="75" y="37"/>
                  <a:pt x="75" y="37"/>
                  <a:pt x="75" y="36"/>
                </a:cubicBezTo>
                <a:cubicBezTo>
                  <a:pt x="74" y="36"/>
                  <a:pt x="74" y="35"/>
                  <a:pt x="74" y="35"/>
                </a:cubicBezTo>
                <a:cubicBezTo>
                  <a:pt x="73" y="35"/>
                  <a:pt x="72" y="35"/>
                  <a:pt x="72" y="35"/>
                </a:cubicBezTo>
                <a:cubicBezTo>
                  <a:pt x="71" y="35"/>
                  <a:pt x="70" y="35"/>
                  <a:pt x="69" y="34"/>
                </a:cubicBezTo>
                <a:cubicBezTo>
                  <a:pt x="68" y="34"/>
                  <a:pt x="68" y="34"/>
                  <a:pt x="68" y="34"/>
                </a:cubicBezTo>
                <a:cubicBezTo>
                  <a:pt x="67" y="34"/>
                  <a:pt x="67" y="33"/>
                  <a:pt x="67" y="33"/>
                </a:cubicBezTo>
                <a:cubicBezTo>
                  <a:pt x="67" y="33"/>
                  <a:pt x="67" y="33"/>
                  <a:pt x="67" y="33"/>
                </a:cubicBezTo>
                <a:cubicBezTo>
                  <a:pt x="66" y="33"/>
                  <a:pt x="66" y="32"/>
                  <a:pt x="66" y="32"/>
                </a:cubicBezTo>
                <a:cubicBezTo>
                  <a:pt x="66" y="32"/>
                  <a:pt x="66" y="32"/>
                  <a:pt x="66" y="32"/>
                </a:cubicBezTo>
                <a:cubicBezTo>
                  <a:pt x="66" y="32"/>
                  <a:pt x="66" y="32"/>
                  <a:pt x="65" y="32"/>
                </a:cubicBezTo>
                <a:cubicBezTo>
                  <a:pt x="65" y="32"/>
                  <a:pt x="65" y="32"/>
                  <a:pt x="65" y="32"/>
                </a:cubicBezTo>
                <a:cubicBezTo>
                  <a:pt x="65" y="32"/>
                  <a:pt x="65" y="31"/>
                  <a:pt x="65" y="31"/>
                </a:cubicBezTo>
                <a:cubicBezTo>
                  <a:pt x="65" y="31"/>
                  <a:pt x="65" y="30"/>
                  <a:pt x="64" y="30"/>
                </a:cubicBezTo>
                <a:cubicBezTo>
                  <a:pt x="64" y="30"/>
                  <a:pt x="64" y="30"/>
                  <a:pt x="64" y="30"/>
                </a:cubicBezTo>
                <a:cubicBezTo>
                  <a:pt x="64" y="30"/>
                  <a:pt x="64" y="30"/>
                  <a:pt x="64" y="30"/>
                </a:cubicBezTo>
                <a:cubicBezTo>
                  <a:pt x="63" y="30"/>
                  <a:pt x="63" y="30"/>
                  <a:pt x="63" y="30"/>
                </a:cubicBezTo>
                <a:cubicBezTo>
                  <a:pt x="62" y="30"/>
                  <a:pt x="62" y="30"/>
                  <a:pt x="61" y="29"/>
                </a:cubicBezTo>
                <a:cubicBezTo>
                  <a:pt x="61" y="29"/>
                  <a:pt x="61" y="29"/>
                  <a:pt x="61" y="29"/>
                </a:cubicBezTo>
                <a:cubicBezTo>
                  <a:pt x="60" y="29"/>
                  <a:pt x="59" y="29"/>
                  <a:pt x="58" y="29"/>
                </a:cubicBezTo>
                <a:cubicBezTo>
                  <a:pt x="58" y="29"/>
                  <a:pt x="58" y="29"/>
                  <a:pt x="58" y="29"/>
                </a:cubicBezTo>
                <a:cubicBezTo>
                  <a:pt x="57" y="29"/>
                  <a:pt x="57" y="29"/>
                  <a:pt x="56" y="29"/>
                </a:cubicBezTo>
                <a:cubicBezTo>
                  <a:pt x="56" y="29"/>
                  <a:pt x="56" y="29"/>
                  <a:pt x="55" y="29"/>
                </a:cubicBezTo>
                <a:cubicBezTo>
                  <a:pt x="55" y="29"/>
                  <a:pt x="55" y="29"/>
                  <a:pt x="55" y="29"/>
                </a:cubicBezTo>
                <a:cubicBezTo>
                  <a:pt x="55" y="29"/>
                  <a:pt x="55" y="29"/>
                  <a:pt x="55" y="29"/>
                </a:cubicBezTo>
                <a:cubicBezTo>
                  <a:pt x="55" y="29"/>
                  <a:pt x="54" y="29"/>
                  <a:pt x="54" y="29"/>
                </a:cubicBezTo>
                <a:cubicBezTo>
                  <a:pt x="54" y="29"/>
                  <a:pt x="53" y="29"/>
                  <a:pt x="53" y="29"/>
                </a:cubicBezTo>
                <a:cubicBezTo>
                  <a:pt x="52" y="28"/>
                  <a:pt x="51" y="27"/>
                  <a:pt x="50" y="27"/>
                </a:cubicBezTo>
                <a:cubicBezTo>
                  <a:pt x="50" y="26"/>
                  <a:pt x="49" y="26"/>
                  <a:pt x="49" y="26"/>
                </a:cubicBezTo>
                <a:cubicBezTo>
                  <a:pt x="45" y="22"/>
                  <a:pt x="45" y="22"/>
                  <a:pt x="45" y="22"/>
                </a:cubicBezTo>
                <a:cubicBezTo>
                  <a:pt x="44" y="22"/>
                  <a:pt x="44" y="20"/>
                  <a:pt x="43" y="19"/>
                </a:cubicBezTo>
                <a:cubicBezTo>
                  <a:pt x="43" y="19"/>
                  <a:pt x="43" y="19"/>
                  <a:pt x="43" y="19"/>
                </a:cubicBezTo>
                <a:cubicBezTo>
                  <a:pt x="42" y="18"/>
                  <a:pt x="42" y="17"/>
                  <a:pt x="41" y="16"/>
                </a:cubicBezTo>
                <a:cubicBezTo>
                  <a:pt x="41" y="16"/>
                  <a:pt x="41" y="16"/>
                  <a:pt x="41" y="15"/>
                </a:cubicBezTo>
                <a:cubicBezTo>
                  <a:pt x="41" y="15"/>
                  <a:pt x="41" y="15"/>
                  <a:pt x="41" y="15"/>
                </a:cubicBezTo>
                <a:cubicBezTo>
                  <a:pt x="41" y="14"/>
                  <a:pt x="41" y="14"/>
                  <a:pt x="41" y="14"/>
                </a:cubicBezTo>
                <a:cubicBezTo>
                  <a:pt x="41" y="13"/>
                  <a:pt x="41" y="13"/>
                  <a:pt x="41" y="13"/>
                </a:cubicBezTo>
                <a:cubicBezTo>
                  <a:pt x="41" y="12"/>
                  <a:pt x="41" y="12"/>
                  <a:pt x="41" y="12"/>
                </a:cubicBezTo>
                <a:cubicBezTo>
                  <a:pt x="41" y="11"/>
                  <a:pt x="41" y="11"/>
                  <a:pt x="41" y="11"/>
                </a:cubicBezTo>
                <a:cubicBezTo>
                  <a:pt x="41" y="11"/>
                  <a:pt x="41" y="11"/>
                  <a:pt x="41" y="11"/>
                </a:cubicBezTo>
                <a:cubicBezTo>
                  <a:pt x="41" y="11"/>
                  <a:pt x="41" y="10"/>
                  <a:pt x="41" y="10"/>
                </a:cubicBezTo>
                <a:cubicBezTo>
                  <a:pt x="41" y="10"/>
                  <a:pt x="41" y="10"/>
                  <a:pt x="41" y="10"/>
                </a:cubicBezTo>
                <a:cubicBezTo>
                  <a:pt x="41" y="10"/>
                  <a:pt x="41" y="10"/>
                  <a:pt x="41" y="10"/>
                </a:cubicBezTo>
                <a:cubicBezTo>
                  <a:pt x="41" y="9"/>
                  <a:pt x="41" y="9"/>
                  <a:pt x="41" y="9"/>
                </a:cubicBezTo>
                <a:cubicBezTo>
                  <a:pt x="40" y="8"/>
                  <a:pt x="41" y="7"/>
                  <a:pt x="41" y="6"/>
                </a:cubicBezTo>
                <a:cubicBezTo>
                  <a:pt x="41" y="6"/>
                  <a:pt x="41" y="5"/>
                  <a:pt x="41" y="5"/>
                </a:cubicBezTo>
                <a:cubicBezTo>
                  <a:pt x="41" y="4"/>
                  <a:pt x="41" y="3"/>
                  <a:pt x="41" y="3"/>
                </a:cubicBezTo>
                <a:cubicBezTo>
                  <a:pt x="41" y="2"/>
                  <a:pt x="41" y="2"/>
                  <a:pt x="41" y="2"/>
                </a:cubicBezTo>
                <a:cubicBezTo>
                  <a:pt x="41" y="1"/>
                  <a:pt x="41" y="1"/>
                  <a:pt x="41" y="0"/>
                </a:cubicBezTo>
                <a:cubicBezTo>
                  <a:pt x="41" y="1"/>
                  <a:pt x="40" y="1"/>
                  <a:pt x="40" y="1"/>
                </a:cubicBezTo>
                <a:cubicBezTo>
                  <a:pt x="39" y="1"/>
                  <a:pt x="38" y="1"/>
                  <a:pt x="38" y="1"/>
                </a:cubicBezTo>
                <a:cubicBezTo>
                  <a:pt x="38" y="1"/>
                  <a:pt x="37" y="1"/>
                  <a:pt x="37" y="1"/>
                </a:cubicBezTo>
                <a:cubicBezTo>
                  <a:pt x="37" y="1"/>
                  <a:pt x="37" y="1"/>
                  <a:pt x="37" y="1"/>
                </a:cubicBezTo>
                <a:cubicBezTo>
                  <a:pt x="37" y="1"/>
                  <a:pt x="37" y="1"/>
                  <a:pt x="36" y="1"/>
                </a:cubicBezTo>
                <a:cubicBezTo>
                  <a:pt x="31" y="2"/>
                  <a:pt x="31" y="2"/>
                  <a:pt x="31" y="2"/>
                </a:cubicBezTo>
                <a:cubicBezTo>
                  <a:pt x="30" y="2"/>
                  <a:pt x="29" y="2"/>
                  <a:pt x="29" y="3"/>
                </a:cubicBezTo>
                <a:cubicBezTo>
                  <a:pt x="28" y="3"/>
                  <a:pt x="28" y="4"/>
                  <a:pt x="27" y="4"/>
                </a:cubicBezTo>
                <a:cubicBezTo>
                  <a:pt x="26" y="5"/>
                  <a:pt x="25" y="6"/>
                  <a:pt x="24" y="6"/>
                </a:cubicBezTo>
                <a:cubicBezTo>
                  <a:pt x="24" y="7"/>
                  <a:pt x="23" y="7"/>
                  <a:pt x="22" y="7"/>
                </a:cubicBezTo>
                <a:cubicBezTo>
                  <a:pt x="22" y="8"/>
                  <a:pt x="21" y="8"/>
                  <a:pt x="21" y="8"/>
                </a:cubicBezTo>
                <a:cubicBezTo>
                  <a:pt x="20" y="8"/>
                  <a:pt x="20" y="9"/>
                  <a:pt x="20" y="9"/>
                </a:cubicBezTo>
                <a:cubicBezTo>
                  <a:pt x="20" y="9"/>
                  <a:pt x="20" y="9"/>
                  <a:pt x="20" y="9"/>
                </a:cubicBezTo>
                <a:cubicBezTo>
                  <a:pt x="20" y="9"/>
                  <a:pt x="19" y="10"/>
                  <a:pt x="19" y="10"/>
                </a:cubicBezTo>
                <a:cubicBezTo>
                  <a:pt x="18" y="11"/>
                  <a:pt x="17" y="11"/>
                  <a:pt x="16" y="11"/>
                </a:cubicBezTo>
                <a:cubicBezTo>
                  <a:pt x="16" y="11"/>
                  <a:pt x="16" y="11"/>
                  <a:pt x="16" y="11"/>
                </a:cubicBezTo>
                <a:cubicBezTo>
                  <a:pt x="16" y="11"/>
                  <a:pt x="15" y="11"/>
                  <a:pt x="15" y="11"/>
                </a:cubicBezTo>
                <a:cubicBezTo>
                  <a:pt x="14" y="12"/>
                  <a:pt x="14" y="12"/>
                  <a:pt x="14" y="12"/>
                </a:cubicBezTo>
                <a:cubicBezTo>
                  <a:pt x="14" y="12"/>
                  <a:pt x="13" y="13"/>
                  <a:pt x="13" y="13"/>
                </a:cubicBezTo>
                <a:cubicBezTo>
                  <a:pt x="12" y="14"/>
                  <a:pt x="11" y="14"/>
                  <a:pt x="11" y="14"/>
                </a:cubicBezTo>
                <a:cubicBezTo>
                  <a:pt x="11" y="14"/>
                  <a:pt x="11" y="14"/>
                  <a:pt x="11" y="14"/>
                </a:cubicBezTo>
                <a:cubicBezTo>
                  <a:pt x="11" y="14"/>
                  <a:pt x="10" y="14"/>
                  <a:pt x="10" y="14"/>
                </a:cubicBezTo>
                <a:cubicBezTo>
                  <a:pt x="10" y="14"/>
                  <a:pt x="9" y="14"/>
                  <a:pt x="8" y="14"/>
                </a:cubicBezTo>
                <a:cubicBezTo>
                  <a:pt x="8" y="14"/>
                  <a:pt x="8" y="14"/>
                  <a:pt x="8" y="14"/>
                </a:cubicBezTo>
                <a:cubicBezTo>
                  <a:pt x="7" y="14"/>
                  <a:pt x="7" y="14"/>
                  <a:pt x="7" y="14"/>
                </a:cubicBezTo>
                <a:cubicBezTo>
                  <a:pt x="7" y="14"/>
                  <a:pt x="6" y="14"/>
                  <a:pt x="6" y="14"/>
                </a:cubicBezTo>
                <a:cubicBezTo>
                  <a:pt x="6" y="14"/>
                  <a:pt x="6" y="14"/>
                  <a:pt x="5" y="14"/>
                </a:cubicBezTo>
                <a:cubicBezTo>
                  <a:pt x="5" y="14"/>
                  <a:pt x="5" y="14"/>
                  <a:pt x="5" y="14"/>
                </a:cubicBezTo>
                <a:cubicBezTo>
                  <a:pt x="5" y="14"/>
                  <a:pt x="5" y="14"/>
                  <a:pt x="5" y="14"/>
                </a:cubicBezTo>
                <a:cubicBezTo>
                  <a:pt x="4" y="14"/>
                  <a:pt x="4" y="14"/>
                  <a:pt x="4" y="14"/>
                </a:cubicBezTo>
                <a:cubicBezTo>
                  <a:pt x="3" y="14"/>
                  <a:pt x="3" y="14"/>
                  <a:pt x="3" y="14"/>
                </a:cubicBezTo>
                <a:cubicBezTo>
                  <a:pt x="3" y="14"/>
                  <a:pt x="2" y="14"/>
                  <a:pt x="2" y="14"/>
                </a:cubicBezTo>
                <a:cubicBezTo>
                  <a:pt x="2" y="14"/>
                  <a:pt x="2" y="14"/>
                  <a:pt x="2" y="14"/>
                </a:cubicBezTo>
                <a:cubicBezTo>
                  <a:pt x="3" y="16"/>
                  <a:pt x="4" y="17"/>
                  <a:pt x="5" y="19"/>
                </a:cubicBezTo>
                <a:cubicBezTo>
                  <a:pt x="7" y="21"/>
                  <a:pt x="8" y="23"/>
                  <a:pt x="9" y="25"/>
                </a:cubicBezTo>
                <a:cubicBezTo>
                  <a:pt x="10" y="27"/>
                  <a:pt x="10" y="27"/>
                  <a:pt x="10" y="27"/>
                </a:cubicBezTo>
                <a:cubicBezTo>
                  <a:pt x="10" y="27"/>
                  <a:pt x="10" y="28"/>
                  <a:pt x="10" y="28"/>
                </a:cubicBezTo>
                <a:cubicBezTo>
                  <a:pt x="9" y="29"/>
                  <a:pt x="9" y="30"/>
                  <a:pt x="8" y="32"/>
                </a:cubicBezTo>
                <a:cubicBezTo>
                  <a:pt x="7" y="32"/>
                  <a:pt x="7" y="32"/>
                  <a:pt x="7" y="32"/>
                </a:cubicBezTo>
                <a:cubicBezTo>
                  <a:pt x="7" y="33"/>
                  <a:pt x="7" y="33"/>
                  <a:pt x="7" y="34"/>
                </a:cubicBezTo>
                <a:cubicBezTo>
                  <a:pt x="7" y="34"/>
                  <a:pt x="6" y="35"/>
                  <a:pt x="6" y="36"/>
                </a:cubicBezTo>
                <a:cubicBezTo>
                  <a:pt x="6" y="36"/>
                  <a:pt x="6" y="36"/>
                  <a:pt x="6" y="37"/>
                </a:cubicBezTo>
                <a:cubicBezTo>
                  <a:pt x="6" y="37"/>
                  <a:pt x="6" y="38"/>
                  <a:pt x="6" y="38"/>
                </a:cubicBezTo>
                <a:cubicBezTo>
                  <a:pt x="6" y="38"/>
                  <a:pt x="6" y="38"/>
                  <a:pt x="6" y="38"/>
                </a:cubicBezTo>
                <a:cubicBezTo>
                  <a:pt x="6" y="39"/>
                  <a:pt x="6" y="39"/>
                  <a:pt x="6" y="39"/>
                </a:cubicBezTo>
                <a:cubicBezTo>
                  <a:pt x="6" y="39"/>
                  <a:pt x="6" y="39"/>
                  <a:pt x="6" y="40"/>
                </a:cubicBezTo>
                <a:cubicBezTo>
                  <a:pt x="6" y="40"/>
                  <a:pt x="6" y="40"/>
                  <a:pt x="6" y="40"/>
                </a:cubicBezTo>
                <a:cubicBezTo>
                  <a:pt x="6" y="40"/>
                  <a:pt x="6" y="41"/>
                  <a:pt x="6" y="41"/>
                </a:cubicBezTo>
                <a:cubicBezTo>
                  <a:pt x="6" y="42"/>
                  <a:pt x="6" y="42"/>
                  <a:pt x="6" y="42"/>
                </a:cubicBezTo>
                <a:cubicBezTo>
                  <a:pt x="7" y="43"/>
                  <a:pt x="7" y="43"/>
                  <a:pt x="7" y="43"/>
                </a:cubicBezTo>
                <a:cubicBezTo>
                  <a:pt x="7" y="43"/>
                  <a:pt x="7" y="44"/>
                  <a:pt x="7" y="44"/>
                </a:cubicBezTo>
                <a:cubicBezTo>
                  <a:pt x="8" y="44"/>
                  <a:pt x="8" y="45"/>
                  <a:pt x="8" y="45"/>
                </a:cubicBezTo>
                <a:cubicBezTo>
                  <a:pt x="8" y="45"/>
                  <a:pt x="8" y="45"/>
                  <a:pt x="8" y="45"/>
                </a:cubicBezTo>
                <a:cubicBezTo>
                  <a:pt x="8" y="46"/>
                  <a:pt x="8" y="46"/>
                  <a:pt x="8" y="46"/>
                </a:cubicBezTo>
                <a:cubicBezTo>
                  <a:pt x="8" y="46"/>
                  <a:pt x="7" y="47"/>
                  <a:pt x="7" y="47"/>
                </a:cubicBezTo>
                <a:cubicBezTo>
                  <a:pt x="7" y="47"/>
                  <a:pt x="7" y="47"/>
                  <a:pt x="7" y="47"/>
                </a:cubicBezTo>
                <a:cubicBezTo>
                  <a:pt x="7" y="47"/>
                  <a:pt x="7" y="47"/>
                  <a:pt x="7" y="47"/>
                </a:cubicBezTo>
                <a:cubicBezTo>
                  <a:pt x="7" y="47"/>
                  <a:pt x="6" y="48"/>
                  <a:pt x="6" y="48"/>
                </a:cubicBezTo>
                <a:cubicBezTo>
                  <a:pt x="6" y="49"/>
                  <a:pt x="5" y="49"/>
                  <a:pt x="5" y="49"/>
                </a:cubicBezTo>
                <a:cubicBezTo>
                  <a:pt x="5" y="50"/>
                  <a:pt x="5" y="50"/>
                  <a:pt x="5" y="50"/>
                </a:cubicBezTo>
                <a:cubicBezTo>
                  <a:pt x="4" y="50"/>
                  <a:pt x="4" y="50"/>
                  <a:pt x="4" y="50"/>
                </a:cubicBezTo>
                <a:cubicBezTo>
                  <a:pt x="3" y="52"/>
                  <a:pt x="3" y="52"/>
                  <a:pt x="3" y="53"/>
                </a:cubicBezTo>
                <a:cubicBezTo>
                  <a:pt x="3" y="54"/>
                  <a:pt x="3" y="54"/>
                  <a:pt x="4" y="55"/>
                </a:cubicBezTo>
                <a:cubicBezTo>
                  <a:pt x="5" y="56"/>
                  <a:pt x="5" y="56"/>
                  <a:pt x="5" y="57"/>
                </a:cubicBezTo>
                <a:cubicBezTo>
                  <a:pt x="2" y="60"/>
                  <a:pt x="2" y="60"/>
                  <a:pt x="2" y="60"/>
                </a:cubicBezTo>
                <a:cubicBezTo>
                  <a:pt x="2" y="60"/>
                  <a:pt x="2" y="61"/>
                  <a:pt x="2" y="61"/>
                </a:cubicBezTo>
                <a:cubicBezTo>
                  <a:pt x="3" y="61"/>
                  <a:pt x="3" y="62"/>
                  <a:pt x="3" y="63"/>
                </a:cubicBezTo>
                <a:cubicBezTo>
                  <a:pt x="3" y="65"/>
                  <a:pt x="4" y="65"/>
                  <a:pt x="6" y="65"/>
                </a:cubicBezTo>
                <a:cubicBezTo>
                  <a:pt x="6" y="65"/>
                  <a:pt x="6" y="65"/>
                  <a:pt x="6" y="65"/>
                </a:cubicBezTo>
                <a:cubicBezTo>
                  <a:pt x="7" y="65"/>
                  <a:pt x="7" y="66"/>
                  <a:pt x="8" y="66"/>
                </a:cubicBezTo>
                <a:cubicBezTo>
                  <a:pt x="8" y="67"/>
                  <a:pt x="8" y="68"/>
                  <a:pt x="8" y="68"/>
                </a:cubicBezTo>
                <a:cubicBezTo>
                  <a:pt x="8" y="68"/>
                  <a:pt x="8" y="68"/>
                  <a:pt x="8" y="68"/>
                </a:cubicBezTo>
                <a:cubicBezTo>
                  <a:pt x="6" y="71"/>
                  <a:pt x="6" y="71"/>
                  <a:pt x="6" y="71"/>
                </a:cubicBezTo>
                <a:cubicBezTo>
                  <a:pt x="6" y="71"/>
                  <a:pt x="6" y="71"/>
                  <a:pt x="5" y="71"/>
                </a:cubicBezTo>
                <a:cubicBezTo>
                  <a:pt x="5" y="72"/>
                  <a:pt x="5" y="72"/>
                  <a:pt x="5" y="72"/>
                </a:cubicBezTo>
                <a:cubicBezTo>
                  <a:pt x="5" y="73"/>
                  <a:pt x="5" y="73"/>
                  <a:pt x="5" y="73"/>
                </a:cubicBezTo>
                <a:cubicBezTo>
                  <a:pt x="4" y="73"/>
                  <a:pt x="3" y="74"/>
                  <a:pt x="3" y="75"/>
                </a:cubicBezTo>
                <a:cubicBezTo>
                  <a:pt x="2" y="75"/>
                  <a:pt x="2" y="76"/>
                  <a:pt x="2" y="76"/>
                </a:cubicBezTo>
                <a:cubicBezTo>
                  <a:pt x="1" y="76"/>
                  <a:pt x="1" y="76"/>
                  <a:pt x="1" y="76"/>
                </a:cubicBezTo>
                <a:cubicBezTo>
                  <a:pt x="1" y="77"/>
                  <a:pt x="0" y="77"/>
                  <a:pt x="0" y="78"/>
                </a:cubicBezTo>
                <a:cubicBezTo>
                  <a:pt x="0" y="78"/>
                  <a:pt x="0" y="78"/>
                  <a:pt x="0" y="78"/>
                </a:cubicBezTo>
                <a:cubicBezTo>
                  <a:pt x="0" y="78"/>
                  <a:pt x="0" y="78"/>
                  <a:pt x="1" y="78"/>
                </a:cubicBezTo>
                <a:cubicBezTo>
                  <a:pt x="1" y="78"/>
                  <a:pt x="1" y="78"/>
                  <a:pt x="1" y="78"/>
                </a:cubicBezTo>
                <a:cubicBezTo>
                  <a:pt x="1" y="79"/>
                  <a:pt x="1" y="79"/>
                  <a:pt x="1" y="79"/>
                </a:cubicBezTo>
                <a:cubicBezTo>
                  <a:pt x="1" y="79"/>
                  <a:pt x="1" y="79"/>
                  <a:pt x="1" y="79"/>
                </a:cubicBezTo>
                <a:cubicBezTo>
                  <a:pt x="1" y="79"/>
                  <a:pt x="1" y="79"/>
                  <a:pt x="1" y="79"/>
                </a:cubicBezTo>
                <a:cubicBezTo>
                  <a:pt x="1" y="80"/>
                  <a:pt x="1" y="80"/>
                  <a:pt x="1" y="80"/>
                </a:cubicBezTo>
                <a:cubicBezTo>
                  <a:pt x="2" y="81"/>
                  <a:pt x="2" y="81"/>
                  <a:pt x="2" y="81"/>
                </a:cubicBezTo>
                <a:cubicBezTo>
                  <a:pt x="2" y="81"/>
                  <a:pt x="2" y="81"/>
                  <a:pt x="2" y="81"/>
                </a:cubicBezTo>
                <a:cubicBezTo>
                  <a:pt x="2" y="81"/>
                  <a:pt x="2" y="81"/>
                  <a:pt x="2" y="81"/>
                </a:cubicBezTo>
                <a:cubicBezTo>
                  <a:pt x="2" y="82"/>
                  <a:pt x="2" y="82"/>
                  <a:pt x="2" y="82"/>
                </a:cubicBezTo>
                <a:cubicBezTo>
                  <a:pt x="2" y="81"/>
                  <a:pt x="2" y="81"/>
                  <a:pt x="2" y="81"/>
                </a:cubicBezTo>
                <a:cubicBezTo>
                  <a:pt x="2" y="82"/>
                  <a:pt x="2" y="82"/>
                  <a:pt x="2" y="82"/>
                </a:cubicBezTo>
                <a:cubicBezTo>
                  <a:pt x="2" y="82"/>
                  <a:pt x="2" y="82"/>
                  <a:pt x="3" y="83"/>
                </a:cubicBezTo>
                <a:cubicBezTo>
                  <a:pt x="3" y="84"/>
                  <a:pt x="3" y="84"/>
                  <a:pt x="3" y="84"/>
                </a:cubicBezTo>
                <a:cubicBezTo>
                  <a:pt x="4" y="84"/>
                  <a:pt x="4" y="84"/>
                  <a:pt x="4" y="84"/>
                </a:cubicBezTo>
                <a:cubicBezTo>
                  <a:pt x="4" y="84"/>
                  <a:pt x="4" y="84"/>
                  <a:pt x="4" y="84"/>
                </a:cubicBezTo>
                <a:cubicBezTo>
                  <a:pt x="4" y="84"/>
                  <a:pt x="4" y="84"/>
                  <a:pt x="4" y="84"/>
                </a:cubicBezTo>
                <a:cubicBezTo>
                  <a:pt x="4" y="84"/>
                  <a:pt x="5" y="84"/>
                  <a:pt x="5" y="84"/>
                </a:cubicBezTo>
                <a:cubicBezTo>
                  <a:pt x="6" y="85"/>
                  <a:pt x="6" y="86"/>
                  <a:pt x="6" y="87"/>
                </a:cubicBezTo>
                <a:cubicBezTo>
                  <a:pt x="6" y="88"/>
                  <a:pt x="6" y="89"/>
                  <a:pt x="6" y="90"/>
                </a:cubicBezTo>
                <a:cubicBezTo>
                  <a:pt x="6" y="90"/>
                  <a:pt x="6" y="91"/>
                  <a:pt x="6" y="91"/>
                </a:cubicBezTo>
                <a:cubicBezTo>
                  <a:pt x="6" y="93"/>
                  <a:pt x="6" y="94"/>
                  <a:pt x="8" y="96"/>
                </a:cubicBezTo>
                <a:cubicBezTo>
                  <a:pt x="8" y="96"/>
                  <a:pt x="8" y="96"/>
                  <a:pt x="9" y="97"/>
                </a:cubicBezTo>
                <a:cubicBezTo>
                  <a:pt x="9" y="97"/>
                  <a:pt x="9" y="97"/>
                  <a:pt x="9" y="97"/>
                </a:cubicBezTo>
                <a:cubicBezTo>
                  <a:pt x="10" y="98"/>
                  <a:pt x="11" y="99"/>
                  <a:pt x="12" y="100"/>
                </a:cubicBezTo>
                <a:cubicBezTo>
                  <a:pt x="13" y="101"/>
                  <a:pt x="13" y="101"/>
                  <a:pt x="13" y="101"/>
                </a:cubicBezTo>
                <a:cubicBezTo>
                  <a:pt x="11" y="102"/>
                  <a:pt x="11" y="102"/>
                  <a:pt x="11" y="102"/>
                </a:cubicBezTo>
                <a:cubicBezTo>
                  <a:pt x="11" y="102"/>
                  <a:pt x="11" y="102"/>
                  <a:pt x="11" y="102"/>
                </a:cubicBezTo>
                <a:cubicBezTo>
                  <a:pt x="11" y="102"/>
                  <a:pt x="10" y="103"/>
                  <a:pt x="10" y="103"/>
                </a:cubicBezTo>
                <a:cubicBezTo>
                  <a:pt x="10" y="103"/>
                  <a:pt x="10" y="104"/>
                  <a:pt x="11" y="104"/>
                </a:cubicBezTo>
                <a:cubicBezTo>
                  <a:pt x="11" y="105"/>
                  <a:pt x="11" y="107"/>
                  <a:pt x="10" y="107"/>
                </a:cubicBezTo>
                <a:cubicBezTo>
                  <a:pt x="9" y="108"/>
                  <a:pt x="9" y="108"/>
                  <a:pt x="9" y="108"/>
                </a:cubicBezTo>
                <a:cubicBezTo>
                  <a:pt x="9" y="108"/>
                  <a:pt x="9" y="108"/>
                  <a:pt x="9" y="108"/>
                </a:cubicBezTo>
                <a:cubicBezTo>
                  <a:pt x="9" y="110"/>
                  <a:pt x="9" y="110"/>
                  <a:pt x="10" y="111"/>
                </a:cubicBezTo>
                <a:cubicBezTo>
                  <a:pt x="10" y="111"/>
                  <a:pt x="11" y="112"/>
                  <a:pt x="11" y="112"/>
                </a:cubicBezTo>
                <a:cubicBezTo>
                  <a:pt x="12" y="113"/>
                  <a:pt x="12" y="114"/>
                  <a:pt x="12" y="115"/>
                </a:cubicBezTo>
                <a:cubicBezTo>
                  <a:pt x="12" y="115"/>
                  <a:pt x="12" y="115"/>
                  <a:pt x="12" y="115"/>
                </a:cubicBezTo>
                <a:cubicBezTo>
                  <a:pt x="11" y="115"/>
                  <a:pt x="11" y="115"/>
                  <a:pt x="11" y="115"/>
                </a:cubicBezTo>
                <a:cubicBezTo>
                  <a:pt x="12" y="116"/>
                  <a:pt x="12" y="116"/>
                  <a:pt x="12" y="116"/>
                </a:cubicBezTo>
                <a:cubicBezTo>
                  <a:pt x="12" y="116"/>
                  <a:pt x="12" y="116"/>
                  <a:pt x="12" y="116"/>
                </a:cubicBezTo>
                <a:cubicBezTo>
                  <a:pt x="12" y="116"/>
                  <a:pt x="13" y="116"/>
                  <a:pt x="13" y="116"/>
                </a:cubicBezTo>
                <a:cubicBezTo>
                  <a:pt x="13" y="117"/>
                  <a:pt x="13" y="117"/>
                  <a:pt x="13" y="117"/>
                </a:cubicBezTo>
                <a:cubicBezTo>
                  <a:pt x="14" y="118"/>
                  <a:pt x="14" y="118"/>
                  <a:pt x="14" y="119"/>
                </a:cubicBezTo>
                <a:cubicBezTo>
                  <a:pt x="14" y="119"/>
                  <a:pt x="14" y="119"/>
                  <a:pt x="14" y="119"/>
                </a:cubicBezTo>
                <a:cubicBezTo>
                  <a:pt x="14" y="119"/>
                  <a:pt x="15" y="120"/>
                  <a:pt x="15" y="120"/>
                </a:cubicBezTo>
                <a:cubicBezTo>
                  <a:pt x="15" y="120"/>
                  <a:pt x="15" y="121"/>
                  <a:pt x="15" y="121"/>
                </a:cubicBezTo>
                <a:cubicBezTo>
                  <a:pt x="15" y="121"/>
                  <a:pt x="15" y="121"/>
                  <a:pt x="15" y="121"/>
                </a:cubicBezTo>
                <a:cubicBezTo>
                  <a:pt x="15" y="121"/>
                  <a:pt x="15" y="121"/>
                  <a:pt x="15" y="121"/>
                </a:cubicBezTo>
                <a:cubicBezTo>
                  <a:pt x="15" y="122"/>
                  <a:pt x="15" y="122"/>
                  <a:pt x="15" y="122"/>
                </a:cubicBezTo>
                <a:cubicBezTo>
                  <a:pt x="15" y="122"/>
                  <a:pt x="15" y="122"/>
                  <a:pt x="15" y="123"/>
                </a:cubicBezTo>
                <a:cubicBezTo>
                  <a:pt x="15" y="123"/>
                  <a:pt x="15" y="123"/>
                  <a:pt x="15" y="124"/>
                </a:cubicBezTo>
                <a:cubicBezTo>
                  <a:pt x="15" y="124"/>
                  <a:pt x="15" y="124"/>
                  <a:pt x="15" y="124"/>
                </a:cubicBezTo>
                <a:cubicBezTo>
                  <a:pt x="15" y="125"/>
                  <a:pt x="16" y="125"/>
                  <a:pt x="16" y="125"/>
                </a:cubicBezTo>
                <a:cubicBezTo>
                  <a:pt x="16" y="126"/>
                  <a:pt x="16" y="127"/>
                  <a:pt x="16" y="127"/>
                </a:cubicBezTo>
                <a:cubicBezTo>
                  <a:pt x="16" y="127"/>
                  <a:pt x="16" y="127"/>
                  <a:pt x="16" y="128"/>
                </a:cubicBezTo>
                <a:cubicBezTo>
                  <a:pt x="16" y="128"/>
                  <a:pt x="16" y="128"/>
                  <a:pt x="16" y="128"/>
                </a:cubicBezTo>
                <a:cubicBezTo>
                  <a:pt x="17" y="128"/>
                  <a:pt x="17" y="129"/>
                  <a:pt x="17" y="130"/>
                </a:cubicBezTo>
                <a:cubicBezTo>
                  <a:pt x="17" y="130"/>
                  <a:pt x="17" y="131"/>
                  <a:pt x="17" y="131"/>
                </a:cubicBezTo>
                <a:cubicBezTo>
                  <a:pt x="17" y="131"/>
                  <a:pt x="17" y="131"/>
                  <a:pt x="17" y="132"/>
                </a:cubicBezTo>
                <a:cubicBezTo>
                  <a:pt x="18" y="132"/>
                  <a:pt x="18" y="132"/>
                  <a:pt x="18" y="132"/>
                </a:cubicBezTo>
                <a:cubicBezTo>
                  <a:pt x="18" y="132"/>
                  <a:pt x="18" y="133"/>
                  <a:pt x="18" y="134"/>
                </a:cubicBezTo>
                <a:cubicBezTo>
                  <a:pt x="18" y="134"/>
                  <a:pt x="18" y="135"/>
                  <a:pt x="18" y="135"/>
                </a:cubicBezTo>
                <a:cubicBezTo>
                  <a:pt x="18" y="135"/>
                  <a:pt x="18" y="135"/>
                  <a:pt x="18" y="135"/>
                </a:cubicBezTo>
                <a:cubicBezTo>
                  <a:pt x="23" y="135"/>
                  <a:pt x="23" y="135"/>
                  <a:pt x="23" y="135"/>
                </a:cubicBezTo>
                <a:cubicBezTo>
                  <a:pt x="23" y="135"/>
                  <a:pt x="23" y="135"/>
                  <a:pt x="23" y="135"/>
                </a:cubicBezTo>
                <a:cubicBezTo>
                  <a:pt x="23" y="135"/>
                  <a:pt x="23" y="135"/>
                  <a:pt x="23" y="135"/>
                </a:cubicBezTo>
                <a:cubicBezTo>
                  <a:pt x="24" y="135"/>
                  <a:pt x="24" y="134"/>
                  <a:pt x="25" y="134"/>
                </a:cubicBezTo>
                <a:cubicBezTo>
                  <a:pt x="25" y="133"/>
                  <a:pt x="25" y="133"/>
                  <a:pt x="25" y="133"/>
                </a:cubicBezTo>
                <a:cubicBezTo>
                  <a:pt x="26" y="132"/>
                  <a:pt x="27" y="131"/>
                  <a:pt x="28" y="130"/>
                </a:cubicBezTo>
                <a:cubicBezTo>
                  <a:pt x="29" y="129"/>
                  <a:pt x="29" y="129"/>
                  <a:pt x="31" y="128"/>
                </a:cubicBezTo>
                <a:cubicBezTo>
                  <a:pt x="31" y="128"/>
                  <a:pt x="31" y="128"/>
                  <a:pt x="32" y="128"/>
                </a:cubicBezTo>
                <a:cubicBezTo>
                  <a:pt x="32" y="128"/>
                  <a:pt x="32" y="128"/>
                  <a:pt x="32" y="128"/>
                </a:cubicBezTo>
                <a:cubicBezTo>
                  <a:pt x="32" y="128"/>
                  <a:pt x="32" y="128"/>
                  <a:pt x="32" y="128"/>
                </a:cubicBezTo>
                <a:cubicBezTo>
                  <a:pt x="32" y="127"/>
                  <a:pt x="32" y="126"/>
                  <a:pt x="32" y="126"/>
                </a:cubicBezTo>
                <a:cubicBezTo>
                  <a:pt x="32" y="125"/>
                  <a:pt x="32" y="125"/>
                  <a:pt x="32" y="125"/>
                </a:cubicBezTo>
                <a:cubicBezTo>
                  <a:pt x="32" y="125"/>
                  <a:pt x="32" y="125"/>
                  <a:pt x="32" y="125"/>
                </a:cubicBezTo>
                <a:cubicBezTo>
                  <a:pt x="33" y="124"/>
                  <a:pt x="33" y="124"/>
                  <a:pt x="33" y="124"/>
                </a:cubicBezTo>
                <a:cubicBezTo>
                  <a:pt x="34" y="124"/>
                  <a:pt x="34" y="124"/>
                  <a:pt x="34" y="124"/>
                </a:cubicBezTo>
                <a:cubicBezTo>
                  <a:pt x="35" y="124"/>
                  <a:pt x="36" y="125"/>
                  <a:pt x="37" y="126"/>
                </a:cubicBezTo>
                <a:cubicBezTo>
                  <a:pt x="38" y="127"/>
                  <a:pt x="39" y="128"/>
                  <a:pt x="40" y="128"/>
                </a:cubicBezTo>
                <a:cubicBezTo>
                  <a:pt x="41" y="128"/>
                  <a:pt x="41" y="128"/>
                  <a:pt x="41" y="128"/>
                </a:cubicBezTo>
                <a:cubicBezTo>
                  <a:pt x="43" y="128"/>
                  <a:pt x="44" y="128"/>
                  <a:pt x="45" y="128"/>
                </a:cubicBezTo>
                <a:cubicBezTo>
                  <a:pt x="45" y="128"/>
                  <a:pt x="46" y="128"/>
                  <a:pt x="46" y="128"/>
                </a:cubicBezTo>
                <a:cubicBezTo>
                  <a:pt x="47" y="128"/>
                  <a:pt x="47" y="128"/>
                  <a:pt x="47" y="128"/>
                </a:cubicBezTo>
                <a:cubicBezTo>
                  <a:pt x="48" y="128"/>
                  <a:pt x="48" y="128"/>
                  <a:pt x="49" y="128"/>
                </a:cubicBezTo>
                <a:cubicBezTo>
                  <a:pt x="50" y="129"/>
                  <a:pt x="51" y="129"/>
                  <a:pt x="52" y="130"/>
                </a:cubicBezTo>
                <a:cubicBezTo>
                  <a:pt x="52" y="131"/>
                  <a:pt x="53" y="132"/>
                  <a:pt x="53" y="133"/>
                </a:cubicBezTo>
                <a:cubicBezTo>
                  <a:pt x="54" y="131"/>
                  <a:pt x="55" y="129"/>
                  <a:pt x="55" y="128"/>
                </a:cubicBezTo>
                <a:cubicBezTo>
                  <a:pt x="56" y="127"/>
                  <a:pt x="56" y="127"/>
                  <a:pt x="56" y="127"/>
                </a:cubicBezTo>
                <a:cubicBezTo>
                  <a:pt x="56" y="127"/>
                  <a:pt x="56" y="127"/>
                  <a:pt x="56" y="127"/>
                </a:cubicBezTo>
                <a:cubicBezTo>
                  <a:pt x="57" y="127"/>
                  <a:pt x="57" y="126"/>
                  <a:pt x="59" y="126"/>
                </a:cubicBezTo>
                <a:cubicBezTo>
                  <a:pt x="59" y="126"/>
                  <a:pt x="59" y="126"/>
                  <a:pt x="59" y="126"/>
                </a:cubicBezTo>
                <a:cubicBezTo>
                  <a:pt x="59" y="126"/>
                  <a:pt x="59" y="126"/>
                  <a:pt x="60" y="126"/>
                </a:cubicBezTo>
                <a:cubicBezTo>
                  <a:pt x="60" y="126"/>
                  <a:pt x="60" y="126"/>
                  <a:pt x="60" y="126"/>
                </a:cubicBezTo>
                <a:cubicBezTo>
                  <a:pt x="66" y="126"/>
                  <a:pt x="66" y="126"/>
                  <a:pt x="66" y="126"/>
                </a:cubicBezTo>
                <a:cubicBezTo>
                  <a:pt x="66" y="126"/>
                  <a:pt x="66" y="126"/>
                  <a:pt x="66" y="126"/>
                </a:cubicBezTo>
                <a:cubicBezTo>
                  <a:pt x="66" y="126"/>
                  <a:pt x="66" y="126"/>
                  <a:pt x="66" y="126"/>
                </a:cubicBezTo>
                <a:cubicBezTo>
                  <a:pt x="67" y="126"/>
                  <a:pt x="67" y="126"/>
                  <a:pt x="67" y="126"/>
                </a:cubicBezTo>
                <a:cubicBezTo>
                  <a:pt x="68" y="126"/>
                  <a:pt x="68" y="126"/>
                  <a:pt x="68" y="126"/>
                </a:cubicBezTo>
                <a:cubicBezTo>
                  <a:pt x="68" y="126"/>
                  <a:pt x="68" y="126"/>
                  <a:pt x="68" y="126"/>
                </a:cubicBezTo>
                <a:cubicBezTo>
                  <a:pt x="68" y="126"/>
                  <a:pt x="68" y="126"/>
                  <a:pt x="68" y="126"/>
                </a:cubicBezTo>
                <a:cubicBezTo>
                  <a:pt x="68" y="126"/>
                  <a:pt x="68" y="126"/>
                  <a:pt x="68" y="126"/>
                </a:cubicBezTo>
                <a:cubicBezTo>
                  <a:pt x="68" y="126"/>
                  <a:pt x="68" y="126"/>
                  <a:pt x="68" y="126"/>
                </a:cubicBezTo>
                <a:cubicBezTo>
                  <a:pt x="69" y="126"/>
                  <a:pt x="69" y="127"/>
                  <a:pt x="69" y="127"/>
                </a:cubicBezTo>
                <a:cubicBezTo>
                  <a:pt x="69" y="127"/>
                  <a:pt x="69" y="127"/>
                  <a:pt x="70" y="127"/>
                </a:cubicBezTo>
                <a:cubicBezTo>
                  <a:pt x="70" y="127"/>
                  <a:pt x="70" y="127"/>
                  <a:pt x="70" y="127"/>
                </a:cubicBezTo>
                <a:cubicBezTo>
                  <a:pt x="70" y="126"/>
                  <a:pt x="70" y="125"/>
                  <a:pt x="70" y="125"/>
                </a:cubicBezTo>
                <a:lnTo>
                  <a:pt x="71" y="123"/>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499" name="Freeform 2955">
            <a:extLst>
              <a:ext uri="{FF2B5EF4-FFF2-40B4-BE49-F238E27FC236}">
                <a16:creationId xmlns:a16="http://schemas.microsoft.com/office/drawing/2014/main" id="{5DE63B3E-7228-4B6C-A348-4A7CEF103687}"/>
              </a:ext>
            </a:extLst>
          </p:cNvPr>
          <p:cNvSpPr>
            <a:spLocks/>
          </p:cNvSpPr>
          <p:nvPr/>
        </p:nvSpPr>
        <p:spPr bwMode="auto">
          <a:xfrm>
            <a:off x="2495559" y="3816163"/>
            <a:ext cx="4956" cy="2968"/>
          </a:xfrm>
          <a:custGeom>
            <a:avLst/>
            <a:gdLst>
              <a:gd name="T0" fmla="*/ 3 w 4"/>
              <a:gd name="T1" fmla="*/ 1 h 2"/>
              <a:gd name="T2" fmla="*/ 4 w 4"/>
              <a:gd name="T3" fmla="*/ 2 h 2"/>
              <a:gd name="T4" fmla="*/ 4 w 4"/>
              <a:gd name="T5" fmla="*/ 2 h 2"/>
              <a:gd name="T6" fmla="*/ 3 w 4"/>
              <a:gd name="T7" fmla="*/ 0 h 2"/>
              <a:gd name="T8" fmla="*/ 2 w 4"/>
              <a:gd name="T9" fmla="*/ 0 h 2"/>
              <a:gd name="T10" fmla="*/ 2 w 4"/>
              <a:gd name="T11" fmla="*/ 0 h 2"/>
              <a:gd name="T12" fmla="*/ 2 w 4"/>
              <a:gd name="T13" fmla="*/ 0 h 2"/>
              <a:gd name="T14" fmla="*/ 2 w 4"/>
              <a:gd name="T15" fmla="*/ 0 h 2"/>
              <a:gd name="T16" fmla="*/ 2 w 4"/>
              <a:gd name="T17" fmla="*/ 0 h 2"/>
              <a:gd name="T18" fmla="*/ 1 w 4"/>
              <a:gd name="T19" fmla="*/ 0 h 2"/>
              <a:gd name="T20" fmla="*/ 0 w 4"/>
              <a:gd name="T21" fmla="*/ 0 h 2"/>
              <a:gd name="T22" fmla="*/ 0 w 4"/>
              <a:gd name="T23" fmla="*/ 0 h 2"/>
              <a:gd name="T24" fmla="*/ 3 w 4"/>
              <a:gd name="T25"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3" y="1"/>
                </a:moveTo>
                <a:cubicBezTo>
                  <a:pt x="3" y="1"/>
                  <a:pt x="3" y="1"/>
                  <a:pt x="4" y="2"/>
                </a:cubicBezTo>
                <a:cubicBezTo>
                  <a:pt x="4" y="2"/>
                  <a:pt x="4" y="2"/>
                  <a:pt x="4" y="2"/>
                </a:cubicBezTo>
                <a:cubicBezTo>
                  <a:pt x="3" y="0"/>
                  <a:pt x="3" y="0"/>
                  <a:pt x="3" y="0"/>
                </a:cubicBezTo>
                <a:cubicBezTo>
                  <a:pt x="3"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0" y="0"/>
                  <a:pt x="0" y="0"/>
                </a:cubicBezTo>
                <a:cubicBezTo>
                  <a:pt x="0" y="0"/>
                  <a:pt x="0" y="0"/>
                  <a:pt x="0" y="0"/>
                </a:cubicBezTo>
                <a:cubicBezTo>
                  <a:pt x="1" y="0"/>
                  <a:pt x="2" y="0"/>
                  <a:pt x="3"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00" name="Freeform 2956">
            <a:extLst>
              <a:ext uri="{FF2B5EF4-FFF2-40B4-BE49-F238E27FC236}">
                <a16:creationId xmlns:a16="http://schemas.microsoft.com/office/drawing/2014/main" id="{AF7EFE6D-95FB-49AF-A7BE-2D259DEDAE1B}"/>
              </a:ext>
            </a:extLst>
          </p:cNvPr>
          <p:cNvSpPr>
            <a:spLocks/>
          </p:cNvSpPr>
          <p:nvPr/>
        </p:nvSpPr>
        <p:spPr bwMode="auto">
          <a:xfrm>
            <a:off x="2366713" y="3762739"/>
            <a:ext cx="150155" cy="261182"/>
          </a:xfrm>
          <a:custGeom>
            <a:avLst/>
            <a:gdLst>
              <a:gd name="T0" fmla="*/ 116 w 128"/>
              <a:gd name="T1" fmla="*/ 184 h 186"/>
              <a:gd name="T2" fmla="*/ 119 w 128"/>
              <a:gd name="T3" fmla="*/ 177 h 186"/>
              <a:gd name="T4" fmla="*/ 121 w 128"/>
              <a:gd name="T5" fmla="*/ 172 h 186"/>
              <a:gd name="T6" fmla="*/ 125 w 128"/>
              <a:gd name="T7" fmla="*/ 167 h 186"/>
              <a:gd name="T8" fmla="*/ 121 w 128"/>
              <a:gd name="T9" fmla="*/ 156 h 186"/>
              <a:gd name="T10" fmla="*/ 124 w 128"/>
              <a:gd name="T11" fmla="*/ 145 h 186"/>
              <a:gd name="T12" fmla="*/ 125 w 128"/>
              <a:gd name="T13" fmla="*/ 140 h 186"/>
              <a:gd name="T14" fmla="*/ 124 w 128"/>
              <a:gd name="T15" fmla="*/ 136 h 186"/>
              <a:gd name="T16" fmla="*/ 127 w 128"/>
              <a:gd name="T17" fmla="*/ 129 h 186"/>
              <a:gd name="T18" fmla="*/ 120 w 128"/>
              <a:gd name="T19" fmla="*/ 111 h 186"/>
              <a:gd name="T20" fmla="*/ 117 w 128"/>
              <a:gd name="T21" fmla="*/ 111 h 186"/>
              <a:gd name="T22" fmla="*/ 110 w 128"/>
              <a:gd name="T23" fmla="*/ 111 h 186"/>
              <a:gd name="T24" fmla="*/ 109 w 128"/>
              <a:gd name="T25" fmla="*/ 97 h 186"/>
              <a:gd name="T26" fmla="*/ 105 w 128"/>
              <a:gd name="T27" fmla="*/ 100 h 186"/>
              <a:gd name="T28" fmla="*/ 94 w 128"/>
              <a:gd name="T29" fmla="*/ 101 h 186"/>
              <a:gd name="T30" fmla="*/ 92 w 128"/>
              <a:gd name="T31" fmla="*/ 97 h 186"/>
              <a:gd name="T32" fmla="*/ 84 w 128"/>
              <a:gd name="T33" fmla="*/ 89 h 186"/>
              <a:gd name="T34" fmla="*/ 75 w 128"/>
              <a:gd name="T35" fmla="*/ 76 h 186"/>
              <a:gd name="T36" fmla="*/ 77 w 128"/>
              <a:gd name="T37" fmla="*/ 72 h 186"/>
              <a:gd name="T38" fmla="*/ 83 w 128"/>
              <a:gd name="T39" fmla="*/ 62 h 186"/>
              <a:gd name="T40" fmla="*/ 83 w 128"/>
              <a:gd name="T41" fmla="*/ 59 h 186"/>
              <a:gd name="T42" fmla="*/ 84 w 128"/>
              <a:gd name="T43" fmla="*/ 54 h 186"/>
              <a:gd name="T44" fmla="*/ 90 w 128"/>
              <a:gd name="T45" fmla="*/ 46 h 186"/>
              <a:gd name="T46" fmla="*/ 104 w 128"/>
              <a:gd name="T47" fmla="*/ 41 h 186"/>
              <a:gd name="T48" fmla="*/ 109 w 128"/>
              <a:gd name="T49" fmla="*/ 39 h 186"/>
              <a:gd name="T50" fmla="*/ 109 w 128"/>
              <a:gd name="T51" fmla="*/ 34 h 186"/>
              <a:gd name="T52" fmla="*/ 114 w 128"/>
              <a:gd name="T53" fmla="*/ 25 h 186"/>
              <a:gd name="T54" fmla="*/ 108 w 128"/>
              <a:gd name="T55" fmla="*/ 23 h 186"/>
              <a:gd name="T56" fmla="*/ 105 w 128"/>
              <a:gd name="T57" fmla="*/ 22 h 186"/>
              <a:gd name="T58" fmla="*/ 99 w 128"/>
              <a:gd name="T59" fmla="*/ 22 h 186"/>
              <a:gd name="T60" fmla="*/ 95 w 128"/>
              <a:gd name="T61" fmla="*/ 24 h 186"/>
              <a:gd name="T62" fmla="*/ 92 w 128"/>
              <a:gd name="T63" fmla="*/ 24 h 186"/>
              <a:gd name="T64" fmla="*/ 88 w 128"/>
              <a:gd name="T65" fmla="*/ 24 h 186"/>
              <a:gd name="T66" fmla="*/ 83 w 128"/>
              <a:gd name="T67" fmla="*/ 18 h 186"/>
              <a:gd name="T68" fmla="*/ 82 w 128"/>
              <a:gd name="T69" fmla="*/ 17 h 186"/>
              <a:gd name="T70" fmla="*/ 80 w 128"/>
              <a:gd name="T71" fmla="*/ 17 h 186"/>
              <a:gd name="T72" fmla="*/ 79 w 128"/>
              <a:gd name="T73" fmla="*/ 13 h 186"/>
              <a:gd name="T74" fmla="*/ 74 w 128"/>
              <a:gd name="T75" fmla="*/ 10 h 186"/>
              <a:gd name="T76" fmla="*/ 68 w 128"/>
              <a:gd name="T77" fmla="*/ 2 h 186"/>
              <a:gd name="T78" fmla="*/ 65 w 128"/>
              <a:gd name="T79" fmla="*/ 0 h 186"/>
              <a:gd name="T80" fmla="*/ 62 w 128"/>
              <a:gd name="T81" fmla="*/ 1 h 186"/>
              <a:gd name="T82" fmla="*/ 64 w 128"/>
              <a:gd name="T83" fmla="*/ 7 h 186"/>
              <a:gd name="T84" fmla="*/ 60 w 128"/>
              <a:gd name="T85" fmla="*/ 14 h 186"/>
              <a:gd name="T86" fmla="*/ 43 w 128"/>
              <a:gd name="T87" fmla="*/ 27 h 186"/>
              <a:gd name="T88" fmla="*/ 34 w 128"/>
              <a:gd name="T89" fmla="*/ 32 h 186"/>
              <a:gd name="T90" fmla="*/ 28 w 128"/>
              <a:gd name="T91" fmla="*/ 45 h 186"/>
              <a:gd name="T92" fmla="*/ 24 w 128"/>
              <a:gd name="T93" fmla="*/ 49 h 186"/>
              <a:gd name="T94" fmla="*/ 18 w 128"/>
              <a:gd name="T95" fmla="*/ 45 h 186"/>
              <a:gd name="T96" fmla="*/ 14 w 128"/>
              <a:gd name="T97" fmla="*/ 43 h 186"/>
              <a:gd name="T98" fmla="*/ 9 w 128"/>
              <a:gd name="T99" fmla="*/ 44 h 186"/>
              <a:gd name="T100" fmla="*/ 8 w 128"/>
              <a:gd name="T101" fmla="*/ 41 h 186"/>
              <a:gd name="T102" fmla="*/ 11 w 128"/>
              <a:gd name="T103" fmla="*/ 36 h 186"/>
              <a:gd name="T104" fmla="*/ 5 w 128"/>
              <a:gd name="T105" fmla="*/ 56 h 186"/>
              <a:gd name="T106" fmla="*/ 25 w 128"/>
              <a:gd name="T107" fmla="*/ 83 h 186"/>
              <a:gd name="T108" fmla="*/ 41 w 128"/>
              <a:gd name="T109" fmla="*/ 115 h 186"/>
              <a:gd name="T110" fmla="*/ 52 w 128"/>
              <a:gd name="T111" fmla="*/ 134 h 186"/>
              <a:gd name="T112" fmla="*/ 55 w 128"/>
              <a:gd name="T113" fmla="*/ 148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 h="186">
                <a:moveTo>
                  <a:pt x="95" y="172"/>
                </a:moveTo>
                <a:cubicBezTo>
                  <a:pt x="97" y="174"/>
                  <a:pt x="99" y="175"/>
                  <a:pt x="100" y="176"/>
                </a:cubicBezTo>
                <a:cubicBezTo>
                  <a:pt x="101" y="176"/>
                  <a:pt x="101" y="178"/>
                  <a:pt x="102" y="179"/>
                </a:cubicBezTo>
                <a:cubicBezTo>
                  <a:pt x="102" y="181"/>
                  <a:pt x="105" y="181"/>
                  <a:pt x="107" y="183"/>
                </a:cubicBezTo>
                <a:cubicBezTo>
                  <a:pt x="108" y="184"/>
                  <a:pt x="109" y="185"/>
                  <a:pt x="111" y="186"/>
                </a:cubicBezTo>
                <a:cubicBezTo>
                  <a:pt x="116" y="184"/>
                  <a:pt x="116" y="184"/>
                  <a:pt x="116" y="184"/>
                </a:cubicBezTo>
                <a:cubicBezTo>
                  <a:pt x="116" y="184"/>
                  <a:pt x="116" y="184"/>
                  <a:pt x="116" y="184"/>
                </a:cubicBezTo>
                <a:cubicBezTo>
                  <a:pt x="116" y="184"/>
                  <a:pt x="116" y="184"/>
                  <a:pt x="116" y="184"/>
                </a:cubicBezTo>
                <a:cubicBezTo>
                  <a:pt x="117" y="183"/>
                  <a:pt x="117" y="182"/>
                  <a:pt x="116" y="181"/>
                </a:cubicBezTo>
                <a:cubicBezTo>
                  <a:pt x="115" y="180"/>
                  <a:pt x="117" y="179"/>
                  <a:pt x="118" y="178"/>
                </a:cubicBezTo>
                <a:cubicBezTo>
                  <a:pt x="118" y="178"/>
                  <a:pt x="118" y="178"/>
                  <a:pt x="119" y="178"/>
                </a:cubicBezTo>
                <a:cubicBezTo>
                  <a:pt x="119" y="177"/>
                  <a:pt x="119" y="177"/>
                  <a:pt x="119" y="177"/>
                </a:cubicBezTo>
                <a:cubicBezTo>
                  <a:pt x="119" y="177"/>
                  <a:pt x="119" y="177"/>
                  <a:pt x="119" y="177"/>
                </a:cubicBezTo>
                <a:cubicBezTo>
                  <a:pt x="119" y="177"/>
                  <a:pt x="119" y="177"/>
                  <a:pt x="119" y="177"/>
                </a:cubicBezTo>
                <a:cubicBezTo>
                  <a:pt x="119" y="177"/>
                  <a:pt x="119" y="177"/>
                  <a:pt x="119" y="177"/>
                </a:cubicBezTo>
                <a:cubicBezTo>
                  <a:pt x="118" y="176"/>
                  <a:pt x="118" y="176"/>
                  <a:pt x="118" y="176"/>
                </a:cubicBezTo>
                <a:cubicBezTo>
                  <a:pt x="118" y="176"/>
                  <a:pt x="118" y="176"/>
                  <a:pt x="118" y="176"/>
                </a:cubicBezTo>
                <a:cubicBezTo>
                  <a:pt x="118" y="175"/>
                  <a:pt x="119" y="174"/>
                  <a:pt x="121" y="172"/>
                </a:cubicBezTo>
                <a:cubicBezTo>
                  <a:pt x="121" y="172"/>
                  <a:pt x="121" y="172"/>
                  <a:pt x="121" y="172"/>
                </a:cubicBezTo>
                <a:cubicBezTo>
                  <a:pt x="122" y="172"/>
                  <a:pt x="122" y="171"/>
                  <a:pt x="122" y="171"/>
                </a:cubicBezTo>
                <a:cubicBezTo>
                  <a:pt x="122" y="171"/>
                  <a:pt x="123" y="170"/>
                  <a:pt x="124" y="169"/>
                </a:cubicBezTo>
                <a:cubicBezTo>
                  <a:pt x="124" y="169"/>
                  <a:pt x="124" y="169"/>
                  <a:pt x="124" y="169"/>
                </a:cubicBezTo>
                <a:cubicBezTo>
                  <a:pt x="124" y="168"/>
                  <a:pt x="124" y="168"/>
                  <a:pt x="124" y="168"/>
                </a:cubicBezTo>
                <a:cubicBezTo>
                  <a:pt x="124" y="168"/>
                  <a:pt x="125" y="167"/>
                  <a:pt x="125" y="167"/>
                </a:cubicBezTo>
                <a:cubicBezTo>
                  <a:pt x="125" y="167"/>
                  <a:pt x="125" y="167"/>
                  <a:pt x="125" y="167"/>
                </a:cubicBezTo>
                <a:cubicBezTo>
                  <a:pt x="126" y="166"/>
                  <a:pt x="126" y="166"/>
                  <a:pt x="126" y="166"/>
                </a:cubicBezTo>
                <a:cubicBezTo>
                  <a:pt x="123" y="165"/>
                  <a:pt x="122" y="163"/>
                  <a:pt x="122" y="161"/>
                </a:cubicBezTo>
                <a:cubicBezTo>
                  <a:pt x="121" y="161"/>
                  <a:pt x="121" y="160"/>
                  <a:pt x="121" y="160"/>
                </a:cubicBezTo>
                <a:cubicBezTo>
                  <a:pt x="121" y="160"/>
                  <a:pt x="121" y="160"/>
                  <a:pt x="121" y="160"/>
                </a:cubicBezTo>
                <a:cubicBezTo>
                  <a:pt x="121" y="159"/>
                  <a:pt x="120" y="158"/>
                  <a:pt x="121" y="156"/>
                </a:cubicBezTo>
                <a:cubicBezTo>
                  <a:pt x="123" y="154"/>
                  <a:pt x="123" y="154"/>
                  <a:pt x="123" y="154"/>
                </a:cubicBezTo>
                <a:cubicBezTo>
                  <a:pt x="123" y="154"/>
                  <a:pt x="123" y="154"/>
                  <a:pt x="123" y="154"/>
                </a:cubicBezTo>
                <a:cubicBezTo>
                  <a:pt x="122" y="153"/>
                  <a:pt x="122" y="153"/>
                  <a:pt x="122" y="152"/>
                </a:cubicBezTo>
                <a:cubicBezTo>
                  <a:pt x="121" y="149"/>
                  <a:pt x="122" y="149"/>
                  <a:pt x="123" y="147"/>
                </a:cubicBezTo>
                <a:cubicBezTo>
                  <a:pt x="123" y="146"/>
                  <a:pt x="124" y="146"/>
                  <a:pt x="124" y="146"/>
                </a:cubicBezTo>
                <a:cubicBezTo>
                  <a:pt x="124" y="145"/>
                  <a:pt x="124" y="145"/>
                  <a:pt x="124" y="145"/>
                </a:cubicBezTo>
                <a:cubicBezTo>
                  <a:pt x="125" y="145"/>
                  <a:pt x="125" y="145"/>
                  <a:pt x="125" y="145"/>
                </a:cubicBezTo>
                <a:cubicBezTo>
                  <a:pt x="125" y="144"/>
                  <a:pt x="125" y="144"/>
                  <a:pt x="125" y="144"/>
                </a:cubicBezTo>
                <a:cubicBezTo>
                  <a:pt x="125" y="144"/>
                  <a:pt x="126" y="143"/>
                  <a:pt x="126" y="143"/>
                </a:cubicBezTo>
                <a:cubicBezTo>
                  <a:pt x="126" y="143"/>
                  <a:pt x="126" y="143"/>
                  <a:pt x="126" y="143"/>
                </a:cubicBezTo>
                <a:cubicBezTo>
                  <a:pt x="126" y="142"/>
                  <a:pt x="126" y="142"/>
                  <a:pt x="125" y="142"/>
                </a:cubicBezTo>
                <a:cubicBezTo>
                  <a:pt x="125" y="140"/>
                  <a:pt x="125" y="140"/>
                  <a:pt x="125" y="140"/>
                </a:cubicBezTo>
                <a:cubicBezTo>
                  <a:pt x="125" y="139"/>
                  <a:pt x="125" y="139"/>
                  <a:pt x="125" y="139"/>
                </a:cubicBezTo>
                <a:cubicBezTo>
                  <a:pt x="125" y="139"/>
                  <a:pt x="125" y="139"/>
                  <a:pt x="125" y="139"/>
                </a:cubicBezTo>
                <a:cubicBezTo>
                  <a:pt x="124" y="138"/>
                  <a:pt x="124" y="138"/>
                  <a:pt x="124" y="138"/>
                </a:cubicBezTo>
                <a:cubicBezTo>
                  <a:pt x="124" y="138"/>
                  <a:pt x="124" y="138"/>
                  <a:pt x="124" y="137"/>
                </a:cubicBezTo>
                <a:cubicBezTo>
                  <a:pt x="124" y="137"/>
                  <a:pt x="124" y="137"/>
                  <a:pt x="124" y="136"/>
                </a:cubicBezTo>
                <a:cubicBezTo>
                  <a:pt x="124" y="136"/>
                  <a:pt x="124" y="136"/>
                  <a:pt x="124" y="136"/>
                </a:cubicBezTo>
                <a:cubicBezTo>
                  <a:pt x="124" y="135"/>
                  <a:pt x="124" y="135"/>
                  <a:pt x="124" y="135"/>
                </a:cubicBezTo>
                <a:cubicBezTo>
                  <a:pt x="125" y="134"/>
                  <a:pt x="125" y="134"/>
                  <a:pt x="125" y="134"/>
                </a:cubicBezTo>
                <a:cubicBezTo>
                  <a:pt x="125" y="134"/>
                  <a:pt x="125" y="133"/>
                  <a:pt x="125" y="133"/>
                </a:cubicBezTo>
                <a:cubicBezTo>
                  <a:pt x="125" y="132"/>
                  <a:pt x="125" y="132"/>
                  <a:pt x="125" y="131"/>
                </a:cubicBezTo>
                <a:cubicBezTo>
                  <a:pt x="126" y="130"/>
                  <a:pt x="126" y="130"/>
                  <a:pt x="126" y="129"/>
                </a:cubicBezTo>
                <a:cubicBezTo>
                  <a:pt x="127" y="129"/>
                  <a:pt x="127" y="129"/>
                  <a:pt x="127" y="129"/>
                </a:cubicBezTo>
                <a:cubicBezTo>
                  <a:pt x="127" y="128"/>
                  <a:pt x="128" y="127"/>
                  <a:pt x="128" y="126"/>
                </a:cubicBezTo>
                <a:cubicBezTo>
                  <a:pt x="127" y="125"/>
                  <a:pt x="127" y="125"/>
                  <a:pt x="127" y="125"/>
                </a:cubicBezTo>
                <a:cubicBezTo>
                  <a:pt x="126" y="123"/>
                  <a:pt x="125" y="120"/>
                  <a:pt x="124" y="118"/>
                </a:cubicBezTo>
                <a:cubicBezTo>
                  <a:pt x="123" y="117"/>
                  <a:pt x="123" y="117"/>
                  <a:pt x="123" y="117"/>
                </a:cubicBezTo>
                <a:cubicBezTo>
                  <a:pt x="122" y="115"/>
                  <a:pt x="121" y="113"/>
                  <a:pt x="120" y="111"/>
                </a:cubicBezTo>
                <a:cubicBezTo>
                  <a:pt x="120" y="111"/>
                  <a:pt x="120" y="111"/>
                  <a:pt x="120" y="111"/>
                </a:cubicBezTo>
                <a:cubicBezTo>
                  <a:pt x="120" y="111"/>
                  <a:pt x="120" y="111"/>
                  <a:pt x="120" y="111"/>
                </a:cubicBezTo>
                <a:cubicBezTo>
                  <a:pt x="119" y="111"/>
                  <a:pt x="119" y="111"/>
                  <a:pt x="119" y="111"/>
                </a:cubicBezTo>
                <a:cubicBezTo>
                  <a:pt x="119" y="111"/>
                  <a:pt x="119" y="111"/>
                  <a:pt x="118" y="111"/>
                </a:cubicBezTo>
                <a:cubicBezTo>
                  <a:pt x="118" y="111"/>
                  <a:pt x="118" y="111"/>
                  <a:pt x="118" y="111"/>
                </a:cubicBezTo>
                <a:cubicBezTo>
                  <a:pt x="117" y="111"/>
                  <a:pt x="117" y="111"/>
                  <a:pt x="117" y="111"/>
                </a:cubicBezTo>
                <a:cubicBezTo>
                  <a:pt x="117" y="111"/>
                  <a:pt x="117" y="111"/>
                  <a:pt x="117" y="111"/>
                </a:cubicBezTo>
                <a:cubicBezTo>
                  <a:pt x="117" y="111"/>
                  <a:pt x="117" y="111"/>
                  <a:pt x="116" y="111"/>
                </a:cubicBezTo>
                <a:cubicBezTo>
                  <a:pt x="116" y="111"/>
                  <a:pt x="116" y="111"/>
                  <a:pt x="116" y="111"/>
                </a:cubicBezTo>
                <a:cubicBezTo>
                  <a:pt x="115" y="112"/>
                  <a:pt x="114" y="112"/>
                  <a:pt x="113" y="112"/>
                </a:cubicBezTo>
                <a:cubicBezTo>
                  <a:pt x="113" y="112"/>
                  <a:pt x="113" y="112"/>
                  <a:pt x="113" y="112"/>
                </a:cubicBezTo>
                <a:cubicBezTo>
                  <a:pt x="112" y="112"/>
                  <a:pt x="111" y="112"/>
                  <a:pt x="111" y="111"/>
                </a:cubicBezTo>
                <a:cubicBezTo>
                  <a:pt x="111" y="111"/>
                  <a:pt x="110" y="111"/>
                  <a:pt x="110" y="111"/>
                </a:cubicBezTo>
                <a:cubicBezTo>
                  <a:pt x="108" y="114"/>
                  <a:pt x="108" y="114"/>
                  <a:pt x="108" y="114"/>
                </a:cubicBezTo>
                <a:cubicBezTo>
                  <a:pt x="108" y="110"/>
                  <a:pt x="108" y="110"/>
                  <a:pt x="108" y="110"/>
                </a:cubicBezTo>
                <a:cubicBezTo>
                  <a:pt x="108" y="109"/>
                  <a:pt x="108" y="108"/>
                  <a:pt x="108" y="107"/>
                </a:cubicBezTo>
                <a:cubicBezTo>
                  <a:pt x="108" y="104"/>
                  <a:pt x="108" y="100"/>
                  <a:pt x="109" y="97"/>
                </a:cubicBezTo>
                <a:cubicBezTo>
                  <a:pt x="109" y="97"/>
                  <a:pt x="109" y="97"/>
                  <a:pt x="109" y="97"/>
                </a:cubicBezTo>
                <a:cubicBezTo>
                  <a:pt x="109" y="97"/>
                  <a:pt x="109" y="97"/>
                  <a:pt x="109" y="97"/>
                </a:cubicBezTo>
                <a:cubicBezTo>
                  <a:pt x="108" y="97"/>
                  <a:pt x="108" y="97"/>
                  <a:pt x="108" y="98"/>
                </a:cubicBezTo>
                <a:cubicBezTo>
                  <a:pt x="107" y="98"/>
                  <a:pt x="107" y="98"/>
                  <a:pt x="107" y="98"/>
                </a:cubicBezTo>
                <a:cubicBezTo>
                  <a:pt x="107" y="98"/>
                  <a:pt x="107" y="99"/>
                  <a:pt x="106" y="99"/>
                </a:cubicBezTo>
                <a:cubicBezTo>
                  <a:pt x="106" y="99"/>
                  <a:pt x="106" y="99"/>
                  <a:pt x="105" y="100"/>
                </a:cubicBezTo>
                <a:cubicBezTo>
                  <a:pt x="105" y="100"/>
                  <a:pt x="105" y="100"/>
                  <a:pt x="105" y="100"/>
                </a:cubicBezTo>
                <a:cubicBezTo>
                  <a:pt x="105" y="100"/>
                  <a:pt x="105" y="100"/>
                  <a:pt x="105" y="100"/>
                </a:cubicBezTo>
                <a:cubicBezTo>
                  <a:pt x="105" y="100"/>
                  <a:pt x="105" y="100"/>
                  <a:pt x="104" y="100"/>
                </a:cubicBezTo>
                <a:cubicBezTo>
                  <a:pt x="104" y="100"/>
                  <a:pt x="104" y="101"/>
                  <a:pt x="103" y="101"/>
                </a:cubicBezTo>
                <a:cubicBezTo>
                  <a:pt x="102" y="101"/>
                  <a:pt x="101" y="101"/>
                  <a:pt x="100" y="101"/>
                </a:cubicBezTo>
                <a:cubicBezTo>
                  <a:pt x="98" y="101"/>
                  <a:pt x="97" y="101"/>
                  <a:pt x="96" y="101"/>
                </a:cubicBezTo>
                <a:cubicBezTo>
                  <a:pt x="96" y="101"/>
                  <a:pt x="96" y="101"/>
                  <a:pt x="96" y="101"/>
                </a:cubicBezTo>
                <a:cubicBezTo>
                  <a:pt x="95" y="101"/>
                  <a:pt x="94" y="101"/>
                  <a:pt x="94" y="101"/>
                </a:cubicBezTo>
                <a:cubicBezTo>
                  <a:pt x="92" y="101"/>
                  <a:pt x="92" y="101"/>
                  <a:pt x="92" y="101"/>
                </a:cubicBezTo>
                <a:cubicBezTo>
                  <a:pt x="92" y="99"/>
                  <a:pt x="92" y="99"/>
                  <a:pt x="92" y="99"/>
                </a:cubicBezTo>
                <a:cubicBezTo>
                  <a:pt x="93" y="99"/>
                  <a:pt x="93" y="99"/>
                  <a:pt x="92" y="98"/>
                </a:cubicBezTo>
                <a:cubicBezTo>
                  <a:pt x="92" y="98"/>
                  <a:pt x="92" y="98"/>
                  <a:pt x="92" y="98"/>
                </a:cubicBezTo>
                <a:cubicBezTo>
                  <a:pt x="92" y="98"/>
                  <a:pt x="92" y="98"/>
                  <a:pt x="92" y="97"/>
                </a:cubicBezTo>
                <a:cubicBezTo>
                  <a:pt x="92" y="97"/>
                  <a:pt x="92" y="97"/>
                  <a:pt x="92" y="97"/>
                </a:cubicBezTo>
                <a:cubicBezTo>
                  <a:pt x="91" y="95"/>
                  <a:pt x="87" y="95"/>
                  <a:pt x="85" y="95"/>
                </a:cubicBezTo>
                <a:cubicBezTo>
                  <a:pt x="84" y="95"/>
                  <a:pt x="84" y="95"/>
                  <a:pt x="83" y="95"/>
                </a:cubicBezTo>
                <a:cubicBezTo>
                  <a:pt x="80" y="95"/>
                  <a:pt x="80" y="95"/>
                  <a:pt x="80" y="95"/>
                </a:cubicBezTo>
                <a:cubicBezTo>
                  <a:pt x="82" y="93"/>
                  <a:pt x="82" y="93"/>
                  <a:pt x="82" y="93"/>
                </a:cubicBezTo>
                <a:cubicBezTo>
                  <a:pt x="84" y="91"/>
                  <a:pt x="85" y="90"/>
                  <a:pt x="85" y="90"/>
                </a:cubicBezTo>
                <a:cubicBezTo>
                  <a:pt x="84" y="90"/>
                  <a:pt x="84" y="89"/>
                  <a:pt x="84" y="89"/>
                </a:cubicBezTo>
                <a:cubicBezTo>
                  <a:pt x="83" y="89"/>
                  <a:pt x="83" y="88"/>
                  <a:pt x="83" y="88"/>
                </a:cubicBezTo>
                <a:cubicBezTo>
                  <a:pt x="83" y="88"/>
                  <a:pt x="83" y="88"/>
                  <a:pt x="83" y="88"/>
                </a:cubicBezTo>
                <a:cubicBezTo>
                  <a:pt x="81" y="86"/>
                  <a:pt x="80" y="85"/>
                  <a:pt x="79" y="83"/>
                </a:cubicBezTo>
                <a:cubicBezTo>
                  <a:pt x="78" y="82"/>
                  <a:pt x="78" y="81"/>
                  <a:pt x="78" y="80"/>
                </a:cubicBezTo>
                <a:cubicBezTo>
                  <a:pt x="77" y="79"/>
                  <a:pt x="77" y="78"/>
                  <a:pt x="77" y="78"/>
                </a:cubicBezTo>
                <a:cubicBezTo>
                  <a:pt x="77" y="77"/>
                  <a:pt x="76" y="77"/>
                  <a:pt x="75" y="76"/>
                </a:cubicBezTo>
                <a:cubicBezTo>
                  <a:pt x="75" y="76"/>
                  <a:pt x="75" y="76"/>
                  <a:pt x="74" y="75"/>
                </a:cubicBezTo>
                <a:cubicBezTo>
                  <a:pt x="73" y="74"/>
                  <a:pt x="73" y="74"/>
                  <a:pt x="73" y="74"/>
                </a:cubicBezTo>
                <a:cubicBezTo>
                  <a:pt x="74" y="74"/>
                  <a:pt x="74" y="74"/>
                  <a:pt x="74" y="74"/>
                </a:cubicBezTo>
                <a:cubicBezTo>
                  <a:pt x="74" y="73"/>
                  <a:pt x="75" y="73"/>
                  <a:pt x="76" y="73"/>
                </a:cubicBezTo>
                <a:cubicBezTo>
                  <a:pt x="76" y="72"/>
                  <a:pt x="76" y="72"/>
                  <a:pt x="77" y="72"/>
                </a:cubicBezTo>
                <a:cubicBezTo>
                  <a:pt x="77" y="72"/>
                  <a:pt x="77" y="72"/>
                  <a:pt x="77" y="72"/>
                </a:cubicBezTo>
                <a:cubicBezTo>
                  <a:pt x="76" y="70"/>
                  <a:pt x="76" y="70"/>
                  <a:pt x="76" y="68"/>
                </a:cubicBezTo>
                <a:cubicBezTo>
                  <a:pt x="77" y="66"/>
                  <a:pt x="79" y="65"/>
                  <a:pt x="80" y="64"/>
                </a:cubicBezTo>
                <a:cubicBezTo>
                  <a:pt x="80" y="64"/>
                  <a:pt x="81" y="64"/>
                  <a:pt x="81" y="64"/>
                </a:cubicBezTo>
                <a:cubicBezTo>
                  <a:pt x="81" y="64"/>
                  <a:pt x="81" y="64"/>
                  <a:pt x="81" y="64"/>
                </a:cubicBezTo>
                <a:cubicBezTo>
                  <a:pt x="82" y="63"/>
                  <a:pt x="82" y="63"/>
                  <a:pt x="82" y="63"/>
                </a:cubicBezTo>
                <a:cubicBezTo>
                  <a:pt x="83" y="63"/>
                  <a:pt x="83" y="63"/>
                  <a:pt x="83" y="62"/>
                </a:cubicBezTo>
                <a:cubicBezTo>
                  <a:pt x="83" y="62"/>
                  <a:pt x="83" y="62"/>
                  <a:pt x="83" y="62"/>
                </a:cubicBezTo>
                <a:cubicBezTo>
                  <a:pt x="83" y="62"/>
                  <a:pt x="82" y="62"/>
                  <a:pt x="82" y="62"/>
                </a:cubicBezTo>
                <a:cubicBezTo>
                  <a:pt x="82" y="61"/>
                  <a:pt x="82" y="61"/>
                  <a:pt x="82" y="60"/>
                </a:cubicBezTo>
                <a:cubicBezTo>
                  <a:pt x="82" y="60"/>
                  <a:pt x="82" y="60"/>
                  <a:pt x="82" y="60"/>
                </a:cubicBezTo>
                <a:cubicBezTo>
                  <a:pt x="82" y="60"/>
                  <a:pt x="82" y="59"/>
                  <a:pt x="83" y="59"/>
                </a:cubicBezTo>
                <a:cubicBezTo>
                  <a:pt x="83" y="59"/>
                  <a:pt x="83" y="59"/>
                  <a:pt x="83" y="59"/>
                </a:cubicBezTo>
                <a:cubicBezTo>
                  <a:pt x="83" y="58"/>
                  <a:pt x="83" y="58"/>
                  <a:pt x="83" y="57"/>
                </a:cubicBezTo>
                <a:cubicBezTo>
                  <a:pt x="83" y="57"/>
                  <a:pt x="83" y="57"/>
                  <a:pt x="83" y="57"/>
                </a:cubicBezTo>
                <a:cubicBezTo>
                  <a:pt x="84" y="56"/>
                  <a:pt x="84" y="56"/>
                  <a:pt x="84" y="55"/>
                </a:cubicBezTo>
                <a:cubicBezTo>
                  <a:pt x="84" y="55"/>
                  <a:pt x="84" y="55"/>
                  <a:pt x="84" y="55"/>
                </a:cubicBezTo>
                <a:cubicBezTo>
                  <a:pt x="84" y="54"/>
                  <a:pt x="84" y="54"/>
                  <a:pt x="84" y="54"/>
                </a:cubicBezTo>
                <a:cubicBezTo>
                  <a:pt x="84" y="54"/>
                  <a:pt x="84" y="54"/>
                  <a:pt x="84" y="54"/>
                </a:cubicBezTo>
                <a:cubicBezTo>
                  <a:pt x="85" y="53"/>
                  <a:pt x="85" y="52"/>
                  <a:pt x="85" y="51"/>
                </a:cubicBezTo>
                <a:cubicBezTo>
                  <a:pt x="85" y="50"/>
                  <a:pt x="85" y="50"/>
                  <a:pt x="85" y="50"/>
                </a:cubicBezTo>
                <a:cubicBezTo>
                  <a:pt x="86" y="49"/>
                  <a:pt x="86" y="49"/>
                  <a:pt x="86" y="48"/>
                </a:cubicBezTo>
                <a:cubicBezTo>
                  <a:pt x="87" y="48"/>
                  <a:pt x="87" y="48"/>
                  <a:pt x="87" y="48"/>
                </a:cubicBezTo>
                <a:cubicBezTo>
                  <a:pt x="88" y="48"/>
                  <a:pt x="88" y="48"/>
                  <a:pt x="88" y="47"/>
                </a:cubicBezTo>
                <a:cubicBezTo>
                  <a:pt x="89" y="47"/>
                  <a:pt x="89" y="47"/>
                  <a:pt x="90" y="46"/>
                </a:cubicBezTo>
                <a:cubicBezTo>
                  <a:pt x="91" y="45"/>
                  <a:pt x="92" y="45"/>
                  <a:pt x="92" y="44"/>
                </a:cubicBezTo>
                <a:cubicBezTo>
                  <a:pt x="95" y="43"/>
                  <a:pt x="97" y="42"/>
                  <a:pt x="99" y="42"/>
                </a:cubicBezTo>
                <a:cubicBezTo>
                  <a:pt x="99" y="42"/>
                  <a:pt x="99" y="42"/>
                  <a:pt x="99" y="42"/>
                </a:cubicBezTo>
                <a:cubicBezTo>
                  <a:pt x="99" y="42"/>
                  <a:pt x="100" y="42"/>
                  <a:pt x="100" y="42"/>
                </a:cubicBezTo>
                <a:cubicBezTo>
                  <a:pt x="100" y="42"/>
                  <a:pt x="100" y="42"/>
                  <a:pt x="100" y="42"/>
                </a:cubicBezTo>
                <a:cubicBezTo>
                  <a:pt x="101" y="41"/>
                  <a:pt x="103" y="41"/>
                  <a:pt x="104" y="41"/>
                </a:cubicBezTo>
                <a:cubicBezTo>
                  <a:pt x="105" y="41"/>
                  <a:pt x="105" y="41"/>
                  <a:pt x="105" y="41"/>
                </a:cubicBezTo>
                <a:cubicBezTo>
                  <a:pt x="105" y="41"/>
                  <a:pt x="106" y="41"/>
                  <a:pt x="106" y="41"/>
                </a:cubicBezTo>
                <a:cubicBezTo>
                  <a:pt x="106" y="41"/>
                  <a:pt x="106" y="40"/>
                  <a:pt x="106" y="40"/>
                </a:cubicBezTo>
                <a:cubicBezTo>
                  <a:pt x="107" y="40"/>
                  <a:pt x="107" y="40"/>
                  <a:pt x="107" y="40"/>
                </a:cubicBezTo>
                <a:cubicBezTo>
                  <a:pt x="107" y="39"/>
                  <a:pt x="108" y="39"/>
                  <a:pt x="108" y="39"/>
                </a:cubicBezTo>
                <a:cubicBezTo>
                  <a:pt x="109" y="39"/>
                  <a:pt x="109" y="39"/>
                  <a:pt x="109" y="39"/>
                </a:cubicBezTo>
                <a:cubicBezTo>
                  <a:pt x="109" y="39"/>
                  <a:pt x="109" y="39"/>
                  <a:pt x="109" y="39"/>
                </a:cubicBezTo>
                <a:cubicBezTo>
                  <a:pt x="109" y="38"/>
                  <a:pt x="109" y="38"/>
                  <a:pt x="110" y="38"/>
                </a:cubicBezTo>
                <a:cubicBezTo>
                  <a:pt x="110" y="38"/>
                  <a:pt x="110" y="38"/>
                  <a:pt x="110" y="38"/>
                </a:cubicBezTo>
                <a:cubicBezTo>
                  <a:pt x="110" y="38"/>
                  <a:pt x="109" y="38"/>
                  <a:pt x="109" y="38"/>
                </a:cubicBezTo>
                <a:cubicBezTo>
                  <a:pt x="109" y="37"/>
                  <a:pt x="108" y="37"/>
                  <a:pt x="108" y="36"/>
                </a:cubicBezTo>
                <a:cubicBezTo>
                  <a:pt x="108" y="36"/>
                  <a:pt x="108" y="35"/>
                  <a:pt x="109" y="34"/>
                </a:cubicBezTo>
                <a:cubicBezTo>
                  <a:pt x="109" y="33"/>
                  <a:pt x="109" y="33"/>
                  <a:pt x="109" y="33"/>
                </a:cubicBezTo>
                <a:cubicBezTo>
                  <a:pt x="110" y="32"/>
                  <a:pt x="110" y="31"/>
                  <a:pt x="111" y="30"/>
                </a:cubicBezTo>
                <a:cubicBezTo>
                  <a:pt x="111" y="30"/>
                  <a:pt x="111" y="30"/>
                  <a:pt x="111" y="30"/>
                </a:cubicBezTo>
                <a:cubicBezTo>
                  <a:pt x="112" y="29"/>
                  <a:pt x="113" y="27"/>
                  <a:pt x="114" y="26"/>
                </a:cubicBezTo>
                <a:cubicBezTo>
                  <a:pt x="114" y="25"/>
                  <a:pt x="114" y="25"/>
                  <a:pt x="114" y="25"/>
                </a:cubicBezTo>
                <a:cubicBezTo>
                  <a:pt x="114" y="25"/>
                  <a:pt x="114" y="25"/>
                  <a:pt x="114" y="25"/>
                </a:cubicBezTo>
                <a:cubicBezTo>
                  <a:pt x="114" y="25"/>
                  <a:pt x="113" y="25"/>
                  <a:pt x="113" y="25"/>
                </a:cubicBezTo>
                <a:cubicBezTo>
                  <a:pt x="113" y="24"/>
                  <a:pt x="112" y="24"/>
                  <a:pt x="112" y="24"/>
                </a:cubicBezTo>
                <a:cubicBezTo>
                  <a:pt x="112" y="24"/>
                  <a:pt x="112" y="24"/>
                  <a:pt x="112" y="24"/>
                </a:cubicBezTo>
                <a:cubicBezTo>
                  <a:pt x="112" y="24"/>
                  <a:pt x="111" y="24"/>
                  <a:pt x="111" y="24"/>
                </a:cubicBezTo>
                <a:cubicBezTo>
                  <a:pt x="111" y="24"/>
                  <a:pt x="111" y="24"/>
                  <a:pt x="111" y="24"/>
                </a:cubicBezTo>
                <a:cubicBezTo>
                  <a:pt x="110" y="23"/>
                  <a:pt x="109" y="23"/>
                  <a:pt x="108" y="23"/>
                </a:cubicBezTo>
                <a:cubicBezTo>
                  <a:pt x="108" y="23"/>
                  <a:pt x="108" y="22"/>
                  <a:pt x="108" y="22"/>
                </a:cubicBezTo>
                <a:cubicBezTo>
                  <a:pt x="107" y="22"/>
                  <a:pt x="107" y="22"/>
                  <a:pt x="107" y="22"/>
                </a:cubicBezTo>
                <a:cubicBezTo>
                  <a:pt x="107" y="22"/>
                  <a:pt x="107" y="22"/>
                  <a:pt x="107" y="22"/>
                </a:cubicBezTo>
                <a:cubicBezTo>
                  <a:pt x="106" y="22"/>
                  <a:pt x="106" y="22"/>
                  <a:pt x="106" y="22"/>
                </a:cubicBezTo>
                <a:cubicBezTo>
                  <a:pt x="106" y="22"/>
                  <a:pt x="106" y="22"/>
                  <a:pt x="106" y="22"/>
                </a:cubicBezTo>
                <a:cubicBezTo>
                  <a:pt x="105" y="22"/>
                  <a:pt x="105" y="22"/>
                  <a:pt x="105" y="22"/>
                </a:cubicBezTo>
                <a:cubicBezTo>
                  <a:pt x="105" y="22"/>
                  <a:pt x="105" y="22"/>
                  <a:pt x="105" y="22"/>
                </a:cubicBezTo>
                <a:cubicBezTo>
                  <a:pt x="105" y="22"/>
                  <a:pt x="105" y="22"/>
                  <a:pt x="105" y="22"/>
                </a:cubicBezTo>
                <a:cubicBezTo>
                  <a:pt x="105" y="22"/>
                  <a:pt x="104" y="23"/>
                  <a:pt x="104" y="23"/>
                </a:cubicBezTo>
                <a:cubicBezTo>
                  <a:pt x="104" y="23"/>
                  <a:pt x="103" y="23"/>
                  <a:pt x="103" y="23"/>
                </a:cubicBezTo>
                <a:cubicBezTo>
                  <a:pt x="102" y="23"/>
                  <a:pt x="102" y="23"/>
                  <a:pt x="102" y="23"/>
                </a:cubicBezTo>
                <a:cubicBezTo>
                  <a:pt x="101" y="23"/>
                  <a:pt x="100" y="22"/>
                  <a:pt x="99" y="22"/>
                </a:cubicBezTo>
                <a:cubicBezTo>
                  <a:pt x="99" y="22"/>
                  <a:pt x="99" y="22"/>
                  <a:pt x="99" y="22"/>
                </a:cubicBezTo>
                <a:cubicBezTo>
                  <a:pt x="99" y="22"/>
                  <a:pt x="98" y="22"/>
                  <a:pt x="98" y="22"/>
                </a:cubicBezTo>
                <a:cubicBezTo>
                  <a:pt x="98" y="22"/>
                  <a:pt x="98" y="22"/>
                  <a:pt x="98" y="22"/>
                </a:cubicBezTo>
                <a:cubicBezTo>
                  <a:pt x="97" y="23"/>
                  <a:pt x="97" y="23"/>
                  <a:pt x="96" y="23"/>
                </a:cubicBezTo>
                <a:cubicBezTo>
                  <a:pt x="96" y="23"/>
                  <a:pt x="96" y="23"/>
                  <a:pt x="96" y="23"/>
                </a:cubicBezTo>
                <a:cubicBezTo>
                  <a:pt x="96" y="23"/>
                  <a:pt x="95" y="23"/>
                  <a:pt x="95" y="24"/>
                </a:cubicBezTo>
                <a:cubicBezTo>
                  <a:pt x="95" y="24"/>
                  <a:pt x="94" y="24"/>
                  <a:pt x="94" y="24"/>
                </a:cubicBezTo>
                <a:cubicBezTo>
                  <a:pt x="94" y="24"/>
                  <a:pt x="94" y="24"/>
                  <a:pt x="94" y="24"/>
                </a:cubicBezTo>
                <a:cubicBezTo>
                  <a:pt x="94" y="24"/>
                  <a:pt x="93" y="24"/>
                  <a:pt x="93" y="24"/>
                </a:cubicBezTo>
                <a:cubicBezTo>
                  <a:pt x="93" y="24"/>
                  <a:pt x="93" y="24"/>
                  <a:pt x="93" y="24"/>
                </a:cubicBezTo>
                <a:cubicBezTo>
                  <a:pt x="92" y="24"/>
                  <a:pt x="92" y="24"/>
                  <a:pt x="92" y="24"/>
                </a:cubicBezTo>
                <a:cubicBezTo>
                  <a:pt x="92" y="24"/>
                  <a:pt x="92" y="24"/>
                  <a:pt x="92" y="24"/>
                </a:cubicBezTo>
                <a:cubicBezTo>
                  <a:pt x="91" y="24"/>
                  <a:pt x="91" y="24"/>
                  <a:pt x="91" y="24"/>
                </a:cubicBezTo>
                <a:cubicBezTo>
                  <a:pt x="91" y="24"/>
                  <a:pt x="91" y="24"/>
                  <a:pt x="91" y="24"/>
                </a:cubicBezTo>
                <a:cubicBezTo>
                  <a:pt x="91" y="23"/>
                  <a:pt x="90" y="23"/>
                  <a:pt x="90" y="23"/>
                </a:cubicBezTo>
                <a:cubicBezTo>
                  <a:pt x="90" y="23"/>
                  <a:pt x="90" y="23"/>
                  <a:pt x="90" y="23"/>
                </a:cubicBezTo>
                <a:cubicBezTo>
                  <a:pt x="90" y="24"/>
                  <a:pt x="90" y="24"/>
                  <a:pt x="89" y="24"/>
                </a:cubicBezTo>
                <a:cubicBezTo>
                  <a:pt x="89" y="24"/>
                  <a:pt x="88" y="24"/>
                  <a:pt x="88" y="24"/>
                </a:cubicBezTo>
                <a:cubicBezTo>
                  <a:pt x="87" y="24"/>
                  <a:pt x="87" y="24"/>
                  <a:pt x="87" y="24"/>
                </a:cubicBezTo>
                <a:cubicBezTo>
                  <a:pt x="84" y="24"/>
                  <a:pt x="84" y="21"/>
                  <a:pt x="83" y="20"/>
                </a:cubicBezTo>
                <a:cubicBezTo>
                  <a:pt x="83" y="19"/>
                  <a:pt x="83" y="19"/>
                  <a:pt x="83" y="19"/>
                </a:cubicBezTo>
                <a:cubicBezTo>
                  <a:pt x="83" y="19"/>
                  <a:pt x="83" y="19"/>
                  <a:pt x="83" y="19"/>
                </a:cubicBezTo>
                <a:cubicBezTo>
                  <a:pt x="83" y="19"/>
                  <a:pt x="83" y="19"/>
                  <a:pt x="83" y="19"/>
                </a:cubicBezTo>
                <a:cubicBezTo>
                  <a:pt x="83" y="18"/>
                  <a:pt x="83" y="18"/>
                  <a:pt x="83" y="18"/>
                </a:cubicBezTo>
                <a:cubicBezTo>
                  <a:pt x="83" y="18"/>
                  <a:pt x="83" y="18"/>
                  <a:pt x="83" y="18"/>
                </a:cubicBezTo>
                <a:cubicBezTo>
                  <a:pt x="83" y="18"/>
                  <a:pt x="83" y="18"/>
                  <a:pt x="83" y="18"/>
                </a:cubicBezTo>
                <a:cubicBezTo>
                  <a:pt x="83" y="18"/>
                  <a:pt x="83" y="17"/>
                  <a:pt x="83" y="17"/>
                </a:cubicBezTo>
                <a:cubicBezTo>
                  <a:pt x="83" y="17"/>
                  <a:pt x="83" y="17"/>
                  <a:pt x="83" y="17"/>
                </a:cubicBezTo>
                <a:cubicBezTo>
                  <a:pt x="82" y="17"/>
                  <a:pt x="82" y="17"/>
                  <a:pt x="82" y="17"/>
                </a:cubicBezTo>
                <a:cubicBezTo>
                  <a:pt x="82" y="17"/>
                  <a:pt x="82" y="18"/>
                  <a:pt x="82" y="17"/>
                </a:cubicBezTo>
                <a:cubicBezTo>
                  <a:pt x="81" y="17"/>
                  <a:pt x="81" y="17"/>
                  <a:pt x="81" y="17"/>
                </a:cubicBezTo>
                <a:cubicBezTo>
                  <a:pt x="81" y="20"/>
                  <a:pt x="81" y="20"/>
                  <a:pt x="81" y="20"/>
                </a:cubicBezTo>
                <a:cubicBezTo>
                  <a:pt x="81" y="17"/>
                  <a:pt x="81" y="17"/>
                  <a:pt x="81" y="17"/>
                </a:cubicBezTo>
                <a:cubicBezTo>
                  <a:pt x="81" y="17"/>
                  <a:pt x="81" y="17"/>
                  <a:pt x="81" y="17"/>
                </a:cubicBezTo>
                <a:cubicBezTo>
                  <a:pt x="80" y="17"/>
                  <a:pt x="80" y="17"/>
                  <a:pt x="80" y="17"/>
                </a:cubicBezTo>
                <a:cubicBezTo>
                  <a:pt x="80" y="17"/>
                  <a:pt x="80" y="17"/>
                  <a:pt x="80" y="17"/>
                </a:cubicBezTo>
                <a:cubicBezTo>
                  <a:pt x="80" y="17"/>
                  <a:pt x="80" y="16"/>
                  <a:pt x="80" y="16"/>
                </a:cubicBezTo>
                <a:cubicBezTo>
                  <a:pt x="79" y="16"/>
                  <a:pt x="79" y="16"/>
                  <a:pt x="79" y="16"/>
                </a:cubicBezTo>
                <a:cubicBezTo>
                  <a:pt x="79" y="15"/>
                  <a:pt x="79" y="15"/>
                  <a:pt x="79" y="14"/>
                </a:cubicBezTo>
                <a:cubicBezTo>
                  <a:pt x="79" y="14"/>
                  <a:pt x="79" y="14"/>
                  <a:pt x="79" y="14"/>
                </a:cubicBezTo>
                <a:cubicBezTo>
                  <a:pt x="79" y="14"/>
                  <a:pt x="79" y="14"/>
                  <a:pt x="79" y="14"/>
                </a:cubicBezTo>
                <a:cubicBezTo>
                  <a:pt x="79" y="14"/>
                  <a:pt x="79" y="13"/>
                  <a:pt x="79" y="13"/>
                </a:cubicBezTo>
                <a:cubicBezTo>
                  <a:pt x="79" y="13"/>
                  <a:pt x="79" y="13"/>
                  <a:pt x="79" y="12"/>
                </a:cubicBezTo>
                <a:cubicBezTo>
                  <a:pt x="79" y="12"/>
                  <a:pt x="79" y="12"/>
                  <a:pt x="79" y="12"/>
                </a:cubicBezTo>
                <a:cubicBezTo>
                  <a:pt x="78" y="12"/>
                  <a:pt x="78" y="12"/>
                  <a:pt x="77" y="12"/>
                </a:cubicBezTo>
                <a:cubicBezTo>
                  <a:pt x="77" y="12"/>
                  <a:pt x="76" y="11"/>
                  <a:pt x="76" y="11"/>
                </a:cubicBezTo>
                <a:cubicBezTo>
                  <a:pt x="75" y="11"/>
                  <a:pt x="75" y="10"/>
                  <a:pt x="75" y="10"/>
                </a:cubicBezTo>
                <a:cubicBezTo>
                  <a:pt x="74" y="10"/>
                  <a:pt x="74" y="10"/>
                  <a:pt x="74" y="10"/>
                </a:cubicBezTo>
                <a:cubicBezTo>
                  <a:pt x="74" y="9"/>
                  <a:pt x="74" y="9"/>
                  <a:pt x="73" y="9"/>
                </a:cubicBezTo>
                <a:cubicBezTo>
                  <a:pt x="73" y="9"/>
                  <a:pt x="72" y="9"/>
                  <a:pt x="72" y="9"/>
                </a:cubicBezTo>
                <a:cubicBezTo>
                  <a:pt x="71" y="8"/>
                  <a:pt x="71" y="7"/>
                  <a:pt x="70" y="5"/>
                </a:cubicBezTo>
                <a:cubicBezTo>
                  <a:pt x="70" y="5"/>
                  <a:pt x="70" y="5"/>
                  <a:pt x="70" y="4"/>
                </a:cubicBezTo>
                <a:cubicBezTo>
                  <a:pt x="70" y="4"/>
                  <a:pt x="70" y="4"/>
                  <a:pt x="70" y="4"/>
                </a:cubicBezTo>
                <a:cubicBezTo>
                  <a:pt x="70" y="4"/>
                  <a:pt x="69" y="3"/>
                  <a:pt x="68" y="2"/>
                </a:cubicBezTo>
                <a:cubicBezTo>
                  <a:pt x="67" y="1"/>
                  <a:pt x="67" y="1"/>
                  <a:pt x="67" y="1"/>
                </a:cubicBezTo>
                <a:cubicBezTo>
                  <a:pt x="67" y="1"/>
                  <a:pt x="66" y="1"/>
                  <a:pt x="66" y="1"/>
                </a:cubicBezTo>
                <a:cubicBezTo>
                  <a:pt x="66" y="0"/>
                  <a:pt x="66" y="0"/>
                  <a:pt x="66" y="0"/>
                </a:cubicBezTo>
                <a:cubicBezTo>
                  <a:pt x="66" y="0"/>
                  <a:pt x="66" y="0"/>
                  <a:pt x="66" y="0"/>
                </a:cubicBezTo>
                <a:cubicBezTo>
                  <a:pt x="66" y="0"/>
                  <a:pt x="66" y="0"/>
                  <a:pt x="66" y="0"/>
                </a:cubicBezTo>
                <a:cubicBezTo>
                  <a:pt x="65" y="0"/>
                  <a:pt x="65" y="0"/>
                  <a:pt x="65" y="0"/>
                </a:cubicBezTo>
                <a:cubicBezTo>
                  <a:pt x="65" y="0"/>
                  <a:pt x="65" y="0"/>
                  <a:pt x="65" y="0"/>
                </a:cubicBezTo>
                <a:cubicBezTo>
                  <a:pt x="62" y="0"/>
                  <a:pt x="62" y="0"/>
                  <a:pt x="62" y="0"/>
                </a:cubicBezTo>
                <a:cubicBezTo>
                  <a:pt x="62" y="0"/>
                  <a:pt x="62" y="0"/>
                  <a:pt x="62" y="0"/>
                </a:cubicBezTo>
                <a:cubicBezTo>
                  <a:pt x="62" y="0"/>
                  <a:pt x="62" y="0"/>
                  <a:pt x="61" y="0"/>
                </a:cubicBezTo>
                <a:cubicBezTo>
                  <a:pt x="61" y="0"/>
                  <a:pt x="61" y="0"/>
                  <a:pt x="61" y="0"/>
                </a:cubicBezTo>
                <a:cubicBezTo>
                  <a:pt x="62" y="1"/>
                  <a:pt x="62" y="1"/>
                  <a:pt x="62" y="1"/>
                </a:cubicBezTo>
                <a:cubicBezTo>
                  <a:pt x="62" y="1"/>
                  <a:pt x="62" y="1"/>
                  <a:pt x="62" y="1"/>
                </a:cubicBezTo>
                <a:cubicBezTo>
                  <a:pt x="62" y="1"/>
                  <a:pt x="62" y="1"/>
                  <a:pt x="62" y="1"/>
                </a:cubicBezTo>
                <a:cubicBezTo>
                  <a:pt x="62" y="1"/>
                  <a:pt x="62" y="2"/>
                  <a:pt x="62" y="2"/>
                </a:cubicBezTo>
                <a:cubicBezTo>
                  <a:pt x="63" y="2"/>
                  <a:pt x="63" y="3"/>
                  <a:pt x="63" y="3"/>
                </a:cubicBezTo>
                <a:cubicBezTo>
                  <a:pt x="63" y="4"/>
                  <a:pt x="64" y="4"/>
                  <a:pt x="64" y="5"/>
                </a:cubicBezTo>
                <a:cubicBezTo>
                  <a:pt x="64" y="6"/>
                  <a:pt x="64" y="7"/>
                  <a:pt x="64" y="7"/>
                </a:cubicBezTo>
                <a:cubicBezTo>
                  <a:pt x="64" y="8"/>
                  <a:pt x="63" y="9"/>
                  <a:pt x="63" y="9"/>
                </a:cubicBezTo>
                <a:cubicBezTo>
                  <a:pt x="62" y="10"/>
                  <a:pt x="62" y="10"/>
                  <a:pt x="62" y="10"/>
                </a:cubicBezTo>
                <a:cubicBezTo>
                  <a:pt x="62" y="11"/>
                  <a:pt x="62" y="11"/>
                  <a:pt x="62" y="11"/>
                </a:cubicBezTo>
                <a:cubicBezTo>
                  <a:pt x="62" y="11"/>
                  <a:pt x="62" y="11"/>
                  <a:pt x="62" y="11"/>
                </a:cubicBezTo>
                <a:cubicBezTo>
                  <a:pt x="61" y="11"/>
                  <a:pt x="61" y="11"/>
                  <a:pt x="61" y="11"/>
                </a:cubicBezTo>
                <a:cubicBezTo>
                  <a:pt x="61" y="12"/>
                  <a:pt x="60" y="13"/>
                  <a:pt x="60" y="14"/>
                </a:cubicBezTo>
                <a:cubicBezTo>
                  <a:pt x="60" y="14"/>
                  <a:pt x="60" y="14"/>
                  <a:pt x="59" y="14"/>
                </a:cubicBezTo>
                <a:cubicBezTo>
                  <a:pt x="59" y="15"/>
                  <a:pt x="59" y="15"/>
                  <a:pt x="59" y="15"/>
                </a:cubicBezTo>
                <a:cubicBezTo>
                  <a:pt x="58" y="16"/>
                  <a:pt x="58" y="17"/>
                  <a:pt x="57" y="18"/>
                </a:cubicBezTo>
                <a:cubicBezTo>
                  <a:pt x="56" y="18"/>
                  <a:pt x="55" y="19"/>
                  <a:pt x="55" y="20"/>
                </a:cubicBezTo>
                <a:cubicBezTo>
                  <a:pt x="53" y="21"/>
                  <a:pt x="51" y="23"/>
                  <a:pt x="49" y="24"/>
                </a:cubicBezTo>
                <a:cubicBezTo>
                  <a:pt x="48" y="26"/>
                  <a:pt x="45" y="26"/>
                  <a:pt x="43" y="27"/>
                </a:cubicBezTo>
                <a:cubicBezTo>
                  <a:pt x="42" y="27"/>
                  <a:pt x="42" y="27"/>
                  <a:pt x="42" y="27"/>
                </a:cubicBezTo>
                <a:cubicBezTo>
                  <a:pt x="41" y="27"/>
                  <a:pt x="41" y="27"/>
                  <a:pt x="40" y="28"/>
                </a:cubicBezTo>
                <a:cubicBezTo>
                  <a:pt x="38" y="28"/>
                  <a:pt x="37" y="29"/>
                  <a:pt x="35" y="30"/>
                </a:cubicBezTo>
                <a:cubicBezTo>
                  <a:pt x="35" y="30"/>
                  <a:pt x="35" y="30"/>
                  <a:pt x="35" y="30"/>
                </a:cubicBezTo>
                <a:cubicBezTo>
                  <a:pt x="35" y="31"/>
                  <a:pt x="35" y="31"/>
                  <a:pt x="35" y="31"/>
                </a:cubicBezTo>
                <a:cubicBezTo>
                  <a:pt x="35" y="31"/>
                  <a:pt x="34" y="32"/>
                  <a:pt x="34" y="32"/>
                </a:cubicBezTo>
                <a:cubicBezTo>
                  <a:pt x="34" y="32"/>
                  <a:pt x="34" y="32"/>
                  <a:pt x="34" y="32"/>
                </a:cubicBezTo>
                <a:cubicBezTo>
                  <a:pt x="34" y="33"/>
                  <a:pt x="34" y="34"/>
                  <a:pt x="33" y="34"/>
                </a:cubicBezTo>
                <a:cubicBezTo>
                  <a:pt x="32" y="34"/>
                  <a:pt x="32" y="34"/>
                  <a:pt x="32" y="35"/>
                </a:cubicBezTo>
                <a:cubicBezTo>
                  <a:pt x="32" y="35"/>
                  <a:pt x="31" y="35"/>
                  <a:pt x="31" y="36"/>
                </a:cubicBezTo>
                <a:cubicBezTo>
                  <a:pt x="31" y="36"/>
                  <a:pt x="31" y="36"/>
                  <a:pt x="31" y="36"/>
                </a:cubicBezTo>
                <a:cubicBezTo>
                  <a:pt x="31" y="39"/>
                  <a:pt x="30" y="42"/>
                  <a:pt x="28" y="45"/>
                </a:cubicBezTo>
                <a:cubicBezTo>
                  <a:pt x="28" y="46"/>
                  <a:pt x="27" y="46"/>
                  <a:pt x="26" y="47"/>
                </a:cubicBezTo>
                <a:cubicBezTo>
                  <a:pt x="26" y="47"/>
                  <a:pt x="26" y="47"/>
                  <a:pt x="26" y="47"/>
                </a:cubicBezTo>
                <a:cubicBezTo>
                  <a:pt x="26" y="48"/>
                  <a:pt x="25" y="48"/>
                  <a:pt x="25" y="48"/>
                </a:cubicBezTo>
                <a:cubicBezTo>
                  <a:pt x="25" y="49"/>
                  <a:pt x="25" y="49"/>
                  <a:pt x="25" y="49"/>
                </a:cubicBezTo>
                <a:cubicBezTo>
                  <a:pt x="25" y="49"/>
                  <a:pt x="24" y="49"/>
                  <a:pt x="24" y="49"/>
                </a:cubicBezTo>
                <a:cubicBezTo>
                  <a:pt x="24" y="49"/>
                  <a:pt x="24" y="49"/>
                  <a:pt x="24" y="49"/>
                </a:cubicBezTo>
                <a:cubicBezTo>
                  <a:pt x="24" y="50"/>
                  <a:pt x="23" y="50"/>
                  <a:pt x="23" y="50"/>
                </a:cubicBezTo>
                <a:cubicBezTo>
                  <a:pt x="23" y="50"/>
                  <a:pt x="22" y="50"/>
                  <a:pt x="22" y="49"/>
                </a:cubicBezTo>
                <a:cubicBezTo>
                  <a:pt x="22" y="49"/>
                  <a:pt x="22" y="49"/>
                  <a:pt x="22" y="49"/>
                </a:cubicBezTo>
                <a:cubicBezTo>
                  <a:pt x="20" y="49"/>
                  <a:pt x="19" y="48"/>
                  <a:pt x="19" y="47"/>
                </a:cubicBezTo>
                <a:cubicBezTo>
                  <a:pt x="19" y="47"/>
                  <a:pt x="18" y="47"/>
                  <a:pt x="18" y="47"/>
                </a:cubicBezTo>
                <a:cubicBezTo>
                  <a:pt x="18" y="46"/>
                  <a:pt x="18" y="46"/>
                  <a:pt x="18" y="45"/>
                </a:cubicBezTo>
                <a:cubicBezTo>
                  <a:pt x="17" y="45"/>
                  <a:pt x="17" y="44"/>
                  <a:pt x="17" y="44"/>
                </a:cubicBezTo>
                <a:cubicBezTo>
                  <a:pt x="17" y="44"/>
                  <a:pt x="17" y="44"/>
                  <a:pt x="17" y="44"/>
                </a:cubicBezTo>
                <a:cubicBezTo>
                  <a:pt x="16" y="44"/>
                  <a:pt x="16" y="44"/>
                  <a:pt x="16" y="44"/>
                </a:cubicBezTo>
                <a:cubicBezTo>
                  <a:pt x="16" y="44"/>
                  <a:pt x="16" y="44"/>
                  <a:pt x="16" y="44"/>
                </a:cubicBezTo>
                <a:cubicBezTo>
                  <a:pt x="15" y="44"/>
                  <a:pt x="15" y="44"/>
                  <a:pt x="14" y="43"/>
                </a:cubicBezTo>
                <a:cubicBezTo>
                  <a:pt x="14" y="43"/>
                  <a:pt x="14" y="43"/>
                  <a:pt x="14" y="43"/>
                </a:cubicBezTo>
                <a:cubicBezTo>
                  <a:pt x="13" y="43"/>
                  <a:pt x="13" y="43"/>
                  <a:pt x="13" y="43"/>
                </a:cubicBezTo>
                <a:cubicBezTo>
                  <a:pt x="13" y="43"/>
                  <a:pt x="12" y="43"/>
                  <a:pt x="12" y="43"/>
                </a:cubicBezTo>
                <a:cubicBezTo>
                  <a:pt x="12" y="43"/>
                  <a:pt x="12" y="43"/>
                  <a:pt x="12" y="43"/>
                </a:cubicBezTo>
                <a:cubicBezTo>
                  <a:pt x="11" y="43"/>
                  <a:pt x="11" y="44"/>
                  <a:pt x="10" y="44"/>
                </a:cubicBezTo>
                <a:cubicBezTo>
                  <a:pt x="10" y="44"/>
                  <a:pt x="10" y="44"/>
                  <a:pt x="10" y="44"/>
                </a:cubicBezTo>
                <a:cubicBezTo>
                  <a:pt x="10" y="44"/>
                  <a:pt x="9" y="44"/>
                  <a:pt x="9" y="44"/>
                </a:cubicBezTo>
                <a:cubicBezTo>
                  <a:pt x="9" y="44"/>
                  <a:pt x="9" y="44"/>
                  <a:pt x="9" y="44"/>
                </a:cubicBezTo>
                <a:cubicBezTo>
                  <a:pt x="9" y="44"/>
                  <a:pt x="8" y="44"/>
                  <a:pt x="8" y="43"/>
                </a:cubicBezTo>
                <a:cubicBezTo>
                  <a:pt x="8" y="43"/>
                  <a:pt x="8" y="42"/>
                  <a:pt x="8" y="42"/>
                </a:cubicBezTo>
                <a:cubicBezTo>
                  <a:pt x="8" y="42"/>
                  <a:pt x="8" y="42"/>
                  <a:pt x="8" y="42"/>
                </a:cubicBezTo>
                <a:cubicBezTo>
                  <a:pt x="8" y="41"/>
                  <a:pt x="8" y="41"/>
                  <a:pt x="8" y="41"/>
                </a:cubicBezTo>
                <a:cubicBezTo>
                  <a:pt x="8" y="41"/>
                  <a:pt x="8" y="41"/>
                  <a:pt x="8" y="41"/>
                </a:cubicBezTo>
                <a:cubicBezTo>
                  <a:pt x="8" y="41"/>
                  <a:pt x="8" y="41"/>
                  <a:pt x="8" y="41"/>
                </a:cubicBezTo>
                <a:cubicBezTo>
                  <a:pt x="8" y="40"/>
                  <a:pt x="7" y="38"/>
                  <a:pt x="8" y="37"/>
                </a:cubicBezTo>
                <a:cubicBezTo>
                  <a:pt x="9" y="37"/>
                  <a:pt x="9" y="37"/>
                  <a:pt x="9" y="37"/>
                </a:cubicBezTo>
                <a:cubicBezTo>
                  <a:pt x="9" y="37"/>
                  <a:pt x="9" y="37"/>
                  <a:pt x="9" y="37"/>
                </a:cubicBezTo>
                <a:cubicBezTo>
                  <a:pt x="9" y="37"/>
                  <a:pt x="10" y="37"/>
                  <a:pt x="11" y="36"/>
                </a:cubicBezTo>
                <a:cubicBezTo>
                  <a:pt x="11" y="36"/>
                  <a:pt x="11" y="36"/>
                  <a:pt x="11" y="36"/>
                </a:cubicBezTo>
                <a:cubicBezTo>
                  <a:pt x="11" y="36"/>
                  <a:pt x="11" y="36"/>
                  <a:pt x="10" y="36"/>
                </a:cubicBezTo>
                <a:cubicBezTo>
                  <a:pt x="10" y="35"/>
                  <a:pt x="10" y="34"/>
                  <a:pt x="9" y="33"/>
                </a:cubicBezTo>
                <a:cubicBezTo>
                  <a:pt x="9" y="34"/>
                  <a:pt x="7" y="35"/>
                  <a:pt x="7" y="35"/>
                </a:cubicBezTo>
                <a:cubicBezTo>
                  <a:pt x="5" y="37"/>
                  <a:pt x="4" y="38"/>
                  <a:pt x="3" y="39"/>
                </a:cubicBezTo>
                <a:cubicBezTo>
                  <a:pt x="0" y="42"/>
                  <a:pt x="0" y="43"/>
                  <a:pt x="0" y="46"/>
                </a:cubicBezTo>
                <a:cubicBezTo>
                  <a:pt x="1" y="49"/>
                  <a:pt x="5" y="52"/>
                  <a:pt x="5" y="56"/>
                </a:cubicBezTo>
                <a:cubicBezTo>
                  <a:pt x="5" y="57"/>
                  <a:pt x="4" y="57"/>
                  <a:pt x="4" y="57"/>
                </a:cubicBezTo>
                <a:cubicBezTo>
                  <a:pt x="3" y="58"/>
                  <a:pt x="2" y="59"/>
                  <a:pt x="2" y="60"/>
                </a:cubicBezTo>
                <a:cubicBezTo>
                  <a:pt x="3" y="60"/>
                  <a:pt x="5" y="61"/>
                  <a:pt x="6" y="62"/>
                </a:cubicBezTo>
                <a:cubicBezTo>
                  <a:pt x="10" y="63"/>
                  <a:pt x="13" y="66"/>
                  <a:pt x="15" y="69"/>
                </a:cubicBezTo>
                <a:cubicBezTo>
                  <a:pt x="18" y="72"/>
                  <a:pt x="19" y="76"/>
                  <a:pt x="22" y="79"/>
                </a:cubicBezTo>
                <a:cubicBezTo>
                  <a:pt x="22" y="81"/>
                  <a:pt x="24" y="82"/>
                  <a:pt x="25" y="83"/>
                </a:cubicBezTo>
                <a:cubicBezTo>
                  <a:pt x="26" y="85"/>
                  <a:pt x="27" y="87"/>
                  <a:pt x="27" y="89"/>
                </a:cubicBezTo>
                <a:cubicBezTo>
                  <a:pt x="29" y="92"/>
                  <a:pt x="30" y="94"/>
                  <a:pt x="31" y="97"/>
                </a:cubicBezTo>
                <a:cubicBezTo>
                  <a:pt x="33" y="100"/>
                  <a:pt x="34" y="103"/>
                  <a:pt x="35" y="106"/>
                </a:cubicBezTo>
                <a:cubicBezTo>
                  <a:pt x="36" y="107"/>
                  <a:pt x="37" y="108"/>
                  <a:pt x="37" y="109"/>
                </a:cubicBezTo>
                <a:cubicBezTo>
                  <a:pt x="38" y="110"/>
                  <a:pt x="37" y="112"/>
                  <a:pt x="38" y="113"/>
                </a:cubicBezTo>
                <a:cubicBezTo>
                  <a:pt x="38" y="114"/>
                  <a:pt x="40" y="115"/>
                  <a:pt x="41" y="115"/>
                </a:cubicBezTo>
                <a:cubicBezTo>
                  <a:pt x="42" y="117"/>
                  <a:pt x="42" y="117"/>
                  <a:pt x="43" y="119"/>
                </a:cubicBezTo>
                <a:cubicBezTo>
                  <a:pt x="43" y="118"/>
                  <a:pt x="43" y="118"/>
                  <a:pt x="44" y="118"/>
                </a:cubicBezTo>
                <a:cubicBezTo>
                  <a:pt x="45" y="118"/>
                  <a:pt x="47" y="120"/>
                  <a:pt x="47" y="121"/>
                </a:cubicBezTo>
                <a:cubicBezTo>
                  <a:pt x="47" y="122"/>
                  <a:pt x="46" y="123"/>
                  <a:pt x="45" y="124"/>
                </a:cubicBezTo>
                <a:cubicBezTo>
                  <a:pt x="45" y="124"/>
                  <a:pt x="46" y="125"/>
                  <a:pt x="46" y="126"/>
                </a:cubicBezTo>
                <a:cubicBezTo>
                  <a:pt x="48" y="128"/>
                  <a:pt x="50" y="131"/>
                  <a:pt x="52" y="134"/>
                </a:cubicBezTo>
                <a:cubicBezTo>
                  <a:pt x="52" y="135"/>
                  <a:pt x="53" y="137"/>
                  <a:pt x="52" y="137"/>
                </a:cubicBezTo>
                <a:cubicBezTo>
                  <a:pt x="52" y="138"/>
                  <a:pt x="51" y="139"/>
                  <a:pt x="51" y="140"/>
                </a:cubicBezTo>
                <a:cubicBezTo>
                  <a:pt x="51" y="140"/>
                  <a:pt x="51" y="141"/>
                  <a:pt x="51" y="142"/>
                </a:cubicBezTo>
                <a:cubicBezTo>
                  <a:pt x="51" y="142"/>
                  <a:pt x="52" y="143"/>
                  <a:pt x="52" y="143"/>
                </a:cubicBezTo>
                <a:cubicBezTo>
                  <a:pt x="52" y="142"/>
                  <a:pt x="53" y="145"/>
                  <a:pt x="54" y="145"/>
                </a:cubicBezTo>
                <a:cubicBezTo>
                  <a:pt x="54" y="146"/>
                  <a:pt x="55" y="147"/>
                  <a:pt x="55" y="148"/>
                </a:cubicBezTo>
                <a:cubicBezTo>
                  <a:pt x="56" y="149"/>
                  <a:pt x="58" y="150"/>
                  <a:pt x="59" y="150"/>
                </a:cubicBezTo>
                <a:cubicBezTo>
                  <a:pt x="61" y="152"/>
                  <a:pt x="62" y="154"/>
                  <a:pt x="64" y="156"/>
                </a:cubicBezTo>
                <a:cubicBezTo>
                  <a:pt x="65" y="157"/>
                  <a:pt x="67" y="158"/>
                  <a:pt x="68" y="158"/>
                </a:cubicBezTo>
                <a:cubicBezTo>
                  <a:pt x="73" y="161"/>
                  <a:pt x="77" y="164"/>
                  <a:pt x="82" y="166"/>
                </a:cubicBezTo>
                <a:cubicBezTo>
                  <a:pt x="87" y="168"/>
                  <a:pt x="91" y="170"/>
                  <a:pt x="95" y="172"/>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01" name="Freeform 2957">
            <a:extLst>
              <a:ext uri="{FF2B5EF4-FFF2-40B4-BE49-F238E27FC236}">
                <a16:creationId xmlns:a16="http://schemas.microsoft.com/office/drawing/2014/main" id="{82EDAEEA-AEEE-4A28-AFDF-8078A6E73C5A}"/>
              </a:ext>
            </a:extLst>
          </p:cNvPr>
          <p:cNvSpPr>
            <a:spLocks noEditPoints="1"/>
          </p:cNvSpPr>
          <p:nvPr/>
        </p:nvSpPr>
        <p:spPr bwMode="auto">
          <a:xfrm>
            <a:off x="2433614" y="4015611"/>
            <a:ext cx="103077" cy="602499"/>
          </a:xfrm>
          <a:custGeom>
            <a:avLst/>
            <a:gdLst>
              <a:gd name="T0" fmla="*/ 37 w 88"/>
              <a:gd name="T1" fmla="*/ 400 h 429"/>
              <a:gd name="T2" fmla="*/ 33 w 88"/>
              <a:gd name="T3" fmla="*/ 390 h 429"/>
              <a:gd name="T4" fmla="*/ 28 w 88"/>
              <a:gd name="T5" fmla="*/ 387 h 429"/>
              <a:gd name="T6" fmla="*/ 25 w 88"/>
              <a:gd name="T7" fmla="*/ 383 h 429"/>
              <a:gd name="T8" fmla="*/ 22 w 88"/>
              <a:gd name="T9" fmla="*/ 376 h 429"/>
              <a:gd name="T10" fmla="*/ 26 w 88"/>
              <a:gd name="T11" fmla="*/ 364 h 429"/>
              <a:gd name="T12" fmla="*/ 34 w 88"/>
              <a:gd name="T13" fmla="*/ 353 h 429"/>
              <a:gd name="T14" fmla="*/ 37 w 88"/>
              <a:gd name="T15" fmla="*/ 339 h 429"/>
              <a:gd name="T16" fmla="*/ 39 w 88"/>
              <a:gd name="T17" fmla="*/ 325 h 429"/>
              <a:gd name="T18" fmla="*/ 43 w 88"/>
              <a:gd name="T19" fmla="*/ 316 h 429"/>
              <a:gd name="T20" fmla="*/ 40 w 88"/>
              <a:gd name="T21" fmla="*/ 311 h 429"/>
              <a:gd name="T22" fmla="*/ 45 w 88"/>
              <a:gd name="T23" fmla="*/ 307 h 429"/>
              <a:gd name="T24" fmla="*/ 41 w 88"/>
              <a:gd name="T25" fmla="*/ 297 h 429"/>
              <a:gd name="T26" fmla="*/ 36 w 88"/>
              <a:gd name="T27" fmla="*/ 285 h 429"/>
              <a:gd name="T28" fmla="*/ 38 w 88"/>
              <a:gd name="T29" fmla="*/ 265 h 429"/>
              <a:gd name="T30" fmla="*/ 41 w 88"/>
              <a:gd name="T31" fmla="*/ 246 h 429"/>
              <a:gd name="T32" fmla="*/ 47 w 88"/>
              <a:gd name="T33" fmla="*/ 233 h 429"/>
              <a:gd name="T34" fmla="*/ 47 w 88"/>
              <a:gd name="T35" fmla="*/ 208 h 429"/>
              <a:gd name="T36" fmla="*/ 52 w 88"/>
              <a:gd name="T37" fmla="*/ 192 h 429"/>
              <a:gd name="T38" fmla="*/ 59 w 88"/>
              <a:gd name="T39" fmla="*/ 177 h 429"/>
              <a:gd name="T40" fmla="*/ 55 w 88"/>
              <a:gd name="T41" fmla="*/ 160 h 429"/>
              <a:gd name="T42" fmla="*/ 55 w 88"/>
              <a:gd name="T43" fmla="*/ 144 h 429"/>
              <a:gd name="T44" fmla="*/ 58 w 88"/>
              <a:gd name="T45" fmla="*/ 130 h 429"/>
              <a:gd name="T46" fmla="*/ 70 w 88"/>
              <a:gd name="T47" fmla="*/ 101 h 429"/>
              <a:gd name="T48" fmla="*/ 72 w 88"/>
              <a:gd name="T49" fmla="*/ 93 h 429"/>
              <a:gd name="T50" fmla="*/ 86 w 88"/>
              <a:gd name="T51" fmla="*/ 63 h 429"/>
              <a:gd name="T52" fmla="*/ 79 w 88"/>
              <a:gd name="T53" fmla="*/ 54 h 429"/>
              <a:gd name="T54" fmla="*/ 77 w 88"/>
              <a:gd name="T55" fmla="*/ 43 h 429"/>
              <a:gd name="T56" fmla="*/ 72 w 88"/>
              <a:gd name="T57" fmla="*/ 31 h 429"/>
              <a:gd name="T58" fmla="*/ 71 w 88"/>
              <a:gd name="T59" fmla="*/ 17 h 429"/>
              <a:gd name="T60" fmla="*/ 63 w 88"/>
              <a:gd name="T61" fmla="*/ 0 h 429"/>
              <a:gd name="T62" fmla="*/ 53 w 88"/>
              <a:gd name="T63" fmla="*/ 62 h 429"/>
              <a:gd name="T64" fmla="*/ 44 w 88"/>
              <a:gd name="T65" fmla="*/ 122 h 429"/>
              <a:gd name="T66" fmla="*/ 41 w 88"/>
              <a:gd name="T67" fmla="*/ 168 h 429"/>
              <a:gd name="T68" fmla="*/ 22 w 88"/>
              <a:gd name="T69" fmla="*/ 215 h 429"/>
              <a:gd name="T70" fmla="*/ 24 w 88"/>
              <a:gd name="T71" fmla="*/ 271 h 429"/>
              <a:gd name="T72" fmla="*/ 30 w 88"/>
              <a:gd name="T73" fmla="*/ 280 h 429"/>
              <a:gd name="T74" fmla="*/ 32 w 88"/>
              <a:gd name="T75" fmla="*/ 304 h 429"/>
              <a:gd name="T76" fmla="*/ 25 w 88"/>
              <a:gd name="T77" fmla="*/ 315 h 429"/>
              <a:gd name="T78" fmla="*/ 18 w 88"/>
              <a:gd name="T79" fmla="*/ 326 h 429"/>
              <a:gd name="T80" fmla="*/ 11 w 88"/>
              <a:gd name="T81" fmla="*/ 322 h 429"/>
              <a:gd name="T82" fmla="*/ 4 w 88"/>
              <a:gd name="T83" fmla="*/ 329 h 429"/>
              <a:gd name="T84" fmla="*/ 11 w 88"/>
              <a:gd name="T85" fmla="*/ 334 h 429"/>
              <a:gd name="T86" fmla="*/ 13 w 88"/>
              <a:gd name="T87" fmla="*/ 342 h 429"/>
              <a:gd name="T88" fmla="*/ 11 w 88"/>
              <a:gd name="T89" fmla="*/ 346 h 429"/>
              <a:gd name="T90" fmla="*/ 23 w 88"/>
              <a:gd name="T91" fmla="*/ 352 h 429"/>
              <a:gd name="T92" fmla="*/ 19 w 88"/>
              <a:gd name="T93" fmla="*/ 355 h 429"/>
              <a:gd name="T94" fmla="*/ 16 w 88"/>
              <a:gd name="T95" fmla="*/ 369 h 429"/>
              <a:gd name="T96" fmla="*/ 15 w 88"/>
              <a:gd name="T97" fmla="*/ 371 h 429"/>
              <a:gd name="T98" fmla="*/ 19 w 88"/>
              <a:gd name="T99" fmla="*/ 379 h 429"/>
              <a:gd name="T100" fmla="*/ 19 w 88"/>
              <a:gd name="T101" fmla="*/ 386 h 429"/>
              <a:gd name="T102" fmla="*/ 21 w 88"/>
              <a:gd name="T103" fmla="*/ 392 h 429"/>
              <a:gd name="T104" fmla="*/ 22 w 88"/>
              <a:gd name="T105" fmla="*/ 400 h 429"/>
              <a:gd name="T106" fmla="*/ 24 w 88"/>
              <a:gd name="T107" fmla="*/ 410 h 429"/>
              <a:gd name="T108" fmla="*/ 31 w 88"/>
              <a:gd name="T109" fmla="*/ 411 h 429"/>
              <a:gd name="T110" fmla="*/ 31 w 88"/>
              <a:gd name="T111" fmla="*/ 420 h 429"/>
              <a:gd name="T112" fmla="*/ 35 w 88"/>
              <a:gd name="T113" fmla="*/ 418 h 429"/>
              <a:gd name="T114" fmla="*/ 40 w 88"/>
              <a:gd name="T115" fmla="*/ 423 h 429"/>
              <a:gd name="T116" fmla="*/ 49 w 88"/>
              <a:gd name="T117" fmla="*/ 422 h 429"/>
              <a:gd name="T118" fmla="*/ 33 w 88"/>
              <a:gd name="T119" fmla="*/ 405 h 429"/>
              <a:gd name="T120" fmla="*/ 28 w 88"/>
              <a:gd name="T121" fmla="*/ 401 h 429"/>
              <a:gd name="T122" fmla="*/ 29 w 88"/>
              <a:gd name="T123" fmla="*/ 39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8" h="429">
                <a:moveTo>
                  <a:pt x="66" y="406"/>
                </a:moveTo>
                <a:cubicBezTo>
                  <a:pt x="66" y="405"/>
                  <a:pt x="65" y="405"/>
                  <a:pt x="64" y="405"/>
                </a:cubicBezTo>
                <a:cubicBezTo>
                  <a:pt x="63" y="405"/>
                  <a:pt x="62" y="405"/>
                  <a:pt x="61" y="404"/>
                </a:cubicBezTo>
                <a:cubicBezTo>
                  <a:pt x="61" y="404"/>
                  <a:pt x="60" y="404"/>
                  <a:pt x="59" y="404"/>
                </a:cubicBezTo>
                <a:cubicBezTo>
                  <a:pt x="59" y="404"/>
                  <a:pt x="59" y="404"/>
                  <a:pt x="59" y="404"/>
                </a:cubicBezTo>
                <a:cubicBezTo>
                  <a:pt x="59" y="404"/>
                  <a:pt x="59" y="404"/>
                  <a:pt x="59" y="404"/>
                </a:cubicBezTo>
                <a:cubicBezTo>
                  <a:pt x="57" y="403"/>
                  <a:pt x="55" y="403"/>
                  <a:pt x="53" y="404"/>
                </a:cubicBezTo>
                <a:cubicBezTo>
                  <a:pt x="53" y="404"/>
                  <a:pt x="53" y="404"/>
                  <a:pt x="53" y="404"/>
                </a:cubicBezTo>
                <a:cubicBezTo>
                  <a:pt x="52" y="404"/>
                  <a:pt x="51" y="404"/>
                  <a:pt x="50" y="404"/>
                </a:cubicBezTo>
                <a:cubicBezTo>
                  <a:pt x="41" y="404"/>
                  <a:pt x="41" y="404"/>
                  <a:pt x="41" y="404"/>
                </a:cubicBezTo>
                <a:cubicBezTo>
                  <a:pt x="39" y="404"/>
                  <a:pt x="38" y="403"/>
                  <a:pt x="38" y="402"/>
                </a:cubicBezTo>
                <a:cubicBezTo>
                  <a:pt x="38" y="402"/>
                  <a:pt x="37" y="402"/>
                  <a:pt x="37" y="401"/>
                </a:cubicBezTo>
                <a:cubicBezTo>
                  <a:pt x="37" y="401"/>
                  <a:pt x="37" y="401"/>
                  <a:pt x="37" y="400"/>
                </a:cubicBezTo>
                <a:cubicBezTo>
                  <a:pt x="37" y="400"/>
                  <a:pt x="37" y="400"/>
                  <a:pt x="36" y="400"/>
                </a:cubicBezTo>
                <a:cubicBezTo>
                  <a:pt x="36" y="399"/>
                  <a:pt x="36" y="399"/>
                  <a:pt x="36" y="399"/>
                </a:cubicBezTo>
                <a:cubicBezTo>
                  <a:pt x="35" y="399"/>
                  <a:pt x="34" y="399"/>
                  <a:pt x="34" y="398"/>
                </a:cubicBezTo>
                <a:cubicBezTo>
                  <a:pt x="33" y="398"/>
                  <a:pt x="33" y="398"/>
                  <a:pt x="33" y="398"/>
                </a:cubicBezTo>
                <a:cubicBezTo>
                  <a:pt x="33" y="397"/>
                  <a:pt x="33" y="397"/>
                  <a:pt x="33" y="397"/>
                </a:cubicBezTo>
                <a:cubicBezTo>
                  <a:pt x="33" y="396"/>
                  <a:pt x="33" y="396"/>
                  <a:pt x="33" y="395"/>
                </a:cubicBezTo>
                <a:cubicBezTo>
                  <a:pt x="34" y="395"/>
                  <a:pt x="34" y="394"/>
                  <a:pt x="34" y="394"/>
                </a:cubicBezTo>
                <a:cubicBezTo>
                  <a:pt x="34" y="394"/>
                  <a:pt x="34" y="393"/>
                  <a:pt x="35" y="393"/>
                </a:cubicBezTo>
                <a:cubicBezTo>
                  <a:pt x="34" y="393"/>
                  <a:pt x="34" y="393"/>
                  <a:pt x="34" y="393"/>
                </a:cubicBezTo>
                <a:cubicBezTo>
                  <a:pt x="34" y="392"/>
                  <a:pt x="34" y="392"/>
                  <a:pt x="34" y="392"/>
                </a:cubicBezTo>
                <a:cubicBezTo>
                  <a:pt x="34" y="392"/>
                  <a:pt x="34" y="392"/>
                  <a:pt x="34" y="392"/>
                </a:cubicBezTo>
                <a:cubicBezTo>
                  <a:pt x="34" y="392"/>
                  <a:pt x="34" y="392"/>
                  <a:pt x="34" y="392"/>
                </a:cubicBezTo>
                <a:cubicBezTo>
                  <a:pt x="33" y="391"/>
                  <a:pt x="33" y="391"/>
                  <a:pt x="33" y="390"/>
                </a:cubicBezTo>
                <a:cubicBezTo>
                  <a:pt x="33" y="390"/>
                  <a:pt x="34" y="389"/>
                  <a:pt x="34" y="389"/>
                </a:cubicBezTo>
                <a:cubicBezTo>
                  <a:pt x="34" y="388"/>
                  <a:pt x="34" y="388"/>
                  <a:pt x="34" y="388"/>
                </a:cubicBezTo>
                <a:cubicBezTo>
                  <a:pt x="35" y="388"/>
                  <a:pt x="34" y="387"/>
                  <a:pt x="34" y="387"/>
                </a:cubicBezTo>
                <a:cubicBezTo>
                  <a:pt x="34" y="386"/>
                  <a:pt x="34" y="386"/>
                  <a:pt x="34" y="385"/>
                </a:cubicBezTo>
                <a:cubicBezTo>
                  <a:pt x="34" y="385"/>
                  <a:pt x="34" y="385"/>
                  <a:pt x="34" y="385"/>
                </a:cubicBezTo>
                <a:cubicBezTo>
                  <a:pt x="34" y="385"/>
                  <a:pt x="34" y="385"/>
                  <a:pt x="33" y="385"/>
                </a:cubicBezTo>
                <a:cubicBezTo>
                  <a:pt x="33" y="385"/>
                  <a:pt x="33" y="385"/>
                  <a:pt x="33" y="385"/>
                </a:cubicBezTo>
                <a:cubicBezTo>
                  <a:pt x="33" y="385"/>
                  <a:pt x="33" y="385"/>
                  <a:pt x="33" y="385"/>
                </a:cubicBezTo>
                <a:cubicBezTo>
                  <a:pt x="32" y="386"/>
                  <a:pt x="31" y="385"/>
                  <a:pt x="31" y="385"/>
                </a:cubicBezTo>
                <a:cubicBezTo>
                  <a:pt x="31" y="385"/>
                  <a:pt x="30" y="385"/>
                  <a:pt x="30" y="386"/>
                </a:cubicBezTo>
                <a:cubicBezTo>
                  <a:pt x="30" y="386"/>
                  <a:pt x="30" y="386"/>
                  <a:pt x="29" y="386"/>
                </a:cubicBezTo>
                <a:cubicBezTo>
                  <a:pt x="29" y="386"/>
                  <a:pt x="29" y="386"/>
                  <a:pt x="29" y="387"/>
                </a:cubicBezTo>
                <a:cubicBezTo>
                  <a:pt x="29" y="387"/>
                  <a:pt x="28" y="387"/>
                  <a:pt x="28" y="387"/>
                </a:cubicBezTo>
                <a:cubicBezTo>
                  <a:pt x="28" y="387"/>
                  <a:pt x="28" y="387"/>
                  <a:pt x="28" y="387"/>
                </a:cubicBezTo>
                <a:cubicBezTo>
                  <a:pt x="28" y="387"/>
                  <a:pt x="27" y="387"/>
                  <a:pt x="27" y="387"/>
                </a:cubicBezTo>
                <a:cubicBezTo>
                  <a:pt x="27" y="387"/>
                  <a:pt x="27" y="387"/>
                  <a:pt x="27" y="387"/>
                </a:cubicBezTo>
                <a:cubicBezTo>
                  <a:pt x="27" y="387"/>
                  <a:pt x="27" y="387"/>
                  <a:pt x="26" y="387"/>
                </a:cubicBezTo>
                <a:cubicBezTo>
                  <a:pt x="26" y="387"/>
                  <a:pt x="26" y="387"/>
                  <a:pt x="26" y="387"/>
                </a:cubicBezTo>
                <a:cubicBezTo>
                  <a:pt x="26" y="386"/>
                  <a:pt x="26" y="386"/>
                  <a:pt x="26" y="386"/>
                </a:cubicBezTo>
                <a:cubicBezTo>
                  <a:pt x="26" y="386"/>
                  <a:pt x="26" y="386"/>
                  <a:pt x="26" y="386"/>
                </a:cubicBezTo>
                <a:cubicBezTo>
                  <a:pt x="26" y="386"/>
                  <a:pt x="25" y="386"/>
                  <a:pt x="25" y="386"/>
                </a:cubicBezTo>
                <a:cubicBezTo>
                  <a:pt x="25" y="385"/>
                  <a:pt x="25" y="385"/>
                  <a:pt x="25" y="385"/>
                </a:cubicBezTo>
                <a:cubicBezTo>
                  <a:pt x="25" y="385"/>
                  <a:pt x="25" y="385"/>
                  <a:pt x="25" y="385"/>
                </a:cubicBezTo>
                <a:cubicBezTo>
                  <a:pt x="25" y="384"/>
                  <a:pt x="25" y="384"/>
                  <a:pt x="25" y="384"/>
                </a:cubicBezTo>
                <a:cubicBezTo>
                  <a:pt x="25" y="384"/>
                  <a:pt x="25" y="384"/>
                  <a:pt x="25" y="384"/>
                </a:cubicBezTo>
                <a:cubicBezTo>
                  <a:pt x="25" y="383"/>
                  <a:pt x="25" y="383"/>
                  <a:pt x="25" y="383"/>
                </a:cubicBezTo>
                <a:cubicBezTo>
                  <a:pt x="24" y="382"/>
                  <a:pt x="24" y="382"/>
                  <a:pt x="24" y="382"/>
                </a:cubicBezTo>
                <a:cubicBezTo>
                  <a:pt x="24" y="382"/>
                  <a:pt x="24" y="381"/>
                  <a:pt x="24" y="381"/>
                </a:cubicBezTo>
                <a:cubicBezTo>
                  <a:pt x="24" y="380"/>
                  <a:pt x="24" y="380"/>
                  <a:pt x="24" y="380"/>
                </a:cubicBezTo>
                <a:cubicBezTo>
                  <a:pt x="24" y="380"/>
                  <a:pt x="24" y="380"/>
                  <a:pt x="24" y="380"/>
                </a:cubicBezTo>
                <a:cubicBezTo>
                  <a:pt x="24" y="380"/>
                  <a:pt x="24" y="379"/>
                  <a:pt x="23" y="379"/>
                </a:cubicBezTo>
                <a:cubicBezTo>
                  <a:pt x="23" y="379"/>
                  <a:pt x="23" y="379"/>
                  <a:pt x="23" y="379"/>
                </a:cubicBezTo>
                <a:cubicBezTo>
                  <a:pt x="23" y="379"/>
                  <a:pt x="23" y="379"/>
                  <a:pt x="23" y="379"/>
                </a:cubicBezTo>
                <a:cubicBezTo>
                  <a:pt x="22" y="378"/>
                  <a:pt x="22" y="378"/>
                  <a:pt x="22" y="378"/>
                </a:cubicBezTo>
                <a:cubicBezTo>
                  <a:pt x="20" y="379"/>
                  <a:pt x="20" y="379"/>
                  <a:pt x="20" y="379"/>
                </a:cubicBezTo>
                <a:cubicBezTo>
                  <a:pt x="22" y="378"/>
                  <a:pt x="22" y="378"/>
                  <a:pt x="22" y="378"/>
                </a:cubicBezTo>
                <a:cubicBezTo>
                  <a:pt x="22" y="377"/>
                  <a:pt x="22" y="377"/>
                  <a:pt x="22" y="377"/>
                </a:cubicBezTo>
                <a:cubicBezTo>
                  <a:pt x="22" y="377"/>
                  <a:pt x="22" y="377"/>
                  <a:pt x="22" y="377"/>
                </a:cubicBezTo>
                <a:cubicBezTo>
                  <a:pt x="22" y="377"/>
                  <a:pt x="22" y="377"/>
                  <a:pt x="22" y="376"/>
                </a:cubicBezTo>
                <a:cubicBezTo>
                  <a:pt x="22" y="376"/>
                  <a:pt x="22" y="376"/>
                  <a:pt x="22" y="376"/>
                </a:cubicBezTo>
                <a:cubicBezTo>
                  <a:pt x="22" y="376"/>
                  <a:pt x="22" y="376"/>
                  <a:pt x="21" y="375"/>
                </a:cubicBezTo>
                <a:cubicBezTo>
                  <a:pt x="21" y="374"/>
                  <a:pt x="22" y="374"/>
                  <a:pt x="22" y="373"/>
                </a:cubicBezTo>
                <a:cubicBezTo>
                  <a:pt x="22" y="372"/>
                  <a:pt x="22" y="371"/>
                  <a:pt x="22" y="371"/>
                </a:cubicBezTo>
                <a:cubicBezTo>
                  <a:pt x="22" y="371"/>
                  <a:pt x="22" y="370"/>
                  <a:pt x="21" y="370"/>
                </a:cubicBezTo>
                <a:cubicBezTo>
                  <a:pt x="21" y="370"/>
                  <a:pt x="21" y="370"/>
                  <a:pt x="21" y="370"/>
                </a:cubicBezTo>
                <a:cubicBezTo>
                  <a:pt x="21" y="370"/>
                  <a:pt x="21" y="370"/>
                  <a:pt x="21" y="370"/>
                </a:cubicBezTo>
                <a:cubicBezTo>
                  <a:pt x="21" y="369"/>
                  <a:pt x="21" y="369"/>
                  <a:pt x="21" y="369"/>
                </a:cubicBezTo>
                <a:cubicBezTo>
                  <a:pt x="21" y="368"/>
                  <a:pt x="22" y="367"/>
                  <a:pt x="22" y="366"/>
                </a:cubicBezTo>
                <a:cubicBezTo>
                  <a:pt x="22" y="366"/>
                  <a:pt x="22" y="366"/>
                  <a:pt x="22" y="366"/>
                </a:cubicBezTo>
                <a:cubicBezTo>
                  <a:pt x="23" y="365"/>
                  <a:pt x="24" y="365"/>
                  <a:pt x="25" y="365"/>
                </a:cubicBezTo>
                <a:cubicBezTo>
                  <a:pt x="25" y="365"/>
                  <a:pt x="26" y="365"/>
                  <a:pt x="26" y="364"/>
                </a:cubicBezTo>
                <a:cubicBezTo>
                  <a:pt x="26" y="364"/>
                  <a:pt x="26" y="364"/>
                  <a:pt x="26" y="364"/>
                </a:cubicBezTo>
                <a:cubicBezTo>
                  <a:pt x="26" y="364"/>
                  <a:pt x="27" y="364"/>
                  <a:pt x="28" y="363"/>
                </a:cubicBezTo>
                <a:cubicBezTo>
                  <a:pt x="28" y="362"/>
                  <a:pt x="28" y="362"/>
                  <a:pt x="28" y="362"/>
                </a:cubicBezTo>
                <a:cubicBezTo>
                  <a:pt x="28" y="362"/>
                  <a:pt x="28" y="362"/>
                  <a:pt x="28" y="362"/>
                </a:cubicBezTo>
                <a:cubicBezTo>
                  <a:pt x="29" y="361"/>
                  <a:pt x="29" y="361"/>
                  <a:pt x="30" y="361"/>
                </a:cubicBezTo>
                <a:cubicBezTo>
                  <a:pt x="30" y="360"/>
                  <a:pt x="30" y="360"/>
                  <a:pt x="30" y="360"/>
                </a:cubicBezTo>
                <a:cubicBezTo>
                  <a:pt x="30" y="360"/>
                  <a:pt x="30" y="360"/>
                  <a:pt x="31" y="360"/>
                </a:cubicBezTo>
                <a:cubicBezTo>
                  <a:pt x="31" y="359"/>
                  <a:pt x="31" y="359"/>
                  <a:pt x="31" y="359"/>
                </a:cubicBezTo>
                <a:cubicBezTo>
                  <a:pt x="31" y="357"/>
                  <a:pt x="31" y="357"/>
                  <a:pt x="31" y="357"/>
                </a:cubicBezTo>
                <a:cubicBezTo>
                  <a:pt x="31" y="356"/>
                  <a:pt x="31" y="356"/>
                  <a:pt x="31" y="355"/>
                </a:cubicBezTo>
                <a:cubicBezTo>
                  <a:pt x="32" y="355"/>
                  <a:pt x="32" y="354"/>
                  <a:pt x="32" y="354"/>
                </a:cubicBezTo>
                <a:cubicBezTo>
                  <a:pt x="33" y="354"/>
                  <a:pt x="33" y="354"/>
                  <a:pt x="34" y="353"/>
                </a:cubicBezTo>
                <a:cubicBezTo>
                  <a:pt x="34" y="353"/>
                  <a:pt x="34" y="353"/>
                  <a:pt x="34" y="353"/>
                </a:cubicBezTo>
                <a:cubicBezTo>
                  <a:pt x="34" y="353"/>
                  <a:pt x="34" y="353"/>
                  <a:pt x="34" y="353"/>
                </a:cubicBezTo>
                <a:cubicBezTo>
                  <a:pt x="34" y="352"/>
                  <a:pt x="34" y="352"/>
                  <a:pt x="34" y="351"/>
                </a:cubicBezTo>
                <a:cubicBezTo>
                  <a:pt x="34" y="351"/>
                  <a:pt x="34" y="351"/>
                  <a:pt x="34" y="351"/>
                </a:cubicBezTo>
                <a:cubicBezTo>
                  <a:pt x="34" y="351"/>
                  <a:pt x="34" y="351"/>
                  <a:pt x="34" y="351"/>
                </a:cubicBezTo>
                <a:cubicBezTo>
                  <a:pt x="34" y="351"/>
                  <a:pt x="34" y="351"/>
                  <a:pt x="34" y="351"/>
                </a:cubicBezTo>
                <a:cubicBezTo>
                  <a:pt x="33" y="350"/>
                  <a:pt x="33" y="350"/>
                  <a:pt x="33" y="350"/>
                </a:cubicBezTo>
                <a:cubicBezTo>
                  <a:pt x="33" y="350"/>
                  <a:pt x="33" y="350"/>
                  <a:pt x="33" y="350"/>
                </a:cubicBezTo>
                <a:cubicBezTo>
                  <a:pt x="32" y="348"/>
                  <a:pt x="32" y="347"/>
                  <a:pt x="32" y="346"/>
                </a:cubicBezTo>
                <a:cubicBezTo>
                  <a:pt x="34" y="343"/>
                  <a:pt x="34" y="343"/>
                  <a:pt x="34" y="343"/>
                </a:cubicBezTo>
                <a:cubicBezTo>
                  <a:pt x="34" y="342"/>
                  <a:pt x="34" y="342"/>
                  <a:pt x="34" y="342"/>
                </a:cubicBezTo>
                <a:cubicBezTo>
                  <a:pt x="34" y="342"/>
                  <a:pt x="34" y="342"/>
                  <a:pt x="34" y="342"/>
                </a:cubicBezTo>
                <a:cubicBezTo>
                  <a:pt x="34" y="341"/>
                  <a:pt x="35" y="340"/>
                  <a:pt x="36" y="340"/>
                </a:cubicBezTo>
                <a:cubicBezTo>
                  <a:pt x="36" y="340"/>
                  <a:pt x="36" y="340"/>
                  <a:pt x="36" y="340"/>
                </a:cubicBezTo>
                <a:cubicBezTo>
                  <a:pt x="37" y="339"/>
                  <a:pt x="37" y="339"/>
                  <a:pt x="37" y="339"/>
                </a:cubicBezTo>
                <a:cubicBezTo>
                  <a:pt x="37" y="339"/>
                  <a:pt x="37" y="339"/>
                  <a:pt x="37" y="339"/>
                </a:cubicBezTo>
                <a:cubicBezTo>
                  <a:pt x="38" y="339"/>
                  <a:pt x="38" y="339"/>
                  <a:pt x="38" y="339"/>
                </a:cubicBezTo>
                <a:cubicBezTo>
                  <a:pt x="38" y="339"/>
                  <a:pt x="38" y="339"/>
                  <a:pt x="38" y="339"/>
                </a:cubicBezTo>
                <a:cubicBezTo>
                  <a:pt x="38" y="338"/>
                  <a:pt x="38" y="338"/>
                  <a:pt x="38" y="338"/>
                </a:cubicBezTo>
                <a:cubicBezTo>
                  <a:pt x="38" y="336"/>
                  <a:pt x="37" y="335"/>
                  <a:pt x="39" y="333"/>
                </a:cubicBezTo>
                <a:cubicBezTo>
                  <a:pt x="39" y="333"/>
                  <a:pt x="39" y="333"/>
                  <a:pt x="39" y="333"/>
                </a:cubicBezTo>
                <a:cubicBezTo>
                  <a:pt x="40" y="332"/>
                  <a:pt x="40" y="332"/>
                  <a:pt x="40" y="332"/>
                </a:cubicBezTo>
                <a:cubicBezTo>
                  <a:pt x="40" y="332"/>
                  <a:pt x="40" y="332"/>
                  <a:pt x="40" y="332"/>
                </a:cubicBezTo>
                <a:cubicBezTo>
                  <a:pt x="40" y="331"/>
                  <a:pt x="40" y="331"/>
                  <a:pt x="40" y="331"/>
                </a:cubicBezTo>
                <a:cubicBezTo>
                  <a:pt x="40" y="330"/>
                  <a:pt x="40" y="330"/>
                  <a:pt x="40" y="330"/>
                </a:cubicBezTo>
                <a:cubicBezTo>
                  <a:pt x="39" y="326"/>
                  <a:pt x="39" y="326"/>
                  <a:pt x="39" y="326"/>
                </a:cubicBezTo>
                <a:cubicBezTo>
                  <a:pt x="39" y="326"/>
                  <a:pt x="39" y="326"/>
                  <a:pt x="39" y="326"/>
                </a:cubicBezTo>
                <a:cubicBezTo>
                  <a:pt x="39" y="325"/>
                  <a:pt x="39" y="325"/>
                  <a:pt x="39" y="325"/>
                </a:cubicBezTo>
                <a:cubicBezTo>
                  <a:pt x="40" y="323"/>
                  <a:pt x="40" y="323"/>
                  <a:pt x="40" y="323"/>
                </a:cubicBezTo>
                <a:cubicBezTo>
                  <a:pt x="41" y="323"/>
                  <a:pt x="41" y="323"/>
                  <a:pt x="41" y="323"/>
                </a:cubicBezTo>
                <a:cubicBezTo>
                  <a:pt x="41" y="323"/>
                  <a:pt x="41" y="323"/>
                  <a:pt x="41" y="323"/>
                </a:cubicBezTo>
                <a:cubicBezTo>
                  <a:pt x="41" y="323"/>
                  <a:pt x="41" y="323"/>
                  <a:pt x="41" y="323"/>
                </a:cubicBezTo>
                <a:cubicBezTo>
                  <a:pt x="40" y="323"/>
                  <a:pt x="40" y="322"/>
                  <a:pt x="40" y="322"/>
                </a:cubicBezTo>
                <a:cubicBezTo>
                  <a:pt x="40" y="322"/>
                  <a:pt x="40" y="322"/>
                  <a:pt x="40" y="322"/>
                </a:cubicBezTo>
                <a:cubicBezTo>
                  <a:pt x="40" y="321"/>
                  <a:pt x="39" y="321"/>
                  <a:pt x="39" y="320"/>
                </a:cubicBezTo>
                <a:cubicBezTo>
                  <a:pt x="39" y="318"/>
                  <a:pt x="40" y="317"/>
                  <a:pt x="41" y="317"/>
                </a:cubicBezTo>
                <a:cubicBezTo>
                  <a:pt x="41" y="317"/>
                  <a:pt x="42" y="317"/>
                  <a:pt x="42" y="316"/>
                </a:cubicBezTo>
                <a:cubicBezTo>
                  <a:pt x="42" y="317"/>
                  <a:pt x="42" y="317"/>
                  <a:pt x="42" y="317"/>
                </a:cubicBezTo>
                <a:cubicBezTo>
                  <a:pt x="42" y="317"/>
                  <a:pt x="42" y="317"/>
                  <a:pt x="42" y="317"/>
                </a:cubicBezTo>
                <a:cubicBezTo>
                  <a:pt x="42" y="316"/>
                  <a:pt x="42" y="316"/>
                  <a:pt x="42" y="316"/>
                </a:cubicBezTo>
                <a:cubicBezTo>
                  <a:pt x="42" y="316"/>
                  <a:pt x="42" y="316"/>
                  <a:pt x="43" y="316"/>
                </a:cubicBezTo>
                <a:cubicBezTo>
                  <a:pt x="43" y="316"/>
                  <a:pt x="43" y="316"/>
                  <a:pt x="43" y="315"/>
                </a:cubicBezTo>
                <a:cubicBezTo>
                  <a:pt x="43" y="315"/>
                  <a:pt x="43" y="315"/>
                  <a:pt x="43" y="315"/>
                </a:cubicBezTo>
                <a:cubicBezTo>
                  <a:pt x="43" y="315"/>
                  <a:pt x="43" y="315"/>
                  <a:pt x="44" y="315"/>
                </a:cubicBezTo>
                <a:cubicBezTo>
                  <a:pt x="44" y="315"/>
                  <a:pt x="44" y="314"/>
                  <a:pt x="44" y="314"/>
                </a:cubicBezTo>
                <a:cubicBezTo>
                  <a:pt x="44" y="314"/>
                  <a:pt x="44" y="314"/>
                  <a:pt x="44" y="314"/>
                </a:cubicBezTo>
                <a:cubicBezTo>
                  <a:pt x="44" y="314"/>
                  <a:pt x="44" y="314"/>
                  <a:pt x="44" y="314"/>
                </a:cubicBezTo>
                <a:cubicBezTo>
                  <a:pt x="44" y="314"/>
                  <a:pt x="44" y="314"/>
                  <a:pt x="43" y="313"/>
                </a:cubicBezTo>
                <a:cubicBezTo>
                  <a:pt x="43" y="313"/>
                  <a:pt x="43" y="313"/>
                  <a:pt x="43" y="313"/>
                </a:cubicBezTo>
                <a:cubicBezTo>
                  <a:pt x="43" y="313"/>
                  <a:pt x="43" y="313"/>
                  <a:pt x="43" y="312"/>
                </a:cubicBezTo>
                <a:cubicBezTo>
                  <a:pt x="42" y="312"/>
                  <a:pt x="42" y="312"/>
                  <a:pt x="42" y="312"/>
                </a:cubicBezTo>
                <a:cubicBezTo>
                  <a:pt x="42" y="311"/>
                  <a:pt x="42" y="311"/>
                  <a:pt x="42" y="311"/>
                </a:cubicBezTo>
                <a:cubicBezTo>
                  <a:pt x="42" y="311"/>
                  <a:pt x="41" y="311"/>
                  <a:pt x="41" y="311"/>
                </a:cubicBezTo>
                <a:cubicBezTo>
                  <a:pt x="40" y="311"/>
                  <a:pt x="40" y="311"/>
                  <a:pt x="40" y="311"/>
                </a:cubicBezTo>
                <a:cubicBezTo>
                  <a:pt x="40" y="311"/>
                  <a:pt x="40" y="311"/>
                  <a:pt x="40" y="311"/>
                </a:cubicBezTo>
                <a:cubicBezTo>
                  <a:pt x="40" y="311"/>
                  <a:pt x="39" y="311"/>
                  <a:pt x="39" y="311"/>
                </a:cubicBezTo>
                <a:cubicBezTo>
                  <a:pt x="39" y="311"/>
                  <a:pt x="38" y="311"/>
                  <a:pt x="37" y="310"/>
                </a:cubicBezTo>
                <a:cubicBezTo>
                  <a:pt x="37" y="310"/>
                  <a:pt x="37" y="309"/>
                  <a:pt x="37" y="309"/>
                </a:cubicBezTo>
                <a:cubicBezTo>
                  <a:pt x="37" y="309"/>
                  <a:pt x="37" y="309"/>
                  <a:pt x="37" y="309"/>
                </a:cubicBezTo>
                <a:cubicBezTo>
                  <a:pt x="37" y="309"/>
                  <a:pt x="37" y="309"/>
                  <a:pt x="36" y="308"/>
                </a:cubicBezTo>
                <a:cubicBezTo>
                  <a:pt x="36" y="307"/>
                  <a:pt x="36" y="307"/>
                  <a:pt x="36" y="307"/>
                </a:cubicBezTo>
                <a:cubicBezTo>
                  <a:pt x="37" y="307"/>
                  <a:pt x="37" y="307"/>
                  <a:pt x="37" y="307"/>
                </a:cubicBezTo>
                <a:cubicBezTo>
                  <a:pt x="38" y="307"/>
                  <a:pt x="39" y="307"/>
                  <a:pt x="39" y="307"/>
                </a:cubicBezTo>
                <a:cubicBezTo>
                  <a:pt x="39" y="307"/>
                  <a:pt x="39" y="307"/>
                  <a:pt x="39" y="307"/>
                </a:cubicBezTo>
                <a:cubicBezTo>
                  <a:pt x="41" y="307"/>
                  <a:pt x="42" y="307"/>
                  <a:pt x="43" y="307"/>
                </a:cubicBezTo>
                <a:cubicBezTo>
                  <a:pt x="44" y="307"/>
                  <a:pt x="44" y="307"/>
                  <a:pt x="44" y="307"/>
                </a:cubicBezTo>
                <a:cubicBezTo>
                  <a:pt x="44" y="307"/>
                  <a:pt x="45" y="307"/>
                  <a:pt x="45" y="307"/>
                </a:cubicBezTo>
                <a:cubicBezTo>
                  <a:pt x="45" y="307"/>
                  <a:pt x="45" y="307"/>
                  <a:pt x="45" y="307"/>
                </a:cubicBezTo>
                <a:cubicBezTo>
                  <a:pt x="45" y="306"/>
                  <a:pt x="46" y="305"/>
                  <a:pt x="46" y="305"/>
                </a:cubicBezTo>
                <a:cubicBezTo>
                  <a:pt x="46" y="305"/>
                  <a:pt x="46" y="305"/>
                  <a:pt x="46" y="305"/>
                </a:cubicBezTo>
                <a:cubicBezTo>
                  <a:pt x="46" y="304"/>
                  <a:pt x="44" y="304"/>
                  <a:pt x="43" y="304"/>
                </a:cubicBezTo>
                <a:cubicBezTo>
                  <a:pt x="42" y="304"/>
                  <a:pt x="42" y="304"/>
                  <a:pt x="41" y="304"/>
                </a:cubicBezTo>
                <a:cubicBezTo>
                  <a:pt x="41" y="304"/>
                  <a:pt x="41" y="304"/>
                  <a:pt x="41" y="304"/>
                </a:cubicBezTo>
                <a:cubicBezTo>
                  <a:pt x="40" y="304"/>
                  <a:pt x="40" y="304"/>
                  <a:pt x="40" y="304"/>
                </a:cubicBezTo>
                <a:cubicBezTo>
                  <a:pt x="40" y="304"/>
                  <a:pt x="40" y="304"/>
                  <a:pt x="40" y="304"/>
                </a:cubicBezTo>
                <a:cubicBezTo>
                  <a:pt x="39" y="303"/>
                  <a:pt x="39" y="302"/>
                  <a:pt x="39" y="302"/>
                </a:cubicBezTo>
                <a:cubicBezTo>
                  <a:pt x="40" y="299"/>
                  <a:pt x="40" y="299"/>
                  <a:pt x="40" y="299"/>
                </a:cubicBezTo>
                <a:cubicBezTo>
                  <a:pt x="40" y="299"/>
                  <a:pt x="40" y="298"/>
                  <a:pt x="40" y="298"/>
                </a:cubicBezTo>
                <a:cubicBezTo>
                  <a:pt x="41" y="297"/>
                  <a:pt x="41" y="297"/>
                  <a:pt x="41" y="297"/>
                </a:cubicBezTo>
                <a:cubicBezTo>
                  <a:pt x="41" y="297"/>
                  <a:pt x="41" y="297"/>
                  <a:pt x="41" y="297"/>
                </a:cubicBezTo>
                <a:cubicBezTo>
                  <a:pt x="41" y="297"/>
                  <a:pt x="41" y="296"/>
                  <a:pt x="40" y="295"/>
                </a:cubicBezTo>
                <a:cubicBezTo>
                  <a:pt x="40" y="294"/>
                  <a:pt x="40" y="294"/>
                  <a:pt x="40" y="294"/>
                </a:cubicBezTo>
                <a:cubicBezTo>
                  <a:pt x="40" y="293"/>
                  <a:pt x="40" y="293"/>
                  <a:pt x="40" y="293"/>
                </a:cubicBezTo>
                <a:cubicBezTo>
                  <a:pt x="40" y="293"/>
                  <a:pt x="40" y="293"/>
                  <a:pt x="40" y="293"/>
                </a:cubicBezTo>
                <a:cubicBezTo>
                  <a:pt x="39" y="293"/>
                  <a:pt x="39" y="293"/>
                  <a:pt x="39" y="293"/>
                </a:cubicBezTo>
                <a:cubicBezTo>
                  <a:pt x="39" y="292"/>
                  <a:pt x="38" y="292"/>
                  <a:pt x="38" y="291"/>
                </a:cubicBezTo>
                <a:cubicBezTo>
                  <a:pt x="38" y="290"/>
                  <a:pt x="38" y="290"/>
                  <a:pt x="39" y="289"/>
                </a:cubicBezTo>
                <a:cubicBezTo>
                  <a:pt x="39" y="289"/>
                  <a:pt x="39" y="289"/>
                  <a:pt x="39" y="289"/>
                </a:cubicBezTo>
                <a:cubicBezTo>
                  <a:pt x="39" y="289"/>
                  <a:pt x="39" y="289"/>
                  <a:pt x="39" y="289"/>
                </a:cubicBezTo>
                <a:cubicBezTo>
                  <a:pt x="39" y="289"/>
                  <a:pt x="40" y="289"/>
                  <a:pt x="40" y="289"/>
                </a:cubicBezTo>
                <a:cubicBezTo>
                  <a:pt x="40" y="289"/>
                  <a:pt x="39" y="289"/>
                  <a:pt x="39" y="288"/>
                </a:cubicBezTo>
                <a:cubicBezTo>
                  <a:pt x="38" y="288"/>
                  <a:pt x="37" y="288"/>
                  <a:pt x="36" y="287"/>
                </a:cubicBezTo>
                <a:cubicBezTo>
                  <a:pt x="36" y="286"/>
                  <a:pt x="36" y="285"/>
                  <a:pt x="36" y="285"/>
                </a:cubicBezTo>
                <a:cubicBezTo>
                  <a:pt x="36" y="284"/>
                  <a:pt x="36" y="284"/>
                  <a:pt x="36" y="284"/>
                </a:cubicBezTo>
                <a:cubicBezTo>
                  <a:pt x="36" y="283"/>
                  <a:pt x="36" y="283"/>
                  <a:pt x="36" y="283"/>
                </a:cubicBezTo>
                <a:cubicBezTo>
                  <a:pt x="36" y="282"/>
                  <a:pt x="36" y="282"/>
                  <a:pt x="36" y="281"/>
                </a:cubicBezTo>
                <a:cubicBezTo>
                  <a:pt x="36" y="281"/>
                  <a:pt x="36" y="281"/>
                  <a:pt x="36" y="281"/>
                </a:cubicBezTo>
                <a:cubicBezTo>
                  <a:pt x="36" y="280"/>
                  <a:pt x="36" y="279"/>
                  <a:pt x="36" y="279"/>
                </a:cubicBezTo>
                <a:cubicBezTo>
                  <a:pt x="36" y="278"/>
                  <a:pt x="36" y="278"/>
                  <a:pt x="36" y="278"/>
                </a:cubicBezTo>
                <a:cubicBezTo>
                  <a:pt x="37" y="276"/>
                  <a:pt x="37" y="275"/>
                  <a:pt x="39" y="274"/>
                </a:cubicBezTo>
                <a:cubicBezTo>
                  <a:pt x="40" y="274"/>
                  <a:pt x="40" y="274"/>
                  <a:pt x="40" y="274"/>
                </a:cubicBezTo>
                <a:cubicBezTo>
                  <a:pt x="40" y="274"/>
                  <a:pt x="40" y="273"/>
                  <a:pt x="40" y="273"/>
                </a:cubicBezTo>
                <a:cubicBezTo>
                  <a:pt x="39" y="273"/>
                  <a:pt x="39" y="273"/>
                  <a:pt x="39" y="273"/>
                </a:cubicBezTo>
                <a:cubicBezTo>
                  <a:pt x="39" y="270"/>
                  <a:pt x="38" y="269"/>
                  <a:pt x="38" y="266"/>
                </a:cubicBezTo>
                <a:cubicBezTo>
                  <a:pt x="38" y="266"/>
                  <a:pt x="38" y="265"/>
                  <a:pt x="38" y="265"/>
                </a:cubicBezTo>
                <a:cubicBezTo>
                  <a:pt x="38" y="265"/>
                  <a:pt x="38" y="265"/>
                  <a:pt x="38" y="265"/>
                </a:cubicBezTo>
                <a:cubicBezTo>
                  <a:pt x="39" y="263"/>
                  <a:pt x="39" y="262"/>
                  <a:pt x="39" y="261"/>
                </a:cubicBezTo>
                <a:cubicBezTo>
                  <a:pt x="39" y="261"/>
                  <a:pt x="39" y="261"/>
                  <a:pt x="39" y="261"/>
                </a:cubicBezTo>
                <a:cubicBezTo>
                  <a:pt x="39" y="261"/>
                  <a:pt x="39" y="260"/>
                  <a:pt x="39" y="260"/>
                </a:cubicBezTo>
                <a:cubicBezTo>
                  <a:pt x="38" y="260"/>
                  <a:pt x="38" y="260"/>
                  <a:pt x="38" y="260"/>
                </a:cubicBezTo>
                <a:cubicBezTo>
                  <a:pt x="38" y="259"/>
                  <a:pt x="38" y="258"/>
                  <a:pt x="38" y="257"/>
                </a:cubicBezTo>
                <a:cubicBezTo>
                  <a:pt x="38" y="256"/>
                  <a:pt x="38" y="256"/>
                  <a:pt x="38" y="256"/>
                </a:cubicBezTo>
                <a:cubicBezTo>
                  <a:pt x="39" y="256"/>
                  <a:pt x="40" y="254"/>
                  <a:pt x="40" y="253"/>
                </a:cubicBezTo>
                <a:cubicBezTo>
                  <a:pt x="40" y="253"/>
                  <a:pt x="40" y="253"/>
                  <a:pt x="40" y="253"/>
                </a:cubicBezTo>
                <a:cubicBezTo>
                  <a:pt x="40" y="253"/>
                  <a:pt x="40" y="253"/>
                  <a:pt x="40" y="253"/>
                </a:cubicBezTo>
                <a:cubicBezTo>
                  <a:pt x="40" y="253"/>
                  <a:pt x="39" y="252"/>
                  <a:pt x="39" y="251"/>
                </a:cubicBezTo>
                <a:cubicBezTo>
                  <a:pt x="39" y="250"/>
                  <a:pt x="39" y="250"/>
                  <a:pt x="40" y="249"/>
                </a:cubicBezTo>
                <a:cubicBezTo>
                  <a:pt x="40" y="249"/>
                  <a:pt x="41" y="249"/>
                  <a:pt x="41" y="249"/>
                </a:cubicBezTo>
                <a:cubicBezTo>
                  <a:pt x="41" y="248"/>
                  <a:pt x="41" y="248"/>
                  <a:pt x="41" y="246"/>
                </a:cubicBezTo>
                <a:cubicBezTo>
                  <a:pt x="41" y="245"/>
                  <a:pt x="41" y="245"/>
                  <a:pt x="41" y="245"/>
                </a:cubicBezTo>
                <a:cubicBezTo>
                  <a:pt x="41" y="245"/>
                  <a:pt x="41" y="244"/>
                  <a:pt x="41" y="244"/>
                </a:cubicBezTo>
                <a:cubicBezTo>
                  <a:pt x="41" y="242"/>
                  <a:pt x="41" y="242"/>
                  <a:pt x="41" y="242"/>
                </a:cubicBezTo>
                <a:cubicBezTo>
                  <a:pt x="42" y="243"/>
                  <a:pt x="42" y="243"/>
                  <a:pt x="42" y="243"/>
                </a:cubicBezTo>
                <a:cubicBezTo>
                  <a:pt x="43" y="243"/>
                  <a:pt x="43" y="243"/>
                  <a:pt x="43" y="243"/>
                </a:cubicBezTo>
                <a:cubicBezTo>
                  <a:pt x="43" y="243"/>
                  <a:pt x="43" y="242"/>
                  <a:pt x="43" y="242"/>
                </a:cubicBezTo>
                <a:cubicBezTo>
                  <a:pt x="43" y="242"/>
                  <a:pt x="43" y="242"/>
                  <a:pt x="43" y="242"/>
                </a:cubicBezTo>
                <a:cubicBezTo>
                  <a:pt x="44" y="236"/>
                  <a:pt x="44" y="236"/>
                  <a:pt x="44" y="236"/>
                </a:cubicBezTo>
                <a:cubicBezTo>
                  <a:pt x="44" y="236"/>
                  <a:pt x="44" y="236"/>
                  <a:pt x="44" y="235"/>
                </a:cubicBezTo>
                <a:cubicBezTo>
                  <a:pt x="44" y="235"/>
                  <a:pt x="44" y="235"/>
                  <a:pt x="44" y="235"/>
                </a:cubicBezTo>
                <a:cubicBezTo>
                  <a:pt x="45" y="235"/>
                  <a:pt x="45" y="234"/>
                  <a:pt x="46" y="234"/>
                </a:cubicBezTo>
                <a:cubicBezTo>
                  <a:pt x="46" y="234"/>
                  <a:pt x="46" y="234"/>
                  <a:pt x="46" y="234"/>
                </a:cubicBezTo>
                <a:cubicBezTo>
                  <a:pt x="46" y="234"/>
                  <a:pt x="47" y="234"/>
                  <a:pt x="47" y="233"/>
                </a:cubicBezTo>
                <a:cubicBezTo>
                  <a:pt x="48" y="233"/>
                  <a:pt x="49" y="233"/>
                  <a:pt x="49" y="233"/>
                </a:cubicBezTo>
                <a:cubicBezTo>
                  <a:pt x="49" y="232"/>
                  <a:pt x="49" y="232"/>
                  <a:pt x="48" y="231"/>
                </a:cubicBezTo>
                <a:cubicBezTo>
                  <a:pt x="48" y="230"/>
                  <a:pt x="48" y="230"/>
                  <a:pt x="48" y="230"/>
                </a:cubicBezTo>
                <a:cubicBezTo>
                  <a:pt x="48" y="229"/>
                  <a:pt x="48" y="228"/>
                  <a:pt x="47" y="228"/>
                </a:cubicBezTo>
                <a:cubicBezTo>
                  <a:pt x="47" y="226"/>
                  <a:pt x="47" y="225"/>
                  <a:pt x="47" y="224"/>
                </a:cubicBezTo>
                <a:cubicBezTo>
                  <a:pt x="47" y="223"/>
                  <a:pt x="47" y="223"/>
                  <a:pt x="47" y="223"/>
                </a:cubicBezTo>
                <a:cubicBezTo>
                  <a:pt x="46" y="223"/>
                  <a:pt x="46" y="222"/>
                  <a:pt x="46" y="222"/>
                </a:cubicBezTo>
                <a:cubicBezTo>
                  <a:pt x="46" y="221"/>
                  <a:pt x="46" y="221"/>
                  <a:pt x="46" y="221"/>
                </a:cubicBezTo>
                <a:cubicBezTo>
                  <a:pt x="46" y="220"/>
                  <a:pt x="46" y="218"/>
                  <a:pt x="46" y="217"/>
                </a:cubicBezTo>
                <a:cubicBezTo>
                  <a:pt x="46" y="216"/>
                  <a:pt x="46" y="216"/>
                  <a:pt x="46" y="216"/>
                </a:cubicBezTo>
                <a:cubicBezTo>
                  <a:pt x="46" y="216"/>
                  <a:pt x="46" y="216"/>
                  <a:pt x="46" y="216"/>
                </a:cubicBezTo>
                <a:cubicBezTo>
                  <a:pt x="46" y="214"/>
                  <a:pt x="46" y="212"/>
                  <a:pt x="47" y="210"/>
                </a:cubicBezTo>
                <a:cubicBezTo>
                  <a:pt x="47" y="208"/>
                  <a:pt x="47" y="208"/>
                  <a:pt x="47" y="208"/>
                </a:cubicBezTo>
                <a:cubicBezTo>
                  <a:pt x="47" y="206"/>
                  <a:pt x="49" y="206"/>
                  <a:pt x="50" y="206"/>
                </a:cubicBezTo>
                <a:cubicBezTo>
                  <a:pt x="50" y="206"/>
                  <a:pt x="51" y="205"/>
                  <a:pt x="51" y="205"/>
                </a:cubicBezTo>
                <a:cubicBezTo>
                  <a:pt x="51" y="205"/>
                  <a:pt x="51" y="205"/>
                  <a:pt x="51" y="204"/>
                </a:cubicBezTo>
                <a:cubicBezTo>
                  <a:pt x="51" y="204"/>
                  <a:pt x="52" y="204"/>
                  <a:pt x="52" y="203"/>
                </a:cubicBezTo>
                <a:cubicBezTo>
                  <a:pt x="52" y="203"/>
                  <a:pt x="52" y="203"/>
                  <a:pt x="52" y="203"/>
                </a:cubicBezTo>
                <a:cubicBezTo>
                  <a:pt x="51" y="203"/>
                  <a:pt x="51" y="203"/>
                  <a:pt x="51" y="203"/>
                </a:cubicBezTo>
                <a:cubicBezTo>
                  <a:pt x="53" y="202"/>
                  <a:pt x="53" y="202"/>
                  <a:pt x="53" y="202"/>
                </a:cubicBezTo>
                <a:cubicBezTo>
                  <a:pt x="53" y="202"/>
                  <a:pt x="53" y="202"/>
                  <a:pt x="53" y="202"/>
                </a:cubicBezTo>
                <a:cubicBezTo>
                  <a:pt x="53" y="202"/>
                  <a:pt x="53" y="202"/>
                  <a:pt x="53" y="201"/>
                </a:cubicBezTo>
                <a:cubicBezTo>
                  <a:pt x="54" y="199"/>
                  <a:pt x="54" y="197"/>
                  <a:pt x="53" y="196"/>
                </a:cubicBezTo>
                <a:cubicBezTo>
                  <a:pt x="53" y="196"/>
                  <a:pt x="53" y="195"/>
                  <a:pt x="53" y="195"/>
                </a:cubicBezTo>
                <a:cubicBezTo>
                  <a:pt x="53" y="195"/>
                  <a:pt x="53" y="195"/>
                  <a:pt x="53" y="195"/>
                </a:cubicBezTo>
                <a:cubicBezTo>
                  <a:pt x="52" y="194"/>
                  <a:pt x="52" y="193"/>
                  <a:pt x="52" y="192"/>
                </a:cubicBezTo>
                <a:cubicBezTo>
                  <a:pt x="52" y="192"/>
                  <a:pt x="52" y="192"/>
                  <a:pt x="53" y="191"/>
                </a:cubicBezTo>
                <a:cubicBezTo>
                  <a:pt x="51" y="190"/>
                  <a:pt x="51" y="190"/>
                  <a:pt x="51" y="190"/>
                </a:cubicBezTo>
                <a:cubicBezTo>
                  <a:pt x="53" y="191"/>
                  <a:pt x="53" y="191"/>
                  <a:pt x="53" y="191"/>
                </a:cubicBezTo>
                <a:cubicBezTo>
                  <a:pt x="53" y="191"/>
                  <a:pt x="53" y="191"/>
                  <a:pt x="53" y="191"/>
                </a:cubicBezTo>
                <a:cubicBezTo>
                  <a:pt x="54" y="191"/>
                  <a:pt x="54" y="190"/>
                  <a:pt x="54" y="190"/>
                </a:cubicBezTo>
                <a:cubicBezTo>
                  <a:pt x="54" y="190"/>
                  <a:pt x="54" y="190"/>
                  <a:pt x="54" y="190"/>
                </a:cubicBezTo>
                <a:cubicBezTo>
                  <a:pt x="54" y="189"/>
                  <a:pt x="54" y="189"/>
                  <a:pt x="55" y="188"/>
                </a:cubicBezTo>
                <a:cubicBezTo>
                  <a:pt x="55" y="187"/>
                  <a:pt x="55" y="187"/>
                  <a:pt x="55" y="187"/>
                </a:cubicBezTo>
                <a:cubicBezTo>
                  <a:pt x="55" y="187"/>
                  <a:pt x="55" y="187"/>
                  <a:pt x="55" y="186"/>
                </a:cubicBezTo>
                <a:cubicBezTo>
                  <a:pt x="57" y="182"/>
                  <a:pt x="57" y="182"/>
                  <a:pt x="57" y="182"/>
                </a:cubicBezTo>
                <a:cubicBezTo>
                  <a:pt x="57" y="181"/>
                  <a:pt x="58" y="180"/>
                  <a:pt x="59" y="180"/>
                </a:cubicBezTo>
                <a:cubicBezTo>
                  <a:pt x="59" y="180"/>
                  <a:pt x="59" y="179"/>
                  <a:pt x="59" y="179"/>
                </a:cubicBezTo>
                <a:cubicBezTo>
                  <a:pt x="59" y="178"/>
                  <a:pt x="59" y="178"/>
                  <a:pt x="59" y="177"/>
                </a:cubicBezTo>
                <a:cubicBezTo>
                  <a:pt x="60" y="172"/>
                  <a:pt x="60" y="172"/>
                  <a:pt x="60" y="172"/>
                </a:cubicBezTo>
                <a:cubicBezTo>
                  <a:pt x="60" y="172"/>
                  <a:pt x="60" y="172"/>
                  <a:pt x="59" y="172"/>
                </a:cubicBezTo>
                <a:cubicBezTo>
                  <a:pt x="59" y="172"/>
                  <a:pt x="59" y="172"/>
                  <a:pt x="59" y="172"/>
                </a:cubicBezTo>
                <a:cubicBezTo>
                  <a:pt x="58" y="171"/>
                  <a:pt x="57" y="170"/>
                  <a:pt x="57" y="169"/>
                </a:cubicBezTo>
                <a:cubicBezTo>
                  <a:pt x="57" y="169"/>
                  <a:pt x="57" y="169"/>
                  <a:pt x="57" y="168"/>
                </a:cubicBezTo>
                <a:cubicBezTo>
                  <a:pt x="57" y="168"/>
                  <a:pt x="57" y="167"/>
                  <a:pt x="57" y="166"/>
                </a:cubicBezTo>
                <a:cubicBezTo>
                  <a:pt x="57" y="165"/>
                  <a:pt x="57" y="165"/>
                  <a:pt x="57" y="165"/>
                </a:cubicBezTo>
                <a:cubicBezTo>
                  <a:pt x="57" y="164"/>
                  <a:pt x="57" y="164"/>
                  <a:pt x="57" y="164"/>
                </a:cubicBezTo>
                <a:cubicBezTo>
                  <a:pt x="56" y="163"/>
                  <a:pt x="56" y="162"/>
                  <a:pt x="56" y="161"/>
                </a:cubicBezTo>
                <a:cubicBezTo>
                  <a:pt x="54" y="162"/>
                  <a:pt x="54" y="162"/>
                  <a:pt x="54" y="162"/>
                </a:cubicBezTo>
                <a:cubicBezTo>
                  <a:pt x="56" y="160"/>
                  <a:pt x="56" y="160"/>
                  <a:pt x="56" y="160"/>
                </a:cubicBezTo>
                <a:cubicBezTo>
                  <a:pt x="55" y="160"/>
                  <a:pt x="55" y="160"/>
                  <a:pt x="55" y="160"/>
                </a:cubicBezTo>
                <a:cubicBezTo>
                  <a:pt x="55" y="160"/>
                  <a:pt x="55" y="160"/>
                  <a:pt x="55" y="160"/>
                </a:cubicBezTo>
                <a:cubicBezTo>
                  <a:pt x="55" y="160"/>
                  <a:pt x="55" y="160"/>
                  <a:pt x="55" y="160"/>
                </a:cubicBezTo>
                <a:cubicBezTo>
                  <a:pt x="55" y="159"/>
                  <a:pt x="54" y="158"/>
                  <a:pt x="54" y="157"/>
                </a:cubicBezTo>
                <a:cubicBezTo>
                  <a:pt x="54" y="156"/>
                  <a:pt x="54" y="156"/>
                  <a:pt x="54" y="156"/>
                </a:cubicBezTo>
                <a:cubicBezTo>
                  <a:pt x="54" y="155"/>
                  <a:pt x="55" y="155"/>
                  <a:pt x="55" y="155"/>
                </a:cubicBezTo>
                <a:cubicBezTo>
                  <a:pt x="55" y="155"/>
                  <a:pt x="55" y="155"/>
                  <a:pt x="55" y="155"/>
                </a:cubicBezTo>
                <a:cubicBezTo>
                  <a:pt x="55" y="154"/>
                  <a:pt x="55" y="154"/>
                  <a:pt x="55" y="154"/>
                </a:cubicBezTo>
                <a:cubicBezTo>
                  <a:pt x="54" y="153"/>
                  <a:pt x="54" y="152"/>
                  <a:pt x="53" y="151"/>
                </a:cubicBezTo>
                <a:cubicBezTo>
                  <a:pt x="53" y="151"/>
                  <a:pt x="53" y="151"/>
                  <a:pt x="53" y="151"/>
                </a:cubicBezTo>
                <a:cubicBezTo>
                  <a:pt x="52" y="149"/>
                  <a:pt x="52" y="147"/>
                  <a:pt x="53" y="145"/>
                </a:cubicBezTo>
                <a:cubicBezTo>
                  <a:pt x="53" y="145"/>
                  <a:pt x="53" y="145"/>
                  <a:pt x="54" y="144"/>
                </a:cubicBezTo>
                <a:cubicBezTo>
                  <a:pt x="54" y="144"/>
                  <a:pt x="54" y="144"/>
                  <a:pt x="54" y="144"/>
                </a:cubicBezTo>
                <a:cubicBezTo>
                  <a:pt x="55" y="144"/>
                  <a:pt x="55" y="144"/>
                  <a:pt x="55" y="144"/>
                </a:cubicBezTo>
                <a:cubicBezTo>
                  <a:pt x="55" y="144"/>
                  <a:pt x="55" y="144"/>
                  <a:pt x="55" y="144"/>
                </a:cubicBezTo>
                <a:cubicBezTo>
                  <a:pt x="55" y="143"/>
                  <a:pt x="55" y="143"/>
                  <a:pt x="55" y="143"/>
                </a:cubicBezTo>
                <a:cubicBezTo>
                  <a:pt x="55" y="142"/>
                  <a:pt x="55" y="141"/>
                  <a:pt x="56" y="139"/>
                </a:cubicBezTo>
                <a:cubicBezTo>
                  <a:pt x="56" y="139"/>
                  <a:pt x="56" y="139"/>
                  <a:pt x="56" y="139"/>
                </a:cubicBezTo>
                <a:cubicBezTo>
                  <a:pt x="56" y="138"/>
                  <a:pt x="56" y="138"/>
                  <a:pt x="56" y="138"/>
                </a:cubicBezTo>
                <a:cubicBezTo>
                  <a:pt x="56" y="137"/>
                  <a:pt x="57" y="136"/>
                  <a:pt x="58" y="135"/>
                </a:cubicBezTo>
                <a:cubicBezTo>
                  <a:pt x="58" y="135"/>
                  <a:pt x="58" y="135"/>
                  <a:pt x="58" y="135"/>
                </a:cubicBezTo>
                <a:cubicBezTo>
                  <a:pt x="58" y="134"/>
                  <a:pt x="58" y="134"/>
                  <a:pt x="58" y="134"/>
                </a:cubicBezTo>
                <a:cubicBezTo>
                  <a:pt x="58" y="134"/>
                  <a:pt x="58" y="134"/>
                  <a:pt x="58" y="133"/>
                </a:cubicBezTo>
                <a:cubicBezTo>
                  <a:pt x="58" y="133"/>
                  <a:pt x="58" y="132"/>
                  <a:pt x="58" y="132"/>
                </a:cubicBezTo>
                <a:cubicBezTo>
                  <a:pt x="58" y="131"/>
                  <a:pt x="58" y="131"/>
                  <a:pt x="58" y="131"/>
                </a:cubicBezTo>
                <a:cubicBezTo>
                  <a:pt x="58" y="131"/>
                  <a:pt x="58" y="131"/>
                  <a:pt x="58" y="131"/>
                </a:cubicBezTo>
                <a:cubicBezTo>
                  <a:pt x="56" y="131"/>
                  <a:pt x="56" y="131"/>
                  <a:pt x="56" y="131"/>
                </a:cubicBezTo>
                <a:cubicBezTo>
                  <a:pt x="58" y="130"/>
                  <a:pt x="58" y="130"/>
                  <a:pt x="58" y="130"/>
                </a:cubicBezTo>
                <a:cubicBezTo>
                  <a:pt x="58" y="130"/>
                  <a:pt x="58" y="130"/>
                  <a:pt x="58" y="130"/>
                </a:cubicBezTo>
                <a:cubicBezTo>
                  <a:pt x="59" y="130"/>
                  <a:pt x="58" y="129"/>
                  <a:pt x="58" y="128"/>
                </a:cubicBezTo>
                <a:cubicBezTo>
                  <a:pt x="58" y="128"/>
                  <a:pt x="58" y="127"/>
                  <a:pt x="58" y="126"/>
                </a:cubicBezTo>
                <a:cubicBezTo>
                  <a:pt x="58" y="125"/>
                  <a:pt x="58" y="125"/>
                  <a:pt x="58" y="124"/>
                </a:cubicBezTo>
                <a:cubicBezTo>
                  <a:pt x="58" y="124"/>
                  <a:pt x="58" y="124"/>
                  <a:pt x="58" y="123"/>
                </a:cubicBezTo>
                <a:cubicBezTo>
                  <a:pt x="59" y="122"/>
                  <a:pt x="60" y="120"/>
                  <a:pt x="61" y="117"/>
                </a:cubicBezTo>
                <a:cubicBezTo>
                  <a:pt x="61" y="117"/>
                  <a:pt x="61" y="116"/>
                  <a:pt x="61" y="116"/>
                </a:cubicBezTo>
                <a:cubicBezTo>
                  <a:pt x="61" y="116"/>
                  <a:pt x="61" y="115"/>
                  <a:pt x="61" y="115"/>
                </a:cubicBezTo>
                <a:cubicBezTo>
                  <a:pt x="62" y="113"/>
                  <a:pt x="63" y="112"/>
                  <a:pt x="64" y="111"/>
                </a:cubicBezTo>
                <a:cubicBezTo>
                  <a:pt x="65" y="110"/>
                  <a:pt x="66" y="109"/>
                  <a:pt x="66" y="109"/>
                </a:cubicBezTo>
                <a:cubicBezTo>
                  <a:pt x="66" y="108"/>
                  <a:pt x="66" y="108"/>
                  <a:pt x="66" y="108"/>
                </a:cubicBezTo>
                <a:cubicBezTo>
                  <a:pt x="67" y="107"/>
                  <a:pt x="68" y="105"/>
                  <a:pt x="69" y="104"/>
                </a:cubicBezTo>
                <a:cubicBezTo>
                  <a:pt x="69" y="103"/>
                  <a:pt x="69" y="102"/>
                  <a:pt x="70" y="101"/>
                </a:cubicBezTo>
                <a:cubicBezTo>
                  <a:pt x="71" y="100"/>
                  <a:pt x="72" y="100"/>
                  <a:pt x="72" y="100"/>
                </a:cubicBezTo>
                <a:cubicBezTo>
                  <a:pt x="73" y="100"/>
                  <a:pt x="73" y="100"/>
                  <a:pt x="73" y="100"/>
                </a:cubicBezTo>
                <a:cubicBezTo>
                  <a:pt x="73" y="100"/>
                  <a:pt x="73" y="100"/>
                  <a:pt x="73" y="100"/>
                </a:cubicBezTo>
                <a:cubicBezTo>
                  <a:pt x="73" y="100"/>
                  <a:pt x="73" y="100"/>
                  <a:pt x="73" y="100"/>
                </a:cubicBezTo>
                <a:cubicBezTo>
                  <a:pt x="73" y="100"/>
                  <a:pt x="74" y="100"/>
                  <a:pt x="74" y="100"/>
                </a:cubicBezTo>
                <a:cubicBezTo>
                  <a:pt x="74" y="99"/>
                  <a:pt x="74" y="99"/>
                  <a:pt x="74" y="99"/>
                </a:cubicBezTo>
                <a:cubicBezTo>
                  <a:pt x="75" y="99"/>
                  <a:pt x="75" y="99"/>
                  <a:pt x="75" y="99"/>
                </a:cubicBezTo>
                <a:cubicBezTo>
                  <a:pt x="75" y="99"/>
                  <a:pt x="75" y="99"/>
                  <a:pt x="75" y="99"/>
                </a:cubicBezTo>
                <a:cubicBezTo>
                  <a:pt x="75" y="99"/>
                  <a:pt x="75" y="99"/>
                  <a:pt x="75" y="99"/>
                </a:cubicBezTo>
                <a:cubicBezTo>
                  <a:pt x="75" y="99"/>
                  <a:pt x="75" y="99"/>
                  <a:pt x="75" y="99"/>
                </a:cubicBezTo>
                <a:cubicBezTo>
                  <a:pt x="75" y="98"/>
                  <a:pt x="74" y="98"/>
                  <a:pt x="74" y="97"/>
                </a:cubicBezTo>
                <a:cubicBezTo>
                  <a:pt x="73" y="97"/>
                  <a:pt x="72" y="96"/>
                  <a:pt x="72" y="95"/>
                </a:cubicBezTo>
                <a:cubicBezTo>
                  <a:pt x="72" y="94"/>
                  <a:pt x="72" y="93"/>
                  <a:pt x="72" y="93"/>
                </a:cubicBezTo>
                <a:cubicBezTo>
                  <a:pt x="72" y="93"/>
                  <a:pt x="72" y="93"/>
                  <a:pt x="72" y="93"/>
                </a:cubicBezTo>
                <a:cubicBezTo>
                  <a:pt x="72" y="91"/>
                  <a:pt x="72" y="89"/>
                  <a:pt x="72" y="87"/>
                </a:cubicBezTo>
                <a:cubicBezTo>
                  <a:pt x="72" y="81"/>
                  <a:pt x="72" y="81"/>
                  <a:pt x="72" y="81"/>
                </a:cubicBezTo>
                <a:cubicBezTo>
                  <a:pt x="73" y="80"/>
                  <a:pt x="73" y="79"/>
                  <a:pt x="74" y="79"/>
                </a:cubicBezTo>
                <a:cubicBezTo>
                  <a:pt x="73" y="78"/>
                  <a:pt x="72" y="76"/>
                  <a:pt x="72" y="75"/>
                </a:cubicBezTo>
                <a:cubicBezTo>
                  <a:pt x="72" y="75"/>
                  <a:pt x="73" y="73"/>
                  <a:pt x="74" y="73"/>
                </a:cubicBezTo>
                <a:cubicBezTo>
                  <a:pt x="74" y="72"/>
                  <a:pt x="74" y="72"/>
                  <a:pt x="75" y="72"/>
                </a:cubicBezTo>
                <a:cubicBezTo>
                  <a:pt x="76" y="71"/>
                  <a:pt x="77" y="70"/>
                  <a:pt x="78" y="69"/>
                </a:cubicBezTo>
                <a:cubicBezTo>
                  <a:pt x="83" y="67"/>
                  <a:pt x="83" y="67"/>
                  <a:pt x="83" y="67"/>
                </a:cubicBezTo>
                <a:cubicBezTo>
                  <a:pt x="84" y="67"/>
                  <a:pt x="84" y="67"/>
                  <a:pt x="85" y="67"/>
                </a:cubicBezTo>
                <a:cubicBezTo>
                  <a:pt x="85" y="67"/>
                  <a:pt x="85" y="66"/>
                  <a:pt x="85" y="66"/>
                </a:cubicBezTo>
                <a:cubicBezTo>
                  <a:pt x="86" y="66"/>
                  <a:pt x="86" y="64"/>
                  <a:pt x="86" y="63"/>
                </a:cubicBezTo>
                <a:cubicBezTo>
                  <a:pt x="86" y="63"/>
                  <a:pt x="86" y="63"/>
                  <a:pt x="86" y="63"/>
                </a:cubicBezTo>
                <a:cubicBezTo>
                  <a:pt x="86" y="62"/>
                  <a:pt x="86" y="62"/>
                  <a:pt x="87" y="61"/>
                </a:cubicBezTo>
                <a:cubicBezTo>
                  <a:pt x="87" y="61"/>
                  <a:pt x="87" y="61"/>
                  <a:pt x="87" y="60"/>
                </a:cubicBezTo>
                <a:cubicBezTo>
                  <a:pt x="87" y="59"/>
                  <a:pt x="88" y="58"/>
                  <a:pt x="88" y="57"/>
                </a:cubicBezTo>
                <a:cubicBezTo>
                  <a:pt x="88" y="57"/>
                  <a:pt x="88" y="57"/>
                  <a:pt x="88" y="57"/>
                </a:cubicBezTo>
                <a:cubicBezTo>
                  <a:pt x="88" y="56"/>
                  <a:pt x="88" y="56"/>
                  <a:pt x="88" y="56"/>
                </a:cubicBezTo>
                <a:cubicBezTo>
                  <a:pt x="88" y="56"/>
                  <a:pt x="88" y="56"/>
                  <a:pt x="87" y="56"/>
                </a:cubicBezTo>
                <a:cubicBezTo>
                  <a:pt x="87" y="56"/>
                  <a:pt x="87" y="56"/>
                  <a:pt x="87" y="56"/>
                </a:cubicBezTo>
                <a:cubicBezTo>
                  <a:pt x="87" y="56"/>
                  <a:pt x="87" y="56"/>
                  <a:pt x="87" y="56"/>
                </a:cubicBezTo>
                <a:cubicBezTo>
                  <a:pt x="82" y="56"/>
                  <a:pt x="82" y="56"/>
                  <a:pt x="82" y="56"/>
                </a:cubicBezTo>
                <a:cubicBezTo>
                  <a:pt x="82" y="56"/>
                  <a:pt x="82" y="56"/>
                  <a:pt x="82" y="56"/>
                </a:cubicBezTo>
                <a:cubicBezTo>
                  <a:pt x="81" y="56"/>
                  <a:pt x="80" y="56"/>
                  <a:pt x="80" y="55"/>
                </a:cubicBezTo>
                <a:cubicBezTo>
                  <a:pt x="80" y="55"/>
                  <a:pt x="80" y="55"/>
                  <a:pt x="80" y="55"/>
                </a:cubicBezTo>
                <a:cubicBezTo>
                  <a:pt x="80" y="55"/>
                  <a:pt x="79" y="54"/>
                  <a:pt x="79" y="54"/>
                </a:cubicBezTo>
                <a:cubicBezTo>
                  <a:pt x="79" y="54"/>
                  <a:pt x="79" y="53"/>
                  <a:pt x="79" y="53"/>
                </a:cubicBezTo>
                <a:cubicBezTo>
                  <a:pt x="79" y="53"/>
                  <a:pt x="80" y="52"/>
                  <a:pt x="80" y="52"/>
                </a:cubicBezTo>
                <a:cubicBezTo>
                  <a:pt x="80" y="52"/>
                  <a:pt x="79" y="51"/>
                  <a:pt x="79" y="51"/>
                </a:cubicBezTo>
                <a:cubicBezTo>
                  <a:pt x="79" y="50"/>
                  <a:pt x="79" y="50"/>
                  <a:pt x="79" y="50"/>
                </a:cubicBezTo>
                <a:cubicBezTo>
                  <a:pt x="79" y="50"/>
                  <a:pt x="79" y="50"/>
                  <a:pt x="79" y="49"/>
                </a:cubicBezTo>
                <a:cubicBezTo>
                  <a:pt x="79" y="49"/>
                  <a:pt x="79" y="49"/>
                  <a:pt x="79" y="49"/>
                </a:cubicBezTo>
                <a:cubicBezTo>
                  <a:pt x="79" y="49"/>
                  <a:pt x="79" y="49"/>
                  <a:pt x="79" y="49"/>
                </a:cubicBezTo>
                <a:cubicBezTo>
                  <a:pt x="79" y="49"/>
                  <a:pt x="79" y="48"/>
                  <a:pt x="79" y="48"/>
                </a:cubicBezTo>
                <a:cubicBezTo>
                  <a:pt x="79" y="48"/>
                  <a:pt x="79" y="48"/>
                  <a:pt x="78" y="47"/>
                </a:cubicBezTo>
                <a:cubicBezTo>
                  <a:pt x="78" y="47"/>
                  <a:pt x="78" y="47"/>
                  <a:pt x="78" y="47"/>
                </a:cubicBezTo>
                <a:cubicBezTo>
                  <a:pt x="78" y="47"/>
                  <a:pt x="78" y="47"/>
                  <a:pt x="78" y="46"/>
                </a:cubicBezTo>
                <a:cubicBezTo>
                  <a:pt x="77" y="45"/>
                  <a:pt x="77" y="45"/>
                  <a:pt x="77" y="44"/>
                </a:cubicBezTo>
                <a:cubicBezTo>
                  <a:pt x="77" y="43"/>
                  <a:pt x="77" y="43"/>
                  <a:pt x="77" y="43"/>
                </a:cubicBezTo>
                <a:cubicBezTo>
                  <a:pt x="77" y="42"/>
                  <a:pt x="77" y="42"/>
                  <a:pt x="77" y="42"/>
                </a:cubicBezTo>
                <a:cubicBezTo>
                  <a:pt x="77" y="40"/>
                  <a:pt x="77" y="39"/>
                  <a:pt x="76" y="38"/>
                </a:cubicBezTo>
                <a:cubicBezTo>
                  <a:pt x="76" y="38"/>
                  <a:pt x="76" y="38"/>
                  <a:pt x="76" y="38"/>
                </a:cubicBezTo>
                <a:cubicBezTo>
                  <a:pt x="76" y="37"/>
                  <a:pt x="75" y="37"/>
                  <a:pt x="75" y="37"/>
                </a:cubicBezTo>
                <a:cubicBezTo>
                  <a:pt x="75" y="36"/>
                  <a:pt x="75" y="36"/>
                  <a:pt x="75" y="36"/>
                </a:cubicBezTo>
                <a:cubicBezTo>
                  <a:pt x="75" y="36"/>
                  <a:pt x="75" y="36"/>
                  <a:pt x="75" y="36"/>
                </a:cubicBezTo>
                <a:cubicBezTo>
                  <a:pt x="74" y="36"/>
                  <a:pt x="74" y="36"/>
                  <a:pt x="74" y="36"/>
                </a:cubicBezTo>
                <a:cubicBezTo>
                  <a:pt x="74" y="35"/>
                  <a:pt x="74" y="35"/>
                  <a:pt x="74" y="35"/>
                </a:cubicBezTo>
                <a:cubicBezTo>
                  <a:pt x="73" y="35"/>
                  <a:pt x="73" y="34"/>
                  <a:pt x="73" y="32"/>
                </a:cubicBezTo>
                <a:cubicBezTo>
                  <a:pt x="73" y="32"/>
                  <a:pt x="73" y="32"/>
                  <a:pt x="73" y="32"/>
                </a:cubicBezTo>
                <a:cubicBezTo>
                  <a:pt x="73" y="32"/>
                  <a:pt x="73" y="32"/>
                  <a:pt x="73" y="32"/>
                </a:cubicBezTo>
                <a:cubicBezTo>
                  <a:pt x="73" y="32"/>
                  <a:pt x="73" y="32"/>
                  <a:pt x="73" y="32"/>
                </a:cubicBezTo>
                <a:cubicBezTo>
                  <a:pt x="73" y="31"/>
                  <a:pt x="73" y="31"/>
                  <a:pt x="72" y="31"/>
                </a:cubicBezTo>
                <a:cubicBezTo>
                  <a:pt x="70" y="29"/>
                  <a:pt x="70" y="28"/>
                  <a:pt x="70" y="26"/>
                </a:cubicBezTo>
                <a:cubicBezTo>
                  <a:pt x="70" y="25"/>
                  <a:pt x="70" y="25"/>
                  <a:pt x="70" y="25"/>
                </a:cubicBezTo>
                <a:cubicBezTo>
                  <a:pt x="70" y="25"/>
                  <a:pt x="70" y="25"/>
                  <a:pt x="71" y="24"/>
                </a:cubicBezTo>
                <a:cubicBezTo>
                  <a:pt x="71" y="24"/>
                  <a:pt x="71" y="24"/>
                  <a:pt x="72" y="24"/>
                </a:cubicBezTo>
                <a:cubicBezTo>
                  <a:pt x="72" y="24"/>
                  <a:pt x="72" y="24"/>
                  <a:pt x="72" y="24"/>
                </a:cubicBezTo>
                <a:cubicBezTo>
                  <a:pt x="72" y="23"/>
                  <a:pt x="72" y="23"/>
                  <a:pt x="72" y="23"/>
                </a:cubicBezTo>
                <a:cubicBezTo>
                  <a:pt x="72" y="23"/>
                  <a:pt x="72" y="23"/>
                  <a:pt x="72" y="23"/>
                </a:cubicBezTo>
                <a:cubicBezTo>
                  <a:pt x="72" y="23"/>
                  <a:pt x="72" y="23"/>
                  <a:pt x="72" y="23"/>
                </a:cubicBezTo>
                <a:cubicBezTo>
                  <a:pt x="72" y="23"/>
                  <a:pt x="72" y="23"/>
                  <a:pt x="72" y="23"/>
                </a:cubicBezTo>
                <a:cubicBezTo>
                  <a:pt x="71" y="22"/>
                  <a:pt x="71" y="21"/>
                  <a:pt x="72" y="20"/>
                </a:cubicBezTo>
                <a:cubicBezTo>
                  <a:pt x="72" y="20"/>
                  <a:pt x="72" y="19"/>
                  <a:pt x="73" y="18"/>
                </a:cubicBezTo>
                <a:cubicBezTo>
                  <a:pt x="72" y="18"/>
                  <a:pt x="72" y="17"/>
                  <a:pt x="71" y="17"/>
                </a:cubicBezTo>
                <a:cubicBezTo>
                  <a:pt x="71" y="17"/>
                  <a:pt x="71" y="17"/>
                  <a:pt x="71" y="17"/>
                </a:cubicBezTo>
                <a:cubicBezTo>
                  <a:pt x="71" y="16"/>
                  <a:pt x="70" y="16"/>
                  <a:pt x="70" y="15"/>
                </a:cubicBezTo>
                <a:cubicBezTo>
                  <a:pt x="68" y="13"/>
                  <a:pt x="68" y="12"/>
                  <a:pt x="68" y="9"/>
                </a:cubicBezTo>
                <a:cubicBezTo>
                  <a:pt x="68" y="9"/>
                  <a:pt x="68" y="9"/>
                  <a:pt x="68" y="8"/>
                </a:cubicBezTo>
                <a:cubicBezTo>
                  <a:pt x="68" y="8"/>
                  <a:pt x="68" y="8"/>
                  <a:pt x="68" y="8"/>
                </a:cubicBezTo>
                <a:cubicBezTo>
                  <a:pt x="68" y="7"/>
                  <a:pt x="68" y="6"/>
                  <a:pt x="67" y="5"/>
                </a:cubicBezTo>
                <a:cubicBezTo>
                  <a:pt x="67" y="5"/>
                  <a:pt x="67" y="5"/>
                  <a:pt x="67" y="5"/>
                </a:cubicBezTo>
                <a:cubicBezTo>
                  <a:pt x="67" y="5"/>
                  <a:pt x="67" y="5"/>
                  <a:pt x="67" y="5"/>
                </a:cubicBezTo>
                <a:cubicBezTo>
                  <a:pt x="66" y="4"/>
                  <a:pt x="66" y="4"/>
                  <a:pt x="66" y="4"/>
                </a:cubicBezTo>
                <a:cubicBezTo>
                  <a:pt x="65" y="4"/>
                  <a:pt x="65" y="3"/>
                  <a:pt x="64" y="2"/>
                </a:cubicBezTo>
                <a:cubicBezTo>
                  <a:pt x="64" y="1"/>
                  <a:pt x="64" y="1"/>
                  <a:pt x="64" y="1"/>
                </a:cubicBezTo>
                <a:cubicBezTo>
                  <a:pt x="64" y="0"/>
                  <a:pt x="64" y="0"/>
                  <a:pt x="64" y="0"/>
                </a:cubicBezTo>
                <a:cubicBezTo>
                  <a:pt x="64" y="0"/>
                  <a:pt x="63" y="0"/>
                  <a:pt x="63" y="0"/>
                </a:cubicBezTo>
                <a:cubicBezTo>
                  <a:pt x="63" y="0"/>
                  <a:pt x="63" y="0"/>
                  <a:pt x="63" y="0"/>
                </a:cubicBezTo>
                <a:cubicBezTo>
                  <a:pt x="63" y="0"/>
                  <a:pt x="63" y="0"/>
                  <a:pt x="63" y="0"/>
                </a:cubicBezTo>
                <a:cubicBezTo>
                  <a:pt x="63" y="0"/>
                  <a:pt x="62" y="0"/>
                  <a:pt x="62" y="0"/>
                </a:cubicBezTo>
                <a:cubicBezTo>
                  <a:pt x="62" y="0"/>
                  <a:pt x="62" y="0"/>
                  <a:pt x="62" y="0"/>
                </a:cubicBezTo>
                <a:cubicBezTo>
                  <a:pt x="62" y="1"/>
                  <a:pt x="62" y="3"/>
                  <a:pt x="62" y="4"/>
                </a:cubicBezTo>
                <a:cubicBezTo>
                  <a:pt x="61" y="6"/>
                  <a:pt x="61" y="6"/>
                  <a:pt x="60" y="6"/>
                </a:cubicBezTo>
                <a:cubicBezTo>
                  <a:pt x="55" y="8"/>
                  <a:pt x="55" y="8"/>
                  <a:pt x="55" y="8"/>
                </a:cubicBezTo>
                <a:cubicBezTo>
                  <a:pt x="55" y="8"/>
                  <a:pt x="55" y="8"/>
                  <a:pt x="55" y="9"/>
                </a:cubicBezTo>
                <a:cubicBezTo>
                  <a:pt x="55" y="11"/>
                  <a:pt x="56" y="12"/>
                  <a:pt x="56" y="14"/>
                </a:cubicBezTo>
                <a:cubicBezTo>
                  <a:pt x="57" y="21"/>
                  <a:pt x="57" y="27"/>
                  <a:pt x="58" y="34"/>
                </a:cubicBezTo>
                <a:cubicBezTo>
                  <a:pt x="58" y="36"/>
                  <a:pt x="59" y="38"/>
                  <a:pt x="58" y="40"/>
                </a:cubicBezTo>
                <a:cubicBezTo>
                  <a:pt x="58" y="44"/>
                  <a:pt x="57" y="47"/>
                  <a:pt x="56" y="51"/>
                </a:cubicBezTo>
                <a:cubicBezTo>
                  <a:pt x="56" y="54"/>
                  <a:pt x="57" y="57"/>
                  <a:pt x="53" y="57"/>
                </a:cubicBezTo>
                <a:cubicBezTo>
                  <a:pt x="53" y="59"/>
                  <a:pt x="53" y="60"/>
                  <a:pt x="53" y="62"/>
                </a:cubicBezTo>
                <a:cubicBezTo>
                  <a:pt x="53" y="62"/>
                  <a:pt x="54" y="62"/>
                  <a:pt x="54" y="61"/>
                </a:cubicBezTo>
                <a:cubicBezTo>
                  <a:pt x="54" y="65"/>
                  <a:pt x="53" y="69"/>
                  <a:pt x="53" y="73"/>
                </a:cubicBezTo>
                <a:cubicBezTo>
                  <a:pt x="53" y="74"/>
                  <a:pt x="53" y="75"/>
                  <a:pt x="53" y="76"/>
                </a:cubicBezTo>
                <a:cubicBezTo>
                  <a:pt x="54" y="78"/>
                  <a:pt x="55" y="80"/>
                  <a:pt x="54" y="81"/>
                </a:cubicBezTo>
                <a:cubicBezTo>
                  <a:pt x="54" y="82"/>
                  <a:pt x="54" y="83"/>
                  <a:pt x="53" y="84"/>
                </a:cubicBezTo>
                <a:cubicBezTo>
                  <a:pt x="53" y="85"/>
                  <a:pt x="52" y="86"/>
                  <a:pt x="52" y="87"/>
                </a:cubicBezTo>
                <a:cubicBezTo>
                  <a:pt x="52" y="88"/>
                  <a:pt x="53" y="89"/>
                  <a:pt x="52" y="90"/>
                </a:cubicBezTo>
                <a:cubicBezTo>
                  <a:pt x="52" y="93"/>
                  <a:pt x="52" y="96"/>
                  <a:pt x="50" y="99"/>
                </a:cubicBezTo>
                <a:cubicBezTo>
                  <a:pt x="49" y="102"/>
                  <a:pt x="49" y="102"/>
                  <a:pt x="49" y="105"/>
                </a:cubicBezTo>
                <a:cubicBezTo>
                  <a:pt x="50" y="106"/>
                  <a:pt x="50" y="107"/>
                  <a:pt x="49" y="108"/>
                </a:cubicBezTo>
                <a:cubicBezTo>
                  <a:pt x="48" y="109"/>
                  <a:pt x="47" y="110"/>
                  <a:pt x="47" y="111"/>
                </a:cubicBezTo>
                <a:cubicBezTo>
                  <a:pt x="47" y="114"/>
                  <a:pt x="47" y="116"/>
                  <a:pt x="46" y="118"/>
                </a:cubicBezTo>
                <a:cubicBezTo>
                  <a:pt x="45" y="120"/>
                  <a:pt x="43" y="120"/>
                  <a:pt x="44" y="122"/>
                </a:cubicBezTo>
                <a:cubicBezTo>
                  <a:pt x="44" y="124"/>
                  <a:pt x="44" y="125"/>
                  <a:pt x="45" y="126"/>
                </a:cubicBezTo>
                <a:cubicBezTo>
                  <a:pt x="46" y="127"/>
                  <a:pt x="46" y="128"/>
                  <a:pt x="46" y="128"/>
                </a:cubicBezTo>
                <a:cubicBezTo>
                  <a:pt x="46" y="130"/>
                  <a:pt x="46" y="131"/>
                  <a:pt x="46" y="132"/>
                </a:cubicBezTo>
                <a:cubicBezTo>
                  <a:pt x="46" y="133"/>
                  <a:pt x="45" y="133"/>
                  <a:pt x="45" y="133"/>
                </a:cubicBezTo>
                <a:cubicBezTo>
                  <a:pt x="45" y="134"/>
                  <a:pt x="45" y="136"/>
                  <a:pt x="44" y="135"/>
                </a:cubicBezTo>
                <a:cubicBezTo>
                  <a:pt x="44" y="136"/>
                  <a:pt x="44" y="136"/>
                  <a:pt x="43" y="136"/>
                </a:cubicBezTo>
                <a:cubicBezTo>
                  <a:pt x="42" y="137"/>
                  <a:pt x="42" y="137"/>
                  <a:pt x="42" y="139"/>
                </a:cubicBezTo>
                <a:cubicBezTo>
                  <a:pt x="42" y="141"/>
                  <a:pt x="42" y="143"/>
                  <a:pt x="42" y="145"/>
                </a:cubicBezTo>
                <a:cubicBezTo>
                  <a:pt x="42" y="148"/>
                  <a:pt x="43" y="151"/>
                  <a:pt x="43" y="153"/>
                </a:cubicBezTo>
                <a:cubicBezTo>
                  <a:pt x="43" y="155"/>
                  <a:pt x="43" y="157"/>
                  <a:pt x="43" y="158"/>
                </a:cubicBezTo>
                <a:cubicBezTo>
                  <a:pt x="43" y="159"/>
                  <a:pt x="45" y="160"/>
                  <a:pt x="44" y="160"/>
                </a:cubicBezTo>
                <a:cubicBezTo>
                  <a:pt x="44" y="162"/>
                  <a:pt x="44" y="163"/>
                  <a:pt x="44" y="164"/>
                </a:cubicBezTo>
                <a:cubicBezTo>
                  <a:pt x="43" y="165"/>
                  <a:pt x="41" y="167"/>
                  <a:pt x="41" y="168"/>
                </a:cubicBezTo>
                <a:cubicBezTo>
                  <a:pt x="41" y="169"/>
                  <a:pt x="42" y="170"/>
                  <a:pt x="42" y="172"/>
                </a:cubicBezTo>
                <a:cubicBezTo>
                  <a:pt x="42" y="174"/>
                  <a:pt x="42" y="175"/>
                  <a:pt x="41" y="177"/>
                </a:cubicBezTo>
                <a:cubicBezTo>
                  <a:pt x="39" y="179"/>
                  <a:pt x="39" y="183"/>
                  <a:pt x="38" y="186"/>
                </a:cubicBezTo>
                <a:cubicBezTo>
                  <a:pt x="37" y="188"/>
                  <a:pt x="36" y="190"/>
                  <a:pt x="35" y="192"/>
                </a:cubicBezTo>
                <a:cubicBezTo>
                  <a:pt x="34" y="194"/>
                  <a:pt x="33" y="196"/>
                  <a:pt x="32" y="197"/>
                </a:cubicBezTo>
                <a:cubicBezTo>
                  <a:pt x="32" y="198"/>
                  <a:pt x="33" y="199"/>
                  <a:pt x="32" y="200"/>
                </a:cubicBezTo>
                <a:cubicBezTo>
                  <a:pt x="32" y="200"/>
                  <a:pt x="31" y="201"/>
                  <a:pt x="30" y="202"/>
                </a:cubicBezTo>
                <a:cubicBezTo>
                  <a:pt x="30" y="204"/>
                  <a:pt x="30" y="206"/>
                  <a:pt x="29" y="207"/>
                </a:cubicBezTo>
                <a:cubicBezTo>
                  <a:pt x="28" y="210"/>
                  <a:pt x="29" y="209"/>
                  <a:pt x="26" y="211"/>
                </a:cubicBezTo>
                <a:cubicBezTo>
                  <a:pt x="27" y="211"/>
                  <a:pt x="26" y="213"/>
                  <a:pt x="26" y="214"/>
                </a:cubicBezTo>
                <a:cubicBezTo>
                  <a:pt x="26" y="215"/>
                  <a:pt x="27" y="215"/>
                  <a:pt x="25" y="215"/>
                </a:cubicBezTo>
                <a:cubicBezTo>
                  <a:pt x="25" y="215"/>
                  <a:pt x="24" y="216"/>
                  <a:pt x="23" y="216"/>
                </a:cubicBezTo>
                <a:cubicBezTo>
                  <a:pt x="23" y="215"/>
                  <a:pt x="22" y="215"/>
                  <a:pt x="22" y="215"/>
                </a:cubicBezTo>
                <a:cubicBezTo>
                  <a:pt x="21" y="216"/>
                  <a:pt x="22" y="217"/>
                  <a:pt x="22" y="218"/>
                </a:cubicBezTo>
                <a:cubicBezTo>
                  <a:pt x="22" y="220"/>
                  <a:pt x="21" y="221"/>
                  <a:pt x="22" y="223"/>
                </a:cubicBezTo>
                <a:cubicBezTo>
                  <a:pt x="24" y="225"/>
                  <a:pt x="23" y="228"/>
                  <a:pt x="23" y="231"/>
                </a:cubicBezTo>
                <a:cubicBezTo>
                  <a:pt x="23" y="234"/>
                  <a:pt x="25" y="237"/>
                  <a:pt x="25" y="241"/>
                </a:cubicBezTo>
                <a:cubicBezTo>
                  <a:pt x="26" y="243"/>
                  <a:pt x="25" y="246"/>
                  <a:pt x="24" y="248"/>
                </a:cubicBezTo>
                <a:cubicBezTo>
                  <a:pt x="24" y="246"/>
                  <a:pt x="22" y="248"/>
                  <a:pt x="22" y="248"/>
                </a:cubicBezTo>
                <a:cubicBezTo>
                  <a:pt x="21" y="250"/>
                  <a:pt x="21" y="251"/>
                  <a:pt x="20" y="253"/>
                </a:cubicBezTo>
                <a:cubicBezTo>
                  <a:pt x="20" y="255"/>
                  <a:pt x="19" y="258"/>
                  <a:pt x="18" y="260"/>
                </a:cubicBezTo>
                <a:cubicBezTo>
                  <a:pt x="18" y="262"/>
                  <a:pt x="19" y="264"/>
                  <a:pt x="19" y="266"/>
                </a:cubicBezTo>
                <a:cubicBezTo>
                  <a:pt x="20" y="267"/>
                  <a:pt x="20" y="268"/>
                  <a:pt x="21" y="268"/>
                </a:cubicBezTo>
                <a:cubicBezTo>
                  <a:pt x="21" y="269"/>
                  <a:pt x="23" y="269"/>
                  <a:pt x="23" y="268"/>
                </a:cubicBezTo>
                <a:cubicBezTo>
                  <a:pt x="22" y="269"/>
                  <a:pt x="21" y="268"/>
                  <a:pt x="21" y="270"/>
                </a:cubicBezTo>
                <a:cubicBezTo>
                  <a:pt x="22" y="270"/>
                  <a:pt x="23" y="271"/>
                  <a:pt x="24" y="271"/>
                </a:cubicBezTo>
                <a:cubicBezTo>
                  <a:pt x="24" y="270"/>
                  <a:pt x="26" y="271"/>
                  <a:pt x="27" y="270"/>
                </a:cubicBezTo>
                <a:cubicBezTo>
                  <a:pt x="28" y="269"/>
                  <a:pt x="27" y="268"/>
                  <a:pt x="28" y="268"/>
                </a:cubicBezTo>
                <a:cubicBezTo>
                  <a:pt x="29" y="269"/>
                  <a:pt x="32" y="270"/>
                  <a:pt x="33" y="270"/>
                </a:cubicBezTo>
                <a:cubicBezTo>
                  <a:pt x="32" y="270"/>
                  <a:pt x="30" y="271"/>
                  <a:pt x="30" y="272"/>
                </a:cubicBezTo>
                <a:cubicBezTo>
                  <a:pt x="29" y="273"/>
                  <a:pt x="31" y="273"/>
                  <a:pt x="31" y="274"/>
                </a:cubicBezTo>
                <a:cubicBezTo>
                  <a:pt x="32" y="274"/>
                  <a:pt x="33" y="273"/>
                  <a:pt x="34" y="273"/>
                </a:cubicBezTo>
                <a:cubicBezTo>
                  <a:pt x="34" y="274"/>
                  <a:pt x="35" y="279"/>
                  <a:pt x="34" y="279"/>
                </a:cubicBezTo>
                <a:cubicBezTo>
                  <a:pt x="34" y="279"/>
                  <a:pt x="33" y="278"/>
                  <a:pt x="33" y="277"/>
                </a:cubicBezTo>
                <a:cubicBezTo>
                  <a:pt x="33" y="277"/>
                  <a:pt x="33" y="276"/>
                  <a:pt x="33" y="276"/>
                </a:cubicBezTo>
                <a:cubicBezTo>
                  <a:pt x="32" y="275"/>
                  <a:pt x="30" y="277"/>
                  <a:pt x="30" y="277"/>
                </a:cubicBezTo>
                <a:cubicBezTo>
                  <a:pt x="31" y="277"/>
                  <a:pt x="31" y="278"/>
                  <a:pt x="31" y="279"/>
                </a:cubicBezTo>
                <a:cubicBezTo>
                  <a:pt x="32" y="279"/>
                  <a:pt x="32" y="280"/>
                  <a:pt x="33" y="280"/>
                </a:cubicBezTo>
                <a:cubicBezTo>
                  <a:pt x="32" y="280"/>
                  <a:pt x="31" y="279"/>
                  <a:pt x="30" y="280"/>
                </a:cubicBezTo>
                <a:cubicBezTo>
                  <a:pt x="29" y="282"/>
                  <a:pt x="31" y="285"/>
                  <a:pt x="31" y="287"/>
                </a:cubicBezTo>
                <a:cubicBezTo>
                  <a:pt x="30" y="286"/>
                  <a:pt x="30" y="286"/>
                  <a:pt x="30" y="286"/>
                </a:cubicBezTo>
                <a:cubicBezTo>
                  <a:pt x="29" y="286"/>
                  <a:pt x="29" y="288"/>
                  <a:pt x="29" y="289"/>
                </a:cubicBezTo>
                <a:cubicBezTo>
                  <a:pt x="29" y="289"/>
                  <a:pt x="28" y="290"/>
                  <a:pt x="28" y="290"/>
                </a:cubicBezTo>
                <a:cubicBezTo>
                  <a:pt x="27" y="291"/>
                  <a:pt x="28" y="293"/>
                  <a:pt x="29" y="293"/>
                </a:cubicBezTo>
                <a:cubicBezTo>
                  <a:pt x="29" y="294"/>
                  <a:pt x="28" y="294"/>
                  <a:pt x="28" y="295"/>
                </a:cubicBezTo>
                <a:cubicBezTo>
                  <a:pt x="29" y="294"/>
                  <a:pt x="30" y="294"/>
                  <a:pt x="30" y="296"/>
                </a:cubicBezTo>
                <a:cubicBezTo>
                  <a:pt x="30" y="295"/>
                  <a:pt x="29" y="295"/>
                  <a:pt x="29" y="296"/>
                </a:cubicBezTo>
                <a:cubicBezTo>
                  <a:pt x="28" y="296"/>
                  <a:pt x="28" y="298"/>
                  <a:pt x="27" y="299"/>
                </a:cubicBezTo>
                <a:cubicBezTo>
                  <a:pt x="27" y="299"/>
                  <a:pt x="26" y="300"/>
                  <a:pt x="25" y="300"/>
                </a:cubicBezTo>
                <a:cubicBezTo>
                  <a:pt x="26" y="301"/>
                  <a:pt x="27" y="301"/>
                  <a:pt x="27" y="301"/>
                </a:cubicBezTo>
                <a:cubicBezTo>
                  <a:pt x="28" y="302"/>
                  <a:pt x="28" y="302"/>
                  <a:pt x="29" y="302"/>
                </a:cubicBezTo>
                <a:cubicBezTo>
                  <a:pt x="30" y="303"/>
                  <a:pt x="31" y="305"/>
                  <a:pt x="32" y="304"/>
                </a:cubicBezTo>
                <a:cubicBezTo>
                  <a:pt x="31" y="305"/>
                  <a:pt x="32" y="306"/>
                  <a:pt x="31" y="307"/>
                </a:cubicBezTo>
                <a:cubicBezTo>
                  <a:pt x="31" y="308"/>
                  <a:pt x="31" y="307"/>
                  <a:pt x="30" y="308"/>
                </a:cubicBezTo>
                <a:cubicBezTo>
                  <a:pt x="30" y="308"/>
                  <a:pt x="29" y="309"/>
                  <a:pt x="28" y="309"/>
                </a:cubicBezTo>
                <a:cubicBezTo>
                  <a:pt x="28" y="309"/>
                  <a:pt x="27" y="310"/>
                  <a:pt x="27" y="310"/>
                </a:cubicBezTo>
                <a:cubicBezTo>
                  <a:pt x="26" y="310"/>
                  <a:pt x="26" y="310"/>
                  <a:pt x="25" y="310"/>
                </a:cubicBezTo>
                <a:cubicBezTo>
                  <a:pt x="23" y="311"/>
                  <a:pt x="25" y="311"/>
                  <a:pt x="25" y="312"/>
                </a:cubicBezTo>
                <a:cubicBezTo>
                  <a:pt x="25" y="313"/>
                  <a:pt x="23" y="314"/>
                  <a:pt x="24" y="314"/>
                </a:cubicBezTo>
                <a:cubicBezTo>
                  <a:pt x="25" y="314"/>
                  <a:pt x="25" y="314"/>
                  <a:pt x="26" y="314"/>
                </a:cubicBezTo>
                <a:cubicBezTo>
                  <a:pt x="27" y="314"/>
                  <a:pt x="28" y="315"/>
                  <a:pt x="28" y="316"/>
                </a:cubicBezTo>
                <a:cubicBezTo>
                  <a:pt x="29" y="316"/>
                  <a:pt x="31" y="316"/>
                  <a:pt x="29" y="317"/>
                </a:cubicBezTo>
                <a:cubicBezTo>
                  <a:pt x="28" y="317"/>
                  <a:pt x="28" y="316"/>
                  <a:pt x="28" y="316"/>
                </a:cubicBezTo>
                <a:cubicBezTo>
                  <a:pt x="27" y="315"/>
                  <a:pt x="25" y="313"/>
                  <a:pt x="25" y="316"/>
                </a:cubicBezTo>
                <a:cubicBezTo>
                  <a:pt x="25" y="316"/>
                  <a:pt x="25" y="315"/>
                  <a:pt x="25" y="315"/>
                </a:cubicBezTo>
                <a:cubicBezTo>
                  <a:pt x="24" y="317"/>
                  <a:pt x="23" y="319"/>
                  <a:pt x="22" y="321"/>
                </a:cubicBezTo>
                <a:cubicBezTo>
                  <a:pt x="23" y="320"/>
                  <a:pt x="23" y="319"/>
                  <a:pt x="24" y="319"/>
                </a:cubicBezTo>
                <a:cubicBezTo>
                  <a:pt x="25" y="318"/>
                  <a:pt x="25" y="319"/>
                  <a:pt x="26" y="319"/>
                </a:cubicBezTo>
                <a:cubicBezTo>
                  <a:pt x="25" y="320"/>
                  <a:pt x="25" y="319"/>
                  <a:pt x="24" y="320"/>
                </a:cubicBezTo>
                <a:cubicBezTo>
                  <a:pt x="23" y="320"/>
                  <a:pt x="23" y="321"/>
                  <a:pt x="23" y="321"/>
                </a:cubicBezTo>
                <a:cubicBezTo>
                  <a:pt x="23" y="322"/>
                  <a:pt x="22" y="323"/>
                  <a:pt x="22" y="323"/>
                </a:cubicBezTo>
                <a:cubicBezTo>
                  <a:pt x="21" y="324"/>
                  <a:pt x="21" y="327"/>
                  <a:pt x="21" y="327"/>
                </a:cubicBezTo>
                <a:cubicBezTo>
                  <a:pt x="22" y="328"/>
                  <a:pt x="22" y="326"/>
                  <a:pt x="22" y="326"/>
                </a:cubicBezTo>
                <a:cubicBezTo>
                  <a:pt x="23" y="326"/>
                  <a:pt x="23" y="327"/>
                  <a:pt x="23" y="327"/>
                </a:cubicBezTo>
                <a:cubicBezTo>
                  <a:pt x="23" y="328"/>
                  <a:pt x="21" y="329"/>
                  <a:pt x="21" y="330"/>
                </a:cubicBezTo>
                <a:cubicBezTo>
                  <a:pt x="20" y="330"/>
                  <a:pt x="20" y="332"/>
                  <a:pt x="19" y="331"/>
                </a:cubicBezTo>
                <a:cubicBezTo>
                  <a:pt x="18" y="330"/>
                  <a:pt x="20" y="329"/>
                  <a:pt x="20" y="328"/>
                </a:cubicBezTo>
                <a:cubicBezTo>
                  <a:pt x="21" y="326"/>
                  <a:pt x="19" y="325"/>
                  <a:pt x="18" y="326"/>
                </a:cubicBezTo>
                <a:cubicBezTo>
                  <a:pt x="18" y="326"/>
                  <a:pt x="19" y="327"/>
                  <a:pt x="19" y="328"/>
                </a:cubicBezTo>
                <a:cubicBezTo>
                  <a:pt x="19" y="327"/>
                  <a:pt x="18" y="327"/>
                  <a:pt x="17" y="327"/>
                </a:cubicBezTo>
                <a:cubicBezTo>
                  <a:pt x="18" y="327"/>
                  <a:pt x="18" y="326"/>
                  <a:pt x="18" y="326"/>
                </a:cubicBezTo>
                <a:cubicBezTo>
                  <a:pt x="16" y="326"/>
                  <a:pt x="14" y="328"/>
                  <a:pt x="13" y="325"/>
                </a:cubicBezTo>
                <a:cubicBezTo>
                  <a:pt x="14" y="327"/>
                  <a:pt x="15" y="327"/>
                  <a:pt x="16" y="326"/>
                </a:cubicBezTo>
                <a:cubicBezTo>
                  <a:pt x="17" y="326"/>
                  <a:pt x="19" y="325"/>
                  <a:pt x="18" y="324"/>
                </a:cubicBezTo>
                <a:cubicBezTo>
                  <a:pt x="18" y="323"/>
                  <a:pt x="17" y="325"/>
                  <a:pt x="17" y="325"/>
                </a:cubicBezTo>
                <a:cubicBezTo>
                  <a:pt x="17" y="325"/>
                  <a:pt x="18" y="323"/>
                  <a:pt x="17" y="323"/>
                </a:cubicBezTo>
                <a:cubicBezTo>
                  <a:pt x="17" y="322"/>
                  <a:pt x="17" y="322"/>
                  <a:pt x="17" y="322"/>
                </a:cubicBezTo>
                <a:cubicBezTo>
                  <a:pt x="17" y="322"/>
                  <a:pt x="17" y="321"/>
                  <a:pt x="17" y="321"/>
                </a:cubicBezTo>
                <a:cubicBezTo>
                  <a:pt x="16" y="320"/>
                  <a:pt x="16" y="321"/>
                  <a:pt x="15" y="321"/>
                </a:cubicBezTo>
                <a:cubicBezTo>
                  <a:pt x="14" y="321"/>
                  <a:pt x="13" y="320"/>
                  <a:pt x="13" y="322"/>
                </a:cubicBezTo>
                <a:cubicBezTo>
                  <a:pt x="12" y="322"/>
                  <a:pt x="13" y="320"/>
                  <a:pt x="11" y="322"/>
                </a:cubicBezTo>
                <a:cubicBezTo>
                  <a:pt x="11" y="320"/>
                  <a:pt x="9" y="322"/>
                  <a:pt x="8" y="322"/>
                </a:cubicBezTo>
                <a:cubicBezTo>
                  <a:pt x="9" y="322"/>
                  <a:pt x="9" y="322"/>
                  <a:pt x="9" y="322"/>
                </a:cubicBezTo>
                <a:cubicBezTo>
                  <a:pt x="8" y="322"/>
                  <a:pt x="8" y="322"/>
                  <a:pt x="7" y="322"/>
                </a:cubicBezTo>
                <a:cubicBezTo>
                  <a:pt x="7" y="324"/>
                  <a:pt x="8" y="323"/>
                  <a:pt x="9" y="323"/>
                </a:cubicBezTo>
                <a:cubicBezTo>
                  <a:pt x="8" y="324"/>
                  <a:pt x="6" y="324"/>
                  <a:pt x="8" y="325"/>
                </a:cubicBezTo>
                <a:cubicBezTo>
                  <a:pt x="9" y="325"/>
                  <a:pt x="10" y="323"/>
                  <a:pt x="11" y="322"/>
                </a:cubicBezTo>
                <a:cubicBezTo>
                  <a:pt x="11" y="323"/>
                  <a:pt x="10" y="325"/>
                  <a:pt x="10" y="326"/>
                </a:cubicBezTo>
                <a:cubicBezTo>
                  <a:pt x="9" y="325"/>
                  <a:pt x="9" y="327"/>
                  <a:pt x="8" y="327"/>
                </a:cubicBezTo>
                <a:cubicBezTo>
                  <a:pt x="8" y="327"/>
                  <a:pt x="7" y="326"/>
                  <a:pt x="7" y="327"/>
                </a:cubicBezTo>
                <a:cubicBezTo>
                  <a:pt x="6" y="327"/>
                  <a:pt x="7" y="328"/>
                  <a:pt x="7" y="328"/>
                </a:cubicBezTo>
                <a:cubicBezTo>
                  <a:pt x="6" y="328"/>
                  <a:pt x="7" y="328"/>
                  <a:pt x="6" y="328"/>
                </a:cubicBezTo>
                <a:cubicBezTo>
                  <a:pt x="5" y="328"/>
                  <a:pt x="5" y="328"/>
                  <a:pt x="5" y="328"/>
                </a:cubicBezTo>
                <a:cubicBezTo>
                  <a:pt x="5" y="328"/>
                  <a:pt x="4" y="329"/>
                  <a:pt x="4" y="329"/>
                </a:cubicBezTo>
                <a:cubicBezTo>
                  <a:pt x="3" y="331"/>
                  <a:pt x="0" y="331"/>
                  <a:pt x="1" y="333"/>
                </a:cubicBezTo>
                <a:cubicBezTo>
                  <a:pt x="1" y="334"/>
                  <a:pt x="1" y="335"/>
                  <a:pt x="2" y="335"/>
                </a:cubicBezTo>
                <a:cubicBezTo>
                  <a:pt x="3" y="336"/>
                  <a:pt x="5" y="334"/>
                  <a:pt x="4" y="334"/>
                </a:cubicBezTo>
                <a:cubicBezTo>
                  <a:pt x="4" y="333"/>
                  <a:pt x="3" y="334"/>
                  <a:pt x="3" y="333"/>
                </a:cubicBezTo>
                <a:cubicBezTo>
                  <a:pt x="3" y="333"/>
                  <a:pt x="4" y="333"/>
                  <a:pt x="3" y="332"/>
                </a:cubicBezTo>
                <a:cubicBezTo>
                  <a:pt x="3" y="332"/>
                  <a:pt x="2" y="333"/>
                  <a:pt x="1" y="333"/>
                </a:cubicBezTo>
                <a:cubicBezTo>
                  <a:pt x="2" y="332"/>
                  <a:pt x="3" y="332"/>
                  <a:pt x="3" y="332"/>
                </a:cubicBezTo>
                <a:cubicBezTo>
                  <a:pt x="4" y="331"/>
                  <a:pt x="5" y="332"/>
                  <a:pt x="6" y="331"/>
                </a:cubicBezTo>
                <a:cubicBezTo>
                  <a:pt x="6" y="332"/>
                  <a:pt x="7" y="331"/>
                  <a:pt x="7" y="330"/>
                </a:cubicBezTo>
                <a:cubicBezTo>
                  <a:pt x="7" y="332"/>
                  <a:pt x="7" y="333"/>
                  <a:pt x="9" y="334"/>
                </a:cubicBezTo>
                <a:cubicBezTo>
                  <a:pt x="9" y="334"/>
                  <a:pt x="9" y="333"/>
                  <a:pt x="10" y="333"/>
                </a:cubicBezTo>
                <a:cubicBezTo>
                  <a:pt x="10" y="333"/>
                  <a:pt x="10" y="334"/>
                  <a:pt x="10" y="334"/>
                </a:cubicBezTo>
                <a:cubicBezTo>
                  <a:pt x="10" y="334"/>
                  <a:pt x="11" y="334"/>
                  <a:pt x="11" y="334"/>
                </a:cubicBezTo>
                <a:cubicBezTo>
                  <a:pt x="11" y="335"/>
                  <a:pt x="13" y="335"/>
                  <a:pt x="14" y="334"/>
                </a:cubicBezTo>
                <a:cubicBezTo>
                  <a:pt x="13" y="334"/>
                  <a:pt x="12" y="334"/>
                  <a:pt x="11" y="333"/>
                </a:cubicBezTo>
                <a:cubicBezTo>
                  <a:pt x="12" y="333"/>
                  <a:pt x="13" y="333"/>
                  <a:pt x="13" y="333"/>
                </a:cubicBezTo>
                <a:cubicBezTo>
                  <a:pt x="13" y="333"/>
                  <a:pt x="12" y="333"/>
                  <a:pt x="12" y="333"/>
                </a:cubicBezTo>
                <a:cubicBezTo>
                  <a:pt x="13" y="333"/>
                  <a:pt x="15" y="333"/>
                  <a:pt x="15" y="334"/>
                </a:cubicBezTo>
                <a:cubicBezTo>
                  <a:pt x="15" y="334"/>
                  <a:pt x="15" y="334"/>
                  <a:pt x="16" y="334"/>
                </a:cubicBezTo>
                <a:cubicBezTo>
                  <a:pt x="16" y="336"/>
                  <a:pt x="17" y="336"/>
                  <a:pt x="18" y="336"/>
                </a:cubicBezTo>
                <a:cubicBezTo>
                  <a:pt x="19" y="337"/>
                  <a:pt x="19" y="339"/>
                  <a:pt x="18" y="339"/>
                </a:cubicBezTo>
                <a:cubicBezTo>
                  <a:pt x="18" y="339"/>
                  <a:pt x="18" y="339"/>
                  <a:pt x="18" y="339"/>
                </a:cubicBezTo>
                <a:cubicBezTo>
                  <a:pt x="17" y="339"/>
                  <a:pt x="17" y="340"/>
                  <a:pt x="17" y="341"/>
                </a:cubicBezTo>
                <a:cubicBezTo>
                  <a:pt x="16" y="340"/>
                  <a:pt x="17" y="339"/>
                  <a:pt x="16" y="339"/>
                </a:cubicBezTo>
                <a:cubicBezTo>
                  <a:pt x="15" y="339"/>
                  <a:pt x="13" y="341"/>
                  <a:pt x="13" y="342"/>
                </a:cubicBezTo>
                <a:cubicBezTo>
                  <a:pt x="13" y="342"/>
                  <a:pt x="13" y="342"/>
                  <a:pt x="13" y="342"/>
                </a:cubicBezTo>
                <a:cubicBezTo>
                  <a:pt x="13" y="342"/>
                  <a:pt x="14" y="343"/>
                  <a:pt x="14" y="343"/>
                </a:cubicBezTo>
                <a:cubicBezTo>
                  <a:pt x="14" y="343"/>
                  <a:pt x="15" y="344"/>
                  <a:pt x="15" y="344"/>
                </a:cubicBezTo>
                <a:cubicBezTo>
                  <a:pt x="15" y="344"/>
                  <a:pt x="17" y="343"/>
                  <a:pt x="18" y="344"/>
                </a:cubicBezTo>
                <a:cubicBezTo>
                  <a:pt x="17" y="344"/>
                  <a:pt x="16" y="344"/>
                  <a:pt x="15" y="345"/>
                </a:cubicBezTo>
                <a:cubicBezTo>
                  <a:pt x="16" y="345"/>
                  <a:pt x="16" y="345"/>
                  <a:pt x="17" y="345"/>
                </a:cubicBezTo>
                <a:cubicBezTo>
                  <a:pt x="15" y="345"/>
                  <a:pt x="14" y="346"/>
                  <a:pt x="16" y="346"/>
                </a:cubicBezTo>
                <a:cubicBezTo>
                  <a:pt x="16" y="346"/>
                  <a:pt x="15" y="346"/>
                  <a:pt x="15" y="345"/>
                </a:cubicBezTo>
                <a:cubicBezTo>
                  <a:pt x="15" y="345"/>
                  <a:pt x="15" y="345"/>
                  <a:pt x="14" y="345"/>
                </a:cubicBezTo>
                <a:cubicBezTo>
                  <a:pt x="14" y="345"/>
                  <a:pt x="14" y="345"/>
                  <a:pt x="13" y="345"/>
                </a:cubicBezTo>
                <a:cubicBezTo>
                  <a:pt x="14" y="345"/>
                  <a:pt x="15" y="345"/>
                  <a:pt x="14" y="344"/>
                </a:cubicBezTo>
                <a:cubicBezTo>
                  <a:pt x="13" y="344"/>
                  <a:pt x="14" y="343"/>
                  <a:pt x="14" y="343"/>
                </a:cubicBezTo>
                <a:cubicBezTo>
                  <a:pt x="13" y="343"/>
                  <a:pt x="13" y="344"/>
                  <a:pt x="12" y="345"/>
                </a:cubicBezTo>
                <a:cubicBezTo>
                  <a:pt x="12" y="345"/>
                  <a:pt x="10" y="345"/>
                  <a:pt x="11" y="346"/>
                </a:cubicBezTo>
                <a:cubicBezTo>
                  <a:pt x="12" y="347"/>
                  <a:pt x="13" y="346"/>
                  <a:pt x="13" y="346"/>
                </a:cubicBezTo>
                <a:cubicBezTo>
                  <a:pt x="14" y="346"/>
                  <a:pt x="15" y="346"/>
                  <a:pt x="15" y="346"/>
                </a:cubicBezTo>
                <a:cubicBezTo>
                  <a:pt x="17" y="346"/>
                  <a:pt x="18" y="347"/>
                  <a:pt x="19" y="347"/>
                </a:cubicBezTo>
                <a:cubicBezTo>
                  <a:pt x="21" y="347"/>
                  <a:pt x="20" y="345"/>
                  <a:pt x="21" y="344"/>
                </a:cubicBezTo>
                <a:cubicBezTo>
                  <a:pt x="22" y="345"/>
                  <a:pt x="21" y="345"/>
                  <a:pt x="21" y="346"/>
                </a:cubicBezTo>
                <a:cubicBezTo>
                  <a:pt x="21" y="347"/>
                  <a:pt x="22" y="347"/>
                  <a:pt x="22" y="348"/>
                </a:cubicBezTo>
                <a:cubicBezTo>
                  <a:pt x="24" y="349"/>
                  <a:pt x="24" y="348"/>
                  <a:pt x="26" y="349"/>
                </a:cubicBezTo>
                <a:cubicBezTo>
                  <a:pt x="25" y="349"/>
                  <a:pt x="25" y="349"/>
                  <a:pt x="24" y="349"/>
                </a:cubicBezTo>
                <a:cubicBezTo>
                  <a:pt x="24" y="349"/>
                  <a:pt x="22" y="348"/>
                  <a:pt x="22" y="349"/>
                </a:cubicBezTo>
                <a:cubicBezTo>
                  <a:pt x="22" y="349"/>
                  <a:pt x="23" y="351"/>
                  <a:pt x="23" y="351"/>
                </a:cubicBezTo>
                <a:cubicBezTo>
                  <a:pt x="24" y="351"/>
                  <a:pt x="25" y="351"/>
                  <a:pt x="25" y="351"/>
                </a:cubicBezTo>
                <a:cubicBezTo>
                  <a:pt x="25" y="351"/>
                  <a:pt x="25" y="351"/>
                  <a:pt x="25" y="352"/>
                </a:cubicBezTo>
                <a:cubicBezTo>
                  <a:pt x="24" y="351"/>
                  <a:pt x="23" y="351"/>
                  <a:pt x="23" y="352"/>
                </a:cubicBezTo>
                <a:cubicBezTo>
                  <a:pt x="22" y="352"/>
                  <a:pt x="22" y="351"/>
                  <a:pt x="22" y="351"/>
                </a:cubicBezTo>
                <a:cubicBezTo>
                  <a:pt x="22" y="350"/>
                  <a:pt x="21" y="350"/>
                  <a:pt x="20" y="350"/>
                </a:cubicBezTo>
                <a:cubicBezTo>
                  <a:pt x="21" y="349"/>
                  <a:pt x="20" y="350"/>
                  <a:pt x="19" y="350"/>
                </a:cubicBezTo>
                <a:cubicBezTo>
                  <a:pt x="20" y="349"/>
                  <a:pt x="16" y="349"/>
                  <a:pt x="15" y="349"/>
                </a:cubicBezTo>
                <a:cubicBezTo>
                  <a:pt x="15" y="350"/>
                  <a:pt x="17" y="353"/>
                  <a:pt x="16" y="352"/>
                </a:cubicBezTo>
                <a:cubicBezTo>
                  <a:pt x="15" y="352"/>
                  <a:pt x="15" y="351"/>
                  <a:pt x="15" y="350"/>
                </a:cubicBezTo>
                <a:cubicBezTo>
                  <a:pt x="14" y="349"/>
                  <a:pt x="14" y="349"/>
                  <a:pt x="13" y="349"/>
                </a:cubicBezTo>
                <a:cubicBezTo>
                  <a:pt x="11" y="349"/>
                  <a:pt x="11" y="351"/>
                  <a:pt x="13" y="350"/>
                </a:cubicBezTo>
                <a:cubicBezTo>
                  <a:pt x="13" y="351"/>
                  <a:pt x="14" y="351"/>
                  <a:pt x="14" y="352"/>
                </a:cubicBezTo>
                <a:cubicBezTo>
                  <a:pt x="15" y="352"/>
                  <a:pt x="15" y="353"/>
                  <a:pt x="15" y="353"/>
                </a:cubicBezTo>
                <a:cubicBezTo>
                  <a:pt x="16" y="354"/>
                  <a:pt x="17" y="353"/>
                  <a:pt x="17" y="353"/>
                </a:cubicBezTo>
                <a:cubicBezTo>
                  <a:pt x="17" y="353"/>
                  <a:pt x="16" y="353"/>
                  <a:pt x="16" y="354"/>
                </a:cubicBezTo>
                <a:cubicBezTo>
                  <a:pt x="17" y="354"/>
                  <a:pt x="18" y="355"/>
                  <a:pt x="19" y="355"/>
                </a:cubicBezTo>
                <a:cubicBezTo>
                  <a:pt x="18" y="355"/>
                  <a:pt x="19" y="357"/>
                  <a:pt x="18" y="357"/>
                </a:cubicBezTo>
                <a:cubicBezTo>
                  <a:pt x="18" y="357"/>
                  <a:pt x="18" y="356"/>
                  <a:pt x="18" y="356"/>
                </a:cubicBezTo>
                <a:cubicBezTo>
                  <a:pt x="17" y="356"/>
                  <a:pt x="16" y="355"/>
                  <a:pt x="16" y="355"/>
                </a:cubicBezTo>
                <a:cubicBezTo>
                  <a:pt x="15" y="356"/>
                  <a:pt x="14" y="357"/>
                  <a:pt x="14" y="358"/>
                </a:cubicBezTo>
                <a:cubicBezTo>
                  <a:pt x="15" y="359"/>
                  <a:pt x="16" y="358"/>
                  <a:pt x="17" y="359"/>
                </a:cubicBezTo>
                <a:cubicBezTo>
                  <a:pt x="17" y="359"/>
                  <a:pt x="14" y="359"/>
                  <a:pt x="14" y="360"/>
                </a:cubicBezTo>
                <a:cubicBezTo>
                  <a:pt x="13" y="360"/>
                  <a:pt x="14" y="360"/>
                  <a:pt x="14" y="360"/>
                </a:cubicBezTo>
                <a:cubicBezTo>
                  <a:pt x="13" y="361"/>
                  <a:pt x="14" y="361"/>
                  <a:pt x="14" y="361"/>
                </a:cubicBezTo>
                <a:cubicBezTo>
                  <a:pt x="14" y="362"/>
                  <a:pt x="13" y="362"/>
                  <a:pt x="13" y="363"/>
                </a:cubicBezTo>
                <a:cubicBezTo>
                  <a:pt x="13" y="363"/>
                  <a:pt x="14" y="363"/>
                  <a:pt x="14" y="363"/>
                </a:cubicBezTo>
                <a:cubicBezTo>
                  <a:pt x="14" y="363"/>
                  <a:pt x="14" y="364"/>
                  <a:pt x="14" y="364"/>
                </a:cubicBezTo>
                <a:cubicBezTo>
                  <a:pt x="14" y="365"/>
                  <a:pt x="13" y="367"/>
                  <a:pt x="14" y="368"/>
                </a:cubicBezTo>
                <a:cubicBezTo>
                  <a:pt x="15" y="368"/>
                  <a:pt x="16" y="370"/>
                  <a:pt x="16" y="369"/>
                </a:cubicBezTo>
                <a:cubicBezTo>
                  <a:pt x="17" y="368"/>
                  <a:pt x="16" y="366"/>
                  <a:pt x="16" y="365"/>
                </a:cubicBezTo>
                <a:cubicBezTo>
                  <a:pt x="17" y="366"/>
                  <a:pt x="17" y="365"/>
                  <a:pt x="18" y="364"/>
                </a:cubicBezTo>
                <a:cubicBezTo>
                  <a:pt x="18" y="363"/>
                  <a:pt x="17" y="362"/>
                  <a:pt x="19" y="363"/>
                </a:cubicBezTo>
                <a:cubicBezTo>
                  <a:pt x="19" y="363"/>
                  <a:pt x="18" y="365"/>
                  <a:pt x="18" y="366"/>
                </a:cubicBezTo>
                <a:cubicBezTo>
                  <a:pt x="18" y="366"/>
                  <a:pt x="19" y="366"/>
                  <a:pt x="19" y="367"/>
                </a:cubicBezTo>
                <a:cubicBezTo>
                  <a:pt x="19" y="367"/>
                  <a:pt x="18" y="367"/>
                  <a:pt x="18" y="366"/>
                </a:cubicBezTo>
                <a:cubicBezTo>
                  <a:pt x="18" y="367"/>
                  <a:pt x="17" y="368"/>
                  <a:pt x="17" y="369"/>
                </a:cubicBezTo>
                <a:cubicBezTo>
                  <a:pt x="17" y="369"/>
                  <a:pt x="18" y="369"/>
                  <a:pt x="18" y="369"/>
                </a:cubicBezTo>
                <a:cubicBezTo>
                  <a:pt x="19" y="369"/>
                  <a:pt x="19" y="371"/>
                  <a:pt x="20" y="371"/>
                </a:cubicBezTo>
                <a:cubicBezTo>
                  <a:pt x="20" y="371"/>
                  <a:pt x="22" y="372"/>
                  <a:pt x="21" y="373"/>
                </a:cubicBezTo>
                <a:cubicBezTo>
                  <a:pt x="21" y="372"/>
                  <a:pt x="20" y="372"/>
                  <a:pt x="19" y="371"/>
                </a:cubicBezTo>
                <a:cubicBezTo>
                  <a:pt x="19" y="371"/>
                  <a:pt x="18" y="368"/>
                  <a:pt x="18" y="370"/>
                </a:cubicBezTo>
                <a:cubicBezTo>
                  <a:pt x="18" y="368"/>
                  <a:pt x="15" y="370"/>
                  <a:pt x="15" y="371"/>
                </a:cubicBezTo>
                <a:cubicBezTo>
                  <a:pt x="14" y="373"/>
                  <a:pt x="17" y="371"/>
                  <a:pt x="17" y="372"/>
                </a:cubicBezTo>
                <a:cubicBezTo>
                  <a:pt x="16" y="372"/>
                  <a:pt x="13" y="373"/>
                  <a:pt x="16" y="374"/>
                </a:cubicBezTo>
                <a:cubicBezTo>
                  <a:pt x="16" y="374"/>
                  <a:pt x="16" y="374"/>
                  <a:pt x="17" y="374"/>
                </a:cubicBezTo>
                <a:cubicBezTo>
                  <a:pt x="17" y="374"/>
                  <a:pt x="17" y="375"/>
                  <a:pt x="17" y="375"/>
                </a:cubicBezTo>
                <a:cubicBezTo>
                  <a:pt x="18" y="375"/>
                  <a:pt x="18" y="374"/>
                  <a:pt x="19" y="374"/>
                </a:cubicBezTo>
                <a:cubicBezTo>
                  <a:pt x="19" y="375"/>
                  <a:pt x="18" y="375"/>
                  <a:pt x="19" y="376"/>
                </a:cubicBezTo>
                <a:cubicBezTo>
                  <a:pt x="18" y="376"/>
                  <a:pt x="17" y="376"/>
                  <a:pt x="16" y="375"/>
                </a:cubicBezTo>
                <a:cubicBezTo>
                  <a:pt x="16" y="375"/>
                  <a:pt x="16" y="375"/>
                  <a:pt x="15" y="375"/>
                </a:cubicBezTo>
                <a:cubicBezTo>
                  <a:pt x="14" y="375"/>
                  <a:pt x="15" y="375"/>
                  <a:pt x="15" y="376"/>
                </a:cubicBezTo>
                <a:cubicBezTo>
                  <a:pt x="15" y="376"/>
                  <a:pt x="15" y="377"/>
                  <a:pt x="16" y="377"/>
                </a:cubicBezTo>
                <a:cubicBezTo>
                  <a:pt x="16" y="378"/>
                  <a:pt x="16" y="378"/>
                  <a:pt x="17" y="378"/>
                </a:cubicBezTo>
                <a:cubicBezTo>
                  <a:pt x="17" y="378"/>
                  <a:pt x="18" y="378"/>
                  <a:pt x="18" y="378"/>
                </a:cubicBezTo>
                <a:cubicBezTo>
                  <a:pt x="18" y="379"/>
                  <a:pt x="19" y="379"/>
                  <a:pt x="19" y="379"/>
                </a:cubicBezTo>
                <a:cubicBezTo>
                  <a:pt x="18" y="379"/>
                  <a:pt x="18" y="379"/>
                  <a:pt x="17" y="379"/>
                </a:cubicBezTo>
                <a:cubicBezTo>
                  <a:pt x="16" y="378"/>
                  <a:pt x="17" y="379"/>
                  <a:pt x="16" y="378"/>
                </a:cubicBezTo>
                <a:cubicBezTo>
                  <a:pt x="15" y="378"/>
                  <a:pt x="15" y="377"/>
                  <a:pt x="14" y="377"/>
                </a:cubicBezTo>
                <a:cubicBezTo>
                  <a:pt x="13" y="376"/>
                  <a:pt x="13" y="378"/>
                  <a:pt x="13" y="377"/>
                </a:cubicBezTo>
                <a:cubicBezTo>
                  <a:pt x="12" y="377"/>
                  <a:pt x="11" y="378"/>
                  <a:pt x="11" y="378"/>
                </a:cubicBezTo>
                <a:cubicBezTo>
                  <a:pt x="12" y="379"/>
                  <a:pt x="12" y="379"/>
                  <a:pt x="13" y="380"/>
                </a:cubicBezTo>
                <a:cubicBezTo>
                  <a:pt x="13" y="380"/>
                  <a:pt x="14" y="381"/>
                  <a:pt x="15" y="380"/>
                </a:cubicBezTo>
                <a:cubicBezTo>
                  <a:pt x="15" y="382"/>
                  <a:pt x="16" y="381"/>
                  <a:pt x="17" y="381"/>
                </a:cubicBezTo>
                <a:cubicBezTo>
                  <a:pt x="16" y="382"/>
                  <a:pt x="18" y="382"/>
                  <a:pt x="18" y="382"/>
                </a:cubicBezTo>
                <a:cubicBezTo>
                  <a:pt x="18" y="382"/>
                  <a:pt x="18" y="382"/>
                  <a:pt x="19" y="383"/>
                </a:cubicBezTo>
                <a:cubicBezTo>
                  <a:pt x="19" y="383"/>
                  <a:pt x="18" y="383"/>
                  <a:pt x="17" y="382"/>
                </a:cubicBezTo>
                <a:cubicBezTo>
                  <a:pt x="17" y="384"/>
                  <a:pt x="16" y="382"/>
                  <a:pt x="15" y="382"/>
                </a:cubicBezTo>
                <a:cubicBezTo>
                  <a:pt x="16" y="384"/>
                  <a:pt x="17" y="388"/>
                  <a:pt x="19" y="386"/>
                </a:cubicBezTo>
                <a:cubicBezTo>
                  <a:pt x="20" y="385"/>
                  <a:pt x="20" y="385"/>
                  <a:pt x="20" y="383"/>
                </a:cubicBezTo>
                <a:cubicBezTo>
                  <a:pt x="21" y="382"/>
                  <a:pt x="21" y="382"/>
                  <a:pt x="22" y="381"/>
                </a:cubicBezTo>
                <a:cubicBezTo>
                  <a:pt x="22" y="382"/>
                  <a:pt x="21" y="383"/>
                  <a:pt x="21" y="383"/>
                </a:cubicBezTo>
                <a:cubicBezTo>
                  <a:pt x="21" y="384"/>
                  <a:pt x="23" y="384"/>
                  <a:pt x="23" y="385"/>
                </a:cubicBezTo>
                <a:cubicBezTo>
                  <a:pt x="22" y="386"/>
                  <a:pt x="22" y="383"/>
                  <a:pt x="21" y="385"/>
                </a:cubicBezTo>
                <a:cubicBezTo>
                  <a:pt x="21" y="385"/>
                  <a:pt x="21" y="388"/>
                  <a:pt x="20" y="388"/>
                </a:cubicBezTo>
                <a:cubicBezTo>
                  <a:pt x="20" y="388"/>
                  <a:pt x="19" y="387"/>
                  <a:pt x="19" y="387"/>
                </a:cubicBezTo>
                <a:cubicBezTo>
                  <a:pt x="19" y="387"/>
                  <a:pt x="18" y="387"/>
                  <a:pt x="18" y="387"/>
                </a:cubicBezTo>
                <a:cubicBezTo>
                  <a:pt x="17" y="387"/>
                  <a:pt x="16" y="388"/>
                  <a:pt x="16" y="389"/>
                </a:cubicBezTo>
                <a:cubicBezTo>
                  <a:pt x="16" y="390"/>
                  <a:pt x="17" y="392"/>
                  <a:pt x="17" y="392"/>
                </a:cubicBezTo>
                <a:cubicBezTo>
                  <a:pt x="18" y="392"/>
                  <a:pt x="18" y="391"/>
                  <a:pt x="18" y="390"/>
                </a:cubicBezTo>
                <a:cubicBezTo>
                  <a:pt x="18" y="391"/>
                  <a:pt x="19" y="392"/>
                  <a:pt x="19" y="392"/>
                </a:cubicBezTo>
                <a:cubicBezTo>
                  <a:pt x="20" y="392"/>
                  <a:pt x="20" y="391"/>
                  <a:pt x="21" y="392"/>
                </a:cubicBezTo>
                <a:cubicBezTo>
                  <a:pt x="21" y="392"/>
                  <a:pt x="21" y="392"/>
                  <a:pt x="20" y="392"/>
                </a:cubicBezTo>
                <a:cubicBezTo>
                  <a:pt x="21" y="393"/>
                  <a:pt x="21" y="394"/>
                  <a:pt x="21" y="394"/>
                </a:cubicBezTo>
                <a:cubicBezTo>
                  <a:pt x="22" y="395"/>
                  <a:pt x="22" y="395"/>
                  <a:pt x="22" y="395"/>
                </a:cubicBezTo>
                <a:cubicBezTo>
                  <a:pt x="22" y="396"/>
                  <a:pt x="22" y="397"/>
                  <a:pt x="22" y="397"/>
                </a:cubicBezTo>
                <a:cubicBezTo>
                  <a:pt x="22" y="397"/>
                  <a:pt x="22" y="396"/>
                  <a:pt x="21" y="396"/>
                </a:cubicBezTo>
                <a:cubicBezTo>
                  <a:pt x="21" y="395"/>
                  <a:pt x="20" y="395"/>
                  <a:pt x="20" y="394"/>
                </a:cubicBezTo>
                <a:cubicBezTo>
                  <a:pt x="20" y="395"/>
                  <a:pt x="19" y="396"/>
                  <a:pt x="19" y="397"/>
                </a:cubicBezTo>
                <a:cubicBezTo>
                  <a:pt x="20" y="397"/>
                  <a:pt x="20" y="398"/>
                  <a:pt x="21" y="399"/>
                </a:cubicBezTo>
                <a:cubicBezTo>
                  <a:pt x="21" y="400"/>
                  <a:pt x="21" y="399"/>
                  <a:pt x="21" y="399"/>
                </a:cubicBezTo>
                <a:cubicBezTo>
                  <a:pt x="21" y="399"/>
                  <a:pt x="21" y="399"/>
                  <a:pt x="21" y="398"/>
                </a:cubicBezTo>
                <a:cubicBezTo>
                  <a:pt x="22" y="398"/>
                  <a:pt x="22" y="398"/>
                  <a:pt x="22" y="398"/>
                </a:cubicBezTo>
                <a:cubicBezTo>
                  <a:pt x="22" y="398"/>
                  <a:pt x="23" y="398"/>
                  <a:pt x="23" y="398"/>
                </a:cubicBezTo>
                <a:cubicBezTo>
                  <a:pt x="23" y="399"/>
                  <a:pt x="22" y="399"/>
                  <a:pt x="22" y="400"/>
                </a:cubicBezTo>
                <a:cubicBezTo>
                  <a:pt x="22" y="400"/>
                  <a:pt x="24" y="402"/>
                  <a:pt x="24" y="403"/>
                </a:cubicBezTo>
                <a:cubicBezTo>
                  <a:pt x="24" y="402"/>
                  <a:pt x="23" y="401"/>
                  <a:pt x="23" y="401"/>
                </a:cubicBezTo>
                <a:cubicBezTo>
                  <a:pt x="20" y="401"/>
                  <a:pt x="24" y="404"/>
                  <a:pt x="24" y="404"/>
                </a:cubicBezTo>
                <a:cubicBezTo>
                  <a:pt x="23" y="404"/>
                  <a:pt x="20" y="402"/>
                  <a:pt x="21" y="404"/>
                </a:cubicBezTo>
                <a:cubicBezTo>
                  <a:pt x="21" y="405"/>
                  <a:pt x="22" y="405"/>
                  <a:pt x="22" y="405"/>
                </a:cubicBezTo>
                <a:cubicBezTo>
                  <a:pt x="22" y="406"/>
                  <a:pt x="22" y="406"/>
                  <a:pt x="22" y="406"/>
                </a:cubicBezTo>
                <a:cubicBezTo>
                  <a:pt x="22" y="407"/>
                  <a:pt x="23" y="407"/>
                  <a:pt x="22" y="407"/>
                </a:cubicBezTo>
                <a:cubicBezTo>
                  <a:pt x="22" y="408"/>
                  <a:pt x="21" y="408"/>
                  <a:pt x="21" y="408"/>
                </a:cubicBezTo>
                <a:cubicBezTo>
                  <a:pt x="22" y="409"/>
                  <a:pt x="23" y="408"/>
                  <a:pt x="23" y="408"/>
                </a:cubicBezTo>
                <a:cubicBezTo>
                  <a:pt x="23" y="409"/>
                  <a:pt x="20" y="412"/>
                  <a:pt x="22" y="411"/>
                </a:cubicBezTo>
                <a:cubicBezTo>
                  <a:pt x="22" y="412"/>
                  <a:pt x="22" y="412"/>
                  <a:pt x="22" y="413"/>
                </a:cubicBezTo>
                <a:cubicBezTo>
                  <a:pt x="22" y="412"/>
                  <a:pt x="23" y="412"/>
                  <a:pt x="23" y="412"/>
                </a:cubicBezTo>
                <a:cubicBezTo>
                  <a:pt x="24" y="411"/>
                  <a:pt x="24" y="411"/>
                  <a:pt x="24" y="410"/>
                </a:cubicBezTo>
                <a:cubicBezTo>
                  <a:pt x="25" y="411"/>
                  <a:pt x="25" y="412"/>
                  <a:pt x="26" y="411"/>
                </a:cubicBezTo>
                <a:cubicBezTo>
                  <a:pt x="26" y="411"/>
                  <a:pt x="26" y="411"/>
                  <a:pt x="26" y="411"/>
                </a:cubicBezTo>
                <a:cubicBezTo>
                  <a:pt x="27" y="410"/>
                  <a:pt x="28" y="409"/>
                  <a:pt x="29" y="410"/>
                </a:cubicBezTo>
                <a:cubicBezTo>
                  <a:pt x="28" y="410"/>
                  <a:pt x="25" y="412"/>
                  <a:pt x="26" y="413"/>
                </a:cubicBezTo>
                <a:cubicBezTo>
                  <a:pt x="25" y="413"/>
                  <a:pt x="24" y="413"/>
                  <a:pt x="23" y="413"/>
                </a:cubicBezTo>
                <a:cubicBezTo>
                  <a:pt x="23" y="414"/>
                  <a:pt x="25" y="415"/>
                  <a:pt x="25" y="414"/>
                </a:cubicBezTo>
                <a:cubicBezTo>
                  <a:pt x="25" y="415"/>
                  <a:pt x="27" y="415"/>
                  <a:pt x="26" y="416"/>
                </a:cubicBezTo>
                <a:cubicBezTo>
                  <a:pt x="26" y="416"/>
                  <a:pt x="24" y="416"/>
                  <a:pt x="24" y="416"/>
                </a:cubicBezTo>
                <a:cubicBezTo>
                  <a:pt x="25" y="417"/>
                  <a:pt x="26" y="418"/>
                  <a:pt x="28" y="417"/>
                </a:cubicBezTo>
                <a:cubicBezTo>
                  <a:pt x="29" y="417"/>
                  <a:pt x="29" y="417"/>
                  <a:pt x="29" y="416"/>
                </a:cubicBezTo>
                <a:cubicBezTo>
                  <a:pt x="29" y="415"/>
                  <a:pt x="28" y="414"/>
                  <a:pt x="28" y="414"/>
                </a:cubicBezTo>
                <a:cubicBezTo>
                  <a:pt x="28" y="413"/>
                  <a:pt x="30" y="413"/>
                  <a:pt x="31" y="412"/>
                </a:cubicBezTo>
                <a:cubicBezTo>
                  <a:pt x="32" y="411"/>
                  <a:pt x="31" y="412"/>
                  <a:pt x="31" y="411"/>
                </a:cubicBezTo>
                <a:cubicBezTo>
                  <a:pt x="31" y="411"/>
                  <a:pt x="30" y="411"/>
                  <a:pt x="30" y="411"/>
                </a:cubicBezTo>
                <a:cubicBezTo>
                  <a:pt x="29" y="411"/>
                  <a:pt x="29" y="412"/>
                  <a:pt x="28" y="412"/>
                </a:cubicBezTo>
                <a:cubicBezTo>
                  <a:pt x="29" y="412"/>
                  <a:pt x="29" y="411"/>
                  <a:pt x="29" y="411"/>
                </a:cubicBezTo>
                <a:cubicBezTo>
                  <a:pt x="30" y="410"/>
                  <a:pt x="33" y="410"/>
                  <a:pt x="35" y="409"/>
                </a:cubicBezTo>
                <a:cubicBezTo>
                  <a:pt x="34" y="410"/>
                  <a:pt x="34" y="410"/>
                  <a:pt x="34" y="410"/>
                </a:cubicBezTo>
                <a:cubicBezTo>
                  <a:pt x="34" y="412"/>
                  <a:pt x="35" y="411"/>
                  <a:pt x="37" y="411"/>
                </a:cubicBezTo>
                <a:cubicBezTo>
                  <a:pt x="37" y="412"/>
                  <a:pt x="35" y="413"/>
                  <a:pt x="34" y="414"/>
                </a:cubicBezTo>
                <a:cubicBezTo>
                  <a:pt x="34" y="414"/>
                  <a:pt x="34" y="414"/>
                  <a:pt x="33" y="414"/>
                </a:cubicBezTo>
                <a:cubicBezTo>
                  <a:pt x="32" y="413"/>
                  <a:pt x="32" y="414"/>
                  <a:pt x="31" y="414"/>
                </a:cubicBezTo>
                <a:cubicBezTo>
                  <a:pt x="31" y="414"/>
                  <a:pt x="32" y="413"/>
                  <a:pt x="32" y="413"/>
                </a:cubicBezTo>
                <a:cubicBezTo>
                  <a:pt x="32" y="412"/>
                  <a:pt x="31" y="413"/>
                  <a:pt x="30" y="413"/>
                </a:cubicBezTo>
                <a:cubicBezTo>
                  <a:pt x="29" y="414"/>
                  <a:pt x="29" y="417"/>
                  <a:pt x="29" y="418"/>
                </a:cubicBezTo>
                <a:cubicBezTo>
                  <a:pt x="30" y="419"/>
                  <a:pt x="31" y="419"/>
                  <a:pt x="31" y="420"/>
                </a:cubicBezTo>
                <a:cubicBezTo>
                  <a:pt x="31" y="420"/>
                  <a:pt x="30" y="419"/>
                  <a:pt x="29" y="419"/>
                </a:cubicBezTo>
                <a:cubicBezTo>
                  <a:pt x="28" y="418"/>
                  <a:pt x="28" y="419"/>
                  <a:pt x="27" y="419"/>
                </a:cubicBezTo>
                <a:cubicBezTo>
                  <a:pt x="27" y="419"/>
                  <a:pt x="26" y="419"/>
                  <a:pt x="25" y="419"/>
                </a:cubicBezTo>
                <a:cubicBezTo>
                  <a:pt x="26" y="419"/>
                  <a:pt x="27" y="420"/>
                  <a:pt x="28" y="421"/>
                </a:cubicBezTo>
                <a:cubicBezTo>
                  <a:pt x="28" y="421"/>
                  <a:pt x="29" y="421"/>
                  <a:pt x="29" y="421"/>
                </a:cubicBezTo>
                <a:cubicBezTo>
                  <a:pt x="30" y="422"/>
                  <a:pt x="30" y="423"/>
                  <a:pt x="31" y="422"/>
                </a:cubicBezTo>
                <a:cubicBezTo>
                  <a:pt x="31" y="423"/>
                  <a:pt x="33" y="424"/>
                  <a:pt x="35" y="424"/>
                </a:cubicBezTo>
                <a:cubicBezTo>
                  <a:pt x="34" y="422"/>
                  <a:pt x="33" y="422"/>
                  <a:pt x="32" y="421"/>
                </a:cubicBezTo>
                <a:cubicBezTo>
                  <a:pt x="33" y="422"/>
                  <a:pt x="34" y="421"/>
                  <a:pt x="33" y="420"/>
                </a:cubicBezTo>
                <a:cubicBezTo>
                  <a:pt x="35" y="420"/>
                  <a:pt x="34" y="420"/>
                  <a:pt x="33" y="419"/>
                </a:cubicBezTo>
                <a:cubicBezTo>
                  <a:pt x="34" y="419"/>
                  <a:pt x="36" y="420"/>
                  <a:pt x="35" y="419"/>
                </a:cubicBezTo>
                <a:cubicBezTo>
                  <a:pt x="35" y="419"/>
                  <a:pt x="36" y="419"/>
                  <a:pt x="37" y="419"/>
                </a:cubicBezTo>
                <a:cubicBezTo>
                  <a:pt x="37" y="418"/>
                  <a:pt x="36" y="418"/>
                  <a:pt x="35" y="418"/>
                </a:cubicBezTo>
                <a:cubicBezTo>
                  <a:pt x="35" y="418"/>
                  <a:pt x="35" y="417"/>
                  <a:pt x="34" y="417"/>
                </a:cubicBezTo>
                <a:cubicBezTo>
                  <a:pt x="34" y="417"/>
                  <a:pt x="33" y="417"/>
                  <a:pt x="33" y="417"/>
                </a:cubicBezTo>
                <a:cubicBezTo>
                  <a:pt x="34" y="416"/>
                  <a:pt x="36" y="418"/>
                  <a:pt x="37" y="418"/>
                </a:cubicBezTo>
                <a:cubicBezTo>
                  <a:pt x="38" y="418"/>
                  <a:pt x="39" y="417"/>
                  <a:pt x="39" y="417"/>
                </a:cubicBezTo>
                <a:cubicBezTo>
                  <a:pt x="40" y="416"/>
                  <a:pt x="41" y="415"/>
                  <a:pt x="42" y="415"/>
                </a:cubicBezTo>
                <a:cubicBezTo>
                  <a:pt x="43" y="414"/>
                  <a:pt x="45" y="414"/>
                  <a:pt x="46" y="414"/>
                </a:cubicBezTo>
                <a:cubicBezTo>
                  <a:pt x="48" y="414"/>
                  <a:pt x="47" y="414"/>
                  <a:pt x="47" y="415"/>
                </a:cubicBezTo>
                <a:cubicBezTo>
                  <a:pt x="47" y="416"/>
                  <a:pt x="46" y="417"/>
                  <a:pt x="45" y="418"/>
                </a:cubicBezTo>
                <a:cubicBezTo>
                  <a:pt x="44" y="418"/>
                  <a:pt x="43" y="418"/>
                  <a:pt x="43" y="419"/>
                </a:cubicBezTo>
                <a:cubicBezTo>
                  <a:pt x="42" y="419"/>
                  <a:pt x="41" y="419"/>
                  <a:pt x="41" y="419"/>
                </a:cubicBezTo>
                <a:cubicBezTo>
                  <a:pt x="40" y="420"/>
                  <a:pt x="42" y="422"/>
                  <a:pt x="41" y="423"/>
                </a:cubicBezTo>
                <a:cubicBezTo>
                  <a:pt x="40" y="424"/>
                  <a:pt x="38" y="424"/>
                  <a:pt x="38" y="424"/>
                </a:cubicBezTo>
                <a:cubicBezTo>
                  <a:pt x="39" y="423"/>
                  <a:pt x="40" y="423"/>
                  <a:pt x="40" y="423"/>
                </a:cubicBezTo>
                <a:cubicBezTo>
                  <a:pt x="41" y="422"/>
                  <a:pt x="41" y="421"/>
                  <a:pt x="40" y="420"/>
                </a:cubicBezTo>
                <a:cubicBezTo>
                  <a:pt x="40" y="420"/>
                  <a:pt x="39" y="419"/>
                  <a:pt x="38" y="419"/>
                </a:cubicBezTo>
                <a:cubicBezTo>
                  <a:pt x="38" y="420"/>
                  <a:pt x="39" y="421"/>
                  <a:pt x="38" y="421"/>
                </a:cubicBezTo>
                <a:cubicBezTo>
                  <a:pt x="38" y="422"/>
                  <a:pt x="37" y="422"/>
                  <a:pt x="36" y="422"/>
                </a:cubicBezTo>
                <a:cubicBezTo>
                  <a:pt x="38" y="422"/>
                  <a:pt x="38" y="419"/>
                  <a:pt x="36" y="420"/>
                </a:cubicBezTo>
                <a:cubicBezTo>
                  <a:pt x="34" y="420"/>
                  <a:pt x="36" y="425"/>
                  <a:pt x="37" y="426"/>
                </a:cubicBezTo>
                <a:cubicBezTo>
                  <a:pt x="38" y="426"/>
                  <a:pt x="38" y="426"/>
                  <a:pt x="38" y="426"/>
                </a:cubicBezTo>
                <a:cubicBezTo>
                  <a:pt x="38" y="426"/>
                  <a:pt x="39" y="426"/>
                  <a:pt x="39" y="426"/>
                </a:cubicBezTo>
                <a:cubicBezTo>
                  <a:pt x="40" y="426"/>
                  <a:pt x="40" y="427"/>
                  <a:pt x="41" y="427"/>
                </a:cubicBezTo>
                <a:cubicBezTo>
                  <a:pt x="42" y="428"/>
                  <a:pt x="45" y="429"/>
                  <a:pt x="46" y="428"/>
                </a:cubicBezTo>
                <a:cubicBezTo>
                  <a:pt x="48" y="428"/>
                  <a:pt x="49" y="427"/>
                  <a:pt x="49" y="426"/>
                </a:cubicBezTo>
                <a:cubicBezTo>
                  <a:pt x="49" y="425"/>
                  <a:pt x="49" y="425"/>
                  <a:pt x="49" y="424"/>
                </a:cubicBezTo>
                <a:cubicBezTo>
                  <a:pt x="49" y="423"/>
                  <a:pt x="49" y="423"/>
                  <a:pt x="49" y="422"/>
                </a:cubicBezTo>
                <a:cubicBezTo>
                  <a:pt x="49" y="420"/>
                  <a:pt x="49" y="419"/>
                  <a:pt x="50" y="418"/>
                </a:cubicBezTo>
                <a:cubicBezTo>
                  <a:pt x="50" y="417"/>
                  <a:pt x="51" y="415"/>
                  <a:pt x="50" y="415"/>
                </a:cubicBezTo>
                <a:cubicBezTo>
                  <a:pt x="51" y="414"/>
                  <a:pt x="50" y="414"/>
                  <a:pt x="51" y="413"/>
                </a:cubicBezTo>
                <a:cubicBezTo>
                  <a:pt x="51" y="413"/>
                  <a:pt x="51" y="413"/>
                  <a:pt x="50" y="413"/>
                </a:cubicBezTo>
                <a:cubicBezTo>
                  <a:pt x="52" y="412"/>
                  <a:pt x="53" y="412"/>
                  <a:pt x="55" y="412"/>
                </a:cubicBezTo>
                <a:cubicBezTo>
                  <a:pt x="58" y="411"/>
                  <a:pt x="61" y="411"/>
                  <a:pt x="64" y="408"/>
                </a:cubicBezTo>
                <a:cubicBezTo>
                  <a:pt x="65" y="407"/>
                  <a:pt x="66" y="406"/>
                  <a:pt x="66" y="406"/>
                </a:cubicBezTo>
                <a:cubicBezTo>
                  <a:pt x="66" y="406"/>
                  <a:pt x="66" y="406"/>
                  <a:pt x="66" y="406"/>
                </a:cubicBezTo>
                <a:close/>
                <a:moveTo>
                  <a:pt x="34" y="402"/>
                </a:moveTo>
                <a:cubicBezTo>
                  <a:pt x="33" y="402"/>
                  <a:pt x="33" y="401"/>
                  <a:pt x="32" y="403"/>
                </a:cubicBezTo>
                <a:cubicBezTo>
                  <a:pt x="32" y="404"/>
                  <a:pt x="34" y="405"/>
                  <a:pt x="34" y="406"/>
                </a:cubicBezTo>
                <a:cubicBezTo>
                  <a:pt x="33" y="408"/>
                  <a:pt x="31" y="408"/>
                  <a:pt x="29" y="409"/>
                </a:cubicBezTo>
                <a:cubicBezTo>
                  <a:pt x="30" y="408"/>
                  <a:pt x="34" y="407"/>
                  <a:pt x="33" y="405"/>
                </a:cubicBezTo>
                <a:cubicBezTo>
                  <a:pt x="33" y="404"/>
                  <a:pt x="32" y="404"/>
                  <a:pt x="32" y="403"/>
                </a:cubicBezTo>
                <a:cubicBezTo>
                  <a:pt x="30" y="400"/>
                  <a:pt x="29" y="403"/>
                  <a:pt x="29" y="405"/>
                </a:cubicBezTo>
                <a:cubicBezTo>
                  <a:pt x="30" y="404"/>
                  <a:pt x="30" y="404"/>
                  <a:pt x="31" y="403"/>
                </a:cubicBezTo>
                <a:cubicBezTo>
                  <a:pt x="31" y="404"/>
                  <a:pt x="30" y="405"/>
                  <a:pt x="30" y="405"/>
                </a:cubicBezTo>
                <a:cubicBezTo>
                  <a:pt x="29" y="406"/>
                  <a:pt x="29" y="405"/>
                  <a:pt x="27" y="405"/>
                </a:cubicBezTo>
                <a:cubicBezTo>
                  <a:pt x="28" y="405"/>
                  <a:pt x="28" y="404"/>
                  <a:pt x="28" y="403"/>
                </a:cubicBezTo>
                <a:cubicBezTo>
                  <a:pt x="28" y="403"/>
                  <a:pt x="26" y="404"/>
                  <a:pt x="26" y="405"/>
                </a:cubicBezTo>
                <a:cubicBezTo>
                  <a:pt x="26" y="405"/>
                  <a:pt x="26" y="405"/>
                  <a:pt x="26" y="405"/>
                </a:cubicBezTo>
                <a:cubicBezTo>
                  <a:pt x="25" y="404"/>
                  <a:pt x="25" y="403"/>
                  <a:pt x="25" y="402"/>
                </a:cubicBezTo>
                <a:cubicBezTo>
                  <a:pt x="26" y="403"/>
                  <a:pt x="26" y="404"/>
                  <a:pt x="27" y="403"/>
                </a:cubicBezTo>
                <a:cubicBezTo>
                  <a:pt x="27" y="402"/>
                  <a:pt x="27" y="402"/>
                  <a:pt x="27" y="401"/>
                </a:cubicBezTo>
                <a:cubicBezTo>
                  <a:pt x="27" y="401"/>
                  <a:pt x="30" y="400"/>
                  <a:pt x="28" y="400"/>
                </a:cubicBezTo>
                <a:cubicBezTo>
                  <a:pt x="28" y="400"/>
                  <a:pt x="28" y="400"/>
                  <a:pt x="28" y="401"/>
                </a:cubicBezTo>
                <a:cubicBezTo>
                  <a:pt x="27" y="401"/>
                  <a:pt x="27" y="401"/>
                  <a:pt x="26" y="401"/>
                </a:cubicBezTo>
                <a:cubicBezTo>
                  <a:pt x="27" y="401"/>
                  <a:pt x="27" y="400"/>
                  <a:pt x="27" y="400"/>
                </a:cubicBezTo>
                <a:cubicBezTo>
                  <a:pt x="27" y="399"/>
                  <a:pt x="27" y="399"/>
                  <a:pt x="28" y="399"/>
                </a:cubicBezTo>
                <a:cubicBezTo>
                  <a:pt x="28" y="399"/>
                  <a:pt x="27" y="399"/>
                  <a:pt x="27" y="398"/>
                </a:cubicBezTo>
                <a:cubicBezTo>
                  <a:pt x="27" y="398"/>
                  <a:pt x="27" y="398"/>
                  <a:pt x="27" y="398"/>
                </a:cubicBezTo>
                <a:cubicBezTo>
                  <a:pt x="28" y="399"/>
                  <a:pt x="28" y="398"/>
                  <a:pt x="28" y="399"/>
                </a:cubicBezTo>
                <a:cubicBezTo>
                  <a:pt x="29" y="400"/>
                  <a:pt x="29" y="399"/>
                  <a:pt x="29" y="399"/>
                </a:cubicBezTo>
                <a:cubicBezTo>
                  <a:pt x="30" y="399"/>
                  <a:pt x="30" y="399"/>
                  <a:pt x="30" y="399"/>
                </a:cubicBezTo>
                <a:cubicBezTo>
                  <a:pt x="30" y="400"/>
                  <a:pt x="31" y="400"/>
                  <a:pt x="31" y="400"/>
                </a:cubicBezTo>
                <a:cubicBezTo>
                  <a:pt x="32" y="400"/>
                  <a:pt x="33" y="399"/>
                  <a:pt x="32" y="399"/>
                </a:cubicBezTo>
                <a:cubicBezTo>
                  <a:pt x="32" y="398"/>
                  <a:pt x="32" y="399"/>
                  <a:pt x="31" y="398"/>
                </a:cubicBezTo>
                <a:cubicBezTo>
                  <a:pt x="31" y="398"/>
                  <a:pt x="31" y="398"/>
                  <a:pt x="31" y="398"/>
                </a:cubicBezTo>
                <a:cubicBezTo>
                  <a:pt x="30" y="397"/>
                  <a:pt x="30" y="397"/>
                  <a:pt x="29" y="397"/>
                </a:cubicBezTo>
                <a:cubicBezTo>
                  <a:pt x="28" y="396"/>
                  <a:pt x="27" y="396"/>
                  <a:pt x="26" y="395"/>
                </a:cubicBezTo>
                <a:cubicBezTo>
                  <a:pt x="27" y="395"/>
                  <a:pt x="28" y="395"/>
                  <a:pt x="29" y="396"/>
                </a:cubicBezTo>
                <a:cubicBezTo>
                  <a:pt x="30" y="397"/>
                  <a:pt x="31" y="397"/>
                  <a:pt x="33" y="399"/>
                </a:cubicBezTo>
                <a:cubicBezTo>
                  <a:pt x="33" y="399"/>
                  <a:pt x="34" y="401"/>
                  <a:pt x="34" y="402"/>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02" name="Freeform 2958">
            <a:extLst>
              <a:ext uri="{FF2B5EF4-FFF2-40B4-BE49-F238E27FC236}">
                <a16:creationId xmlns:a16="http://schemas.microsoft.com/office/drawing/2014/main" id="{2BD1F0C9-30DF-4C67-AA6D-C3B0642025A5}"/>
              </a:ext>
            </a:extLst>
          </p:cNvPr>
          <p:cNvSpPr>
            <a:spLocks/>
          </p:cNvSpPr>
          <p:nvPr/>
        </p:nvSpPr>
        <p:spPr bwMode="auto">
          <a:xfrm>
            <a:off x="2461861" y="4079125"/>
            <a:ext cx="235391" cy="506930"/>
          </a:xfrm>
          <a:custGeom>
            <a:avLst/>
            <a:gdLst>
              <a:gd name="T0" fmla="*/ 152 w 201"/>
              <a:gd name="T1" fmla="*/ 132 h 361"/>
              <a:gd name="T2" fmla="*/ 154 w 201"/>
              <a:gd name="T3" fmla="*/ 111 h 361"/>
              <a:gd name="T4" fmla="*/ 157 w 201"/>
              <a:gd name="T5" fmla="*/ 102 h 361"/>
              <a:gd name="T6" fmla="*/ 162 w 201"/>
              <a:gd name="T7" fmla="*/ 88 h 361"/>
              <a:gd name="T8" fmla="*/ 183 w 201"/>
              <a:gd name="T9" fmla="*/ 65 h 361"/>
              <a:gd name="T10" fmla="*/ 199 w 201"/>
              <a:gd name="T11" fmla="*/ 54 h 361"/>
              <a:gd name="T12" fmla="*/ 197 w 201"/>
              <a:gd name="T13" fmla="*/ 41 h 361"/>
              <a:gd name="T14" fmla="*/ 193 w 201"/>
              <a:gd name="T15" fmla="*/ 41 h 361"/>
              <a:gd name="T16" fmla="*/ 182 w 201"/>
              <a:gd name="T17" fmla="*/ 60 h 361"/>
              <a:gd name="T18" fmla="*/ 174 w 201"/>
              <a:gd name="T19" fmla="*/ 62 h 361"/>
              <a:gd name="T20" fmla="*/ 150 w 201"/>
              <a:gd name="T21" fmla="*/ 60 h 361"/>
              <a:gd name="T22" fmla="*/ 160 w 201"/>
              <a:gd name="T23" fmla="*/ 39 h 361"/>
              <a:gd name="T24" fmla="*/ 128 w 201"/>
              <a:gd name="T25" fmla="*/ 22 h 361"/>
              <a:gd name="T26" fmla="*/ 116 w 201"/>
              <a:gd name="T27" fmla="*/ 11 h 361"/>
              <a:gd name="T28" fmla="*/ 109 w 201"/>
              <a:gd name="T29" fmla="*/ 4 h 361"/>
              <a:gd name="T30" fmla="*/ 99 w 201"/>
              <a:gd name="T31" fmla="*/ 2 h 361"/>
              <a:gd name="T32" fmla="*/ 85 w 201"/>
              <a:gd name="T33" fmla="*/ 3 h 361"/>
              <a:gd name="T34" fmla="*/ 67 w 201"/>
              <a:gd name="T35" fmla="*/ 7 h 361"/>
              <a:gd name="T36" fmla="*/ 65 w 201"/>
              <a:gd name="T37" fmla="*/ 16 h 361"/>
              <a:gd name="T38" fmla="*/ 51 w 201"/>
              <a:gd name="T39" fmla="*/ 31 h 361"/>
              <a:gd name="T40" fmla="*/ 53 w 201"/>
              <a:gd name="T41" fmla="*/ 52 h 361"/>
              <a:gd name="T42" fmla="*/ 49 w 201"/>
              <a:gd name="T43" fmla="*/ 58 h 361"/>
              <a:gd name="T44" fmla="*/ 39 w 201"/>
              <a:gd name="T45" fmla="*/ 72 h 361"/>
              <a:gd name="T46" fmla="*/ 37 w 201"/>
              <a:gd name="T47" fmla="*/ 85 h 361"/>
              <a:gd name="T48" fmla="*/ 33 w 201"/>
              <a:gd name="T49" fmla="*/ 98 h 361"/>
              <a:gd name="T50" fmla="*/ 31 w 201"/>
              <a:gd name="T51" fmla="*/ 105 h 361"/>
              <a:gd name="T52" fmla="*/ 35 w 201"/>
              <a:gd name="T53" fmla="*/ 119 h 361"/>
              <a:gd name="T54" fmla="*/ 37 w 201"/>
              <a:gd name="T55" fmla="*/ 132 h 361"/>
              <a:gd name="T56" fmla="*/ 33 w 201"/>
              <a:gd name="T57" fmla="*/ 144 h 361"/>
              <a:gd name="T58" fmla="*/ 32 w 201"/>
              <a:gd name="T59" fmla="*/ 157 h 361"/>
              <a:gd name="T60" fmla="*/ 26 w 201"/>
              <a:gd name="T61" fmla="*/ 163 h 361"/>
              <a:gd name="T62" fmla="*/ 27 w 201"/>
              <a:gd name="T63" fmla="*/ 184 h 361"/>
              <a:gd name="T64" fmla="*/ 21 w 201"/>
              <a:gd name="T65" fmla="*/ 199 h 361"/>
              <a:gd name="T66" fmla="*/ 18 w 201"/>
              <a:gd name="T67" fmla="*/ 209 h 361"/>
              <a:gd name="T68" fmla="*/ 17 w 201"/>
              <a:gd name="T69" fmla="*/ 231 h 361"/>
              <a:gd name="T70" fmla="*/ 19 w 201"/>
              <a:gd name="T71" fmla="*/ 243 h 361"/>
              <a:gd name="T72" fmla="*/ 18 w 201"/>
              <a:gd name="T73" fmla="*/ 255 h 361"/>
              <a:gd name="T74" fmla="*/ 19 w 201"/>
              <a:gd name="T75" fmla="*/ 264 h 361"/>
              <a:gd name="T76" fmla="*/ 22 w 201"/>
              <a:gd name="T77" fmla="*/ 271 h 361"/>
              <a:gd name="T78" fmla="*/ 18 w 201"/>
              <a:gd name="T79" fmla="*/ 280 h 361"/>
              <a:gd name="T80" fmla="*/ 15 w 201"/>
              <a:gd name="T81" fmla="*/ 296 h 361"/>
              <a:gd name="T82" fmla="*/ 10 w 201"/>
              <a:gd name="T83" fmla="*/ 303 h 361"/>
              <a:gd name="T84" fmla="*/ 10 w 201"/>
              <a:gd name="T85" fmla="*/ 311 h 361"/>
              <a:gd name="T86" fmla="*/ 3 w 201"/>
              <a:gd name="T87" fmla="*/ 322 h 361"/>
              <a:gd name="T88" fmla="*/ 0 w 201"/>
              <a:gd name="T89" fmla="*/ 332 h 361"/>
              <a:gd name="T90" fmla="*/ 4 w 201"/>
              <a:gd name="T91" fmla="*/ 339 h 361"/>
              <a:gd name="T92" fmla="*/ 13 w 201"/>
              <a:gd name="T93" fmla="*/ 339 h 361"/>
              <a:gd name="T94" fmla="*/ 13 w 201"/>
              <a:gd name="T95" fmla="*/ 352 h 361"/>
              <a:gd name="T96" fmla="*/ 36 w 201"/>
              <a:gd name="T97" fmla="*/ 356 h 361"/>
              <a:gd name="T98" fmla="*/ 42 w 201"/>
              <a:gd name="T99" fmla="*/ 352 h 361"/>
              <a:gd name="T100" fmla="*/ 51 w 201"/>
              <a:gd name="T101" fmla="*/ 332 h 361"/>
              <a:gd name="T102" fmla="*/ 65 w 201"/>
              <a:gd name="T103" fmla="*/ 313 h 361"/>
              <a:gd name="T104" fmla="*/ 67 w 201"/>
              <a:gd name="T105" fmla="*/ 290 h 361"/>
              <a:gd name="T106" fmla="*/ 84 w 201"/>
              <a:gd name="T107" fmla="*/ 257 h 361"/>
              <a:gd name="T108" fmla="*/ 97 w 201"/>
              <a:gd name="T109" fmla="*/ 230 h 361"/>
              <a:gd name="T110" fmla="*/ 89 w 201"/>
              <a:gd name="T111" fmla="*/ 214 h 361"/>
              <a:gd name="T112" fmla="*/ 114 w 201"/>
              <a:gd name="T113" fmla="*/ 202 h 361"/>
              <a:gd name="T114" fmla="*/ 161 w 201"/>
              <a:gd name="T115" fmla="*/ 18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 h="361">
                <a:moveTo>
                  <a:pt x="167" y="160"/>
                </a:moveTo>
                <a:cubicBezTo>
                  <a:pt x="165" y="159"/>
                  <a:pt x="165" y="158"/>
                  <a:pt x="164" y="155"/>
                </a:cubicBezTo>
                <a:cubicBezTo>
                  <a:pt x="164" y="153"/>
                  <a:pt x="165" y="153"/>
                  <a:pt x="166" y="151"/>
                </a:cubicBezTo>
                <a:cubicBezTo>
                  <a:pt x="167" y="150"/>
                  <a:pt x="166" y="148"/>
                  <a:pt x="165" y="147"/>
                </a:cubicBezTo>
                <a:cubicBezTo>
                  <a:pt x="164" y="147"/>
                  <a:pt x="163" y="146"/>
                  <a:pt x="162" y="145"/>
                </a:cubicBezTo>
                <a:cubicBezTo>
                  <a:pt x="160" y="144"/>
                  <a:pt x="158" y="143"/>
                  <a:pt x="155" y="142"/>
                </a:cubicBezTo>
                <a:cubicBezTo>
                  <a:pt x="155" y="143"/>
                  <a:pt x="154" y="143"/>
                  <a:pt x="153" y="143"/>
                </a:cubicBezTo>
                <a:cubicBezTo>
                  <a:pt x="151" y="143"/>
                  <a:pt x="150" y="142"/>
                  <a:pt x="150" y="140"/>
                </a:cubicBezTo>
                <a:cubicBezTo>
                  <a:pt x="150" y="139"/>
                  <a:pt x="151" y="138"/>
                  <a:pt x="152" y="138"/>
                </a:cubicBezTo>
                <a:cubicBezTo>
                  <a:pt x="152" y="138"/>
                  <a:pt x="151" y="134"/>
                  <a:pt x="152" y="132"/>
                </a:cubicBezTo>
                <a:cubicBezTo>
                  <a:pt x="152" y="132"/>
                  <a:pt x="152" y="132"/>
                  <a:pt x="152" y="132"/>
                </a:cubicBezTo>
                <a:cubicBezTo>
                  <a:pt x="152" y="131"/>
                  <a:pt x="152" y="131"/>
                  <a:pt x="152" y="131"/>
                </a:cubicBezTo>
                <a:cubicBezTo>
                  <a:pt x="152" y="130"/>
                  <a:pt x="152" y="128"/>
                  <a:pt x="152" y="127"/>
                </a:cubicBezTo>
                <a:cubicBezTo>
                  <a:pt x="152" y="126"/>
                  <a:pt x="153" y="125"/>
                  <a:pt x="154" y="123"/>
                </a:cubicBezTo>
                <a:cubicBezTo>
                  <a:pt x="154" y="123"/>
                  <a:pt x="155" y="122"/>
                  <a:pt x="155" y="122"/>
                </a:cubicBezTo>
                <a:cubicBezTo>
                  <a:pt x="155" y="122"/>
                  <a:pt x="155" y="122"/>
                  <a:pt x="155" y="122"/>
                </a:cubicBezTo>
                <a:cubicBezTo>
                  <a:pt x="156" y="121"/>
                  <a:pt x="155" y="120"/>
                  <a:pt x="155" y="120"/>
                </a:cubicBezTo>
                <a:cubicBezTo>
                  <a:pt x="155" y="119"/>
                  <a:pt x="155" y="119"/>
                  <a:pt x="155" y="119"/>
                </a:cubicBezTo>
                <a:cubicBezTo>
                  <a:pt x="154" y="117"/>
                  <a:pt x="154" y="116"/>
                  <a:pt x="154" y="114"/>
                </a:cubicBezTo>
                <a:cubicBezTo>
                  <a:pt x="154" y="114"/>
                  <a:pt x="154" y="114"/>
                  <a:pt x="154" y="113"/>
                </a:cubicBezTo>
                <a:cubicBezTo>
                  <a:pt x="154" y="113"/>
                  <a:pt x="154" y="113"/>
                  <a:pt x="154" y="113"/>
                </a:cubicBezTo>
                <a:cubicBezTo>
                  <a:pt x="154" y="112"/>
                  <a:pt x="154" y="112"/>
                  <a:pt x="154" y="111"/>
                </a:cubicBezTo>
                <a:cubicBezTo>
                  <a:pt x="154" y="111"/>
                  <a:pt x="154" y="111"/>
                  <a:pt x="154" y="111"/>
                </a:cubicBezTo>
                <a:cubicBezTo>
                  <a:pt x="154" y="110"/>
                  <a:pt x="154" y="110"/>
                  <a:pt x="154" y="110"/>
                </a:cubicBezTo>
                <a:cubicBezTo>
                  <a:pt x="154" y="110"/>
                  <a:pt x="154" y="110"/>
                  <a:pt x="154" y="110"/>
                </a:cubicBezTo>
                <a:cubicBezTo>
                  <a:pt x="154" y="110"/>
                  <a:pt x="154" y="110"/>
                  <a:pt x="154" y="109"/>
                </a:cubicBezTo>
                <a:cubicBezTo>
                  <a:pt x="155" y="109"/>
                  <a:pt x="155" y="108"/>
                  <a:pt x="156" y="108"/>
                </a:cubicBezTo>
                <a:cubicBezTo>
                  <a:pt x="156" y="108"/>
                  <a:pt x="156" y="108"/>
                  <a:pt x="156" y="108"/>
                </a:cubicBezTo>
                <a:cubicBezTo>
                  <a:pt x="156" y="107"/>
                  <a:pt x="156" y="107"/>
                  <a:pt x="156" y="107"/>
                </a:cubicBezTo>
                <a:cubicBezTo>
                  <a:pt x="156" y="106"/>
                  <a:pt x="156" y="106"/>
                  <a:pt x="156" y="106"/>
                </a:cubicBezTo>
                <a:cubicBezTo>
                  <a:pt x="156" y="105"/>
                  <a:pt x="156" y="105"/>
                  <a:pt x="156" y="104"/>
                </a:cubicBezTo>
                <a:cubicBezTo>
                  <a:pt x="157" y="103"/>
                  <a:pt x="157" y="103"/>
                  <a:pt x="157" y="103"/>
                </a:cubicBezTo>
                <a:cubicBezTo>
                  <a:pt x="157" y="103"/>
                  <a:pt x="157" y="103"/>
                  <a:pt x="157" y="102"/>
                </a:cubicBezTo>
                <a:cubicBezTo>
                  <a:pt x="157" y="101"/>
                  <a:pt x="158" y="100"/>
                  <a:pt x="158" y="99"/>
                </a:cubicBezTo>
                <a:cubicBezTo>
                  <a:pt x="158" y="99"/>
                  <a:pt x="158" y="98"/>
                  <a:pt x="158" y="98"/>
                </a:cubicBezTo>
                <a:cubicBezTo>
                  <a:pt x="158" y="97"/>
                  <a:pt x="158" y="97"/>
                  <a:pt x="158" y="97"/>
                </a:cubicBezTo>
                <a:cubicBezTo>
                  <a:pt x="158" y="97"/>
                  <a:pt x="158" y="97"/>
                  <a:pt x="158" y="96"/>
                </a:cubicBezTo>
                <a:cubicBezTo>
                  <a:pt x="158" y="96"/>
                  <a:pt x="158" y="96"/>
                  <a:pt x="158" y="96"/>
                </a:cubicBezTo>
                <a:cubicBezTo>
                  <a:pt x="158" y="96"/>
                  <a:pt x="157" y="95"/>
                  <a:pt x="157" y="95"/>
                </a:cubicBezTo>
                <a:cubicBezTo>
                  <a:pt x="157" y="94"/>
                  <a:pt x="158" y="92"/>
                  <a:pt x="159" y="91"/>
                </a:cubicBezTo>
                <a:cubicBezTo>
                  <a:pt x="159" y="91"/>
                  <a:pt x="160" y="90"/>
                  <a:pt x="160" y="89"/>
                </a:cubicBezTo>
                <a:cubicBezTo>
                  <a:pt x="161" y="89"/>
                  <a:pt x="161" y="89"/>
                  <a:pt x="161" y="89"/>
                </a:cubicBezTo>
                <a:cubicBezTo>
                  <a:pt x="161" y="89"/>
                  <a:pt x="161" y="89"/>
                  <a:pt x="161" y="89"/>
                </a:cubicBezTo>
                <a:cubicBezTo>
                  <a:pt x="162" y="88"/>
                  <a:pt x="162" y="88"/>
                  <a:pt x="162" y="88"/>
                </a:cubicBezTo>
                <a:cubicBezTo>
                  <a:pt x="165" y="85"/>
                  <a:pt x="168" y="82"/>
                  <a:pt x="170" y="79"/>
                </a:cubicBezTo>
                <a:cubicBezTo>
                  <a:pt x="171" y="78"/>
                  <a:pt x="171" y="78"/>
                  <a:pt x="172" y="77"/>
                </a:cubicBezTo>
                <a:cubicBezTo>
                  <a:pt x="173" y="76"/>
                  <a:pt x="174" y="75"/>
                  <a:pt x="175" y="74"/>
                </a:cubicBezTo>
                <a:cubicBezTo>
                  <a:pt x="176" y="72"/>
                  <a:pt x="178" y="71"/>
                  <a:pt x="179" y="70"/>
                </a:cubicBezTo>
                <a:cubicBezTo>
                  <a:pt x="179" y="69"/>
                  <a:pt x="179" y="69"/>
                  <a:pt x="179" y="68"/>
                </a:cubicBezTo>
                <a:cubicBezTo>
                  <a:pt x="179" y="68"/>
                  <a:pt x="179" y="68"/>
                  <a:pt x="179" y="68"/>
                </a:cubicBezTo>
                <a:cubicBezTo>
                  <a:pt x="180" y="67"/>
                  <a:pt x="180" y="67"/>
                  <a:pt x="181" y="66"/>
                </a:cubicBezTo>
                <a:cubicBezTo>
                  <a:pt x="182" y="66"/>
                  <a:pt x="182" y="66"/>
                  <a:pt x="182" y="66"/>
                </a:cubicBezTo>
                <a:cubicBezTo>
                  <a:pt x="182" y="66"/>
                  <a:pt x="182" y="66"/>
                  <a:pt x="182" y="66"/>
                </a:cubicBezTo>
                <a:cubicBezTo>
                  <a:pt x="183" y="66"/>
                  <a:pt x="183" y="66"/>
                  <a:pt x="183" y="66"/>
                </a:cubicBezTo>
                <a:cubicBezTo>
                  <a:pt x="183" y="66"/>
                  <a:pt x="183" y="66"/>
                  <a:pt x="183" y="65"/>
                </a:cubicBezTo>
                <a:cubicBezTo>
                  <a:pt x="183" y="65"/>
                  <a:pt x="184" y="65"/>
                  <a:pt x="184" y="65"/>
                </a:cubicBezTo>
                <a:cubicBezTo>
                  <a:pt x="184" y="64"/>
                  <a:pt x="185" y="64"/>
                  <a:pt x="185" y="64"/>
                </a:cubicBezTo>
                <a:cubicBezTo>
                  <a:pt x="186" y="63"/>
                  <a:pt x="186" y="63"/>
                  <a:pt x="186" y="63"/>
                </a:cubicBezTo>
                <a:cubicBezTo>
                  <a:pt x="187" y="62"/>
                  <a:pt x="187" y="62"/>
                  <a:pt x="187" y="62"/>
                </a:cubicBezTo>
                <a:cubicBezTo>
                  <a:pt x="188" y="61"/>
                  <a:pt x="189" y="60"/>
                  <a:pt x="191" y="59"/>
                </a:cubicBezTo>
                <a:cubicBezTo>
                  <a:pt x="193" y="59"/>
                  <a:pt x="195" y="58"/>
                  <a:pt x="197" y="57"/>
                </a:cubicBezTo>
                <a:cubicBezTo>
                  <a:pt x="198" y="57"/>
                  <a:pt x="198" y="57"/>
                  <a:pt x="198" y="57"/>
                </a:cubicBezTo>
                <a:cubicBezTo>
                  <a:pt x="199" y="56"/>
                  <a:pt x="199" y="56"/>
                  <a:pt x="199" y="56"/>
                </a:cubicBezTo>
                <a:cubicBezTo>
                  <a:pt x="199" y="56"/>
                  <a:pt x="199" y="56"/>
                  <a:pt x="199" y="56"/>
                </a:cubicBezTo>
                <a:cubicBezTo>
                  <a:pt x="199" y="56"/>
                  <a:pt x="199" y="56"/>
                  <a:pt x="199" y="55"/>
                </a:cubicBezTo>
                <a:cubicBezTo>
                  <a:pt x="199" y="55"/>
                  <a:pt x="199" y="55"/>
                  <a:pt x="199" y="54"/>
                </a:cubicBezTo>
                <a:cubicBezTo>
                  <a:pt x="199" y="54"/>
                  <a:pt x="199" y="54"/>
                  <a:pt x="199" y="54"/>
                </a:cubicBezTo>
                <a:cubicBezTo>
                  <a:pt x="200" y="54"/>
                  <a:pt x="200" y="54"/>
                  <a:pt x="200" y="53"/>
                </a:cubicBezTo>
                <a:cubicBezTo>
                  <a:pt x="200" y="52"/>
                  <a:pt x="200" y="52"/>
                  <a:pt x="200" y="52"/>
                </a:cubicBezTo>
                <a:cubicBezTo>
                  <a:pt x="200" y="52"/>
                  <a:pt x="200" y="51"/>
                  <a:pt x="200" y="51"/>
                </a:cubicBezTo>
                <a:cubicBezTo>
                  <a:pt x="200" y="51"/>
                  <a:pt x="200" y="51"/>
                  <a:pt x="200" y="51"/>
                </a:cubicBezTo>
                <a:cubicBezTo>
                  <a:pt x="201" y="49"/>
                  <a:pt x="201" y="48"/>
                  <a:pt x="200" y="46"/>
                </a:cubicBezTo>
                <a:cubicBezTo>
                  <a:pt x="198" y="41"/>
                  <a:pt x="198" y="41"/>
                  <a:pt x="198" y="41"/>
                </a:cubicBezTo>
                <a:cubicBezTo>
                  <a:pt x="198" y="41"/>
                  <a:pt x="198" y="41"/>
                  <a:pt x="198" y="41"/>
                </a:cubicBezTo>
                <a:cubicBezTo>
                  <a:pt x="198" y="41"/>
                  <a:pt x="198" y="41"/>
                  <a:pt x="198" y="41"/>
                </a:cubicBezTo>
                <a:cubicBezTo>
                  <a:pt x="198" y="41"/>
                  <a:pt x="197" y="41"/>
                  <a:pt x="197" y="41"/>
                </a:cubicBezTo>
                <a:cubicBezTo>
                  <a:pt x="197" y="41"/>
                  <a:pt x="197" y="41"/>
                  <a:pt x="197" y="41"/>
                </a:cubicBezTo>
                <a:cubicBezTo>
                  <a:pt x="197" y="41"/>
                  <a:pt x="197" y="41"/>
                  <a:pt x="197" y="41"/>
                </a:cubicBezTo>
                <a:cubicBezTo>
                  <a:pt x="197" y="41"/>
                  <a:pt x="196" y="41"/>
                  <a:pt x="196" y="41"/>
                </a:cubicBezTo>
                <a:cubicBezTo>
                  <a:pt x="196" y="41"/>
                  <a:pt x="196" y="41"/>
                  <a:pt x="196" y="41"/>
                </a:cubicBezTo>
                <a:cubicBezTo>
                  <a:pt x="196" y="41"/>
                  <a:pt x="195" y="42"/>
                  <a:pt x="194" y="42"/>
                </a:cubicBezTo>
                <a:cubicBezTo>
                  <a:pt x="194" y="42"/>
                  <a:pt x="194" y="42"/>
                  <a:pt x="194" y="42"/>
                </a:cubicBezTo>
                <a:cubicBezTo>
                  <a:pt x="194" y="44"/>
                  <a:pt x="194" y="44"/>
                  <a:pt x="194" y="44"/>
                </a:cubicBezTo>
                <a:cubicBezTo>
                  <a:pt x="194" y="42"/>
                  <a:pt x="194" y="42"/>
                  <a:pt x="194" y="42"/>
                </a:cubicBezTo>
                <a:cubicBezTo>
                  <a:pt x="193" y="42"/>
                  <a:pt x="193" y="41"/>
                  <a:pt x="193" y="41"/>
                </a:cubicBezTo>
                <a:cubicBezTo>
                  <a:pt x="193" y="41"/>
                  <a:pt x="193" y="41"/>
                  <a:pt x="193" y="41"/>
                </a:cubicBezTo>
                <a:cubicBezTo>
                  <a:pt x="193" y="41"/>
                  <a:pt x="193" y="41"/>
                  <a:pt x="193" y="41"/>
                </a:cubicBezTo>
                <a:cubicBezTo>
                  <a:pt x="193" y="41"/>
                  <a:pt x="193" y="41"/>
                  <a:pt x="193" y="41"/>
                </a:cubicBezTo>
                <a:cubicBezTo>
                  <a:pt x="193" y="44"/>
                  <a:pt x="193" y="47"/>
                  <a:pt x="192" y="49"/>
                </a:cubicBezTo>
                <a:cubicBezTo>
                  <a:pt x="191" y="51"/>
                  <a:pt x="191" y="51"/>
                  <a:pt x="190" y="52"/>
                </a:cubicBezTo>
                <a:cubicBezTo>
                  <a:pt x="189" y="53"/>
                  <a:pt x="188" y="54"/>
                  <a:pt x="188" y="54"/>
                </a:cubicBezTo>
                <a:cubicBezTo>
                  <a:pt x="187" y="55"/>
                  <a:pt x="186" y="56"/>
                  <a:pt x="185" y="56"/>
                </a:cubicBezTo>
                <a:cubicBezTo>
                  <a:pt x="184" y="57"/>
                  <a:pt x="184" y="57"/>
                  <a:pt x="184" y="57"/>
                </a:cubicBezTo>
                <a:cubicBezTo>
                  <a:pt x="184" y="57"/>
                  <a:pt x="183" y="57"/>
                  <a:pt x="183" y="57"/>
                </a:cubicBezTo>
                <a:cubicBezTo>
                  <a:pt x="183" y="58"/>
                  <a:pt x="183" y="58"/>
                  <a:pt x="183" y="58"/>
                </a:cubicBezTo>
                <a:cubicBezTo>
                  <a:pt x="183" y="58"/>
                  <a:pt x="183" y="58"/>
                  <a:pt x="183" y="58"/>
                </a:cubicBezTo>
                <a:cubicBezTo>
                  <a:pt x="183" y="58"/>
                  <a:pt x="183" y="59"/>
                  <a:pt x="182" y="59"/>
                </a:cubicBezTo>
                <a:cubicBezTo>
                  <a:pt x="182" y="59"/>
                  <a:pt x="182" y="60"/>
                  <a:pt x="182" y="60"/>
                </a:cubicBezTo>
                <a:cubicBezTo>
                  <a:pt x="182" y="60"/>
                  <a:pt x="182" y="60"/>
                  <a:pt x="182" y="60"/>
                </a:cubicBezTo>
                <a:cubicBezTo>
                  <a:pt x="182" y="60"/>
                  <a:pt x="182" y="60"/>
                  <a:pt x="182" y="60"/>
                </a:cubicBezTo>
                <a:cubicBezTo>
                  <a:pt x="182" y="60"/>
                  <a:pt x="182" y="60"/>
                  <a:pt x="182" y="60"/>
                </a:cubicBezTo>
                <a:cubicBezTo>
                  <a:pt x="181" y="60"/>
                  <a:pt x="180" y="61"/>
                  <a:pt x="179" y="60"/>
                </a:cubicBezTo>
                <a:cubicBezTo>
                  <a:pt x="178" y="60"/>
                  <a:pt x="178" y="60"/>
                  <a:pt x="178" y="60"/>
                </a:cubicBezTo>
                <a:cubicBezTo>
                  <a:pt x="178" y="60"/>
                  <a:pt x="178" y="60"/>
                  <a:pt x="178" y="60"/>
                </a:cubicBezTo>
                <a:cubicBezTo>
                  <a:pt x="178" y="60"/>
                  <a:pt x="178" y="60"/>
                  <a:pt x="178" y="60"/>
                </a:cubicBezTo>
                <a:cubicBezTo>
                  <a:pt x="177" y="60"/>
                  <a:pt x="177" y="61"/>
                  <a:pt x="176" y="61"/>
                </a:cubicBezTo>
                <a:cubicBezTo>
                  <a:pt x="176" y="62"/>
                  <a:pt x="176" y="62"/>
                  <a:pt x="176" y="62"/>
                </a:cubicBezTo>
                <a:cubicBezTo>
                  <a:pt x="176" y="62"/>
                  <a:pt x="175" y="62"/>
                  <a:pt x="175" y="62"/>
                </a:cubicBezTo>
                <a:cubicBezTo>
                  <a:pt x="175" y="62"/>
                  <a:pt x="174" y="63"/>
                  <a:pt x="174" y="63"/>
                </a:cubicBezTo>
                <a:cubicBezTo>
                  <a:pt x="174" y="62"/>
                  <a:pt x="174" y="62"/>
                  <a:pt x="174" y="62"/>
                </a:cubicBezTo>
                <a:cubicBezTo>
                  <a:pt x="173" y="62"/>
                  <a:pt x="173" y="62"/>
                  <a:pt x="172" y="62"/>
                </a:cubicBezTo>
                <a:cubicBezTo>
                  <a:pt x="172" y="62"/>
                  <a:pt x="172" y="62"/>
                  <a:pt x="172" y="62"/>
                </a:cubicBezTo>
                <a:cubicBezTo>
                  <a:pt x="172" y="61"/>
                  <a:pt x="172" y="61"/>
                  <a:pt x="172" y="61"/>
                </a:cubicBezTo>
                <a:cubicBezTo>
                  <a:pt x="171" y="61"/>
                  <a:pt x="171" y="61"/>
                  <a:pt x="171" y="61"/>
                </a:cubicBezTo>
                <a:cubicBezTo>
                  <a:pt x="170" y="61"/>
                  <a:pt x="169" y="61"/>
                  <a:pt x="168" y="61"/>
                </a:cubicBezTo>
                <a:cubicBezTo>
                  <a:pt x="167" y="61"/>
                  <a:pt x="167" y="61"/>
                  <a:pt x="167" y="61"/>
                </a:cubicBezTo>
                <a:cubicBezTo>
                  <a:pt x="165" y="61"/>
                  <a:pt x="164" y="61"/>
                  <a:pt x="162" y="60"/>
                </a:cubicBezTo>
                <a:cubicBezTo>
                  <a:pt x="161" y="60"/>
                  <a:pt x="160" y="60"/>
                  <a:pt x="160" y="60"/>
                </a:cubicBezTo>
                <a:cubicBezTo>
                  <a:pt x="160" y="60"/>
                  <a:pt x="160" y="60"/>
                  <a:pt x="160" y="60"/>
                </a:cubicBezTo>
                <a:cubicBezTo>
                  <a:pt x="157" y="59"/>
                  <a:pt x="155" y="59"/>
                  <a:pt x="151" y="60"/>
                </a:cubicBezTo>
                <a:cubicBezTo>
                  <a:pt x="150" y="60"/>
                  <a:pt x="150" y="60"/>
                  <a:pt x="150" y="60"/>
                </a:cubicBezTo>
                <a:cubicBezTo>
                  <a:pt x="150" y="59"/>
                  <a:pt x="150" y="59"/>
                  <a:pt x="150" y="59"/>
                </a:cubicBezTo>
                <a:cubicBezTo>
                  <a:pt x="150" y="58"/>
                  <a:pt x="150" y="58"/>
                  <a:pt x="150" y="58"/>
                </a:cubicBezTo>
                <a:cubicBezTo>
                  <a:pt x="150" y="58"/>
                  <a:pt x="150" y="57"/>
                  <a:pt x="150" y="56"/>
                </a:cubicBezTo>
                <a:cubicBezTo>
                  <a:pt x="150" y="56"/>
                  <a:pt x="150" y="56"/>
                  <a:pt x="150" y="55"/>
                </a:cubicBezTo>
                <a:cubicBezTo>
                  <a:pt x="151" y="55"/>
                  <a:pt x="151" y="55"/>
                  <a:pt x="151" y="54"/>
                </a:cubicBezTo>
                <a:cubicBezTo>
                  <a:pt x="152" y="54"/>
                  <a:pt x="153" y="53"/>
                  <a:pt x="153" y="53"/>
                </a:cubicBezTo>
                <a:cubicBezTo>
                  <a:pt x="153" y="52"/>
                  <a:pt x="153" y="52"/>
                  <a:pt x="153" y="52"/>
                </a:cubicBezTo>
                <a:cubicBezTo>
                  <a:pt x="154" y="49"/>
                  <a:pt x="155" y="47"/>
                  <a:pt x="156" y="44"/>
                </a:cubicBezTo>
                <a:cubicBezTo>
                  <a:pt x="157" y="44"/>
                  <a:pt x="157" y="43"/>
                  <a:pt x="158" y="42"/>
                </a:cubicBezTo>
                <a:cubicBezTo>
                  <a:pt x="158" y="42"/>
                  <a:pt x="158" y="42"/>
                  <a:pt x="158" y="42"/>
                </a:cubicBezTo>
                <a:cubicBezTo>
                  <a:pt x="159" y="41"/>
                  <a:pt x="160" y="40"/>
                  <a:pt x="160" y="39"/>
                </a:cubicBezTo>
                <a:cubicBezTo>
                  <a:pt x="160" y="39"/>
                  <a:pt x="160" y="38"/>
                  <a:pt x="160" y="38"/>
                </a:cubicBezTo>
                <a:cubicBezTo>
                  <a:pt x="160" y="38"/>
                  <a:pt x="160" y="37"/>
                  <a:pt x="160" y="37"/>
                </a:cubicBezTo>
                <a:cubicBezTo>
                  <a:pt x="158" y="36"/>
                  <a:pt x="156" y="35"/>
                  <a:pt x="154" y="34"/>
                </a:cubicBezTo>
                <a:cubicBezTo>
                  <a:pt x="150" y="32"/>
                  <a:pt x="146" y="30"/>
                  <a:pt x="143" y="28"/>
                </a:cubicBezTo>
                <a:cubicBezTo>
                  <a:pt x="142" y="27"/>
                  <a:pt x="141" y="27"/>
                  <a:pt x="141" y="27"/>
                </a:cubicBezTo>
                <a:cubicBezTo>
                  <a:pt x="140" y="26"/>
                  <a:pt x="140" y="26"/>
                  <a:pt x="140" y="26"/>
                </a:cubicBezTo>
                <a:cubicBezTo>
                  <a:pt x="139" y="25"/>
                  <a:pt x="138" y="24"/>
                  <a:pt x="137" y="24"/>
                </a:cubicBezTo>
                <a:cubicBezTo>
                  <a:pt x="136" y="23"/>
                  <a:pt x="135" y="23"/>
                  <a:pt x="134" y="23"/>
                </a:cubicBezTo>
                <a:cubicBezTo>
                  <a:pt x="133" y="23"/>
                  <a:pt x="133" y="23"/>
                  <a:pt x="132" y="23"/>
                </a:cubicBezTo>
                <a:cubicBezTo>
                  <a:pt x="131" y="23"/>
                  <a:pt x="130" y="22"/>
                  <a:pt x="129" y="22"/>
                </a:cubicBezTo>
                <a:cubicBezTo>
                  <a:pt x="128" y="22"/>
                  <a:pt x="128" y="22"/>
                  <a:pt x="128" y="22"/>
                </a:cubicBezTo>
                <a:cubicBezTo>
                  <a:pt x="128" y="22"/>
                  <a:pt x="128" y="22"/>
                  <a:pt x="127" y="22"/>
                </a:cubicBezTo>
                <a:cubicBezTo>
                  <a:pt x="126" y="21"/>
                  <a:pt x="125" y="20"/>
                  <a:pt x="124" y="19"/>
                </a:cubicBezTo>
                <a:cubicBezTo>
                  <a:pt x="123" y="19"/>
                  <a:pt x="122" y="18"/>
                  <a:pt x="122" y="18"/>
                </a:cubicBezTo>
                <a:cubicBezTo>
                  <a:pt x="121" y="17"/>
                  <a:pt x="121" y="17"/>
                  <a:pt x="120" y="16"/>
                </a:cubicBezTo>
                <a:cubicBezTo>
                  <a:pt x="120" y="16"/>
                  <a:pt x="120" y="16"/>
                  <a:pt x="120" y="16"/>
                </a:cubicBezTo>
                <a:cubicBezTo>
                  <a:pt x="119" y="15"/>
                  <a:pt x="119" y="15"/>
                  <a:pt x="119" y="15"/>
                </a:cubicBezTo>
                <a:cubicBezTo>
                  <a:pt x="119" y="14"/>
                  <a:pt x="118" y="14"/>
                  <a:pt x="118" y="14"/>
                </a:cubicBezTo>
                <a:cubicBezTo>
                  <a:pt x="118" y="14"/>
                  <a:pt x="118" y="14"/>
                  <a:pt x="118" y="14"/>
                </a:cubicBezTo>
                <a:cubicBezTo>
                  <a:pt x="118" y="14"/>
                  <a:pt x="117" y="13"/>
                  <a:pt x="117" y="13"/>
                </a:cubicBezTo>
                <a:cubicBezTo>
                  <a:pt x="117" y="13"/>
                  <a:pt x="117" y="13"/>
                  <a:pt x="117" y="13"/>
                </a:cubicBezTo>
                <a:cubicBezTo>
                  <a:pt x="116" y="12"/>
                  <a:pt x="116" y="12"/>
                  <a:pt x="116" y="11"/>
                </a:cubicBezTo>
                <a:cubicBezTo>
                  <a:pt x="115" y="11"/>
                  <a:pt x="115" y="11"/>
                  <a:pt x="115" y="11"/>
                </a:cubicBezTo>
                <a:cubicBezTo>
                  <a:pt x="115" y="11"/>
                  <a:pt x="115" y="10"/>
                  <a:pt x="115" y="10"/>
                </a:cubicBezTo>
                <a:cubicBezTo>
                  <a:pt x="114" y="10"/>
                  <a:pt x="114" y="10"/>
                  <a:pt x="114" y="10"/>
                </a:cubicBezTo>
                <a:cubicBezTo>
                  <a:pt x="114" y="9"/>
                  <a:pt x="114" y="9"/>
                  <a:pt x="114" y="9"/>
                </a:cubicBezTo>
                <a:cubicBezTo>
                  <a:pt x="113" y="8"/>
                  <a:pt x="113" y="8"/>
                  <a:pt x="113" y="7"/>
                </a:cubicBezTo>
                <a:cubicBezTo>
                  <a:pt x="113" y="7"/>
                  <a:pt x="112" y="7"/>
                  <a:pt x="112" y="7"/>
                </a:cubicBezTo>
                <a:cubicBezTo>
                  <a:pt x="112" y="7"/>
                  <a:pt x="112" y="6"/>
                  <a:pt x="112" y="6"/>
                </a:cubicBezTo>
                <a:cubicBezTo>
                  <a:pt x="111" y="6"/>
                  <a:pt x="111" y="6"/>
                  <a:pt x="111" y="5"/>
                </a:cubicBezTo>
                <a:cubicBezTo>
                  <a:pt x="111" y="6"/>
                  <a:pt x="111" y="6"/>
                  <a:pt x="111" y="6"/>
                </a:cubicBezTo>
                <a:cubicBezTo>
                  <a:pt x="110" y="5"/>
                  <a:pt x="110" y="5"/>
                  <a:pt x="110" y="5"/>
                </a:cubicBezTo>
                <a:cubicBezTo>
                  <a:pt x="109" y="4"/>
                  <a:pt x="109" y="4"/>
                  <a:pt x="109" y="4"/>
                </a:cubicBezTo>
                <a:cubicBezTo>
                  <a:pt x="109" y="4"/>
                  <a:pt x="109" y="4"/>
                  <a:pt x="108" y="3"/>
                </a:cubicBezTo>
                <a:cubicBezTo>
                  <a:pt x="108" y="3"/>
                  <a:pt x="108" y="3"/>
                  <a:pt x="108" y="3"/>
                </a:cubicBezTo>
                <a:cubicBezTo>
                  <a:pt x="108" y="3"/>
                  <a:pt x="108" y="3"/>
                  <a:pt x="108" y="2"/>
                </a:cubicBezTo>
                <a:cubicBezTo>
                  <a:pt x="107" y="2"/>
                  <a:pt x="107" y="2"/>
                  <a:pt x="107" y="2"/>
                </a:cubicBezTo>
                <a:cubicBezTo>
                  <a:pt x="107" y="2"/>
                  <a:pt x="107" y="2"/>
                  <a:pt x="107" y="2"/>
                </a:cubicBezTo>
                <a:cubicBezTo>
                  <a:pt x="107" y="2"/>
                  <a:pt x="107" y="2"/>
                  <a:pt x="107" y="2"/>
                </a:cubicBezTo>
                <a:cubicBezTo>
                  <a:pt x="106" y="2"/>
                  <a:pt x="106" y="2"/>
                  <a:pt x="106" y="2"/>
                </a:cubicBezTo>
                <a:cubicBezTo>
                  <a:pt x="100" y="2"/>
                  <a:pt x="100" y="2"/>
                  <a:pt x="100" y="2"/>
                </a:cubicBezTo>
                <a:cubicBezTo>
                  <a:pt x="100" y="2"/>
                  <a:pt x="100" y="2"/>
                  <a:pt x="100" y="2"/>
                </a:cubicBezTo>
                <a:cubicBezTo>
                  <a:pt x="99" y="2"/>
                  <a:pt x="99" y="2"/>
                  <a:pt x="99" y="2"/>
                </a:cubicBezTo>
                <a:cubicBezTo>
                  <a:pt x="99" y="2"/>
                  <a:pt x="99" y="2"/>
                  <a:pt x="99" y="2"/>
                </a:cubicBezTo>
                <a:cubicBezTo>
                  <a:pt x="98" y="2"/>
                  <a:pt x="98" y="2"/>
                  <a:pt x="98" y="2"/>
                </a:cubicBezTo>
                <a:cubicBezTo>
                  <a:pt x="96" y="5"/>
                  <a:pt x="95" y="7"/>
                  <a:pt x="94" y="10"/>
                </a:cubicBezTo>
                <a:cubicBezTo>
                  <a:pt x="93" y="13"/>
                  <a:pt x="93" y="13"/>
                  <a:pt x="93" y="13"/>
                </a:cubicBezTo>
                <a:cubicBezTo>
                  <a:pt x="92" y="10"/>
                  <a:pt x="92" y="10"/>
                  <a:pt x="92" y="10"/>
                </a:cubicBezTo>
                <a:cubicBezTo>
                  <a:pt x="92" y="10"/>
                  <a:pt x="91" y="9"/>
                  <a:pt x="91" y="8"/>
                </a:cubicBezTo>
                <a:cubicBezTo>
                  <a:pt x="91" y="8"/>
                  <a:pt x="91" y="8"/>
                  <a:pt x="91" y="8"/>
                </a:cubicBezTo>
                <a:cubicBezTo>
                  <a:pt x="90" y="6"/>
                  <a:pt x="90" y="5"/>
                  <a:pt x="90" y="4"/>
                </a:cubicBezTo>
                <a:cubicBezTo>
                  <a:pt x="89" y="4"/>
                  <a:pt x="89" y="4"/>
                  <a:pt x="88" y="4"/>
                </a:cubicBezTo>
                <a:cubicBezTo>
                  <a:pt x="88" y="4"/>
                  <a:pt x="87" y="4"/>
                  <a:pt x="87" y="3"/>
                </a:cubicBezTo>
                <a:cubicBezTo>
                  <a:pt x="86" y="3"/>
                  <a:pt x="86" y="3"/>
                  <a:pt x="86" y="3"/>
                </a:cubicBezTo>
                <a:cubicBezTo>
                  <a:pt x="86" y="3"/>
                  <a:pt x="85" y="3"/>
                  <a:pt x="85" y="3"/>
                </a:cubicBezTo>
                <a:cubicBezTo>
                  <a:pt x="84" y="3"/>
                  <a:pt x="84" y="3"/>
                  <a:pt x="84" y="3"/>
                </a:cubicBezTo>
                <a:cubicBezTo>
                  <a:pt x="84" y="3"/>
                  <a:pt x="83" y="3"/>
                  <a:pt x="82" y="3"/>
                </a:cubicBezTo>
                <a:cubicBezTo>
                  <a:pt x="81" y="3"/>
                  <a:pt x="81" y="3"/>
                  <a:pt x="80" y="3"/>
                </a:cubicBezTo>
                <a:cubicBezTo>
                  <a:pt x="78" y="3"/>
                  <a:pt x="77" y="2"/>
                  <a:pt x="76" y="1"/>
                </a:cubicBezTo>
                <a:cubicBezTo>
                  <a:pt x="76" y="1"/>
                  <a:pt x="76" y="1"/>
                  <a:pt x="76" y="1"/>
                </a:cubicBezTo>
                <a:cubicBezTo>
                  <a:pt x="75" y="1"/>
                  <a:pt x="75" y="0"/>
                  <a:pt x="74" y="0"/>
                </a:cubicBezTo>
                <a:cubicBezTo>
                  <a:pt x="74" y="1"/>
                  <a:pt x="74" y="1"/>
                  <a:pt x="74" y="1"/>
                </a:cubicBezTo>
                <a:cubicBezTo>
                  <a:pt x="74" y="2"/>
                  <a:pt x="74" y="2"/>
                  <a:pt x="73" y="3"/>
                </a:cubicBezTo>
                <a:cubicBezTo>
                  <a:pt x="73" y="3"/>
                  <a:pt x="72" y="3"/>
                  <a:pt x="72" y="3"/>
                </a:cubicBezTo>
                <a:cubicBezTo>
                  <a:pt x="71" y="4"/>
                  <a:pt x="70" y="4"/>
                  <a:pt x="70" y="5"/>
                </a:cubicBezTo>
                <a:cubicBezTo>
                  <a:pt x="69" y="5"/>
                  <a:pt x="68" y="6"/>
                  <a:pt x="67" y="7"/>
                </a:cubicBezTo>
                <a:cubicBezTo>
                  <a:pt x="67" y="8"/>
                  <a:pt x="67" y="8"/>
                  <a:pt x="67" y="8"/>
                </a:cubicBezTo>
                <a:cubicBezTo>
                  <a:pt x="67" y="8"/>
                  <a:pt x="67" y="8"/>
                  <a:pt x="67" y="8"/>
                </a:cubicBezTo>
                <a:cubicBezTo>
                  <a:pt x="66" y="8"/>
                  <a:pt x="66" y="9"/>
                  <a:pt x="66" y="9"/>
                </a:cubicBezTo>
                <a:cubicBezTo>
                  <a:pt x="66" y="9"/>
                  <a:pt x="66" y="9"/>
                  <a:pt x="66" y="9"/>
                </a:cubicBezTo>
                <a:cubicBezTo>
                  <a:pt x="66" y="9"/>
                  <a:pt x="66" y="9"/>
                  <a:pt x="66" y="9"/>
                </a:cubicBezTo>
                <a:cubicBezTo>
                  <a:pt x="66" y="9"/>
                  <a:pt x="66" y="10"/>
                  <a:pt x="66" y="10"/>
                </a:cubicBezTo>
                <a:cubicBezTo>
                  <a:pt x="66" y="10"/>
                  <a:pt x="66" y="10"/>
                  <a:pt x="66" y="11"/>
                </a:cubicBezTo>
                <a:cubicBezTo>
                  <a:pt x="67" y="11"/>
                  <a:pt x="67" y="12"/>
                  <a:pt x="66" y="12"/>
                </a:cubicBezTo>
                <a:cubicBezTo>
                  <a:pt x="66" y="13"/>
                  <a:pt x="66" y="13"/>
                  <a:pt x="66" y="13"/>
                </a:cubicBezTo>
                <a:cubicBezTo>
                  <a:pt x="66" y="14"/>
                  <a:pt x="66" y="15"/>
                  <a:pt x="65" y="16"/>
                </a:cubicBezTo>
                <a:cubicBezTo>
                  <a:pt x="65" y="16"/>
                  <a:pt x="65" y="16"/>
                  <a:pt x="65" y="16"/>
                </a:cubicBezTo>
                <a:cubicBezTo>
                  <a:pt x="65" y="17"/>
                  <a:pt x="65" y="17"/>
                  <a:pt x="65" y="17"/>
                </a:cubicBezTo>
                <a:cubicBezTo>
                  <a:pt x="65" y="17"/>
                  <a:pt x="65" y="18"/>
                  <a:pt x="65" y="18"/>
                </a:cubicBezTo>
                <a:cubicBezTo>
                  <a:pt x="65" y="19"/>
                  <a:pt x="65" y="19"/>
                  <a:pt x="65" y="19"/>
                </a:cubicBezTo>
                <a:cubicBezTo>
                  <a:pt x="64" y="20"/>
                  <a:pt x="64" y="22"/>
                  <a:pt x="63" y="23"/>
                </a:cubicBezTo>
                <a:cubicBezTo>
                  <a:pt x="63" y="23"/>
                  <a:pt x="62" y="24"/>
                  <a:pt x="62" y="24"/>
                </a:cubicBezTo>
                <a:cubicBezTo>
                  <a:pt x="61" y="24"/>
                  <a:pt x="61" y="24"/>
                  <a:pt x="60" y="25"/>
                </a:cubicBezTo>
                <a:cubicBezTo>
                  <a:pt x="60" y="25"/>
                  <a:pt x="60" y="25"/>
                  <a:pt x="59" y="25"/>
                </a:cubicBezTo>
                <a:cubicBezTo>
                  <a:pt x="55" y="27"/>
                  <a:pt x="55" y="27"/>
                  <a:pt x="55" y="27"/>
                </a:cubicBezTo>
                <a:cubicBezTo>
                  <a:pt x="54" y="27"/>
                  <a:pt x="53" y="28"/>
                  <a:pt x="52" y="29"/>
                </a:cubicBezTo>
                <a:cubicBezTo>
                  <a:pt x="52" y="29"/>
                  <a:pt x="52" y="29"/>
                  <a:pt x="52" y="30"/>
                </a:cubicBezTo>
                <a:cubicBezTo>
                  <a:pt x="51" y="31"/>
                  <a:pt x="51" y="31"/>
                  <a:pt x="51" y="31"/>
                </a:cubicBezTo>
                <a:cubicBezTo>
                  <a:pt x="51" y="32"/>
                  <a:pt x="52" y="33"/>
                  <a:pt x="52" y="33"/>
                </a:cubicBezTo>
                <a:cubicBezTo>
                  <a:pt x="54" y="34"/>
                  <a:pt x="54" y="34"/>
                  <a:pt x="54" y="34"/>
                </a:cubicBezTo>
                <a:cubicBezTo>
                  <a:pt x="52" y="35"/>
                  <a:pt x="52" y="35"/>
                  <a:pt x="52" y="35"/>
                </a:cubicBezTo>
                <a:cubicBezTo>
                  <a:pt x="52" y="35"/>
                  <a:pt x="52" y="36"/>
                  <a:pt x="52" y="36"/>
                </a:cubicBezTo>
                <a:cubicBezTo>
                  <a:pt x="51" y="36"/>
                  <a:pt x="51" y="36"/>
                  <a:pt x="51" y="36"/>
                </a:cubicBezTo>
                <a:cubicBezTo>
                  <a:pt x="51" y="42"/>
                  <a:pt x="51" y="42"/>
                  <a:pt x="51" y="42"/>
                </a:cubicBezTo>
                <a:cubicBezTo>
                  <a:pt x="51" y="44"/>
                  <a:pt x="51" y="46"/>
                  <a:pt x="51" y="48"/>
                </a:cubicBezTo>
                <a:cubicBezTo>
                  <a:pt x="51" y="48"/>
                  <a:pt x="51" y="48"/>
                  <a:pt x="51" y="48"/>
                </a:cubicBezTo>
                <a:cubicBezTo>
                  <a:pt x="51" y="49"/>
                  <a:pt x="51" y="49"/>
                  <a:pt x="51" y="49"/>
                </a:cubicBezTo>
                <a:cubicBezTo>
                  <a:pt x="51" y="50"/>
                  <a:pt x="51" y="50"/>
                  <a:pt x="52" y="51"/>
                </a:cubicBezTo>
                <a:cubicBezTo>
                  <a:pt x="52" y="51"/>
                  <a:pt x="53" y="52"/>
                  <a:pt x="53" y="52"/>
                </a:cubicBezTo>
                <a:cubicBezTo>
                  <a:pt x="53" y="53"/>
                  <a:pt x="53" y="53"/>
                  <a:pt x="53" y="53"/>
                </a:cubicBezTo>
                <a:cubicBezTo>
                  <a:pt x="53" y="53"/>
                  <a:pt x="53" y="53"/>
                  <a:pt x="53" y="54"/>
                </a:cubicBezTo>
                <a:cubicBezTo>
                  <a:pt x="53" y="54"/>
                  <a:pt x="53" y="54"/>
                  <a:pt x="53" y="54"/>
                </a:cubicBezTo>
                <a:cubicBezTo>
                  <a:pt x="53" y="54"/>
                  <a:pt x="53" y="54"/>
                  <a:pt x="53" y="55"/>
                </a:cubicBezTo>
                <a:cubicBezTo>
                  <a:pt x="53" y="55"/>
                  <a:pt x="53" y="55"/>
                  <a:pt x="53" y="55"/>
                </a:cubicBezTo>
                <a:cubicBezTo>
                  <a:pt x="53" y="55"/>
                  <a:pt x="53" y="55"/>
                  <a:pt x="53" y="55"/>
                </a:cubicBezTo>
                <a:cubicBezTo>
                  <a:pt x="53" y="57"/>
                  <a:pt x="52" y="57"/>
                  <a:pt x="51" y="57"/>
                </a:cubicBezTo>
                <a:cubicBezTo>
                  <a:pt x="51" y="57"/>
                  <a:pt x="51" y="57"/>
                  <a:pt x="51" y="57"/>
                </a:cubicBezTo>
                <a:cubicBezTo>
                  <a:pt x="51" y="57"/>
                  <a:pt x="51" y="57"/>
                  <a:pt x="51" y="57"/>
                </a:cubicBezTo>
                <a:cubicBezTo>
                  <a:pt x="51" y="57"/>
                  <a:pt x="50" y="57"/>
                  <a:pt x="50" y="57"/>
                </a:cubicBezTo>
                <a:cubicBezTo>
                  <a:pt x="50" y="58"/>
                  <a:pt x="50" y="58"/>
                  <a:pt x="49" y="58"/>
                </a:cubicBezTo>
                <a:cubicBezTo>
                  <a:pt x="49" y="58"/>
                  <a:pt x="49" y="58"/>
                  <a:pt x="49" y="58"/>
                </a:cubicBezTo>
                <a:cubicBezTo>
                  <a:pt x="49" y="58"/>
                  <a:pt x="48" y="58"/>
                  <a:pt x="48" y="58"/>
                </a:cubicBezTo>
                <a:cubicBezTo>
                  <a:pt x="48" y="58"/>
                  <a:pt x="48" y="58"/>
                  <a:pt x="48" y="57"/>
                </a:cubicBezTo>
                <a:cubicBezTo>
                  <a:pt x="48" y="57"/>
                  <a:pt x="48" y="57"/>
                  <a:pt x="48" y="57"/>
                </a:cubicBezTo>
                <a:cubicBezTo>
                  <a:pt x="48" y="58"/>
                  <a:pt x="47" y="59"/>
                  <a:pt x="47" y="59"/>
                </a:cubicBezTo>
                <a:cubicBezTo>
                  <a:pt x="47" y="59"/>
                  <a:pt x="47" y="59"/>
                  <a:pt x="47" y="59"/>
                </a:cubicBezTo>
                <a:cubicBezTo>
                  <a:pt x="46" y="61"/>
                  <a:pt x="46" y="63"/>
                  <a:pt x="44" y="65"/>
                </a:cubicBezTo>
                <a:cubicBezTo>
                  <a:pt x="44" y="65"/>
                  <a:pt x="44" y="65"/>
                  <a:pt x="44" y="65"/>
                </a:cubicBezTo>
                <a:cubicBezTo>
                  <a:pt x="44" y="66"/>
                  <a:pt x="43" y="67"/>
                  <a:pt x="42" y="67"/>
                </a:cubicBezTo>
                <a:cubicBezTo>
                  <a:pt x="41" y="69"/>
                  <a:pt x="40" y="70"/>
                  <a:pt x="40" y="71"/>
                </a:cubicBezTo>
                <a:cubicBezTo>
                  <a:pt x="40" y="71"/>
                  <a:pt x="39" y="71"/>
                  <a:pt x="39" y="72"/>
                </a:cubicBezTo>
                <a:cubicBezTo>
                  <a:pt x="39" y="72"/>
                  <a:pt x="39" y="73"/>
                  <a:pt x="39" y="73"/>
                </a:cubicBezTo>
                <a:cubicBezTo>
                  <a:pt x="39" y="73"/>
                  <a:pt x="39" y="73"/>
                  <a:pt x="39" y="73"/>
                </a:cubicBezTo>
                <a:cubicBezTo>
                  <a:pt x="38" y="75"/>
                  <a:pt x="38" y="78"/>
                  <a:pt x="37" y="80"/>
                </a:cubicBezTo>
                <a:cubicBezTo>
                  <a:pt x="36" y="80"/>
                  <a:pt x="36" y="80"/>
                  <a:pt x="36" y="80"/>
                </a:cubicBezTo>
                <a:cubicBezTo>
                  <a:pt x="36" y="80"/>
                  <a:pt x="36" y="80"/>
                  <a:pt x="36" y="80"/>
                </a:cubicBezTo>
                <a:cubicBezTo>
                  <a:pt x="36" y="81"/>
                  <a:pt x="36" y="81"/>
                  <a:pt x="36" y="81"/>
                </a:cubicBezTo>
                <a:cubicBezTo>
                  <a:pt x="36" y="81"/>
                  <a:pt x="36" y="82"/>
                  <a:pt x="36" y="83"/>
                </a:cubicBezTo>
                <a:cubicBezTo>
                  <a:pt x="37" y="83"/>
                  <a:pt x="37" y="84"/>
                  <a:pt x="37" y="85"/>
                </a:cubicBezTo>
                <a:cubicBezTo>
                  <a:pt x="37" y="85"/>
                  <a:pt x="37" y="85"/>
                  <a:pt x="37" y="85"/>
                </a:cubicBezTo>
                <a:cubicBezTo>
                  <a:pt x="37" y="85"/>
                  <a:pt x="37" y="85"/>
                  <a:pt x="37" y="85"/>
                </a:cubicBezTo>
                <a:cubicBezTo>
                  <a:pt x="37" y="85"/>
                  <a:pt x="37" y="85"/>
                  <a:pt x="37" y="85"/>
                </a:cubicBezTo>
                <a:cubicBezTo>
                  <a:pt x="37" y="85"/>
                  <a:pt x="37" y="85"/>
                  <a:pt x="37" y="85"/>
                </a:cubicBezTo>
                <a:cubicBezTo>
                  <a:pt x="37" y="86"/>
                  <a:pt x="37" y="86"/>
                  <a:pt x="37" y="86"/>
                </a:cubicBezTo>
                <a:cubicBezTo>
                  <a:pt x="37" y="87"/>
                  <a:pt x="37" y="87"/>
                  <a:pt x="37" y="87"/>
                </a:cubicBezTo>
                <a:cubicBezTo>
                  <a:pt x="37" y="88"/>
                  <a:pt x="37" y="88"/>
                  <a:pt x="37" y="88"/>
                </a:cubicBezTo>
                <a:cubicBezTo>
                  <a:pt x="37" y="88"/>
                  <a:pt x="37" y="88"/>
                  <a:pt x="37" y="88"/>
                </a:cubicBezTo>
                <a:cubicBezTo>
                  <a:pt x="38" y="89"/>
                  <a:pt x="38" y="89"/>
                  <a:pt x="38" y="89"/>
                </a:cubicBezTo>
                <a:cubicBezTo>
                  <a:pt x="38" y="89"/>
                  <a:pt x="38" y="90"/>
                  <a:pt x="38" y="90"/>
                </a:cubicBezTo>
                <a:cubicBezTo>
                  <a:pt x="38" y="91"/>
                  <a:pt x="36" y="92"/>
                  <a:pt x="36" y="92"/>
                </a:cubicBezTo>
                <a:cubicBezTo>
                  <a:pt x="35" y="93"/>
                  <a:pt x="34" y="93"/>
                  <a:pt x="34" y="94"/>
                </a:cubicBezTo>
                <a:cubicBezTo>
                  <a:pt x="34" y="94"/>
                  <a:pt x="34" y="95"/>
                  <a:pt x="34" y="95"/>
                </a:cubicBezTo>
                <a:cubicBezTo>
                  <a:pt x="34" y="96"/>
                  <a:pt x="33" y="97"/>
                  <a:pt x="33" y="98"/>
                </a:cubicBezTo>
                <a:cubicBezTo>
                  <a:pt x="33" y="98"/>
                  <a:pt x="33" y="98"/>
                  <a:pt x="33" y="98"/>
                </a:cubicBezTo>
                <a:cubicBezTo>
                  <a:pt x="33" y="99"/>
                  <a:pt x="33" y="99"/>
                  <a:pt x="33" y="100"/>
                </a:cubicBezTo>
                <a:cubicBezTo>
                  <a:pt x="33" y="100"/>
                  <a:pt x="33" y="100"/>
                  <a:pt x="33" y="101"/>
                </a:cubicBezTo>
                <a:cubicBezTo>
                  <a:pt x="33" y="101"/>
                  <a:pt x="33" y="101"/>
                  <a:pt x="33" y="101"/>
                </a:cubicBezTo>
                <a:cubicBezTo>
                  <a:pt x="32" y="101"/>
                  <a:pt x="32" y="101"/>
                  <a:pt x="32" y="101"/>
                </a:cubicBezTo>
                <a:cubicBezTo>
                  <a:pt x="32" y="101"/>
                  <a:pt x="32" y="101"/>
                  <a:pt x="32" y="101"/>
                </a:cubicBezTo>
                <a:cubicBezTo>
                  <a:pt x="32" y="101"/>
                  <a:pt x="32" y="101"/>
                  <a:pt x="32" y="101"/>
                </a:cubicBezTo>
                <a:cubicBezTo>
                  <a:pt x="31" y="101"/>
                  <a:pt x="31" y="101"/>
                  <a:pt x="31" y="101"/>
                </a:cubicBezTo>
                <a:cubicBezTo>
                  <a:pt x="31" y="102"/>
                  <a:pt x="31" y="102"/>
                  <a:pt x="31" y="102"/>
                </a:cubicBezTo>
                <a:cubicBezTo>
                  <a:pt x="31" y="103"/>
                  <a:pt x="30" y="103"/>
                  <a:pt x="31" y="105"/>
                </a:cubicBezTo>
                <a:cubicBezTo>
                  <a:pt x="31" y="105"/>
                  <a:pt x="31" y="105"/>
                  <a:pt x="31" y="105"/>
                </a:cubicBezTo>
                <a:cubicBezTo>
                  <a:pt x="32" y="106"/>
                  <a:pt x="32" y="107"/>
                  <a:pt x="33" y="108"/>
                </a:cubicBezTo>
                <a:cubicBezTo>
                  <a:pt x="33" y="108"/>
                  <a:pt x="33" y="109"/>
                  <a:pt x="33" y="109"/>
                </a:cubicBezTo>
                <a:cubicBezTo>
                  <a:pt x="33" y="109"/>
                  <a:pt x="34" y="110"/>
                  <a:pt x="34" y="110"/>
                </a:cubicBezTo>
                <a:cubicBezTo>
                  <a:pt x="34" y="111"/>
                  <a:pt x="33" y="111"/>
                  <a:pt x="33" y="112"/>
                </a:cubicBezTo>
                <a:cubicBezTo>
                  <a:pt x="33" y="112"/>
                  <a:pt x="33" y="112"/>
                  <a:pt x="32" y="112"/>
                </a:cubicBezTo>
                <a:cubicBezTo>
                  <a:pt x="33" y="112"/>
                  <a:pt x="33" y="113"/>
                  <a:pt x="33" y="113"/>
                </a:cubicBezTo>
                <a:cubicBezTo>
                  <a:pt x="33" y="113"/>
                  <a:pt x="33" y="113"/>
                  <a:pt x="33" y="113"/>
                </a:cubicBezTo>
                <a:cubicBezTo>
                  <a:pt x="33" y="113"/>
                  <a:pt x="34" y="114"/>
                  <a:pt x="34" y="114"/>
                </a:cubicBezTo>
                <a:cubicBezTo>
                  <a:pt x="34" y="114"/>
                  <a:pt x="34" y="114"/>
                  <a:pt x="34" y="114"/>
                </a:cubicBezTo>
                <a:cubicBezTo>
                  <a:pt x="35" y="116"/>
                  <a:pt x="35" y="117"/>
                  <a:pt x="35" y="119"/>
                </a:cubicBezTo>
                <a:cubicBezTo>
                  <a:pt x="35" y="119"/>
                  <a:pt x="35" y="119"/>
                  <a:pt x="35" y="119"/>
                </a:cubicBezTo>
                <a:cubicBezTo>
                  <a:pt x="35" y="120"/>
                  <a:pt x="35" y="121"/>
                  <a:pt x="35" y="121"/>
                </a:cubicBezTo>
                <a:cubicBezTo>
                  <a:pt x="35" y="122"/>
                  <a:pt x="35" y="122"/>
                  <a:pt x="35" y="123"/>
                </a:cubicBezTo>
                <a:cubicBezTo>
                  <a:pt x="35" y="123"/>
                  <a:pt x="35" y="123"/>
                  <a:pt x="35" y="123"/>
                </a:cubicBezTo>
                <a:cubicBezTo>
                  <a:pt x="35" y="123"/>
                  <a:pt x="35" y="123"/>
                  <a:pt x="35" y="123"/>
                </a:cubicBezTo>
                <a:cubicBezTo>
                  <a:pt x="35" y="124"/>
                  <a:pt x="36" y="124"/>
                  <a:pt x="36" y="124"/>
                </a:cubicBezTo>
                <a:cubicBezTo>
                  <a:pt x="36" y="124"/>
                  <a:pt x="36" y="124"/>
                  <a:pt x="36" y="125"/>
                </a:cubicBezTo>
                <a:cubicBezTo>
                  <a:pt x="37" y="125"/>
                  <a:pt x="38" y="125"/>
                  <a:pt x="38" y="126"/>
                </a:cubicBezTo>
                <a:cubicBezTo>
                  <a:pt x="38" y="126"/>
                  <a:pt x="38" y="127"/>
                  <a:pt x="38" y="127"/>
                </a:cubicBezTo>
                <a:cubicBezTo>
                  <a:pt x="38" y="127"/>
                  <a:pt x="38" y="127"/>
                  <a:pt x="38" y="127"/>
                </a:cubicBezTo>
                <a:cubicBezTo>
                  <a:pt x="38" y="127"/>
                  <a:pt x="38" y="127"/>
                  <a:pt x="38" y="127"/>
                </a:cubicBezTo>
                <a:cubicBezTo>
                  <a:pt x="37" y="132"/>
                  <a:pt x="37" y="132"/>
                  <a:pt x="37" y="132"/>
                </a:cubicBezTo>
                <a:cubicBezTo>
                  <a:pt x="37" y="133"/>
                  <a:pt x="37" y="133"/>
                  <a:pt x="37" y="133"/>
                </a:cubicBezTo>
                <a:cubicBezTo>
                  <a:pt x="37" y="134"/>
                  <a:pt x="38" y="135"/>
                  <a:pt x="38" y="135"/>
                </a:cubicBezTo>
                <a:cubicBezTo>
                  <a:pt x="39" y="137"/>
                  <a:pt x="39" y="137"/>
                  <a:pt x="39" y="137"/>
                </a:cubicBezTo>
                <a:cubicBezTo>
                  <a:pt x="37" y="137"/>
                  <a:pt x="37" y="137"/>
                  <a:pt x="37" y="137"/>
                </a:cubicBezTo>
                <a:cubicBezTo>
                  <a:pt x="37" y="137"/>
                  <a:pt x="36" y="138"/>
                  <a:pt x="36" y="138"/>
                </a:cubicBezTo>
                <a:cubicBezTo>
                  <a:pt x="36" y="138"/>
                  <a:pt x="35" y="138"/>
                  <a:pt x="35" y="138"/>
                </a:cubicBezTo>
                <a:cubicBezTo>
                  <a:pt x="33" y="142"/>
                  <a:pt x="33" y="142"/>
                  <a:pt x="33" y="142"/>
                </a:cubicBezTo>
                <a:cubicBezTo>
                  <a:pt x="33" y="142"/>
                  <a:pt x="33" y="143"/>
                  <a:pt x="33" y="143"/>
                </a:cubicBezTo>
                <a:cubicBezTo>
                  <a:pt x="33" y="143"/>
                  <a:pt x="33" y="143"/>
                  <a:pt x="33" y="143"/>
                </a:cubicBezTo>
                <a:cubicBezTo>
                  <a:pt x="33" y="143"/>
                  <a:pt x="33" y="143"/>
                  <a:pt x="33" y="144"/>
                </a:cubicBezTo>
                <a:cubicBezTo>
                  <a:pt x="33" y="144"/>
                  <a:pt x="33" y="144"/>
                  <a:pt x="33" y="144"/>
                </a:cubicBezTo>
                <a:cubicBezTo>
                  <a:pt x="33" y="145"/>
                  <a:pt x="33" y="145"/>
                  <a:pt x="32" y="146"/>
                </a:cubicBezTo>
                <a:cubicBezTo>
                  <a:pt x="32" y="146"/>
                  <a:pt x="32" y="146"/>
                  <a:pt x="32" y="146"/>
                </a:cubicBezTo>
                <a:cubicBezTo>
                  <a:pt x="32" y="147"/>
                  <a:pt x="32" y="147"/>
                  <a:pt x="31" y="148"/>
                </a:cubicBezTo>
                <a:cubicBezTo>
                  <a:pt x="31" y="148"/>
                  <a:pt x="31" y="148"/>
                  <a:pt x="31" y="148"/>
                </a:cubicBezTo>
                <a:cubicBezTo>
                  <a:pt x="31" y="148"/>
                  <a:pt x="31" y="148"/>
                  <a:pt x="31" y="148"/>
                </a:cubicBezTo>
                <a:cubicBezTo>
                  <a:pt x="31" y="148"/>
                  <a:pt x="31" y="148"/>
                  <a:pt x="31" y="148"/>
                </a:cubicBezTo>
                <a:cubicBezTo>
                  <a:pt x="31" y="149"/>
                  <a:pt x="31" y="149"/>
                  <a:pt x="31" y="149"/>
                </a:cubicBezTo>
                <a:cubicBezTo>
                  <a:pt x="31" y="149"/>
                  <a:pt x="31" y="149"/>
                  <a:pt x="31" y="149"/>
                </a:cubicBezTo>
                <a:cubicBezTo>
                  <a:pt x="31" y="149"/>
                  <a:pt x="31" y="149"/>
                  <a:pt x="31" y="150"/>
                </a:cubicBezTo>
                <a:cubicBezTo>
                  <a:pt x="32" y="152"/>
                  <a:pt x="32" y="154"/>
                  <a:pt x="32" y="156"/>
                </a:cubicBezTo>
                <a:cubicBezTo>
                  <a:pt x="32" y="157"/>
                  <a:pt x="32" y="157"/>
                  <a:pt x="32" y="157"/>
                </a:cubicBezTo>
                <a:cubicBezTo>
                  <a:pt x="33" y="157"/>
                  <a:pt x="33" y="157"/>
                  <a:pt x="33" y="157"/>
                </a:cubicBezTo>
                <a:cubicBezTo>
                  <a:pt x="32" y="157"/>
                  <a:pt x="32" y="157"/>
                  <a:pt x="32" y="157"/>
                </a:cubicBezTo>
                <a:cubicBezTo>
                  <a:pt x="32" y="158"/>
                  <a:pt x="32" y="158"/>
                  <a:pt x="32" y="158"/>
                </a:cubicBezTo>
                <a:cubicBezTo>
                  <a:pt x="32" y="159"/>
                  <a:pt x="32" y="159"/>
                  <a:pt x="32" y="159"/>
                </a:cubicBezTo>
                <a:cubicBezTo>
                  <a:pt x="31" y="159"/>
                  <a:pt x="31" y="159"/>
                  <a:pt x="31" y="159"/>
                </a:cubicBezTo>
                <a:cubicBezTo>
                  <a:pt x="30" y="159"/>
                  <a:pt x="30" y="159"/>
                  <a:pt x="30" y="160"/>
                </a:cubicBezTo>
                <a:cubicBezTo>
                  <a:pt x="30" y="160"/>
                  <a:pt x="30" y="160"/>
                  <a:pt x="30" y="160"/>
                </a:cubicBezTo>
                <a:cubicBezTo>
                  <a:pt x="30" y="160"/>
                  <a:pt x="30" y="160"/>
                  <a:pt x="30" y="160"/>
                </a:cubicBezTo>
                <a:cubicBezTo>
                  <a:pt x="30" y="161"/>
                  <a:pt x="29" y="161"/>
                  <a:pt x="29" y="162"/>
                </a:cubicBezTo>
                <a:cubicBezTo>
                  <a:pt x="28" y="163"/>
                  <a:pt x="27" y="163"/>
                  <a:pt x="26" y="163"/>
                </a:cubicBezTo>
                <a:cubicBezTo>
                  <a:pt x="26" y="163"/>
                  <a:pt x="26" y="163"/>
                  <a:pt x="26" y="163"/>
                </a:cubicBezTo>
                <a:cubicBezTo>
                  <a:pt x="26" y="163"/>
                  <a:pt x="26" y="163"/>
                  <a:pt x="26" y="163"/>
                </a:cubicBezTo>
                <a:cubicBezTo>
                  <a:pt x="25" y="166"/>
                  <a:pt x="25" y="166"/>
                  <a:pt x="25" y="166"/>
                </a:cubicBezTo>
                <a:cubicBezTo>
                  <a:pt x="25" y="167"/>
                  <a:pt x="25" y="169"/>
                  <a:pt x="24" y="171"/>
                </a:cubicBezTo>
                <a:cubicBezTo>
                  <a:pt x="24" y="171"/>
                  <a:pt x="24" y="171"/>
                  <a:pt x="24" y="171"/>
                </a:cubicBezTo>
                <a:cubicBezTo>
                  <a:pt x="24" y="172"/>
                  <a:pt x="24" y="172"/>
                  <a:pt x="24" y="172"/>
                </a:cubicBezTo>
                <a:cubicBezTo>
                  <a:pt x="24" y="173"/>
                  <a:pt x="25" y="175"/>
                  <a:pt x="25" y="176"/>
                </a:cubicBezTo>
                <a:cubicBezTo>
                  <a:pt x="25" y="177"/>
                  <a:pt x="25" y="177"/>
                  <a:pt x="25" y="177"/>
                </a:cubicBezTo>
                <a:cubicBezTo>
                  <a:pt x="25" y="177"/>
                  <a:pt x="25" y="178"/>
                  <a:pt x="25" y="178"/>
                </a:cubicBezTo>
                <a:cubicBezTo>
                  <a:pt x="25" y="179"/>
                  <a:pt x="25" y="179"/>
                  <a:pt x="25" y="179"/>
                </a:cubicBezTo>
                <a:cubicBezTo>
                  <a:pt x="25" y="180"/>
                  <a:pt x="26" y="181"/>
                  <a:pt x="26" y="182"/>
                </a:cubicBezTo>
                <a:cubicBezTo>
                  <a:pt x="26" y="183"/>
                  <a:pt x="26" y="184"/>
                  <a:pt x="27" y="184"/>
                </a:cubicBezTo>
                <a:cubicBezTo>
                  <a:pt x="27" y="184"/>
                  <a:pt x="27" y="185"/>
                  <a:pt x="27" y="185"/>
                </a:cubicBezTo>
                <a:cubicBezTo>
                  <a:pt x="27" y="187"/>
                  <a:pt x="28" y="188"/>
                  <a:pt x="27" y="189"/>
                </a:cubicBezTo>
                <a:cubicBezTo>
                  <a:pt x="27" y="190"/>
                  <a:pt x="26" y="190"/>
                  <a:pt x="24" y="191"/>
                </a:cubicBezTo>
                <a:cubicBezTo>
                  <a:pt x="24" y="191"/>
                  <a:pt x="23" y="191"/>
                  <a:pt x="23" y="191"/>
                </a:cubicBezTo>
                <a:cubicBezTo>
                  <a:pt x="23" y="191"/>
                  <a:pt x="23" y="191"/>
                  <a:pt x="23" y="191"/>
                </a:cubicBezTo>
                <a:cubicBezTo>
                  <a:pt x="22" y="191"/>
                  <a:pt x="22" y="192"/>
                  <a:pt x="22" y="192"/>
                </a:cubicBezTo>
                <a:cubicBezTo>
                  <a:pt x="22" y="192"/>
                  <a:pt x="22" y="192"/>
                  <a:pt x="22" y="192"/>
                </a:cubicBezTo>
                <a:cubicBezTo>
                  <a:pt x="21" y="197"/>
                  <a:pt x="21" y="197"/>
                  <a:pt x="21" y="197"/>
                </a:cubicBezTo>
                <a:cubicBezTo>
                  <a:pt x="21" y="198"/>
                  <a:pt x="21" y="198"/>
                  <a:pt x="21" y="199"/>
                </a:cubicBezTo>
                <a:cubicBezTo>
                  <a:pt x="21" y="199"/>
                  <a:pt x="21" y="199"/>
                  <a:pt x="21" y="199"/>
                </a:cubicBezTo>
                <a:cubicBezTo>
                  <a:pt x="21" y="199"/>
                  <a:pt x="21" y="199"/>
                  <a:pt x="21" y="199"/>
                </a:cubicBezTo>
                <a:cubicBezTo>
                  <a:pt x="21" y="200"/>
                  <a:pt x="20" y="200"/>
                  <a:pt x="19" y="200"/>
                </a:cubicBezTo>
                <a:cubicBezTo>
                  <a:pt x="20" y="203"/>
                  <a:pt x="20" y="205"/>
                  <a:pt x="19" y="206"/>
                </a:cubicBezTo>
                <a:cubicBezTo>
                  <a:pt x="19" y="206"/>
                  <a:pt x="18" y="206"/>
                  <a:pt x="18" y="206"/>
                </a:cubicBezTo>
                <a:cubicBezTo>
                  <a:pt x="18" y="206"/>
                  <a:pt x="18" y="207"/>
                  <a:pt x="18" y="207"/>
                </a:cubicBezTo>
                <a:cubicBezTo>
                  <a:pt x="18" y="207"/>
                  <a:pt x="18" y="207"/>
                  <a:pt x="18" y="207"/>
                </a:cubicBezTo>
                <a:cubicBezTo>
                  <a:pt x="19" y="208"/>
                  <a:pt x="19" y="208"/>
                  <a:pt x="19" y="208"/>
                </a:cubicBezTo>
                <a:cubicBezTo>
                  <a:pt x="19" y="208"/>
                  <a:pt x="19" y="208"/>
                  <a:pt x="19" y="208"/>
                </a:cubicBezTo>
                <a:cubicBezTo>
                  <a:pt x="18" y="209"/>
                  <a:pt x="18" y="209"/>
                  <a:pt x="18" y="209"/>
                </a:cubicBezTo>
                <a:cubicBezTo>
                  <a:pt x="19" y="209"/>
                  <a:pt x="19" y="209"/>
                  <a:pt x="19" y="209"/>
                </a:cubicBezTo>
                <a:cubicBezTo>
                  <a:pt x="18" y="209"/>
                  <a:pt x="18" y="209"/>
                  <a:pt x="18" y="209"/>
                </a:cubicBezTo>
                <a:cubicBezTo>
                  <a:pt x="18" y="209"/>
                  <a:pt x="18" y="209"/>
                  <a:pt x="18" y="209"/>
                </a:cubicBezTo>
                <a:cubicBezTo>
                  <a:pt x="18" y="210"/>
                  <a:pt x="17" y="211"/>
                  <a:pt x="17" y="212"/>
                </a:cubicBezTo>
                <a:cubicBezTo>
                  <a:pt x="17" y="213"/>
                  <a:pt x="17" y="214"/>
                  <a:pt x="17" y="214"/>
                </a:cubicBezTo>
                <a:cubicBezTo>
                  <a:pt x="17" y="214"/>
                  <a:pt x="17" y="214"/>
                  <a:pt x="17" y="214"/>
                </a:cubicBezTo>
                <a:cubicBezTo>
                  <a:pt x="17" y="215"/>
                  <a:pt x="17" y="215"/>
                  <a:pt x="17" y="216"/>
                </a:cubicBezTo>
                <a:cubicBezTo>
                  <a:pt x="17" y="216"/>
                  <a:pt x="17" y="216"/>
                  <a:pt x="17" y="216"/>
                </a:cubicBezTo>
                <a:cubicBezTo>
                  <a:pt x="17" y="217"/>
                  <a:pt x="17" y="219"/>
                  <a:pt x="17" y="220"/>
                </a:cubicBezTo>
                <a:cubicBezTo>
                  <a:pt x="17" y="220"/>
                  <a:pt x="17" y="221"/>
                  <a:pt x="17" y="222"/>
                </a:cubicBezTo>
                <a:cubicBezTo>
                  <a:pt x="17" y="224"/>
                  <a:pt x="17" y="225"/>
                  <a:pt x="18" y="227"/>
                </a:cubicBezTo>
                <a:cubicBezTo>
                  <a:pt x="18" y="227"/>
                  <a:pt x="18" y="227"/>
                  <a:pt x="18" y="227"/>
                </a:cubicBezTo>
                <a:cubicBezTo>
                  <a:pt x="18" y="228"/>
                  <a:pt x="18" y="228"/>
                  <a:pt x="18" y="228"/>
                </a:cubicBezTo>
                <a:cubicBezTo>
                  <a:pt x="19" y="230"/>
                  <a:pt x="18" y="230"/>
                  <a:pt x="17" y="231"/>
                </a:cubicBezTo>
                <a:cubicBezTo>
                  <a:pt x="16" y="231"/>
                  <a:pt x="16" y="231"/>
                  <a:pt x="16" y="231"/>
                </a:cubicBezTo>
                <a:cubicBezTo>
                  <a:pt x="15" y="232"/>
                  <a:pt x="15" y="232"/>
                  <a:pt x="15" y="233"/>
                </a:cubicBezTo>
                <a:cubicBezTo>
                  <a:pt x="15" y="233"/>
                  <a:pt x="15" y="234"/>
                  <a:pt x="15" y="234"/>
                </a:cubicBezTo>
                <a:cubicBezTo>
                  <a:pt x="15" y="235"/>
                  <a:pt x="15" y="235"/>
                  <a:pt x="15" y="236"/>
                </a:cubicBezTo>
                <a:cubicBezTo>
                  <a:pt x="15" y="236"/>
                  <a:pt x="15" y="236"/>
                  <a:pt x="15" y="236"/>
                </a:cubicBezTo>
                <a:cubicBezTo>
                  <a:pt x="14" y="239"/>
                  <a:pt x="14" y="239"/>
                  <a:pt x="14" y="239"/>
                </a:cubicBezTo>
                <a:cubicBezTo>
                  <a:pt x="14" y="239"/>
                  <a:pt x="14" y="240"/>
                  <a:pt x="14" y="240"/>
                </a:cubicBezTo>
                <a:cubicBezTo>
                  <a:pt x="14" y="240"/>
                  <a:pt x="14" y="240"/>
                  <a:pt x="15" y="241"/>
                </a:cubicBezTo>
                <a:cubicBezTo>
                  <a:pt x="15" y="241"/>
                  <a:pt x="15" y="241"/>
                  <a:pt x="16" y="241"/>
                </a:cubicBezTo>
                <a:cubicBezTo>
                  <a:pt x="16" y="241"/>
                  <a:pt x="17" y="241"/>
                  <a:pt x="18" y="242"/>
                </a:cubicBezTo>
                <a:cubicBezTo>
                  <a:pt x="18" y="242"/>
                  <a:pt x="19" y="243"/>
                  <a:pt x="19" y="243"/>
                </a:cubicBezTo>
                <a:cubicBezTo>
                  <a:pt x="19" y="244"/>
                  <a:pt x="19" y="244"/>
                  <a:pt x="18" y="245"/>
                </a:cubicBezTo>
                <a:cubicBezTo>
                  <a:pt x="18" y="245"/>
                  <a:pt x="18" y="245"/>
                  <a:pt x="18" y="245"/>
                </a:cubicBezTo>
                <a:cubicBezTo>
                  <a:pt x="18" y="246"/>
                  <a:pt x="17" y="246"/>
                  <a:pt x="17" y="246"/>
                </a:cubicBezTo>
                <a:cubicBezTo>
                  <a:pt x="17" y="246"/>
                  <a:pt x="17" y="246"/>
                  <a:pt x="17" y="246"/>
                </a:cubicBezTo>
                <a:cubicBezTo>
                  <a:pt x="17" y="247"/>
                  <a:pt x="17" y="247"/>
                  <a:pt x="17" y="247"/>
                </a:cubicBezTo>
                <a:cubicBezTo>
                  <a:pt x="18" y="247"/>
                  <a:pt x="18" y="247"/>
                  <a:pt x="18" y="248"/>
                </a:cubicBezTo>
                <a:cubicBezTo>
                  <a:pt x="18" y="248"/>
                  <a:pt x="19" y="249"/>
                  <a:pt x="19" y="249"/>
                </a:cubicBezTo>
                <a:cubicBezTo>
                  <a:pt x="19" y="250"/>
                  <a:pt x="19" y="252"/>
                  <a:pt x="19" y="253"/>
                </a:cubicBezTo>
                <a:cubicBezTo>
                  <a:pt x="19" y="253"/>
                  <a:pt x="19" y="254"/>
                  <a:pt x="19" y="254"/>
                </a:cubicBezTo>
                <a:cubicBezTo>
                  <a:pt x="19" y="254"/>
                  <a:pt x="19" y="254"/>
                  <a:pt x="19" y="254"/>
                </a:cubicBezTo>
                <a:cubicBezTo>
                  <a:pt x="18" y="254"/>
                  <a:pt x="18" y="255"/>
                  <a:pt x="18" y="255"/>
                </a:cubicBezTo>
                <a:cubicBezTo>
                  <a:pt x="18" y="257"/>
                  <a:pt x="18" y="257"/>
                  <a:pt x="18" y="257"/>
                </a:cubicBezTo>
                <a:cubicBezTo>
                  <a:pt x="18" y="257"/>
                  <a:pt x="19" y="257"/>
                  <a:pt x="19" y="257"/>
                </a:cubicBezTo>
                <a:cubicBezTo>
                  <a:pt x="21" y="257"/>
                  <a:pt x="23" y="257"/>
                  <a:pt x="24" y="258"/>
                </a:cubicBezTo>
                <a:cubicBezTo>
                  <a:pt x="24" y="258"/>
                  <a:pt x="24" y="258"/>
                  <a:pt x="24" y="258"/>
                </a:cubicBezTo>
                <a:cubicBezTo>
                  <a:pt x="25" y="259"/>
                  <a:pt x="25" y="260"/>
                  <a:pt x="25" y="261"/>
                </a:cubicBezTo>
                <a:cubicBezTo>
                  <a:pt x="25" y="261"/>
                  <a:pt x="24" y="261"/>
                  <a:pt x="24" y="262"/>
                </a:cubicBezTo>
                <a:cubicBezTo>
                  <a:pt x="24" y="262"/>
                  <a:pt x="24" y="262"/>
                  <a:pt x="24" y="262"/>
                </a:cubicBezTo>
                <a:cubicBezTo>
                  <a:pt x="23" y="263"/>
                  <a:pt x="23" y="264"/>
                  <a:pt x="22" y="264"/>
                </a:cubicBezTo>
                <a:cubicBezTo>
                  <a:pt x="22" y="264"/>
                  <a:pt x="21" y="264"/>
                  <a:pt x="21" y="264"/>
                </a:cubicBezTo>
                <a:cubicBezTo>
                  <a:pt x="20" y="264"/>
                  <a:pt x="20" y="264"/>
                  <a:pt x="19" y="264"/>
                </a:cubicBezTo>
                <a:cubicBezTo>
                  <a:pt x="19" y="264"/>
                  <a:pt x="19" y="264"/>
                  <a:pt x="19" y="264"/>
                </a:cubicBezTo>
                <a:cubicBezTo>
                  <a:pt x="19" y="264"/>
                  <a:pt x="19" y="264"/>
                  <a:pt x="20" y="264"/>
                </a:cubicBezTo>
                <a:cubicBezTo>
                  <a:pt x="20" y="265"/>
                  <a:pt x="20" y="265"/>
                  <a:pt x="20" y="265"/>
                </a:cubicBezTo>
                <a:cubicBezTo>
                  <a:pt x="20" y="265"/>
                  <a:pt x="20" y="265"/>
                  <a:pt x="20" y="266"/>
                </a:cubicBezTo>
                <a:cubicBezTo>
                  <a:pt x="21" y="266"/>
                  <a:pt x="21" y="266"/>
                  <a:pt x="21" y="266"/>
                </a:cubicBezTo>
                <a:cubicBezTo>
                  <a:pt x="21" y="266"/>
                  <a:pt x="21" y="266"/>
                  <a:pt x="21" y="266"/>
                </a:cubicBezTo>
                <a:cubicBezTo>
                  <a:pt x="21" y="266"/>
                  <a:pt x="21" y="266"/>
                  <a:pt x="21" y="267"/>
                </a:cubicBezTo>
                <a:cubicBezTo>
                  <a:pt x="21" y="267"/>
                  <a:pt x="22" y="267"/>
                  <a:pt x="22" y="267"/>
                </a:cubicBezTo>
                <a:cubicBezTo>
                  <a:pt x="22" y="268"/>
                  <a:pt x="23" y="269"/>
                  <a:pt x="23" y="269"/>
                </a:cubicBezTo>
                <a:cubicBezTo>
                  <a:pt x="23" y="270"/>
                  <a:pt x="22" y="271"/>
                  <a:pt x="22" y="271"/>
                </a:cubicBezTo>
                <a:cubicBezTo>
                  <a:pt x="22" y="271"/>
                  <a:pt x="22" y="271"/>
                  <a:pt x="22" y="271"/>
                </a:cubicBezTo>
                <a:cubicBezTo>
                  <a:pt x="22" y="271"/>
                  <a:pt x="22" y="271"/>
                  <a:pt x="22" y="271"/>
                </a:cubicBezTo>
                <a:cubicBezTo>
                  <a:pt x="21" y="272"/>
                  <a:pt x="21" y="272"/>
                  <a:pt x="21" y="272"/>
                </a:cubicBezTo>
                <a:cubicBezTo>
                  <a:pt x="21" y="272"/>
                  <a:pt x="21" y="273"/>
                  <a:pt x="20" y="273"/>
                </a:cubicBezTo>
                <a:cubicBezTo>
                  <a:pt x="19" y="274"/>
                  <a:pt x="19" y="274"/>
                  <a:pt x="19" y="274"/>
                </a:cubicBezTo>
                <a:cubicBezTo>
                  <a:pt x="18" y="274"/>
                  <a:pt x="18" y="274"/>
                  <a:pt x="18" y="274"/>
                </a:cubicBezTo>
                <a:cubicBezTo>
                  <a:pt x="18" y="274"/>
                  <a:pt x="18" y="274"/>
                  <a:pt x="18" y="275"/>
                </a:cubicBezTo>
                <a:cubicBezTo>
                  <a:pt x="18" y="275"/>
                  <a:pt x="18" y="275"/>
                  <a:pt x="18" y="276"/>
                </a:cubicBezTo>
                <a:cubicBezTo>
                  <a:pt x="18" y="276"/>
                  <a:pt x="19" y="276"/>
                  <a:pt x="19" y="276"/>
                </a:cubicBezTo>
                <a:cubicBezTo>
                  <a:pt x="19" y="276"/>
                  <a:pt x="19" y="276"/>
                  <a:pt x="19" y="277"/>
                </a:cubicBezTo>
                <a:cubicBezTo>
                  <a:pt x="19" y="277"/>
                  <a:pt x="20" y="278"/>
                  <a:pt x="19" y="279"/>
                </a:cubicBezTo>
                <a:cubicBezTo>
                  <a:pt x="19" y="279"/>
                  <a:pt x="19" y="279"/>
                  <a:pt x="19" y="279"/>
                </a:cubicBezTo>
                <a:cubicBezTo>
                  <a:pt x="19" y="280"/>
                  <a:pt x="18" y="280"/>
                  <a:pt x="18" y="280"/>
                </a:cubicBezTo>
                <a:cubicBezTo>
                  <a:pt x="17" y="281"/>
                  <a:pt x="17" y="281"/>
                  <a:pt x="17" y="281"/>
                </a:cubicBezTo>
                <a:cubicBezTo>
                  <a:pt x="18" y="284"/>
                  <a:pt x="18" y="284"/>
                  <a:pt x="18" y="284"/>
                </a:cubicBezTo>
                <a:cubicBezTo>
                  <a:pt x="18" y="284"/>
                  <a:pt x="18" y="285"/>
                  <a:pt x="19" y="285"/>
                </a:cubicBezTo>
                <a:cubicBezTo>
                  <a:pt x="19" y="286"/>
                  <a:pt x="19" y="287"/>
                  <a:pt x="19" y="288"/>
                </a:cubicBezTo>
                <a:cubicBezTo>
                  <a:pt x="19" y="288"/>
                  <a:pt x="18" y="289"/>
                  <a:pt x="18" y="289"/>
                </a:cubicBezTo>
                <a:cubicBezTo>
                  <a:pt x="17" y="289"/>
                  <a:pt x="17" y="289"/>
                  <a:pt x="17" y="289"/>
                </a:cubicBezTo>
                <a:cubicBezTo>
                  <a:pt x="17" y="289"/>
                  <a:pt x="17" y="289"/>
                  <a:pt x="17" y="290"/>
                </a:cubicBezTo>
                <a:cubicBezTo>
                  <a:pt x="16" y="291"/>
                  <a:pt x="16" y="291"/>
                  <a:pt x="17" y="292"/>
                </a:cubicBezTo>
                <a:cubicBezTo>
                  <a:pt x="17" y="294"/>
                  <a:pt x="17" y="294"/>
                  <a:pt x="17" y="294"/>
                </a:cubicBezTo>
                <a:cubicBezTo>
                  <a:pt x="17" y="295"/>
                  <a:pt x="16" y="295"/>
                  <a:pt x="16" y="296"/>
                </a:cubicBezTo>
                <a:cubicBezTo>
                  <a:pt x="16" y="296"/>
                  <a:pt x="15" y="296"/>
                  <a:pt x="15" y="296"/>
                </a:cubicBezTo>
                <a:cubicBezTo>
                  <a:pt x="14" y="296"/>
                  <a:pt x="14" y="296"/>
                  <a:pt x="14" y="296"/>
                </a:cubicBezTo>
                <a:cubicBezTo>
                  <a:pt x="14" y="296"/>
                  <a:pt x="14" y="296"/>
                  <a:pt x="14" y="296"/>
                </a:cubicBezTo>
                <a:cubicBezTo>
                  <a:pt x="14" y="296"/>
                  <a:pt x="14" y="296"/>
                  <a:pt x="14" y="296"/>
                </a:cubicBezTo>
                <a:cubicBezTo>
                  <a:pt x="14" y="297"/>
                  <a:pt x="14" y="297"/>
                  <a:pt x="14" y="297"/>
                </a:cubicBezTo>
                <a:cubicBezTo>
                  <a:pt x="13" y="297"/>
                  <a:pt x="13" y="297"/>
                  <a:pt x="13" y="297"/>
                </a:cubicBezTo>
                <a:cubicBezTo>
                  <a:pt x="13" y="297"/>
                  <a:pt x="13" y="297"/>
                  <a:pt x="13" y="298"/>
                </a:cubicBezTo>
                <a:cubicBezTo>
                  <a:pt x="13" y="298"/>
                  <a:pt x="13" y="298"/>
                  <a:pt x="12" y="298"/>
                </a:cubicBezTo>
                <a:cubicBezTo>
                  <a:pt x="12" y="298"/>
                  <a:pt x="12" y="298"/>
                  <a:pt x="12" y="298"/>
                </a:cubicBezTo>
                <a:cubicBezTo>
                  <a:pt x="11" y="302"/>
                  <a:pt x="11" y="302"/>
                  <a:pt x="11" y="302"/>
                </a:cubicBezTo>
                <a:cubicBezTo>
                  <a:pt x="11" y="303"/>
                  <a:pt x="10" y="303"/>
                  <a:pt x="10" y="303"/>
                </a:cubicBezTo>
                <a:cubicBezTo>
                  <a:pt x="10" y="303"/>
                  <a:pt x="10" y="303"/>
                  <a:pt x="10" y="303"/>
                </a:cubicBezTo>
                <a:cubicBezTo>
                  <a:pt x="11" y="303"/>
                  <a:pt x="11" y="303"/>
                  <a:pt x="11" y="303"/>
                </a:cubicBezTo>
                <a:cubicBezTo>
                  <a:pt x="11" y="303"/>
                  <a:pt x="11" y="303"/>
                  <a:pt x="11" y="303"/>
                </a:cubicBezTo>
                <a:cubicBezTo>
                  <a:pt x="12" y="304"/>
                  <a:pt x="12" y="304"/>
                  <a:pt x="12" y="305"/>
                </a:cubicBezTo>
                <a:cubicBezTo>
                  <a:pt x="13" y="305"/>
                  <a:pt x="13" y="306"/>
                  <a:pt x="13" y="306"/>
                </a:cubicBezTo>
                <a:cubicBezTo>
                  <a:pt x="13" y="306"/>
                  <a:pt x="13" y="307"/>
                  <a:pt x="13" y="308"/>
                </a:cubicBezTo>
                <a:cubicBezTo>
                  <a:pt x="13" y="308"/>
                  <a:pt x="13" y="308"/>
                  <a:pt x="13" y="309"/>
                </a:cubicBezTo>
                <a:cubicBezTo>
                  <a:pt x="13" y="309"/>
                  <a:pt x="12" y="310"/>
                  <a:pt x="12" y="310"/>
                </a:cubicBezTo>
                <a:cubicBezTo>
                  <a:pt x="11" y="310"/>
                  <a:pt x="11" y="310"/>
                  <a:pt x="11" y="311"/>
                </a:cubicBezTo>
                <a:cubicBezTo>
                  <a:pt x="11" y="311"/>
                  <a:pt x="11" y="311"/>
                  <a:pt x="11" y="311"/>
                </a:cubicBezTo>
                <a:cubicBezTo>
                  <a:pt x="10" y="311"/>
                  <a:pt x="10" y="311"/>
                  <a:pt x="10" y="311"/>
                </a:cubicBezTo>
                <a:cubicBezTo>
                  <a:pt x="10" y="311"/>
                  <a:pt x="10" y="311"/>
                  <a:pt x="10" y="311"/>
                </a:cubicBezTo>
                <a:cubicBezTo>
                  <a:pt x="10" y="311"/>
                  <a:pt x="10" y="311"/>
                  <a:pt x="10" y="311"/>
                </a:cubicBezTo>
                <a:cubicBezTo>
                  <a:pt x="10" y="311"/>
                  <a:pt x="10" y="311"/>
                  <a:pt x="10" y="311"/>
                </a:cubicBezTo>
                <a:cubicBezTo>
                  <a:pt x="10" y="312"/>
                  <a:pt x="10" y="312"/>
                  <a:pt x="10" y="312"/>
                </a:cubicBezTo>
                <a:cubicBezTo>
                  <a:pt x="10" y="313"/>
                  <a:pt x="10" y="313"/>
                  <a:pt x="10" y="314"/>
                </a:cubicBezTo>
                <a:cubicBezTo>
                  <a:pt x="10" y="314"/>
                  <a:pt x="10" y="314"/>
                  <a:pt x="10" y="314"/>
                </a:cubicBezTo>
                <a:cubicBezTo>
                  <a:pt x="10" y="315"/>
                  <a:pt x="9" y="316"/>
                  <a:pt x="8" y="317"/>
                </a:cubicBezTo>
                <a:cubicBezTo>
                  <a:pt x="8" y="317"/>
                  <a:pt x="8" y="317"/>
                  <a:pt x="8" y="317"/>
                </a:cubicBezTo>
                <a:cubicBezTo>
                  <a:pt x="7" y="317"/>
                  <a:pt x="7" y="317"/>
                  <a:pt x="7" y="317"/>
                </a:cubicBezTo>
                <a:cubicBezTo>
                  <a:pt x="7" y="318"/>
                  <a:pt x="7" y="318"/>
                  <a:pt x="6" y="318"/>
                </a:cubicBezTo>
                <a:cubicBezTo>
                  <a:pt x="6" y="318"/>
                  <a:pt x="6" y="319"/>
                  <a:pt x="6" y="319"/>
                </a:cubicBezTo>
                <a:cubicBezTo>
                  <a:pt x="5" y="320"/>
                  <a:pt x="4" y="322"/>
                  <a:pt x="3" y="322"/>
                </a:cubicBezTo>
                <a:cubicBezTo>
                  <a:pt x="2" y="322"/>
                  <a:pt x="2" y="322"/>
                  <a:pt x="1" y="322"/>
                </a:cubicBezTo>
                <a:cubicBezTo>
                  <a:pt x="1" y="322"/>
                  <a:pt x="1" y="322"/>
                  <a:pt x="0" y="323"/>
                </a:cubicBezTo>
                <a:cubicBezTo>
                  <a:pt x="0" y="323"/>
                  <a:pt x="0" y="324"/>
                  <a:pt x="0" y="324"/>
                </a:cubicBezTo>
                <a:cubicBezTo>
                  <a:pt x="0" y="324"/>
                  <a:pt x="0" y="324"/>
                  <a:pt x="0" y="324"/>
                </a:cubicBezTo>
                <a:cubicBezTo>
                  <a:pt x="0" y="325"/>
                  <a:pt x="0" y="325"/>
                  <a:pt x="0" y="325"/>
                </a:cubicBezTo>
                <a:cubicBezTo>
                  <a:pt x="0" y="326"/>
                  <a:pt x="0" y="327"/>
                  <a:pt x="0" y="328"/>
                </a:cubicBezTo>
                <a:cubicBezTo>
                  <a:pt x="0" y="329"/>
                  <a:pt x="0" y="329"/>
                  <a:pt x="0" y="330"/>
                </a:cubicBezTo>
                <a:cubicBezTo>
                  <a:pt x="0" y="331"/>
                  <a:pt x="0" y="331"/>
                  <a:pt x="0" y="331"/>
                </a:cubicBezTo>
                <a:cubicBezTo>
                  <a:pt x="0" y="331"/>
                  <a:pt x="0" y="331"/>
                  <a:pt x="0" y="332"/>
                </a:cubicBezTo>
                <a:cubicBezTo>
                  <a:pt x="0" y="332"/>
                  <a:pt x="0" y="332"/>
                  <a:pt x="0" y="332"/>
                </a:cubicBezTo>
                <a:cubicBezTo>
                  <a:pt x="0" y="332"/>
                  <a:pt x="0" y="332"/>
                  <a:pt x="0" y="332"/>
                </a:cubicBezTo>
                <a:cubicBezTo>
                  <a:pt x="0" y="332"/>
                  <a:pt x="0" y="332"/>
                  <a:pt x="1" y="332"/>
                </a:cubicBezTo>
                <a:cubicBezTo>
                  <a:pt x="1" y="332"/>
                  <a:pt x="1" y="332"/>
                  <a:pt x="1" y="332"/>
                </a:cubicBezTo>
                <a:cubicBezTo>
                  <a:pt x="1" y="332"/>
                  <a:pt x="2" y="333"/>
                  <a:pt x="2" y="333"/>
                </a:cubicBezTo>
                <a:cubicBezTo>
                  <a:pt x="2" y="334"/>
                  <a:pt x="2" y="334"/>
                  <a:pt x="3" y="335"/>
                </a:cubicBezTo>
                <a:cubicBezTo>
                  <a:pt x="3" y="335"/>
                  <a:pt x="3" y="335"/>
                  <a:pt x="3" y="335"/>
                </a:cubicBezTo>
                <a:cubicBezTo>
                  <a:pt x="3" y="336"/>
                  <a:pt x="3" y="336"/>
                  <a:pt x="3" y="337"/>
                </a:cubicBezTo>
                <a:cubicBezTo>
                  <a:pt x="3" y="337"/>
                  <a:pt x="3" y="338"/>
                  <a:pt x="3" y="338"/>
                </a:cubicBezTo>
                <a:cubicBezTo>
                  <a:pt x="3" y="339"/>
                  <a:pt x="3" y="339"/>
                  <a:pt x="3" y="339"/>
                </a:cubicBezTo>
                <a:cubicBezTo>
                  <a:pt x="3" y="339"/>
                  <a:pt x="3" y="339"/>
                  <a:pt x="3" y="339"/>
                </a:cubicBezTo>
                <a:cubicBezTo>
                  <a:pt x="4" y="339"/>
                  <a:pt x="4" y="339"/>
                  <a:pt x="4" y="339"/>
                </a:cubicBezTo>
                <a:cubicBezTo>
                  <a:pt x="4" y="339"/>
                  <a:pt x="4" y="339"/>
                  <a:pt x="4" y="339"/>
                </a:cubicBezTo>
                <a:cubicBezTo>
                  <a:pt x="4" y="339"/>
                  <a:pt x="4" y="339"/>
                  <a:pt x="4" y="339"/>
                </a:cubicBezTo>
                <a:cubicBezTo>
                  <a:pt x="4" y="339"/>
                  <a:pt x="4" y="339"/>
                  <a:pt x="4" y="339"/>
                </a:cubicBezTo>
                <a:cubicBezTo>
                  <a:pt x="5" y="338"/>
                  <a:pt x="5" y="338"/>
                  <a:pt x="5" y="338"/>
                </a:cubicBezTo>
                <a:cubicBezTo>
                  <a:pt x="6" y="338"/>
                  <a:pt x="6" y="337"/>
                  <a:pt x="7" y="338"/>
                </a:cubicBezTo>
                <a:cubicBezTo>
                  <a:pt x="8" y="338"/>
                  <a:pt x="8" y="338"/>
                  <a:pt x="8" y="338"/>
                </a:cubicBezTo>
                <a:cubicBezTo>
                  <a:pt x="8" y="338"/>
                  <a:pt x="8" y="338"/>
                  <a:pt x="8" y="338"/>
                </a:cubicBezTo>
                <a:cubicBezTo>
                  <a:pt x="9" y="338"/>
                  <a:pt x="10" y="337"/>
                  <a:pt x="11" y="337"/>
                </a:cubicBezTo>
                <a:cubicBezTo>
                  <a:pt x="11" y="337"/>
                  <a:pt x="11" y="337"/>
                  <a:pt x="11" y="337"/>
                </a:cubicBezTo>
                <a:cubicBezTo>
                  <a:pt x="11" y="337"/>
                  <a:pt x="11" y="337"/>
                  <a:pt x="11" y="337"/>
                </a:cubicBezTo>
                <a:cubicBezTo>
                  <a:pt x="11" y="337"/>
                  <a:pt x="12" y="338"/>
                  <a:pt x="12" y="338"/>
                </a:cubicBezTo>
                <a:cubicBezTo>
                  <a:pt x="12" y="338"/>
                  <a:pt x="13" y="339"/>
                  <a:pt x="13" y="339"/>
                </a:cubicBezTo>
                <a:cubicBezTo>
                  <a:pt x="13" y="339"/>
                  <a:pt x="13" y="339"/>
                  <a:pt x="13" y="339"/>
                </a:cubicBezTo>
                <a:cubicBezTo>
                  <a:pt x="13" y="340"/>
                  <a:pt x="13" y="341"/>
                  <a:pt x="13" y="342"/>
                </a:cubicBezTo>
                <a:cubicBezTo>
                  <a:pt x="13" y="342"/>
                  <a:pt x="13" y="343"/>
                  <a:pt x="13" y="344"/>
                </a:cubicBezTo>
                <a:cubicBezTo>
                  <a:pt x="13" y="344"/>
                  <a:pt x="12" y="345"/>
                  <a:pt x="12" y="345"/>
                </a:cubicBezTo>
                <a:cubicBezTo>
                  <a:pt x="12" y="345"/>
                  <a:pt x="12" y="345"/>
                  <a:pt x="12" y="346"/>
                </a:cubicBezTo>
                <a:cubicBezTo>
                  <a:pt x="12" y="346"/>
                  <a:pt x="12" y="346"/>
                  <a:pt x="12" y="346"/>
                </a:cubicBezTo>
                <a:cubicBezTo>
                  <a:pt x="13" y="346"/>
                  <a:pt x="13" y="347"/>
                  <a:pt x="13" y="347"/>
                </a:cubicBezTo>
                <a:cubicBezTo>
                  <a:pt x="13" y="348"/>
                  <a:pt x="13" y="349"/>
                  <a:pt x="12" y="350"/>
                </a:cubicBezTo>
                <a:cubicBezTo>
                  <a:pt x="12" y="350"/>
                  <a:pt x="12" y="351"/>
                  <a:pt x="12" y="351"/>
                </a:cubicBezTo>
                <a:cubicBezTo>
                  <a:pt x="12" y="351"/>
                  <a:pt x="12" y="351"/>
                  <a:pt x="12" y="351"/>
                </a:cubicBezTo>
                <a:cubicBezTo>
                  <a:pt x="12" y="352"/>
                  <a:pt x="12" y="352"/>
                  <a:pt x="13" y="352"/>
                </a:cubicBezTo>
                <a:cubicBezTo>
                  <a:pt x="13" y="353"/>
                  <a:pt x="13" y="353"/>
                  <a:pt x="13" y="353"/>
                </a:cubicBezTo>
                <a:cubicBezTo>
                  <a:pt x="13" y="353"/>
                  <a:pt x="13" y="353"/>
                  <a:pt x="14" y="353"/>
                </a:cubicBezTo>
                <a:cubicBezTo>
                  <a:pt x="14" y="353"/>
                  <a:pt x="14" y="353"/>
                  <a:pt x="15" y="354"/>
                </a:cubicBezTo>
                <a:cubicBezTo>
                  <a:pt x="15" y="354"/>
                  <a:pt x="16" y="355"/>
                  <a:pt x="16" y="355"/>
                </a:cubicBezTo>
                <a:cubicBezTo>
                  <a:pt x="16" y="356"/>
                  <a:pt x="16" y="356"/>
                  <a:pt x="16" y="356"/>
                </a:cubicBezTo>
                <a:cubicBezTo>
                  <a:pt x="16" y="356"/>
                  <a:pt x="16" y="356"/>
                  <a:pt x="17" y="356"/>
                </a:cubicBezTo>
                <a:cubicBezTo>
                  <a:pt x="26" y="356"/>
                  <a:pt x="26" y="356"/>
                  <a:pt x="26" y="356"/>
                </a:cubicBezTo>
                <a:cubicBezTo>
                  <a:pt x="27" y="356"/>
                  <a:pt x="28" y="356"/>
                  <a:pt x="29" y="356"/>
                </a:cubicBezTo>
                <a:cubicBezTo>
                  <a:pt x="31" y="356"/>
                  <a:pt x="33" y="356"/>
                  <a:pt x="35" y="356"/>
                </a:cubicBezTo>
                <a:cubicBezTo>
                  <a:pt x="35" y="356"/>
                  <a:pt x="35" y="356"/>
                  <a:pt x="35" y="356"/>
                </a:cubicBezTo>
                <a:cubicBezTo>
                  <a:pt x="36" y="356"/>
                  <a:pt x="36" y="356"/>
                  <a:pt x="36" y="356"/>
                </a:cubicBezTo>
                <a:cubicBezTo>
                  <a:pt x="37" y="357"/>
                  <a:pt x="38" y="357"/>
                  <a:pt x="38" y="357"/>
                </a:cubicBezTo>
                <a:cubicBezTo>
                  <a:pt x="38" y="357"/>
                  <a:pt x="38" y="357"/>
                  <a:pt x="38" y="357"/>
                </a:cubicBezTo>
                <a:cubicBezTo>
                  <a:pt x="39" y="357"/>
                  <a:pt x="40" y="358"/>
                  <a:pt x="41" y="358"/>
                </a:cubicBezTo>
                <a:cubicBezTo>
                  <a:pt x="41" y="358"/>
                  <a:pt x="42" y="358"/>
                  <a:pt x="43" y="358"/>
                </a:cubicBezTo>
                <a:cubicBezTo>
                  <a:pt x="45" y="359"/>
                  <a:pt x="48" y="360"/>
                  <a:pt x="50" y="361"/>
                </a:cubicBezTo>
                <a:cubicBezTo>
                  <a:pt x="49" y="359"/>
                  <a:pt x="47" y="356"/>
                  <a:pt x="46" y="354"/>
                </a:cubicBezTo>
                <a:cubicBezTo>
                  <a:pt x="46" y="354"/>
                  <a:pt x="46" y="352"/>
                  <a:pt x="45" y="352"/>
                </a:cubicBezTo>
                <a:cubicBezTo>
                  <a:pt x="45" y="352"/>
                  <a:pt x="44" y="353"/>
                  <a:pt x="44" y="353"/>
                </a:cubicBezTo>
                <a:cubicBezTo>
                  <a:pt x="43" y="353"/>
                  <a:pt x="43" y="352"/>
                  <a:pt x="42" y="352"/>
                </a:cubicBezTo>
                <a:cubicBezTo>
                  <a:pt x="41" y="352"/>
                  <a:pt x="40" y="352"/>
                  <a:pt x="39" y="352"/>
                </a:cubicBezTo>
                <a:cubicBezTo>
                  <a:pt x="40" y="352"/>
                  <a:pt x="41" y="351"/>
                  <a:pt x="42" y="352"/>
                </a:cubicBezTo>
                <a:cubicBezTo>
                  <a:pt x="43" y="352"/>
                  <a:pt x="43" y="352"/>
                  <a:pt x="44" y="352"/>
                </a:cubicBezTo>
                <a:cubicBezTo>
                  <a:pt x="44" y="352"/>
                  <a:pt x="44" y="351"/>
                  <a:pt x="45" y="352"/>
                </a:cubicBezTo>
                <a:cubicBezTo>
                  <a:pt x="45" y="349"/>
                  <a:pt x="44" y="346"/>
                  <a:pt x="43" y="343"/>
                </a:cubicBezTo>
                <a:cubicBezTo>
                  <a:pt x="42" y="344"/>
                  <a:pt x="42" y="344"/>
                  <a:pt x="41" y="345"/>
                </a:cubicBezTo>
                <a:cubicBezTo>
                  <a:pt x="41" y="345"/>
                  <a:pt x="41" y="345"/>
                  <a:pt x="41" y="345"/>
                </a:cubicBezTo>
                <a:cubicBezTo>
                  <a:pt x="41" y="344"/>
                  <a:pt x="43" y="343"/>
                  <a:pt x="44" y="342"/>
                </a:cubicBezTo>
                <a:cubicBezTo>
                  <a:pt x="44" y="342"/>
                  <a:pt x="43" y="340"/>
                  <a:pt x="44" y="339"/>
                </a:cubicBezTo>
                <a:cubicBezTo>
                  <a:pt x="45" y="338"/>
                  <a:pt x="45" y="337"/>
                  <a:pt x="46" y="335"/>
                </a:cubicBezTo>
                <a:cubicBezTo>
                  <a:pt x="47" y="334"/>
                  <a:pt x="48" y="334"/>
                  <a:pt x="49" y="334"/>
                </a:cubicBezTo>
                <a:cubicBezTo>
                  <a:pt x="49" y="334"/>
                  <a:pt x="52" y="333"/>
                  <a:pt x="51" y="332"/>
                </a:cubicBezTo>
                <a:cubicBezTo>
                  <a:pt x="51" y="332"/>
                  <a:pt x="51" y="332"/>
                  <a:pt x="51" y="332"/>
                </a:cubicBezTo>
                <a:cubicBezTo>
                  <a:pt x="50" y="332"/>
                  <a:pt x="50" y="331"/>
                  <a:pt x="50" y="330"/>
                </a:cubicBezTo>
                <a:cubicBezTo>
                  <a:pt x="49" y="330"/>
                  <a:pt x="46" y="331"/>
                  <a:pt x="45" y="330"/>
                </a:cubicBezTo>
                <a:cubicBezTo>
                  <a:pt x="46" y="330"/>
                  <a:pt x="47" y="330"/>
                  <a:pt x="48" y="330"/>
                </a:cubicBezTo>
                <a:cubicBezTo>
                  <a:pt x="50" y="329"/>
                  <a:pt x="49" y="328"/>
                  <a:pt x="48" y="327"/>
                </a:cubicBezTo>
                <a:cubicBezTo>
                  <a:pt x="50" y="327"/>
                  <a:pt x="50" y="331"/>
                  <a:pt x="52" y="332"/>
                </a:cubicBezTo>
                <a:cubicBezTo>
                  <a:pt x="52" y="332"/>
                  <a:pt x="57" y="330"/>
                  <a:pt x="57" y="329"/>
                </a:cubicBezTo>
                <a:cubicBezTo>
                  <a:pt x="58" y="329"/>
                  <a:pt x="58" y="328"/>
                  <a:pt x="58" y="328"/>
                </a:cubicBezTo>
                <a:cubicBezTo>
                  <a:pt x="58" y="325"/>
                  <a:pt x="59" y="322"/>
                  <a:pt x="59" y="321"/>
                </a:cubicBezTo>
                <a:cubicBezTo>
                  <a:pt x="59" y="321"/>
                  <a:pt x="58" y="322"/>
                  <a:pt x="57" y="322"/>
                </a:cubicBezTo>
                <a:cubicBezTo>
                  <a:pt x="58" y="321"/>
                  <a:pt x="58" y="321"/>
                  <a:pt x="59" y="320"/>
                </a:cubicBezTo>
                <a:cubicBezTo>
                  <a:pt x="60" y="317"/>
                  <a:pt x="62" y="315"/>
                  <a:pt x="65" y="313"/>
                </a:cubicBezTo>
                <a:cubicBezTo>
                  <a:pt x="67" y="311"/>
                  <a:pt x="69" y="310"/>
                  <a:pt x="71" y="309"/>
                </a:cubicBezTo>
                <a:cubicBezTo>
                  <a:pt x="73" y="308"/>
                  <a:pt x="76" y="307"/>
                  <a:pt x="78" y="304"/>
                </a:cubicBezTo>
                <a:cubicBezTo>
                  <a:pt x="78" y="303"/>
                  <a:pt x="78" y="303"/>
                  <a:pt x="77" y="303"/>
                </a:cubicBezTo>
                <a:cubicBezTo>
                  <a:pt x="77" y="302"/>
                  <a:pt x="77" y="301"/>
                  <a:pt x="76" y="301"/>
                </a:cubicBezTo>
                <a:cubicBezTo>
                  <a:pt x="76" y="301"/>
                  <a:pt x="76" y="301"/>
                  <a:pt x="76" y="301"/>
                </a:cubicBezTo>
                <a:cubicBezTo>
                  <a:pt x="76" y="301"/>
                  <a:pt x="77" y="301"/>
                  <a:pt x="77" y="301"/>
                </a:cubicBezTo>
                <a:cubicBezTo>
                  <a:pt x="78" y="300"/>
                  <a:pt x="78" y="298"/>
                  <a:pt x="78" y="298"/>
                </a:cubicBezTo>
                <a:cubicBezTo>
                  <a:pt x="78" y="297"/>
                  <a:pt x="79" y="296"/>
                  <a:pt x="78" y="296"/>
                </a:cubicBezTo>
                <a:cubicBezTo>
                  <a:pt x="78" y="295"/>
                  <a:pt x="78" y="294"/>
                  <a:pt x="78" y="294"/>
                </a:cubicBezTo>
                <a:cubicBezTo>
                  <a:pt x="76" y="293"/>
                  <a:pt x="74" y="293"/>
                  <a:pt x="72" y="292"/>
                </a:cubicBezTo>
                <a:cubicBezTo>
                  <a:pt x="70" y="292"/>
                  <a:pt x="68" y="292"/>
                  <a:pt x="67" y="290"/>
                </a:cubicBezTo>
                <a:cubicBezTo>
                  <a:pt x="66" y="290"/>
                  <a:pt x="65" y="289"/>
                  <a:pt x="64" y="288"/>
                </a:cubicBezTo>
                <a:cubicBezTo>
                  <a:pt x="61" y="286"/>
                  <a:pt x="59" y="284"/>
                  <a:pt x="59" y="280"/>
                </a:cubicBezTo>
                <a:cubicBezTo>
                  <a:pt x="59" y="279"/>
                  <a:pt x="60" y="277"/>
                  <a:pt x="61" y="276"/>
                </a:cubicBezTo>
                <a:cubicBezTo>
                  <a:pt x="63" y="274"/>
                  <a:pt x="64" y="271"/>
                  <a:pt x="66" y="269"/>
                </a:cubicBezTo>
                <a:cubicBezTo>
                  <a:pt x="67" y="268"/>
                  <a:pt x="67" y="268"/>
                  <a:pt x="68" y="268"/>
                </a:cubicBezTo>
                <a:cubicBezTo>
                  <a:pt x="69" y="267"/>
                  <a:pt x="71" y="267"/>
                  <a:pt x="72" y="266"/>
                </a:cubicBezTo>
                <a:cubicBezTo>
                  <a:pt x="74" y="265"/>
                  <a:pt x="74" y="265"/>
                  <a:pt x="76" y="265"/>
                </a:cubicBezTo>
                <a:cubicBezTo>
                  <a:pt x="78" y="266"/>
                  <a:pt x="79" y="267"/>
                  <a:pt x="80" y="265"/>
                </a:cubicBezTo>
                <a:cubicBezTo>
                  <a:pt x="81" y="264"/>
                  <a:pt x="79" y="263"/>
                  <a:pt x="79" y="262"/>
                </a:cubicBezTo>
                <a:cubicBezTo>
                  <a:pt x="79" y="261"/>
                  <a:pt x="80" y="261"/>
                  <a:pt x="80" y="261"/>
                </a:cubicBezTo>
                <a:cubicBezTo>
                  <a:pt x="82" y="260"/>
                  <a:pt x="83" y="258"/>
                  <a:pt x="84" y="257"/>
                </a:cubicBezTo>
                <a:cubicBezTo>
                  <a:pt x="84" y="256"/>
                  <a:pt x="84" y="254"/>
                  <a:pt x="84" y="253"/>
                </a:cubicBezTo>
                <a:cubicBezTo>
                  <a:pt x="83" y="253"/>
                  <a:pt x="82" y="250"/>
                  <a:pt x="83" y="250"/>
                </a:cubicBezTo>
                <a:cubicBezTo>
                  <a:pt x="84" y="248"/>
                  <a:pt x="85" y="246"/>
                  <a:pt x="86" y="244"/>
                </a:cubicBezTo>
                <a:cubicBezTo>
                  <a:pt x="87" y="243"/>
                  <a:pt x="88" y="243"/>
                  <a:pt x="90" y="242"/>
                </a:cubicBezTo>
                <a:cubicBezTo>
                  <a:pt x="90" y="242"/>
                  <a:pt x="94" y="241"/>
                  <a:pt x="93" y="240"/>
                </a:cubicBezTo>
                <a:cubicBezTo>
                  <a:pt x="93" y="240"/>
                  <a:pt x="92" y="240"/>
                  <a:pt x="92" y="240"/>
                </a:cubicBezTo>
                <a:cubicBezTo>
                  <a:pt x="90" y="240"/>
                  <a:pt x="87" y="238"/>
                  <a:pt x="86" y="237"/>
                </a:cubicBezTo>
                <a:cubicBezTo>
                  <a:pt x="87" y="236"/>
                  <a:pt x="90" y="235"/>
                  <a:pt x="91" y="235"/>
                </a:cubicBezTo>
                <a:cubicBezTo>
                  <a:pt x="92" y="235"/>
                  <a:pt x="95" y="236"/>
                  <a:pt x="94" y="237"/>
                </a:cubicBezTo>
                <a:cubicBezTo>
                  <a:pt x="96" y="237"/>
                  <a:pt x="98" y="237"/>
                  <a:pt x="100" y="238"/>
                </a:cubicBezTo>
                <a:cubicBezTo>
                  <a:pt x="100" y="235"/>
                  <a:pt x="101" y="228"/>
                  <a:pt x="97" y="230"/>
                </a:cubicBezTo>
                <a:cubicBezTo>
                  <a:pt x="96" y="230"/>
                  <a:pt x="94" y="231"/>
                  <a:pt x="93" y="231"/>
                </a:cubicBezTo>
                <a:cubicBezTo>
                  <a:pt x="94" y="232"/>
                  <a:pt x="97" y="231"/>
                  <a:pt x="96" y="233"/>
                </a:cubicBezTo>
                <a:cubicBezTo>
                  <a:pt x="95" y="234"/>
                  <a:pt x="95" y="234"/>
                  <a:pt x="94" y="234"/>
                </a:cubicBezTo>
                <a:cubicBezTo>
                  <a:pt x="93" y="234"/>
                  <a:pt x="91" y="234"/>
                  <a:pt x="90" y="234"/>
                </a:cubicBezTo>
                <a:cubicBezTo>
                  <a:pt x="90" y="233"/>
                  <a:pt x="89" y="232"/>
                  <a:pt x="89" y="232"/>
                </a:cubicBezTo>
                <a:cubicBezTo>
                  <a:pt x="88" y="231"/>
                  <a:pt x="87" y="230"/>
                  <a:pt x="86" y="229"/>
                </a:cubicBezTo>
                <a:cubicBezTo>
                  <a:pt x="85" y="228"/>
                  <a:pt x="85" y="228"/>
                  <a:pt x="86" y="227"/>
                </a:cubicBezTo>
                <a:cubicBezTo>
                  <a:pt x="86" y="225"/>
                  <a:pt x="86" y="224"/>
                  <a:pt x="86" y="222"/>
                </a:cubicBezTo>
                <a:cubicBezTo>
                  <a:pt x="86" y="220"/>
                  <a:pt x="85" y="219"/>
                  <a:pt x="85" y="217"/>
                </a:cubicBezTo>
                <a:cubicBezTo>
                  <a:pt x="84" y="215"/>
                  <a:pt x="84" y="214"/>
                  <a:pt x="86" y="213"/>
                </a:cubicBezTo>
                <a:cubicBezTo>
                  <a:pt x="87" y="213"/>
                  <a:pt x="88" y="212"/>
                  <a:pt x="89" y="214"/>
                </a:cubicBezTo>
                <a:cubicBezTo>
                  <a:pt x="88" y="214"/>
                  <a:pt x="87" y="214"/>
                  <a:pt x="87" y="214"/>
                </a:cubicBezTo>
                <a:cubicBezTo>
                  <a:pt x="87" y="214"/>
                  <a:pt x="88" y="214"/>
                  <a:pt x="89" y="214"/>
                </a:cubicBezTo>
                <a:cubicBezTo>
                  <a:pt x="91" y="214"/>
                  <a:pt x="94" y="216"/>
                  <a:pt x="96" y="217"/>
                </a:cubicBezTo>
                <a:cubicBezTo>
                  <a:pt x="98" y="218"/>
                  <a:pt x="99" y="218"/>
                  <a:pt x="101" y="218"/>
                </a:cubicBezTo>
                <a:cubicBezTo>
                  <a:pt x="103" y="218"/>
                  <a:pt x="105" y="218"/>
                  <a:pt x="106" y="218"/>
                </a:cubicBezTo>
                <a:cubicBezTo>
                  <a:pt x="107" y="218"/>
                  <a:pt x="109" y="217"/>
                  <a:pt x="110" y="216"/>
                </a:cubicBezTo>
                <a:cubicBezTo>
                  <a:pt x="112" y="215"/>
                  <a:pt x="114" y="215"/>
                  <a:pt x="115" y="212"/>
                </a:cubicBezTo>
                <a:cubicBezTo>
                  <a:pt x="114" y="212"/>
                  <a:pt x="113" y="210"/>
                  <a:pt x="113" y="209"/>
                </a:cubicBezTo>
                <a:cubicBezTo>
                  <a:pt x="111" y="207"/>
                  <a:pt x="112" y="208"/>
                  <a:pt x="113" y="206"/>
                </a:cubicBezTo>
                <a:cubicBezTo>
                  <a:pt x="113" y="205"/>
                  <a:pt x="113" y="204"/>
                  <a:pt x="113" y="202"/>
                </a:cubicBezTo>
                <a:cubicBezTo>
                  <a:pt x="114" y="201"/>
                  <a:pt x="114" y="202"/>
                  <a:pt x="114" y="202"/>
                </a:cubicBezTo>
                <a:cubicBezTo>
                  <a:pt x="115" y="201"/>
                  <a:pt x="116" y="200"/>
                  <a:pt x="116" y="198"/>
                </a:cubicBezTo>
                <a:cubicBezTo>
                  <a:pt x="116" y="197"/>
                  <a:pt x="115" y="197"/>
                  <a:pt x="114" y="196"/>
                </a:cubicBezTo>
                <a:cubicBezTo>
                  <a:pt x="115" y="195"/>
                  <a:pt x="115" y="197"/>
                  <a:pt x="116" y="196"/>
                </a:cubicBezTo>
                <a:cubicBezTo>
                  <a:pt x="116" y="196"/>
                  <a:pt x="115" y="196"/>
                  <a:pt x="115" y="195"/>
                </a:cubicBezTo>
                <a:cubicBezTo>
                  <a:pt x="114" y="195"/>
                  <a:pt x="113" y="195"/>
                  <a:pt x="113" y="194"/>
                </a:cubicBezTo>
                <a:cubicBezTo>
                  <a:pt x="113" y="193"/>
                  <a:pt x="113" y="191"/>
                  <a:pt x="113" y="190"/>
                </a:cubicBezTo>
                <a:cubicBezTo>
                  <a:pt x="115" y="190"/>
                  <a:pt x="117" y="190"/>
                  <a:pt x="119" y="191"/>
                </a:cubicBezTo>
                <a:cubicBezTo>
                  <a:pt x="122" y="191"/>
                  <a:pt x="124" y="192"/>
                  <a:pt x="127" y="192"/>
                </a:cubicBezTo>
                <a:cubicBezTo>
                  <a:pt x="131" y="191"/>
                  <a:pt x="134" y="191"/>
                  <a:pt x="137" y="190"/>
                </a:cubicBezTo>
                <a:cubicBezTo>
                  <a:pt x="143" y="189"/>
                  <a:pt x="149" y="188"/>
                  <a:pt x="154" y="186"/>
                </a:cubicBezTo>
                <a:cubicBezTo>
                  <a:pt x="157" y="185"/>
                  <a:pt x="159" y="183"/>
                  <a:pt x="161" y="181"/>
                </a:cubicBezTo>
                <a:cubicBezTo>
                  <a:pt x="163" y="179"/>
                  <a:pt x="164" y="177"/>
                  <a:pt x="166" y="175"/>
                </a:cubicBezTo>
                <a:cubicBezTo>
                  <a:pt x="167" y="173"/>
                  <a:pt x="168" y="171"/>
                  <a:pt x="169" y="170"/>
                </a:cubicBezTo>
                <a:cubicBezTo>
                  <a:pt x="170" y="169"/>
                  <a:pt x="171" y="168"/>
                  <a:pt x="171" y="167"/>
                </a:cubicBezTo>
                <a:cubicBezTo>
                  <a:pt x="171" y="166"/>
                  <a:pt x="171" y="161"/>
                  <a:pt x="170" y="160"/>
                </a:cubicBezTo>
                <a:cubicBezTo>
                  <a:pt x="170" y="161"/>
                  <a:pt x="168" y="161"/>
                  <a:pt x="167" y="160"/>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03" name="Freeform 2959">
            <a:extLst>
              <a:ext uri="{FF2B5EF4-FFF2-40B4-BE49-F238E27FC236}">
                <a16:creationId xmlns:a16="http://schemas.microsoft.com/office/drawing/2014/main" id="{458754E3-A38D-498E-B984-77F34D4A47E8}"/>
              </a:ext>
            </a:extLst>
          </p:cNvPr>
          <p:cNvSpPr>
            <a:spLocks/>
          </p:cNvSpPr>
          <p:nvPr/>
        </p:nvSpPr>
        <p:spPr bwMode="auto">
          <a:xfrm>
            <a:off x="2486639" y="435870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04" name="Freeform 2960">
            <a:extLst>
              <a:ext uri="{FF2B5EF4-FFF2-40B4-BE49-F238E27FC236}">
                <a16:creationId xmlns:a16="http://schemas.microsoft.com/office/drawing/2014/main" id="{7E13B584-E2CB-4F7A-86FC-6BF5E50A1D41}"/>
              </a:ext>
            </a:extLst>
          </p:cNvPr>
          <p:cNvSpPr>
            <a:spLocks/>
          </p:cNvSpPr>
          <p:nvPr/>
        </p:nvSpPr>
        <p:spPr bwMode="auto">
          <a:xfrm>
            <a:off x="2506461" y="3084854"/>
            <a:ext cx="991" cy="0"/>
          </a:xfrm>
          <a:custGeom>
            <a:avLst/>
            <a:gdLst>
              <a:gd name="T0" fmla="*/ 1 w 1"/>
              <a:gd name="T1" fmla="*/ 1 w 1"/>
            </a:gdLst>
            <a:ahLst/>
            <a:cxnLst>
              <a:cxn ang="0">
                <a:pos x="T0" y="0"/>
              </a:cxn>
              <a:cxn ang="0">
                <a:pos x="T1" y="0"/>
              </a:cxn>
            </a:cxnLst>
            <a:rect l="0" t="0" r="r" b="b"/>
            <a:pathLst>
              <a:path w="1">
                <a:moveTo>
                  <a:pt x="1" y="0"/>
                </a:moveTo>
                <a:cubicBezTo>
                  <a:pt x="1" y="0"/>
                  <a:pt x="0" y="0"/>
                  <a:pt x="1"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05" name="Freeform 2961">
            <a:extLst>
              <a:ext uri="{FF2B5EF4-FFF2-40B4-BE49-F238E27FC236}">
                <a16:creationId xmlns:a16="http://schemas.microsoft.com/office/drawing/2014/main" id="{71ACF5D9-B6B2-4E5A-B841-1BC18858E5B5}"/>
              </a:ext>
            </a:extLst>
          </p:cNvPr>
          <p:cNvSpPr>
            <a:spLocks/>
          </p:cNvSpPr>
          <p:nvPr/>
        </p:nvSpPr>
        <p:spPr bwMode="auto">
          <a:xfrm>
            <a:off x="2455914" y="313352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06" name="Oval 2962">
            <a:extLst>
              <a:ext uri="{FF2B5EF4-FFF2-40B4-BE49-F238E27FC236}">
                <a16:creationId xmlns:a16="http://schemas.microsoft.com/office/drawing/2014/main" id="{D256B9AE-0DA8-49DB-A665-CD479C84B840}"/>
              </a:ext>
            </a:extLst>
          </p:cNvPr>
          <p:cNvSpPr>
            <a:spLocks noChangeArrowheads="1"/>
          </p:cNvSpPr>
          <p:nvPr/>
        </p:nvSpPr>
        <p:spPr bwMode="auto">
          <a:xfrm>
            <a:off x="2455914" y="3131154"/>
            <a:ext cx="496" cy="594"/>
          </a:xfrm>
          <a:prstGeom prst="ellipse">
            <a:avLst/>
          </a:pr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07" name="Freeform 2963">
            <a:extLst>
              <a:ext uri="{FF2B5EF4-FFF2-40B4-BE49-F238E27FC236}">
                <a16:creationId xmlns:a16="http://schemas.microsoft.com/office/drawing/2014/main" id="{51D9E7A0-5A73-4E01-8BB7-33AE60399A9B}"/>
              </a:ext>
            </a:extLst>
          </p:cNvPr>
          <p:cNvSpPr>
            <a:spLocks/>
          </p:cNvSpPr>
          <p:nvPr/>
        </p:nvSpPr>
        <p:spPr bwMode="auto">
          <a:xfrm>
            <a:off x="2414783" y="3081886"/>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08" name="Freeform 2964">
            <a:extLst>
              <a:ext uri="{FF2B5EF4-FFF2-40B4-BE49-F238E27FC236}">
                <a16:creationId xmlns:a16="http://schemas.microsoft.com/office/drawing/2014/main" id="{29A6B381-6F44-42FD-A19D-8869AAE28CDE}"/>
              </a:ext>
            </a:extLst>
          </p:cNvPr>
          <p:cNvSpPr>
            <a:spLocks/>
          </p:cNvSpPr>
          <p:nvPr/>
        </p:nvSpPr>
        <p:spPr bwMode="auto">
          <a:xfrm>
            <a:off x="2455914" y="3131154"/>
            <a:ext cx="0" cy="1187"/>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09" name="Freeform 2965">
            <a:extLst>
              <a:ext uri="{FF2B5EF4-FFF2-40B4-BE49-F238E27FC236}">
                <a16:creationId xmlns:a16="http://schemas.microsoft.com/office/drawing/2014/main" id="{E9D3B1D8-771C-46FF-B241-7D545F1A3A5D}"/>
              </a:ext>
            </a:extLst>
          </p:cNvPr>
          <p:cNvSpPr>
            <a:spLocks/>
          </p:cNvSpPr>
          <p:nvPr/>
        </p:nvSpPr>
        <p:spPr bwMode="auto">
          <a:xfrm>
            <a:off x="2455914" y="313115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10" name="Freeform 2966">
            <a:extLst>
              <a:ext uri="{FF2B5EF4-FFF2-40B4-BE49-F238E27FC236}">
                <a16:creationId xmlns:a16="http://schemas.microsoft.com/office/drawing/2014/main" id="{E9916388-C75E-4383-9B7E-0FB2AC399C1D}"/>
              </a:ext>
            </a:extLst>
          </p:cNvPr>
          <p:cNvSpPr>
            <a:spLocks/>
          </p:cNvSpPr>
          <p:nvPr/>
        </p:nvSpPr>
        <p:spPr bwMode="auto">
          <a:xfrm>
            <a:off x="2455914" y="3135309"/>
            <a:ext cx="0" cy="1187"/>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11" name="Freeform 2967">
            <a:extLst>
              <a:ext uri="{FF2B5EF4-FFF2-40B4-BE49-F238E27FC236}">
                <a16:creationId xmlns:a16="http://schemas.microsoft.com/office/drawing/2014/main" id="{E35106DE-6DC5-40B1-94CE-8822C08D7231}"/>
              </a:ext>
            </a:extLst>
          </p:cNvPr>
          <p:cNvSpPr>
            <a:spLocks/>
          </p:cNvSpPr>
          <p:nvPr/>
        </p:nvSpPr>
        <p:spPr bwMode="auto">
          <a:xfrm>
            <a:off x="2508444" y="3083073"/>
            <a:ext cx="0" cy="1781"/>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1"/>
                  <a:pt x="0"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12" name="Freeform 2968">
            <a:extLst>
              <a:ext uri="{FF2B5EF4-FFF2-40B4-BE49-F238E27FC236}">
                <a16:creationId xmlns:a16="http://schemas.microsoft.com/office/drawing/2014/main" id="{565BD814-DA56-4F46-AF06-D0D44227103D}"/>
              </a:ext>
            </a:extLst>
          </p:cNvPr>
          <p:cNvSpPr>
            <a:spLocks/>
          </p:cNvSpPr>
          <p:nvPr/>
        </p:nvSpPr>
        <p:spPr bwMode="auto">
          <a:xfrm>
            <a:off x="2500515" y="3129373"/>
            <a:ext cx="2478" cy="2968"/>
          </a:xfrm>
          <a:custGeom>
            <a:avLst/>
            <a:gdLst>
              <a:gd name="T0" fmla="*/ 2 w 2"/>
              <a:gd name="T1" fmla="*/ 0 h 2"/>
              <a:gd name="T2" fmla="*/ 0 w 2"/>
              <a:gd name="T3" fmla="*/ 1 h 2"/>
              <a:gd name="T4" fmla="*/ 2 w 2"/>
              <a:gd name="T5" fmla="*/ 2 h 2"/>
              <a:gd name="T6" fmla="*/ 2 w 2"/>
              <a:gd name="T7" fmla="*/ 0 h 2"/>
            </a:gdLst>
            <a:ahLst/>
            <a:cxnLst>
              <a:cxn ang="0">
                <a:pos x="T0" y="T1"/>
              </a:cxn>
              <a:cxn ang="0">
                <a:pos x="T2" y="T3"/>
              </a:cxn>
              <a:cxn ang="0">
                <a:pos x="T4" y="T5"/>
              </a:cxn>
              <a:cxn ang="0">
                <a:pos x="T6" y="T7"/>
              </a:cxn>
            </a:cxnLst>
            <a:rect l="0" t="0" r="r" b="b"/>
            <a:pathLst>
              <a:path w="2" h="2">
                <a:moveTo>
                  <a:pt x="2" y="0"/>
                </a:moveTo>
                <a:cubicBezTo>
                  <a:pt x="1" y="0"/>
                  <a:pt x="1" y="1"/>
                  <a:pt x="0" y="1"/>
                </a:cubicBezTo>
                <a:cubicBezTo>
                  <a:pt x="0" y="1"/>
                  <a:pt x="1" y="2"/>
                  <a:pt x="2" y="2"/>
                </a:cubicBezTo>
                <a:cubicBezTo>
                  <a:pt x="2" y="1"/>
                  <a:pt x="2" y="0"/>
                  <a:pt x="2"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13" name="Freeform 2969">
            <a:extLst>
              <a:ext uri="{FF2B5EF4-FFF2-40B4-BE49-F238E27FC236}">
                <a16:creationId xmlns:a16="http://schemas.microsoft.com/office/drawing/2014/main" id="{34BFE77F-579A-4293-A529-B383868708CE}"/>
              </a:ext>
            </a:extLst>
          </p:cNvPr>
          <p:cNvSpPr>
            <a:spLocks/>
          </p:cNvSpPr>
          <p:nvPr/>
        </p:nvSpPr>
        <p:spPr bwMode="auto">
          <a:xfrm>
            <a:off x="2493577" y="3128186"/>
            <a:ext cx="3469" cy="2968"/>
          </a:xfrm>
          <a:custGeom>
            <a:avLst/>
            <a:gdLst>
              <a:gd name="T0" fmla="*/ 2 w 3"/>
              <a:gd name="T1" fmla="*/ 0 h 2"/>
              <a:gd name="T2" fmla="*/ 0 w 3"/>
              <a:gd name="T3" fmla="*/ 1 h 2"/>
              <a:gd name="T4" fmla="*/ 2 w 3"/>
              <a:gd name="T5" fmla="*/ 0 h 2"/>
            </a:gdLst>
            <a:ahLst/>
            <a:cxnLst>
              <a:cxn ang="0">
                <a:pos x="T0" y="T1"/>
              </a:cxn>
              <a:cxn ang="0">
                <a:pos x="T2" y="T3"/>
              </a:cxn>
              <a:cxn ang="0">
                <a:pos x="T4" y="T5"/>
              </a:cxn>
            </a:cxnLst>
            <a:rect l="0" t="0" r="r" b="b"/>
            <a:pathLst>
              <a:path w="3" h="2">
                <a:moveTo>
                  <a:pt x="2" y="0"/>
                </a:moveTo>
                <a:cubicBezTo>
                  <a:pt x="1" y="0"/>
                  <a:pt x="1" y="1"/>
                  <a:pt x="0" y="1"/>
                </a:cubicBezTo>
                <a:cubicBezTo>
                  <a:pt x="1" y="1"/>
                  <a:pt x="3" y="2"/>
                  <a:pt x="2"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14" name="Freeform 2970">
            <a:extLst>
              <a:ext uri="{FF2B5EF4-FFF2-40B4-BE49-F238E27FC236}">
                <a16:creationId xmlns:a16="http://schemas.microsoft.com/office/drawing/2014/main" id="{119C69AF-D720-467D-8E07-5936E527331F}"/>
              </a:ext>
            </a:extLst>
          </p:cNvPr>
          <p:cNvSpPr>
            <a:spLocks/>
          </p:cNvSpPr>
          <p:nvPr/>
        </p:nvSpPr>
        <p:spPr bwMode="auto">
          <a:xfrm>
            <a:off x="2456905" y="3133529"/>
            <a:ext cx="23787" cy="8904"/>
          </a:xfrm>
          <a:custGeom>
            <a:avLst/>
            <a:gdLst>
              <a:gd name="T0" fmla="*/ 16 w 20"/>
              <a:gd name="T1" fmla="*/ 0 h 6"/>
              <a:gd name="T2" fmla="*/ 9 w 20"/>
              <a:gd name="T3" fmla="*/ 2 h 6"/>
              <a:gd name="T4" fmla="*/ 6 w 20"/>
              <a:gd name="T5" fmla="*/ 2 h 6"/>
              <a:gd name="T6" fmla="*/ 2 w 20"/>
              <a:gd name="T7" fmla="*/ 4 h 6"/>
              <a:gd name="T8" fmla="*/ 1 w 20"/>
              <a:gd name="T9" fmla="*/ 3 h 6"/>
              <a:gd name="T10" fmla="*/ 1 w 20"/>
              <a:gd name="T11" fmla="*/ 4 h 6"/>
              <a:gd name="T12" fmla="*/ 1 w 20"/>
              <a:gd name="T13" fmla="*/ 4 h 6"/>
              <a:gd name="T14" fmla="*/ 0 w 20"/>
              <a:gd name="T15" fmla="*/ 4 h 6"/>
              <a:gd name="T16" fmla="*/ 0 w 20"/>
              <a:gd name="T17" fmla="*/ 4 h 6"/>
              <a:gd name="T18" fmla="*/ 1 w 20"/>
              <a:gd name="T19" fmla="*/ 5 h 6"/>
              <a:gd name="T20" fmla="*/ 1 w 20"/>
              <a:gd name="T21" fmla="*/ 6 h 6"/>
              <a:gd name="T22" fmla="*/ 1 w 20"/>
              <a:gd name="T23" fmla="*/ 6 h 6"/>
              <a:gd name="T24" fmla="*/ 4 w 20"/>
              <a:gd name="T25" fmla="*/ 6 h 6"/>
              <a:gd name="T26" fmla="*/ 5 w 20"/>
              <a:gd name="T27" fmla="*/ 5 h 6"/>
              <a:gd name="T28" fmla="*/ 7 w 20"/>
              <a:gd name="T29" fmla="*/ 5 h 6"/>
              <a:gd name="T30" fmla="*/ 10 w 20"/>
              <a:gd name="T31" fmla="*/ 5 h 6"/>
              <a:gd name="T32" fmla="*/ 11 w 20"/>
              <a:gd name="T33" fmla="*/ 4 h 6"/>
              <a:gd name="T34" fmla="*/ 11 w 20"/>
              <a:gd name="T35" fmla="*/ 4 h 6"/>
              <a:gd name="T36" fmla="*/ 13 w 20"/>
              <a:gd name="T37" fmla="*/ 4 h 6"/>
              <a:gd name="T38" fmla="*/ 13 w 20"/>
              <a:gd name="T39" fmla="*/ 3 h 6"/>
              <a:gd name="T40" fmla="*/ 14 w 20"/>
              <a:gd name="T41" fmla="*/ 3 h 6"/>
              <a:gd name="T42" fmla="*/ 14 w 20"/>
              <a:gd name="T43" fmla="*/ 3 h 6"/>
              <a:gd name="T44" fmla="*/ 16 w 20"/>
              <a:gd name="T45" fmla="*/ 3 h 6"/>
              <a:gd name="T46" fmla="*/ 20 w 20"/>
              <a:gd name="T47" fmla="*/ 1 h 6"/>
              <a:gd name="T48" fmla="*/ 14 w 20"/>
              <a:gd name="T49" fmla="*/ 1 h 6"/>
              <a:gd name="T50" fmla="*/ 16 w 20"/>
              <a:gd name="T5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6">
                <a:moveTo>
                  <a:pt x="16" y="0"/>
                </a:moveTo>
                <a:cubicBezTo>
                  <a:pt x="14" y="0"/>
                  <a:pt x="11" y="1"/>
                  <a:pt x="9" y="2"/>
                </a:cubicBezTo>
                <a:cubicBezTo>
                  <a:pt x="8" y="2"/>
                  <a:pt x="7" y="2"/>
                  <a:pt x="6" y="2"/>
                </a:cubicBezTo>
                <a:cubicBezTo>
                  <a:pt x="5" y="3"/>
                  <a:pt x="1" y="2"/>
                  <a:pt x="2" y="4"/>
                </a:cubicBezTo>
                <a:cubicBezTo>
                  <a:pt x="1" y="3"/>
                  <a:pt x="1" y="3"/>
                  <a:pt x="1" y="3"/>
                </a:cubicBezTo>
                <a:cubicBezTo>
                  <a:pt x="1" y="3"/>
                  <a:pt x="1" y="3"/>
                  <a:pt x="1" y="4"/>
                </a:cubicBezTo>
                <a:cubicBezTo>
                  <a:pt x="1" y="4"/>
                  <a:pt x="1" y="4"/>
                  <a:pt x="1" y="4"/>
                </a:cubicBezTo>
                <a:cubicBezTo>
                  <a:pt x="1" y="4"/>
                  <a:pt x="1" y="4"/>
                  <a:pt x="0" y="4"/>
                </a:cubicBezTo>
                <a:cubicBezTo>
                  <a:pt x="0" y="4"/>
                  <a:pt x="0" y="4"/>
                  <a:pt x="0" y="4"/>
                </a:cubicBezTo>
                <a:cubicBezTo>
                  <a:pt x="1" y="4"/>
                  <a:pt x="1" y="5"/>
                  <a:pt x="1" y="5"/>
                </a:cubicBezTo>
                <a:cubicBezTo>
                  <a:pt x="1" y="5"/>
                  <a:pt x="1" y="6"/>
                  <a:pt x="1" y="6"/>
                </a:cubicBezTo>
                <a:cubicBezTo>
                  <a:pt x="1" y="6"/>
                  <a:pt x="1" y="6"/>
                  <a:pt x="1" y="6"/>
                </a:cubicBezTo>
                <a:cubicBezTo>
                  <a:pt x="2" y="6"/>
                  <a:pt x="3" y="6"/>
                  <a:pt x="4" y="6"/>
                </a:cubicBezTo>
                <a:cubicBezTo>
                  <a:pt x="5" y="6"/>
                  <a:pt x="5" y="5"/>
                  <a:pt x="5" y="5"/>
                </a:cubicBezTo>
                <a:cubicBezTo>
                  <a:pt x="6" y="5"/>
                  <a:pt x="6" y="5"/>
                  <a:pt x="7" y="5"/>
                </a:cubicBezTo>
                <a:cubicBezTo>
                  <a:pt x="8" y="5"/>
                  <a:pt x="9" y="5"/>
                  <a:pt x="10" y="5"/>
                </a:cubicBezTo>
                <a:cubicBezTo>
                  <a:pt x="10" y="4"/>
                  <a:pt x="11" y="4"/>
                  <a:pt x="11" y="4"/>
                </a:cubicBezTo>
                <a:cubicBezTo>
                  <a:pt x="11" y="4"/>
                  <a:pt x="11" y="4"/>
                  <a:pt x="11" y="4"/>
                </a:cubicBezTo>
                <a:cubicBezTo>
                  <a:pt x="12" y="4"/>
                  <a:pt x="12" y="4"/>
                  <a:pt x="13" y="4"/>
                </a:cubicBezTo>
                <a:cubicBezTo>
                  <a:pt x="13" y="4"/>
                  <a:pt x="13" y="4"/>
                  <a:pt x="13" y="3"/>
                </a:cubicBezTo>
                <a:cubicBezTo>
                  <a:pt x="14" y="3"/>
                  <a:pt x="14" y="3"/>
                  <a:pt x="14" y="3"/>
                </a:cubicBezTo>
                <a:cubicBezTo>
                  <a:pt x="14" y="3"/>
                  <a:pt x="14" y="3"/>
                  <a:pt x="14" y="3"/>
                </a:cubicBezTo>
                <a:cubicBezTo>
                  <a:pt x="15" y="3"/>
                  <a:pt x="15" y="3"/>
                  <a:pt x="16" y="3"/>
                </a:cubicBezTo>
                <a:cubicBezTo>
                  <a:pt x="17" y="2"/>
                  <a:pt x="18" y="1"/>
                  <a:pt x="20" y="1"/>
                </a:cubicBezTo>
                <a:cubicBezTo>
                  <a:pt x="18" y="1"/>
                  <a:pt x="16" y="1"/>
                  <a:pt x="14" y="1"/>
                </a:cubicBezTo>
                <a:cubicBezTo>
                  <a:pt x="15" y="1"/>
                  <a:pt x="15" y="0"/>
                  <a:pt x="16"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15" name="Freeform 2971">
            <a:extLst>
              <a:ext uri="{FF2B5EF4-FFF2-40B4-BE49-F238E27FC236}">
                <a16:creationId xmlns:a16="http://schemas.microsoft.com/office/drawing/2014/main" id="{B256859A-08C2-4B19-8E48-8E2EAC63B19D}"/>
              </a:ext>
            </a:extLst>
          </p:cNvPr>
          <p:cNvSpPr>
            <a:spLocks/>
          </p:cNvSpPr>
          <p:nvPr/>
        </p:nvSpPr>
        <p:spPr bwMode="auto">
          <a:xfrm>
            <a:off x="2568406" y="3021339"/>
            <a:ext cx="30725" cy="21369"/>
          </a:xfrm>
          <a:custGeom>
            <a:avLst/>
            <a:gdLst>
              <a:gd name="T0" fmla="*/ 26 w 26"/>
              <a:gd name="T1" fmla="*/ 8 h 15"/>
              <a:gd name="T2" fmla="*/ 22 w 26"/>
              <a:gd name="T3" fmla="*/ 8 h 15"/>
              <a:gd name="T4" fmla="*/ 6 w 26"/>
              <a:gd name="T5" fmla="*/ 8 h 15"/>
              <a:gd name="T6" fmla="*/ 6 w 26"/>
              <a:gd name="T7" fmla="*/ 6 h 15"/>
              <a:gd name="T8" fmla="*/ 4 w 26"/>
              <a:gd name="T9" fmla="*/ 4 h 15"/>
              <a:gd name="T10" fmla="*/ 5 w 26"/>
              <a:gd name="T11" fmla="*/ 3 h 15"/>
              <a:gd name="T12" fmla="*/ 5 w 26"/>
              <a:gd name="T13" fmla="*/ 0 h 15"/>
              <a:gd name="T14" fmla="*/ 3 w 26"/>
              <a:gd name="T15" fmla="*/ 2 h 15"/>
              <a:gd name="T16" fmla="*/ 2 w 26"/>
              <a:gd name="T17" fmla="*/ 4 h 15"/>
              <a:gd name="T18" fmla="*/ 2 w 26"/>
              <a:gd name="T19" fmla="*/ 6 h 15"/>
              <a:gd name="T20" fmla="*/ 4 w 26"/>
              <a:gd name="T21" fmla="*/ 6 h 15"/>
              <a:gd name="T22" fmla="*/ 5 w 26"/>
              <a:gd name="T23" fmla="*/ 9 h 15"/>
              <a:gd name="T24" fmla="*/ 6 w 26"/>
              <a:gd name="T25" fmla="*/ 9 h 15"/>
              <a:gd name="T26" fmla="*/ 8 w 26"/>
              <a:gd name="T27" fmla="*/ 10 h 15"/>
              <a:gd name="T28" fmla="*/ 11 w 26"/>
              <a:gd name="T29" fmla="*/ 11 h 15"/>
              <a:gd name="T30" fmla="*/ 13 w 26"/>
              <a:gd name="T31" fmla="*/ 12 h 15"/>
              <a:gd name="T32" fmla="*/ 13 w 26"/>
              <a:gd name="T33" fmla="*/ 11 h 15"/>
              <a:gd name="T34" fmla="*/ 15 w 26"/>
              <a:gd name="T35" fmla="*/ 13 h 15"/>
              <a:gd name="T36" fmla="*/ 17 w 26"/>
              <a:gd name="T37" fmla="*/ 14 h 15"/>
              <a:gd name="T38" fmla="*/ 21 w 26"/>
              <a:gd name="T39" fmla="*/ 14 h 15"/>
              <a:gd name="T40" fmla="*/ 20 w 26"/>
              <a:gd name="T41" fmla="*/ 13 h 15"/>
              <a:gd name="T42" fmla="*/ 21 w 26"/>
              <a:gd name="T43" fmla="*/ 13 h 15"/>
              <a:gd name="T44" fmla="*/ 19 w 26"/>
              <a:gd name="T45" fmla="*/ 12 h 15"/>
              <a:gd name="T46" fmla="*/ 21 w 26"/>
              <a:gd name="T47" fmla="*/ 12 h 15"/>
              <a:gd name="T48" fmla="*/ 20 w 26"/>
              <a:gd name="T49" fmla="*/ 11 h 15"/>
              <a:gd name="T50" fmla="*/ 21 w 26"/>
              <a:gd name="T51" fmla="*/ 10 h 15"/>
              <a:gd name="T52" fmla="*/ 22 w 26"/>
              <a:gd name="T53" fmla="*/ 10 h 15"/>
              <a:gd name="T54" fmla="*/ 22 w 26"/>
              <a:gd name="T55" fmla="*/ 10 h 15"/>
              <a:gd name="T56" fmla="*/ 26 w 26"/>
              <a:gd name="T5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15">
                <a:moveTo>
                  <a:pt x="26" y="8"/>
                </a:moveTo>
                <a:cubicBezTo>
                  <a:pt x="24" y="8"/>
                  <a:pt x="23" y="8"/>
                  <a:pt x="22" y="8"/>
                </a:cubicBezTo>
                <a:cubicBezTo>
                  <a:pt x="17" y="8"/>
                  <a:pt x="12" y="8"/>
                  <a:pt x="6" y="8"/>
                </a:cubicBezTo>
                <a:cubicBezTo>
                  <a:pt x="5" y="8"/>
                  <a:pt x="8" y="7"/>
                  <a:pt x="6" y="6"/>
                </a:cubicBezTo>
                <a:cubicBezTo>
                  <a:pt x="7" y="6"/>
                  <a:pt x="4" y="4"/>
                  <a:pt x="4" y="4"/>
                </a:cubicBezTo>
                <a:cubicBezTo>
                  <a:pt x="4" y="4"/>
                  <a:pt x="5" y="3"/>
                  <a:pt x="5" y="3"/>
                </a:cubicBezTo>
                <a:cubicBezTo>
                  <a:pt x="6" y="2"/>
                  <a:pt x="5" y="1"/>
                  <a:pt x="5" y="0"/>
                </a:cubicBezTo>
                <a:cubicBezTo>
                  <a:pt x="5" y="1"/>
                  <a:pt x="4" y="1"/>
                  <a:pt x="3" y="2"/>
                </a:cubicBezTo>
                <a:cubicBezTo>
                  <a:pt x="3" y="2"/>
                  <a:pt x="3" y="3"/>
                  <a:pt x="2" y="4"/>
                </a:cubicBezTo>
                <a:cubicBezTo>
                  <a:pt x="1" y="5"/>
                  <a:pt x="0" y="5"/>
                  <a:pt x="2" y="6"/>
                </a:cubicBezTo>
                <a:cubicBezTo>
                  <a:pt x="2" y="6"/>
                  <a:pt x="4" y="6"/>
                  <a:pt x="4" y="6"/>
                </a:cubicBezTo>
                <a:cubicBezTo>
                  <a:pt x="5" y="7"/>
                  <a:pt x="3" y="9"/>
                  <a:pt x="5" y="9"/>
                </a:cubicBezTo>
                <a:cubicBezTo>
                  <a:pt x="6" y="9"/>
                  <a:pt x="6" y="9"/>
                  <a:pt x="6" y="9"/>
                </a:cubicBezTo>
                <a:cubicBezTo>
                  <a:pt x="7" y="9"/>
                  <a:pt x="7" y="9"/>
                  <a:pt x="8" y="10"/>
                </a:cubicBezTo>
                <a:cubicBezTo>
                  <a:pt x="9" y="11"/>
                  <a:pt x="10" y="11"/>
                  <a:pt x="11" y="11"/>
                </a:cubicBezTo>
                <a:cubicBezTo>
                  <a:pt x="11" y="12"/>
                  <a:pt x="12" y="12"/>
                  <a:pt x="13" y="12"/>
                </a:cubicBezTo>
                <a:cubicBezTo>
                  <a:pt x="13" y="12"/>
                  <a:pt x="14" y="11"/>
                  <a:pt x="13" y="11"/>
                </a:cubicBezTo>
                <a:cubicBezTo>
                  <a:pt x="14" y="11"/>
                  <a:pt x="15" y="11"/>
                  <a:pt x="15" y="13"/>
                </a:cubicBezTo>
                <a:cubicBezTo>
                  <a:pt x="15" y="13"/>
                  <a:pt x="16" y="14"/>
                  <a:pt x="17" y="14"/>
                </a:cubicBezTo>
                <a:cubicBezTo>
                  <a:pt x="18" y="15"/>
                  <a:pt x="20" y="15"/>
                  <a:pt x="21" y="14"/>
                </a:cubicBezTo>
                <a:cubicBezTo>
                  <a:pt x="21" y="14"/>
                  <a:pt x="20" y="13"/>
                  <a:pt x="20" y="13"/>
                </a:cubicBezTo>
                <a:cubicBezTo>
                  <a:pt x="20" y="13"/>
                  <a:pt x="21" y="13"/>
                  <a:pt x="21" y="13"/>
                </a:cubicBezTo>
                <a:cubicBezTo>
                  <a:pt x="21" y="13"/>
                  <a:pt x="20" y="12"/>
                  <a:pt x="19" y="12"/>
                </a:cubicBezTo>
                <a:cubicBezTo>
                  <a:pt x="20" y="12"/>
                  <a:pt x="20" y="12"/>
                  <a:pt x="21" y="12"/>
                </a:cubicBezTo>
                <a:cubicBezTo>
                  <a:pt x="20" y="11"/>
                  <a:pt x="20" y="11"/>
                  <a:pt x="20" y="11"/>
                </a:cubicBezTo>
                <a:cubicBezTo>
                  <a:pt x="21" y="11"/>
                  <a:pt x="22" y="11"/>
                  <a:pt x="21" y="10"/>
                </a:cubicBezTo>
                <a:cubicBezTo>
                  <a:pt x="21" y="11"/>
                  <a:pt x="22" y="11"/>
                  <a:pt x="22" y="10"/>
                </a:cubicBezTo>
                <a:cubicBezTo>
                  <a:pt x="22" y="10"/>
                  <a:pt x="22" y="10"/>
                  <a:pt x="22" y="10"/>
                </a:cubicBezTo>
                <a:cubicBezTo>
                  <a:pt x="22" y="10"/>
                  <a:pt x="25" y="9"/>
                  <a:pt x="26" y="8"/>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16" name="Freeform 2972">
            <a:extLst>
              <a:ext uri="{FF2B5EF4-FFF2-40B4-BE49-F238E27FC236}">
                <a16:creationId xmlns:a16="http://schemas.microsoft.com/office/drawing/2014/main" id="{7AF7D366-EF8D-4FFF-B126-977F36BC5CDF}"/>
              </a:ext>
            </a:extLst>
          </p:cNvPr>
          <p:cNvSpPr>
            <a:spLocks/>
          </p:cNvSpPr>
          <p:nvPr/>
        </p:nvSpPr>
        <p:spPr bwMode="auto">
          <a:xfrm>
            <a:off x="2436092" y="3215445"/>
            <a:ext cx="991" cy="6530"/>
          </a:xfrm>
          <a:custGeom>
            <a:avLst/>
            <a:gdLst>
              <a:gd name="T0" fmla="*/ 1 w 1"/>
              <a:gd name="T1" fmla="*/ 5 h 5"/>
              <a:gd name="T2" fmla="*/ 1 w 1"/>
              <a:gd name="T3" fmla="*/ 3 h 5"/>
              <a:gd name="T4" fmla="*/ 1 w 1"/>
              <a:gd name="T5" fmla="*/ 2 h 5"/>
              <a:gd name="T6" fmla="*/ 1 w 1"/>
              <a:gd name="T7" fmla="*/ 2 h 5"/>
              <a:gd name="T8" fmla="*/ 1 w 1"/>
              <a:gd name="T9" fmla="*/ 0 h 5"/>
              <a:gd name="T10" fmla="*/ 0 w 1"/>
              <a:gd name="T11" fmla="*/ 5 h 5"/>
              <a:gd name="T12" fmla="*/ 1 w 1"/>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 h="5">
                <a:moveTo>
                  <a:pt x="1" y="5"/>
                </a:moveTo>
                <a:cubicBezTo>
                  <a:pt x="1" y="4"/>
                  <a:pt x="1" y="3"/>
                  <a:pt x="1" y="3"/>
                </a:cubicBezTo>
                <a:cubicBezTo>
                  <a:pt x="1" y="3"/>
                  <a:pt x="1" y="2"/>
                  <a:pt x="1" y="2"/>
                </a:cubicBezTo>
                <a:cubicBezTo>
                  <a:pt x="1" y="2"/>
                  <a:pt x="1" y="2"/>
                  <a:pt x="1" y="2"/>
                </a:cubicBezTo>
                <a:cubicBezTo>
                  <a:pt x="1" y="1"/>
                  <a:pt x="1" y="1"/>
                  <a:pt x="1" y="0"/>
                </a:cubicBezTo>
                <a:cubicBezTo>
                  <a:pt x="1" y="2"/>
                  <a:pt x="1" y="4"/>
                  <a:pt x="0" y="5"/>
                </a:cubicBezTo>
                <a:cubicBezTo>
                  <a:pt x="1" y="5"/>
                  <a:pt x="1" y="5"/>
                  <a:pt x="1" y="5"/>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17" name="Freeform 2973">
            <a:extLst>
              <a:ext uri="{FF2B5EF4-FFF2-40B4-BE49-F238E27FC236}">
                <a16:creationId xmlns:a16="http://schemas.microsoft.com/office/drawing/2014/main" id="{3A2F51BB-9FE6-42A9-8E99-B897CBC1CDBF}"/>
              </a:ext>
            </a:extLst>
          </p:cNvPr>
          <p:cNvSpPr>
            <a:spLocks/>
          </p:cNvSpPr>
          <p:nvPr/>
        </p:nvSpPr>
        <p:spPr bwMode="auto">
          <a:xfrm>
            <a:off x="2455914" y="313352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18" name="Freeform 2974">
            <a:extLst>
              <a:ext uri="{FF2B5EF4-FFF2-40B4-BE49-F238E27FC236}">
                <a16:creationId xmlns:a16="http://schemas.microsoft.com/office/drawing/2014/main" id="{DEEC54C0-31E4-4EF5-97AB-3F8BB54C9B09}"/>
              </a:ext>
            </a:extLst>
          </p:cNvPr>
          <p:cNvSpPr>
            <a:spLocks/>
          </p:cNvSpPr>
          <p:nvPr/>
        </p:nvSpPr>
        <p:spPr bwMode="auto">
          <a:xfrm>
            <a:off x="2411314" y="3081886"/>
            <a:ext cx="9416" cy="4155"/>
          </a:xfrm>
          <a:custGeom>
            <a:avLst/>
            <a:gdLst>
              <a:gd name="T0" fmla="*/ 1 w 8"/>
              <a:gd name="T1" fmla="*/ 1 h 3"/>
              <a:gd name="T2" fmla="*/ 1 w 8"/>
              <a:gd name="T3" fmla="*/ 2 h 3"/>
              <a:gd name="T4" fmla="*/ 1 w 8"/>
              <a:gd name="T5" fmla="*/ 2 h 3"/>
              <a:gd name="T6" fmla="*/ 1 w 8"/>
              <a:gd name="T7" fmla="*/ 2 h 3"/>
              <a:gd name="T8" fmla="*/ 1 w 8"/>
              <a:gd name="T9" fmla="*/ 2 h 3"/>
              <a:gd name="T10" fmla="*/ 1 w 8"/>
              <a:gd name="T11" fmla="*/ 2 h 3"/>
              <a:gd name="T12" fmla="*/ 2 w 8"/>
              <a:gd name="T13" fmla="*/ 2 h 3"/>
              <a:gd name="T14" fmla="*/ 3 w 8"/>
              <a:gd name="T15" fmla="*/ 2 h 3"/>
              <a:gd name="T16" fmla="*/ 3 w 8"/>
              <a:gd name="T17" fmla="*/ 2 h 3"/>
              <a:gd name="T18" fmla="*/ 4 w 8"/>
              <a:gd name="T19" fmla="*/ 2 h 3"/>
              <a:gd name="T20" fmla="*/ 4 w 8"/>
              <a:gd name="T21" fmla="*/ 2 h 3"/>
              <a:gd name="T22" fmla="*/ 4 w 8"/>
              <a:gd name="T23" fmla="*/ 2 h 3"/>
              <a:gd name="T24" fmla="*/ 4 w 8"/>
              <a:gd name="T25" fmla="*/ 2 h 3"/>
              <a:gd name="T26" fmla="*/ 3 w 8"/>
              <a:gd name="T27" fmla="*/ 2 h 3"/>
              <a:gd name="T28" fmla="*/ 3 w 8"/>
              <a:gd name="T29" fmla="*/ 3 h 3"/>
              <a:gd name="T30" fmla="*/ 3 w 8"/>
              <a:gd name="T31" fmla="*/ 3 h 3"/>
              <a:gd name="T32" fmla="*/ 3 w 8"/>
              <a:gd name="T33" fmla="*/ 3 h 3"/>
              <a:gd name="T34" fmla="*/ 4 w 8"/>
              <a:gd name="T35" fmla="*/ 3 h 3"/>
              <a:gd name="T36" fmla="*/ 4 w 8"/>
              <a:gd name="T37" fmla="*/ 3 h 3"/>
              <a:gd name="T38" fmla="*/ 4 w 8"/>
              <a:gd name="T39" fmla="*/ 3 h 3"/>
              <a:gd name="T40" fmla="*/ 4 w 8"/>
              <a:gd name="T41" fmla="*/ 3 h 3"/>
              <a:gd name="T42" fmla="*/ 4 w 8"/>
              <a:gd name="T43" fmla="*/ 3 h 3"/>
              <a:gd name="T44" fmla="*/ 4 w 8"/>
              <a:gd name="T45" fmla="*/ 3 h 3"/>
              <a:gd name="T46" fmla="*/ 4 w 8"/>
              <a:gd name="T47" fmla="*/ 3 h 3"/>
              <a:gd name="T48" fmla="*/ 4 w 8"/>
              <a:gd name="T49" fmla="*/ 3 h 3"/>
              <a:gd name="T50" fmla="*/ 4 w 8"/>
              <a:gd name="T51" fmla="*/ 3 h 3"/>
              <a:gd name="T52" fmla="*/ 5 w 8"/>
              <a:gd name="T53" fmla="*/ 3 h 3"/>
              <a:gd name="T54" fmla="*/ 5 w 8"/>
              <a:gd name="T55" fmla="*/ 3 h 3"/>
              <a:gd name="T56" fmla="*/ 6 w 8"/>
              <a:gd name="T57" fmla="*/ 3 h 3"/>
              <a:gd name="T58" fmla="*/ 8 w 8"/>
              <a:gd name="T59" fmla="*/ 1 h 3"/>
              <a:gd name="T60" fmla="*/ 8 w 8"/>
              <a:gd name="T61" fmla="*/ 0 h 3"/>
              <a:gd name="T62" fmla="*/ 5 w 8"/>
              <a:gd name="T63" fmla="*/ 1 h 3"/>
              <a:gd name="T64" fmla="*/ 5 w 8"/>
              <a:gd name="T65" fmla="*/ 1 h 3"/>
              <a:gd name="T66" fmla="*/ 6 w 8"/>
              <a:gd name="T67" fmla="*/ 0 h 3"/>
              <a:gd name="T68" fmla="*/ 5 w 8"/>
              <a:gd name="T69" fmla="*/ 0 h 3"/>
              <a:gd name="T70" fmla="*/ 3 w 8"/>
              <a:gd name="T71" fmla="*/ 0 h 3"/>
              <a:gd name="T72" fmla="*/ 3 w 8"/>
              <a:gd name="T73" fmla="*/ 0 h 3"/>
              <a:gd name="T74" fmla="*/ 3 w 8"/>
              <a:gd name="T75" fmla="*/ 0 h 3"/>
              <a:gd name="T76" fmla="*/ 2 w 8"/>
              <a:gd name="T77" fmla="*/ 0 h 3"/>
              <a:gd name="T78" fmla="*/ 1 w 8"/>
              <a:gd name="T79" fmla="*/ 0 h 3"/>
              <a:gd name="T80" fmla="*/ 1 w 8"/>
              <a:gd name="T81" fmla="*/ 1 h 3"/>
              <a:gd name="T82" fmla="*/ 0 w 8"/>
              <a:gd name="T83" fmla="*/ 2 h 3"/>
              <a:gd name="T84" fmla="*/ 1 w 8"/>
              <a:gd name="T85"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 h="3">
                <a:moveTo>
                  <a:pt x="1" y="1"/>
                </a:move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2" y="2"/>
                </a:cubicBezTo>
                <a:cubicBezTo>
                  <a:pt x="2" y="2"/>
                  <a:pt x="2" y="2"/>
                  <a:pt x="2" y="2"/>
                </a:cubicBezTo>
                <a:cubicBezTo>
                  <a:pt x="2" y="2"/>
                  <a:pt x="2" y="2"/>
                  <a:pt x="2" y="2"/>
                </a:cubicBezTo>
                <a:cubicBezTo>
                  <a:pt x="2" y="2"/>
                  <a:pt x="3" y="2"/>
                  <a:pt x="3" y="2"/>
                </a:cubicBezTo>
                <a:cubicBezTo>
                  <a:pt x="3" y="2"/>
                  <a:pt x="3" y="2"/>
                  <a:pt x="3" y="2"/>
                </a:cubicBezTo>
                <a:cubicBezTo>
                  <a:pt x="3" y="2"/>
                  <a:pt x="3" y="2"/>
                  <a:pt x="3"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3" y="2"/>
                  <a:pt x="3" y="2"/>
                  <a:pt x="3" y="2"/>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5" y="3"/>
                </a:cubicBezTo>
                <a:cubicBezTo>
                  <a:pt x="5" y="3"/>
                  <a:pt x="5" y="3"/>
                  <a:pt x="5" y="3"/>
                </a:cubicBezTo>
                <a:cubicBezTo>
                  <a:pt x="5" y="3"/>
                  <a:pt x="5" y="3"/>
                  <a:pt x="5" y="3"/>
                </a:cubicBezTo>
                <a:cubicBezTo>
                  <a:pt x="5" y="3"/>
                  <a:pt x="5" y="3"/>
                  <a:pt x="5" y="3"/>
                </a:cubicBezTo>
                <a:cubicBezTo>
                  <a:pt x="5" y="3"/>
                  <a:pt x="5" y="3"/>
                  <a:pt x="5" y="3"/>
                </a:cubicBezTo>
                <a:cubicBezTo>
                  <a:pt x="6" y="3"/>
                  <a:pt x="6" y="3"/>
                  <a:pt x="6" y="3"/>
                </a:cubicBezTo>
                <a:cubicBezTo>
                  <a:pt x="7" y="1"/>
                  <a:pt x="7" y="1"/>
                  <a:pt x="7" y="1"/>
                </a:cubicBezTo>
                <a:cubicBezTo>
                  <a:pt x="8" y="1"/>
                  <a:pt x="8" y="1"/>
                  <a:pt x="8" y="1"/>
                </a:cubicBezTo>
                <a:cubicBezTo>
                  <a:pt x="8" y="0"/>
                  <a:pt x="8" y="0"/>
                  <a:pt x="8" y="0"/>
                </a:cubicBezTo>
                <a:cubicBezTo>
                  <a:pt x="8" y="0"/>
                  <a:pt x="8" y="0"/>
                  <a:pt x="8" y="0"/>
                </a:cubicBezTo>
                <a:cubicBezTo>
                  <a:pt x="5" y="2"/>
                  <a:pt x="7" y="1"/>
                  <a:pt x="5" y="1"/>
                </a:cubicBezTo>
                <a:cubicBezTo>
                  <a:pt x="5" y="1"/>
                  <a:pt x="5" y="1"/>
                  <a:pt x="5" y="1"/>
                </a:cubicBezTo>
                <a:cubicBezTo>
                  <a:pt x="5" y="1"/>
                  <a:pt x="5" y="1"/>
                  <a:pt x="5" y="1"/>
                </a:cubicBezTo>
                <a:cubicBezTo>
                  <a:pt x="5" y="1"/>
                  <a:pt x="5" y="1"/>
                  <a:pt x="5" y="1"/>
                </a:cubicBezTo>
                <a:cubicBezTo>
                  <a:pt x="5" y="1"/>
                  <a:pt x="6" y="0"/>
                  <a:pt x="6" y="0"/>
                </a:cubicBezTo>
                <a:cubicBezTo>
                  <a:pt x="6" y="0"/>
                  <a:pt x="6" y="0"/>
                  <a:pt x="6" y="0"/>
                </a:cubicBezTo>
                <a:cubicBezTo>
                  <a:pt x="6" y="0"/>
                  <a:pt x="6" y="0"/>
                  <a:pt x="6" y="0"/>
                </a:cubicBezTo>
                <a:cubicBezTo>
                  <a:pt x="5" y="0"/>
                  <a:pt x="5" y="0"/>
                  <a:pt x="5" y="0"/>
                </a:cubicBezTo>
                <a:cubicBezTo>
                  <a:pt x="4" y="0"/>
                  <a:pt x="4" y="0"/>
                  <a:pt x="3" y="0"/>
                </a:cubicBezTo>
                <a:cubicBezTo>
                  <a:pt x="3" y="0"/>
                  <a:pt x="3" y="0"/>
                  <a:pt x="3" y="0"/>
                </a:cubicBezTo>
                <a:cubicBezTo>
                  <a:pt x="3" y="0"/>
                  <a:pt x="3" y="0"/>
                  <a:pt x="3" y="0"/>
                </a:cubicBezTo>
                <a:cubicBezTo>
                  <a:pt x="3" y="0"/>
                  <a:pt x="3" y="0"/>
                  <a:pt x="3" y="0"/>
                </a:cubicBezTo>
                <a:cubicBezTo>
                  <a:pt x="3" y="0"/>
                  <a:pt x="3" y="0"/>
                  <a:pt x="3" y="0"/>
                </a:cubicBezTo>
                <a:cubicBezTo>
                  <a:pt x="3" y="0"/>
                  <a:pt x="3" y="0"/>
                  <a:pt x="3" y="0"/>
                </a:cubicBezTo>
                <a:cubicBezTo>
                  <a:pt x="3" y="0"/>
                  <a:pt x="3" y="0"/>
                  <a:pt x="3" y="0"/>
                </a:cubicBezTo>
                <a:cubicBezTo>
                  <a:pt x="2" y="0"/>
                  <a:pt x="2" y="0"/>
                  <a:pt x="2"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0" y="2"/>
                  <a:pt x="0" y="2"/>
                  <a:pt x="0" y="2"/>
                </a:cubicBezTo>
                <a:cubicBezTo>
                  <a:pt x="0" y="1"/>
                  <a:pt x="0" y="1"/>
                  <a:pt x="0" y="1"/>
                </a:cubicBezTo>
                <a:lnTo>
                  <a:pt x="1" y="1"/>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19" name="Freeform 2975">
            <a:extLst>
              <a:ext uri="{FF2B5EF4-FFF2-40B4-BE49-F238E27FC236}">
                <a16:creationId xmlns:a16="http://schemas.microsoft.com/office/drawing/2014/main" id="{3A53414B-BACE-4863-AF05-37F22C2FE162}"/>
              </a:ext>
            </a:extLst>
          </p:cNvPr>
          <p:cNvSpPr>
            <a:spLocks/>
          </p:cNvSpPr>
          <p:nvPr/>
        </p:nvSpPr>
        <p:spPr bwMode="auto">
          <a:xfrm>
            <a:off x="2455914" y="3131154"/>
            <a:ext cx="0" cy="1187"/>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1"/>
                  <a:pt x="0" y="1"/>
                  <a:pt x="0" y="0"/>
                </a:cubicBezTo>
                <a:cubicBezTo>
                  <a:pt x="0" y="1"/>
                  <a:pt x="0" y="1"/>
                  <a:pt x="0"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20" name="Freeform 2976">
            <a:extLst>
              <a:ext uri="{FF2B5EF4-FFF2-40B4-BE49-F238E27FC236}">
                <a16:creationId xmlns:a16="http://schemas.microsoft.com/office/drawing/2014/main" id="{5B10B29A-DEAD-49C9-A8D5-67BBB6B3824D}"/>
              </a:ext>
            </a:extLst>
          </p:cNvPr>
          <p:cNvSpPr>
            <a:spLocks/>
          </p:cNvSpPr>
          <p:nvPr/>
        </p:nvSpPr>
        <p:spPr bwMode="auto">
          <a:xfrm>
            <a:off x="2520337" y="4595553"/>
            <a:ext cx="41132" cy="45113"/>
          </a:xfrm>
          <a:custGeom>
            <a:avLst/>
            <a:gdLst>
              <a:gd name="T0" fmla="*/ 30 w 35"/>
              <a:gd name="T1" fmla="*/ 26 h 32"/>
              <a:gd name="T2" fmla="*/ 20 w 35"/>
              <a:gd name="T3" fmla="*/ 22 h 32"/>
              <a:gd name="T4" fmla="*/ 11 w 35"/>
              <a:gd name="T5" fmla="*/ 17 h 32"/>
              <a:gd name="T6" fmla="*/ 6 w 35"/>
              <a:gd name="T7" fmla="*/ 12 h 32"/>
              <a:gd name="T8" fmla="*/ 3 w 35"/>
              <a:gd name="T9" fmla="*/ 8 h 32"/>
              <a:gd name="T10" fmla="*/ 1 w 35"/>
              <a:gd name="T11" fmla="*/ 7 h 32"/>
              <a:gd name="T12" fmla="*/ 0 w 35"/>
              <a:gd name="T13" fmla="*/ 6 h 32"/>
              <a:gd name="T14" fmla="*/ 0 w 35"/>
              <a:gd name="T15" fmla="*/ 6 h 32"/>
              <a:gd name="T16" fmla="*/ 0 w 35"/>
              <a:gd name="T17" fmla="*/ 5 h 32"/>
              <a:gd name="T18" fmla="*/ 2 w 35"/>
              <a:gd name="T19" fmla="*/ 3 h 32"/>
              <a:gd name="T20" fmla="*/ 0 w 35"/>
              <a:gd name="T21" fmla="*/ 0 h 32"/>
              <a:gd name="T22" fmla="*/ 0 w 35"/>
              <a:gd name="T23" fmla="*/ 30 h 32"/>
              <a:gd name="T24" fmla="*/ 12 w 35"/>
              <a:gd name="T25" fmla="*/ 30 h 32"/>
              <a:gd name="T26" fmla="*/ 11 w 35"/>
              <a:gd name="T27" fmla="*/ 30 h 32"/>
              <a:gd name="T28" fmla="*/ 11 w 35"/>
              <a:gd name="T29" fmla="*/ 30 h 32"/>
              <a:gd name="T30" fmla="*/ 19 w 35"/>
              <a:gd name="T31" fmla="*/ 32 h 32"/>
              <a:gd name="T32" fmla="*/ 22 w 35"/>
              <a:gd name="T33" fmla="*/ 32 h 32"/>
              <a:gd name="T34" fmla="*/ 32 w 35"/>
              <a:gd name="T35" fmla="*/ 30 h 32"/>
              <a:gd name="T36" fmla="*/ 35 w 35"/>
              <a:gd name="T37" fmla="*/ 26 h 32"/>
              <a:gd name="T38" fmla="*/ 30 w 35"/>
              <a:gd name="T3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32">
                <a:moveTo>
                  <a:pt x="30" y="26"/>
                </a:moveTo>
                <a:cubicBezTo>
                  <a:pt x="26" y="27"/>
                  <a:pt x="23" y="24"/>
                  <a:pt x="20" y="22"/>
                </a:cubicBezTo>
                <a:cubicBezTo>
                  <a:pt x="17" y="20"/>
                  <a:pt x="14" y="19"/>
                  <a:pt x="11" y="17"/>
                </a:cubicBezTo>
                <a:cubicBezTo>
                  <a:pt x="9" y="16"/>
                  <a:pt x="8" y="14"/>
                  <a:pt x="6" y="12"/>
                </a:cubicBezTo>
                <a:cubicBezTo>
                  <a:pt x="5" y="11"/>
                  <a:pt x="4" y="10"/>
                  <a:pt x="3" y="8"/>
                </a:cubicBezTo>
                <a:cubicBezTo>
                  <a:pt x="2" y="7"/>
                  <a:pt x="2" y="8"/>
                  <a:pt x="1" y="7"/>
                </a:cubicBezTo>
                <a:cubicBezTo>
                  <a:pt x="0" y="7"/>
                  <a:pt x="0" y="7"/>
                  <a:pt x="0" y="6"/>
                </a:cubicBezTo>
                <a:cubicBezTo>
                  <a:pt x="0" y="6"/>
                  <a:pt x="0" y="6"/>
                  <a:pt x="0" y="6"/>
                </a:cubicBezTo>
                <a:cubicBezTo>
                  <a:pt x="0" y="5"/>
                  <a:pt x="0" y="5"/>
                  <a:pt x="0" y="5"/>
                </a:cubicBezTo>
                <a:cubicBezTo>
                  <a:pt x="0" y="4"/>
                  <a:pt x="1" y="3"/>
                  <a:pt x="2" y="3"/>
                </a:cubicBezTo>
                <a:cubicBezTo>
                  <a:pt x="1" y="2"/>
                  <a:pt x="1" y="1"/>
                  <a:pt x="0" y="0"/>
                </a:cubicBezTo>
                <a:cubicBezTo>
                  <a:pt x="0" y="12"/>
                  <a:pt x="0" y="27"/>
                  <a:pt x="0" y="30"/>
                </a:cubicBezTo>
                <a:cubicBezTo>
                  <a:pt x="4" y="30"/>
                  <a:pt x="8" y="30"/>
                  <a:pt x="12" y="30"/>
                </a:cubicBezTo>
                <a:cubicBezTo>
                  <a:pt x="12" y="30"/>
                  <a:pt x="11" y="30"/>
                  <a:pt x="11" y="30"/>
                </a:cubicBezTo>
                <a:cubicBezTo>
                  <a:pt x="11" y="30"/>
                  <a:pt x="11" y="30"/>
                  <a:pt x="11" y="30"/>
                </a:cubicBezTo>
                <a:cubicBezTo>
                  <a:pt x="14" y="30"/>
                  <a:pt x="17" y="31"/>
                  <a:pt x="19" y="32"/>
                </a:cubicBezTo>
                <a:cubicBezTo>
                  <a:pt x="20" y="32"/>
                  <a:pt x="21" y="32"/>
                  <a:pt x="22" y="32"/>
                </a:cubicBezTo>
                <a:cubicBezTo>
                  <a:pt x="26" y="31"/>
                  <a:pt x="29" y="31"/>
                  <a:pt x="32" y="30"/>
                </a:cubicBezTo>
                <a:cubicBezTo>
                  <a:pt x="34" y="30"/>
                  <a:pt x="34" y="27"/>
                  <a:pt x="35" y="26"/>
                </a:cubicBezTo>
                <a:cubicBezTo>
                  <a:pt x="33" y="26"/>
                  <a:pt x="31" y="26"/>
                  <a:pt x="30" y="26"/>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21" name="Freeform 2977">
            <a:extLst>
              <a:ext uri="{FF2B5EF4-FFF2-40B4-BE49-F238E27FC236}">
                <a16:creationId xmlns:a16="http://schemas.microsoft.com/office/drawing/2014/main" id="{22D56089-02B3-4DCD-9397-58A21F01A00E}"/>
              </a:ext>
            </a:extLst>
          </p:cNvPr>
          <p:cNvSpPr>
            <a:spLocks/>
          </p:cNvSpPr>
          <p:nvPr/>
        </p:nvSpPr>
        <p:spPr bwMode="auto">
          <a:xfrm>
            <a:off x="3398966" y="2513222"/>
            <a:ext cx="314185" cy="304514"/>
          </a:xfrm>
          <a:custGeom>
            <a:avLst/>
            <a:gdLst>
              <a:gd name="T0" fmla="*/ 70 w 268"/>
              <a:gd name="T1" fmla="*/ 191 h 217"/>
              <a:gd name="T2" fmla="*/ 74 w 268"/>
              <a:gd name="T3" fmla="*/ 186 h 217"/>
              <a:gd name="T4" fmla="*/ 76 w 268"/>
              <a:gd name="T5" fmla="*/ 170 h 217"/>
              <a:gd name="T6" fmla="*/ 74 w 268"/>
              <a:gd name="T7" fmla="*/ 162 h 217"/>
              <a:gd name="T8" fmla="*/ 72 w 268"/>
              <a:gd name="T9" fmla="*/ 137 h 217"/>
              <a:gd name="T10" fmla="*/ 86 w 268"/>
              <a:gd name="T11" fmla="*/ 121 h 217"/>
              <a:gd name="T12" fmla="*/ 92 w 268"/>
              <a:gd name="T13" fmla="*/ 109 h 217"/>
              <a:gd name="T14" fmla="*/ 98 w 268"/>
              <a:gd name="T15" fmla="*/ 91 h 217"/>
              <a:gd name="T16" fmla="*/ 116 w 268"/>
              <a:gd name="T17" fmla="*/ 71 h 217"/>
              <a:gd name="T18" fmla="*/ 129 w 268"/>
              <a:gd name="T19" fmla="*/ 54 h 217"/>
              <a:gd name="T20" fmla="*/ 154 w 268"/>
              <a:gd name="T21" fmla="*/ 49 h 217"/>
              <a:gd name="T22" fmla="*/ 164 w 268"/>
              <a:gd name="T23" fmla="*/ 36 h 217"/>
              <a:gd name="T24" fmla="*/ 192 w 268"/>
              <a:gd name="T25" fmla="*/ 41 h 217"/>
              <a:gd name="T26" fmla="*/ 213 w 268"/>
              <a:gd name="T27" fmla="*/ 29 h 217"/>
              <a:gd name="T28" fmla="*/ 230 w 268"/>
              <a:gd name="T29" fmla="*/ 19 h 217"/>
              <a:gd name="T30" fmla="*/ 250 w 268"/>
              <a:gd name="T31" fmla="*/ 31 h 217"/>
              <a:gd name="T32" fmla="*/ 263 w 268"/>
              <a:gd name="T33" fmla="*/ 27 h 217"/>
              <a:gd name="T34" fmla="*/ 253 w 268"/>
              <a:gd name="T35" fmla="*/ 25 h 217"/>
              <a:gd name="T36" fmla="*/ 258 w 268"/>
              <a:gd name="T37" fmla="*/ 8 h 217"/>
              <a:gd name="T38" fmla="*/ 235 w 268"/>
              <a:gd name="T39" fmla="*/ 8 h 217"/>
              <a:gd name="T40" fmla="*/ 230 w 268"/>
              <a:gd name="T41" fmla="*/ 4 h 217"/>
              <a:gd name="T42" fmla="*/ 220 w 268"/>
              <a:gd name="T43" fmla="*/ 9 h 217"/>
              <a:gd name="T44" fmla="*/ 206 w 268"/>
              <a:gd name="T45" fmla="*/ 18 h 217"/>
              <a:gd name="T46" fmla="*/ 202 w 268"/>
              <a:gd name="T47" fmla="*/ 2 h 217"/>
              <a:gd name="T48" fmla="*/ 187 w 268"/>
              <a:gd name="T49" fmla="*/ 17 h 217"/>
              <a:gd name="T50" fmla="*/ 180 w 268"/>
              <a:gd name="T51" fmla="*/ 16 h 217"/>
              <a:gd name="T52" fmla="*/ 175 w 268"/>
              <a:gd name="T53" fmla="*/ 22 h 217"/>
              <a:gd name="T54" fmla="*/ 156 w 268"/>
              <a:gd name="T55" fmla="*/ 31 h 217"/>
              <a:gd name="T56" fmla="*/ 150 w 268"/>
              <a:gd name="T57" fmla="*/ 31 h 217"/>
              <a:gd name="T58" fmla="*/ 142 w 268"/>
              <a:gd name="T59" fmla="*/ 32 h 217"/>
              <a:gd name="T60" fmla="*/ 129 w 268"/>
              <a:gd name="T61" fmla="*/ 42 h 217"/>
              <a:gd name="T62" fmla="*/ 121 w 268"/>
              <a:gd name="T63" fmla="*/ 52 h 217"/>
              <a:gd name="T64" fmla="*/ 119 w 268"/>
              <a:gd name="T65" fmla="*/ 59 h 217"/>
              <a:gd name="T66" fmla="*/ 106 w 268"/>
              <a:gd name="T67" fmla="*/ 59 h 217"/>
              <a:gd name="T68" fmla="*/ 111 w 268"/>
              <a:gd name="T69" fmla="*/ 67 h 217"/>
              <a:gd name="T70" fmla="*/ 108 w 268"/>
              <a:gd name="T71" fmla="*/ 72 h 217"/>
              <a:gd name="T72" fmla="*/ 86 w 268"/>
              <a:gd name="T73" fmla="*/ 79 h 217"/>
              <a:gd name="T74" fmla="*/ 88 w 268"/>
              <a:gd name="T75" fmla="*/ 87 h 217"/>
              <a:gd name="T76" fmla="*/ 80 w 268"/>
              <a:gd name="T77" fmla="*/ 100 h 217"/>
              <a:gd name="T78" fmla="*/ 75 w 268"/>
              <a:gd name="T79" fmla="*/ 104 h 217"/>
              <a:gd name="T80" fmla="*/ 69 w 268"/>
              <a:gd name="T81" fmla="*/ 116 h 217"/>
              <a:gd name="T82" fmla="*/ 51 w 268"/>
              <a:gd name="T83" fmla="*/ 130 h 217"/>
              <a:gd name="T84" fmla="*/ 61 w 268"/>
              <a:gd name="T85" fmla="*/ 130 h 217"/>
              <a:gd name="T86" fmla="*/ 34 w 268"/>
              <a:gd name="T87" fmla="*/ 138 h 217"/>
              <a:gd name="T88" fmla="*/ 24 w 268"/>
              <a:gd name="T89" fmla="*/ 140 h 217"/>
              <a:gd name="T90" fmla="*/ 14 w 268"/>
              <a:gd name="T91" fmla="*/ 147 h 217"/>
              <a:gd name="T92" fmla="*/ 19 w 268"/>
              <a:gd name="T93" fmla="*/ 149 h 217"/>
              <a:gd name="T94" fmla="*/ 4 w 268"/>
              <a:gd name="T95" fmla="*/ 152 h 217"/>
              <a:gd name="T96" fmla="*/ 4 w 268"/>
              <a:gd name="T97" fmla="*/ 158 h 217"/>
              <a:gd name="T98" fmla="*/ 2 w 268"/>
              <a:gd name="T99" fmla="*/ 168 h 217"/>
              <a:gd name="T100" fmla="*/ 25 w 268"/>
              <a:gd name="T101" fmla="*/ 169 h 217"/>
              <a:gd name="T102" fmla="*/ 1 w 268"/>
              <a:gd name="T103" fmla="*/ 172 h 217"/>
              <a:gd name="T104" fmla="*/ 7 w 268"/>
              <a:gd name="T105" fmla="*/ 184 h 217"/>
              <a:gd name="T106" fmla="*/ 14 w 268"/>
              <a:gd name="T107" fmla="*/ 185 h 217"/>
              <a:gd name="T108" fmla="*/ 5 w 268"/>
              <a:gd name="T109" fmla="*/ 194 h 217"/>
              <a:gd name="T110" fmla="*/ 11 w 268"/>
              <a:gd name="T111" fmla="*/ 196 h 217"/>
              <a:gd name="T112" fmla="*/ 7 w 268"/>
              <a:gd name="T113" fmla="*/ 202 h 217"/>
              <a:gd name="T114" fmla="*/ 23 w 268"/>
              <a:gd name="T115" fmla="*/ 216 h 217"/>
              <a:gd name="T116" fmla="*/ 52 w 268"/>
              <a:gd name="T117" fmla="*/ 202 h 217"/>
              <a:gd name="T118" fmla="*/ 60 w 268"/>
              <a:gd name="T119" fmla="*/ 19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8" h="217">
                <a:moveTo>
                  <a:pt x="64" y="200"/>
                </a:moveTo>
                <a:cubicBezTo>
                  <a:pt x="64" y="200"/>
                  <a:pt x="64" y="200"/>
                  <a:pt x="64" y="200"/>
                </a:cubicBezTo>
                <a:cubicBezTo>
                  <a:pt x="65" y="200"/>
                  <a:pt x="65" y="200"/>
                  <a:pt x="65" y="200"/>
                </a:cubicBezTo>
                <a:cubicBezTo>
                  <a:pt x="65" y="200"/>
                  <a:pt x="65" y="200"/>
                  <a:pt x="65" y="200"/>
                </a:cubicBezTo>
                <a:cubicBezTo>
                  <a:pt x="65" y="200"/>
                  <a:pt x="65" y="200"/>
                  <a:pt x="65" y="200"/>
                </a:cubicBezTo>
                <a:cubicBezTo>
                  <a:pt x="66" y="200"/>
                  <a:pt x="67" y="201"/>
                  <a:pt x="68" y="201"/>
                </a:cubicBezTo>
                <a:cubicBezTo>
                  <a:pt x="68" y="202"/>
                  <a:pt x="68" y="202"/>
                  <a:pt x="68" y="202"/>
                </a:cubicBezTo>
                <a:cubicBezTo>
                  <a:pt x="69" y="198"/>
                  <a:pt x="69" y="198"/>
                  <a:pt x="69" y="198"/>
                </a:cubicBezTo>
                <a:cubicBezTo>
                  <a:pt x="70" y="198"/>
                  <a:pt x="69" y="196"/>
                  <a:pt x="69" y="195"/>
                </a:cubicBezTo>
                <a:cubicBezTo>
                  <a:pt x="69" y="195"/>
                  <a:pt x="69" y="195"/>
                  <a:pt x="69" y="194"/>
                </a:cubicBezTo>
                <a:cubicBezTo>
                  <a:pt x="69" y="193"/>
                  <a:pt x="69" y="192"/>
                  <a:pt x="69" y="191"/>
                </a:cubicBezTo>
                <a:cubicBezTo>
                  <a:pt x="70" y="191"/>
                  <a:pt x="70" y="191"/>
                  <a:pt x="70" y="191"/>
                </a:cubicBezTo>
                <a:cubicBezTo>
                  <a:pt x="70" y="190"/>
                  <a:pt x="70" y="190"/>
                  <a:pt x="70" y="190"/>
                </a:cubicBezTo>
                <a:cubicBezTo>
                  <a:pt x="70" y="190"/>
                  <a:pt x="70" y="190"/>
                  <a:pt x="70" y="190"/>
                </a:cubicBezTo>
                <a:cubicBezTo>
                  <a:pt x="70" y="190"/>
                  <a:pt x="70" y="190"/>
                  <a:pt x="70" y="190"/>
                </a:cubicBezTo>
                <a:cubicBezTo>
                  <a:pt x="70" y="190"/>
                  <a:pt x="70" y="190"/>
                  <a:pt x="70" y="190"/>
                </a:cubicBezTo>
                <a:cubicBezTo>
                  <a:pt x="70" y="189"/>
                  <a:pt x="70" y="189"/>
                  <a:pt x="70" y="189"/>
                </a:cubicBezTo>
                <a:cubicBezTo>
                  <a:pt x="70" y="189"/>
                  <a:pt x="70" y="189"/>
                  <a:pt x="70" y="189"/>
                </a:cubicBezTo>
                <a:cubicBezTo>
                  <a:pt x="70" y="189"/>
                  <a:pt x="70" y="189"/>
                  <a:pt x="70" y="189"/>
                </a:cubicBezTo>
                <a:cubicBezTo>
                  <a:pt x="70" y="189"/>
                  <a:pt x="70" y="189"/>
                  <a:pt x="70" y="189"/>
                </a:cubicBezTo>
                <a:cubicBezTo>
                  <a:pt x="70" y="188"/>
                  <a:pt x="70" y="188"/>
                  <a:pt x="70" y="188"/>
                </a:cubicBezTo>
                <a:cubicBezTo>
                  <a:pt x="70" y="188"/>
                  <a:pt x="71" y="187"/>
                  <a:pt x="71" y="187"/>
                </a:cubicBezTo>
                <a:cubicBezTo>
                  <a:pt x="73" y="187"/>
                  <a:pt x="73" y="187"/>
                  <a:pt x="73" y="187"/>
                </a:cubicBezTo>
                <a:cubicBezTo>
                  <a:pt x="74" y="186"/>
                  <a:pt x="74" y="186"/>
                  <a:pt x="74" y="186"/>
                </a:cubicBezTo>
                <a:cubicBezTo>
                  <a:pt x="75" y="186"/>
                  <a:pt x="75" y="186"/>
                  <a:pt x="75" y="186"/>
                </a:cubicBezTo>
                <a:cubicBezTo>
                  <a:pt x="75" y="186"/>
                  <a:pt x="75" y="185"/>
                  <a:pt x="75" y="185"/>
                </a:cubicBezTo>
                <a:cubicBezTo>
                  <a:pt x="76" y="185"/>
                  <a:pt x="76" y="185"/>
                  <a:pt x="76" y="185"/>
                </a:cubicBezTo>
                <a:cubicBezTo>
                  <a:pt x="76" y="184"/>
                  <a:pt x="76" y="184"/>
                  <a:pt x="76" y="184"/>
                </a:cubicBezTo>
                <a:cubicBezTo>
                  <a:pt x="76" y="183"/>
                  <a:pt x="77" y="181"/>
                  <a:pt x="77" y="180"/>
                </a:cubicBezTo>
                <a:cubicBezTo>
                  <a:pt x="77" y="180"/>
                  <a:pt x="77" y="180"/>
                  <a:pt x="77" y="180"/>
                </a:cubicBezTo>
                <a:cubicBezTo>
                  <a:pt x="77" y="178"/>
                  <a:pt x="76" y="177"/>
                  <a:pt x="76" y="175"/>
                </a:cubicBezTo>
                <a:cubicBezTo>
                  <a:pt x="75" y="175"/>
                  <a:pt x="75" y="175"/>
                  <a:pt x="75" y="175"/>
                </a:cubicBezTo>
                <a:cubicBezTo>
                  <a:pt x="75" y="174"/>
                  <a:pt x="74" y="173"/>
                  <a:pt x="74" y="172"/>
                </a:cubicBezTo>
                <a:cubicBezTo>
                  <a:pt x="74" y="170"/>
                  <a:pt x="74" y="170"/>
                  <a:pt x="74" y="170"/>
                </a:cubicBezTo>
                <a:cubicBezTo>
                  <a:pt x="75" y="170"/>
                  <a:pt x="75" y="170"/>
                  <a:pt x="75" y="170"/>
                </a:cubicBezTo>
                <a:cubicBezTo>
                  <a:pt x="75" y="170"/>
                  <a:pt x="76" y="170"/>
                  <a:pt x="76" y="170"/>
                </a:cubicBezTo>
                <a:cubicBezTo>
                  <a:pt x="76" y="170"/>
                  <a:pt x="76" y="170"/>
                  <a:pt x="76" y="170"/>
                </a:cubicBezTo>
                <a:cubicBezTo>
                  <a:pt x="77" y="170"/>
                  <a:pt x="78" y="170"/>
                  <a:pt x="79" y="170"/>
                </a:cubicBezTo>
                <a:cubicBezTo>
                  <a:pt x="79" y="170"/>
                  <a:pt x="79" y="170"/>
                  <a:pt x="79" y="170"/>
                </a:cubicBezTo>
                <a:cubicBezTo>
                  <a:pt x="79" y="169"/>
                  <a:pt x="80" y="168"/>
                  <a:pt x="80" y="167"/>
                </a:cubicBezTo>
                <a:cubicBezTo>
                  <a:pt x="80" y="167"/>
                  <a:pt x="80" y="167"/>
                  <a:pt x="80" y="166"/>
                </a:cubicBezTo>
                <a:cubicBezTo>
                  <a:pt x="79" y="166"/>
                  <a:pt x="79" y="166"/>
                  <a:pt x="79" y="166"/>
                </a:cubicBezTo>
                <a:cubicBezTo>
                  <a:pt x="79" y="166"/>
                  <a:pt x="79" y="165"/>
                  <a:pt x="77" y="164"/>
                </a:cubicBezTo>
                <a:cubicBezTo>
                  <a:pt x="77" y="164"/>
                  <a:pt x="77" y="164"/>
                  <a:pt x="76" y="163"/>
                </a:cubicBezTo>
                <a:cubicBezTo>
                  <a:pt x="76" y="163"/>
                  <a:pt x="76" y="163"/>
                  <a:pt x="76" y="163"/>
                </a:cubicBezTo>
                <a:cubicBezTo>
                  <a:pt x="76" y="163"/>
                  <a:pt x="75" y="163"/>
                  <a:pt x="75" y="162"/>
                </a:cubicBezTo>
                <a:cubicBezTo>
                  <a:pt x="75" y="162"/>
                  <a:pt x="75" y="162"/>
                  <a:pt x="75" y="162"/>
                </a:cubicBezTo>
                <a:cubicBezTo>
                  <a:pt x="74" y="162"/>
                  <a:pt x="74" y="162"/>
                  <a:pt x="74" y="162"/>
                </a:cubicBezTo>
                <a:cubicBezTo>
                  <a:pt x="73" y="161"/>
                  <a:pt x="73" y="160"/>
                  <a:pt x="73" y="159"/>
                </a:cubicBezTo>
                <a:cubicBezTo>
                  <a:pt x="75" y="152"/>
                  <a:pt x="75" y="152"/>
                  <a:pt x="75" y="152"/>
                </a:cubicBezTo>
                <a:cubicBezTo>
                  <a:pt x="75" y="151"/>
                  <a:pt x="75" y="151"/>
                  <a:pt x="73" y="149"/>
                </a:cubicBezTo>
                <a:cubicBezTo>
                  <a:pt x="73" y="148"/>
                  <a:pt x="73" y="148"/>
                  <a:pt x="73" y="148"/>
                </a:cubicBezTo>
                <a:cubicBezTo>
                  <a:pt x="72" y="147"/>
                  <a:pt x="72" y="146"/>
                  <a:pt x="72" y="146"/>
                </a:cubicBezTo>
                <a:cubicBezTo>
                  <a:pt x="73" y="145"/>
                  <a:pt x="73" y="145"/>
                  <a:pt x="73" y="145"/>
                </a:cubicBezTo>
                <a:cubicBezTo>
                  <a:pt x="73" y="144"/>
                  <a:pt x="73" y="143"/>
                  <a:pt x="73" y="142"/>
                </a:cubicBezTo>
                <a:cubicBezTo>
                  <a:pt x="74" y="141"/>
                  <a:pt x="74" y="141"/>
                  <a:pt x="74" y="141"/>
                </a:cubicBezTo>
                <a:cubicBezTo>
                  <a:pt x="74" y="140"/>
                  <a:pt x="73" y="140"/>
                  <a:pt x="73" y="139"/>
                </a:cubicBezTo>
                <a:cubicBezTo>
                  <a:pt x="73" y="139"/>
                  <a:pt x="73" y="139"/>
                  <a:pt x="73" y="138"/>
                </a:cubicBezTo>
                <a:cubicBezTo>
                  <a:pt x="73" y="138"/>
                  <a:pt x="73" y="138"/>
                  <a:pt x="73" y="138"/>
                </a:cubicBezTo>
                <a:cubicBezTo>
                  <a:pt x="73" y="138"/>
                  <a:pt x="72" y="138"/>
                  <a:pt x="72" y="137"/>
                </a:cubicBezTo>
                <a:cubicBezTo>
                  <a:pt x="72" y="137"/>
                  <a:pt x="72" y="137"/>
                  <a:pt x="72" y="137"/>
                </a:cubicBezTo>
                <a:cubicBezTo>
                  <a:pt x="72" y="137"/>
                  <a:pt x="72" y="136"/>
                  <a:pt x="72" y="136"/>
                </a:cubicBezTo>
                <a:cubicBezTo>
                  <a:pt x="71" y="135"/>
                  <a:pt x="72" y="134"/>
                  <a:pt x="72" y="134"/>
                </a:cubicBezTo>
                <a:cubicBezTo>
                  <a:pt x="73" y="132"/>
                  <a:pt x="73" y="132"/>
                  <a:pt x="73" y="132"/>
                </a:cubicBezTo>
                <a:cubicBezTo>
                  <a:pt x="73" y="131"/>
                  <a:pt x="74" y="130"/>
                  <a:pt x="74" y="129"/>
                </a:cubicBezTo>
                <a:cubicBezTo>
                  <a:pt x="77" y="126"/>
                  <a:pt x="77" y="126"/>
                  <a:pt x="77" y="126"/>
                </a:cubicBezTo>
                <a:cubicBezTo>
                  <a:pt x="78" y="124"/>
                  <a:pt x="79" y="123"/>
                  <a:pt x="81" y="123"/>
                </a:cubicBezTo>
                <a:cubicBezTo>
                  <a:pt x="81" y="123"/>
                  <a:pt x="81" y="123"/>
                  <a:pt x="81" y="123"/>
                </a:cubicBezTo>
                <a:cubicBezTo>
                  <a:pt x="81" y="123"/>
                  <a:pt x="81" y="122"/>
                  <a:pt x="82" y="122"/>
                </a:cubicBezTo>
                <a:cubicBezTo>
                  <a:pt x="82" y="122"/>
                  <a:pt x="82" y="122"/>
                  <a:pt x="82" y="122"/>
                </a:cubicBezTo>
                <a:cubicBezTo>
                  <a:pt x="82" y="122"/>
                  <a:pt x="82" y="122"/>
                  <a:pt x="82" y="122"/>
                </a:cubicBezTo>
                <a:cubicBezTo>
                  <a:pt x="83" y="122"/>
                  <a:pt x="84" y="121"/>
                  <a:pt x="86" y="121"/>
                </a:cubicBezTo>
                <a:cubicBezTo>
                  <a:pt x="91" y="122"/>
                  <a:pt x="91" y="122"/>
                  <a:pt x="91" y="122"/>
                </a:cubicBezTo>
                <a:cubicBezTo>
                  <a:pt x="92" y="122"/>
                  <a:pt x="92" y="122"/>
                  <a:pt x="93" y="121"/>
                </a:cubicBezTo>
                <a:cubicBezTo>
                  <a:pt x="93" y="120"/>
                  <a:pt x="93" y="119"/>
                  <a:pt x="93" y="118"/>
                </a:cubicBezTo>
                <a:cubicBezTo>
                  <a:pt x="93" y="118"/>
                  <a:pt x="93" y="118"/>
                  <a:pt x="93" y="118"/>
                </a:cubicBezTo>
                <a:cubicBezTo>
                  <a:pt x="93" y="118"/>
                  <a:pt x="93" y="118"/>
                  <a:pt x="93" y="118"/>
                </a:cubicBezTo>
                <a:cubicBezTo>
                  <a:pt x="93" y="117"/>
                  <a:pt x="93" y="117"/>
                  <a:pt x="92" y="117"/>
                </a:cubicBezTo>
                <a:cubicBezTo>
                  <a:pt x="92" y="117"/>
                  <a:pt x="92" y="116"/>
                  <a:pt x="91" y="116"/>
                </a:cubicBezTo>
                <a:cubicBezTo>
                  <a:pt x="91" y="116"/>
                  <a:pt x="91" y="116"/>
                  <a:pt x="91" y="116"/>
                </a:cubicBezTo>
                <a:cubicBezTo>
                  <a:pt x="91" y="114"/>
                  <a:pt x="91" y="113"/>
                  <a:pt x="90" y="112"/>
                </a:cubicBezTo>
                <a:cubicBezTo>
                  <a:pt x="90" y="111"/>
                  <a:pt x="90" y="111"/>
                  <a:pt x="90" y="111"/>
                </a:cubicBezTo>
                <a:cubicBezTo>
                  <a:pt x="91" y="111"/>
                  <a:pt x="91" y="111"/>
                  <a:pt x="91" y="111"/>
                </a:cubicBezTo>
                <a:cubicBezTo>
                  <a:pt x="91" y="110"/>
                  <a:pt x="92" y="109"/>
                  <a:pt x="92" y="109"/>
                </a:cubicBezTo>
                <a:cubicBezTo>
                  <a:pt x="92" y="109"/>
                  <a:pt x="92" y="109"/>
                  <a:pt x="92" y="109"/>
                </a:cubicBezTo>
                <a:cubicBezTo>
                  <a:pt x="93" y="108"/>
                  <a:pt x="94" y="107"/>
                  <a:pt x="94" y="106"/>
                </a:cubicBezTo>
                <a:cubicBezTo>
                  <a:pt x="95" y="106"/>
                  <a:pt x="95" y="105"/>
                  <a:pt x="96" y="104"/>
                </a:cubicBezTo>
                <a:cubicBezTo>
                  <a:pt x="96" y="104"/>
                  <a:pt x="96" y="104"/>
                  <a:pt x="96" y="104"/>
                </a:cubicBezTo>
                <a:cubicBezTo>
                  <a:pt x="97" y="103"/>
                  <a:pt x="97" y="102"/>
                  <a:pt x="97" y="101"/>
                </a:cubicBezTo>
                <a:cubicBezTo>
                  <a:pt x="97" y="100"/>
                  <a:pt x="97" y="100"/>
                  <a:pt x="97" y="100"/>
                </a:cubicBezTo>
                <a:cubicBezTo>
                  <a:pt x="98" y="99"/>
                  <a:pt x="98" y="98"/>
                  <a:pt x="98" y="97"/>
                </a:cubicBezTo>
                <a:cubicBezTo>
                  <a:pt x="98" y="96"/>
                  <a:pt x="98" y="95"/>
                  <a:pt x="98" y="95"/>
                </a:cubicBezTo>
                <a:cubicBezTo>
                  <a:pt x="98" y="94"/>
                  <a:pt x="98" y="93"/>
                  <a:pt x="98" y="92"/>
                </a:cubicBezTo>
                <a:cubicBezTo>
                  <a:pt x="98" y="92"/>
                  <a:pt x="98" y="92"/>
                  <a:pt x="98" y="92"/>
                </a:cubicBezTo>
                <a:cubicBezTo>
                  <a:pt x="98" y="92"/>
                  <a:pt x="98" y="92"/>
                  <a:pt x="98" y="92"/>
                </a:cubicBezTo>
                <a:cubicBezTo>
                  <a:pt x="98" y="91"/>
                  <a:pt x="98" y="91"/>
                  <a:pt x="98" y="91"/>
                </a:cubicBezTo>
                <a:cubicBezTo>
                  <a:pt x="97" y="90"/>
                  <a:pt x="97" y="88"/>
                  <a:pt x="99" y="87"/>
                </a:cubicBezTo>
                <a:cubicBezTo>
                  <a:pt x="99" y="87"/>
                  <a:pt x="100" y="87"/>
                  <a:pt x="100" y="87"/>
                </a:cubicBezTo>
                <a:cubicBezTo>
                  <a:pt x="101" y="87"/>
                  <a:pt x="101" y="87"/>
                  <a:pt x="101" y="87"/>
                </a:cubicBezTo>
                <a:cubicBezTo>
                  <a:pt x="102" y="86"/>
                  <a:pt x="104" y="85"/>
                  <a:pt x="106" y="85"/>
                </a:cubicBezTo>
                <a:cubicBezTo>
                  <a:pt x="107" y="84"/>
                  <a:pt x="107" y="84"/>
                  <a:pt x="107" y="84"/>
                </a:cubicBezTo>
                <a:cubicBezTo>
                  <a:pt x="107" y="84"/>
                  <a:pt x="107" y="84"/>
                  <a:pt x="107" y="84"/>
                </a:cubicBezTo>
                <a:cubicBezTo>
                  <a:pt x="107" y="83"/>
                  <a:pt x="106" y="83"/>
                  <a:pt x="107" y="81"/>
                </a:cubicBezTo>
                <a:cubicBezTo>
                  <a:pt x="107" y="81"/>
                  <a:pt x="108" y="81"/>
                  <a:pt x="108" y="80"/>
                </a:cubicBezTo>
                <a:cubicBezTo>
                  <a:pt x="109" y="80"/>
                  <a:pt x="109" y="79"/>
                  <a:pt x="110" y="79"/>
                </a:cubicBezTo>
                <a:cubicBezTo>
                  <a:pt x="110" y="78"/>
                  <a:pt x="110" y="78"/>
                  <a:pt x="110" y="78"/>
                </a:cubicBezTo>
                <a:cubicBezTo>
                  <a:pt x="111" y="78"/>
                  <a:pt x="111" y="77"/>
                  <a:pt x="112" y="77"/>
                </a:cubicBezTo>
                <a:cubicBezTo>
                  <a:pt x="114" y="75"/>
                  <a:pt x="115" y="73"/>
                  <a:pt x="116" y="71"/>
                </a:cubicBezTo>
                <a:cubicBezTo>
                  <a:pt x="117" y="70"/>
                  <a:pt x="117" y="70"/>
                  <a:pt x="117" y="70"/>
                </a:cubicBezTo>
                <a:cubicBezTo>
                  <a:pt x="117" y="70"/>
                  <a:pt x="116" y="69"/>
                  <a:pt x="116" y="69"/>
                </a:cubicBezTo>
                <a:cubicBezTo>
                  <a:pt x="115" y="68"/>
                  <a:pt x="114" y="66"/>
                  <a:pt x="114" y="65"/>
                </a:cubicBezTo>
                <a:cubicBezTo>
                  <a:pt x="115" y="64"/>
                  <a:pt x="116" y="63"/>
                  <a:pt x="117" y="63"/>
                </a:cubicBezTo>
                <a:cubicBezTo>
                  <a:pt x="118" y="63"/>
                  <a:pt x="118" y="62"/>
                  <a:pt x="119" y="61"/>
                </a:cubicBezTo>
                <a:cubicBezTo>
                  <a:pt x="119" y="61"/>
                  <a:pt x="119" y="60"/>
                  <a:pt x="120" y="59"/>
                </a:cubicBezTo>
                <a:cubicBezTo>
                  <a:pt x="120" y="57"/>
                  <a:pt x="121" y="57"/>
                  <a:pt x="123" y="55"/>
                </a:cubicBezTo>
                <a:cubicBezTo>
                  <a:pt x="124" y="55"/>
                  <a:pt x="124" y="55"/>
                  <a:pt x="124" y="55"/>
                </a:cubicBezTo>
                <a:cubicBezTo>
                  <a:pt x="124" y="55"/>
                  <a:pt x="124" y="55"/>
                  <a:pt x="124" y="55"/>
                </a:cubicBezTo>
                <a:cubicBezTo>
                  <a:pt x="124" y="55"/>
                  <a:pt x="125" y="54"/>
                  <a:pt x="126" y="54"/>
                </a:cubicBezTo>
                <a:cubicBezTo>
                  <a:pt x="127" y="53"/>
                  <a:pt x="127" y="53"/>
                  <a:pt x="128" y="53"/>
                </a:cubicBezTo>
                <a:cubicBezTo>
                  <a:pt x="129" y="54"/>
                  <a:pt x="129" y="54"/>
                  <a:pt x="129" y="54"/>
                </a:cubicBezTo>
                <a:cubicBezTo>
                  <a:pt x="130" y="54"/>
                  <a:pt x="130" y="54"/>
                  <a:pt x="131" y="54"/>
                </a:cubicBezTo>
                <a:cubicBezTo>
                  <a:pt x="132" y="55"/>
                  <a:pt x="132" y="55"/>
                  <a:pt x="132" y="55"/>
                </a:cubicBezTo>
                <a:cubicBezTo>
                  <a:pt x="133" y="55"/>
                  <a:pt x="133" y="55"/>
                  <a:pt x="133" y="55"/>
                </a:cubicBezTo>
                <a:cubicBezTo>
                  <a:pt x="133" y="55"/>
                  <a:pt x="133" y="55"/>
                  <a:pt x="133" y="55"/>
                </a:cubicBezTo>
                <a:cubicBezTo>
                  <a:pt x="133" y="55"/>
                  <a:pt x="133" y="55"/>
                  <a:pt x="133" y="55"/>
                </a:cubicBezTo>
                <a:cubicBezTo>
                  <a:pt x="133" y="54"/>
                  <a:pt x="134" y="53"/>
                  <a:pt x="134" y="52"/>
                </a:cubicBezTo>
                <a:cubicBezTo>
                  <a:pt x="134" y="51"/>
                  <a:pt x="134" y="51"/>
                  <a:pt x="134" y="51"/>
                </a:cubicBezTo>
                <a:cubicBezTo>
                  <a:pt x="134" y="50"/>
                  <a:pt x="134" y="49"/>
                  <a:pt x="134" y="49"/>
                </a:cubicBezTo>
                <a:cubicBezTo>
                  <a:pt x="134" y="48"/>
                  <a:pt x="134" y="47"/>
                  <a:pt x="134" y="47"/>
                </a:cubicBezTo>
                <a:cubicBezTo>
                  <a:pt x="134" y="45"/>
                  <a:pt x="134" y="45"/>
                  <a:pt x="134" y="45"/>
                </a:cubicBezTo>
                <a:cubicBezTo>
                  <a:pt x="153" y="49"/>
                  <a:pt x="153" y="49"/>
                  <a:pt x="153" y="49"/>
                </a:cubicBezTo>
                <a:cubicBezTo>
                  <a:pt x="154" y="49"/>
                  <a:pt x="154" y="49"/>
                  <a:pt x="154" y="49"/>
                </a:cubicBezTo>
                <a:cubicBezTo>
                  <a:pt x="154" y="48"/>
                  <a:pt x="154" y="48"/>
                  <a:pt x="154" y="48"/>
                </a:cubicBezTo>
                <a:cubicBezTo>
                  <a:pt x="154" y="47"/>
                  <a:pt x="154" y="47"/>
                  <a:pt x="154" y="47"/>
                </a:cubicBezTo>
                <a:cubicBezTo>
                  <a:pt x="154" y="47"/>
                  <a:pt x="154" y="46"/>
                  <a:pt x="154" y="45"/>
                </a:cubicBezTo>
                <a:cubicBezTo>
                  <a:pt x="154" y="45"/>
                  <a:pt x="154" y="45"/>
                  <a:pt x="154" y="45"/>
                </a:cubicBezTo>
                <a:cubicBezTo>
                  <a:pt x="154" y="44"/>
                  <a:pt x="155" y="44"/>
                  <a:pt x="155" y="44"/>
                </a:cubicBezTo>
                <a:cubicBezTo>
                  <a:pt x="155" y="43"/>
                  <a:pt x="156" y="42"/>
                  <a:pt x="156" y="42"/>
                </a:cubicBezTo>
                <a:cubicBezTo>
                  <a:pt x="156" y="42"/>
                  <a:pt x="156" y="42"/>
                  <a:pt x="156" y="42"/>
                </a:cubicBezTo>
                <a:cubicBezTo>
                  <a:pt x="156" y="41"/>
                  <a:pt x="156" y="41"/>
                  <a:pt x="156" y="41"/>
                </a:cubicBezTo>
                <a:cubicBezTo>
                  <a:pt x="156" y="41"/>
                  <a:pt x="156" y="40"/>
                  <a:pt x="155" y="39"/>
                </a:cubicBezTo>
                <a:cubicBezTo>
                  <a:pt x="154" y="37"/>
                  <a:pt x="154" y="37"/>
                  <a:pt x="154" y="37"/>
                </a:cubicBezTo>
                <a:cubicBezTo>
                  <a:pt x="161" y="36"/>
                  <a:pt x="161" y="36"/>
                  <a:pt x="161" y="36"/>
                </a:cubicBezTo>
                <a:cubicBezTo>
                  <a:pt x="164" y="36"/>
                  <a:pt x="164" y="36"/>
                  <a:pt x="164" y="36"/>
                </a:cubicBezTo>
                <a:cubicBezTo>
                  <a:pt x="164" y="36"/>
                  <a:pt x="164" y="36"/>
                  <a:pt x="164" y="36"/>
                </a:cubicBezTo>
                <a:cubicBezTo>
                  <a:pt x="164" y="35"/>
                  <a:pt x="164" y="34"/>
                  <a:pt x="165" y="33"/>
                </a:cubicBezTo>
                <a:cubicBezTo>
                  <a:pt x="165" y="33"/>
                  <a:pt x="166" y="33"/>
                  <a:pt x="166" y="32"/>
                </a:cubicBezTo>
                <a:cubicBezTo>
                  <a:pt x="167" y="32"/>
                  <a:pt x="168" y="32"/>
                  <a:pt x="169" y="32"/>
                </a:cubicBezTo>
                <a:cubicBezTo>
                  <a:pt x="169" y="33"/>
                  <a:pt x="170" y="33"/>
                  <a:pt x="170" y="33"/>
                </a:cubicBezTo>
                <a:cubicBezTo>
                  <a:pt x="175" y="36"/>
                  <a:pt x="175" y="36"/>
                  <a:pt x="175" y="36"/>
                </a:cubicBezTo>
                <a:cubicBezTo>
                  <a:pt x="176" y="37"/>
                  <a:pt x="179" y="40"/>
                  <a:pt x="180" y="42"/>
                </a:cubicBezTo>
                <a:cubicBezTo>
                  <a:pt x="180" y="42"/>
                  <a:pt x="180" y="42"/>
                  <a:pt x="180" y="42"/>
                </a:cubicBezTo>
                <a:cubicBezTo>
                  <a:pt x="180" y="42"/>
                  <a:pt x="180" y="42"/>
                  <a:pt x="180" y="42"/>
                </a:cubicBezTo>
                <a:cubicBezTo>
                  <a:pt x="181" y="42"/>
                  <a:pt x="181" y="42"/>
                  <a:pt x="181" y="42"/>
                </a:cubicBezTo>
                <a:cubicBezTo>
                  <a:pt x="192" y="42"/>
                  <a:pt x="192" y="42"/>
                  <a:pt x="192" y="42"/>
                </a:cubicBezTo>
                <a:cubicBezTo>
                  <a:pt x="192" y="42"/>
                  <a:pt x="192" y="41"/>
                  <a:pt x="192" y="41"/>
                </a:cubicBezTo>
                <a:cubicBezTo>
                  <a:pt x="194" y="40"/>
                  <a:pt x="197" y="41"/>
                  <a:pt x="198" y="42"/>
                </a:cubicBezTo>
                <a:cubicBezTo>
                  <a:pt x="199" y="42"/>
                  <a:pt x="199" y="42"/>
                  <a:pt x="199" y="42"/>
                </a:cubicBezTo>
                <a:cubicBezTo>
                  <a:pt x="205" y="45"/>
                  <a:pt x="205" y="45"/>
                  <a:pt x="205" y="45"/>
                </a:cubicBezTo>
                <a:cubicBezTo>
                  <a:pt x="205" y="44"/>
                  <a:pt x="205" y="44"/>
                  <a:pt x="205" y="44"/>
                </a:cubicBezTo>
                <a:cubicBezTo>
                  <a:pt x="205" y="44"/>
                  <a:pt x="206" y="43"/>
                  <a:pt x="206" y="43"/>
                </a:cubicBezTo>
                <a:cubicBezTo>
                  <a:pt x="209" y="40"/>
                  <a:pt x="209" y="40"/>
                  <a:pt x="209" y="40"/>
                </a:cubicBezTo>
                <a:cubicBezTo>
                  <a:pt x="210" y="39"/>
                  <a:pt x="211" y="39"/>
                  <a:pt x="211" y="39"/>
                </a:cubicBezTo>
                <a:cubicBezTo>
                  <a:pt x="211" y="39"/>
                  <a:pt x="212" y="38"/>
                  <a:pt x="212" y="38"/>
                </a:cubicBezTo>
                <a:cubicBezTo>
                  <a:pt x="212" y="37"/>
                  <a:pt x="212" y="35"/>
                  <a:pt x="212" y="34"/>
                </a:cubicBezTo>
                <a:cubicBezTo>
                  <a:pt x="212" y="34"/>
                  <a:pt x="212" y="34"/>
                  <a:pt x="212" y="34"/>
                </a:cubicBezTo>
                <a:cubicBezTo>
                  <a:pt x="213" y="33"/>
                  <a:pt x="213" y="32"/>
                  <a:pt x="213" y="30"/>
                </a:cubicBezTo>
                <a:cubicBezTo>
                  <a:pt x="213" y="29"/>
                  <a:pt x="213" y="29"/>
                  <a:pt x="213" y="29"/>
                </a:cubicBezTo>
                <a:cubicBezTo>
                  <a:pt x="213" y="29"/>
                  <a:pt x="213" y="29"/>
                  <a:pt x="213" y="29"/>
                </a:cubicBezTo>
                <a:cubicBezTo>
                  <a:pt x="214" y="27"/>
                  <a:pt x="214" y="26"/>
                  <a:pt x="215" y="26"/>
                </a:cubicBezTo>
                <a:cubicBezTo>
                  <a:pt x="215" y="25"/>
                  <a:pt x="215" y="25"/>
                  <a:pt x="215" y="25"/>
                </a:cubicBezTo>
                <a:cubicBezTo>
                  <a:pt x="216" y="25"/>
                  <a:pt x="216" y="24"/>
                  <a:pt x="217" y="24"/>
                </a:cubicBezTo>
                <a:cubicBezTo>
                  <a:pt x="218" y="23"/>
                  <a:pt x="218" y="23"/>
                  <a:pt x="218" y="23"/>
                </a:cubicBezTo>
                <a:cubicBezTo>
                  <a:pt x="218" y="23"/>
                  <a:pt x="218" y="23"/>
                  <a:pt x="218" y="23"/>
                </a:cubicBezTo>
                <a:cubicBezTo>
                  <a:pt x="220" y="21"/>
                  <a:pt x="222" y="20"/>
                  <a:pt x="224" y="20"/>
                </a:cubicBezTo>
                <a:cubicBezTo>
                  <a:pt x="226" y="20"/>
                  <a:pt x="226" y="20"/>
                  <a:pt x="226" y="20"/>
                </a:cubicBezTo>
                <a:cubicBezTo>
                  <a:pt x="226" y="20"/>
                  <a:pt x="227" y="20"/>
                  <a:pt x="227" y="20"/>
                </a:cubicBezTo>
                <a:cubicBezTo>
                  <a:pt x="228" y="20"/>
                  <a:pt x="228" y="20"/>
                  <a:pt x="229" y="20"/>
                </a:cubicBezTo>
                <a:cubicBezTo>
                  <a:pt x="229" y="20"/>
                  <a:pt x="229" y="20"/>
                  <a:pt x="229" y="19"/>
                </a:cubicBezTo>
                <a:cubicBezTo>
                  <a:pt x="230" y="19"/>
                  <a:pt x="230" y="19"/>
                  <a:pt x="230" y="19"/>
                </a:cubicBezTo>
                <a:cubicBezTo>
                  <a:pt x="230" y="19"/>
                  <a:pt x="230" y="19"/>
                  <a:pt x="230" y="19"/>
                </a:cubicBezTo>
                <a:cubicBezTo>
                  <a:pt x="231" y="19"/>
                  <a:pt x="231" y="19"/>
                  <a:pt x="231" y="19"/>
                </a:cubicBezTo>
                <a:cubicBezTo>
                  <a:pt x="231" y="19"/>
                  <a:pt x="231" y="18"/>
                  <a:pt x="231" y="18"/>
                </a:cubicBezTo>
                <a:cubicBezTo>
                  <a:pt x="234" y="17"/>
                  <a:pt x="236" y="19"/>
                  <a:pt x="238" y="20"/>
                </a:cubicBezTo>
                <a:cubicBezTo>
                  <a:pt x="239" y="21"/>
                  <a:pt x="239" y="21"/>
                  <a:pt x="239" y="21"/>
                </a:cubicBezTo>
                <a:cubicBezTo>
                  <a:pt x="239" y="21"/>
                  <a:pt x="239" y="21"/>
                  <a:pt x="239" y="21"/>
                </a:cubicBezTo>
                <a:cubicBezTo>
                  <a:pt x="240" y="22"/>
                  <a:pt x="241" y="22"/>
                  <a:pt x="242" y="22"/>
                </a:cubicBezTo>
                <a:cubicBezTo>
                  <a:pt x="242" y="23"/>
                  <a:pt x="243" y="23"/>
                  <a:pt x="243" y="23"/>
                </a:cubicBezTo>
                <a:cubicBezTo>
                  <a:pt x="244" y="23"/>
                  <a:pt x="244" y="23"/>
                  <a:pt x="244" y="23"/>
                </a:cubicBezTo>
                <a:cubicBezTo>
                  <a:pt x="244" y="24"/>
                  <a:pt x="245" y="24"/>
                  <a:pt x="245" y="24"/>
                </a:cubicBezTo>
                <a:cubicBezTo>
                  <a:pt x="246" y="25"/>
                  <a:pt x="250" y="26"/>
                  <a:pt x="250" y="29"/>
                </a:cubicBezTo>
                <a:cubicBezTo>
                  <a:pt x="251" y="29"/>
                  <a:pt x="251" y="30"/>
                  <a:pt x="250" y="31"/>
                </a:cubicBezTo>
                <a:cubicBezTo>
                  <a:pt x="251" y="31"/>
                  <a:pt x="251" y="31"/>
                  <a:pt x="251" y="31"/>
                </a:cubicBezTo>
                <a:cubicBezTo>
                  <a:pt x="251" y="31"/>
                  <a:pt x="252" y="30"/>
                  <a:pt x="253" y="30"/>
                </a:cubicBezTo>
                <a:cubicBezTo>
                  <a:pt x="253" y="30"/>
                  <a:pt x="253" y="30"/>
                  <a:pt x="253" y="30"/>
                </a:cubicBezTo>
                <a:cubicBezTo>
                  <a:pt x="255" y="30"/>
                  <a:pt x="255" y="29"/>
                  <a:pt x="256" y="28"/>
                </a:cubicBezTo>
                <a:cubicBezTo>
                  <a:pt x="256" y="28"/>
                  <a:pt x="256" y="27"/>
                  <a:pt x="256" y="27"/>
                </a:cubicBezTo>
                <a:cubicBezTo>
                  <a:pt x="256" y="26"/>
                  <a:pt x="256" y="26"/>
                  <a:pt x="256" y="26"/>
                </a:cubicBezTo>
                <a:cubicBezTo>
                  <a:pt x="257" y="25"/>
                  <a:pt x="257" y="25"/>
                  <a:pt x="257" y="25"/>
                </a:cubicBezTo>
                <a:cubicBezTo>
                  <a:pt x="258" y="25"/>
                  <a:pt x="259" y="25"/>
                  <a:pt x="259" y="25"/>
                </a:cubicBezTo>
                <a:cubicBezTo>
                  <a:pt x="260" y="26"/>
                  <a:pt x="260" y="26"/>
                  <a:pt x="260" y="26"/>
                </a:cubicBezTo>
                <a:cubicBezTo>
                  <a:pt x="261" y="26"/>
                  <a:pt x="261" y="26"/>
                  <a:pt x="261" y="26"/>
                </a:cubicBezTo>
                <a:cubicBezTo>
                  <a:pt x="261" y="26"/>
                  <a:pt x="262" y="27"/>
                  <a:pt x="263" y="27"/>
                </a:cubicBezTo>
                <a:cubicBezTo>
                  <a:pt x="263" y="27"/>
                  <a:pt x="263" y="27"/>
                  <a:pt x="263" y="27"/>
                </a:cubicBezTo>
                <a:cubicBezTo>
                  <a:pt x="264" y="27"/>
                  <a:pt x="264" y="27"/>
                  <a:pt x="264" y="27"/>
                </a:cubicBezTo>
                <a:cubicBezTo>
                  <a:pt x="264" y="27"/>
                  <a:pt x="264" y="27"/>
                  <a:pt x="264" y="27"/>
                </a:cubicBezTo>
                <a:cubicBezTo>
                  <a:pt x="264" y="26"/>
                  <a:pt x="264" y="26"/>
                  <a:pt x="264" y="25"/>
                </a:cubicBezTo>
                <a:cubicBezTo>
                  <a:pt x="264" y="25"/>
                  <a:pt x="264" y="25"/>
                  <a:pt x="264" y="25"/>
                </a:cubicBezTo>
                <a:cubicBezTo>
                  <a:pt x="265" y="25"/>
                  <a:pt x="265" y="25"/>
                  <a:pt x="265" y="25"/>
                </a:cubicBezTo>
                <a:cubicBezTo>
                  <a:pt x="264" y="23"/>
                  <a:pt x="261" y="24"/>
                  <a:pt x="261" y="25"/>
                </a:cubicBezTo>
                <a:cubicBezTo>
                  <a:pt x="260" y="24"/>
                  <a:pt x="259" y="23"/>
                  <a:pt x="259" y="23"/>
                </a:cubicBezTo>
                <a:cubicBezTo>
                  <a:pt x="258" y="23"/>
                  <a:pt x="258" y="24"/>
                  <a:pt x="257" y="24"/>
                </a:cubicBezTo>
                <a:cubicBezTo>
                  <a:pt x="256" y="25"/>
                  <a:pt x="254" y="26"/>
                  <a:pt x="252" y="26"/>
                </a:cubicBezTo>
                <a:cubicBezTo>
                  <a:pt x="252" y="26"/>
                  <a:pt x="251" y="26"/>
                  <a:pt x="251" y="26"/>
                </a:cubicBezTo>
                <a:cubicBezTo>
                  <a:pt x="252" y="26"/>
                  <a:pt x="253" y="25"/>
                  <a:pt x="253" y="25"/>
                </a:cubicBezTo>
                <a:cubicBezTo>
                  <a:pt x="253" y="25"/>
                  <a:pt x="253" y="25"/>
                  <a:pt x="253" y="25"/>
                </a:cubicBezTo>
                <a:cubicBezTo>
                  <a:pt x="253" y="25"/>
                  <a:pt x="253" y="25"/>
                  <a:pt x="254" y="24"/>
                </a:cubicBezTo>
                <a:cubicBezTo>
                  <a:pt x="253" y="23"/>
                  <a:pt x="251" y="24"/>
                  <a:pt x="250" y="23"/>
                </a:cubicBezTo>
                <a:cubicBezTo>
                  <a:pt x="252" y="23"/>
                  <a:pt x="251" y="20"/>
                  <a:pt x="250" y="20"/>
                </a:cubicBezTo>
                <a:cubicBezTo>
                  <a:pt x="247" y="19"/>
                  <a:pt x="245" y="19"/>
                  <a:pt x="243" y="18"/>
                </a:cubicBezTo>
                <a:cubicBezTo>
                  <a:pt x="242" y="16"/>
                  <a:pt x="245" y="18"/>
                  <a:pt x="246" y="18"/>
                </a:cubicBezTo>
                <a:cubicBezTo>
                  <a:pt x="250" y="19"/>
                  <a:pt x="255" y="19"/>
                  <a:pt x="259" y="19"/>
                </a:cubicBezTo>
                <a:cubicBezTo>
                  <a:pt x="259" y="17"/>
                  <a:pt x="263" y="16"/>
                  <a:pt x="265" y="16"/>
                </a:cubicBezTo>
                <a:cubicBezTo>
                  <a:pt x="267" y="15"/>
                  <a:pt x="268" y="15"/>
                  <a:pt x="267" y="14"/>
                </a:cubicBezTo>
                <a:cubicBezTo>
                  <a:pt x="267" y="12"/>
                  <a:pt x="266" y="13"/>
                  <a:pt x="265" y="12"/>
                </a:cubicBezTo>
                <a:cubicBezTo>
                  <a:pt x="263" y="11"/>
                  <a:pt x="260" y="11"/>
                  <a:pt x="258" y="11"/>
                </a:cubicBezTo>
                <a:cubicBezTo>
                  <a:pt x="258" y="11"/>
                  <a:pt x="259" y="10"/>
                  <a:pt x="259" y="10"/>
                </a:cubicBezTo>
                <a:cubicBezTo>
                  <a:pt x="259" y="10"/>
                  <a:pt x="258" y="8"/>
                  <a:pt x="258" y="8"/>
                </a:cubicBezTo>
                <a:cubicBezTo>
                  <a:pt x="257" y="7"/>
                  <a:pt x="255" y="8"/>
                  <a:pt x="254" y="9"/>
                </a:cubicBezTo>
                <a:cubicBezTo>
                  <a:pt x="254" y="8"/>
                  <a:pt x="254" y="7"/>
                  <a:pt x="254" y="7"/>
                </a:cubicBezTo>
                <a:cubicBezTo>
                  <a:pt x="253" y="7"/>
                  <a:pt x="251" y="8"/>
                  <a:pt x="250" y="8"/>
                </a:cubicBezTo>
                <a:cubicBezTo>
                  <a:pt x="250" y="8"/>
                  <a:pt x="250" y="8"/>
                  <a:pt x="250" y="8"/>
                </a:cubicBezTo>
                <a:cubicBezTo>
                  <a:pt x="248" y="6"/>
                  <a:pt x="245" y="2"/>
                  <a:pt x="243" y="6"/>
                </a:cubicBezTo>
                <a:cubicBezTo>
                  <a:pt x="243" y="7"/>
                  <a:pt x="240" y="10"/>
                  <a:pt x="241" y="11"/>
                </a:cubicBezTo>
                <a:cubicBezTo>
                  <a:pt x="242" y="12"/>
                  <a:pt x="240" y="14"/>
                  <a:pt x="238" y="15"/>
                </a:cubicBezTo>
                <a:cubicBezTo>
                  <a:pt x="238" y="13"/>
                  <a:pt x="239" y="13"/>
                  <a:pt x="240" y="12"/>
                </a:cubicBezTo>
                <a:cubicBezTo>
                  <a:pt x="238" y="12"/>
                  <a:pt x="236" y="13"/>
                  <a:pt x="235" y="12"/>
                </a:cubicBezTo>
                <a:cubicBezTo>
                  <a:pt x="234" y="12"/>
                  <a:pt x="235" y="11"/>
                  <a:pt x="235" y="11"/>
                </a:cubicBezTo>
                <a:cubicBezTo>
                  <a:pt x="237" y="10"/>
                  <a:pt x="239" y="10"/>
                  <a:pt x="239" y="7"/>
                </a:cubicBezTo>
                <a:cubicBezTo>
                  <a:pt x="238" y="8"/>
                  <a:pt x="236" y="8"/>
                  <a:pt x="235" y="8"/>
                </a:cubicBezTo>
                <a:cubicBezTo>
                  <a:pt x="235" y="8"/>
                  <a:pt x="235" y="8"/>
                  <a:pt x="235" y="8"/>
                </a:cubicBezTo>
                <a:cubicBezTo>
                  <a:pt x="235" y="8"/>
                  <a:pt x="236" y="8"/>
                  <a:pt x="236" y="8"/>
                </a:cubicBezTo>
                <a:cubicBezTo>
                  <a:pt x="236" y="8"/>
                  <a:pt x="235" y="7"/>
                  <a:pt x="235" y="7"/>
                </a:cubicBezTo>
                <a:cubicBezTo>
                  <a:pt x="236" y="6"/>
                  <a:pt x="236" y="6"/>
                  <a:pt x="238" y="6"/>
                </a:cubicBezTo>
                <a:cubicBezTo>
                  <a:pt x="238" y="6"/>
                  <a:pt x="239" y="6"/>
                  <a:pt x="239" y="6"/>
                </a:cubicBezTo>
                <a:cubicBezTo>
                  <a:pt x="240" y="5"/>
                  <a:pt x="241" y="5"/>
                  <a:pt x="241" y="4"/>
                </a:cubicBezTo>
                <a:cubicBezTo>
                  <a:pt x="242" y="3"/>
                  <a:pt x="242" y="2"/>
                  <a:pt x="240" y="2"/>
                </a:cubicBezTo>
                <a:cubicBezTo>
                  <a:pt x="238" y="1"/>
                  <a:pt x="235" y="0"/>
                  <a:pt x="233" y="0"/>
                </a:cubicBezTo>
                <a:cubicBezTo>
                  <a:pt x="233" y="0"/>
                  <a:pt x="232" y="2"/>
                  <a:pt x="232" y="2"/>
                </a:cubicBezTo>
                <a:cubicBezTo>
                  <a:pt x="231" y="3"/>
                  <a:pt x="229" y="3"/>
                  <a:pt x="228" y="4"/>
                </a:cubicBezTo>
                <a:cubicBezTo>
                  <a:pt x="229" y="4"/>
                  <a:pt x="230" y="4"/>
                  <a:pt x="230" y="4"/>
                </a:cubicBezTo>
                <a:cubicBezTo>
                  <a:pt x="230" y="4"/>
                  <a:pt x="230" y="4"/>
                  <a:pt x="230" y="4"/>
                </a:cubicBezTo>
                <a:cubicBezTo>
                  <a:pt x="231" y="4"/>
                  <a:pt x="231" y="4"/>
                  <a:pt x="231" y="5"/>
                </a:cubicBezTo>
                <a:cubicBezTo>
                  <a:pt x="231" y="5"/>
                  <a:pt x="232" y="5"/>
                  <a:pt x="233" y="6"/>
                </a:cubicBezTo>
                <a:cubicBezTo>
                  <a:pt x="231" y="7"/>
                  <a:pt x="229" y="7"/>
                  <a:pt x="227" y="8"/>
                </a:cubicBezTo>
                <a:cubicBezTo>
                  <a:pt x="228" y="8"/>
                  <a:pt x="227" y="8"/>
                  <a:pt x="227" y="9"/>
                </a:cubicBezTo>
                <a:cubicBezTo>
                  <a:pt x="227" y="9"/>
                  <a:pt x="229" y="9"/>
                  <a:pt x="229" y="10"/>
                </a:cubicBezTo>
                <a:cubicBezTo>
                  <a:pt x="228" y="10"/>
                  <a:pt x="226" y="9"/>
                  <a:pt x="226" y="10"/>
                </a:cubicBezTo>
                <a:cubicBezTo>
                  <a:pt x="226" y="11"/>
                  <a:pt x="226" y="11"/>
                  <a:pt x="227" y="12"/>
                </a:cubicBezTo>
                <a:cubicBezTo>
                  <a:pt x="226" y="12"/>
                  <a:pt x="226" y="11"/>
                  <a:pt x="225" y="11"/>
                </a:cubicBezTo>
                <a:cubicBezTo>
                  <a:pt x="224" y="11"/>
                  <a:pt x="224" y="12"/>
                  <a:pt x="223" y="13"/>
                </a:cubicBezTo>
                <a:cubicBezTo>
                  <a:pt x="223" y="12"/>
                  <a:pt x="222" y="13"/>
                  <a:pt x="222" y="13"/>
                </a:cubicBezTo>
                <a:cubicBezTo>
                  <a:pt x="222" y="13"/>
                  <a:pt x="222" y="14"/>
                  <a:pt x="221" y="13"/>
                </a:cubicBezTo>
                <a:cubicBezTo>
                  <a:pt x="221" y="12"/>
                  <a:pt x="221" y="8"/>
                  <a:pt x="220" y="9"/>
                </a:cubicBezTo>
                <a:cubicBezTo>
                  <a:pt x="220" y="8"/>
                  <a:pt x="222" y="8"/>
                  <a:pt x="222" y="7"/>
                </a:cubicBezTo>
                <a:cubicBezTo>
                  <a:pt x="223" y="6"/>
                  <a:pt x="223" y="4"/>
                  <a:pt x="223" y="3"/>
                </a:cubicBezTo>
                <a:cubicBezTo>
                  <a:pt x="221" y="4"/>
                  <a:pt x="218" y="6"/>
                  <a:pt x="216" y="8"/>
                </a:cubicBezTo>
                <a:cubicBezTo>
                  <a:pt x="215" y="9"/>
                  <a:pt x="215" y="9"/>
                  <a:pt x="214" y="10"/>
                </a:cubicBezTo>
                <a:cubicBezTo>
                  <a:pt x="214" y="10"/>
                  <a:pt x="214" y="11"/>
                  <a:pt x="213" y="11"/>
                </a:cubicBezTo>
                <a:cubicBezTo>
                  <a:pt x="212" y="11"/>
                  <a:pt x="212" y="12"/>
                  <a:pt x="211" y="13"/>
                </a:cubicBezTo>
                <a:cubicBezTo>
                  <a:pt x="211" y="13"/>
                  <a:pt x="210" y="14"/>
                  <a:pt x="210" y="14"/>
                </a:cubicBezTo>
                <a:cubicBezTo>
                  <a:pt x="210" y="15"/>
                  <a:pt x="210" y="14"/>
                  <a:pt x="210" y="15"/>
                </a:cubicBezTo>
                <a:cubicBezTo>
                  <a:pt x="210" y="15"/>
                  <a:pt x="211" y="15"/>
                  <a:pt x="210" y="15"/>
                </a:cubicBezTo>
                <a:cubicBezTo>
                  <a:pt x="210" y="16"/>
                  <a:pt x="209" y="17"/>
                  <a:pt x="208" y="18"/>
                </a:cubicBezTo>
                <a:cubicBezTo>
                  <a:pt x="208" y="18"/>
                  <a:pt x="208" y="19"/>
                  <a:pt x="207" y="19"/>
                </a:cubicBezTo>
                <a:cubicBezTo>
                  <a:pt x="207" y="19"/>
                  <a:pt x="206" y="17"/>
                  <a:pt x="206" y="18"/>
                </a:cubicBezTo>
                <a:cubicBezTo>
                  <a:pt x="206" y="18"/>
                  <a:pt x="206" y="19"/>
                  <a:pt x="206" y="19"/>
                </a:cubicBezTo>
                <a:cubicBezTo>
                  <a:pt x="203" y="18"/>
                  <a:pt x="207" y="14"/>
                  <a:pt x="207" y="12"/>
                </a:cubicBezTo>
                <a:cubicBezTo>
                  <a:pt x="206" y="11"/>
                  <a:pt x="207" y="10"/>
                  <a:pt x="208" y="10"/>
                </a:cubicBezTo>
                <a:cubicBezTo>
                  <a:pt x="209" y="9"/>
                  <a:pt x="210" y="9"/>
                  <a:pt x="211" y="8"/>
                </a:cubicBezTo>
                <a:cubicBezTo>
                  <a:pt x="211" y="8"/>
                  <a:pt x="212" y="7"/>
                  <a:pt x="212" y="7"/>
                </a:cubicBezTo>
                <a:cubicBezTo>
                  <a:pt x="213" y="6"/>
                  <a:pt x="214" y="5"/>
                  <a:pt x="215" y="5"/>
                </a:cubicBezTo>
                <a:cubicBezTo>
                  <a:pt x="213" y="3"/>
                  <a:pt x="210" y="3"/>
                  <a:pt x="208" y="3"/>
                </a:cubicBezTo>
                <a:cubicBezTo>
                  <a:pt x="208" y="3"/>
                  <a:pt x="207" y="3"/>
                  <a:pt x="206" y="4"/>
                </a:cubicBezTo>
                <a:cubicBezTo>
                  <a:pt x="206" y="4"/>
                  <a:pt x="205" y="4"/>
                  <a:pt x="205" y="4"/>
                </a:cubicBezTo>
                <a:cubicBezTo>
                  <a:pt x="205" y="4"/>
                  <a:pt x="206" y="3"/>
                  <a:pt x="206" y="3"/>
                </a:cubicBezTo>
                <a:cubicBezTo>
                  <a:pt x="206" y="2"/>
                  <a:pt x="205" y="3"/>
                  <a:pt x="204" y="3"/>
                </a:cubicBezTo>
                <a:cubicBezTo>
                  <a:pt x="203" y="4"/>
                  <a:pt x="204" y="2"/>
                  <a:pt x="202" y="2"/>
                </a:cubicBezTo>
                <a:cubicBezTo>
                  <a:pt x="203" y="2"/>
                  <a:pt x="202" y="1"/>
                  <a:pt x="201" y="2"/>
                </a:cubicBezTo>
                <a:cubicBezTo>
                  <a:pt x="201" y="2"/>
                  <a:pt x="201" y="4"/>
                  <a:pt x="201" y="5"/>
                </a:cubicBezTo>
                <a:cubicBezTo>
                  <a:pt x="200" y="6"/>
                  <a:pt x="200" y="5"/>
                  <a:pt x="200" y="5"/>
                </a:cubicBezTo>
                <a:cubicBezTo>
                  <a:pt x="199" y="5"/>
                  <a:pt x="198" y="4"/>
                  <a:pt x="198" y="5"/>
                </a:cubicBezTo>
                <a:cubicBezTo>
                  <a:pt x="198" y="6"/>
                  <a:pt x="201" y="8"/>
                  <a:pt x="202" y="8"/>
                </a:cubicBezTo>
                <a:cubicBezTo>
                  <a:pt x="200" y="8"/>
                  <a:pt x="199" y="7"/>
                  <a:pt x="198" y="10"/>
                </a:cubicBezTo>
                <a:cubicBezTo>
                  <a:pt x="198" y="11"/>
                  <a:pt x="198" y="11"/>
                  <a:pt x="199" y="12"/>
                </a:cubicBezTo>
                <a:cubicBezTo>
                  <a:pt x="198" y="12"/>
                  <a:pt x="197" y="11"/>
                  <a:pt x="196" y="11"/>
                </a:cubicBezTo>
                <a:cubicBezTo>
                  <a:pt x="195" y="11"/>
                  <a:pt x="193" y="12"/>
                  <a:pt x="193" y="12"/>
                </a:cubicBezTo>
                <a:cubicBezTo>
                  <a:pt x="191" y="13"/>
                  <a:pt x="189" y="14"/>
                  <a:pt x="188" y="16"/>
                </a:cubicBezTo>
                <a:cubicBezTo>
                  <a:pt x="189" y="16"/>
                  <a:pt x="190" y="16"/>
                  <a:pt x="190" y="16"/>
                </a:cubicBezTo>
                <a:cubicBezTo>
                  <a:pt x="189" y="16"/>
                  <a:pt x="188" y="16"/>
                  <a:pt x="187" y="17"/>
                </a:cubicBezTo>
                <a:cubicBezTo>
                  <a:pt x="188" y="17"/>
                  <a:pt x="189" y="18"/>
                  <a:pt x="188" y="18"/>
                </a:cubicBezTo>
                <a:cubicBezTo>
                  <a:pt x="188" y="19"/>
                  <a:pt x="187" y="19"/>
                  <a:pt x="187" y="19"/>
                </a:cubicBezTo>
                <a:cubicBezTo>
                  <a:pt x="188" y="20"/>
                  <a:pt x="190" y="20"/>
                  <a:pt x="190" y="20"/>
                </a:cubicBezTo>
                <a:cubicBezTo>
                  <a:pt x="190" y="21"/>
                  <a:pt x="189" y="21"/>
                  <a:pt x="189" y="21"/>
                </a:cubicBezTo>
                <a:cubicBezTo>
                  <a:pt x="188" y="21"/>
                  <a:pt x="187" y="22"/>
                  <a:pt x="186" y="22"/>
                </a:cubicBezTo>
                <a:cubicBezTo>
                  <a:pt x="188" y="21"/>
                  <a:pt x="185" y="20"/>
                  <a:pt x="185" y="20"/>
                </a:cubicBezTo>
                <a:cubicBezTo>
                  <a:pt x="185" y="19"/>
                  <a:pt x="186" y="19"/>
                  <a:pt x="185" y="19"/>
                </a:cubicBezTo>
                <a:cubicBezTo>
                  <a:pt x="184" y="19"/>
                  <a:pt x="184" y="19"/>
                  <a:pt x="183" y="19"/>
                </a:cubicBezTo>
                <a:cubicBezTo>
                  <a:pt x="181" y="19"/>
                  <a:pt x="180" y="20"/>
                  <a:pt x="178" y="20"/>
                </a:cubicBezTo>
                <a:cubicBezTo>
                  <a:pt x="179" y="19"/>
                  <a:pt x="182" y="19"/>
                  <a:pt x="183" y="18"/>
                </a:cubicBezTo>
                <a:cubicBezTo>
                  <a:pt x="183" y="18"/>
                  <a:pt x="185" y="17"/>
                  <a:pt x="185" y="17"/>
                </a:cubicBezTo>
                <a:cubicBezTo>
                  <a:pt x="185" y="16"/>
                  <a:pt x="180" y="16"/>
                  <a:pt x="180" y="16"/>
                </a:cubicBezTo>
                <a:cubicBezTo>
                  <a:pt x="179" y="16"/>
                  <a:pt x="178" y="17"/>
                  <a:pt x="178" y="17"/>
                </a:cubicBezTo>
                <a:cubicBezTo>
                  <a:pt x="178" y="18"/>
                  <a:pt x="180" y="18"/>
                  <a:pt x="180" y="18"/>
                </a:cubicBezTo>
                <a:cubicBezTo>
                  <a:pt x="179" y="18"/>
                  <a:pt x="178" y="18"/>
                  <a:pt x="177" y="18"/>
                </a:cubicBezTo>
                <a:cubicBezTo>
                  <a:pt x="177" y="18"/>
                  <a:pt x="177" y="18"/>
                  <a:pt x="177" y="18"/>
                </a:cubicBezTo>
                <a:cubicBezTo>
                  <a:pt x="174" y="17"/>
                  <a:pt x="170" y="17"/>
                  <a:pt x="167" y="16"/>
                </a:cubicBezTo>
                <a:cubicBezTo>
                  <a:pt x="168" y="17"/>
                  <a:pt x="169" y="17"/>
                  <a:pt x="170" y="18"/>
                </a:cubicBezTo>
                <a:cubicBezTo>
                  <a:pt x="170" y="18"/>
                  <a:pt x="170" y="18"/>
                  <a:pt x="170" y="19"/>
                </a:cubicBezTo>
                <a:cubicBezTo>
                  <a:pt x="170" y="19"/>
                  <a:pt x="170" y="18"/>
                  <a:pt x="171" y="19"/>
                </a:cubicBezTo>
                <a:cubicBezTo>
                  <a:pt x="171" y="19"/>
                  <a:pt x="171" y="19"/>
                  <a:pt x="171" y="19"/>
                </a:cubicBezTo>
                <a:cubicBezTo>
                  <a:pt x="173" y="19"/>
                  <a:pt x="174" y="19"/>
                  <a:pt x="176" y="18"/>
                </a:cubicBezTo>
                <a:cubicBezTo>
                  <a:pt x="176" y="19"/>
                  <a:pt x="175" y="20"/>
                  <a:pt x="175" y="20"/>
                </a:cubicBezTo>
                <a:cubicBezTo>
                  <a:pt x="175" y="21"/>
                  <a:pt x="176" y="21"/>
                  <a:pt x="175" y="22"/>
                </a:cubicBezTo>
                <a:cubicBezTo>
                  <a:pt x="173" y="23"/>
                  <a:pt x="175" y="22"/>
                  <a:pt x="175" y="23"/>
                </a:cubicBezTo>
                <a:cubicBezTo>
                  <a:pt x="175" y="23"/>
                  <a:pt x="176" y="23"/>
                  <a:pt x="174" y="24"/>
                </a:cubicBezTo>
                <a:cubicBezTo>
                  <a:pt x="175" y="24"/>
                  <a:pt x="176" y="24"/>
                  <a:pt x="176" y="25"/>
                </a:cubicBezTo>
                <a:cubicBezTo>
                  <a:pt x="173" y="24"/>
                  <a:pt x="170" y="22"/>
                  <a:pt x="167" y="21"/>
                </a:cubicBezTo>
                <a:cubicBezTo>
                  <a:pt x="167" y="22"/>
                  <a:pt x="168" y="23"/>
                  <a:pt x="167" y="24"/>
                </a:cubicBezTo>
                <a:cubicBezTo>
                  <a:pt x="165" y="25"/>
                  <a:pt x="165" y="23"/>
                  <a:pt x="164" y="22"/>
                </a:cubicBezTo>
                <a:cubicBezTo>
                  <a:pt x="163" y="22"/>
                  <a:pt x="159" y="24"/>
                  <a:pt x="160" y="25"/>
                </a:cubicBezTo>
                <a:cubicBezTo>
                  <a:pt x="160" y="26"/>
                  <a:pt x="160" y="28"/>
                  <a:pt x="161" y="29"/>
                </a:cubicBezTo>
                <a:cubicBezTo>
                  <a:pt x="161" y="29"/>
                  <a:pt x="160" y="28"/>
                  <a:pt x="159" y="28"/>
                </a:cubicBezTo>
                <a:cubicBezTo>
                  <a:pt x="159" y="29"/>
                  <a:pt x="158" y="30"/>
                  <a:pt x="158" y="31"/>
                </a:cubicBezTo>
                <a:cubicBezTo>
                  <a:pt x="157" y="32"/>
                  <a:pt x="155" y="33"/>
                  <a:pt x="154" y="33"/>
                </a:cubicBezTo>
                <a:cubicBezTo>
                  <a:pt x="155" y="32"/>
                  <a:pt x="156" y="32"/>
                  <a:pt x="156" y="31"/>
                </a:cubicBezTo>
                <a:cubicBezTo>
                  <a:pt x="157" y="30"/>
                  <a:pt x="157" y="30"/>
                  <a:pt x="157" y="29"/>
                </a:cubicBezTo>
                <a:cubicBezTo>
                  <a:pt x="157" y="29"/>
                  <a:pt x="158" y="28"/>
                  <a:pt x="158" y="28"/>
                </a:cubicBezTo>
                <a:cubicBezTo>
                  <a:pt x="158" y="27"/>
                  <a:pt x="158" y="27"/>
                  <a:pt x="158" y="26"/>
                </a:cubicBezTo>
                <a:cubicBezTo>
                  <a:pt x="158" y="25"/>
                  <a:pt x="159" y="24"/>
                  <a:pt x="159" y="23"/>
                </a:cubicBezTo>
                <a:cubicBezTo>
                  <a:pt x="159" y="22"/>
                  <a:pt x="158" y="21"/>
                  <a:pt x="158" y="21"/>
                </a:cubicBezTo>
                <a:cubicBezTo>
                  <a:pt x="157" y="21"/>
                  <a:pt x="157" y="22"/>
                  <a:pt x="156" y="22"/>
                </a:cubicBezTo>
                <a:cubicBezTo>
                  <a:pt x="156" y="22"/>
                  <a:pt x="156" y="22"/>
                  <a:pt x="156" y="21"/>
                </a:cubicBezTo>
                <a:cubicBezTo>
                  <a:pt x="155" y="22"/>
                  <a:pt x="155" y="24"/>
                  <a:pt x="154" y="24"/>
                </a:cubicBezTo>
                <a:cubicBezTo>
                  <a:pt x="154" y="24"/>
                  <a:pt x="155" y="24"/>
                  <a:pt x="155" y="23"/>
                </a:cubicBezTo>
                <a:cubicBezTo>
                  <a:pt x="154" y="23"/>
                  <a:pt x="153" y="24"/>
                  <a:pt x="153" y="25"/>
                </a:cubicBezTo>
                <a:cubicBezTo>
                  <a:pt x="152" y="27"/>
                  <a:pt x="154" y="27"/>
                  <a:pt x="155" y="28"/>
                </a:cubicBezTo>
                <a:cubicBezTo>
                  <a:pt x="154" y="29"/>
                  <a:pt x="151" y="31"/>
                  <a:pt x="150" y="31"/>
                </a:cubicBezTo>
                <a:cubicBezTo>
                  <a:pt x="151" y="30"/>
                  <a:pt x="151" y="30"/>
                  <a:pt x="151" y="29"/>
                </a:cubicBezTo>
                <a:cubicBezTo>
                  <a:pt x="151" y="28"/>
                  <a:pt x="152" y="28"/>
                  <a:pt x="152" y="28"/>
                </a:cubicBezTo>
                <a:cubicBezTo>
                  <a:pt x="152" y="27"/>
                  <a:pt x="151" y="27"/>
                  <a:pt x="151" y="26"/>
                </a:cubicBezTo>
                <a:cubicBezTo>
                  <a:pt x="151" y="26"/>
                  <a:pt x="152" y="25"/>
                  <a:pt x="152" y="24"/>
                </a:cubicBezTo>
                <a:cubicBezTo>
                  <a:pt x="152" y="23"/>
                  <a:pt x="149" y="24"/>
                  <a:pt x="148" y="24"/>
                </a:cubicBezTo>
                <a:cubicBezTo>
                  <a:pt x="147" y="24"/>
                  <a:pt x="147" y="24"/>
                  <a:pt x="146" y="25"/>
                </a:cubicBezTo>
                <a:cubicBezTo>
                  <a:pt x="145" y="25"/>
                  <a:pt x="143" y="27"/>
                  <a:pt x="144" y="28"/>
                </a:cubicBezTo>
                <a:cubicBezTo>
                  <a:pt x="145" y="28"/>
                  <a:pt x="146" y="28"/>
                  <a:pt x="147" y="29"/>
                </a:cubicBezTo>
                <a:cubicBezTo>
                  <a:pt x="146" y="29"/>
                  <a:pt x="145" y="29"/>
                  <a:pt x="144" y="29"/>
                </a:cubicBezTo>
                <a:cubicBezTo>
                  <a:pt x="145" y="30"/>
                  <a:pt x="145" y="31"/>
                  <a:pt x="145" y="31"/>
                </a:cubicBezTo>
                <a:cubicBezTo>
                  <a:pt x="143" y="30"/>
                  <a:pt x="142" y="30"/>
                  <a:pt x="139" y="29"/>
                </a:cubicBezTo>
                <a:cubicBezTo>
                  <a:pt x="140" y="30"/>
                  <a:pt x="141" y="32"/>
                  <a:pt x="142" y="32"/>
                </a:cubicBezTo>
                <a:cubicBezTo>
                  <a:pt x="143" y="33"/>
                  <a:pt x="144" y="33"/>
                  <a:pt x="144" y="33"/>
                </a:cubicBezTo>
                <a:cubicBezTo>
                  <a:pt x="143" y="34"/>
                  <a:pt x="141" y="34"/>
                  <a:pt x="140" y="33"/>
                </a:cubicBezTo>
                <a:cubicBezTo>
                  <a:pt x="139" y="33"/>
                  <a:pt x="139" y="33"/>
                  <a:pt x="138" y="32"/>
                </a:cubicBezTo>
                <a:cubicBezTo>
                  <a:pt x="138" y="32"/>
                  <a:pt x="138" y="32"/>
                  <a:pt x="138" y="32"/>
                </a:cubicBezTo>
                <a:cubicBezTo>
                  <a:pt x="137" y="31"/>
                  <a:pt x="138" y="31"/>
                  <a:pt x="137" y="30"/>
                </a:cubicBezTo>
                <a:cubicBezTo>
                  <a:pt x="136" y="30"/>
                  <a:pt x="136" y="31"/>
                  <a:pt x="135" y="32"/>
                </a:cubicBezTo>
                <a:cubicBezTo>
                  <a:pt x="135" y="32"/>
                  <a:pt x="134" y="33"/>
                  <a:pt x="134" y="34"/>
                </a:cubicBezTo>
                <a:cubicBezTo>
                  <a:pt x="134" y="35"/>
                  <a:pt x="135" y="34"/>
                  <a:pt x="134" y="35"/>
                </a:cubicBezTo>
                <a:cubicBezTo>
                  <a:pt x="133" y="36"/>
                  <a:pt x="133" y="36"/>
                  <a:pt x="132" y="36"/>
                </a:cubicBezTo>
                <a:cubicBezTo>
                  <a:pt x="132" y="36"/>
                  <a:pt x="131" y="36"/>
                  <a:pt x="131" y="37"/>
                </a:cubicBezTo>
                <a:cubicBezTo>
                  <a:pt x="129" y="38"/>
                  <a:pt x="131" y="40"/>
                  <a:pt x="132" y="41"/>
                </a:cubicBezTo>
                <a:cubicBezTo>
                  <a:pt x="131" y="41"/>
                  <a:pt x="130" y="41"/>
                  <a:pt x="129" y="42"/>
                </a:cubicBezTo>
                <a:cubicBezTo>
                  <a:pt x="130" y="42"/>
                  <a:pt x="132" y="42"/>
                  <a:pt x="132" y="43"/>
                </a:cubicBezTo>
                <a:cubicBezTo>
                  <a:pt x="131" y="43"/>
                  <a:pt x="130" y="42"/>
                  <a:pt x="128" y="42"/>
                </a:cubicBezTo>
                <a:cubicBezTo>
                  <a:pt x="129" y="44"/>
                  <a:pt x="129" y="44"/>
                  <a:pt x="130" y="44"/>
                </a:cubicBezTo>
                <a:cubicBezTo>
                  <a:pt x="128" y="44"/>
                  <a:pt x="127" y="43"/>
                  <a:pt x="124" y="44"/>
                </a:cubicBezTo>
                <a:cubicBezTo>
                  <a:pt x="123" y="45"/>
                  <a:pt x="122" y="45"/>
                  <a:pt x="120" y="46"/>
                </a:cubicBezTo>
                <a:cubicBezTo>
                  <a:pt x="119" y="47"/>
                  <a:pt x="119" y="47"/>
                  <a:pt x="119" y="48"/>
                </a:cubicBezTo>
                <a:cubicBezTo>
                  <a:pt x="122" y="48"/>
                  <a:pt x="124" y="48"/>
                  <a:pt x="126" y="48"/>
                </a:cubicBezTo>
                <a:cubicBezTo>
                  <a:pt x="127" y="48"/>
                  <a:pt x="128" y="47"/>
                  <a:pt x="128" y="47"/>
                </a:cubicBezTo>
                <a:cubicBezTo>
                  <a:pt x="130" y="47"/>
                  <a:pt x="131" y="49"/>
                  <a:pt x="133" y="49"/>
                </a:cubicBezTo>
                <a:cubicBezTo>
                  <a:pt x="132" y="50"/>
                  <a:pt x="127" y="51"/>
                  <a:pt x="128" y="53"/>
                </a:cubicBezTo>
                <a:cubicBezTo>
                  <a:pt x="126" y="52"/>
                  <a:pt x="125" y="51"/>
                  <a:pt x="125" y="50"/>
                </a:cubicBezTo>
                <a:cubicBezTo>
                  <a:pt x="124" y="49"/>
                  <a:pt x="121" y="51"/>
                  <a:pt x="121" y="52"/>
                </a:cubicBezTo>
                <a:cubicBezTo>
                  <a:pt x="119" y="53"/>
                  <a:pt x="121" y="53"/>
                  <a:pt x="122" y="54"/>
                </a:cubicBezTo>
                <a:cubicBezTo>
                  <a:pt x="121" y="53"/>
                  <a:pt x="120" y="53"/>
                  <a:pt x="118" y="52"/>
                </a:cubicBezTo>
                <a:cubicBezTo>
                  <a:pt x="119" y="53"/>
                  <a:pt x="119" y="53"/>
                  <a:pt x="120" y="53"/>
                </a:cubicBezTo>
                <a:cubicBezTo>
                  <a:pt x="119" y="54"/>
                  <a:pt x="118" y="54"/>
                  <a:pt x="117" y="55"/>
                </a:cubicBezTo>
                <a:cubicBezTo>
                  <a:pt x="118" y="54"/>
                  <a:pt x="119" y="54"/>
                  <a:pt x="119" y="54"/>
                </a:cubicBezTo>
                <a:cubicBezTo>
                  <a:pt x="120" y="55"/>
                  <a:pt x="120" y="55"/>
                  <a:pt x="121" y="55"/>
                </a:cubicBezTo>
                <a:cubicBezTo>
                  <a:pt x="120" y="55"/>
                  <a:pt x="119" y="55"/>
                  <a:pt x="118" y="55"/>
                </a:cubicBezTo>
                <a:cubicBezTo>
                  <a:pt x="118" y="56"/>
                  <a:pt x="118" y="56"/>
                  <a:pt x="119" y="56"/>
                </a:cubicBezTo>
                <a:cubicBezTo>
                  <a:pt x="118" y="56"/>
                  <a:pt x="119" y="56"/>
                  <a:pt x="119" y="57"/>
                </a:cubicBezTo>
                <a:cubicBezTo>
                  <a:pt x="118" y="58"/>
                  <a:pt x="119" y="58"/>
                  <a:pt x="118" y="58"/>
                </a:cubicBezTo>
                <a:cubicBezTo>
                  <a:pt x="117" y="58"/>
                  <a:pt x="117" y="58"/>
                  <a:pt x="116" y="58"/>
                </a:cubicBezTo>
                <a:cubicBezTo>
                  <a:pt x="117" y="58"/>
                  <a:pt x="118" y="58"/>
                  <a:pt x="119" y="59"/>
                </a:cubicBezTo>
                <a:cubicBezTo>
                  <a:pt x="117" y="59"/>
                  <a:pt x="116" y="58"/>
                  <a:pt x="116" y="57"/>
                </a:cubicBezTo>
                <a:cubicBezTo>
                  <a:pt x="115" y="56"/>
                  <a:pt x="115" y="54"/>
                  <a:pt x="115" y="53"/>
                </a:cubicBezTo>
                <a:cubicBezTo>
                  <a:pt x="113" y="51"/>
                  <a:pt x="112" y="53"/>
                  <a:pt x="111" y="54"/>
                </a:cubicBezTo>
                <a:cubicBezTo>
                  <a:pt x="111" y="54"/>
                  <a:pt x="109" y="55"/>
                  <a:pt x="110" y="55"/>
                </a:cubicBezTo>
                <a:cubicBezTo>
                  <a:pt x="110" y="54"/>
                  <a:pt x="111" y="53"/>
                  <a:pt x="110" y="53"/>
                </a:cubicBezTo>
                <a:cubicBezTo>
                  <a:pt x="109" y="53"/>
                  <a:pt x="109" y="54"/>
                  <a:pt x="109" y="54"/>
                </a:cubicBezTo>
                <a:cubicBezTo>
                  <a:pt x="109" y="54"/>
                  <a:pt x="108" y="53"/>
                  <a:pt x="108" y="54"/>
                </a:cubicBezTo>
                <a:cubicBezTo>
                  <a:pt x="107" y="54"/>
                  <a:pt x="107" y="55"/>
                  <a:pt x="106" y="55"/>
                </a:cubicBezTo>
                <a:cubicBezTo>
                  <a:pt x="108" y="55"/>
                  <a:pt x="111" y="55"/>
                  <a:pt x="113" y="56"/>
                </a:cubicBezTo>
                <a:cubicBezTo>
                  <a:pt x="111" y="57"/>
                  <a:pt x="109" y="58"/>
                  <a:pt x="108" y="58"/>
                </a:cubicBezTo>
                <a:cubicBezTo>
                  <a:pt x="107" y="58"/>
                  <a:pt x="107" y="58"/>
                  <a:pt x="106" y="58"/>
                </a:cubicBezTo>
                <a:cubicBezTo>
                  <a:pt x="106" y="58"/>
                  <a:pt x="106" y="59"/>
                  <a:pt x="106" y="59"/>
                </a:cubicBezTo>
                <a:cubicBezTo>
                  <a:pt x="105" y="59"/>
                  <a:pt x="105" y="58"/>
                  <a:pt x="105" y="58"/>
                </a:cubicBezTo>
                <a:cubicBezTo>
                  <a:pt x="105" y="58"/>
                  <a:pt x="102" y="58"/>
                  <a:pt x="102" y="59"/>
                </a:cubicBezTo>
                <a:cubicBezTo>
                  <a:pt x="102" y="59"/>
                  <a:pt x="101" y="59"/>
                  <a:pt x="101" y="60"/>
                </a:cubicBezTo>
                <a:cubicBezTo>
                  <a:pt x="101" y="60"/>
                  <a:pt x="102" y="62"/>
                  <a:pt x="101" y="62"/>
                </a:cubicBezTo>
                <a:cubicBezTo>
                  <a:pt x="102" y="61"/>
                  <a:pt x="107" y="60"/>
                  <a:pt x="107" y="59"/>
                </a:cubicBezTo>
                <a:cubicBezTo>
                  <a:pt x="109" y="59"/>
                  <a:pt x="110" y="60"/>
                  <a:pt x="111" y="61"/>
                </a:cubicBezTo>
                <a:cubicBezTo>
                  <a:pt x="109" y="60"/>
                  <a:pt x="107" y="62"/>
                  <a:pt x="105" y="62"/>
                </a:cubicBezTo>
                <a:cubicBezTo>
                  <a:pt x="106" y="62"/>
                  <a:pt x="107" y="63"/>
                  <a:pt x="108" y="63"/>
                </a:cubicBezTo>
                <a:cubicBezTo>
                  <a:pt x="108" y="64"/>
                  <a:pt x="108" y="64"/>
                  <a:pt x="109" y="65"/>
                </a:cubicBezTo>
                <a:cubicBezTo>
                  <a:pt x="109" y="65"/>
                  <a:pt x="111" y="63"/>
                  <a:pt x="112" y="63"/>
                </a:cubicBezTo>
                <a:cubicBezTo>
                  <a:pt x="112" y="64"/>
                  <a:pt x="109" y="66"/>
                  <a:pt x="110" y="66"/>
                </a:cubicBezTo>
                <a:cubicBezTo>
                  <a:pt x="110" y="67"/>
                  <a:pt x="111" y="67"/>
                  <a:pt x="111" y="67"/>
                </a:cubicBezTo>
                <a:cubicBezTo>
                  <a:pt x="109" y="67"/>
                  <a:pt x="107" y="66"/>
                  <a:pt x="105" y="65"/>
                </a:cubicBezTo>
                <a:cubicBezTo>
                  <a:pt x="105" y="65"/>
                  <a:pt x="103" y="65"/>
                  <a:pt x="103" y="65"/>
                </a:cubicBezTo>
                <a:cubicBezTo>
                  <a:pt x="103" y="65"/>
                  <a:pt x="105" y="63"/>
                  <a:pt x="104" y="63"/>
                </a:cubicBezTo>
                <a:cubicBezTo>
                  <a:pt x="102" y="64"/>
                  <a:pt x="101" y="65"/>
                  <a:pt x="100" y="65"/>
                </a:cubicBezTo>
                <a:cubicBezTo>
                  <a:pt x="101" y="66"/>
                  <a:pt x="103" y="66"/>
                  <a:pt x="104" y="66"/>
                </a:cubicBezTo>
                <a:cubicBezTo>
                  <a:pt x="104" y="66"/>
                  <a:pt x="102" y="67"/>
                  <a:pt x="102" y="67"/>
                </a:cubicBezTo>
                <a:cubicBezTo>
                  <a:pt x="101" y="66"/>
                  <a:pt x="100" y="66"/>
                  <a:pt x="100" y="66"/>
                </a:cubicBezTo>
                <a:cubicBezTo>
                  <a:pt x="99" y="67"/>
                  <a:pt x="99" y="67"/>
                  <a:pt x="98" y="68"/>
                </a:cubicBezTo>
                <a:cubicBezTo>
                  <a:pt x="98" y="68"/>
                  <a:pt x="97" y="69"/>
                  <a:pt x="97" y="69"/>
                </a:cubicBezTo>
                <a:cubicBezTo>
                  <a:pt x="99" y="69"/>
                  <a:pt x="101" y="68"/>
                  <a:pt x="104" y="68"/>
                </a:cubicBezTo>
                <a:cubicBezTo>
                  <a:pt x="105" y="68"/>
                  <a:pt x="106" y="69"/>
                  <a:pt x="107" y="69"/>
                </a:cubicBezTo>
                <a:cubicBezTo>
                  <a:pt x="108" y="70"/>
                  <a:pt x="108" y="70"/>
                  <a:pt x="108" y="72"/>
                </a:cubicBezTo>
                <a:cubicBezTo>
                  <a:pt x="108" y="72"/>
                  <a:pt x="108" y="72"/>
                  <a:pt x="108" y="72"/>
                </a:cubicBezTo>
                <a:cubicBezTo>
                  <a:pt x="107" y="70"/>
                  <a:pt x="106" y="70"/>
                  <a:pt x="105" y="70"/>
                </a:cubicBezTo>
                <a:cubicBezTo>
                  <a:pt x="103" y="70"/>
                  <a:pt x="102" y="70"/>
                  <a:pt x="101" y="70"/>
                </a:cubicBezTo>
                <a:cubicBezTo>
                  <a:pt x="99" y="70"/>
                  <a:pt x="98" y="70"/>
                  <a:pt x="97" y="71"/>
                </a:cubicBezTo>
                <a:cubicBezTo>
                  <a:pt x="96" y="71"/>
                  <a:pt x="97" y="71"/>
                  <a:pt x="97" y="72"/>
                </a:cubicBezTo>
                <a:cubicBezTo>
                  <a:pt x="97" y="72"/>
                  <a:pt x="99" y="72"/>
                  <a:pt x="99" y="72"/>
                </a:cubicBezTo>
                <a:cubicBezTo>
                  <a:pt x="98" y="73"/>
                  <a:pt x="96" y="72"/>
                  <a:pt x="95" y="73"/>
                </a:cubicBezTo>
                <a:cubicBezTo>
                  <a:pt x="93" y="73"/>
                  <a:pt x="91" y="74"/>
                  <a:pt x="89" y="74"/>
                </a:cubicBezTo>
                <a:cubicBezTo>
                  <a:pt x="90" y="76"/>
                  <a:pt x="91" y="77"/>
                  <a:pt x="93" y="77"/>
                </a:cubicBezTo>
                <a:cubicBezTo>
                  <a:pt x="91" y="78"/>
                  <a:pt x="89" y="78"/>
                  <a:pt x="87" y="78"/>
                </a:cubicBezTo>
                <a:cubicBezTo>
                  <a:pt x="87" y="79"/>
                  <a:pt x="88" y="79"/>
                  <a:pt x="89" y="79"/>
                </a:cubicBezTo>
                <a:cubicBezTo>
                  <a:pt x="88" y="80"/>
                  <a:pt x="87" y="79"/>
                  <a:pt x="86" y="79"/>
                </a:cubicBezTo>
                <a:cubicBezTo>
                  <a:pt x="88" y="80"/>
                  <a:pt x="86" y="81"/>
                  <a:pt x="87" y="81"/>
                </a:cubicBezTo>
                <a:cubicBezTo>
                  <a:pt x="87" y="82"/>
                  <a:pt x="88" y="81"/>
                  <a:pt x="88" y="81"/>
                </a:cubicBezTo>
                <a:cubicBezTo>
                  <a:pt x="89" y="80"/>
                  <a:pt x="89" y="80"/>
                  <a:pt x="90" y="80"/>
                </a:cubicBezTo>
                <a:cubicBezTo>
                  <a:pt x="91" y="80"/>
                  <a:pt x="90" y="81"/>
                  <a:pt x="90" y="82"/>
                </a:cubicBezTo>
                <a:cubicBezTo>
                  <a:pt x="89" y="82"/>
                  <a:pt x="83" y="81"/>
                  <a:pt x="83" y="82"/>
                </a:cubicBezTo>
                <a:cubicBezTo>
                  <a:pt x="83" y="83"/>
                  <a:pt x="83" y="85"/>
                  <a:pt x="83" y="85"/>
                </a:cubicBezTo>
                <a:cubicBezTo>
                  <a:pt x="84" y="85"/>
                  <a:pt x="85" y="86"/>
                  <a:pt x="86" y="86"/>
                </a:cubicBezTo>
                <a:cubicBezTo>
                  <a:pt x="85" y="86"/>
                  <a:pt x="84" y="87"/>
                  <a:pt x="83" y="87"/>
                </a:cubicBezTo>
                <a:cubicBezTo>
                  <a:pt x="85" y="87"/>
                  <a:pt x="87" y="86"/>
                  <a:pt x="88" y="86"/>
                </a:cubicBezTo>
                <a:cubicBezTo>
                  <a:pt x="90" y="86"/>
                  <a:pt x="93" y="86"/>
                  <a:pt x="94" y="85"/>
                </a:cubicBezTo>
                <a:cubicBezTo>
                  <a:pt x="93" y="86"/>
                  <a:pt x="91" y="88"/>
                  <a:pt x="89" y="88"/>
                </a:cubicBezTo>
                <a:cubicBezTo>
                  <a:pt x="89" y="88"/>
                  <a:pt x="88" y="87"/>
                  <a:pt x="88" y="87"/>
                </a:cubicBezTo>
                <a:cubicBezTo>
                  <a:pt x="87" y="87"/>
                  <a:pt x="86" y="87"/>
                  <a:pt x="86" y="87"/>
                </a:cubicBezTo>
                <a:cubicBezTo>
                  <a:pt x="85" y="88"/>
                  <a:pt x="84" y="88"/>
                  <a:pt x="83" y="88"/>
                </a:cubicBezTo>
                <a:cubicBezTo>
                  <a:pt x="83" y="88"/>
                  <a:pt x="82" y="88"/>
                  <a:pt x="81" y="89"/>
                </a:cubicBezTo>
                <a:cubicBezTo>
                  <a:pt x="80" y="90"/>
                  <a:pt x="82" y="90"/>
                  <a:pt x="83" y="89"/>
                </a:cubicBezTo>
                <a:cubicBezTo>
                  <a:pt x="83" y="90"/>
                  <a:pt x="83" y="91"/>
                  <a:pt x="82" y="91"/>
                </a:cubicBezTo>
                <a:cubicBezTo>
                  <a:pt x="83" y="92"/>
                  <a:pt x="85" y="92"/>
                  <a:pt x="85" y="93"/>
                </a:cubicBezTo>
                <a:cubicBezTo>
                  <a:pt x="83" y="93"/>
                  <a:pt x="83" y="90"/>
                  <a:pt x="81" y="92"/>
                </a:cubicBezTo>
                <a:cubicBezTo>
                  <a:pt x="81" y="92"/>
                  <a:pt x="79" y="94"/>
                  <a:pt x="79" y="95"/>
                </a:cubicBezTo>
                <a:cubicBezTo>
                  <a:pt x="79" y="95"/>
                  <a:pt x="80" y="96"/>
                  <a:pt x="80" y="96"/>
                </a:cubicBezTo>
                <a:cubicBezTo>
                  <a:pt x="78" y="95"/>
                  <a:pt x="78" y="95"/>
                  <a:pt x="77" y="97"/>
                </a:cubicBezTo>
                <a:cubicBezTo>
                  <a:pt x="77" y="99"/>
                  <a:pt x="79" y="99"/>
                  <a:pt x="79" y="99"/>
                </a:cubicBezTo>
                <a:cubicBezTo>
                  <a:pt x="79" y="99"/>
                  <a:pt x="79" y="99"/>
                  <a:pt x="80" y="100"/>
                </a:cubicBezTo>
                <a:cubicBezTo>
                  <a:pt x="80" y="100"/>
                  <a:pt x="80" y="100"/>
                  <a:pt x="80" y="100"/>
                </a:cubicBezTo>
                <a:cubicBezTo>
                  <a:pt x="80" y="100"/>
                  <a:pt x="80" y="101"/>
                  <a:pt x="80" y="101"/>
                </a:cubicBezTo>
                <a:cubicBezTo>
                  <a:pt x="79" y="100"/>
                  <a:pt x="76" y="99"/>
                  <a:pt x="76" y="98"/>
                </a:cubicBezTo>
                <a:cubicBezTo>
                  <a:pt x="75" y="100"/>
                  <a:pt x="74" y="102"/>
                  <a:pt x="74" y="104"/>
                </a:cubicBezTo>
                <a:cubicBezTo>
                  <a:pt x="74" y="103"/>
                  <a:pt x="76" y="101"/>
                  <a:pt x="77" y="103"/>
                </a:cubicBezTo>
                <a:cubicBezTo>
                  <a:pt x="78" y="105"/>
                  <a:pt x="77" y="103"/>
                  <a:pt x="77" y="104"/>
                </a:cubicBezTo>
                <a:cubicBezTo>
                  <a:pt x="76" y="106"/>
                  <a:pt x="79" y="104"/>
                  <a:pt x="80" y="104"/>
                </a:cubicBezTo>
                <a:cubicBezTo>
                  <a:pt x="81" y="103"/>
                  <a:pt x="81" y="103"/>
                  <a:pt x="82" y="102"/>
                </a:cubicBezTo>
                <a:cubicBezTo>
                  <a:pt x="81" y="104"/>
                  <a:pt x="79" y="104"/>
                  <a:pt x="77" y="106"/>
                </a:cubicBezTo>
                <a:cubicBezTo>
                  <a:pt x="78" y="106"/>
                  <a:pt x="78" y="106"/>
                  <a:pt x="78" y="106"/>
                </a:cubicBezTo>
                <a:cubicBezTo>
                  <a:pt x="77" y="106"/>
                  <a:pt x="76" y="106"/>
                  <a:pt x="75" y="106"/>
                </a:cubicBezTo>
                <a:cubicBezTo>
                  <a:pt x="76" y="106"/>
                  <a:pt x="77" y="105"/>
                  <a:pt x="75" y="104"/>
                </a:cubicBezTo>
                <a:cubicBezTo>
                  <a:pt x="74" y="103"/>
                  <a:pt x="71" y="106"/>
                  <a:pt x="71" y="107"/>
                </a:cubicBezTo>
                <a:cubicBezTo>
                  <a:pt x="71" y="107"/>
                  <a:pt x="72" y="106"/>
                  <a:pt x="72" y="106"/>
                </a:cubicBezTo>
                <a:cubicBezTo>
                  <a:pt x="70" y="108"/>
                  <a:pt x="67" y="110"/>
                  <a:pt x="65" y="112"/>
                </a:cubicBezTo>
                <a:cubicBezTo>
                  <a:pt x="67" y="111"/>
                  <a:pt x="68" y="111"/>
                  <a:pt x="69" y="110"/>
                </a:cubicBezTo>
                <a:cubicBezTo>
                  <a:pt x="69" y="110"/>
                  <a:pt x="69" y="110"/>
                  <a:pt x="70" y="109"/>
                </a:cubicBezTo>
                <a:cubicBezTo>
                  <a:pt x="70" y="109"/>
                  <a:pt x="71" y="109"/>
                  <a:pt x="71" y="109"/>
                </a:cubicBezTo>
                <a:cubicBezTo>
                  <a:pt x="72" y="109"/>
                  <a:pt x="72" y="108"/>
                  <a:pt x="73" y="108"/>
                </a:cubicBezTo>
                <a:cubicBezTo>
                  <a:pt x="72" y="108"/>
                  <a:pt x="70" y="109"/>
                  <a:pt x="69" y="110"/>
                </a:cubicBezTo>
                <a:cubicBezTo>
                  <a:pt x="70" y="111"/>
                  <a:pt x="70" y="111"/>
                  <a:pt x="71" y="111"/>
                </a:cubicBezTo>
                <a:cubicBezTo>
                  <a:pt x="70" y="111"/>
                  <a:pt x="68" y="112"/>
                  <a:pt x="67" y="112"/>
                </a:cubicBezTo>
                <a:cubicBezTo>
                  <a:pt x="68" y="113"/>
                  <a:pt x="69" y="114"/>
                  <a:pt x="70" y="114"/>
                </a:cubicBezTo>
                <a:cubicBezTo>
                  <a:pt x="68" y="115"/>
                  <a:pt x="65" y="117"/>
                  <a:pt x="69" y="116"/>
                </a:cubicBezTo>
                <a:cubicBezTo>
                  <a:pt x="67" y="117"/>
                  <a:pt x="66" y="118"/>
                  <a:pt x="65" y="119"/>
                </a:cubicBezTo>
                <a:cubicBezTo>
                  <a:pt x="65" y="117"/>
                  <a:pt x="66" y="117"/>
                  <a:pt x="65" y="116"/>
                </a:cubicBezTo>
                <a:cubicBezTo>
                  <a:pt x="64" y="116"/>
                  <a:pt x="63" y="115"/>
                  <a:pt x="61" y="116"/>
                </a:cubicBezTo>
                <a:cubicBezTo>
                  <a:pt x="60" y="117"/>
                  <a:pt x="59" y="117"/>
                  <a:pt x="57" y="118"/>
                </a:cubicBezTo>
                <a:cubicBezTo>
                  <a:pt x="57" y="119"/>
                  <a:pt x="54" y="120"/>
                  <a:pt x="56" y="121"/>
                </a:cubicBezTo>
                <a:cubicBezTo>
                  <a:pt x="55" y="122"/>
                  <a:pt x="53" y="123"/>
                  <a:pt x="52" y="125"/>
                </a:cubicBezTo>
                <a:cubicBezTo>
                  <a:pt x="53" y="124"/>
                  <a:pt x="53" y="124"/>
                  <a:pt x="54" y="124"/>
                </a:cubicBezTo>
                <a:cubicBezTo>
                  <a:pt x="53" y="125"/>
                  <a:pt x="53" y="125"/>
                  <a:pt x="52" y="125"/>
                </a:cubicBezTo>
                <a:cubicBezTo>
                  <a:pt x="52" y="125"/>
                  <a:pt x="53" y="125"/>
                  <a:pt x="53" y="125"/>
                </a:cubicBezTo>
                <a:cubicBezTo>
                  <a:pt x="51" y="126"/>
                  <a:pt x="50" y="127"/>
                  <a:pt x="48" y="128"/>
                </a:cubicBezTo>
                <a:cubicBezTo>
                  <a:pt x="50" y="129"/>
                  <a:pt x="51" y="128"/>
                  <a:pt x="53" y="128"/>
                </a:cubicBezTo>
                <a:cubicBezTo>
                  <a:pt x="52" y="129"/>
                  <a:pt x="51" y="129"/>
                  <a:pt x="51" y="130"/>
                </a:cubicBezTo>
                <a:cubicBezTo>
                  <a:pt x="51" y="131"/>
                  <a:pt x="51" y="131"/>
                  <a:pt x="51" y="131"/>
                </a:cubicBezTo>
                <a:cubicBezTo>
                  <a:pt x="52" y="132"/>
                  <a:pt x="52" y="132"/>
                  <a:pt x="53" y="132"/>
                </a:cubicBezTo>
                <a:cubicBezTo>
                  <a:pt x="55" y="131"/>
                  <a:pt x="58" y="130"/>
                  <a:pt x="60" y="129"/>
                </a:cubicBezTo>
                <a:cubicBezTo>
                  <a:pt x="60" y="129"/>
                  <a:pt x="61" y="128"/>
                  <a:pt x="62" y="128"/>
                </a:cubicBezTo>
                <a:cubicBezTo>
                  <a:pt x="63" y="127"/>
                  <a:pt x="63" y="127"/>
                  <a:pt x="62" y="125"/>
                </a:cubicBezTo>
                <a:cubicBezTo>
                  <a:pt x="61" y="126"/>
                  <a:pt x="60" y="127"/>
                  <a:pt x="59" y="127"/>
                </a:cubicBezTo>
                <a:cubicBezTo>
                  <a:pt x="61" y="126"/>
                  <a:pt x="63" y="124"/>
                  <a:pt x="65" y="123"/>
                </a:cubicBezTo>
                <a:cubicBezTo>
                  <a:pt x="67" y="122"/>
                  <a:pt x="66" y="123"/>
                  <a:pt x="67" y="124"/>
                </a:cubicBezTo>
                <a:cubicBezTo>
                  <a:pt x="66" y="124"/>
                  <a:pt x="65" y="125"/>
                  <a:pt x="64" y="126"/>
                </a:cubicBezTo>
                <a:cubicBezTo>
                  <a:pt x="64" y="126"/>
                  <a:pt x="66" y="126"/>
                  <a:pt x="67" y="127"/>
                </a:cubicBezTo>
                <a:cubicBezTo>
                  <a:pt x="65" y="129"/>
                  <a:pt x="61" y="129"/>
                  <a:pt x="59" y="131"/>
                </a:cubicBezTo>
                <a:cubicBezTo>
                  <a:pt x="60" y="131"/>
                  <a:pt x="60" y="131"/>
                  <a:pt x="61" y="130"/>
                </a:cubicBezTo>
                <a:cubicBezTo>
                  <a:pt x="60" y="132"/>
                  <a:pt x="60" y="132"/>
                  <a:pt x="61" y="133"/>
                </a:cubicBezTo>
                <a:cubicBezTo>
                  <a:pt x="57" y="133"/>
                  <a:pt x="54" y="134"/>
                  <a:pt x="51" y="135"/>
                </a:cubicBezTo>
                <a:cubicBezTo>
                  <a:pt x="51" y="134"/>
                  <a:pt x="52" y="133"/>
                  <a:pt x="51" y="132"/>
                </a:cubicBezTo>
                <a:cubicBezTo>
                  <a:pt x="51" y="132"/>
                  <a:pt x="50" y="130"/>
                  <a:pt x="49" y="130"/>
                </a:cubicBezTo>
                <a:cubicBezTo>
                  <a:pt x="48" y="130"/>
                  <a:pt x="45" y="131"/>
                  <a:pt x="44" y="132"/>
                </a:cubicBezTo>
                <a:cubicBezTo>
                  <a:pt x="45" y="133"/>
                  <a:pt x="46" y="133"/>
                  <a:pt x="47" y="132"/>
                </a:cubicBezTo>
                <a:cubicBezTo>
                  <a:pt x="46" y="133"/>
                  <a:pt x="44" y="134"/>
                  <a:pt x="43" y="136"/>
                </a:cubicBezTo>
                <a:cubicBezTo>
                  <a:pt x="43" y="134"/>
                  <a:pt x="44" y="135"/>
                  <a:pt x="43" y="133"/>
                </a:cubicBezTo>
                <a:cubicBezTo>
                  <a:pt x="42" y="132"/>
                  <a:pt x="41" y="133"/>
                  <a:pt x="40" y="133"/>
                </a:cubicBezTo>
                <a:cubicBezTo>
                  <a:pt x="39" y="133"/>
                  <a:pt x="38" y="135"/>
                  <a:pt x="37" y="135"/>
                </a:cubicBezTo>
                <a:cubicBezTo>
                  <a:pt x="38" y="136"/>
                  <a:pt x="39" y="136"/>
                  <a:pt x="40" y="137"/>
                </a:cubicBezTo>
                <a:cubicBezTo>
                  <a:pt x="39" y="137"/>
                  <a:pt x="34" y="137"/>
                  <a:pt x="34" y="138"/>
                </a:cubicBezTo>
                <a:cubicBezTo>
                  <a:pt x="34" y="140"/>
                  <a:pt x="36" y="140"/>
                  <a:pt x="37" y="140"/>
                </a:cubicBezTo>
                <a:cubicBezTo>
                  <a:pt x="38" y="140"/>
                  <a:pt x="39" y="141"/>
                  <a:pt x="39" y="142"/>
                </a:cubicBezTo>
                <a:cubicBezTo>
                  <a:pt x="39" y="143"/>
                  <a:pt x="39" y="143"/>
                  <a:pt x="38" y="142"/>
                </a:cubicBezTo>
                <a:cubicBezTo>
                  <a:pt x="38" y="142"/>
                  <a:pt x="37" y="142"/>
                  <a:pt x="36" y="142"/>
                </a:cubicBezTo>
                <a:cubicBezTo>
                  <a:pt x="35" y="141"/>
                  <a:pt x="33" y="136"/>
                  <a:pt x="31" y="140"/>
                </a:cubicBezTo>
                <a:cubicBezTo>
                  <a:pt x="31" y="140"/>
                  <a:pt x="31" y="140"/>
                  <a:pt x="32" y="139"/>
                </a:cubicBezTo>
                <a:cubicBezTo>
                  <a:pt x="33" y="141"/>
                  <a:pt x="35" y="143"/>
                  <a:pt x="37" y="144"/>
                </a:cubicBezTo>
                <a:cubicBezTo>
                  <a:pt x="37" y="144"/>
                  <a:pt x="37" y="145"/>
                  <a:pt x="37" y="145"/>
                </a:cubicBezTo>
                <a:cubicBezTo>
                  <a:pt x="36" y="144"/>
                  <a:pt x="34" y="143"/>
                  <a:pt x="33" y="142"/>
                </a:cubicBezTo>
                <a:cubicBezTo>
                  <a:pt x="31" y="141"/>
                  <a:pt x="30" y="141"/>
                  <a:pt x="28" y="141"/>
                </a:cubicBezTo>
                <a:cubicBezTo>
                  <a:pt x="27" y="141"/>
                  <a:pt x="27" y="142"/>
                  <a:pt x="26" y="141"/>
                </a:cubicBezTo>
                <a:cubicBezTo>
                  <a:pt x="26" y="141"/>
                  <a:pt x="25" y="140"/>
                  <a:pt x="24" y="140"/>
                </a:cubicBezTo>
                <a:cubicBezTo>
                  <a:pt x="23" y="140"/>
                  <a:pt x="22" y="141"/>
                  <a:pt x="21" y="142"/>
                </a:cubicBezTo>
                <a:cubicBezTo>
                  <a:pt x="21" y="142"/>
                  <a:pt x="22" y="142"/>
                  <a:pt x="22" y="142"/>
                </a:cubicBezTo>
                <a:cubicBezTo>
                  <a:pt x="23" y="143"/>
                  <a:pt x="23" y="142"/>
                  <a:pt x="24" y="143"/>
                </a:cubicBezTo>
                <a:cubicBezTo>
                  <a:pt x="23" y="143"/>
                  <a:pt x="22" y="144"/>
                  <a:pt x="22" y="144"/>
                </a:cubicBezTo>
                <a:cubicBezTo>
                  <a:pt x="24" y="144"/>
                  <a:pt x="26" y="145"/>
                  <a:pt x="28" y="145"/>
                </a:cubicBezTo>
                <a:cubicBezTo>
                  <a:pt x="30" y="145"/>
                  <a:pt x="31" y="144"/>
                  <a:pt x="33" y="144"/>
                </a:cubicBezTo>
                <a:cubicBezTo>
                  <a:pt x="33" y="145"/>
                  <a:pt x="27" y="145"/>
                  <a:pt x="26" y="146"/>
                </a:cubicBezTo>
                <a:cubicBezTo>
                  <a:pt x="25" y="147"/>
                  <a:pt x="30" y="147"/>
                  <a:pt x="30" y="147"/>
                </a:cubicBezTo>
                <a:cubicBezTo>
                  <a:pt x="28" y="147"/>
                  <a:pt x="28" y="148"/>
                  <a:pt x="26" y="147"/>
                </a:cubicBezTo>
                <a:cubicBezTo>
                  <a:pt x="25" y="147"/>
                  <a:pt x="25" y="146"/>
                  <a:pt x="24" y="146"/>
                </a:cubicBezTo>
                <a:cubicBezTo>
                  <a:pt x="22" y="146"/>
                  <a:pt x="21" y="146"/>
                  <a:pt x="20" y="146"/>
                </a:cubicBezTo>
                <a:cubicBezTo>
                  <a:pt x="19" y="146"/>
                  <a:pt x="14" y="147"/>
                  <a:pt x="14" y="147"/>
                </a:cubicBezTo>
                <a:cubicBezTo>
                  <a:pt x="15" y="148"/>
                  <a:pt x="18" y="148"/>
                  <a:pt x="18" y="148"/>
                </a:cubicBezTo>
                <a:cubicBezTo>
                  <a:pt x="17" y="148"/>
                  <a:pt x="16" y="148"/>
                  <a:pt x="16" y="148"/>
                </a:cubicBezTo>
                <a:cubicBezTo>
                  <a:pt x="16" y="149"/>
                  <a:pt x="17" y="149"/>
                  <a:pt x="18" y="148"/>
                </a:cubicBezTo>
                <a:cubicBezTo>
                  <a:pt x="19" y="148"/>
                  <a:pt x="20" y="149"/>
                  <a:pt x="21" y="149"/>
                </a:cubicBezTo>
                <a:cubicBezTo>
                  <a:pt x="22" y="150"/>
                  <a:pt x="21" y="151"/>
                  <a:pt x="22" y="151"/>
                </a:cubicBezTo>
                <a:cubicBezTo>
                  <a:pt x="23" y="151"/>
                  <a:pt x="24" y="151"/>
                  <a:pt x="25" y="152"/>
                </a:cubicBezTo>
                <a:cubicBezTo>
                  <a:pt x="24" y="152"/>
                  <a:pt x="22" y="151"/>
                  <a:pt x="22" y="152"/>
                </a:cubicBezTo>
                <a:cubicBezTo>
                  <a:pt x="22" y="154"/>
                  <a:pt x="22" y="153"/>
                  <a:pt x="24" y="154"/>
                </a:cubicBezTo>
                <a:cubicBezTo>
                  <a:pt x="23" y="154"/>
                  <a:pt x="22" y="154"/>
                  <a:pt x="21" y="154"/>
                </a:cubicBezTo>
                <a:cubicBezTo>
                  <a:pt x="22" y="153"/>
                  <a:pt x="22" y="152"/>
                  <a:pt x="21" y="151"/>
                </a:cubicBezTo>
                <a:cubicBezTo>
                  <a:pt x="21" y="151"/>
                  <a:pt x="21" y="150"/>
                  <a:pt x="21" y="149"/>
                </a:cubicBezTo>
                <a:cubicBezTo>
                  <a:pt x="20" y="149"/>
                  <a:pt x="19" y="149"/>
                  <a:pt x="19" y="149"/>
                </a:cubicBezTo>
                <a:cubicBezTo>
                  <a:pt x="18" y="149"/>
                  <a:pt x="16" y="149"/>
                  <a:pt x="16" y="150"/>
                </a:cubicBezTo>
                <a:cubicBezTo>
                  <a:pt x="16" y="151"/>
                  <a:pt x="18" y="152"/>
                  <a:pt x="18" y="153"/>
                </a:cubicBezTo>
                <a:cubicBezTo>
                  <a:pt x="17" y="154"/>
                  <a:pt x="16" y="151"/>
                  <a:pt x="16" y="151"/>
                </a:cubicBezTo>
                <a:cubicBezTo>
                  <a:pt x="15" y="150"/>
                  <a:pt x="15" y="150"/>
                  <a:pt x="14" y="151"/>
                </a:cubicBezTo>
                <a:cubicBezTo>
                  <a:pt x="13" y="151"/>
                  <a:pt x="12" y="151"/>
                  <a:pt x="12" y="152"/>
                </a:cubicBezTo>
                <a:cubicBezTo>
                  <a:pt x="11" y="153"/>
                  <a:pt x="12" y="153"/>
                  <a:pt x="13" y="154"/>
                </a:cubicBezTo>
                <a:cubicBezTo>
                  <a:pt x="11" y="153"/>
                  <a:pt x="11" y="155"/>
                  <a:pt x="10" y="156"/>
                </a:cubicBezTo>
                <a:cubicBezTo>
                  <a:pt x="11" y="155"/>
                  <a:pt x="10" y="154"/>
                  <a:pt x="10" y="153"/>
                </a:cubicBezTo>
                <a:cubicBezTo>
                  <a:pt x="8" y="154"/>
                  <a:pt x="8" y="154"/>
                  <a:pt x="7" y="153"/>
                </a:cubicBezTo>
                <a:cubicBezTo>
                  <a:pt x="7" y="153"/>
                  <a:pt x="6" y="153"/>
                  <a:pt x="6" y="153"/>
                </a:cubicBezTo>
                <a:cubicBezTo>
                  <a:pt x="5" y="154"/>
                  <a:pt x="6" y="155"/>
                  <a:pt x="6" y="156"/>
                </a:cubicBezTo>
                <a:cubicBezTo>
                  <a:pt x="6" y="155"/>
                  <a:pt x="5" y="153"/>
                  <a:pt x="4" y="152"/>
                </a:cubicBezTo>
                <a:cubicBezTo>
                  <a:pt x="2" y="152"/>
                  <a:pt x="5" y="155"/>
                  <a:pt x="6" y="155"/>
                </a:cubicBezTo>
                <a:cubicBezTo>
                  <a:pt x="5" y="156"/>
                  <a:pt x="4" y="156"/>
                  <a:pt x="3" y="157"/>
                </a:cubicBezTo>
                <a:cubicBezTo>
                  <a:pt x="6" y="157"/>
                  <a:pt x="8" y="157"/>
                  <a:pt x="11" y="158"/>
                </a:cubicBezTo>
                <a:cubicBezTo>
                  <a:pt x="13" y="158"/>
                  <a:pt x="15" y="158"/>
                  <a:pt x="18" y="158"/>
                </a:cubicBezTo>
                <a:cubicBezTo>
                  <a:pt x="15" y="158"/>
                  <a:pt x="13" y="159"/>
                  <a:pt x="11" y="160"/>
                </a:cubicBezTo>
                <a:cubicBezTo>
                  <a:pt x="10" y="159"/>
                  <a:pt x="11" y="159"/>
                  <a:pt x="11" y="158"/>
                </a:cubicBezTo>
                <a:cubicBezTo>
                  <a:pt x="10" y="158"/>
                  <a:pt x="9" y="158"/>
                  <a:pt x="9" y="158"/>
                </a:cubicBezTo>
                <a:cubicBezTo>
                  <a:pt x="8" y="158"/>
                  <a:pt x="6" y="157"/>
                  <a:pt x="6" y="157"/>
                </a:cubicBezTo>
                <a:cubicBezTo>
                  <a:pt x="5" y="157"/>
                  <a:pt x="5" y="158"/>
                  <a:pt x="4" y="158"/>
                </a:cubicBezTo>
                <a:cubicBezTo>
                  <a:pt x="3" y="158"/>
                  <a:pt x="1" y="158"/>
                  <a:pt x="0" y="158"/>
                </a:cubicBezTo>
                <a:cubicBezTo>
                  <a:pt x="0" y="158"/>
                  <a:pt x="1" y="159"/>
                  <a:pt x="1" y="159"/>
                </a:cubicBezTo>
                <a:cubicBezTo>
                  <a:pt x="1" y="159"/>
                  <a:pt x="3" y="159"/>
                  <a:pt x="4" y="158"/>
                </a:cubicBezTo>
                <a:cubicBezTo>
                  <a:pt x="3" y="159"/>
                  <a:pt x="2" y="160"/>
                  <a:pt x="1" y="161"/>
                </a:cubicBezTo>
                <a:cubicBezTo>
                  <a:pt x="2" y="161"/>
                  <a:pt x="4" y="161"/>
                  <a:pt x="5" y="162"/>
                </a:cubicBezTo>
                <a:cubicBezTo>
                  <a:pt x="4" y="162"/>
                  <a:pt x="3" y="162"/>
                  <a:pt x="2" y="162"/>
                </a:cubicBezTo>
                <a:cubicBezTo>
                  <a:pt x="3" y="162"/>
                  <a:pt x="5" y="162"/>
                  <a:pt x="6" y="162"/>
                </a:cubicBezTo>
                <a:cubicBezTo>
                  <a:pt x="5" y="162"/>
                  <a:pt x="4" y="162"/>
                  <a:pt x="4" y="162"/>
                </a:cubicBezTo>
                <a:cubicBezTo>
                  <a:pt x="4" y="162"/>
                  <a:pt x="5" y="163"/>
                  <a:pt x="5" y="163"/>
                </a:cubicBezTo>
                <a:cubicBezTo>
                  <a:pt x="5" y="163"/>
                  <a:pt x="5" y="164"/>
                  <a:pt x="4" y="164"/>
                </a:cubicBezTo>
                <a:cubicBezTo>
                  <a:pt x="6" y="164"/>
                  <a:pt x="8" y="164"/>
                  <a:pt x="9" y="164"/>
                </a:cubicBezTo>
                <a:cubicBezTo>
                  <a:pt x="8" y="164"/>
                  <a:pt x="4" y="164"/>
                  <a:pt x="2" y="165"/>
                </a:cubicBezTo>
                <a:cubicBezTo>
                  <a:pt x="3" y="165"/>
                  <a:pt x="3" y="166"/>
                  <a:pt x="2" y="166"/>
                </a:cubicBezTo>
                <a:cubicBezTo>
                  <a:pt x="4" y="166"/>
                  <a:pt x="6" y="165"/>
                  <a:pt x="8" y="166"/>
                </a:cubicBezTo>
                <a:cubicBezTo>
                  <a:pt x="6" y="166"/>
                  <a:pt x="2" y="166"/>
                  <a:pt x="2" y="168"/>
                </a:cubicBezTo>
                <a:cubicBezTo>
                  <a:pt x="3" y="168"/>
                  <a:pt x="4" y="170"/>
                  <a:pt x="6" y="170"/>
                </a:cubicBezTo>
                <a:cubicBezTo>
                  <a:pt x="8" y="170"/>
                  <a:pt x="10" y="169"/>
                  <a:pt x="12" y="169"/>
                </a:cubicBezTo>
                <a:cubicBezTo>
                  <a:pt x="13" y="169"/>
                  <a:pt x="15" y="170"/>
                  <a:pt x="16" y="170"/>
                </a:cubicBezTo>
                <a:cubicBezTo>
                  <a:pt x="17" y="169"/>
                  <a:pt x="17" y="168"/>
                  <a:pt x="18" y="168"/>
                </a:cubicBezTo>
                <a:cubicBezTo>
                  <a:pt x="18" y="168"/>
                  <a:pt x="19" y="168"/>
                  <a:pt x="20" y="169"/>
                </a:cubicBezTo>
                <a:cubicBezTo>
                  <a:pt x="22" y="169"/>
                  <a:pt x="24" y="169"/>
                  <a:pt x="26" y="169"/>
                </a:cubicBezTo>
                <a:cubicBezTo>
                  <a:pt x="25" y="168"/>
                  <a:pt x="24" y="167"/>
                  <a:pt x="24" y="167"/>
                </a:cubicBezTo>
                <a:cubicBezTo>
                  <a:pt x="25" y="166"/>
                  <a:pt x="25" y="166"/>
                  <a:pt x="25" y="165"/>
                </a:cubicBezTo>
                <a:cubicBezTo>
                  <a:pt x="26" y="166"/>
                  <a:pt x="27" y="165"/>
                  <a:pt x="28" y="164"/>
                </a:cubicBezTo>
                <a:cubicBezTo>
                  <a:pt x="27" y="165"/>
                  <a:pt x="24" y="167"/>
                  <a:pt x="26" y="168"/>
                </a:cubicBezTo>
                <a:cubicBezTo>
                  <a:pt x="26" y="169"/>
                  <a:pt x="28" y="168"/>
                  <a:pt x="29" y="168"/>
                </a:cubicBezTo>
                <a:cubicBezTo>
                  <a:pt x="27" y="168"/>
                  <a:pt x="26" y="169"/>
                  <a:pt x="25" y="169"/>
                </a:cubicBezTo>
                <a:cubicBezTo>
                  <a:pt x="23" y="170"/>
                  <a:pt x="22" y="170"/>
                  <a:pt x="23" y="172"/>
                </a:cubicBezTo>
                <a:cubicBezTo>
                  <a:pt x="23" y="172"/>
                  <a:pt x="24" y="172"/>
                  <a:pt x="23" y="173"/>
                </a:cubicBezTo>
                <a:cubicBezTo>
                  <a:pt x="22" y="173"/>
                  <a:pt x="21" y="172"/>
                  <a:pt x="21" y="173"/>
                </a:cubicBezTo>
                <a:cubicBezTo>
                  <a:pt x="21" y="172"/>
                  <a:pt x="21" y="172"/>
                  <a:pt x="22" y="171"/>
                </a:cubicBezTo>
                <a:cubicBezTo>
                  <a:pt x="21" y="171"/>
                  <a:pt x="19" y="169"/>
                  <a:pt x="18" y="169"/>
                </a:cubicBezTo>
                <a:cubicBezTo>
                  <a:pt x="17" y="170"/>
                  <a:pt x="16" y="170"/>
                  <a:pt x="16" y="171"/>
                </a:cubicBezTo>
                <a:cubicBezTo>
                  <a:pt x="14" y="171"/>
                  <a:pt x="14" y="170"/>
                  <a:pt x="12" y="170"/>
                </a:cubicBezTo>
                <a:cubicBezTo>
                  <a:pt x="10" y="170"/>
                  <a:pt x="8" y="170"/>
                  <a:pt x="6" y="170"/>
                </a:cubicBezTo>
                <a:cubicBezTo>
                  <a:pt x="5" y="170"/>
                  <a:pt x="4" y="170"/>
                  <a:pt x="3" y="170"/>
                </a:cubicBezTo>
                <a:cubicBezTo>
                  <a:pt x="2" y="171"/>
                  <a:pt x="3" y="172"/>
                  <a:pt x="4" y="172"/>
                </a:cubicBezTo>
                <a:cubicBezTo>
                  <a:pt x="3" y="172"/>
                  <a:pt x="3" y="173"/>
                  <a:pt x="2" y="173"/>
                </a:cubicBezTo>
                <a:cubicBezTo>
                  <a:pt x="2" y="173"/>
                  <a:pt x="2" y="173"/>
                  <a:pt x="1" y="172"/>
                </a:cubicBezTo>
                <a:cubicBezTo>
                  <a:pt x="2" y="174"/>
                  <a:pt x="2" y="174"/>
                  <a:pt x="4" y="174"/>
                </a:cubicBezTo>
                <a:cubicBezTo>
                  <a:pt x="5" y="174"/>
                  <a:pt x="5" y="173"/>
                  <a:pt x="6" y="173"/>
                </a:cubicBezTo>
                <a:cubicBezTo>
                  <a:pt x="4" y="174"/>
                  <a:pt x="4" y="175"/>
                  <a:pt x="6" y="176"/>
                </a:cubicBezTo>
                <a:cubicBezTo>
                  <a:pt x="5" y="176"/>
                  <a:pt x="2" y="178"/>
                  <a:pt x="4" y="178"/>
                </a:cubicBezTo>
                <a:cubicBezTo>
                  <a:pt x="6" y="178"/>
                  <a:pt x="7" y="175"/>
                  <a:pt x="9" y="176"/>
                </a:cubicBezTo>
                <a:cubicBezTo>
                  <a:pt x="9" y="177"/>
                  <a:pt x="8" y="178"/>
                  <a:pt x="8" y="179"/>
                </a:cubicBezTo>
                <a:cubicBezTo>
                  <a:pt x="8" y="180"/>
                  <a:pt x="7" y="180"/>
                  <a:pt x="6" y="180"/>
                </a:cubicBezTo>
                <a:cubicBezTo>
                  <a:pt x="6" y="180"/>
                  <a:pt x="5" y="178"/>
                  <a:pt x="4" y="179"/>
                </a:cubicBezTo>
                <a:cubicBezTo>
                  <a:pt x="3" y="181"/>
                  <a:pt x="3" y="181"/>
                  <a:pt x="4" y="183"/>
                </a:cubicBezTo>
                <a:cubicBezTo>
                  <a:pt x="5" y="184"/>
                  <a:pt x="5" y="185"/>
                  <a:pt x="6" y="184"/>
                </a:cubicBezTo>
                <a:cubicBezTo>
                  <a:pt x="7" y="184"/>
                  <a:pt x="7" y="182"/>
                  <a:pt x="8" y="182"/>
                </a:cubicBezTo>
                <a:cubicBezTo>
                  <a:pt x="8" y="182"/>
                  <a:pt x="7" y="184"/>
                  <a:pt x="7" y="184"/>
                </a:cubicBezTo>
                <a:cubicBezTo>
                  <a:pt x="8" y="184"/>
                  <a:pt x="9" y="184"/>
                  <a:pt x="10" y="184"/>
                </a:cubicBezTo>
                <a:cubicBezTo>
                  <a:pt x="10" y="184"/>
                  <a:pt x="8" y="188"/>
                  <a:pt x="10" y="187"/>
                </a:cubicBezTo>
                <a:cubicBezTo>
                  <a:pt x="10" y="187"/>
                  <a:pt x="10" y="185"/>
                  <a:pt x="10" y="185"/>
                </a:cubicBezTo>
                <a:cubicBezTo>
                  <a:pt x="11" y="184"/>
                  <a:pt x="12" y="184"/>
                  <a:pt x="12" y="184"/>
                </a:cubicBezTo>
                <a:cubicBezTo>
                  <a:pt x="14" y="182"/>
                  <a:pt x="15" y="180"/>
                  <a:pt x="18" y="180"/>
                </a:cubicBezTo>
                <a:cubicBezTo>
                  <a:pt x="19" y="179"/>
                  <a:pt x="21" y="179"/>
                  <a:pt x="23" y="179"/>
                </a:cubicBezTo>
                <a:cubicBezTo>
                  <a:pt x="21" y="180"/>
                  <a:pt x="20" y="179"/>
                  <a:pt x="19" y="181"/>
                </a:cubicBezTo>
                <a:cubicBezTo>
                  <a:pt x="18" y="182"/>
                  <a:pt x="18" y="184"/>
                  <a:pt x="17" y="185"/>
                </a:cubicBezTo>
                <a:cubicBezTo>
                  <a:pt x="17" y="184"/>
                  <a:pt x="18" y="182"/>
                  <a:pt x="18" y="181"/>
                </a:cubicBezTo>
                <a:cubicBezTo>
                  <a:pt x="16" y="181"/>
                  <a:pt x="15" y="182"/>
                  <a:pt x="13" y="183"/>
                </a:cubicBezTo>
                <a:cubicBezTo>
                  <a:pt x="13" y="183"/>
                  <a:pt x="12" y="184"/>
                  <a:pt x="13" y="185"/>
                </a:cubicBezTo>
                <a:cubicBezTo>
                  <a:pt x="14" y="185"/>
                  <a:pt x="14" y="185"/>
                  <a:pt x="14" y="185"/>
                </a:cubicBezTo>
                <a:cubicBezTo>
                  <a:pt x="15" y="184"/>
                  <a:pt x="15" y="185"/>
                  <a:pt x="14" y="185"/>
                </a:cubicBezTo>
                <a:cubicBezTo>
                  <a:pt x="13" y="186"/>
                  <a:pt x="12" y="186"/>
                  <a:pt x="11" y="187"/>
                </a:cubicBezTo>
                <a:cubicBezTo>
                  <a:pt x="11" y="187"/>
                  <a:pt x="11" y="187"/>
                  <a:pt x="11" y="188"/>
                </a:cubicBezTo>
                <a:cubicBezTo>
                  <a:pt x="11" y="188"/>
                  <a:pt x="10" y="188"/>
                  <a:pt x="10" y="188"/>
                </a:cubicBezTo>
                <a:cubicBezTo>
                  <a:pt x="9" y="189"/>
                  <a:pt x="9" y="189"/>
                  <a:pt x="8" y="189"/>
                </a:cubicBezTo>
                <a:cubicBezTo>
                  <a:pt x="9" y="190"/>
                  <a:pt x="9" y="190"/>
                  <a:pt x="9" y="190"/>
                </a:cubicBezTo>
                <a:cubicBezTo>
                  <a:pt x="10" y="190"/>
                  <a:pt x="11" y="190"/>
                  <a:pt x="12" y="190"/>
                </a:cubicBezTo>
                <a:cubicBezTo>
                  <a:pt x="11" y="191"/>
                  <a:pt x="10" y="191"/>
                  <a:pt x="10" y="192"/>
                </a:cubicBezTo>
                <a:cubicBezTo>
                  <a:pt x="10" y="193"/>
                  <a:pt x="9" y="193"/>
                  <a:pt x="9" y="193"/>
                </a:cubicBezTo>
                <a:cubicBezTo>
                  <a:pt x="9" y="193"/>
                  <a:pt x="8" y="192"/>
                  <a:pt x="7" y="192"/>
                </a:cubicBezTo>
                <a:cubicBezTo>
                  <a:pt x="7" y="192"/>
                  <a:pt x="7" y="194"/>
                  <a:pt x="6" y="194"/>
                </a:cubicBezTo>
                <a:cubicBezTo>
                  <a:pt x="6" y="195"/>
                  <a:pt x="5" y="194"/>
                  <a:pt x="5" y="194"/>
                </a:cubicBezTo>
                <a:cubicBezTo>
                  <a:pt x="7" y="194"/>
                  <a:pt x="7" y="193"/>
                  <a:pt x="7" y="191"/>
                </a:cubicBezTo>
                <a:cubicBezTo>
                  <a:pt x="6" y="191"/>
                  <a:pt x="6" y="192"/>
                  <a:pt x="5" y="192"/>
                </a:cubicBezTo>
                <a:cubicBezTo>
                  <a:pt x="5" y="192"/>
                  <a:pt x="5" y="193"/>
                  <a:pt x="5" y="193"/>
                </a:cubicBezTo>
                <a:cubicBezTo>
                  <a:pt x="4" y="193"/>
                  <a:pt x="4" y="195"/>
                  <a:pt x="4" y="195"/>
                </a:cubicBezTo>
                <a:cubicBezTo>
                  <a:pt x="5" y="196"/>
                  <a:pt x="5" y="196"/>
                  <a:pt x="6" y="197"/>
                </a:cubicBezTo>
                <a:cubicBezTo>
                  <a:pt x="7" y="198"/>
                  <a:pt x="7" y="198"/>
                  <a:pt x="7" y="197"/>
                </a:cubicBezTo>
                <a:cubicBezTo>
                  <a:pt x="8" y="197"/>
                  <a:pt x="7" y="195"/>
                  <a:pt x="7" y="195"/>
                </a:cubicBezTo>
                <a:cubicBezTo>
                  <a:pt x="8" y="196"/>
                  <a:pt x="8" y="197"/>
                  <a:pt x="8" y="198"/>
                </a:cubicBezTo>
                <a:cubicBezTo>
                  <a:pt x="8" y="198"/>
                  <a:pt x="9" y="197"/>
                  <a:pt x="9" y="197"/>
                </a:cubicBezTo>
                <a:cubicBezTo>
                  <a:pt x="9" y="195"/>
                  <a:pt x="8" y="195"/>
                  <a:pt x="10" y="195"/>
                </a:cubicBezTo>
                <a:cubicBezTo>
                  <a:pt x="11" y="195"/>
                  <a:pt x="12" y="195"/>
                  <a:pt x="13" y="195"/>
                </a:cubicBezTo>
                <a:cubicBezTo>
                  <a:pt x="12" y="195"/>
                  <a:pt x="12" y="195"/>
                  <a:pt x="11" y="196"/>
                </a:cubicBezTo>
                <a:cubicBezTo>
                  <a:pt x="12" y="196"/>
                  <a:pt x="13" y="196"/>
                  <a:pt x="13" y="195"/>
                </a:cubicBezTo>
                <a:cubicBezTo>
                  <a:pt x="14" y="194"/>
                  <a:pt x="14" y="193"/>
                  <a:pt x="15" y="193"/>
                </a:cubicBezTo>
                <a:cubicBezTo>
                  <a:pt x="15" y="193"/>
                  <a:pt x="17" y="194"/>
                  <a:pt x="17" y="194"/>
                </a:cubicBezTo>
                <a:cubicBezTo>
                  <a:pt x="15" y="194"/>
                  <a:pt x="13" y="196"/>
                  <a:pt x="12" y="197"/>
                </a:cubicBezTo>
                <a:cubicBezTo>
                  <a:pt x="13" y="197"/>
                  <a:pt x="15" y="197"/>
                  <a:pt x="17" y="197"/>
                </a:cubicBezTo>
                <a:cubicBezTo>
                  <a:pt x="15" y="197"/>
                  <a:pt x="11" y="199"/>
                  <a:pt x="11" y="201"/>
                </a:cubicBezTo>
                <a:cubicBezTo>
                  <a:pt x="10" y="203"/>
                  <a:pt x="17" y="201"/>
                  <a:pt x="18" y="201"/>
                </a:cubicBezTo>
                <a:cubicBezTo>
                  <a:pt x="17" y="202"/>
                  <a:pt x="16" y="202"/>
                  <a:pt x="16" y="202"/>
                </a:cubicBezTo>
                <a:cubicBezTo>
                  <a:pt x="14" y="202"/>
                  <a:pt x="14" y="202"/>
                  <a:pt x="13" y="205"/>
                </a:cubicBezTo>
                <a:cubicBezTo>
                  <a:pt x="12" y="204"/>
                  <a:pt x="11" y="204"/>
                  <a:pt x="10" y="203"/>
                </a:cubicBezTo>
                <a:cubicBezTo>
                  <a:pt x="9" y="203"/>
                  <a:pt x="9" y="203"/>
                  <a:pt x="8" y="203"/>
                </a:cubicBezTo>
                <a:cubicBezTo>
                  <a:pt x="8" y="202"/>
                  <a:pt x="8" y="202"/>
                  <a:pt x="7" y="202"/>
                </a:cubicBezTo>
                <a:cubicBezTo>
                  <a:pt x="8" y="203"/>
                  <a:pt x="8" y="203"/>
                  <a:pt x="8" y="203"/>
                </a:cubicBezTo>
                <a:cubicBezTo>
                  <a:pt x="8" y="204"/>
                  <a:pt x="7" y="204"/>
                  <a:pt x="7" y="204"/>
                </a:cubicBezTo>
                <a:cubicBezTo>
                  <a:pt x="7" y="205"/>
                  <a:pt x="7" y="205"/>
                  <a:pt x="7" y="206"/>
                </a:cubicBezTo>
                <a:cubicBezTo>
                  <a:pt x="6" y="207"/>
                  <a:pt x="9" y="210"/>
                  <a:pt x="10" y="210"/>
                </a:cubicBezTo>
                <a:cubicBezTo>
                  <a:pt x="12" y="211"/>
                  <a:pt x="14" y="213"/>
                  <a:pt x="15" y="213"/>
                </a:cubicBezTo>
                <a:cubicBezTo>
                  <a:pt x="16" y="213"/>
                  <a:pt x="18" y="214"/>
                  <a:pt x="19" y="213"/>
                </a:cubicBezTo>
                <a:cubicBezTo>
                  <a:pt x="19" y="213"/>
                  <a:pt x="20" y="213"/>
                  <a:pt x="21" y="213"/>
                </a:cubicBezTo>
                <a:cubicBezTo>
                  <a:pt x="20" y="214"/>
                  <a:pt x="18" y="214"/>
                  <a:pt x="17" y="215"/>
                </a:cubicBezTo>
                <a:cubicBezTo>
                  <a:pt x="18" y="216"/>
                  <a:pt x="20" y="216"/>
                  <a:pt x="21" y="216"/>
                </a:cubicBezTo>
                <a:cubicBezTo>
                  <a:pt x="22" y="216"/>
                  <a:pt x="22" y="216"/>
                  <a:pt x="24" y="215"/>
                </a:cubicBezTo>
                <a:cubicBezTo>
                  <a:pt x="23" y="216"/>
                  <a:pt x="23" y="216"/>
                  <a:pt x="22" y="217"/>
                </a:cubicBezTo>
                <a:cubicBezTo>
                  <a:pt x="22" y="217"/>
                  <a:pt x="23" y="217"/>
                  <a:pt x="23" y="216"/>
                </a:cubicBezTo>
                <a:cubicBezTo>
                  <a:pt x="24" y="216"/>
                  <a:pt x="25" y="216"/>
                  <a:pt x="26" y="217"/>
                </a:cubicBezTo>
                <a:cubicBezTo>
                  <a:pt x="27" y="217"/>
                  <a:pt x="29" y="216"/>
                  <a:pt x="29" y="216"/>
                </a:cubicBezTo>
                <a:cubicBezTo>
                  <a:pt x="32" y="215"/>
                  <a:pt x="35" y="214"/>
                  <a:pt x="37" y="213"/>
                </a:cubicBezTo>
                <a:cubicBezTo>
                  <a:pt x="38" y="212"/>
                  <a:pt x="39" y="211"/>
                  <a:pt x="40" y="210"/>
                </a:cubicBezTo>
                <a:cubicBezTo>
                  <a:pt x="40" y="210"/>
                  <a:pt x="42" y="209"/>
                  <a:pt x="41" y="208"/>
                </a:cubicBezTo>
                <a:cubicBezTo>
                  <a:pt x="42" y="208"/>
                  <a:pt x="44" y="207"/>
                  <a:pt x="45" y="206"/>
                </a:cubicBezTo>
                <a:cubicBezTo>
                  <a:pt x="44" y="206"/>
                  <a:pt x="44" y="206"/>
                  <a:pt x="43" y="206"/>
                </a:cubicBezTo>
                <a:cubicBezTo>
                  <a:pt x="44" y="206"/>
                  <a:pt x="45" y="206"/>
                  <a:pt x="46" y="206"/>
                </a:cubicBezTo>
                <a:cubicBezTo>
                  <a:pt x="46" y="205"/>
                  <a:pt x="46" y="204"/>
                  <a:pt x="45" y="204"/>
                </a:cubicBezTo>
                <a:cubicBezTo>
                  <a:pt x="46" y="204"/>
                  <a:pt x="49" y="203"/>
                  <a:pt x="49" y="202"/>
                </a:cubicBezTo>
                <a:cubicBezTo>
                  <a:pt x="49" y="202"/>
                  <a:pt x="48" y="201"/>
                  <a:pt x="48" y="200"/>
                </a:cubicBezTo>
                <a:cubicBezTo>
                  <a:pt x="49" y="200"/>
                  <a:pt x="50" y="202"/>
                  <a:pt x="52" y="202"/>
                </a:cubicBezTo>
                <a:cubicBezTo>
                  <a:pt x="53" y="202"/>
                  <a:pt x="53" y="202"/>
                  <a:pt x="55" y="200"/>
                </a:cubicBezTo>
                <a:cubicBezTo>
                  <a:pt x="55" y="200"/>
                  <a:pt x="56" y="199"/>
                  <a:pt x="56" y="198"/>
                </a:cubicBezTo>
                <a:cubicBezTo>
                  <a:pt x="57" y="201"/>
                  <a:pt x="58" y="198"/>
                  <a:pt x="57" y="197"/>
                </a:cubicBezTo>
                <a:cubicBezTo>
                  <a:pt x="57" y="196"/>
                  <a:pt x="55" y="195"/>
                  <a:pt x="55" y="193"/>
                </a:cubicBezTo>
                <a:cubicBezTo>
                  <a:pt x="56" y="194"/>
                  <a:pt x="57" y="194"/>
                  <a:pt x="57" y="193"/>
                </a:cubicBezTo>
                <a:cubicBezTo>
                  <a:pt x="59" y="194"/>
                  <a:pt x="58" y="193"/>
                  <a:pt x="58" y="191"/>
                </a:cubicBezTo>
                <a:cubicBezTo>
                  <a:pt x="57" y="190"/>
                  <a:pt x="57" y="189"/>
                  <a:pt x="59" y="188"/>
                </a:cubicBezTo>
                <a:cubicBezTo>
                  <a:pt x="60" y="188"/>
                  <a:pt x="60" y="190"/>
                  <a:pt x="60" y="191"/>
                </a:cubicBezTo>
                <a:cubicBezTo>
                  <a:pt x="60" y="191"/>
                  <a:pt x="60" y="190"/>
                  <a:pt x="60" y="190"/>
                </a:cubicBezTo>
                <a:cubicBezTo>
                  <a:pt x="58" y="191"/>
                  <a:pt x="58" y="191"/>
                  <a:pt x="59" y="192"/>
                </a:cubicBezTo>
                <a:cubicBezTo>
                  <a:pt x="59" y="193"/>
                  <a:pt x="60" y="194"/>
                  <a:pt x="59" y="195"/>
                </a:cubicBezTo>
                <a:cubicBezTo>
                  <a:pt x="59" y="196"/>
                  <a:pt x="59" y="197"/>
                  <a:pt x="60" y="197"/>
                </a:cubicBezTo>
                <a:cubicBezTo>
                  <a:pt x="61" y="197"/>
                  <a:pt x="60" y="199"/>
                  <a:pt x="61" y="199"/>
                </a:cubicBezTo>
                <a:cubicBezTo>
                  <a:pt x="61" y="200"/>
                  <a:pt x="63" y="199"/>
                  <a:pt x="64" y="200"/>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22" name="Freeform 2978">
            <a:extLst>
              <a:ext uri="{FF2B5EF4-FFF2-40B4-BE49-F238E27FC236}">
                <a16:creationId xmlns:a16="http://schemas.microsoft.com/office/drawing/2014/main" id="{8673DE4E-EBE8-4DD1-B043-296BB956EE28}"/>
              </a:ext>
            </a:extLst>
          </p:cNvPr>
          <p:cNvSpPr>
            <a:spLocks noEditPoints="1"/>
          </p:cNvSpPr>
          <p:nvPr/>
        </p:nvSpPr>
        <p:spPr bwMode="auto">
          <a:xfrm>
            <a:off x="3474291" y="2567833"/>
            <a:ext cx="153128" cy="303327"/>
          </a:xfrm>
          <a:custGeom>
            <a:avLst/>
            <a:gdLst>
              <a:gd name="T0" fmla="*/ 127 w 131"/>
              <a:gd name="T1" fmla="*/ 47 h 216"/>
              <a:gd name="T2" fmla="*/ 130 w 131"/>
              <a:gd name="T3" fmla="*/ 38 h 216"/>
              <a:gd name="T4" fmla="*/ 127 w 131"/>
              <a:gd name="T5" fmla="*/ 29 h 216"/>
              <a:gd name="T6" fmla="*/ 125 w 131"/>
              <a:gd name="T7" fmla="*/ 28 h 216"/>
              <a:gd name="T8" fmla="*/ 125 w 131"/>
              <a:gd name="T9" fmla="*/ 23 h 216"/>
              <a:gd name="T10" fmla="*/ 125 w 131"/>
              <a:gd name="T11" fmla="*/ 17 h 216"/>
              <a:gd name="T12" fmla="*/ 94 w 131"/>
              <a:gd name="T13" fmla="*/ 3 h 216"/>
              <a:gd name="T14" fmla="*/ 92 w 131"/>
              <a:gd name="T15" fmla="*/ 9 h 216"/>
              <a:gd name="T16" fmla="*/ 73 w 131"/>
              <a:gd name="T17" fmla="*/ 12 h 216"/>
              <a:gd name="T18" fmla="*/ 65 w 131"/>
              <a:gd name="T19" fmla="*/ 17 h 216"/>
              <a:gd name="T20" fmla="*/ 58 w 131"/>
              <a:gd name="T21" fmla="*/ 21 h 216"/>
              <a:gd name="T22" fmla="*/ 55 w 131"/>
              <a:gd name="T23" fmla="*/ 33 h 216"/>
              <a:gd name="T24" fmla="*/ 46 w 131"/>
              <a:gd name="T25" fmla="*/ 43 h 216"/>
              <a:gd name="T26" fmla="*/ 36 w 131"/>
              <a:gd name="T27" fmla="*/ 51 h 216"/>
              <a:gd name="T28" fmla="*/ 38 w 131"/>
              <a:gd name="T29" fmla="*/ 52 h 216"/>
              <a:gd name="T30" fmla="*/ 36 w 131"/>
              <a:gd name="T31" fmla="*/ 62 h 216"/>
              <a:gd name="T32" fmla="*/ 29 w 131"/>
              <a:gd name="T33" fmla="*/ 73 h 216"/>
              <a:gd name="T34" fmla="*/ 31 w 131"/>
              <a:gd name="T35" fmla="*/ 82 h 216"/>
              <a:gd name="T36" fmla="*/ 18 w 131"/>
              <a:gd name="T37" fmla="*/ 86 h 216"/>
              <a:gd name="T38" fmla="*/ 10 w 131"/>
              <a:gd name="T39" fmla="*/ 96 h 216"/>
              <a:gd name="T40" fmla="*/ 11 w 131"/>
              <a:gd name="T41" fmla="*/ 107 h 216"/>
              <a:gd name="T42" fmla="*/ 12 w 131"/>
              <a:gd name="T43" fmla="*/ 120 h 216"/>
              <a:gd name="T44" fmla="*/ 15 w 131"/>
              <a:gd name="T45" fmla="*/ 123 h 216"/>
              <a:gd name="T46" fmla="*/ 14 w 131"/>
              <a:gd name="T47" fmla="*/ 135 h 216"/>
              <a:gd name="T48" fmla="*/ 14 w 131"/>
              <a:gd name="T49" fmla="*/ 147 h 216"/>
              <a:gd name="T50" fmla="*/ 8 w 131"/>
              <a:gd name="T51" fmla="*/ 153 h 216"/>
              <a:gd name="T52" fmla="*/ 4 w 131"/>
              <a:gd name="T53" fmla="*/ 165 h 216"/>
              <a:gd name="T54" fmla="*/ 4 w 131"/>
              <a:gd name="T55" fmla="*/ 173 h 216"/>
              <a:gd name="T56" fmla="*/ 8 w 131"/>
              <a:gd name="T57" fmla="*/ 174 h 216"/>
              <a:gd name="T58" fmla="*/ 6 w 131"/>
              <a:gd name="T59" fmla="*/ 182 h 216"/>
              <a:gd name="T60" fmla="*/ 16 w 131"/>
              <a:gd name="T61" fmla="*/ 198 h 216"/>
              <a:gd name="T62" fmla="*/ 14 w 131"/>
              <a:gd name="T63" fmla="*/ 203 h 216"/>
              <a:gd name="T64" fmla="*/ 19 w 131"/>
              <a:gd name="T65" fmla="*/ 215 h 216"/>
              <a:gd name="T66" fmla="*/ 32 w 131"/>
              <a:gd name="T67" fmla="*/ 209 h 216"/>
              <a:gd name="T68" fmla="*/ 54 w 131"/>
              <a:gd name="T69" fmla="*/ 196 h 216"/>
              <a:gd name="T70" fmla="*/ 56 w 131"/>
              <a:gd name="T71" fmla="*/ 184 h 216"/>
              <a:gd name="T72" fmla="*/ 56 w 131"/>
              <a:gd name="T73" fmla="*/ 178 h 216"/>
              <a:gd name="T74" fmla="*/ 55 w 131"/>
              <a:gd name="T75" fmla="*/ 169 h 216"/>
              <a:gd name="T76" fmla="*/ 56 w 131"/>
              <a:gd name="T77" fmla="*/ 169 h 216"/>
              <a:gd name="T78" fmla="*/ 69 w 131"/>
              <a:gd name="T79" fmla="*/ 166 h 216"/>
              <a:gd name="T80" fmla="*/ 74 w 131"/>
              <a:gd name="T81" fmla="*/ 159 h 216"/>
              <a:gd name="T82" fmla="*/ 74 w 131"/>
              <a:gd name="T83" fmla="*/ 158 h 216"/>
              <a:gd name="T84" fmla="*/ 73 w 131"/>
              <a:gd name="T85" fmla="*/ 157 h 216"/>
              <a:gd name="T86" fmla="*/ 76 w 131"/>
              <a:gd name="T87" fmla="*/ 144 h 216"/>
              <a:gd name="T88" fmla="*/ 63 w 131"/>
              <a:gd name="T89" fmla="*/ 136 h 216"/>
              <a:gd name="T90" fmla="*/ 61 w 131"/>
              <a:gd name="T91" fmla="*/ 125 h 216"/>
              <a:gd name="T92" fmla="*/ 61 w 131"/>
              <a:gd name="T93" fmla="*/ 121 h 216"/>
              <a:gd name="T94" fmla="*/ 64 w 131"/>
              <a:gd name="T95" fmla="*/ 112 h 216"/>
              <a:gd name="T96" fmla="*/ 68 w 131"/>
              <a:gd name="T97" fmla="*/ 102 h 216"/>
              <a:gd name="T98" fmla="*/ 72 w 131"/>
              <a:gd name="T99" fmla="*/ 104 h 216"/>
              <a:gd name="T100" fmla="*/ 85 w 131"/>
              <a:gd name="T101" fmla="*/ 92 h 216"/>
              <a:gd name="T102" fmla="*/ 104 w 131"/>
              <a:gd name="T103" fmla="*/ 80 h 216"/>
              <a:gd name="T104" fmla="*/ 104 w 131"/>
              <a:gd name="T105" fmla="*/ 74 h 216"/>
              <a:gd name="T106" fmla="*/ 106 w 131"/>
              <a:gd name="T107" fmla="*/ 63 h 216"/>
              <a:gd name="T108" fmla="*/ 114 w 131"/>
              <a:gd name="T109" fmla="*/ 55 h 216"/>
              <a:gd name="T110" fmla="*/ 131 w 131"/>
              <a:gd name="T111" fmla="*/ 5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 h="216">
                <a:moveTo>
                  <a:pt x="131" y="55"/>
                </a:moveTo>
                <a:cubicBezTo>
                  <a:pt x="129" y="50"/>
                  <a:pt x="129" y="50"/>
                  <a:pt x="129" y="50"/>
                </a:cubicBezTo>
                <a:cubicBezTo>
                  <a:pt x="129" y="50"/>
                  <a:pt x="129" y="50"/>
                  <a:pt x="129" y="50"/>
                </a:cubicBezTo>
                <a:cubicBezTo>
                  <a:pt x="128" y="49"/>
                  <a:pt x="128" y="49"/>
                  <a:pt x="127" y="48"/>
                </a:cubicBezTo>
                <a:cubicBezTo>
                  <a:pt x="127" y="48"/>
                  <a:pt x="127" y="48"/>
                  <a:pt x="127" y="48"/>
                </a:cubicBezTo>
                <a:cubicBezTo>
                  <a:pt x="127" y="48"/>
                  <a:pt x="127" y="47"/>
                  <a:pt x="127" y="47"/>
                </a:cubicBezTo>
                <a:cubicBezTo>
                  <a:pt x="127" y="47"/>
                  <a:pt x="127" y="46"/>
                  <a:pt x="127" y="46"/>
                </a:cubicBezTo>
                <a:cubicBezTo>
                  <a:pt x="127" y="46"/>
                  <a:pt x="127" y="45"/>
                  <a:pt x="127" y="45"/>
                </a:cubicBezTo>
                <a:cubicBezTo>
                  <a:pt x="127" y="44"/>
                  <a:pt x="128" y="43"/>
                  <a:pt x="128" y="42"/>
                </a:cubicBezTo>
                <a:cubicBezTo>
                  <a:pt x="128" y="41"/>
                  <a:pt x="129" y="41"/>
                  <a:pt x="129" y="40"/>
                </a:cubicBezTo>
                <a:cubicBezTo>
                  <a:pt x="129" y="40"/>
                  <a:pt x="129" y="39"/>
                  <a:pt x="129" y="39"/>
                </a:cubicBezTo>
                <a:cubicBezTo>
                  <a:pt x="129" y="38"/>
                  <a:pt x="129" y="38"/>
                  <a:pt x="130" y="38"/>
                </a:cubicBezTo>
                <a:cubicBezTo>
                  <a:pt x="130" y="38"/>
                  <a:pt x="130" y="38"/>
                  <a:pt x="130" y="38"/>
                </a:cubicBezTo>
                <a:cubicBezTo>
                  <a:pt x="129" y="38"/>
                  <a:pt x="129" y="37"/>
                  <a:pt x="129" y="37"/>
                </a:cubicBezTo>
                <a:cubicBezTo>
                  <a:pt x="129" y="37"/>
                  <a:pt x="129" y="37"/>
                  <a:pt x="129" y="37"/>
                </a:cubicBezTo>
                <a:cubicBezTo>
                  <a:pt x="129" y="37"/>
                  <a:pt x="129" y="36"/>
                  <a:pt x="128" y="36"/>
                </a:cubicBezTo>
                <a:cubicBezTo>
                  <a:pt x="127" y="35"/>
                  <a:pt x="126" y="33"/>
                  <a:pt x="126" y="31"/>
                </a:cubicBezTo>
                <a:cubicBezTo>
                  <a:pt x="126" y="31"/>
                  <a:pt x="126" y="30"/>
                  <a:pt x="127" y="29"/>
                </a:cubicBezTo>
                <a:cubicBezTo>
                  <a:pt x="127" y="29"/>
                  <a:pt x="127" y="29"/>
                  <a:pt x="128" y="29"/>
                </a:cubicBezTo>
                <a:cubicBezTo>
                  <a:pt x="127" y="28"/>
                  <a:pt x="127" y="28"/>
                  <a:pt x="127" y="28"/>
                </a:cubicBezTo>
                <a:cubicBezTo>
                  <a:pt x="127" y="28"/>
                  <a:pt x="127" y="28"/>
                  <a:pt x="126" y="28"/>
                </a:cubicBezTo>
                <a:cubicBezTo>
                  <a:pt x="126" y="28"/>
                  <a:pt x="126" y="28"/>
                  <a:pt x="126" y="28"/>
                </a:cubicBezTo>
                <a:cubicBezTo>
                  <a:pt x="126" y="28"/>
                  <a:pt x="126" y="28"/>
                  <a:pt x="125" y="28"/>
                </a:cubicBezTo>
                <a:cubicBezTo>
                  <a:pt x="125" y="28"/>
                  <a:pt x="125" y="28"/>
                  <a:pt x="125" y="28"/>
                </a:cubicBezTo>
                <a:cubicBezTo>
                  <a:pt x="125" y="27"/>
                  <a:pt x="125" y="27"/>
                  <a:pt x="124" y="27"/>
                </a:cubicBezTo>
                <a:cubicBezTo>
                  <a:pt x="124" y="27"/>
                  <a:pt x="124" y="27"/>
                  <a:pt x="124" y="27"/>
                </a:cubicBezTo>
                <a:cubicBezTo>
                  <a:pt x="124" y="27"/>
                  <a:pt x="124" y="27"/>
                  <a:pt x="124" y="27"/>
                </a:cubicBezTo>
                <a:cubicBezTo>
                  <a:pt x="124" y="26"/>
                  <a:pt x="125" y="25"/>
                  <a:pt x="125" y="25"/>
                </a:cubicBezTo>
                <a:cubicBezTo>
                  <a:pt x="125" y="25"/>
                  <a:pt x="125" y="24"/>
                  <a:pt x="125" y="24"/>
                </a:cubicBezTo>
                <a:cubicBezTo>
                  <a:pt x="125" y="24"/>
                  <a:pt x="125" y="24"/>
                  <a:pt x="125" y="23"/>
                </a:cubicBezTo>
                <a:cubicBezTo>
                  <a:pt x="125" y="22"/>
                  <a:pt x="125" y="22"/>
                  <a:pt x="125" y="22"/>
                </a:cubicBezTo>
                <a:cubicBezTo>
                  <a:pt x="125" y="21"/>
                  <a:pt x="125" y="20"/>
                  <a:pt x="126" y="18"/>
                </a:cubicBezTo>
                <a:cubicBezTo>
                  <a:pt x="126" y="18"/>
                  <a:pt x="126" y="18"/>
                  <a:pt x="126" y="18"/>
                </a:cubicBezTo>
                <a:cubicBezTo>
                  <a:pt x="126" y="18"/>
                  <a:pt x="126" y="18"/>
                  <a:pt x="126" y="18"/>
                </a:cubicBezTo>
                <a:cubicBezTo>
                  <a:pt x="125" y="18"/>
                  <a:pt x="125" y="18"/>
                  <a:pt x="125" y="18"/>
                </a:cubicBezTo>
                <a:cubicBezTo>
                  <a:pt x="125" y="17"/>
                  <a:pt x="125" y="17"/>
                  <a:pt x="125" y="17"/>
                </a:cubicBezTo>
                <a:cubicBezTo>
                  <a:pt x="124" y="16"/>
                  <a:pt x="123" y="16"/>
                  <a:pt x="122" y="15"/>
                </a:cubicBezTo>
                <a:cubicBezTo>
                  <a:pt x="96" y="0"/>
                  <a:pt x="96" y="0"/>
                  <a:pt x="96" y="0"/>
                </a:cubicBezTo>
                <a:cubicBezTo>
                  <a:pt x="94" y="0"/>
                  <a:pt x="94" y="0"/>
                  <a:pt x="94" y="0"/>
                </a:cubicBezTo>
                <a:cubicBezTo>
                  <a:pt x="94" y="1"/>
                  <a:pt x="94" y="2"/>
                  <a:pt x="94" y="2"/>
                </a:cubicBezTo>
                <a:cubicBezTo>
                  <a:pt x="94" y="3"/>
                  <a:pt x="94" y="3"/>
                  <a:pt x="94" y="3"/>
                </a:cubicBezTo>
                <a:cubicBezTo>
                  <a:pt x="94" y="3"/>
                  <a:pt x="94" y="3"/>
                  <a:pt x="94" y="3"/>
                </a:cubicBezTo>
                <a:cubicBezTo>
                  <a:pt x="94" y="4"/>
                  <a:pt x="94" y="5"/>
                  <a:pt x="93" y="6"/>
                </a:cubicBezTo>
                <a:cubicBezTo>
                  <a:pt x="93" y="6"/>
                  <a:pt x="92" y="7"/>
                  <a:pt x="92" y="7"/>
                </a:cubicBezTo>
                <a:cubicBezTo>
                  <a:pt x="92" y="7"/>
                  <a:pt x="92" y="7"/>
                  <a:pt x="92" y="7"/>
                </a:cubicBezTo>
                <a:cubicBezTo>
                  <a:pt x="92" y="7"/>
                  <a:pt x="92" y="8"/>
                  <a:pt x="92" y="9"/>
                </a:cubicBezTo>
                <a:cubicBezTo>
                  <a:pt x="92" y="9"/>
                  <a:pt x="92" y="9"/>
                  <a:pt x="92" y="9"/>
                </a:cubicBezTo>
                <a:cubicBezTo>
                  <a:pt x="92" y="9"/>
                  <a:pt x="92" y="9"/>
                  <a:pt x="92" y="9"/>
                </a:cubicBezTo>
                <a:cubicBezTo>
                  <a:pt x="92" y="10"/>
                  <a:pt x="92" y="11"/>
                  <a:pt x="91" y="11"/>
                </a:cubicBezTo>
                <a:cubicBezTo>
                  <a:pt x="91" y="12"/>
                  <a:pt x="91" y="12"/>
                  <a:pt x="90" y="12"/>
                </a:cubicBezTo>
                <a:cubicBezTo>
                  <a:pt x="90" y="12"/>
                  <a:pt x="90" y="12"/>
                  <a:pt x="89" y="12"/>
                </a:cubicBezTo>
                <a:cubicBezTo>
                  <a:pt x="73" y="9"/>
                  <a:pt x="73" y="9"/>
                  <a:pt x="73" y="9"/>
                </a:cubicBezTo>
                <a:cubicBezTo>
                  <a:pt x="73" y="10"/>
                  <a:pt x="73" y="10"/>
                  <a:pt x="73" y="10"/>
                </a:cubicBezTo>
                <a:cubicBezTo>
                  <a:pt x="73" y="10"/>
                  <a:pt x="73" y="11"/>
                  <a:pt x="73" y="12"/>
                </a:cubicBezTo>
                <a:cubicBezTo>
                  <a:pt x="73" y="13"/>
                  <a:pt x="73" y="13"/>
                  <a:pt x="73" y="13"/>
                </a:cubicBezTo>
                <a:cubicBezTo>
                  <a:pt x="73" y="14"/>
                  <a:pt x="72" y="18"/>
                  <a:pt x="69" y="18"/>
                </a:cubicBezTo>
                <a:cubicBezTo>
                  <a:pt x="69" y="18"/>
                  <a:pt x="69" y="18"/>
                  <a:pt x="69" y="18"/>
                </a:cubicBezTo>
                <a:cubicBezTo>
                  <a:pt x="69" y="19"/>
                  <a:pt x="68" y="19"/>
                  <a:pt x="67" y="18"/>
                </a:cubicBezTo>
                <a:cubicBezTo>
                  <a:pt x="66" y="18"/>
                  <a:pt x="66" y="18"/>
                  <a:pt x="66" y="18"/>
                </a:cubicBezTo>
                <a:cubicBezTo>
                  <a:pt x="66" y="18"/>
                  <a:pt x="65" y="18"/>
                  <a:pt x="65" y="17"/>
                </a:cubicBezTo>
                <a:cubicBezTo>
                  <a:pt x="63" y="17"/>
                  <a:pt x="63" y="17"/>
                  <a:pt x="63" y="17"/>
                </a:cubicBezTo>
                <a:cubicBezTo>
                  <a:pt x="63" y="17"/>
                  <a:pt x="63" y="17"/>
                  <a:pt x="63" y="17"/>
                </a:cubicBezTo>
                <a:cubicBezTo>
                  <a:pt x="63" y="17"/>
                  <a:pt x="62" y="18"/>
                  <a:pt x="61" y="18"/>
                </a:cubicBezTo>
                <a:cubicBezTo>
                  <a:pt x="61" y="18"/>
                  <a:pt x="61" y="18"/>
                  <a:pt x="61" y="18"/>
                </a:cubicBezTo>
                <a:cubicBezTo>
                  <a:pt x="59" y="20"/>
                  <a:pt x="58" y="20"/>
                  <a:pt x="58" y="21"/>
                </a:cubicBezTo>
                <a:cubicBezTo>
                  <a:pt x="58" y="21"/>
                  <a:pt x="58" y="21"/>
                  <a:pt x="58" y="21"/>
                </a:cubicBezTo>
                <a:cubicBezTo>
                  <a:pt x="58" y="22"/>
                  <a:pt x="57" y="23"/>
                  <a:pt x="57" y="23"/>
                </a:cubicBezTo>
                <a:cubicBezTo>
                  <a:pt x="56" y="25"/>
                  <a:pt x="55" y="26"/>
                  <a:pt x="54" y="27"/>
                </a:cubicBezTo>
                <a:cubicBezTo>
                  <a:pt x="53" y="27"/>
                  <a:pt x="53" y="27"/>
                  <a:pt x="53" y="27"/>
                </a:cubicBezTo>
                <a:cubicBezTo>
                  <a:pt x="53" y="27"/>
                  <a:pt x="53" y="28"/>
                  <a:pt x="53" y="28"/>
                </a:cubicBezTo>
                <a:cubicBezTo>
                  <a:pt x="54" y="29"/>
                  <a:pt x="56" y="31"/>
                  <a:pt x="55" y="32"/>
                </a:cubicBezTo>
                <a:cubicBezTo>
                  <a:pt x="55" y="33"/>
                  <a:pt x="55" y="33"/>
                  <a:pt x="55" y="33"/>
                </a:cubicBezTo>
                <a:cubicBezTo>
                  <a:pt x="55" y="33"/>
                  <a:pt x="55" y="33"/>
                  <a:pt x="55" y="33"/>
                </a:cubicBezTo>
                <a:cubicBezTo>
                  <a:pt x="54" y="36"/>
                  <a:pt x="52" y="38"/>
                  <a:pt x="50" y="39"/>
                </a:cubicBezTo>
                <a:cubicBezTo>
                  <a:pt x="49" y="40"/>
                  <a:pt x="49" y="40"/>
                  <a:pt x="49" y="40"/>
                </a:cubicBezTo>
                <a:cubicBezTo>
                  <a:pt x="49" y="40"/>
                  <a:pt x="49" y="40"/>
                  <a:pt x="48" y="41"/>
                </a:cubicBezTo>
                <a:cubicBezTo>
                  <a:pt x="48" y="41"/>
                  <a:pt x="48" y="41"/>
                  <a:pt x="48" y="41"/>
                </a:cubicBezTo>
                <a:cubicBezTo>
                  <a:pt x="47" y="42"/>
                  <a:pt x="46" y="43"/>
                  <a:pt x="46" y="43"/>
                </a:cubicBezTo>
                <a:cubicBezTo>
                  <a:pt x="45" y="44"/>
                  <a:pt x="45" y="44"/>
                  <a:pt x="45" y="44"/>
                </a:cubicBezTo>
                <a:cubicBezTo>
                  <a:pt x="45" y="44"/>
                  <a:pt x="45" y="44"/>
                  <a:pt x="45" y="44"/>
                </a:cubicBezTo>
                <a:cubicBezTo>
                  <a:pt x="45" y="44"/>
                  <a:pt x="46" y="45"/>
                  <a:pt x="45" y="46"/>
                </a:cubicBezTo>
                <a:cubicBezTo>
                  <a:pt x="45" y="47"/>
                  <a:pt x="44" y="47"/>
                  <a:pt x="43" y="48"/>
                </a:cubicBezTo>
                <a:cubicBezTo>
                  <a:pt x="42" y="49"/>
                  <a:pt x="39" y="49"/>
                  <a:pt x="38" y="50"/>
                </a:cubicBezTo>
                <a:cubicBezTo>
                  <a:pt x="37" y="50"/>
                  <a:pt x="37" y="50"/>
                  <a:pt x="36" y="51"/>
                </a:cubicBezTo>
                <a:cubicBezTo>
                  <a:pt x="36" y="51"/>
                  <a:pt x="36" y="51"/>
                  <a:pt x="36" y="51"/>
                </a:cubicBezTo>
                <a:cubicBezTo>
                  <a:pt x="36" y="51"/>
                  <a:pt x="36" y="51"/>
                  <a:pt x="36" y="51"/>
                </a:cubicBezTo>
                <a:cubicBezTo>
                  <a:pt x="36" y="51"/>
                  <a:pt x="36" y="51"/>
                  <a:pt x="36" y="51"/>
                </a:cubicBezTo>
                <a:cubicBezTo>
                  <a:pt x="36" y="52"/>
                  <a:pt x="36" y="52"/>
                  <a:pt x="36" y="52"/>
                </a:cubicBezTo>
                <a:cubicBezTo>
                  <a:pt x="36" y="52"/>
                  <a:pt x="36" y="52"/>
                  <a:pt x="36" y="52"/>
                </a:cubicBezTo>
                <a:cubicBezTo>
                  <a:pt x="38" y="52"/>
                  <a:pt x="38" y="52"/>
                  <a:pt x="38" y="52"/>
                </a:cubicBezTo>
                <a:cubicBezTo>
                  <a:pt x="37" y="53"/>
                  <a:pt x="37" y="53"/>
                  <a:pt x="37" y="53"/>
                </a:cubicBezTo>
                <a:cubicBezTo>
                  <a:pt x="37" y="54"/>
                  <a:pt x="37" y="55"/>
                  <a:pt x="37" y="56"/>
                </a:cubicBezTo>
                <a:cubicBezTo>
                  <a:pt x="36" y="56"/>
                  <a:pt x="36" y="57"/>
                  <a:pt x="36" y="57"/>
                </a:cubicBezTo>
                <a:cubicBezTo>
                  <a:pt x="36" y="58"/>
                  <a:pt x="36" y="58"/>
                  <a:pt x="36" y="58"/>
                </a:cubicBezTo>
                <a:cubicBezTo>
                  <a:pt x="36" y="59"/>
                  <a:pt x="36" y="61"/>
                  <a:pt x="36" y="62"/>
                </a:cubicBezTo>
                <a:cubicBezTo>
                  <a:pt x="36" y="62"/>
                  <a:pt x="36" y="62"/>
                  <a:pt x="36" y="62"/>
                </a:cubicBezTo>
                <a:cubicBezTo>
                  <a:pt x="36" y="64"/>
                  <a:pt x="35" y="65"/>
                  <a:pt x="34" y="66"/>
                </a:cubicBezTo>
                <a:cubicBezTo>
                  <a:pt x="34" y="66"/>
                  <a:pt x="34" y="66"/>
                  <a:pt x="34" y="66"/>
                </a:cubicBezTo>
                <a:cubicBezTo>
                  <a:pt x="34" y="67"/>
                  <a:pt x="34" y="67"/>
                  <a:pt x="34" y="67"/>
                </a:cubicBezTo>
                <a:cubicBezTo>
                  <a:pt x="33" y="67"/>
                  <a:pt x="33" y="68"/>
                  <a:pt x="32" y="69"/>
                </a:cubicBezTo>
                <a:cubicBezTo>
                  <a:pt x="32" y="70"/>
                  <a:pt x="31" y="71"/>
                  <a:pt x="30" y="72"/>
                </a:cubicBezTo>
                <a:cubicBezTo>
                  <a:pt x="30" y="72"/>
                  <a:pt x="29" y="72"/>
                  <a:pt x="29" y="73"/>
                </a:cubicBezTo>
                <a:cubicBezTo>
                  <a:pt x="29" y="74"/>
                  <a:pt x="29" y="75"/>
                  <a:pt x="29" y="76"/>
                </a:cubicBezTo>
                <a:cubicBezTo>
                  <a:pt x="30" y="76"/>
                  <a:pt x="30" y="76"/>
                  <a:pt x="30" y="76"/>
                </a:cubicBezTo>
                <a:cubicBezTo>
                  <a:pt x="30" y="76"/>
                  <a:pt x="31" y="77"/>
                  <a:pt x="31" y="78"/>
                </a:cubicBezTo>
                <a:cubicBezTo>
                  <a:pt x="31" y="78"/>
                  <a:pt x="31" y="78"/>
                  <a:pt x="31" y="78"/>
                </a:cubicBezTo>
                <a:cubicBezTo>
                  <a:pt x="31" y="79"/>
                  <a:pt x="31" y="79"/>
                  <a:pt x="31" y="79"/>
                </a:cubicBezTo>
                <a:cubicBezTo>
                  <a:pt x="32" y="80"/>
                  <a:pt x="32" y="81"/>
                  <a:pt x="31" y="82"/>
                </a:cubicBezTo>
                <a:cubicBezTo>
                  <a:pt x="31" y="85"/>
                  <a:pt x="29" y="86"/>
                  <a:pt x="27" y="85"/>
                </a:cubicBezTo>
                <a:cubicBezTo>
                  <a:pt x="21" y="85"/>
                  <a:pt x="21" y="85"/>
                  <a:pt x="21" y="85"/>
                </a:cubicBezTo>
                <a:cubicBezTo>
                  <a:pt x="21" y="85"/>
                  <a:pt x="20" y="85"/>
                  <a:pt x="19" y="85"/>
                </a:cubicBezTo>
                <a:cubicBezTo>
                  <a:pt x="19" y="86"/>
                  <a:pt x="19" y="86"/>
                  <a:pt x="19" y="86"/>
                </a:cubicBezTo>
                <a:cubicBezTo>
                  <a:pt x="19" y="86"/>
                  <a:pt x="19" y="86"/>
                  <a:pt x="18" y="86"/>
                </a:cubicBezTo>
                <a:cubicBezTo>
                  <a:pt x="18" y="86"/>
                  <a:pt x="18" y="86"/>
                  <a:pt x="18" y="86"/>
                </a:cubicBezTo>
                <a:cubicBezTo>
                  <a:pt x="18" y="86"/>
                  <a:pt x="18" y="86"/>
                  <a:pt x="18" y="86"/>
                </a:cubicBezTo>
                <a:cubicBezTo>
                  <a:pt x="17" y="87"/>
                  <a:pt x="16" y="87"/>
                  <a:pt x="15" y="88"/>
                </a:cubicBezTo>
                <a:cubicBezTo>
                  <a:pt x="12" y="92"/>
                  <a:pt x="12" y="92"/>
                  <a:pt x="12" y="92"/>
                </a:cubicBezTo>
                <a:cubicBezTo>
                  <a:pt x="12" y="93"/>
                  <a:pt x="11" y="94"/>
                  <a:pt x="11" y="95"/>
                </a:cubicBezTo>
                <a:cubicBezTo>
                  <a:pt x="10" y="96"/>
                  <a:pt x="10" y="96"/>
                  <a:pt x="10" y="96"/>
                </a:cubicBezTo>
                <a:cubicBezTo>
                  <a:pt x="10" y="96"/>
                  <a:pt x="10" y="96"/>
                  <a:pt x="10" y="96"/>
                </a:cubicBezTo>
                <a:cubicBezTo>
                  <a:pt x="10" y="96"/>
                  <a:pt x="10" y="96"/>
                  <a:pt x="10" y="97"/>
                </a:cubicBezTo>
                <a:cubicBezTo>
                  <a:pt x="11" y="97"/>
                  <a:pt x="11" y="97"/>
                  <a:pt x="11" y="97"/>
                </a:cubicBezTo>
                <a:cubicBezTo>
                  <a:pt x="11" y="98"/>
                  <a:pt x="11" y="98"/>
                  <a:pt x="11" y="98"/>
                </a:cubicBezTo>
                <a:cubicBezTo>
                  <a:pt x="12" y="99"/>
                  <a:pt x="12" y="100"/>
                  <a:pt x="12" y="102"/>
                </a:cubicBezTo>
                <a:cubicBezTo>
                  <a:pt x="12" y="103"/>
                  <a:pt x="12" y="103"/>
                  <a:pt x="12" y="103"/>
                </a:cubicBezTo>
                <a:cubicBezTo>
                  <a:pt x="12" y="104"/>
                  <a:pt x="12" y="106"/>
                  <a:pt x="11" y="107"/>
                </a:cubicBezTo>
                <a:cubicBezTo>
                  <a:pt x="11" y="107"/>
                  <a:pt x="11" y="107"/>
                  <a:pt x="11" y="107"/>
                </a:cubicBezTo>
                <a:cubicBezTo>
                  <a:pt x="11" y="107"/>
                  <a:pt x="11" y="108"/>
                  <a:pt x="11" y="108"/>
                </a:cubicBezTo>
                <a:cubicBezTo>
                  <a:pt x="11" y="108"/>
                  <a:pt x="11" y="108"/>
                  <a:pt x="11" y="108"/>
                </a:cubicBezTo>
                <a:cubicBezTo>
                  <a:pt x="12" y="109"/>
                  <a:pt x="12" y="109"/>
                  <a:pt x="12" y="109"/>
                </a:cubicBezTo>
                <a:cubicBezTo>
                  <a:pt x="12" y="110"/>
                  <a:pt x="13" y="112"/>
                  <a:pt x="13" y="113"/>
                </a:cubicBezTo>
                <a:cubicBezTo>
                  <a:pt x="12" y="120"/>
                  <a:pt x="12" y="120"/>
                  <a:pt x="12" y="120"/>
                </a:cubicBezTo>
                <a:cubicBezTo>
                  <a:pt x="12" y="121"/>
                  <a:pt x="12" y="121"/>
                  <a:pt x="12" y="121"/>
                </a:cubicBezTo>
                <a:cubicBezTo>
                  <a:pt x="12" y="121"/>
                  <a:pt x="12" y="121"/>
                  <a:pt x="12" y="121"/>
                </a:cubicBezTo>
                <a:cubicBezTo>
                  <a:pt x="12" y="121"/>
                  <a:pt x="13" y="121"/>
                  <a:pt x="13" y="122"/>
                </a:cubicBezTo>
                <a:cubicBezTo>
                  <a:pt x="13" y="122"/>
                  <a:pt x="13" y="122"/>
                  <a:pt x="14" y="122"/>
                </a:cubicBezTo>
                <a:cubicBezTo>
                  <a:pt x="14" y="122"/>
                  <a:pt x="14" y="123"/>
                  <a:pt x="14" y="123"/>
                </a:cubicBezTo>
                <a:cubicBezTo>
                  <a:pt x="15" y="123"/>
                  <a:pt x="15" y="123"/>
                  <a:pt x="15" y="123"/>
                </a:cubicBezTo>
                <a:cubicBezTo>
                  <a:pt x="17" y="124"/>
                  <a:pt x="17" y="125"/>
                  <a:pt x="18" y="126"/>
                </a:cubicBezTo>
                <a:cubicBezTo>
                  <a:pt x="18" y="127"/>
                  <a:pt x="19" y="128"/>
                  <a:pt x="19" y="129"/>
                </a:cubicBezTo>
                <a:cubicBezTo>
                  <a:pt x="19" y="129"/>
                  <a:pt x="17" y="133"/>
                  <a:pt x="16" y="133"/>
                </a:cubicBezTo>
                <a:cubicBezTo>
                  <a:pt x="15" y="133"/>
                  <a:pt x="15" y="133"/>
                  <a:pt x="15" y="133"/>
                </a:cubicBezTo>
                <a:cubicBezTo>
                  <a:pt x="15" y="133"/>
                  <a:pt x="14" y="133"/>
                  <a:pt x="13" y="133"/>
                </a:cubicBezTo>
                <a:cubicBezTo>
                  <a:pt x="13" y="134"/>
                  <a:pt x="13" y="134"/>
                  <a:pt x="14" y="135"/>
                </a:cubicBezTo>
                <a:cubicBezTo>
                  <a:pt x="15" y="137"/>
                  <a:pt x="16" y="139"/>
                  <a:pt x="15" y="141"/>
                </a:cubicBezTo>
                <a:cubicBezTo>
                  <a:pt x="15" y="142"/>
                  <a:pt x="15" y="142"/>
                  <a:pt x="15" y="142"/>
                </a:cubicBezTo>
                <a:cubicBezTo>
                  <a:pt x="15" y="143"/>
                  <a:pt x="15" y="145"/>
                  <a:pt x="14" y="146"/>
                </a:cubicBezTo>
                <a:cubicBezTo>
                  <a:pt x="14" y="146"/>
                  <a:pt x="14" y="146"/>
                  <a:pt x="14" y="146"/>
                </a:cubicBezTo>
                <a:cubicBezTo>
                  <a:pt x="15" y="147"/>
                  <a:pt x="15" y="147"/>
                  <a:pt x="15" y="147"/>
                </a:cubicBezTo>
                <a:cubicBezTo>
                  <a:pt x="14" y="147"/>
                  <a:pt x="14" y="147"/>
                  <a:pt x="14" y="147"/>
                </a:cubicBezTo>
                <a:cubicBezTo>
                  <a:pt x="14" y="148"/>
                  <a:pt x="14" y="148"/>
                  <a:pt x="14" y="148"/>
                </a:cubicBezTo>
                <a:cubicBezTo>
                  <a:pt x="13" y="149"/>
                  <a:pt x="12" y="149"/>
                  <a:pt x="11" y="150"/>
                </a:cubicBezTo>
                <a:cubicBezTo>
                  <a:pt x="11" y="150"/>
                  <a:pt x="10" y="150"/>
                  <a:pt x="10" y="150"/>
                </a:cubicBezTo>
                <a:cubicBezTo>
                  <a:pt x="9" y="150"/>
                  <a:pt x="9" y="150"/>
                  <a:pt x="9" y="150"/>
                </a:cubicBezTo>
                <a:cubicBezTo>
                  <a:pt x="9" y="151"/>
                  <a:pt x="9" y="151"/>
                  <a:pt x="9" y="151"/>
                </a:cubicBezTo>
                <a:cubicBezTo>
                  <a:pt x="9" y="152"/>
                  <a:pt x="8" y="153"/>
                  <a:pt x="8" y="153"/>
                </a:cubicBezTo>
                <a:cubicBezTo>
                  <a:pt x="7" y="154"/>
                  <a:pt x="7" y="154"/>
                  <a:pt x="7" y="155"/>
                </a:cubicBezTo>
                <a:cubicBezTo>
                  <a:pt x="7" y="155"/>
                  <a:pt x="7" y="156"/>
                  <a:pt x="8" y="156"/>
                </a:cubicBezTo>
                <a:cubicBezTo>
                  <a:pt x="8" y="157"/>
                  <a:pt x="8" y="159"/>
                  <a:pt x="8" y="160"/>
                </a:cubicBezTo>
                <a:cubicBezTo>
                  <a:pt x="6" y="166"/>
                  <a:pt x="6" y="166"/>
                  <a:pt x="6" y="166"/>
                </a:cubicBezTo>
                <a:cubicBezTo>
                  <a:pt x="5" y="165"/>
                  <a:pt x="5" y="165"/>
                  <a:pt x="5" y="165"/>
                </a:cubicBezTo>
                <a:cubicBezTo>
                  <a:pt x="4" y="165"/>
                  <a:pt x="4" y="165"/>
                  <a:pt x="4" y="165"/>
                </a:cubicBezTo>
                <a:cubicBezTo>
                  <a:pt x="3" y="165"/>
                  <a:pt x="3" y="165"/>
                  <a:pt x="3" y="165"/>
                </a:cubicBezTo>
                <a:cubicBezTo>
                  <a:pt x="2" y="164"/>
                  <a:pt x="1" y="164"/>
                  <a:pt x="0" y="163"/>
                </a:cubicBezTo>
                <a:cubicBezTo>
                  <a:pt x="0" y="166"/>
                  <a:pt x="0" y="168"/>
                  <a:pt x="1" y="170"/>
                </a:cubicBezTo>
                <a:cubicBezTo>
                  <a:pt x="1" y="171"/>
                  <a:pt x="1" y="172"/>
                  <a:pt x="1" y="173"/>
                </a:cubicBezTo>
                <a:cubicBezTo>
                  <a:pt x="1" y="173"/>
                  <a:pt x="2" y="172"/>
                  <a:pt x="2" y="172"/>
                </a:cubicBezTo>
                <a:cubicBezTo>
                  <a:pt x="3" y="173"/>
                  <a:pt x="3" y="175"/>
                  <a:pt x="4" y="173"/>
                </a:cubicBezTo>
                <a:cubicBezTo>
                  <a:pt x="5" y="173"/>
                  <a:pt x="4" y="171"/>
                  <a:pt x="6" y="172"/>
                </a:cubicBezTo>
                <a:cubicBezTo>
                  <a:pt x="5" y="172"/>
                  <a:pt x="4" y="173"/>
                  <a:pt x="4" y="174"/>
                </a:cubicBezTo>
                <a:cubicBezTo>
                  <a:pt x="5" y="174"/>
                  <a:pt x="6" y="174"/>
                  <a:pt x="7" y="173"/>
                </a:cubicBezTo>
                <a:cubicBezTo>
                  <a:pt x="7" y="173"/>
                  <a:pt x="7" y="173"/>
                  <a:pt x="7" y="173"/>
                </a:cubicBezTo>
                <a:cubicBezTo>
                  <a:pt x="7" y="174"/>
                  <a:pt x="7" y="174"/>
                  <a:pt x="7" y="174"/>
                </a:cubicBezTo>
                <a:cubicBezTo>
                  <a:pt x="8" y="174"/>
                  <a:pt x="8" y="174"/>
                  <a:pt x="8" y="174"/>
                </a:cubicBezTo>
                <a:cubicBezTo>
                  <a:pt x="8" y="174"/>
                  <a:pt x="8" y="175"/>
                  <a:pt x="8" y="175"/>
                </a:cubicBezTo>
                <a:cubicBezTo>
                  <a:pt x="8" y="175"/>
                  <a:pt x="7" y="175"/>
                  <a:pt x="7" y="175"/>
                </a:cubicBezTo>
                <a:cubicBezTo>
                  <a:pt x="7" y="176"/>
                  <a:pt x="7" y="176"/>
                  <a:pt x="7" y="177"/>
                </a:cubicBezTo>
                <a:cubicBezTo>
                  <a:pt x="7" y="177"/>
                  <a:pt x="7" y="178"/>
                  <a:pt x="6" y="179"/>
                </a:cubicBezTo>
                <a:cubicBezTo>
                  <a:pt x="6" y="180"/>
                  <a:pt x="5" y="182"/>
                  <a:pt x="7" y="181"/>
                </a:cubicBezTo>
                <a:cubicBezTo>
                  <a:pt x="7" y="181"/>
                  <a:pt x="6" y="182"/>
                  <a:pt x="6" y="182"/>
                </a:cubicBezTo>
                <a:cubicBezTo>
                  <a:pt x="6" y="183"/>
                  <a:pt x="7" y="183"/>
                  <a:pt x="7" y="184"/>
                </a:cubicBezTo>
                <a:cubicBezTo>
                  <a:pt x="8" y="184"/>
                  <a:pt x="8" y="185"/>
                  <a:pt x="8" y="186"/>
                </a:cubicBezTo>
                <a:cubicBezTo>
                  <a:pt x="8" y="187"/>
                  <a:pt x="9" y="188"/>
                  <a:pt x="9" y="189"/>
                </a:cubicBezTo>
                <a:cubicBezTo>
                  <a:pt x="10" y="191"/>
                  <a:pt x="11" y="193"/>
                  <a:pt x="13" y="194"/>
                </a:cubicBezTo>
                <a:cubicBezTo>
                  <a:pt x="13" y="195"/>
                  <a:pt x="14" y="195"/>
                  <a:pt x="15" y="196"/>
                </a:cubicBezTo>
                <a:cubicBezTo>
                  <a:pt x="15" y="196"/>
                  <a:pt x="16" y="198"/>
                  <a:pt x="16" y="198"/>
                </a:cubicBezTo>
                <a:cubicBezTo>
                  <a:pt x="18" y="199"/>
                  <a:pt x="18" y="198"/>
                  <a:pt x="18" y="200"/>
                </a:cubicBezTo>
                <a:cubicBezTo>
                  <a:pt x="18" y="201"/>
                  <a:pt x="16" y="200"/>
                  <a:pt x="15" y="201"/>
                </a:cubicBezTo>
                <a:cubicBezTo>
                  <a:pt x="15" y="202"/>
                  <a:pt x="15" y="201"/>
                  <a:pt x="15" y="202"/>
                </a:cubicBezTo>
                <a:cubicBezTo>
                  <a:pt x="16" y="202"/>
                  <a:pt x="16" y="202"/>
                  <a:pt x="16" y="202"/>
                </a:cubicBezTo>
                <a:cubicBezTo>
                  <a:pt x="17" y="202"/>
                  <a:pt x="17" y="203"/>
                  <a:pt x="17" y="204"/>
                </a:cubicBezTo>
                <a:cubicBezTo>
                  <a:pt x="16" y="204"/>
                  <a:pt x="15" y="203"/>
                  <a:pt x="14" y="203"/>
                </a:cubicBezTo>
                <a:cubicBezTo>
                  <a:pt x="14" y="204"/>
                  <a:pt x="15" y="205"/>
                  <a:pt x="15" y="206"/>
                </a:cubicBezTo>
                <a:cubicBezTo>
                  <a:pt x="16" y="207"/>
                  <a:pt x="17" y="208"/>
                  <a:pt x="17" y="209"/>
                </a:cubicBezTo>
                <a:cubicBezTo>
                  <a:pt x="17" y="210"/>
                  <a:pt x="18" y="211"/>
                  <a:pt x="18" y="211"/>
                </a:cubicBezTo>
                <a:cubicBezTo>
                  <a:pt x="19" y="211"/>
                  <a:pt x="20" y="212"/>
                  <a:pt x="19" y="213"/>
                </a:cubicBezTo>
                <a:cubicBezTo>
                  <a:pt x="19" y="213"/>
                  <a:pt x="19" y="213"/>
                  <a:pt x="19" y="213"/>
                </a:cubicBezTo>
                <a:cubicBezTo>
                  <a:pt x="18" y="213"/>
                  <a:pt x="19" y="214"/>
                  <a:pt x="19" y="215"/>
                </a:cubicBezTo>
                <a:cubicBezTo>
                  <a:pt x="19" y="215"/>
                  <a:pt x="19" y="215"/>
                  <a:pt x="18" y="215"/>
                </a:cubicBezTo>
                <a:cubicBezTo>
                  <a:pt x="18" y="216"/>
                  <a:pt x="18" y="216"/>
                  <a:pt x="17" y="216"/>
                </a:cubicBezTo>
                <a:cubicBezTo>
                  <a:pt x="22" y="216"/>
                  <a:pt x="27" y="216"/>
                  <a:pt x="31" y="216"/>
                </a:cubicBezTo>
                <a:cubicBezTo>
                  <a:pt x="32" y="216"/>
                  <a:pt x="33" y="214"/>
                  <a:pt x="33" y="214"/>
                </a:cubicBezTo>
                <a:cubicBezTo>
                  <a:pt x="33" y="214"/>
                  <a:pt x="32" y="213"/>
                  <a:pt x="32" y="212"/>
                </a:cubicBezTo>
                <a:cubicBezTo>
                  <a:pt x="32" y="211"/>
                  <a:pt x="31" y="210"/>
                  <a:pt x="32" y="209"/>
                </a:cubicBezTo>
                <a:cubicBezTo>
                  <a:pt x="34" y="206"/>
                  <a:pt x="38" y="206"/>
                  <a:pt x="41" y="205"/>
                </a:cubicBezTo>
                <a:cubicBezTo>
                  <a:pt x="43" y="205"/>
                  <a:pt x="44" y="204"/>
                  <a:pt x="46" y="204"/>
                </a:cubicBezTo>
                <a:cubicBezTo>
                  <a:pt x="47" y="205"/>
                  <a:pt x="47" y="205"/>
                  <a:pt x="48" y="206"/>
                </a:cubicBezTo>
                <a:cubicBezTo>
                  <a:pt x="50" y="204"/>
                  <a:pt x="51" y="201"/>
                  <a:pt x="53" y="198"/>
                </a:cubicBezTo>
                <a:cubicBezTo>
                  <a:pt x="53" y="198"/>
                  <a:pt x="54" y="197"/>
                  <a:pt x="54" y="196"/>
                </a:cubicBezTo>
                <a:cubicBezTo>
                  <a:pt x="54" y="196"/>
                  <a:pt x="54" y="196"/>
                  <a:pt x="54" y="196"/>
                </a:cubicBezTo>
                <a:cubicBezTo>
                  <a:pt x="54" y="195"/>
                  <a:pt x="54" y="194"/>
                  <a:pt x="54" y="193"/>
                </a:cubicBezTo>
                <a:cubicBezTo>
                  <a:pt x="54" y="192"/>
                  <a:pt x="54" y="192"/>
                  <a:pt x="55" y="192"/>
                </a:cubicBezTo>
                <a:cubicBezTo>
                  <a:pt x="56" y="192"/>
                  <a:pt x="54" y="189"/>
                  <a:pt x="55" y="188"/>
                </a:cubicBezTo>
                <a:cubicBezTo>
                  <a:pt x="55" y="187"/>
                  <a:pt x="57" y="187"/>
                  <a:pt x="56" y="185"/>
                </a:cubicBezTo>
                <a:cubicBezTo>
                  <a:pt x="56" y="185"/>
                  <a:pt x="56" y="185"/>
                  <a:pt x="55" y="184"/>
                </a:cubicBezTo>
                <a:cubicBezTo>
                  <a:pt x="55" y="184"/>
                  <a:pt x="56" y="184"/>
                  <a:pt x="56" y="184"/>
                </a:cubicBezTo>
                <a:cubicBezTo>
                  <a:pt x="56" y="183"/>
                  <a:pt x="56" y="183"/>
                  <a:pt x="56" y="182"/>
                </a:cubicBezTo>
                <a:cubicBezTo>
                  <a:pt x="57" y="183"/>
                  <a:pt x="57" y="182"/>
                  <a:pt x="56" y="181"/>
                </a:cubicBezTo>
                <a:cubicBezTo>
                  <a:pt x="56" y="181"/>
                  <a:pt x="55" y="180"/>
                  <a:pt x="54" y="179"/>
                </a:cubicBezTo>
                <a:cubicBezTo>
                  <a:pt x="55" y="180"/>
                  <a:pt x="55" y="179"/>
                  <a:pt x="56" y="179"/>
                </a:cubicBezTo>
                <a:cubicBezTo>
                  <a:pt x="56" y="179"/>
                  <a:pt x="57" y="180"/>
                  <a:pt x="58" y="179"/>
                </a:cubicBezTo>
                <a:cubicBezTo>
                  <a:pt x="57" y="179"/>
                  <a:pt x="57" y="178"/>
                  <a:pt x="56" y="178"/>
                </a:cubicBezTo>
                <a:cubicBezTo>
                  <a:pt x="57" y="177"/>
                  <a:pt x="58" y="176"/>
                  <a:pt x="58" y="175"/>
                </a:cubicBezTo>
                <a:cubicBezTo>
                  <a:pt x="58" y="173"/>
                  <a:pt x="58" y="174"/>
                  <a:pt x="56" y="173"/>
                </a:cubicBezTo>
                <a:cubicBezTo>
                  <a:pt x="57" y="173"/>
                  <a:pt x="57" y="173"/>
                  <a:pt x="57" y="173"/>
                </a:cubicBezTo>
                <a:cubicBezTo>
                  <a:pt x="56" y="172"/>
                  <a:pt x="55" y="172"/>
                  <a:pt x="54" y="171"/>
                </a:cubicBezTo>
                <a:cubicBezTo>
                  <a:pt x="56" y="171"/>
                  <a:pt x="57" y="173"/>
                  <a:pt x="59" y="171"/>
                </a:cubicBezTo>
                <a:cubicBezTo>
                  <a:pt x="58" y="170"/>
                  <a:pt x="57" y="169"/>
                  <a:pt x="55" y="169"/>
                </a:cubicBezTo>
                <a:cubicBezTo>
                  <a:pt x="55" y="169"/>
                  <a:pt x="55" y="169"/>
                  <a:pt x="55" y="169"/>
                </a:cubicBezTo>
                <a:cubicBezTo>
                  <a:pt x="54" y="169"/>
                  <a:pt x="54" y="169"/>
                  <a:pt x="54" y="169"/>
                </a:cubicBezTo>
                <a:cubicBezTo>
                  <a:pt x="54" y="169"/>
                  <a:pt x="53" y="169"/>
                  <a:pt x="52" y="169"/>
                </a:cubicBezTo>
                <a:cubicBezTo>
                  <a:pt x="51" y="169"/>
                  <a:pt x="53" y="168"/>
                  <a:pt x="53" y="168"/>
                </a:cubicBezTo>
                <a:cubicBezTo>
                  <a:pt x="53" y="168"/>
                  <a:pt x="54" y="168"/>
                  <a:pt x="54" y="168"/>
                </a:cubicBezTo>
                <a:cubicBezTo>
                  <a:pt x="55" y="168"/>
                  <a:pt x="56" y="169"/>
                  <a:pt x="56" y="169"/>
                </a:cubicBezTo>
                <a:cubicBezTo>
                  <a:pt x="59" y="169"/>
                  <a:pt x="62" y="168"/>
                  <a:pt x="64" y="167"/>
                </a:cubicBezTo>
                <a:cubicBezTo>
                  <a:pt x="65" y="167"/>
                  <a:pt x="66" y="165"/>
                  <a:pt x="66" y="164"/>
                </a:cubicBezTo>
                <a:cubicBezTo>
                  <a:pt x="66" y="164"/>
                  <a:pt x="67" y="164"/>
                  <a:pt x="67" y="165"/>
                </a:cubicBezTo>
                <a:cubicBezTo>
                  <a:pt x="67" y="164"/>
                  <a:pt x="67" y="162"/>
                  <a:pt x="67" y="161"/>
                </a:cubicBezTo>
                <a:cubicBezTo>
                  <a:pt x="68" y="160"/>
                  <a:pt x="68" y="162"/>
                  <a:pt x="67" y="162"/>
                </a:cubicBezTo>
                <a:cubicBezTo>
                  <a:pt x="68" y="163"/>
                  <a:pt x="67" y="165"/>
                  <a:pt x="69" y="166"/>
                </a:cubicBezTo>
                <a:cubicBezTo>
                  <a:pt x="69" y="166"/>
                  <a:pt x="69" y="166"/>
                  <a:pt x="69" y="166"/>
                </a:cubicBezTo>
                <a:cubicBezTo>
                  <a:pt x="69" y="165"/>
                  <a:pt x="69" y="165"/>
                  <a:pt x="70" y="164"/>
                </a:cubicBezTo>
                <a:cubicBezTo>
                  <a:pt x="71" y="163"/>
                  <a:pt x="73" y="162"/>
                  <a:pt x="75" y="161"/>
                </a:cubicBezTo>
                <a:cubicBezTo>
                  <a:pt x="74" y="161"/>
                  <a:pt x="74" y="160"/>
                  <a:pt x="73" y="159"/>
                </a:cubicBezTo>
                <a:cubicBezTo>
                  <a:pt x="74" y="159"/>
                  <a:pt x="75" y="160"/>
                  <a:pt x="76" y="159"/>
                </a:cubicBezTo>
                <a:cubicBezTo>
                  <a:pt x="76" y="159"/>
                  <a:pt x="75" y="159"/>
                  <a:pt x="74" y="159"/>
                </a:cubicBezTo>
                <a:cubicBezTo>
                  <a:pt x="75" y="159"/>
                  <a:pt x="77" y="160"/>
                  <a:pt x="77" y="159"/>
                </a:cubicBezTo>
                <a:cubicBezTo>
                  <a:pt x="76" y="159"/>
                  <a:pt x="77" y="158"/>
                  <a:pt x="76" y="158"/>
                </a:cubicBezTo>
                <a:cubicBezTo>
                  <a:pt x="76" y="157"/>
                  <a:pt x="75" y="157"/>
                  <a:pt x="74" y="157"/>
                </a:cubicBezTo>
                <a:cubicBezTo>
                  <a:pt x="74" y="157"/>
                  <a:pt x="75" y="158"/>
                  <a:pt x="75" y="158"/>
                </a:cubicBezTo>
                <a:cubicBezTo>
                  <a:pt x="74" y="158"/>
                  <a:pt x="74" y="158"/>
                  <a:pt x="74" y="158"/>
                </a:cubicBezTo>
                <a:cubicBezTo>
                  <a:pt x="74" y="158"/>
                  <a:pt x="74" y="158"/>
                  <a:pt x="74" y="158"/>
                </a:cubicBezTo>
                <a:cubicBezTo>
                  <a:pt x="72" y="157"/>
                  <a:pt x="72" y="157"/>
                  <a:pt x="72" y="157"/>
                </a:cubicBezTo>
                <a:cubicBezTo>
                  <a:pt x="72" y="158"/>
                  <a:pt x="72" y="158"/>
                  <a:pt x="72" y="158"/>
                </a:cubicBezTo>
                <a:cubicBezTo>
                  <a:pt x="72" y="158"/>
                  <a:pt x="72" y="158"/>
                  <a:pt x="72" y="158"/>
                </a:cubicBezTo>
                <a:cubicBezTo>
                  <a:pt x="71" y="158"/>
                  <a:pt x="71" y="156"/>
                  <a:pt x="72" y="157"/>
                </a:cubicBezTo>
                <a:cubicBezTo>
                  <a:pt x="72" y="157"/>
                  <a:pt x="72" y="157"/>
                  <a:pt x="72" y="157"/>
                </a:cubicBezTo>
                <a:cubicBezTo>
                  <a:pt x="72" y="157"/>
                  <a:pt x="73" y="157"/>
                  <a:pt x="73" y="157"/>
                </a:cubicBezTo>
                <a:cubicBezTo>
                  <a:pt x="73" y="157"/>
                  <a:pt x="73" y="157"/>
                  <a:pt x="72" y="156"/>
                </a:cubicBezTo>
                <a:cubicBezTo>
                  <a:pt x="74" y="156"/>
                  <a:pt x="75" y="155"/>
                  <a:pt x="76" y="154"/>
                </a:cubicBezTo>
                <a:cubicBezTo>
                  <a:pt x="78" y="153"/>
                  <a:pt x="79" y="152"/>
                  <a:pt x="81" y="152"/>
                </a:cubicBezTo>
                <a:cubicBezTo>
                  <a:pt x="80" y="150"/>
                  <a:pt x="79" y="148"/>
                  <a:pt x="78" y="146"/>
                </a:cubicBezTo>
                <a:cubicBezTo>
                  <a:pt x="78" y="146"/>
                  <a:pt x="76" y="146"/>
                  <a:pt x="76" y="146"/>
                </a:cubicBezTo>
                <a:cubicBezTo>
                  <a:pt x="76" y="145"/>
                  <a:pt x="76" y="145"/>
                  <a:pt x="76" y="144"/>
                </a:cubicBezTo>
                <a:cubicBezTo>
                  <a:pt x="75" y="143"/>
                  <a:pt x="74" y="143"/>
                  <a:pt x="74" y="142"/>
                </a:cubicBezTo>
                <a:cubicBezTo>
                  <a:pt x="73" y="141"/>
                  <a:pt x="72" y="141"/>
                  <a:pt x="71" y="140"/>
                </a:cubicBezTo>
                <a:cubicBezTo>
                  <a:pt x="71" y="140"/>
                  <a:pt x="70" y="139"/>
                  <a:pt x="70" y="139"/>
                </a:cubicBezTo>
                <a:cubicBezTo>
                  <a:pt x="69" y="138"/>
                  <a:pt x="68" y="141"/>
                  <a:pt x="66" y="140"/>
                </a:cubicBezTo>
                <a:cubicBezTo>
                  <a:pt x="65" y="139"/>
                  <a:pt x="63" y="137"/>
                  <a:pt x="62" y="137"/>
                </a:cubicBezTo>
                <a:cubicBezTo>
                  <a:pt x="62" y="137"/>
                  <a:pt x="62" y="137"/>
                  <a:pt x="63" y="136"/>
                </a:cubicBezTo>
                <a:cubicBezTo>
                  <a:pt x="63" y="136"/>
                  <a:pt x="63" y="136"/>
                  <a:pt x="63" y="136"/>
                </a:cubicBezTo>
                <a:cubicBezTo>
                  <a:pt x="62" y="135"/>
                  <a:pt x="62" y="134"/>
                  <a:pt x="62" y="134"/>
                </a:cubicBezTo>
                <a:cubicBezTo>
                  <a:pt x="61" y="133"/>
                  <a:pt x="61" y="133"/>
                  <a:pt x="61" y="132"/>
                </a:cubicBezTo>
                <a:cubicBezTo>
                  <a:pt x="61" y="131"/>
                  <a:pt x="61" y="129"/>
                  <a:pt x="61" y="128"/>
                </a:cubicBezTo>
                <a:cubicBezTo>
                  <a:pt x="63" y="129"/>
                  <a:pt x="61" y="127"/>
                  <a:pt x="61" y="127"/>
                </a:cubicBezTo>
                <a:cubicBezTo>
                  <a:pt x="61" y="126"/>
                  <a:pt x="61" y="126"/>
                  <a:pt x="61" y="125"/>
                </a:cubicBezTo>
                <a:cubicBezTo>
                  <a:pt x="61" y="125"/>
                  <a:pt x="61" y="124"/>
                  <a:pt x="61" y="124"/>
                </a:cubicBezTo>
                <a:cubicBezTo>
                  <a:pt x="61" y="124"/>
                  <a:pt x="61" y="124"/>
                  <a:pt x="62" y="124"/>
                </a:cubicBezTo>
                <a:cubicBezTo>
                  <a:pt x="61" y="124"/>
                  <a:pt x="61" y="124"/>
                  <a:pt x="61" y="124"/>
                </a:cubicBezTo>
                <a:cubicBezTo>
                  <a:pt x="61" y="123"/>
                  <a:pt x="62" y="123"/>
                  <a:pt x="62" y="123"/>
                </a:cubicBezTo>
                <a:cubicBezTo>
                  <a:pt x="62" y="123"/>
                  <a:pt x="61" y="123"/>
                  <a:pt x="61" y="123"/>
                </a:cubicBezTo>
                <a:cubicBezTo>
                  <a:pt x="62" y="122"/>
                  <a:pt x="62" y="122"/>
                  <a:pt x="61" y="121"/>
                </a:cubicBezTo>
                <a:cubicBezTo>
                  <a:pt x="62" y="121"/>
                  <a:pt x="63" y="121"/>
                  <a:pt x="63" y="122"/>
                </a:cubicBezTo>
                <a:cubicBezTo>
                  <a:pt x="64" y="122"/>
                  <a:pt x="64" y="123"/>
                  <a:pt x="65" y="123"/>
                </a:cubicBezTo>
                <a:cubicBezTo>
                  <a:pt x="64" y="122"/>
                  <a:pt x="63" y="121"/>
                  <a:pt x="63" y="119"/>
                </a:cubicBezTo>
                <a:cubicBezTo>
                  <a:pt x="63" y="117"/>
                  <a:pt x="65" y="116"/>
                  <a:pt x="65" y="114"/>
                </a:cubicBezTo>
                <a:cubicBezTo>
                  <a:pt x="65" y="113"/>
                  <a:pt x="65" y="112"/>
                  <a:pt x="64" y="112"/>
                </a:cubicBezTo>
                <a:cubicBezTo>
                  <a:pt x="64" y="112"/>
                  <a:pt x="64" y="112"/>
                  <a:pt x="64" y="112"/>
                </a:cubicBezTo>
                <a:cubicBezTo>
                  <a:pt x="63" y="111"/>
                  <a:pt x="64" y="110"/>
                  <a:pt x="63" y="109"/>
                </a:cubicBezTo>
                <a:cubicBezTo>
                  <a:pt x="64" y="109"/>
                  <a:pt x="65" y="110"/>
                  <a:pt x="66" y="110"/>
                </a:cubicBezTo>
                <a:cubicBezTo>
                  <a:pt x="68" y="110"/>
                  <a:pt x="68" y="109"/>
                  <a:pt x="69" y="107"/>
                </a:cubicBezTo>
                <a:cubicBezTo>
                  <a:pt x="69" y="106"/>
                  <a:pt x="69" y="106"/>
                  <a:pt x="70" y="105"/>
                </a:cubicBezTo>
                <a:cubicBezTo>
                  <a:pt x="70" y="105"/>
                  <a:pt x="69" y="104"/>
                  <a:pt x="69" y="104"/>
                </a:cubicBezTo>
                <a:cubicBezTo>
                  <a:pt x="69" y="103"/>
                  <a:pt x="69" y="103"/>
                  <a:pt x="68" y="102"/>
                </a:cubicBezTo>
                <a:cubicBezTo>
                  <a:pt x="68" y="102"/>
                  <a:pt x="66" y="101"/>
                  <a:pt x="67" y="101"/>
                </a:cubicBezTo>
                <a:cubicBezTo>
                  <a:pt x="68" y="99"/>
                  <a:pt x="68" y="102"/>
                  <a:pt x="69" y="102"/>
                </a:cubicBezTo>
                <a:cubicBezTo>
                  <a:pt x="69" y="102"/>
                  <a:pt x="69" y="102"/>
                  <a:pt x="69" y="103"/>
                </a:cubicBezTo>
                <a:cubicBezTo>
                  <a:pt x="69" y="103"/>
                  <a:pt x="69" y="103"/>
                  <a:pt x="69" y="104"/>
                </a:cubicBezTo>
                <a:cubicBezTo>
                  <a:pt x="70" y="104"/>
                  <a:pt x="71" y="104"/>
                  <a:pt x="71" y="104"/>
                </a:cubicBezTo>
                <a:cubicBezTo>
                  <a:pt x="71" y="105"/>
                  <a:pt x="71" y="105"/>
                  <a:pt x="72" y="104"/>
                </a:cubicBezTo>
                <a:cubicBezTo>
                  <a:pt x="72" y="103"/>
                  <a:pt x="73" y="102"/>
                  <a:pt x="73" y="101"/>
                </a:cubicBezTo>
                <a:cubicBezTo>
                  <a:pt x="73" y="101"/>
                  <a:pt x="73" y="101"/>
                  <a:pt x="72" y="101"/>
                </a:cubicBezTo>
                <a:cubicBezTo>
                  <a:pt x="74" y="100"/>
                  <a:pt x="80" y="97"/>
                  <a:pt x="80" y="98"/>
                </a:cubicBezTo>
                <a:cubicBezTo>
                  <a:pt x="81" y="97"/>
                  <a:pt x="82" y="95"/>
                  <a:pt x="83" y="94"/>
                </a:cubicBezTo>
                <a:cubicBezTo>
                  <a:pt x="83" y="93"/>
                  <a:pt x="84" y="94"/>
                  <a:pt x="85" y="94"/>
                </a:cubicBezTo>
                <a:cubicBezTo>
                  <a:pt x="85" y="93"/>
                  <a:pt x="85" y="93"/>
                  <a:pt x="85" y="92"/>
                </a:cubicBezTo>
                <a:cubicBezTo>
                  <a:pt x="87" y="92"/>
                  <a:pt x="86" y="95"/>
                  <a:pt x="89" y="93"/>
                </a:cubicBezTo>
                <a:cubicBezTo>
                  <a:pt x="90" y="91"/>
                  <a:pt x="92" y="90"/>
                  <a:pt x="94" y="89"/>
                </a:cubicBezTo>
                <a:cubicBezTo>
                  <a:pt x="94" y="91"/>
                  <a:pt x="95" y="89"/>
                  <a:pt x="96" y="89"/>
                </a:cubicBezTo>
                <a:cubicBezTo>
                  <a:pt x="97" y="88"/>
                  <a:pt x="97" y="88"/>
                  <a:pt x="98" y="87"/>
                </a:cubicBezTo>
                <a:cubicBezTo>
                  <a:pt x="99" y="85"/>
                  <a:pt x="101" y="83"/>
                  <a:pt x="102" y="81"/>
                </a:cubicBezTo>
                <a:cubicBezTo>
                  <a:pt x="103" y="80"/>
                  <a:pt x="104" y="80"/>
                  <a:pt x="104" y="80"/>
                </a:cubicBezTo>
                <a:cubicBezTo>
                  <a:pt x="105" y="79"/>
                  <a:pt x="106" y="78"/>
                  <a:pt x="107" y="78"/>
                </a:cubicBezTo>
                <a:cubicBezTo>
                  <a:pt x="106" y="78"/>
                  <a:pt x="106" y="77"/>
                  <a:pt x="105" y="77"/>
                </a:cubicBezTo>
                <a:cubicBezTo>
                  <a:pt x="105" y="76"/>
                  <a:pt x="106" y="76"/>
                  <a:pt x="106" y="76"/>
                </a:cubicBezTo>
                <a:cubicBezTo>
                  <a:pt x="106" y="76"/>
                  <a:pt x="105" y="75"/>
                  <a:pt x="104" y="75"/>
                </a:cubicBezTo>
                <a:cubicBezTo>
                  <a:pt x="104" y="75"/>
                  <a:pt x="103" y="74"/>
                  <a:pt x="102" y="74"/>
                </a:cubicBezTo>
                <a:cubicBezTo>
                  <a:pt x="102" y="74"/>
                  <a:pt x="103" y="74"/>
                  <a:pt x="104" y="74"/>
                </a:cubicBezTo>
                <a:cubicBezTo>
                  <a:pt x="103" y="74"/>
                  <a:pt x="103" y="72"/>
                  <a:pt x="103" y="72"/>
                </a:cubicBezTo>
                <a:cubicBezTo>
                  <a:pt x="102" y="72"/>
                  <a:pt x="102" y="72"/>
                  <a:pt x="101" y="72"/>
                </a:cubicBezTo>
                <a:cubicBezTo>
                  <a:pt x="100" y="71"/>
                  <a:pt x="105" y="68"/>
                  <a:pt x="106" y="68"/>
                </a:cubicBezTo>
                <a:cubicBezTo>
                  <a:pt x="107" y="67"/>
                  <a:pt x="106" y="65"/>
                  <a:pt x="107" y="64"/>
                </a:cubicBezTo>
                <a:cubicBezTo>
                  <a:pt x="107" y="64"/>
                  <a:pt x="108" y="64"/>
                  <a:pt x="108" y="63"/>
                </a:cubicBezTo>
                <a:cubicBezTo>
                  <a:pt x="108" y="63"/>
                  <a:pt x="107" y="63"/>
                  <a:pt x="106" y="63"/>
                </a:cubicBezTo>
                <a:cubicBezTo>
                  <a:pt x="104" y="63"/>
                  <a:pt x="108" y="60"/>
                  <a:pt x="109" y="60"/>
                </a:cubicBezTo>
                <a:cubicBezTo>
                  <a:pt x="110" y="59"/>
                  <a:pt x="111" y="58"/>
                  <a:pt x="112" y="59"/>
                </a:cubicBezTo>
                <a:cubicBezTo>
                  <a:pt x="113" y="59"/>
                  <a:pt x="115" y="60"/>
                  <a:pt x="115" y="58"/>
                </a:cubicBezTo>
                <a:cubicBezTo>
                  <a:pt x="115" y="57"/>
                  <a:pt x="113" y="58"/>
                  <a:pt x="114" y="57"/>
                </a:cubicBezTo>
                <a:cubicBezTo>
                  <a:pt x="114" y="56"/>
                  <a:pt x="114" y="56"/>
                  <a:pt x="114" y="56"/>
                </a:cubicBezTo>
                <a:cubicBezTo>
                  <a:pt x="115" y="56"/>
                  <a:pt x="114" y="56"/>
                  <a:pt x="114" y="55"/>
                </a:cubicBezTo>
                <a:cubicBezTo>
                  <a:pt x="114" y="55"/>
                  <a:pt x="115" y="55"/>
                  <a:pt x="115" y="54"/>
                </a:cubicBezTo>
                <a:cubicBezTo>
                  <a:pt x="116" y="54"/>
                  <a:pt x="116" y="55"/>
                  <a:pt x="117" y="55"/>
                </a:cubicBezTo>
                <a:cubicBezTo>
                  <a:pt x="118" y="56"/>
                  <a:pt x="118" y="55"/>
                  <a:pt x="118" y="54"/>
                </a:cubicBezTo>
                <a:cubicBezTo>
                  <a:pt x="119" y="54"/>
                  <a:pt x="122" y="56"/>
                  <a:pt x="122" y="57"/>
                </a:cubicBezTo>
                <a:cubicBezTo>
                  <a:pt x="122" y="56"/>
                  <a:pt x="123" y="55"/>
                  <a:pt x="123" y="55"/>
                </a:cubicBezTo>
                <a:cubicBezTo>
                  <a:pt x="125" y="54"/>
                  <a:pt x="128" y="55"/>
                  <a:pt x="131" y="55"/>
                </a:cubicBezTo>
                <a:close/>
                <a:moveTo>
                  <a:pt x="73" y="159"/>
                </a:moveTo>
                <a:cubicBezTo>
                  <a:pt x="73" y="159"/>
                  <a:pt x="73" y="158"/>
                  <a:pt x="73" y="158"/>
                </a:cubicBezTo>
                <a:cubicBezTo>
                  <a:pt x="74" y="158"/>
                  <a:pt x="73" y="159"/>
                  <a:pt x="73" y="159"/>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23" name="Freeform 2979">
            <a:extLst>
              <a:ext uri="{FF2B5EF4-FFF2-40B4-BE49-F238E27FC236}">
                <a16:creationId xmlns:a16="http://schemas.microsoft.com/office/drawing/2014/main" id="{BD2266D5-6950-4FB9-A06B-CFB38849DAFC}"/>
              </a:ext>
            </a:extLst>
          </p:cNvPr>
          <p:cNvSpPr>
            <a:spLocks/>
          </p:cNvSpPr>
          <p:nvPr/>
        </p:nvSpPr>
        <p:spPr bwMode="auto">
          <a:xfrm>
            <a:off x="3758743" y="3264119"/>
            <a:ext cx="49060" cy="62327"/>
          </a:xfrm>
          <a:custGeom>
            <a:avLst/>
            <a:gdLst>
              <a:gd name="T0" fmla="*/ 41 w 42"/>
              <a:gd name="T1" fmla="*/ 11 h 44"/>
              <a:gd name="T2" fmla="*/ 38 w 42"/>
              <a:gd name="T3" fmla="*/ 0 h 44"/>
              <a:gd name="T4" fmla="*/ 33 w 42"/>
              <a:gd name="T5" fmla="*/ 3 h 44"/>
              <a:gd name="T6" fmla="*/ 31 w 42"/>
              <a:gd name="T7" fmla="*/ 5 h 44"/>
              <a:gd name="T8" fmla="*/ 28 w 42"/>
              <a:gd name="T9" fmla="*/ 6 h 44"/>
              <a:gd name="T10" fmla="*/ 24 w 42"/>
              <a:gd name="T11" fmla="*/ 9 h 44"/>
              <a:gd name="T12" fmla="*/ 24 w 42"/>
              <a:gd name="T13" fmla="*/ 9 h 44"/>
              <a:gd name="T14" fmla="*/ 22 w 42"/>
              <a:gd name="T15" fmla="*/ 10 h 44"/>
              <a:gd name="T16" fmla="*/ 21 w 42"/>
              <a:gd name="T17" fmla="*/ 11 h 44"/>
              <a:gd name="T18" fmla="*/ 20 w 42"/>
              <a:gd name="T19" fmla="*/ 11 h 44"/>
              <a:gd name="T20" fmla="*/ 19 w 42"/>
              <a:gd name="T21" fmla="*/ 12 h 44"/>
              <a:gd name="T22" fmla="*/ 19 w 42"/>
              <a:gd name="T23" fmla="*/ 12 h 44"/>
              <a:gd name="T24" fmla="*/ 18 w 42"/>
              <a:gd name="T25" fmla="*/ 12 h 44"/>
              <a:gd name="T26" fmla="*/ 17 w 42"/>
              <a:gd name="T27" fmla="*/ 11 h 44"/>
              <a:gd name="T28" fmla="*/ 15 w 42"/>
              <a:gd name="T29" fmla="*/ 11 h 44"/>
              <a:gd name="T30" fmla="*/ 13 w 42"/>
              <a:gd name="T31" fmla="*/ 10 h 44"/>
              <a:gd name="T32" fmla="*/ 11 w 42"/>
              <a:gd name="T33" fmla="*/ 9 h 44"/>
              <a:gd name="T34" fmla="*/ 9 w 42"/>
              <a:gd name="T35" fmla="*/ 8 h 44"/>
              <a:gd name="T36" fmla="*/ 9 w 42"/>
              <a:gd name="T37" fmla="*/ 8 h 44"/>
              <a:gd name="T38" fmla="*/ 8 w 42"/>
              <a:gd name="T39" fmla="*/ 7 h 44"/>
              <a:gd name="T40" fmla="*/ 8 w 42"/>
              <a:gd name="T41" fmla="*/ 7 h 44"/>
              <a:gd name="T42" fmla="*/ 8 w 42"/>
              <a:gd name="T43" fmla="*/ 8 h 44"/>
              <a:gd name="T44" fmla="*/ 7 w 42"/>
              <a:gd name="T45" fmla="*/ 11 h 44"/>
              <a:gd name="T46" fmla="*/ 6 w 42"/>
              <a:gd name="T47" fmla="*/ 16 h 44"/>
              <a:gd name="T48" fmla="*/ 5 w 42"/>
              <a:gd name="T49" fmla="*/ 19 h 44"/>
              <a:gd name="T50" fmla="*/ 6 w 42"/>
              <a:gd name="T51" fmla="*/ 21 h 44"/>
              <a:gd name="T52" fmla="*/ 5 w 42"/>
              <a:gd name="T53" fmla="*/ 27 h 44"/>
              <a:gd name="T54" fmla="*/ 4 w 42"/>
              <a:gd name="T55" fmla="*/ 30 h 44"/>
              <a:gd name="T56" fmla="*/ 1 w 42"/>
              <a:gd name="T57" fmla="*/ 42 h 44"/>
              <a:gd name="T58" fmla="*/ 0 w 42"/>
              <a:gd name="T59" fmla="*/ 42 h 44"/>
              <a:gd name="T60" fmla="*/ 1 w 42"/>
              <a:gd name="T61" fmla="*/ 43 h 44"/>
              <a:gd name="T62" fmla="*/ 1 w 42"/>
              <a:gd name="T63" fmla="*/ 43 h 44"/>
              <a:gd name="T64" fmla="*/ 8 w 42"/>
              <a:gd name="T65" fmla="*/ 44 h 44"/>
              <a:gd name="T66" fmla="*/ 9 w 42"/>
              <a:gd name="T67" fmla="*/ 44 h 44"/>
              <a:gd name="T68" fmla="*/ 12 w 42"/>
              <a:gd name="T69" fmla="*/ 43 h 44"/>
              <a:gd name="T70" fmla="*/ 13 w 42"/>
              <a:gd name="T71" fmla="*/ 42 h 44"/>
              <a:gd name="T72" fmla="*/ 15 w 42"/>
              <a:gd name="T73" fmla="*/ 40 h 44"/>
              <a:gd name="T74" fmla="*/ 20 w 42"/>
              <a:gd name="T75" fmla="*/ 36 h 44"/>
              <a:gd name="T76" fmla="*/ 22 w 42"/>
              <a:gd name="T77" fmla="*/ 36 h 44"/>
              <a:gd name="T78" fmla="*/ 23 w 42"/>
              <a:gd name="T79" fmla="*/ 36 h 44"/>
              <a:gd name="T80" fmla="*/ 25 w 42"/>
              <a:gd name="T81" fmla="*/ 35 h 44"/>
              <a:gd name="T82" fmla="*/ 30 w 42"/>
              <a:gd name="T83" fmla="*/ 31 h 44"/>
              <a:gd name="T84" fmla="*/ 29 w 42"/>
              <a:gd name="T85" fmla="*/ 30 h 44"/>
              <a:gd name="T86" fmla="*/ 28 w 42"/>
              <a:gd name="T87" fmla="*/ 29 h 44"/>
              <a:gd name="T88" fmla="*/ 18 w 42"/>
              <a:gd name="T89" fmla="*/ 19 h 44"/>
              <a:gd name="T90" fmla="*/ 24 w 42"/>
              <a:gd name="T91" fmla="*/ 18 h 44"/>
              <a:gd name="T92" fmla="*/ 34 w 42"/>
              <a:gd name="T93" fmla="*/ 14 h 44"/>
              <a:gd name="T94" fmla="*/ 36 w 42"/>
              <a:gd name="T95" fmla="*/ 14 h 44"/>
              <a:gd name="T96" fmla="*/ 37 w 42"/>
              <a:gd name="T97" fmla="*/ 13 h 44"/>
              <a:gd name="T98" fmla="*/ 41 w 42"/>
              <a:gd name="T99" fmla="*/ 1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2" h="44">
                <a:moveTo>
                  <a:pt x="41" y="11"/>
                </a:moveTo>
                <a:cubicBezTo>
                  <a:pt x="41" y="11"/>
                  <a:pt x="41" y="11"/>
                  <a:pt x="41" y="11"/>
                </a:cubicBezTo>
                <a:cubicBezTo>
                  <a:pt x="41" y="11"/>
                  <a:pt x="41" y="11"/>
                  <a:pt x="41" y="11"/>
                </a:cubicBezTo>
                <a:cubicBezTo>
                  <a:pt x="38" y="0"/>
                  <a:pt x="38" y="0"/>
                  <a:pt x="38" y="0"/>
                </a:cubicBezTo>
                <a:cubicBezTo>
                  <a:pt x="37" y="1"/>
                  <a:pt x="35" y="2"/>
                  <a:pt x="33" y="3"/>
                </a:cubicBezTo>
                <a:cubicBezTo>
                  <a:pt x="33" y="3"/>
                  <a:pt x="33" y="3"/>
                  <a:pt x="33" y="3"/>
                </a:cubicBezTo>
                <a:cubicBezTo>
                  <a:pt x="33" y="4"/>
                  <a:pt x="32" y="4"/>
                  <a:pt x="32" y="4"/>
                </a:cubicBezTo>
                <a:cubicBezTo>
                  <a:pt x="32" y="4"/>
                  <a:pt x="31" y="4"/>
                  <a:pt x="31" y="5"/>
                </a:cubicBezTo>
                <a:cubicBezTo>
                  <a:pt x="31" y="5"/>
                  <a:pt x="31" y="5"/>
                  <a:pt x="31" y="5"/>
                </a:cubicBezTo>
                <a:cubicBezTo>
                  <a:pt x="30" y="5"/>
                  <a:pt x="29" y="6"/>
                  <a:pt x="28" y="6"/>
                </a:cubicBezTo>
                <a:cubicBezTo>
                  <a:pt x="26" y="8"/>
                  <a:pt x="26" y="8"/>
                  <a:pt x="26" y="8"/>
                </a:cubicBezTo>
                <a:cubicBezTo>
                  <a:pt x="25" y="8"/>
                  <a:pt x="25" y="8"/>
                  <a:pt x="24" y="9"/>
                </a:cubicBezTo>
                <a:cubicBezTo>
                  <a:pt x="24" y="9"/>
                  <a:pt x="24" y="9"/>
                  <a:pt x="24" y="9"/>
                </a:cubicBezTo>
                <a:cubicBezTo>
                  <a:pt x="24" y="9"/>
                  <a:pt x="24" y="9"/>
                  <a:pt x="24" y="9"/>
                </a:cubicBezTo>
                <a:cubicBezTo>
                  <a:pt x="23" y="9"/>
                  <a:pt x="23" y="9"/>
                  <a:pt x="23" y="10"/>
                </a:cubicBezTo>
                <a:cubicBezTo>
                  <a:pt x="22" y="10"/>
                  <a:pt x="22" y="10"/>
                  <a:pt x="22" y="10"/>
                </a:cubicBezTo>
                <a:cubicBezTo>
                  <a:pt x="21" y="11"/>
                  <a:pt x="21" y="11"/>
                  <a:pt x="21" y="11"/>
                </a:cubicBezTo>
                <a:cubicBezTo>
                  <a:pt x="21" y="11"/>
                  <a:pt x="21" y="11"/>
                  <a:pt x="21" y="11"/>
                </a:cubicBezTo>
                <a:cubicBezTo>
                  <a:pt x="21" y="11"/>
                  <a:pt x="21" y="11"/>
                  <a:pt x="21" y="11"/>
                </a:cubicBezTo>
                <a:cubicBezTo>
                  <a:pt x="20" y="11"/>
                  <a:pt x="20" y="11"/>
                  <a:pt x="20" y="11"/>
                </a:cubicBezTo>
                <a:cubicBezTo>
                  <a:pt x="20" y="11"/>
                  <a:pt x="20" y="11"/>
                  <a:pt x="20" y="11"/>
                </a:cubicBezTo>
                <a:cubicBezTo>
                  <a:pt x="20" y="12"/>
                  <a:pt x="19" y="12"/>
                  <a:pt x="19" y="12"/>
                </a:cubicBezTo>
                <a:cubicBezTo>
                  <a:pt x="19" y="12"/>
                  <a:pt x="19" y="12"/>
                  <a:pt x="19" y="12"/>
                </a:cubicBezTo>
                <a:cubicBezTo>
                  <a:pt x="19" y="12"/>
                  <a:pt x="19" y="12"/>
                  <a:pt x="19" y="12"/>
                </a:cubicBezTo>
                <a:cubicBezTo>
                  <a:pt x="19" y="12"/>
                  <a:pt x="18" y="12"/>
                  <a:pt x="18" y="12"/>
                </a:cubicBezTo>
                <a:cubicBezTo>
                  <a:pt x="18" y="12"/>
                  <a:pt x="18" y="12"/>
                  <a:pt x="18" y="12"/>
                </a:cubicBezTo>
                <a:cubicBezTo>
                  <a:pt x="18" y="12"/>
                  <a:pt x="17" y="12"/>
                  <a:pt x="17" y="12"/>
                </a:cubicBezTo>
                <a:cubicBezTo>
                  <a:pt x="17" y="11"/>
                  <a:pt x="17" y="11"/>
                  <a:pt x="17" y="11"/>
                </a:cubicBezTo>
                <a:cubicBezTo>
                  <a:pt x="16" y="11"/>
                  <a:pt x="16" y="11"/>
                  <a:pt x="15" y="11"/>
                </a:cubicBezTo>
                <a:cubicBezTo>
                  <a:pt x="15" y="11"/>
                  <a:pt x="15" y="11"/>
                  <a:pt x="15" y="11"/>
                </a:cubicBezTo>
                <a:cubicBezTo>
                  <a:pt x="15" y="11"/>
                  <a:pt x="14" y="11"/>
                  <a:pt x="14" y="10"/>
                </a:cubicBezTo>
                <a:cubicBezTo>
                  <a:pt x="13" y="10"/>
                  <a:pt x="13" y="10"/>
                  <a:pt x="13" y="10"/>
                </a:cubicBezTo>
                <a:cubicBezTo>
                  <a:pt x="13" y="10"/>
                  <a:pt x="12" y="10"/>
                  <a:pt x="11" y="9"/>
                </a:cubicBezTo>
                <a:cubicBezTo>
                  <a:pt x="11" y="9"/>
                  <a:pt x="11" y="9"/>
                  <a:pt x="11" y="9"/>
                </a:cubicBezTo>
                <a:cubicBezTo>
                  <a:pt x="10" y="9"/>
                  <a:pt x="10" y="9"/>
                  <a:pt x="10" y="8"/>
                </a:cubicBezTo>
                <a:cubicBezTo>
                  <a:pt x="10" y="8"/>
                  <a:pt x="9" y="8"/>
                  <a:pt x="9" y="8"/>
                </a:cubicBezTo>
                <a:cubicBezTo>
                  <a:pt x="9" y="8"/>
                  <a:pt x="9" y="8"/>
                  <a:pt x="9" y="8"/>
                </a:cubicBezTo>
                <a:cubicBezTo>
                  <a:pt x="9" y="8"/>
                  <a:pt x="9" y="8"/>
                  <a:pt x="9" y="8"/>
                </a:cubicBezTo>
                <a:cubicBezTo>
                  <a:pt x="9" y="8"/>
                  <a:pt x="9" y="8"/>
                  <a:pt x="8" y="8"/>
                </a:cubicBezTo>
                <a:cubicBezTo>
                  <a:pt x="8" y="7"/>
                  <a:pt x="8" y="7"/>
                  <a:pt x="8" y="7"/>
                </a:cubicBezTo>
                <a:cubicBezTo>
                  <a:pt x="8" y="7"/>
                  <a:pt x="8" y="7"/>
                  <a:pt x="8" y="7"/>
                </a:cubicBezTo>
                <a:cubicBezTo>
                  <a:pt x="8" y="7"/>
                  <a:pt x="8" y="7"/>
                  <a:pt x="8" y="7"/>
                </a:cubicBezTo>
                <a:cubicBezTo>
                  <a:pt x="8" y="7"/>
                  <a:pt x="8" y="8"/>
                  <a:pt x="8" y="8"/>
                </a:cubicBezTo>
                <a:cubicBezTo>
                  <a:pt x="8" y="8"/>
                  <a:pt x="8" y="8"/>
                  <a:pt x="8" y="8"/>
                </a:cubicBezTo>
                <a:cubicBezTo>
                  <a:pt x="8" y="9"/>
                  <a:pt x="8" y="9"/>
                  <a:pt x="8" y="10"/>
                </a:cubicBezTo>
                <a:cubicBezTo>
                  <a:pt x="7" y="11"/>
                  <a:pt x="7" y="11"/>
                  <a:pt x="7" y="11"/>
                </a:cubicBezTo>
                <a:cubicBezTo>
                  <a:pt x="6" y="10"/>
                  <a:pt x="6" y="10"/>
                  <a:pt x="6" y="10"/>
                </a:cubicBezTo>
                <a:cubicBezTo>
                  <a:pt x="6" y="12"/>
                  <a:pt x="6" y="14"/>
                  <a:pt x="6" y="16"/>
                </a:cubicBezTo>
                <a:cubicBezTo>
                  <a:pt x="6" y="16"/>
                  <a:pt x="6" y="16"/>
                  <a:pt x="6" y="16"/>
                </a:cubicBezTo>
                <a:cubicBezTo>
                  <a:pt x="6" y="17"/>
                  <a:pt x="6" y="18"/>
                  <a:pt x="5" y="19"/>
                </a:cubicBezTo>
                <a:cubicBezTo>
                  <a:pt x="7" y="19"/>
                  <a:pt x="7" y="19"/>
                  <a:pt x="7" y="19"/>
                </a:cubicBezTo>
                <a:cubicBezTo>
                  <a:pt x="6" y="21"/>
                  <a:pt x="6" y="21"/>
                  <a:pt x="6" y="21"/>
                </a:cubicBezTo>
                <a:cubicBezTo>
                  <a:pt x="6" y="22"/>
                  <a:pt x="6" y="24"/>
                  <a:pt x="6" y="25"/>
                </a:cubicBezTo>
                <a:cubicBezTo>
                  <a:pt x="5" y="25"/>
                  <a:pt x="5" y="26"/>
                  <a:pt x="5" y="27"/>
                </a:cubicBezTo>
                <a:cubicBezTo>
                  <a:pt x="5" y="27"/>
                  <a:pt x="5" y="27"/>
                  <a:pt x="5" y="27"/>
                </a:cubicBezTo>
                <a:cubicBezTo>
                  <a:pt x="5" y="28"/>
                  <a:pt x="4" y="29"/>
                  <a:pt x="4" y="30"/>
                </a:cubicBezTo>
                <a:cubicBezTo>
                  <a:pt x="4" y="33"/>
                  <a:pt x="4" y="33"/>
                  <a:pt x="4" y="33"/>
                </a:cubicBezTo>
                <a:cubicBezTo>
                  <a:pt x="3" y="36"/>
                  <a:pt x="2" y="39"/>
                  <a:pt x="1" y="42"/>
                </a:cubicBezTo>
                <a:cubicBezTo>
                  <a:pt x="1" y="42"/>
                  <a:pt x="1" y="42"/>
                  <a:pt x="1" y="42"/>
                </a:cubicBezTo>
                <a:cubicBezTo>
                  <a:pt x="0" y="42"/>
                  <a:pt x="0" y="42"/>
                  <a:pt x="0" y="42"/>
                </a:cubicBezTo>
                <a:cubicBezTo>
                  <a:pt x="0" y="43"/>
                  <a:pt x="0" y="43"/>
                  <a:pt x="0" y="43"/>
                </a:cubicBezTo>
                <a:cubicBezTo>
                  <a:pt x="1" y="43"/>
                  <a:pt x="1" y="43"/>
                  <a:pt x="1" y="43"/>
                </a:cubicBezTo>
                <a:cubicBezTo>
                  <a:pt x="1" y="43"/>
                  <a:pt x="1" y="43"/>
                  <a:pt x="1" y="43"/>
                </a:cubicBezTo>
                <a:cubicBezTo>
                  <a:pt x="1" y="43"/>
                  <a:pt x="1" y="43"/>
                  <a:pt x="1" y="43"/>
                </a:cubicBezTo>
                <a:cubicBezTo>
                  <a:pt x="1" y="43"/>
                  <a:pt x="1" y="43"/>
                  <a:pt x="1" y="43"/>
                </a:cubicBezTo>
                <a:cubicBezTo>
                  <a:pt x="8" y="44"/>
                  <a:pt x="8" y="44"/>
                  <a:pt x="8" y="44"/>
                </a:cubicBezTo>
                <a:cubicBezTo>
                  <a:pt x="8" y="44"/>
                  <a:pt x="8" y="44"/>
                  <a:pt x="9" y="44"/>
                </a:cubicBezTo>
                <a:cubicBezTo>
                  <a:pt x="9" y="44"/>
                  <a:pt x="9" y="44"/>
                  <a:pt x="9" y="44"/>
                </a:cubicBezTo>
                <a:cubicBezTo>
                  <a:pt x="10" y="44"/>
                  <a:pt x="11" y="44"/>
                  <a:pt x="11" y="44"/>
                </a:cubicBezTo>
                <a:cubicBezTo>
                  <a:pt x="11" y="44"/>
                  <a:pt x="11" y="44"/>
                  <a:pt x="12" y="43"/>
                </a:cubicBezTo>
                <a:cubicBezTo>
                  <a:pt x="13" y="42"/>
                  <a:pt x="13" y="42"/>
                  <a:pt x="13" y="42"/>
                </a:cubicBezTo>
                <a:cubicBezTo>
                  <a:pt x="13" y="42"/>
                  <a:pt x="13" y="42"/>
                  <a:pt x="13" y="42"/>
                </a:cubicBezTo>
                <a:cubicBezTo>
                  <a:pt x="14" y="41"/>
                  <a:pt x="14" y="41"/>
                  <a:pt x="14" y="41"/>
                </a:cubicBezTo>
                <a:cubicBezTo>
                  <a:pt x="14" y="41"/>
                  <a:pt x="15" y="40"/>
                  <a:pt x="15" y="40"/>
                </a:cubicBezTo>
                <a:cubicBezTo>
                  <a:pt x="16" y="39"/>
                  <a:pt x="17" y="37"/>
                  <a:pt x="19" y="37"/>
                </a:cubicBezTo>
                <a:cubicBezTo>
                  <a:pt x="19" y="37"/>
                  <a:pt x="20" y="36"/>
                  <a:pt x="20" y="36"/>
                </a:cubicBezTo>
                <a:cubicBezTo>
                  <a:pt x="21" y="36"/>
                  <a:pt x="21" y="36"/>
                  <a:pt x="21" y="36"/>
                </a:cubicBezTo>
                <a:cubicBezTo>
                  <a:pt x="21" y="36"/>
                  <a:pt x="21" y="36"/>
                  <a:pt x="22" y="36"/>
                </a:cubicBezTo>
                <a:cubicBezTo>
                  <a:pt x="22" y="36"/>
                  <a:pt x="22" y="36"/>
                  <a:pt x="23" y="36"/>
                </a:cubicBezTo>
                <a:cubicBezTo>
                  <a:pt x="23" y="36"/>
                  <a:pt x="23" y="36"/>
                  <a:pt x="23" y="36"/>
                </a:cubicBezTo>
                <a:cubicBezTo>
                  <a:pt x="24" y="36"/>
                  <a:pt x="25" y="36"/>
                  <a:pt x="25" y="36"/>
                </a:cubicBezTo>
                <a:cubicBezTo>
                  <a:pt x="25" y="35"/>
                  <a:pt x="25" y="35"/>
                  <a:pt x="25" y="35"/>
                </a:cubicBezTo>
                <a:cubicBezTo>
                  <a:pt x="26" y="35"/>
                  <a:pt x="26" y="35"/>
                  <a:pt x="26" y="35"/>
                </a:cubicBezTo>
                <a:cubicBezTo>
                  <a:pt x="28" y="33"/>
                  <a:pt x="29" y="31"/>
                  <a:pt x="30" y="31"/>
                </a:cubicBezTo>
                <a:cubicBezTo>
                  <a:pt x="29" y="31"/>
                  <a:pt x="29" y="31"/>
                  <a:pt x="29" y="31"/>
                </a:cubicBezTo>
                <a:cubicBezTo>
                  <a:pt x="29" y="30"/>
                  <a:pt x="29" y="30"/>
                  <a:pt x="29" y="30"/>
                </a:cubicBezTo>
                <a:cubicBezTo>
                  <a:pt x="28" y="30"/>
                  <a:pt x="28" y="30"/>
                  <a:pt x="28" y="30"/>
                </a:cubicBezTo>
                <a:cubicBezTo>
                  <a:pt x="28" y="29"/>
                  <a:pt x="28" y="29"/>
                  <a:pt x="28" y="29"/>
                </a:cubicBezTo>
                <a:cubicBezTo>
                  <a:pt x="25" y="26"/>
                  <a:pt x="22" y="23"/>
                  <a:pt x="20" y="21"/>
                </a:cubicBezTo>
                <a:cubicBezTo>
                  <a:pt x="18" y="19"/>
                  <a:pt x="18" y="19"/>
                  <a:pt x="18" y="19"/>
                </a:cubicBezTo>
                <a:cubicBezTo>
                  <a:pt x="20" y="18"/>
                  <a:pt x="20" y="18"/>
                  <a:pt x="20" y="18"/>
                </a:cubicBezTo>
                <a:cubicBezTo>
                  <a:pt x="21" y="18"/>
                  <a:pt x="22" y="18"/>
                  <a:pt x="24" y="18"/>
                </a:cubicBezTo>
                <a:cubicBezTo>
                  <a:pt x="24" y="18"/>
                  <a:pt x="24" y="18"/>
                  <a:pt x="24" y="18"/>
                </a:cubicBezTo>
                <a:cubicBezTo>
                  <a:pt x="27" y="17"/>
                  <a:pt x="30" y="16"/>
                  <a:pt x="34" y="14"/>
                </a:cubicBezTo>
                <a:cubicBezTo>
                  <a:pt x="34" y="14"/>
                  <a:pt x="35" y="14"/>
                  <a:pt x="36" y="14"/>
                </a:cubicBezTo>
                <a:cubicBezTo>
                  <a:pt x="36" y="14"/>
                  <a:pt x="36" y="14"/>
                  <a:pt x="36" y="14"/>
                </a:cubicBezTo>
                <a:cubicBezTo>
                  <a:pt x="37" y="13"/>
                  <a:pt x="38" y="13"/>
                  <a:pt x="38" y="13"/>
                </a:cubicBezTo>
                <a:cubicBezTo>
                  <a:pt x="37" y="13"/>
                  <a:pt x="37" y="13"/>
                  <a:pt x="37" y="13"/>
                </a:cubicBezTo>
                <a:cubicBezTo>
                  <a:pt x="42" y="12"/>
                  <a:pt x="42" y="12"/>
                  <a:pt x="42" y="12"/>
                </a:cubicBezTo>
                <a:cubicBezTo>
                  <a:pt x="41" y="12"/>
                  <a:pt x="41" y="12"/>
                  <a:pt x="41" y="1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24" name="Freeform 2980">
            <a:extLst>
              <a:ext uri="{FF2B5EF4-FFF2-40B4-BE49-F238E27FC236}">
                <a16:creationId xmlns:a16="http://schemas.microsoft.com/office/drawing/2014/main" id="{C118B789-8963-4C0E-A5AA-364526846830}"/>
              </a:ext>
            </a:extLst>
          </p:cNvPr>
          <p:cNvSpPr>
            <a:spLocks/>
          </p:cNvSpPr>
          <p:nvPr/>
        </p:nvSpPr>
        <p:spPr bwMode="auto">
          <a:xfrm>
            <a:off x="3806812" y="3198230"/>
            <a:ext cx="114970" cy="130591"/>
          </a:xfrm>
          <a:custGeom>
            <a:avLst/>
            <a:gdLst>
              <a:gd name="T0" fmla="*/ 95 w 98"/>
              <a:gd name="T1" fmla="*/ 82 h 93"/>
              <a:gd name="T2" fmla="*/ 91 w 98"/>
              <a:gd name="T3" fmla="*/ 78 h 93"/>
              <a:gd name="T4" fmla="*/ 91 w 98"/>
              <a:gd name="T5" fmla="*/ 73 h 93"/>
              <a:gd name="T6" fmla="*/ 88 w 98"/>
              <a:gd name="T7" fmla="*/ 74 h 93"/>
              <a:gd name="T8" fmla="*/ 88 w 98"/>
              <a:gd name="T9" fmla="*/ 66 h 93"/>
              <a:gd name="T10" fmla="*/ 89 w 98"/>
              <a:gd name="T11" fmla="*/ 64 h 93"/>
              <a:gd name="T12" fmla="*/ 88 w 98"/>
              <a:gd name="T13" fmla="*/ 62 h 93"/>
              <a:gd name="T14" fmla="*/ 87 w 98"/>
              <a:gd name="T15" fmla="*/ 59 h 93"/>
              <a:gd name="T16" fmla="*/ 83 w 98"/>
              <a:gd name="T17" fmla="*/ 57 h 93"/>
              <a:gd name="T18" fmla="*/ 74 w 98"/>
              <a:gd name="T19" fmla="*/ 51 h 93"/>
              <a:gd name="T20" fmla="*/ 71 w 98"/>
              <a:gd name="T21" fmla="*/ 49 h 93"/>
              <a:gd name="T22" fmla="*/ 70 w 98"/>
              <a:gd name="T23" fmla="*/ 45 h 93"/>
              <a:gd name="T24" fmla="*/ 70 w 98"/>
              <a:gd name="T25" fmla="*/ 44 h 93"/>
              <a:gd name="T26" fmla="*/ 65 w 98"/>
              <a:gd name="T27" fmla="*/ 40 h 93"/>
              <a:gd name="T28" fmla="*/ 66 w 98"/>
              <a:gd name="T29" fmla="*/ 35 h 93"/>
              <a:gd name="T30" fmla="*/ 65 w 98"/>
              <a:gd name="T31" fmla="*/ 33 h 93"/>
              <a:gd name="T32" fmla="*/ 68 w 98"/>
              <a:gd name="T33" fmla="*/ 30 h 93"/>
              <a:gd name="T34" fmla="*/ 72 w 98"/>
              <a:gd name="T35" fmla="*/ 24 h 93"/>
              <a:gd name="T36" fmla="*/ 71 w 98"/>
              <a:gd name="T37" fmla="*/ 22 h 93"/>
              <a:gd name="T38" fmla="*/ 71 w 98"/>
              <a:gd name="T39" fmla="*/ 20 h 93"/>
              <a:gd name="T40" fmla="*/ 68 w 98"/>
              <a:gd name="T41" fmla="*/ 18 h 93"/>
              <a:gd name="T42" fmla="*/ 66 w 98"/>
              <a:gd name="T43" fmla="*/ 16 h 93"/>
              <a:gd name="T44" fmla="*/ 64 w 98"/>
              <a:gd name="T45" fmla="*/ 14 h 93"/>
              <a:gd name="T46" fmla="*/ 63 w 98"/>
              <a:gd name="T47" fmla="*/ 11 h 93"/>
              <a:gd name="T48" fmla="*/ 61 w 98"/>
              <a:gd name="T49" fmla="*/ 8 h 93"/>
              <a:gd name="T50" fmla="*/ 59 w 98"/>
              <a:gd name="T51" fmla="*/ 5 h 93"/>
              <a:gd name="T52" fmla="*/ 59 w 98"/>
              <a:gd name="T53" fmla="*/ 3 h 93"/>
              <a:gd name="T54" fmla="*/ 55 w 98"/>
              <a:gd name="T55" fmla="*/ 5 h 93"/>
              <a:gd name="T56" fmla="*/ 53 w 98"/>
              <a:gd name="T57" fmla="*/ 2 h 93"/>
              <a:gd name="T58" fmla="*/ 45 w 98"/>
              <a:gd name="T59" fmla="*/ 1 h 93"/>
              <a:gd name="T60" fmla="*/ 41 w 98"/>
              <a:gd name="T61" fmla="*/ 0 h 93"/>
              <a:gd name="T62" fmla="*/ 35 w 98"/>
              <a:gd name="T63" fmla="*/ 4 h 93"/>
              <a:gd name="T64" fmla="*/ 29 w 98"/>
              <a:gd name="T65" fmla="*/ 9 h 93"/>
              <a:gd name="T66" fmla="*/ 26 w 98"/>
              <a:gd name="T67" fmla="*/ 10 h 93"/>
              <a:gd name="T68" fmla="*/ 25 w 98"/>
              <a:gd name="T69" fmla="*/ 17 h 93"/>
              <a:gd name="T70" fmla="*/ 24 w 98"/>
              <a:gd name="T71" fmla="*/ 26 h 93"/>
              <a:gd name="T72" fmla="*/ 24 w 98"/>
              <a:gd name="T73" fmla="*/ 30 h 93"/>
              <a:gd name="T74" fmla="*/ 17 w 98"/>
              <a:gd name="T75" fmla="*/ 36 h 93"/>
              <a:gd name="T76" fmla="*/ 12 w 98"/>
              <a:gd name="T77" fmla="*/ 39 h 93"/>
              <a:gd name="T78" fmla="*/ 0 w 98"/>
              <a:gd name="T79" fmla="*/ 46 h 93"/>
              <a:gd name="T80" fmla="*/ 4 w 98"/>
              <a:gd name="T81" fmla="*/ 57 h 93"/>
              <a:gd name="T82" fmla="*/ 18 w 98"/>
              <a:gd name="T83" fmla="*/ 62 h 93"/>
              <a:gd name="T84" fmla="*/ 32 w 98"/>
              <a:gd name="T85" fmla="*/ 70 h 93"/>
              <a:gd name="T86" fmla="*/ 51 w 98"/>
              <a:gd name="T87" fmla="*/ 85 h 93"/>
              <a:gd name="T88" fmla="*/ 61 w 98"/>
              <a:gd name="T89" fmla="*/ 91 h 93"/>
              <a:gd name="T90" fmla="*/ 76 w 98"/>
              <a:gd name="T91" fmla="*/ 93 h 93"/>
              <a:gd name="T92" fmla="*/ 80 w 98"/>
              <a:gd name="T93" fmla="*/ 87 h 93"/>
              <a:gd name="T94" fmla="*/ 86 w 98"/>
              <a:gd name="T95" fmla="*/ 81 h 93"/>
              <a:gd name="T96" fmla="*/ 95 w 98"/>
              <a:gd name="T97" fmla="*/ 83 h 93"/>
              <a:gd name="T98" fmla="*/ 96 w 98"/>
              <a:gd name="T99" fmla="*/ 83 h 93"/>
              <a:gd name="T100" fmla="*/ 98 w 98"/>
              <a:gd name="T101"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8" h="93">
                <a:moveTo>
                  <a:pt x="98" y="85"/>
                </a:moveTo>
                <a:cubicBezTo>
                  <a:pt x="97" y="84"/>
                  <a:pt x="96" y="83"/>
                  <a:pt x="95" y="82"/>
                </a:cubicBezTo>
                <a:cubicBezTo>
                  <a:pt x="95" y="82"/>
                  <a:pt x="95" y="82"/>
                  <a:pt x="95" y="82"/>
                </a:cubicBezTo>
                <a:cubicBezTo>
                  <a:pt x="95" y="82"/>
                  <a:pt x="95" y="82"/>
                  <a:pt x="95" y="82"/>
                </a:cubicBezTo>
                <a:cubicBezTo>
                  <a:pt x="95" y="81"/>
                  <a:pt x="94" y="81"/>
                  <a:pt x="94" y="80"/>
                </a:cubicBezTo>
                <a:cubicBezTo>
                  <a:pt x="93" y="80"/>
                  <a:pt x="93" y="80"/>
                  <a:pt x="93" y="80"/>
                </a:cubicBezTo>
                <a:cubicBezTo>
                  <a:pt x="92" y="79"/>
                  <a:pt x="92" y="79"/>
                  <a:pt x="91" y="78"/>
                </a:cubicBezTo>
                <a:cubicBezTo>
                  <a:pt x="91" y="78"/>
                  <a:pt x="91" y="78"/>
                  <a:pt x="91" y="78"/>
                </a:cubicBezTo>
                <a:cubicBezTo>
                  <a:pt x="91" y="77"/>
                  <a:pt x="91" y="77"/>
                  <a:pt x="91" y="76"/>
                </a:cubicBezTo>
                <a:cubicBezTo>
                  <a:pt x="91" y="76"/>
                  <a:pt x="91" y="76"/>
                  <a:pt x="91" y="76"/>
                </a:cubicBezTo>
                <a:cubicBezTo>
                  <a:pt x="91" y="75"/>
                  <a:pt x="92" y="74"/>
                  <a:pt x="91" y="74"/>
                </a:cubicBezTo>
                <a:cubicBezTo>
                  <a:pt x="91" y="74"/>
                  <a:pt x="91" y="74"/>
                  <a:pt x="91" y="73"/>
                </a:cubicBezTo>
                <a:cubicBezTo>
                  <a:pt x="91" y="73"/>
                  <a:pt x="91" y="73"/>
                  <a:pt x="90" y="74"/>
                </a:cubicBezTo>
                <a:cubicBezTo>
                  <a:pt x="90" y="74"/>
                  <a:pt x="90" y="74"/>
                  <a:pt x="90" y="74"/>
                </a:cubicBezTo>
                <a:cubicBezTo>
                  <a:pt x="89" y="74"/>
                  <a:pt x="89" y="74"/>
                  <a:pt x="89" y="74"/>
                </a:cubicBezTo>
                <a:cubicBezTo>
                  <a:pt x="88" y="74"/>
                  <a:pt x="88" y="74"/>
                  <a:pt x="88" y="74"/>
                </a:cubicBezTo>
                <a:cubicBezTo>
                  <a:pt x="88" y="72"/>
                  <a:pt x="88" y="72"/>
                  <a:pt x="88" y="72"/>
                </a:cubicBezTo>
                <a:cubicBezTo>
                  <a:pt x="88" y="71"/>
                  <a:pt x="88" y="70"/>
                  <a:pt x="88" y="69"/>
                </a:cubicBezTo>
                <a:cubicBezTo>
                  <a:pt x="88" y="68"/>
                  <a:pt x="88" y="68"/>
                  <a:pt x="88" y="67"/>
                </a:cubicBezTo>
                <a:cubicBezTo>
                  <a:pt x="88" y="67"/>
                  <a:pt x="88" y="67"/>
                  <a:pt x="88" y="66"/>
                </a:cubicBezTo>
                <a:cubicBezTo>
                  <a:pt x="89" y="65"/>
                  <a:pt x="89" y="65"/>
                  <a:pt x="89" y="65"/>
                </a:cubicBezTo>
                <a:cubicBezTo>
                  <a:pt x="89" y="65"/>
                  <a:pt x="89" y="65"/>
                  <a:pt x="89" y="65"/>
                </a:cubicBezTo>
                <a:cubicBezTo>
                  <a:pt x="87" y="64"/>
                  <a:pt x="87" y="64"/>
                  <a:pt x="87" y="64"/>
                </a:cubicBezTo>
                <a:cubicBezTo>
                  <a:pt x="89" y="64"/>
                  <a:pt x="89" y="64"/>
                  <a:pt x="89" y="64"/>
                </a:cubicBezTo>
                <a:cubicBezTo>
                  <a:pt x="89" y="64"/>
                  <a:pt x="89" y="64"/>
                  <a:pt x="89" y="64"/>
                </a:cubicBezTo>
                <a:cubicBezTo>
                  <a:pt x="89" y="64"/>
                  <a:pt x="89" y="64"/>
                  <a:pt x="89" y="64"/>
                </a:cubicBezTo>
                <a:cubicBezTo>
                  <a:pt x="89" y="64"/>
                  <a:pt x="89" y="64"/>
                  <a:pt x="89" y="64"/>
                </a:cubicBezTo>
                <a:cubicBezTo>
                  <a:pt x="89" y="64"/>
                  <a:pt x="89" y="63"/>
                  <a:pt x="88" y="62"/>
                </a:cubicBezTo>
                <a:cubicBezTo>
                  <a:pt x="88" y="61"/>
                  <a:pt x="88" y="61"/>
                  <a:pt x="87" y="60"/>
                </a:cubicBezTo>
                <a:cubicBezTo>
                  <a:pt x="87" y="60"/>
                  <a:pt x="87" y="60"/>
                  <a:pt x="87" y="60"/>
                </a:cubicBezTo>
                <a:cubicBezTo>
                  <a:pt x="85" y="61"/>
                  <a:pt x="85" y="61"/>
                  <a:pt x="85" y="61"/>
                </a:cubicBezTo>
                <a:cubicBezTo>
                  <a:pt x="87" y="59"/>
                  <a:pt x="87" y="59"/>
                  <a:pt x="87" y="59"/>
                </a:cubicBezTo>
                <a:cubicBezTo>
                  <a:pt x="86" y="59"/>
                  <a:pt x="86" y="58"/>
                  <a:pt x="85" y="57"/>
                </a:cubicBezTo>
                <a:cubicBezTo>
                  <a:pt x="85" y="57"/>
                  <a:pt x="85" y="57"/>
                  <a:pt x="85" y="57"/>
                </a:cubicBezTo>
                <a:cubicBezTo>
                  <a:pt x="84" y="57"/>
                  <a:pt x="84" y="57"/>
                  <a:pt x="84" y="57"/>
                </a:cubicBezTo>
                <a:cubicBezTo>
                  <a:pt x="84" y="57"/>
                  <a:pt x="83" y="57"/>
                  <a:pt x="83" y="57"/>
                </a:cubicBezTo>
                <a:cubicBezTo>
                  <a:pt x="82" y="56"/>
                  <a:pt x="82" y="56"/>
                  <a:pt x="82" y="56"/>
                </a:cubicBezTo>
                <a:cubicBezTo>
                  <a:pt x="77" y="53"/>
                  <a:pt x="77" y="53"/>
                  <a:pt x="77" y="53"/>
                </a:cubicBezTo>
                <a:cubicBezTo>
                  <a:pt x="77" y="52"/>
                  <a:pt x="76" y="52"/>
                  <a:pt x="76" y="52"/>
                </a:cubicBezTo>
                <a:cubicBezTo>
                  <a:pt x="75" y="52"/>
                  <a:pt x="75" y="51"/>
                  <a:pt x="74" y="51"/>
                </a:cubicBezTo>
                <a:cubicBezTo>
                  <a:pt x="74" y="51"/>
                  <a:pt x="74" y="51"/>
                  <a:pt x="74" y="51"/>
                </a:cubicBezTo>
                <a:cubicBezTo>
                  <a:pt x="73" y="51"/>
                  <a:pt x="73" y="51"/>
                  <a:pt x="72" y="51"/>
                </a:cubicBezTo>
                <a:cubicBezTo>
                  <a:pt x="72" y="51"/>
                  <a:pt x="72" y="51"/>
                  <a:pt x="72" y="51"/>
                </a:cubicBezTo>
                <a:cubicBezTo>
                  <a:pt x="72" y="50"/>
                  <a:pt x="71" y="50"/>
                  <a:pt x="71" y="49"/>
                </a:cubicBezTo>
                <a:cubicBezTo>
                  <a:pt x="71" y="49"/>
                  <a:pt x="71" y="48"/>
                  <a:pt x="71" y="47"/>
                </a:cubicBezTo>
                <a:cubicBezTo>
                  <a:pt x="70" y="47"/>
                  <a:pt x="70" y="47"/>
                  <a:pt x="70" y="47"/>
                </a:cubicBezTo>
                <a:cubicBezTo>
                  <a:pt x="70" y="46"/>
                  <a:pt x="70" y="46"/>
                  <a:pt x="70" y="46"/>
                </a:cubicBezTo>
                <a:cubicBezTo>
                  <a:pt x="70" y="46"/>
                  <a:pt x="70" y="45"/>
                  <a:pt x="70" y="45"/>
                </a:cubicBezTo>
                <a:cubicBezTo>
                  <a:pt x="70" y="44"/>
                  <a:pt x="70" y="44"/>
                  <a:pt x="70" y="44"/>
                </a:cubicBezTo>
                <a:cubicBezTo>
                  <a:pt x="70" y="44"/>
                  <a:pt x="70" y="44"/>
                  <a:pt x="70" y="44"/>
                </a:cubicBezTo>
                <a:cubicBezTo>
                  <a:pt x="70" y="44"/>
                  <a:pt x="70" y="44"/>
                  <a:pt x="70" y="44"/>
                </a:cubicBezTo>
                <a:cubicBezTo>
                  <a:pt x="70" y="44"/>
                  <a:pt x="70" y="44"/>
                  <a:pt x="70" y="44"/>
                </a:cubicBezTo>
                <a:cubicBezTo>
                  <a:pt x="69" y="44"/>
                  <a:pt x="69" y="44"/>
                  <a:pt x="68" y="43"/>
                </a:cubicBezTo>
                <a:cubicBezTo>
                  <a:pt x="68" y="43"/>
                  <a:pt x="68" y="43"/>
                  <a:pt x="68" y="43"/>
                </a:cubicBezTo>
                <a:cubicBezTo>
                  <a:pt x="66" y="40"/>
                  <a:pt x="66" y="40"/>
                  <a:pt x="66" y="40"/>
                </a:cubicBezTo>
                <a:cubicBezTo>
                  <a:pt x="65" y="40"/>
                  <a:pt x="65" y="40"/>
                  <a:pt x="65" y="40"/>
                </a:cubicBezTo>
                <a:cubicBezTo>
                  <a:pt x="65" y="39"/>
                  <a:pt x="64" y="39"/>
                  <a:pt x="65" y="38"/>
                </a:cubicBezTo>
                <a:cubicBezTo>
                  <a:pt x="65" y="38"/>
                  <a:pt x="65" y="38"/>
                  <a:pt x="65" y="38"/>
                </a:cubicBezTo>
                <a:cubicBezTo>
                  <a:pt x="65" y="37"/>
                  <a:pt x="65" y="36"/>
                  <a:pt x="66" y="35"/>
                </a:cubicBezTo>
                <a:cubicBezTo>
                  <a:pt x="66" y="35"/>
                  <a:pt x="66" y="35"/>
                  <a:pt x="66" y="35"/>
                </a:cubicBezTo>
                <a:cubicBezTo>
                  <a:pt x="66" y="35"/>
                  <a:pt x="66" y="35"/>
                  <a:pt x="66" y="35"/>
                </a:cubicBezTo>
                <a:cubicBezTo>
                  <a:pt x="66" y="35"/>
                  <a:pt x="66" y="35"/>
                  <a:pt x="66" y="34"/>
                </a:cubicBezTo>
                <a:cubicBezTo>
                  <a:pt x="66" y="34"/>
                  <a:pt x="66" y="34"/>
                  <a:pt x="66" y="34"/>
                </a:cubicBezTo>
                <a:cubicBezTo>
                  <a:pt x="65" y="34"/>
                  <a:pt x="65" y="33"/>
                  <a:pt x="65" y="33"/>
                </a:cubicBezTo>
                <a:cubicBezTo>
                  <a:pt x="65" y="32"/>
                  <a:pt x="65" y="32"/>
                  <a:pt x="65" y="32"/>
                </a:cubicBezTo>
                <a:cubicBezTo>
                  <a:pt x="67" y="30"/>
                  <a:pt x="67" y="30"/>
                  <a:pt x="67" y="30"/>
                </a:cubicBezTo>
                <a:cubicBezTo>
                  <a:pt x="68" y="30"/>
                  <a:pt x="68" y="30"/>
                  <a:pt x="68" y="30"/>
                </a:cubicBezTo>
                <a:cubicBezTo>
                  <a:pt x="68" y="30"/>
                  <a:pt x="68" y="30"/>
                  <a:pt x="68" y="30"/>
                </a:cubicBezTo>
                <a:cubicBezTo>
                  <a:pt x="68" y="28"/>
                  <a:pt x="69" y="27"/>
                  <a:pt x="70" y="26"/>
                </a:cubicBezTo>
                <a:cubicBezTo>
                  <a:pt x="70" y="25"/>
                  <a:pt x="70" y="25"/>
                  <a:pt x="70" y="25"/>
                </a:cubicBezTo>
                <a:cubicBezTo>
                  <a:pt x="71" y="25"/>
                  <a:pt x="71" y="25"/>
                  <a:pt x="72" y="24"/>
                </a:cubicBezTo>
                <a:cubicBezTo>
                  <a:pt x="72" y="24"/>
                  <a:pt x="72" y="24"/>
                  <a:pt x="72" y="24"/>
                </a:cubicBezTo>
                <a:cubicBezTo>
                  <a:pt x="72" y="24"/>
                  <a:pt x="72" y="24"/>
                  <a:pt x="72" y="24"/>
                </a:cubicBezTo>
                <a:cubicBezTo>
                  <a:pt x="72" y="24"/>
                  <a:pt x="72" y="24"/>
                  <a:pt x="72" y="23"/>
                </a:cubicBezTo>
                <a:cubicBezTo>
                  <a:pt x="72" y="23"/>
                  <a:pt x="72" y="23"/>
                  <a:pt x="72" y="23"/>
                </a:cubicBezTo>
                <a:cubicBezTo>
                  <a:pt x="71" y="23"/>
                  <a:pt x="71" y="23"/>
                  <a:pt x="71" y="22"/>
                </a:cubicBezTo>
                <a:cubicBezTo>
                  <a:pt x="71" y="22"/>
                  <a:pt x="71" y="22"/>
                  <a:pt x="71" y="22"/>
                </a:cubicBezTo>
                <a:cubicBezTo>
                  <a:pt x="71" y="22"/>
                  <a:pt x="71" y="21"/>
                  <a:pt x="71" y="21"/>
                </a:cubicBezTo>
                <a:cubicBezTo>
                  <a:pt x="71" y="20"/>
                  <a:pt x="71" y="20"/>
                  <a:pt x="71" y="20"/>
                </a:cubicBezTo>
                <a:cubicBezTo>
                  <a:pt x="71" y="20"/>
                  <a:pt x="71" y="20"/>
                  <a:pt x="71" y="20"/>
                </a:cubicBezTo>
                <a:cubicBezTo>
                  <a:pt x="71" y="19"/>
                  <a:pt x="71" y="19"/>
                  <a:pt x="71" y="19"/>
                </a:cubicBezTo>
                <a:cubicBezTo>
                  <a:pt x="71" y="19"/>
                  <a:pt x="71" y="19"/>
                  <a:pt x="71" y="18"/>
                </a:cubicBezTo>
                <a:cubicBezTo>
                  <a:pt x="71" y="18"/>
                  <a:pt x="70" y="18"/>
                  <a:pt x="70" y="18"/>
                </a:cubicBezTo>
                <a:cubicBezTo>
                  <a:pt x="69" y="18"/>
                  <a:pt x="69" y="18"/>
                  <a:pt x="68" y="18"/>
                </a:cubicBezTo>
                <a:cubicBezTo>
                  <a:pt x="68" y="17"/>
                  <a:pt x="68" y="17"/>
                  <a:pt x="68" y="17"/>
                </a:cubicBezTo>
                <a:cubicBezTo>
                  <a:pt x="67" y="17"/>
                  <a:pt x="67" y="17"/>
                  <a:pt x="67" y="16"/>
                </a:cubicBezTo>
                <a:cubicBezTo>
                  <a:pt x="67" y="16"/>
                  <a:pt x="66" y="16"/>
                  <a:pt x="66" y="16"/>
                </a:cubicBezTo>
                <a:cubicBezTo>
                  <a:pt x="66" y="16"/>
                  <a:pt x="66" y="16"/>
                  <a:pt x="66" y="16"/>
                </a:cubicBezTo>
                <a:cubicBezTo>
                  <a:pt x="66" y="16"/>
                  <a:pt x="66" y="16"/>
                  <a:pt x="66" y="16"/>
                </a:cubicBezTo>
                <a:cubicBezTo>
                  <a:pt x="65" y="16"/>
                  <a:pt x="65" y="16"/>
                  <a:pt x="65" y="16"/>
                </a:cubicBezTo>
                <a:cubicBezTo>
                  <a:pt x="65" y="16"/>
                  <a:pt x="64" y="16"/>
                  <a:pt x="64" y="15"/>
                </a:cubicBezTo>
                <a:cubicBezTo>
                  <a:pt x="64" y="15"/>
                  <a:pt x="64" y="14"/>
                  <a:pt x="64" y="14"/>
                </a:cubicBezTo>
                <a:cubicBezTo>
                  <a:pt x="64" y="14"/>
                  <a:pt x="64" y="14"/>
                  <a:pt x="64" y="14"/>
                </a:cubicBezTo>
                <a:cubicBezTo>
                  <a:pt x="63" y="13"/>
                  <a:pt x="63" y="12"/>
                  <a:pt x="63" y="11"/>
                </a:cubicBezTo>
                <a:cubicBezTo>
                  <a:pt x="63" y="11"/>
                  <a:pt x="63" y="11"/>
                  <a:pt x="63" y="11"/>
                </a:cubicBezTo>
                <a:cubicBezTo>
                  <a:pt x="63" y="11"/>
                  <a:pt x="63" y="11"/>
                  <a:pt x="63" y="11"/>
                </a:cubicBezTo>
                <a:cubicBezTo>
                  <a:pt x="63" y="11"/>
                  <a:pt x="63" y="11"/>
                  <a:pt x="62" y="11"/>
                </a:cubicBezTo>
                <a:cubicBezTo>
                  <a:pt x="62" y="10"/>
                  <a:pt x="61" y="10"/>
                  <a:pt x="61" y="10"/>
                </a:cubicBezTo>
                <a:cubicBezTo>
                  <a:pt x="61" y="9"/>
                  <a:pt x="61" y="8"/>
                  <a:pt x="61" y="8"/>
                </a:cubicBezTo>
                <a:cubicBezTo>
                  <a:pt x="61" y="8"/>
                  <a:pt x="61" y="8"/>
                  <a:pt x="61" y="8"/>
                </a:cubicBezTo>
                <a:cubicBezTo>
                  <a:pt x="61" y="8"/>
                  <a:pt x="61" y="7"/>
                  <a:pt x="61" y="7"/>
                </a:cubicBezTo>
                <a:cubicBezTo>
                  <a:pt x="61" y="7"/>
                  <a:pt x="61" y="7"/>
                  <a:pt x="61" y="7"/>
                </a:cubicBezTo>
                <a:cubicBezTo>
                  <a:pt x="60" y="7"/>
                  <a:pt x="60" y="7"/>
                  <a:pt x="59" y="7"/>
                </a:cubicBezTo>
                <a:cubicBezTo>
                  <a:pt x="59" y="6"/>
                  <a:pt x="59" y="5"/>
                  <a:pt x="59" y="5"/>
                </a:cubicBezTo>
                <a:cubicBezTo>
                  <a:pt x="59" y="4"/>
                  <a:pt x="59" y="4"/>
                  <a:pt x="59" y="4"/>
                </a:cubicBezTo>
                <a:cubicBezTo>
                  <a:pt x="59" y="4"/>
                  <a:pt x="59" y="4"/>
                  <a:pt x="59" y="4"/>
                </a:cubicBezTo>
                <a:cubicBezTo>
                  <a:pt x="59" y="4"/>
                  <a:pt x="59" y="4"/>
                  <a:pt x="59" y="4"/>
                </a:cubicBezTo>
                <a:cubicBezTo>
                  <a:pt x="59" y="4"/>
                  <a:pt x="59" y="3"/>
                  <a:pt x="59" y="3"/>
                </a:cubicBezTo>
                <a:cubicBezTo>
                  <a:pt x="58" y="4"/>
                  <a:pt x="58" y="4"/>
                  <a:pt x="58" y="4"/>
                </a:cubicBezTo>
                <a:cubicBezTo>
                  <a:pt x="58" y="4"/>
                  <a:pt x="58" y="4"/>
                  <a:pt x="57" y="4"/>
                </a:cubicBezTo>
                <a:cubicBezTo>
                  <a:pt x="57" y="4"/>
                  <a:pt x="57" y="4"/>
                  <a:pt x="57" y="4"/>
                </a:cubicBezTo>
                <a:cubicBezTo>
                  <a:pt x="57" y="4"/>
                  <a:pt x="56" y="5"/>
                  <a:pt x="55" y="5"/>
                </a:cubicBezTo>
                <a:cubicBezTo>
                  <a:pt x="55" y="5"/>
                  <a:pt x="55" y="5"/>
                  <a:pt x="55" y="5"/>
                </a:cubicBezTo>
                <a:cubicBezTo>
                  <a:pt x="54" y="5"/>
                  <a:pt x="53" y="3"/>
                  <a:pt x="53" y="3"/>
                </a:cubicBezTo>
                <a:cubicBezTo>
                  <a:pt x="53" y="3"/>
                  <a:pt x="53" y="3"/>
                  <a:pt x="53" y="3"/>
                </a:cubicBezTo>
                <a:cubicBezTo>
                  <a:pt x="53" y="2"/>
                  <a:pt x="53" y="2"/>
                  <a:pt x="53" y="2"/>
                </a:cubicBezTo>
                <a:cubicBezTo>
                  <a:pt x="53" y="2"/>
                  <a:pt x="53" y="2"/>
                  <a:pt x="53" y="2"/>
                </a:cubicBezTo>
                <a:cubicBezTo>
                  <a:pt x="53" y="2"/>
                  <a:pt x="53" y="2"/>
                  <a:pt x="53" y="2"/>
                </a:cubicBezTo>
                <a:cubicBezTo>
                  <a:pt x="52" y="1"/>
                  <a:pt x="52" y="1"/>
                  <a:pt x="52" y="1"/>
                </a:cubicBezTo>
                <a:cubicBezTo>
                  <a:pt x="49" y="2"/>
                  <a:pt x="47" y="1"/>
                  <a:pt x="45" y="1"/>
                </a:cubicBezTo>
                <a:cubicBezTo>
                  <a:pt x="44" y="1"/>
                  <a:pt x="44" y="1"/>
                  <a:pt x="44" y="1"/>
                </a:cubicBezTo>
                <a:cubicBezTo>
                  <a:pt x="43" y="0"/>
                  <a:pt x="43" y="0"/>
                  <a:pt x="42" y="0"/>
                </a:cubicBezTo>
                <a:cubicBezTo>
                  <a:pt x="42" y="0"/>
                  <a:pt x="42" y="0"/>
                  <a:pt x="41" y="0"/>
                </a:cubicBezTo>
                <a:cubicBezTo>
                  <a:pt x="41" y="0"/>
                  <a:pt x="41" y="0"/>
                  <a:pt x="41" y="0"/>
                </a:cubicBezTo>
                <a:cubicBezTo>
                  <a:pt x="39" y="0"/>
                  <a:pt x="38" y="1"/>
                  <a:pt x="37" y="2"/>
                </a:cubicBezTo>
                <a:cubicBezTo>
                  <a:pt x="36" y="3"/>
                  <a:pt x="36" y="3"/>
                  <a:pt x="36" y="3"/>
                </a:cubicBezTo>
                <a:cubicBezTo>
                  <a:pt x="36" y="3"/>
                  <a:pt x="36" y="3"/>
                  <a:pt x="36" y="3"/>
                </a:cubicBezTo>
                <a:cubicBezTo>
                  <a:pt x="36" y="3"/>
                  <a:pt x="36" y="4"/>
                  <a:pt x="35" y="4"/>
                </a:cubicBezTo>
                <a:cubicBezTo>
                  <a:pt x="35" y="4"/>
                  <a:pt x="35" y="4"/>
                  <a:pt x="35" y="4"/>
                </a:cubicBezTo>
                <a:cubicBezTo>
                  <a:pt x="34" y="5"/>
                  <a:pt x="34" y="5"/>
                  <a:pt x="34" y="5"/>
                </a:cubicBezTo>
                <a:cubicBezTo>
                  <a:pt x="33" y="6"/>
                  <a:pt x="32" y="7"/>
                  <a:pt x="30" y="8"/>
                </a:cubicBezTo>
                <a:cubicBezTo>
                  <a:pt x="30" y="9"/>
                  <a:pt x="29" y="9"/>
                  <a:pt x="29" y="9"/>
                </a:cubicBezTo>
                <a:cubicBezTo>
                  <a:pt x="29" y="12"/>
                  <a:pt x="29" y="12"/>
                  <a:pt x="29" y="12"/>
                </a:cubicBezTo>
                <a:cubicBezTo>
                  <a:pt x="28" y="10"/>
                  <a:pt x="28" y="10"/>
                  <a:pt x="28" y="10"/>
                </a:cubicBezTo>
                <a:cubicBezTo>
                  <a:pt x="27" y="10"/>
                  <a:pt x="27" y="10"/>
                  <a:pt x="27" y="10"/>
                </a:cubicBezTo>
                <a:cubicBezTo>
                  <a:pt x="27" y="10"/>
                  <a:pt x="26" y="10"/>
                  <a:pt x="26" y="10"/>
                </a:cubicBezTo>
                <a:cubicBezTo>
                  <a:pt x="26" y="10"/>
                  <a:pt x="26" y="10"/>
                  <a:pt x="26" y="10"/>
                </a:cubicBezTo>
                <a:cubicBezTo>
                  <a:pt x="26" y="10"/>
                  <a:pt x="25" y="11"/>
                  <a:pt x="25" y="11"/>
                </a:cubicBezTo>
                <a:cubicBezTo>
                  <a:pt x="25" y="13"/>
                  <a:pt x="25" y="15"/>
                  <a:pt x="25" y="17"/>
                </a:cubicBezTo>
                <a:cubicBezTo>
                  <a:pt x="25" y="17"/>
                  <a:pt x="25" y="17"/>
                  <a:pt x="25" y="17"/>
                </a:cubicBezTo>
                <a:cubicBezTo>
                  <a:pt x="25" y="18"/>
                  <a:pt x="25" y="19"/>
                  <a:pt x="25" y="20"/>
                </a:cubicBezTo>
                <a:cubicBezTo>
                  <a:pt x="25" y="21"/>
                  <a:pt x="25" y="22"/>
                  <a:pt x="25" y="23"/>
                </a:cubicBezTo>
                <a:cubicBezTo>
                  <a:pt x="25" y="23"/>
                  <a:pt x="25" y="23"/>
                  <a:pt x="25" y="23"/>
                </a:cubicBezTo>
                <a:cubicBezTo>
                  <a:pt x="24" y="24"/>
                  <a:pt x="24" y="25"/>
                  <a:pt x="24" y="26"/>
                </a:cubicBezTo>
                <a:cubicBezTo>
                  <a:pt x="24" y="26"/>
                  <a:pt x="24" y="27"/>
                  <a:pt x="24" y="27"/>
                </a:cubicBezTo>
                <a:cubicBezTo>
                  <a:pt x="24" y="28"/>
                  <a:pt x="24" y="28"/>
                  <a:pt x="24" y="28"/>
                </a:cubicBezTo>
                <a:cubicBezTo>
                  <a:pt x="24" y="28"/>
                  <a:pt x="24" y="28"/>
                  <a:pt x="24" y="28"/>
                </a:cubicBezTo>
                <a:cubicBezTo>
                  <a:pt x="24" y="29"/>
                  <a:pt x="24" y="30"/>
                  <a:pt x="24" y="30"/>
                </a:cubicBezTo>
                <a:cubicBezTo>
                  <a:pt x="23" y="32"/>
                  <a:pt x="23" y="33"/>
                  <a:pt x="22" y="34"/>
                </a:cubicBezTo>
                <a:cubicBezTo>
                  <a:pt x="21" y="35"/>
                  <a:pt x="20" y="35"/>
                  <a:pt x="19" y="35"/>
                </a:cubicBezTo>
                <a:cubicBezTo>
                  <a:pt x="19" y="35"/>
                  <a:pt x="19" y="36"/>
                  <a:pt x="18" y="36"/>
                </a:cubicBezTo>
                <a:cubicBezTo>
                  <a:pt x="18" y="36"/>
                  <a:pt x="17" y="36"/>
                  <a:pt x="17" y="36"/>
                </a:cubicBezTo>
                <a:cubicBezTo>
                  <a:pt x="15" y="37"/>
                  <a:pt x="15" y="37"/>
                  <a:pt x="15" y="37"/>
                </a:cubicBezTo>
                <a:cubicBezTo>
                  <a:pt x="15" y="39"/>
                  <a:pt x="15" y="39"/>
                  <a:pt x="15" y="39"/>
                </a:cubicBezTo>
                <a:cubicBezTo>
                  <a:pt x="14" y="38"/>
                  <a:pt x="14" y="38"/>
                  <a:pt x="14" y="38"/>
                </a:cubicBezTo>
                <a:cubicBezTo>
                  <a:pt x="12" y="39"/>
                  <a:pt x="12" y="39"/>
                  <a:pt x="12" y="39"/>
                </a:cubicBezTo>
                <a:cubicBezTo>
                  <a:pt x="11" y="40"/>
                  <a:pt x="9" y="41"/>
                  <a:pt x="8" y="41"/>
                </a:cubicBezTo>
                <a:cubicBezTo>
                  <a:pt x="6" y="43"/>
                  <a:pt x="3" y="44"/>
                  <a:pt x="1" y="45"/>
                </a:cubicBezTo>
                <a:cubicBezTo>
                  <a:pt x="0" y="46"/>
                  <a:pt x="0" y="46"/>
                  <a:pt x="0" y="46"/>
                </a:cubicBezTo>
                <a:cubicBezTo>
                  <a:pt x="0" y="46"/>
                  <a:pt x="0" y="46"/>
                  <a:pt x="0" y="46"/>
                </a:cubicBezTo>
                <a:cubicBezTo>
                  <a:pt x="2" y="56"/>
                  <a:pt x="2" y="56"/>
                  <a:pt x="2" y="56"/>
                </a:cubicBezTo>
                <a:cubicBezTo>
                  <a:pt x="2" y="57"/>
                  <a:pt x="3" y="57"/>
                  <a:pt x="3" y="57"/>
                </a:cubicBezTo>
                <a:cubicBezTo>
                  <a:pt x="3" y="57"/>
                  <a:pt x="4" y="57"/>
                  <a:pt x="4" y="57"/>
                </a:cubicBezTo>
                <a:cubicBezTo>
                  <a:pt x="4" y="57"/>
                  <a:pt x="4" y="57"/>
                  <a:pt x="4" y="57"/>
                </a:cubicBezTo>
                <a:cubicBezTo>
                  <a:pt x="5" y="58"/>
                  <a:pt x="5" y="58"/>
                  <a:pt x="5" y="58"/>
                </a:cubicBezTo>
                <a:cubicBezTo>
                  <a:pt x="5" y="59"/>
                  <a:pt x="5" y="59"/>
                  <a:pt x="5" y="59"/>
                </a:cubicBezTo>
                <a:cubicBezTo>
                  <a:pt x="15" y="60"/>
                  <a:pt x="15" y="60"/>
                  <a:pt x="15" y="60"/>
                </a:cubicBezTo>
                <a:cubicBezTo>
                  <a:pt x="16" y="61"/>
                  <a:pt x="17" y="61"/>
                  <a:pt x="18" y="62"/>
                </a:cubicBezTo>
                <a:cubicBezTo>
                  <a:pt x="18" y="62"/>
                  <a:pt x="19" y="63"/>
                  <a:pt x="19" y="63"/>
                </a:cubicBezTo>
                <a:cubicBezTo>
                  <a:pt x="21" y="64"/>
                  <a:pt x="24" y="66"/>
                  <a:pt x="27" y="67"/>
                </a:cubicBezTo>
                <a:cubicBezTo>
                  <a:pt x="28" y="68"/>
                  <a:pt x="29" y="68"/>
                  <a:pt x="30" y="69"/>
                </a:cubicBezTo>
                <a:cubicBezTo>
                  <a:pt x="32" y="70"/>
                  <a:pt x="32" y="70"/>
                  <a:pt x="32" y="70"/>
                </a:cubicBezTo>
                <a:cubicBezTo>
                  <a:pt x="35" y="72"/>
                  <a:pt x="37" y="74"/>
                  <a:pt x="40" y="76"/>
                </a:cubicBezTo>
                <a:cubicBezTo>
                  <a:pt x="41" y="77"/>
                  <a:pt x="42" y="78"/>
                  <a:pt x="44" y="79"/>
                </a:cubicBezTo>
                <a:cubicBezTo>
                  <a:pt x="45" y="80"/>
                  <a:pt x="46" y="81"/>
                  <a:pt x="47" y="82"/>
                </a:cubicBezTo>
                <a:cubicBezTo>
                  <a:pt x="51" y="85"/>
                  <a:pt x="51" y="85"/>
                  <a:pt x="51" y="85"/>
                </a:cubicBezTo>
                <a:cubicBezTo>
                  <a:pt x="52" y="86"/>
                  <a:pt x="53" y="87"/>
                  <a:pt x="54" y="87"/>
                </a:cubicBezTo>
                <a:cubicBezTo>
                  <a:pt x="56" y="89"/>
                  <a:pt x="57" y="90"/>
                  <a:pt x="59" y="91"/>
                </a:cubicBezTo>
                <a:cubicBezTo>
                  <a:pt x="59" y="91"/>
                  <a:pt x="60" y="91"/>
                  <a:pt x="60" y="91"/>
                </a:cubicBezTo>
                <a:cubicBezTo>
                  <a:pt x="61" y="91"/>
                  <a:pt x="61" y="91"/>
                  <a:pt x="61" y="91"/>
                </a:cubicBezTo>
                <a:cubicBezTo>
                  <a:pt x="74" y="93"/>
                  <a:pt x="74" y="93"/>
                  <a:pt x="74" y="93"/>
                </a:cubicBezTo>
                <a:cubicBezTo>
                  <a:pt x="74" y="93"/>
                  <a:pt x="75" y="93"/>
                  <a:pt x="75" y="93"/>
                </a:cubicBezTo>
                <a:cubicBezTo>
                  <a:pt x="75" y="93"/>
                  <a:pt x="75" y="93"/>
                  <a:pt x="75" y="93"/>
                </a:cubicBezTo>
                <a:cubicBezTo>
                  <a:pt x="76" y="93"/>
                  <a:pt x="76" y="93"/>
                  <a:pt x="76" y="93"/>
                </a:cubicBezTo>
                <a:cubicBezTo>
                  <a:pt x="76" y="93"/>
                  <a:pt x="76" y="93"/>
                  <a:pt x="76" y="93"/>
                </a:cubicBezTo>
                <a:cubicBezTo>
                  <a:pt x="76" y="93"/>
                  <a:pt x="76" y="93"/>
                  <a:pt x="77" y="92"/>
                </a:cubicBezTo>
                <a:cubicBezTo>
                  <a:pt x="77" y="92"/>
                  <a:pt x="77" y="92"/>
                  <a:pt x="77" y="92"/>
                </a:cubicBezTo>
                <a:cubicBezTo>
                  <a:pt x="78" y="90"/>
                  <a:pt x="79" y="89"/>
                  <a:pt x="80" y="87"/>
                </a:cubicBezTo>
                <a:cubicBezTo>
                  <a:pt x="80" y="87"/>
                  <a:pt x="80" y="87"/>
                  <a:pt x="80" y="86"/>
                </a:cubicBezTo>
                <a:cubicBezTo>
                  <a:pt x="81" y="86"/>
                  <a:pt x="81" y="86"/>
                  <a:pt x="81" y="86"/>
                </a:cubicBezTo>
                <a:cubicBezTo>
                  <a:pt x="81" y="85"/>
                  <a:pt x="82" y="83"/>
                  <a:pt x="83" y="82"/>
                </a:cubicBezTo>
                <a:cubicBezTo>
                  <a:pt x="84" y="82"/>
                  <a:pt x="85" y="81"/>
                  <a:pt x="86" y="81"/>
                </a:cubicBezTo>
                <a:cubicBezTo>
                  <a:pt x="87" y="81"/>
                  <a:pt x="89" y="81"/>
                  <a:pt x="90" y="82"/>
                </a:cubicBezTo>
                <a:cubicBezTo>
                  <a:pt x="90" y="80"/>
                  <a:pt x="90" y="80"/>
                  <a:pt x="90" y="80"/>
                </a:cubicBezTo>
                <a:cubicBezTo>
                  <a:pt x="92" y="82"/>
                  <a:pt x="92" y="82"/>
                  <a:pt x="92" y="82"/>
                </a:cubicBezTo>
                <a:cubicBezTo>
                  <a:pt x="93" y="82"/>
                  <a:pt x="94" y="83"/>
                  <a:pt x="95" y="83"/>
                </a:cubicBezTo>
                <a:cubicBezTo>
                  <a:pt x="95" y="83"/>
                  <a:pt x="95" y="83"/>
                  <a:pt x="95" y="83"/>
                </a:cubicBezTo>
                <a:cubicBezTo>
                  <a:pt x="95" y="83"/>
                  <a:pt x="95" y="83"/>
                  <a:pt x="95" y="83"/>
                </a:cubicBezTo>
                <a:cubicBezTo>
                  <a:pt x="95" y="83"/>
                  <a:pt x="95" y="83"/>
                  <a:pt x="95" y="83"/>
                </a:cubicBezTo>
                <a:cubicBezTo>
                  <a:pt x="96" y="83"/>
                  <a:pt x="96" y="83"/>
                  <a:pt x="96" y="83"/>
                </a:cubicBezTo>
                <a:cubicBezTo>
                  <a:pt x="96" y="84"/>
                  <a:pt x="96" y="84"/>
                  <a:pt x="96" y="84"/>
                </a:cubicBezTo>
                <a:cubicBezTo>
                  <a:pt x="96" y="85"/>
                  <a:pt x="96" y="85"/>
                  <a:pt x="96" y="85"/>
                </a:cubicBezTo>
                <a:cubicBezTo>
                  <a:pt x="97" y="85"/>
                  <a:pt x="97" y="85"/>
                  <a:pt x="98" y="85"/>
                </a:cubicBezTo>
                <a:cubicBezTo>
                  <a:pt x="98" y="85"/>
                  <a:pt x="98" y="85"/>
                  <a:pt x="98" y="85"/>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25" name="Freeform 2981">
            <a:extLst>
              <a:ext uri="{FF2B5EF4-FFF2-40B4-BE49-F238E27FC236}">
                <a16:creationId xmlns:a16="http://schemas.microsoft.com/office/drawing/2014/main" id="{9F1F3790-CE08-4303-BE95-C0C02A8C25E1}"/>
              </a:ext>
            </a:extLst>
          </p:cNvPr>
          <p:cNvSpPr>
            <a:spLocks/>
          </p:cNvSpPr>
          <p:nvPr/>
        </p:nvSpPr>
        <p:spPr bwMode="auto">
          <a:xfrm>
            <a:off x="3899482" y="3315169"/>
            <a:ext cx="19822" cy="22557"/>
          </a:xfrm>
          <a:custGeom>
            <a:avLst/>
            <a:gdLst>
              <a:gd name="T0" fmla="*/ 13 w 17"/>
              <a:gd name="T1" fmla="*/ 5 h 16"/>
              <a:gd name="T2" fmla="*/ 15 w 17"/>
              <a:gd name="T3" fmla="*/ 5 h 16"/>
              <a:gd name="T4" fmla="*/ 14 w 17"/>
              <a:gd name="T5" fmla="*/ 4 h 16"/>
              <a:gd name="T6" fmla="*/ 13 w 17"/>
              <a:gd name="T7" fmla="*/ 2 h 16"/>
              <a:gd name="T8" fmla="*/ 11 w 17"/>
              <a:gd name="T9" fmla="*/ 1 h 16"/>
              <a:gd name="T10" fmla="*/ 7 w 17"/>
              <a:gd name="T11" fmla="*/ 1 h 16"/>
              <a:gd name="T12" fmla="*/ 6 w 17"/>
              <a:gd name="T13" fmla="*/ 1 h 16"/>
              <a:gd name="T14" fmla="*/ 4 w 17"/>
              <a:gd name="T15" fmla="*/ 4 h 16"/>
              <a:gd name="T16" fmla="*/ 4 w 17"/>
              <a:gd name="T17" fmla="*/ 4 h 16"/>
              <a:gd name="T18" fmla="*/ 3 w 17"/>
              <a:gd name="T19" fmla="*/ 5 h 16"/>
              <a:gd name="T20" fmla="*/ 0 w 17"/>
              <a:gd name="T21" fmla="*/ 10 h 16"/>
              <a:gd name="T22" fmla="*/ 8 w 17"/>
              <a:gd name="T23" fmla="*/ 12 h 16"/>
              <a:gd name="T24" fmla="*/ 10 w 17"/>
              <a:gd name="T25" fmla="*/ 14 h 16"/>
              <a:gd name="T26" fmla="*/ 10 w 17"/>
              <a:gd name="T27" fmla="*/ 14 h 16"/>
              <a:gd name="T28" fmla="*/ 10 w 17"/>
              <a:gd name="T29" fmla="*/ 15 h 16"/>
              <a:gd name="T30" fmla="*/ 10 w 17"/>
              <a:gd name="T31" fmla="*/ 15 h 16"/>
              <a:gd name="T32" fmla="*/ 11 w 17"/>
              <a:gd name="T33" fmla="*/ 15 h 16"/>
              <a:gd name="T34" fmla="*/ 15 w 17"/>
              <a:gd name="T35" fmla="*/ 16 h 16"/>
              <a:gd name="T36" fmla="*/ 17 w 17"/>
              <a:gd name="T37" fmla="*/ 16 h 16"/>
              <a:gd name="T38" fmla="*/ 15 w 17"/>
              <a:gd name="T39" fmla="*/ 10 h 16"/>
              <a:gd name="T40" fmla="*/ 14 w 17"/>
              <a:gd name="T41" fmla="*/ 8 h 16"/>
              <a:gd name="T42" fmla="*/ 11 w 17"/>
              <a:gd name="T43" fmla="*/ 7 h 16"/>
              <a:gd name="T44" fmla="*/ 13 w 17"/>
              <a:gd name="T45"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 h="16">
                <a:moveTo>
                  <a:pt x="13" y="5"/>
                </a:moveTo>
                <a:cubicBezTo>
                  <a:pt x="13" y="5"/>
                  <a:pt x="14" y="5"/>
                  <a:pt x="15" y="5"/>
                </a:cubicBezTo>
                <a:cubicBezTo>
                  <a:pt x="15" y="5"/>
                  <a:pt x="14" y="4"/>
                  <a:pt x="14" y="4"/>
                </a:cubicBezTo>
                <a:cubicBezTo>
                  <a:pt x="14" y="3"/>
                  <a:pt x="14" y="3"/>
                  <a:pt x="13" y="2"/>
                </a:cubicBezTo>
                <a:cubicBezTo>
                  <a:pt x="11" y="1"/>
                  <a:pt x="11" y="1"/>
                  <a:pt x="11" y="1"/>
                </a:cubicBezTo>
                <a:cubicBezTo>
                  <a:pt x="10" y="1"/>
                  <a:pt x="8" y="0"/>
                  <a:pt x="7" y="1"/>
                </a:cubicBezTo>
                <a:cubicBezTo>
                  <a:pt x="7" y="1"/>
                  <a:pt x="6" y="1"/>
                  <a:pt x="6" y="1"/>
                </a:cubicBezTo>
                <a:cubicBezTo>
                  <a:pt x="5" y="2"/>
                  <a:pt x="4" y="3"/>
                  <a:pt x="4" y="4"/>
                </a:cubicBezTo>
                <a:cubicBezTo>
                  <a:pt x="4" y="4"/>
                  <a:pt x="4" y="4"/>
                  <a:pt x="4" y="4"/>
                </a:cubicBezTo>
                <a:cubicBezTo>
                  <a:pt x="4" y="5"/>
                  <a:pt x="3" y="5"/>
                  <a:pt x="3" y="5"/>
                </a:cubicBezTo>
                <a:cubicBezTo>
                  <a:pt x="2" y="7"/>
                  <a:pt x="1" y="8"/>
                  <a:pt x="0" y="10"/>
                </a:cubicBezTo>
                <a:cubicBezTo>
                  <a:pt x="8" y="12"/>
                  <a:pt x="8" y="12"/>
                  <a:pt x="8" y="12"/>
                </a:cubicBezTo>
                <a:cubicBezTo>
                  <a:pt x="10" y="12"/>
                  <a:pt x="10" y="13"/>
                  <a:pt x="10" y="14"/>
                </a:cubicBezTo>
                <a:cubicBezTo>
                  <a:pt x="10" y="14"/>
                  <a:pt x="10" y="14"/>
                  <a:pt x="10" y="14"/>
                </a:cubicBezTo>
                <a:cubicBezTo>
                  <a:pt x="10" y="15"/>
                  <a:pt x="10" y="15"/>
                  <a:pt x="10" y="15"/>
                </a:cubicBezTo>
                <a:cubicBezTo>
                  <a:pt x="10" y="15"/>
                  <a:pt x="10" y="15"/>
                  <a:pt x="10" y="15"/>
                </a:cubicBezTo>
                <a:cubicBezTo>
                  <a:pt x="10" y="15"/>
                  <a:pt x="10" y="15"/>
                  <a:pt x="11" y="15"/>
                </a:cubicBezTo>
                <a:cubicBezTo>
                  <a:pt x="12" y="16"/>
                  <a:pt x="14" y="16"/>
                  <a:pt x="15" y="16"/>
                </a:cubicBezTo>
                <a:cubicBezTo>
                  <a:pt x="16" y="16"/>
                  <a:pt x="16" y="16"/>
                  <a:pt x="17" y="16"/>
                </a:cubicBezTo>
                <a:cubicBezTo>
                  <a:pt x="16" y="14"/>
                  <a:pt x="15" y="12"/>
                  <a:pt x="15" y="10"/>
                </a:cubicBezTo>
                <a:cubicBezTo>
                  <a:pt x="14" y="10"/>
                  <a:pt x="14" y="9"/>
                  <a:pt x="14" y="8"/>
                </a:cubicBezTo>
                <a:cubicBezTo>
                  <a:pt x="13" y="7"/>
                  <a:pt x="12" y="8"/>
                  <a:pt x="11" y="7"/>
                </a:cubicBezTo>
                <a:cubicBezTo>
                  <a:pt x="11" y="7"/>
                  <a:pt x="12" y="5"/>
                  <a:pt x="13" y="5"/>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26" name="Freeform 2982">
            <a:extLst>
              <a:ext uri="{FF2B5EF4-FFF2-40B4-BE49-F238E27FC236}">
                <a16:creationId xmlns:a16="http://schemas.microsoft.com/office/drawing/2014/main" id="{7C53692E-E409-4651-A7E2-160097313158}"/>
              </a:ext>
            </a:extLst>
          </p:cNvPr>
          <p:cNvSpPr>
            <a:spLocks/>
          </p:cNvSpPr>
          <p:nvPr/>
        </p:nvSpPr>
        <p:spPr bwMode="auto">
          <a:xfrm>
            <a:off x="3915835" y="3317543"/>
            <a:ext cx="3469" cy="4155"/>
          </a:xfrm>
          <a:custGeom>
            <a:avLst/>
            <a:gdLst>
              <a:gd name="T0" fmla="*/ 1 w 3"/>
              <a:gd name="T1" fmla="*/ 0 h 3"/>
              <a:gd name="T2" fmla="*/ 0 w 3"/>
              <a:gd name="T3" fmla="*/ 1 h 3"/>
              <a:gd name="T4" fmla="*/ 1 w 3"/>
              <a:gd name="T5" fmla="*/ 0 h 3"/>
              <a:gd name="T6" fmla="*/ 0 w 3"/>
              <a:gd name="T7" fmla="*/ 0 h 3"/>
              <a:gd name="T8" fmla="*/ 0 w 3"/>
              <a:gd name="T9" fmla="*/ 1 h 3"/>
              <a:gd name="T10" fmla="*/ 1 w 3"/>
              <a:gd name="T11" fmla="*/ 3 h 3"/>
              <a:gd name="T12" fmla="*/ 3 w 3"/>
              <a:gd name="T13" fmla="*/ 1 h 3"/>
              <a:gd name="T14" fmla="*/ 1 w 3"/>
              <a:gd name="T15" fmla="*/ 1 h 3"/>
              <a:gd name="T16" fmla="*/ 1 w 3"/>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1" y="0"/>
                </a:moveTo>
                <a:cubicBezTo>
                  <a:pt x="0" y="1"/>
                  <a:pt x="0" y="1"/>
                  <a:pt x="0" y="1"/>
                </a:cubicBezTo>
                <a:cubicBezTo>
                  <a:pt x="1" y="0"/>
                  <a:pt x="1" y="0"/>
                  <a:pt x="1" y="0"/>
                </a:cubicBezTo>
                <a:cubicBezTo>
                  <a:pt x="0" y="0"/>
                  <a:pt x="0" y="0"/>
                  <a:pt x="0" y="0"/>
                </a:cubicBezTo>
                <a:cubicBezTo>
                  <a:pt x="0" y="0"/>
                  <a:pt x="0" y="1"/>
                  <a:pt x="0" y="1"/>
                </a:cubicBezTo>
                <a:cubicBezTo>
                  <a:pt x="0" y="1"/>
                  <a:pt x="1" y="2"/>
                  <a:pt x="1" y="3"/>
                </a:cubicBezTo>
                <a:cubicBezTo>
                  <a:pt x="3" y="2"/>
                  <a:pt x="3" y="2"/>
                  <a:pt x="3" y="1"/>
                </a:cubicBezTo>
                <a:cubicBezTo>
                  <a:pt x="1" y="1"/>
                  <a:pt x="1" y="1"/>
                  <a:pt x="1" y="1"/>
                </a:cubicBezTo>
                <a:cubicBezTo>
                  <a:pt x="1" y="1"/>
                  <a:pt x="1" y="0"/>
                  <a:pt x="1"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27" name="Freeform 2983">
            <a:extLst>
              <a:ext uri="{FF2B5EF4-FFF2-40B4-BE49-F238E27FC236}">
                <a16:creationId xmlns:a16="http://schemas.microsoft.com/office/drawing/2014/main" id="{4898AB85-D116-4944-B183-B6561707CD20}"/>
              </a:ext>
            </a:extLst>
          </p:cNvPr>
          <p:cNvSpPr>
            <a:spLocks/>
          </p:cNvSpPr>
          <p:nvPr/>
        </p:nvSpPr>
        <p:spPr bwMode="auto">
          <a:xfrm>
            <a:off x="3768158" y="3201198"/>
            <a:ext cx="77307" cy="77167"/>
          </a:xfrm>
          <a:custGeom>
            <a:avLst/>
            <a:gdLst>
              <a:gd name="T0" fmla="*/ 2 w 66"/>
              <a:gd name="T1" fmla="*/ 25 h 55"/>
              <a:gd name="T2" fmla="*/ 2 w 66"/>
              <a:gd name="T3" fmla="*/ 28 h 55"/>
              <a:gd name="T4" fmla="*/ 6 w 66"/>
              <a:gd name="T5" fmla="*/ 28 h 55"/>
              <a:gd name="T6" fmla="*/ 7 w 66"/>
              <a:gd name="T7" fmla="*/ 28 h 55"/>
              <a:gd name="T8" fmla="*/ 8 w 66"/>
              <a:gd name="T9" fmla="*/ 30 h 55"/>
              <a:gd name="T10" fmla="*/ 9 w 66"/>
              <a:gd name="T11" fmla="*/ 32 h 55"/>
              <a:gd name="T12" fmla="*/ 9 w 66"/>
              <a:gd name="T13" fmla="*/ 36 h 55"/>
              <a:gd name="T14" fmla="*/ 16 w 66"/>
              <a:gd name="T15" fmla="*/ 45 h 55"/>
              <a:gd name="T16" fmla="*/ 4 w 66"/>
              <a:gd name="T17" fmla="*/ 39 h 55"/>
              <a:gd name="T18" fmla="*/ 4 w 66"/>
              <a:gd name="T19" fmla="*/ 40 h 55"/>
              <a:gd name="T20" fmla="*/ 4 w 66"/>
              <a:gd name="T21" fmla="*/ 42 h 55"/>
              <a:gd name="T22" fmla="*/ 4 w 66"/>
              <a:gd name="T23" fmla="*/ 42 h 55"/>
              <a:gd name="T24" fmla="*/ 1 w 66"/>
              <a:gd name="T25" fmla="*/ 45 h 55"/>
              <a:gd name="T26" fmla="*/ 0 w 66"/>
              <a:gd name="T27" fmla="*/ 45 h 55"/>
              <a:gd name="T28" fmla="*/ 0 w 66"/>
              <a:gd name="T29" fmla="*/ 48 h 55"/>
              <a:gd name="T30" fmla="*/ 0 w 66"/>
              <a:gd name="T31" fmla="*/ 50 h 55"/>
              <a:gd name="T32" fmla="*/ 1 w 66"/>
              <a:gd name="T33" fmla="*/ 50 h 55"/>
              <a:gd name="T34" fmla="*/ 3 w 66"/>
              <a:gd name="T35" fmla="*/ 51 h 55"/>
              <a:gd name="T36" fmla="*/ 12 w 66"/>
              <a:gd name="T37" fmla="*/ 53 h 55"/>
              <a:gd name="T38" fmla="*/ 31 w 66"/>
              <a:gd name="T39" fmla="*/ 42 h 55"/>
              <a:gd name="T40" fmla="*/ 31 w 66"/>
              <a:gd name="T41" fmla="*/ 42 h 55"/>
              <a:gd name="T42" fmla="*/ 39 w 66"/>
              <a:gd name="T43" fmla="*/ 37 h 55"/>
              <a:gd name="T44" fmla="*/ 46 w 66"/>
              <a:gd name="T45" fmla="*/ 34 h 55"/>
              <a:gd name="T46" fmla="*/ 50 w 66"/>
              <a:gd name="T47" fmla="*/ 31 h 55"/>
              <a:gd name="T48" fmla="*/ 52 w 66"/>
              <a:gd name="T49" fmla="*/ 31 h 55"/>
              <a:gd name="T50" fmla="*/ 54 w 66"/>
              <a:gd name="T51" fmla="*/ 27 h 55"/>
              <a:gd name="T52" fmla="*/ 55 w 66"/>
              <a:gd name="T53" fmla="*/ 25 h 55"/>
              <a:gd name="T54" fmla="*/ 55 w 66"/>
              <a:gd name="T55" fmla="*/ 20 h 55"/>
              <a:gd name="T56" fmla="*/ 56 w 66"/>
              <a:gd name="T57" fmla="*/ 18 h 55"/>
              <a:gd name="T58" fmla="*/ 55 w 66"/>
              <a:gd name="T59" fmla="*/ 15 h 55"/>
              <a:gd name="T60" fmla="*/ 57 w 66"/>
              <a:gd name="T61" fmla="*/ 7 h 55"/>
              <a:gd name="T62" fmla="*/ 60 w 66"/>
              <a:gd name="T63" fmla="*/ 5 h 55"/>
              <a:gd name="T64" fmla="*/ 60 w 66"/>
              <a:gd name="T65" fmla="*/ 5 h 55"/>
              <a:gd name="T66" fmla="*/ 62 w 66"/>
              <a:gd name="T67" fmla="*/ 5 h 55"/>
              <a:gd name="T68" fmla="*/ 66 w 66"/>
              <a:gd name="T69" fmla="*/ 0 h 55"/>
              <a:gd name="T70" fmla="*/ 66 w 66"/>
              <a:gd name="T71" fmla="*/ 0 h 55"/>
              <a:gd name="T72" fmla="*/ 52 w 66"/>
              <a:gd name="T73" fmla="*/ 1 h 55"/>
              <a:gd name="T74" fmla="*/ 49 w 66"/>
              <a:gd name="T75" fmla="*/ 3 h 55"/>
              <a:gd name="T76" fmla="*/ 46 w 66"/>
              <a:gd name="T77" fmla="*/ 4 h 55"/>
              <a:gd name="T78" fmla="*/ 38 w 66"/>
              <a:gd name="T79" fmla="*/ 6 h 55"/>
              <a:gd name="T80" fmla="*/ 37 w 66"/>
              <a:gd name="T81" fmla="*/ 6 h 55"/>
              <a:gd name="T82" fmla="*/ 30 w 66"/>
              <a:gd name="T83" fmla="*/ 5 h 55"/>
              <a:gd name="T84" fmla="*/ 29 w 66"/>
              <a:gd name="T85" fmla="*/ 5 h 55"/>
              <a:gd name="T86" fmla="*/ 26 w 66"/>
              <a:gd name="T87" fmla="*/ 4 h 55"/>
              <a:gd name="T88" fmla="*/ 24 w 66"/>
              <a:gd name="T89" fmla="*/ 5 h 55"/>
              <a:gd name="T90" fmla="*/ 16 w 66"/>
              <a:gd name="T91" fmla="*/ 7 h 55"/>
              <a:gd name="T92" fmla="*/ 10 w 66"/>
              <a:gd name="T93" fmla="*/ 5 h 55"/>
              <a:gd name="T94" fmla="*/ 10 w 66"/>
              <a:gd name="T95" fmla="*/ 8 h 55"/>
              <a:gd name="T96" fmla="*/ 10 w 66"/>
              <a:gd name="T97" fmla="*/ 11 h 55"/>
              <a:gd name="T98" fmla="*/ 9 w 66"/>
              <a:gd name="T99" fmla="*/ 11 h 55"/>
              <a:gd name="T100" fmla="*/ 8 w 66"/>
              <a:gd name="T101" fmla="*/ 12 h 55"/>
              <a:gd name="T102" fmla="*/ 8 w 66"/>
              <a:gd name="T103" fmla="*/ 12 h 55"/>
              <a:gd name="T104" fmla="*/ 6 w 66"/>
              <a:gd name="T105" fmla="*/ 15 h 55"/>
              <a:gd name="T106" fmla="*/ 6 w 66"/>
              <a:gd name="T107" fmla="*/ 15 h 55"/>
              <a:gd name="T108" fmla="*/ 5 w 66"/>
              <a:gd name="T109" fmla="*/ 17 h 55"/>
              <a:gd name="T110" fmla="*/ 1 w 66"/>
              <a:gd name="T111" fmla="*/ 15 h 55"/>
              <a:gd name="T112" fmla="*/ 0 w 66"/>
              <a:gd name="T113" fmla="*/ 1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6" h="55">
                <a:moveTo>
                  <a:pt x="2" y="21"/>
                </a:moveTo>
                <a:cubicBezTo>
                  <a:pt x="2" y="22"/>
                  <a:pt x="1" y="23"/>
                  <a:pt x="2" y="25"/>
                </a:cubicBezTo>
                <a:cubicBezTo>
                  <a:pt x="2" y="26"/>
                  <a:pt x="2" y="27"/>
                  <a:pt x="2" y="28"/>
                </a:cubicBezTo>
                <a:cubicBezTo>
                  <a:pt x="2" y="28"/>
                  <a:pt x="2" y="28"/>
                  <a:pt x="2" y="28"/>
                </a:cubicBezTo>
                <a:cubicBezTo>
                  <a:pt x="3" y="28"/>
                  <a:pt x="3" y="28"/>
                  <a:pt x="4" y="28"/>
                </a:cubicBezTo>
                <a:cubicBezTo>
                  <a:pt x="4" y="28"/>
                  <a:pt x="5" y="28"/>
                  <a:pt x="6" y="28"/>
                </a:cubicBezTo>
                <a:cubicBezTo>
                  <a:pt x="6" y="28"/>
                  <a:pt x="6" y="28"/>
                  <a:pt x="6" y="28"/>
                </a:cubicBezTo>
                <a:cubicBezTo>
                  <a:pt x="6" y="28"/>
                  <a:pt x="7" y="28"/>
                  <a:pt x="7" y="28"/>
                </a:cubicBezTo>
                <a:cubicBezTo>
                  <a:pt x="10" y="28"/>
                  <a:pt x="10" y="28"/>
                  <a:pt x="10" y="28"/>
                </a:cubicBezTo>
                <a:cubicBezTo>
                  <a:pt x="8" y="30"/>
                  <a:pt x="8" y="30"/>
                  <a:pt x="8" y="30"/>
                </a:cubicBezTo>
                <a:cubicBezTo>
                  <a:pt x="9" y="30"/>
                  <a:pt x="9" y="31"/>
                  <a:pt x="9" y="32"/>
                </a:cubicBezTo>
                <a:cubicBezTo>
                  <a:pt x="9" y="32"/>
                  <a:pt x="9" y="32"/>
                  <a:pt x="9" y="32"/>
                </a:cubicBezTo>
                <a:cubicBezTo>
                  <a:pt x="10" y="32"/>
                  <a:pt x="11" y="34"/>
                  <a:pt x="10" y="35"/>
                </a:cubicBezTo>
                <a:cubicBezTo>
                  <a:pt x="9" y="35"/>
                  <a:pt x="9" y="35"/>
                  <a:pt x="9" y="36"/>
                </a:cubicBezTo>
                <a:cubicBezTo>
                  <a:pt x="8" y="36"/>
                  <a:pt x="7" y="37"/>
                  <a:pt x="7" y="37"/>
                </a:cubicBezTo>
                <a:cubicBezTo>
                  <a:pt x="16" y="45"/>
                  <a:pt x="16" y="45"/>
                  <a:pt x="16" y="45"/>
                </a:cubicBezTo>
                <a:cubicBezTo>
                  <a:pt x="6" y="39"/>
                  <a:pt x="6" y="39"/>
                  <a:pt x="6" y="39"/>
                </a:cubicBezTo>
                <a:cubicBezTo>
                  <a:pt x="5" y="39"/>
                  <a:pt x="5" y="39"/>
                  <a:pt x="4" y="39"/>
                </a:cubicBezTo>
                <a:cubicBezTo>
                  <a:pt x="4" y="40"/>
                  <a:pt x="4" y="40"/>
                  <a:pt x="4" y="40"/>
                </a:cubicBezTo>
                <a:cubicBezTo>
                  <a:pt x="4" y="40"/>
                  <a:pt x="4" y="40"/>
                  <a:pt x="4" y="40"/>
                </a:cubicBezTo>
                <a:cubicBezTo>
                  <a:pt x="4" y="40"/>
                  <a:pt x="4" y="41"/>
                  <a:pt x="4" y="41"/>
                </a:cubicBezTo>
                <a:cubicBezTo>
                  <a:pt x="4" y="42"/>
                  <a:pt x="4" y="42"/>
                  <a:pt x="4" y="42"/>
                </a:cubicBezTo>
                <a:cubicBezTo>
                  <a:pt x="4" y="42"/>
                  <a:pt x="4" y="42"/>
                  <a:pt x="4" y="42"/>
                </a:cubicBezTo>
                <a:cubicBezTo>
                  <a:pt x="4" y="42"/>
                  <a:pt x="4" y="42"/>
                  <a:pt x="4" y="42"/>
                </a:cubicBezTo>
                <a:cubicBezTo>
                  <a:pt x="3" y="43"/>
                  <a:pt x="2" y="44"/>
                  <a:pt x="2" y="44"/>
                </a:cubicBezTo>
                <a:cubicBezTo>
                  <a:pt x="1" y="44"/>
                  <a:pt x="1" y="45"/>
                  <a:pt x="1" y="45"/>
                </a:cubicBezTo>
                <a:cubicBezTo>
                  <a:pt x="1" y="45"/>
                  <a:pt x="1" y="45"/>
                  <a:pt x="1" y="45"/>
                </a:cubicBezTo>
                <a:cubicBezTo>
                  <a:pt x="0" y="45"/>
                  <a:pt x="0" y="45"/>
                  <a:pt x="0" y="45"/>
                </a:cubicBezTo>
                <a:cubicBezTo>
                  <a:pt x="0" y="46"/>
                  <a:pt x="0" y="46"/>
                  <a:pt x="0" y="47"/>
                </a:cubicBezTo>
                <a:cubicBezTo>
                  <a:pt x="0" y="47"/>
                  <a:pt x="0" y="48"/>
                  <a:pt x="0" y="48"/>
                </a:cubicBezTo>
                <a:cubicBezTo>
                  <a:pt x="0" y="49"/>
                  <a:pt x="0" y="49"/>
                  <a:pt x="0" y="50"/>
                </a:cubicBezTo>
                <a:cubicBezTo>
                  <a:pt x="0" y="50"/>
                  <a:pt x="0" y="50"/>
                  <a:pt x="0" y="50"/>
                </a:cubicBezTo>
                <a:cubicBezTo>
                  <a:pt x="1" y="50"/>
                  <a:pt x="1" y="50"/>
                  <a:pt x="1" y="50"/>
                </a:cubicBezTo>
                <a:cubicBezTo>
                  <a:pt x="1" y="50"/>
                  <a:pt x="1" y="50"/>
                  <a:pt x="1" y="50"/>
                </a:cubicBezTo>
                <a:cubicBezTo>
                  <a:pt x="2" y="50"/>
                  <a:pt x="2" y="51"/>
                  <a:pt x="2" y="51"/>
                </a:cubicBezTo>
                <a:cubicBezTo>
                  <a:pt x="3" y="51"/>
                  <a:pt x="3" y="51"/>
                  <a:pt x="3" y="51"/>
                </a:cubicBezTo>
                <a:cubicBezTo>
                  <a:pt x="3" y="51"/>
                  <a:pt x="4" y="52"/>
                  <a:pt x="4" y="52"/>
                </a:cubicBezTo>
                <a:cubicBezTo>
                  <a:pt x="10" y="55"/>
                  <a:pt x="11" y="55"/>
                  <a:pt x="12" y="53"/>
                </a:cubicBezTo>
                <a:cubicBezTo>
                  <a:pt x="12" y="53"/>
                  <a:pt x="13" y="53"/>
                  <a:pt x="13" y="53"/>
                </a:cubicBezTo>
                <a:cubicBezTo>
                  <a:pt x="17" y="50"/>
                  <a:pt x="26" y="45"/>
                  <a:pt x="31" y="42"/>
                </a:cubicBezTo>
                <a:cubicBezTo>
                  <a:pt x="31" y="42"/>
                  <a:pt x="31" y="42"/>
                  <a:pt x="31" y="42"/>
                </a:cubicBezTo>
                <a:cubicBezTo>
                  <a:pt x="31" y="42"/>
                  <a:pt x="31" y="42"/>
                  <a:pt x="31" y="42"/>
                </a:cubicBezTo>
                <a:cubicBezTo>
                  <a:pt x="33" y="41"/>
                  <a:pt x="33" y="41"/>
                  <a:pt x="33" y="41"/>
                </a:cubicBezTo>
                <a:cubicBezTo>
                  <a:pt x="35" y="40"/>
                  <a:pt x="37" y="38"/>
                  <a:pt x="39" y="37"/>
                </a:cubicBezTo>
                <a:cubicBezTo>
                  <a:pt x="46" y="34"/>
                  <a:pt x="46" y="34"/>
                  <a:pt x="46" y="34"/>
                </a:cubicBezTo>
                <a:cubicBezTo>
                  <a:pt x="46" y="34"/>
                  <a:pt x="46" y="34"/>
                  <a:pt x="46" y="34"/>
                </a:cubicBezTo>
                <a:cubicBezTo>
                  <a:pt x="48" y="32"/>
                  <a:pt x="48" y="32"/>
                  <a:pt x="48" y="32"/>
                </a:cubicBezTo>
                <a:cubicBezTo>
                  <a:pt x="49" y="32"/>
                  <a:pt x="50" y="32"/>
                  <a:pt x="50" y="31"/>
                </a:cubicBezTo>
                <a:cubicBezTo>
                  <a:pt x="51" y="31"/>
                  <a:pt x="51" y="31"/>
                  <a:pt x="51" y="31"/>
                </a:cubicBezTo>
                <a:cubicBezTo>
                  <a:pt x="52" y="31"/>
                  <a:pt x="52" y="31"/>
                  <a:pt x="52" y="31"/>
                </a:cubicBezTo>
                <a:cubicBezTo>
                  <a:pt x="52" y="31"/>
                  <a:pt x="53" y="31"/>
                  <a:pt x="53" y="30"/>
                </a:cubicBezTo>
                <a:cubicBezTo>
                  <a:pt x="53" y="30"/>
                  <a:pt x="54" y="29"/>
                  <a:pt x="54" y="27"/>
                </a:cubicBezTo>
                <a:cubicBezTo>
                  <a:pt x="55" y="27"/>
                  <a:pt x="55" y="26"/>
                  <a:pt x="55" y="26"/>
                </a:cubicBezTo>
                <a:cubicBezTo>
                  <a:pt x="55" y="25"/>
                  <a:pt x="55" y="25"/>
                  <a:pt x="55" y="25"/>
                </a:cubicBezTo>
                <a:cubicBezTo>
                  <a:pt x="55" y="25"/>
                  <a:pt x="55" y="24"/>
                  <a:pt x="55" y="24"/>
                </a:cubicBezTo>
                <a:cubicBezTo>
                  <a:pt x="55" y="23"/>
                  <a:pt x="55" y="21"/>
                  <a:pt x="55" y="20"/>
                </a:cubicBezTo>
                <a:cubicBezTo>
                  <a:pt x="55" y="20"/>
                  <a:pt x="55" y="20"/>
                  <a:pt x="55" y="20"/>
                </a:cubicBezTo>
                <a:cubicBezTo>
                  <a:pt x="55" y="19"/>
                  <a:pt x="56" y="19"/>
                  <a:pt x="56" y="18"/>
                </a:cubicBezTo>
                <a:cubicBezTo>
                  <a:pt x="56" y="17"/>
                  <a:pt x="56" y="17"/>
                  <a:pt x="56" y="16"/>
                </a:cubicBezTo>
                <a:cubicBezTo>
                  <a:pt x="55" y="15"/>
                  <a:pt x="55" y="15"/>
                  <a:pt x="55" y="15"/>
                </a:cubicBezTo>
                <a:cubicBezTo>
                  <a:pt x="55" y="13"/>
                  <a:pt x="55" y="11"/>
                  <a:pt x="56" y="8"/>
                </a:cubicBezTo>
                <a:cubicBezTo>
                  <a:pt x="56" y="8"/>
                  <a:pt x="56" y="7"/>
                  <a:pt x="57" y="7"/>
                </a:cubicBezTo>
                <a:cubicBezTo>
                  <a:pt x="57" y="6"/>
                  <a:pt x="58" y="6"/>
                  <a:pt x="59" y="5"/>
                </a:cubicBezTo>
                <a:cubicBezTo>
                  <a:pt x="60" y="5"/>
                  <a:pt x="60" y="5"/>
                  <a:pt x="60" y="5"/>
                </a:cubicBezTo>
                <a:cubicBezTo>
                  <a:pt x="60" y="4"/>
                  <a:pt x="60" y="4"/>
                  <a:pt x="60" y="4"/>
                </a:cubicBezTo>
                <a:cubicBezTo>
                  <a:pt x="60" y="5"/>
                  <a:pt x="60" y="5"/>
                  <a:pt x="60" y="5"/>
                </a:cubicBezTo>
                <a:cubicBezTo>
                  <a:pt x="61" y="5"/>
                  <a:pt x="61" y="5"/>
                  <a:pt x="61" y="5"/>
                </a:cubicBezTo>
                <a:cubicBezTo>
                  <a:pt x="61" y="5"/>
                  <a:pt x="61" y="5"/>
                  <a:pt x="62" y="5"/>
                </a:cubicBezTo>
                <a:cubicBezTo>
                  <a:pt x="63" y="3"/>
                  <a:pt x="64" y="2"/>
                  <a:pt x="65" y="1"/>
                </a:cubicBezTo>
                <a:cubicBezTo>
                  <a:pt x="66" y="0"/>
                  <a:pt x="66" y="0"/>
                  <a:pt x="66" y="0"/>
                </a:cubicBezTo>
                <a:cubicBezTo>
                  <a:pt x="66" y="0"/>
                  <a:pt x="66" y="0"/>
                  <a:pt x="66" y="0"/>
                </a:cubicBezTo>
                <a:cubicBezTo>
                  <a:pt x="66" y="0"/>
                  <a:pt x="66" y="0"/>
                  <a:pt x="66" y="0"/>
                </a:cubicBezTo>
                <a:cubicBezTo>
                  <a:pt x="65" y="0"/>
                  <a:pt x="65" y="0"/>
                  <a:pt x="64" y="1"/>
                </a:cubicBezTo>
                <a:cubicBezTo>
                  <a:pt x="60" y="1"/>
                  <a:pt x="57" y="2"/>
                  <a:pt x="52" y="1"/>
                </a:cubicBezTo>
                <a:cubicBezTo>
                  <a:pt x="52" y="1"/>
                  <a:pt x="52" y="1"/>
                  <a:pt x="52" y="1"/>
                </a:cubicBezTo>
                <a:cubicBezTo>
                  <a:pt x="51" y="1"/>
                  <a:pt x="50" y="2"/>
                  <a:pt x="49" y="3"/>
                </a:cubicBezTo>
                <a:cubicBezTo>
                  <a:pt x="48" y="3"/>
                  <a:pt x="48" y="3"/>
                  <a:pt x="47" y="3"/>
                </a:cubicBezTo>
                <a:cubicBezTo>
                  <a:pt x="47" y="3"/>
                  <a:pt x="46" y="4"/>
                  <a:pt x="46" y="4"/>
                </a:cubicBezTo>
                <a:cubicBezTo>
                  <a:pt x="44" y="4"/>
                  <a:pt x="44" y="4"/>
                  <a:pt x="44" y="4"/>
                </a:cubicBezTo>
                <a:cubicBezTo>
                  <a:pt x="42" y="5"/>
                  <a:pt x="40" y="6"/>
                  <a:pt x="38" y="6"/>
                </a:cubicBezTo>
                <a:cubicBezTo>
                  <a:pt x="38" y="6"/>
                  <a:pt x="38" y="6"/>
                  <a:pt x="38" y="6"/>
                </a:cubicBezTo>
                <a:cubicBezTo>
                  <a:pt x="37" y="6"/>
                  <a:pt x="37" y="6"/>
                  <a:pt x="37" y="6"/>
                </a:cubicBezTo>
                <a:cubicBezTo>
                  <a:pt x="35" y="6"/>
                  <a:pt x="33" y="6"/>
                  <a:pt x="30" y="6"/>
                </a:cubicBezTo>
                <a:cubicBezTo>
                  <a:pt x="30" y="5"/>
                  <a:pt x="30" y="5"/>
                  <a:pt x="30" y="5"/>
                </a:cubicBezTo>
                <a:cubicBezTo>
                  <a:pt x="30" y="5"/>
                  <a:pt x="29" y="5"/>
                  <a:pt x="29" y="5"/>
                </a:cubicBezTo>
                <a:cubicBezTo>
                  <a:pt x="29" y="5"/>
                  <a:pt x="29" y="5"/>
                  <a:pt x="29" y="5"/>
                </a:cubicBezTo>
                <a:cubicBezTo>
                  <a:pt x="29" y="5"/>
                  <a:pt x="28" y="5"/>
                  <a:pt x="28" y="5"/>
                </a:cubicBezTo>
                <a:cubicBezTo>
                  <a:pt x="26" y="4"/>
                  <a:pt x="26" y="4"/>
                  <a:pt x="26" y="4"/>
                </a:cubicBezTo>
                <a:cubicBezTo>
                  <a:pt x="25" y="4"/>
                  <a:pt x="25" y="4"/>
                  <a:pt x="24" y="4"/>
                </a:cubicBezTo>
                <a:cubicBezTo>
                  <a:pt x="24" y="5"/>
                  <a:pt x="24" y="5"/>
                  <a:pt x="24" y="5"/>
                </a:cubicBezTo>
                <a:cubicBezTo>
                  <a:pt x="21" y="6"/>
                  <a:pt x="18" y="7"/>
                  <a:pt x="17" y="7"/>
                </a:cubicBezTo>
                <a:cubicBezTo>
                  <a:pt x="16" y="7"/>
                  <a:pt x="16" y="7"/>
                  <a:pt x="16" y="7"/>
                </a:cubicBezTo>
                <a:cubicBezTo>
                  <a:pt x="15" y="7"/>
                  <a:pt x="13" y="7"/>
                  <a:pt x="12" y="6"/>
                </a:cubicBezTo>
                <a:cubicBezTo>
                  <a:pt x="10" y="5"/>
                  <a:pt x="10" y="5"/>
                  <a:pt x="10" y="5"/>
                </a:cubicBezTo>
                <a:cubicBezTo>
                  <a:pt x="10" y="6"/>
                  <a:pt x="10" y="7"/>
                  <a:pt x="10" y="8"/>
                </a:cubicBezTo>
                <a:cubicBezTo>
                  <a:pt x="10" y="8"/>
                  <a:pt x="10" y="8"/>
                  <a:pt x="10" y="8"/>
                </a:cubicBezTo>
                <a:cubicBezTo>
                  <a:pt x="13" y="9"/>
                  <a:pt x="13" y="9"/>
                  <a:pt x="13" y="9"/>
                </a:cubicBezTo>
                <a:cubicBezTo>
                  <a:pt x="10" y="11"/>
                  <a:pt x="10" y="11"/>
                  <a:pt x="10" y="11"/>
                </a:cubicBezTo>
                <a:cubicBezTo>
                  <a:pt x="10" y="11"/>
                  <a:pt x="9" y="11"/>
                  <a:pt x="9" y="11"/>
                </a:cubicBezTo>
                <a:cubicBezTo>
                  <a:pt x="9" y="11"/>
                  <a:pt x="9" y="11"/>
                  <a:pt x="9" y="11"/>
                </a:cubicBezTo>
                <a:cubicBezTo>
                  <a:pt x="9" y="11"/>
                  <a:pt x="8" y="11"/>
                  <a:pt x="8" y="12"/>
                </a:cubicBezTo>
                <a:cubicBezTo>
                  <a:pt x="8" y="12"/>
                  <a:pt x="8" y="12"/>
                  <a:pt x="8" y="12"/>
                </a:cubicBezTo>
                <a:cubicBezTo>
                  <a:pt x="8" y="12"/>
                  <a:pt x="8" y="12"/>
                  <a:pt x="8" y="12"/>
                </a:cubicBezTo>
                <a:cubicBezTo>
                  <a:pt x="8" y="12"/>
                  <a:pt x="8" y="12"/>
                  <a:pt x="8" y="12"/>
                </a:cubicBezTo>
                <a:cubicBezTo>
                  <a:pt x="8" y="13"/>
                  <a:pt x="7" y="14"/>
                  <a:pt x="6" y="14"/>
                </a:cubicBezTo>
                <a:cubicBezTo>
                  <a:pt x="6" y="14"/>
                  <a:pt x="6" y="14"/>
                  <a:pt x="6" y="15"/>
                </a:cubicBezTo>
                <a:cubicBezTo>
                  <a:pt x="6" y="15"/>
                  <a:pt x="6" y="15"/>
                  <a:pt x="6" y="15"/>
                </a:cubicBezTo>
                <a:cubicBezTo>
                  <a:pt x="6" y="15"/>
                  <a:pt x="6" y="15"/>
                  <a:pt x="6" y="15"/>
                </a:cubicBezTo>
                <a:cubicBezTo>
                  <a:pt x="5" y="15"/>
                  <a:pt x="5" y="16"/>
                  <a:pt x="5" y="16"/>
                </a:cubicBezTo>
                <a:cubicBezTo>
                  <a:pt x="5" y="17"/>
                  <a:pt x="5" y="17"/>
                  <a:pt x="5" y="17"/>
                </a:cubicBezTo>
                <a:cubicBezTo>
                  <a:pt x="4" y="16"/>
                  <a:pt x="4" y="16"/>
                  <a:pt x="4" y="16"/>
                </a:cubicBezTo>
                <a:cubicBezTo>
                  <a:pt x="3" y="16"/>
                  <a:pt x="2" y="15"/>
                  <a:pt x="1" y="15"/>
                </a:cubicBezTo>
                <a:cubicBezTo>
                  <a:pt x="1" y="15"/>
                  <a:pt x="1" y="16"/>
                  <a:pt x="0" y="16"/>
                </a:cubicBezTo>
                <a:cubicBezTo>
                  <a:pt x="0" y="17"/>
                  <a:pt x="0" y="18"/>
                  <a:pt x="0" y="18"/>
                </a:cubicBezTo>
                <a:cubicBezTo>
                  <a:pt x="1" y="19"/>
                  <a:pt x="2" y="19"/>
                  <a:pt x="2" y="2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28" name="Freeform 2984">
            <a:extLst>
              <a:ext uri="{FF2B5EF4-FFF2-40B4-BE49-F238E27FC236}">
                <a16:creationId xmlns:a16="http://schemas.microsoft.com/office/drawing/2014/main" id="{E45CEAA1-8D11-478A-ACB6-61A1F2F107B8}"/>
              </a:ext>
            </a:extLst>
          </p:cNvPr>
          <p:cNvSpPr>
            <a:spLocks/>
          </p:cNvSpPr>
          <p:nvPr/>
        </p:nvSpPr>
        <p:spPr bwMode="auto">
          <a:xfrm>
            <a:off x="3763698" y="3275398"/>
            <a:ext cx="991" cy="1781"/>
          </a:xfrm>
          <a:custGeom>
            <a:avLst/>
            <a:gdLst>
              <a:gd name="T0" fmla="*/ 1 w 1"/>
              <a:gd name="T1" fmla="*/ 1 h 1"/>
              <a:gd name="T2" fmla="*/ 1 w 1"/>
              <a:gd name="T3" fmla="*/ 0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cubicBezTo>
                  <a:pt x="1" y="1"/>
                  <a:pt x="1" y="0"/>
                  <a:pt x="1" y="0"/>
                </a:cubicBezTo>
                <a:cubicBezTo>
                  <a:pt x="0" y="0"/>
                  <a:pt x="0" y="0"/>
                  <a:pt x="0" y="0"/>
                </a:cubicBezTo>
                <a:cubicBezTo>
                  <a:pt x="0" y="0"/>
                  <a:pt x="1" y="1"/>
                  <a:pt x="1"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29" name="Freeform 2985">
            <a:extLst>
              <a:ext uri="{FF2B5EF4-FFF2-40B4-BE49-F238E27FC236}">
                <a16:creationId xmlns:a16="http://schemas.microsoft.com/office/drawing/2014/main" id="{AB6B8B29-5BB3-440C-9D95-0E3DF033C52E}"/>
              </a:ext>
            </a:extLst>
          </p:cNvPr>
          <p:cNvSpPr>
            <a:spLocks/>
          </p:cNvSpPr>
          <p:nvPr/>
        </p:nvSpPr>
        <p:spPr bwMode="auto">
          <a:xfrm>
            <a:off x="3750814" y="3267087"/>
            <a:ext cx="14867" cy="52236"/>
          </a:xfrm>
          <a:custGeom>
            <a:avLst/>
            <a:gdLst>
              <a:gd name="T0" fmla="*/ 1 w 13"/>
              <a:gd name="T1" fmla="*/ 19 h 37"/>
              <a:gd name="T2" fmla="*/ 0 w 13"/>
              <a:gd name="T3" fmla="*/ 20 h 37"/>
              <a:gd name="T4" fmla="*/ 1 w 13"/>
              <a:gd name="T5" fmla="*/ 19 h 37"/>
              <a:gd name="T6" fmla="*/ 1 w 13"/>
              <a:gd name="T7" fmla="*/ 20 h 37"/>
              <a:gd name="T8" fmla="*/ 1 w 13"/>
              <a:gd name="T9" fmla="*/ 20 h 37"/>
              <a:gd name="T10" fmla="*/ 1 w 13"/>
              <a:gd name="T11" fmla="*/ 20 h 37"/>
              <a:gd name="T12" fmla="*/ 6 w 13"/>
              <a:gd name="T13" fmla="*/ 37 h 37"/>
              <a:gd name="T14" fmla="*/ 8 w 13"/>
              <a:gd name="T15" fmla="*/ 30 h 37"/>
              <a:gd name="T16" fmla="*/ 9 w 13"/>
              <a:gd name="T17" fmla="*/ 28 h 37"/>
              <a:gd name="T18" fmla="*/ 10 w 13"/>
              <a:gd name="T19" fmla="*/ 25 h 37"/>
              <a:gd name="T20" fmla="*/ 10 w 13"/>
              <a:gd name="T21" fmla="*/ 24 h 37"/>
              <a:gd name="T22" fmla="*/ 10 w 13"/>
              <a:gd name="T23" fmla="*/ 22 h 37"/>
              <a:gd name="T24" fmla="*/ 11 w 13"/>
              <a:gd name="T25" fmla="*/ 19 h 37"/>
              <a:gd name="T26" fmla="*/ 11 w 13"/>
              <a:gd name="T27" fmla="*/ 18 h 37"/>
              <a:gd name="T28" fmla="*/ 9 w 13"/>
              <a:gd name="T29" fmla="*/ 19 h 37"/>
              <a:gd name="T30" fmla="*/ 9 w 13"/>
              <a:gd name="T31" fmla="*/ 19 h 37"/>
              <a:gd name="T32" fmla="*/ 9 w 13"/>
              <a:gd name="T33" fmla="*/ 19 h 37"/>
              <a:gd name="T34" fmla="*/ 9 w 13"/>
              <a:gd name="T35" fmla="*/ 19 h 37"/>
              <a:gd name="T36" fmla="*/ 7 w 13"/>
              <a:gd name="T37" fmla="*/ 19 h 37"/>
              <a:gd name="T38" fmla="*/ 10 w 13"/>
              <a:gd name="T39" fmla="*/ 15 h 37"/>
              <a:gd name="T40" fmla="*/ 7 w 13"/>
              <a:gd name="T41" fmla="*/ 14 h 37"/>
              <a:gd name="T42" fmla="*/ 8 w 13"/>
              <a:gd name="T43" fmla="*/ 8 h 37"/>
              <a:gd name="T44" fmla="*/ 9 w 13"/>
              <a:gd name="T45" fmla="*/ 6 h 37"/>
              <a:gd name="T46" fmla="*/ 10 w 13"/>
              <a:gd name="T47" fmla="*/ 6 h 37"/>
              <a:gd name="T48" fmla="*/ 10 w 13"/>
              <a:gd name="T49" fmla="*/ 6 h 37"/>
              <a:gd name="T50" fmla="*/ 13 w 13"/>
              <a:gd name="T51" fmla="*/ 3 h 37"/>
              <a:gd name="T52" fmla="*/ 13 w 13"/>
              <a:gd name="T53" fmla="*/ 3 h 37"/>
              <a:gd name="T54" fmla="*/ 13 w 13"/>
              <a:gd name="T55" fmla="*/ 3 h 37"/>
              <a:gd name="T56" fmla="*/ 13 w 13"/>
              <a:gd name="T57" fmla="*/ 1 h 37"/>
              <a:gd name="T58" fmla="*/ 13 w 13"/>
              <a:gd name="T59" fmla="*/ 0 h 37"/>
              <a:gd name="T60" fmla="*/ 11 w 13"/>
              <a:gd name="T61" fmla="*/ 1 h 37"/>
              <a:gd name="T62" fmla="*/ 11 w 13"/>
              <a:gd name="T63" fmla="*/ 1 h 37"/>
              <a:gd name="T64" fmla="*/ 8 w 13"/>
              <a:gd name="T65" fmla="*/ 1 h 37"/>
              <a:gd name="T66" fmla="*/ 8 w 13"/>
              <a:gd name="T67" fmla="*/ 2 h 37"/>
              <a:gd name="T68" fmla="*/ 7 w 13"/>
              <a:gd name="T69" fmla="*/ 4 h 37"/>
              <a:gd name="T70" fmla="*/ 2 w 13"/>
              <a:gd name="T71" fmla="*/ 17 h 37"/>
              <a:gd name="T72" fmla="*/ 2 w 13"/>
              <a:gd name="T73" fmla="*/ 17 h 37"/>
              <a:gd name="T74" fmla="*/ 0 w 13"/>
              <a:gd name="T75" fmla="*/ 19 h 37"/>
              <a:gd name="T76" fmla="*/ 1 w 13"/>
              <a:gd name="T77"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 h="37">
                <a:moveTo>
                  <a:pt x="1" y="19"/>
                </a:moveTo>
                <a:cubicBezTo>
                  <a:pt x="0" y="20"/>
                  <a:pt x="0" y="20"/>
                  <a:pt x="0" y="20"/>
                </a:cubicBezTo>
                <a:cubicBezTo>
                  <a:pt x="1" y="19"/>
                  <a:pt x="1" y="19"/>
                  <a:pt x="1" y="19"/>
                </a:cubicBezTo>
                <a:cubicBezTo>
                  <a:pt x="1" y="19"/>
                  <a:pt x="1" y="20"/>
                  <a:pt x="1" y="20"/>
                </a:cubicBezTo>
                <a:cubicBezTo>
                  <a:pt x="1" y="20"/>
                  <a:pt x="1" y="20"/>
                  <a:pt x="1" y="20"/>
                </a:cubicBezTo>
                <a:cubicBezTo>
                  <a:pt x="1" y="20"/>
                  <a:pt x="1" y="20"/>
                  <a:pt x="1" y="20"/>
                </a:cubicBezTo>
                <a:cubicBezTo>
                  <a:pt x="6" y="37"/>
                  <a:pt x="6" y="37"/>
                  <a:pt x="6" y="37"/>
                </a:cubicBezTo>
                <a:cubicBezTo>
                  <a:pt x="7" y="35"/>
                  <a:pt x="8" y="32"/>
                  <a:pt x="8" y="30"/>
                </a:cubicBezTo>
                <a:cubicBezTo>
                  <a:pt x="9" y="28"/>
                  <a:pt x="9" y="28"/>
                  <a:pt x="9" y="28"/>
                </a:cubicBezTo>
                <a:cubicBezTo>
                  <a:pt x="9" y="27"/>
                  <a:pt x="9" y="25"/>
                  <a:pt x="10" y="25"/>
                </a:cubicBezTo>
                <a:cubicBezTo>
                  <a:pt x="10" y="24"/>
                  <a:pt x="10" y="24"/>
                  <a:pt x="10" y="24"/>
                </a:cubicBezTo>
                <a:cubicBezTo>
                  <a:pt x="10" y="23"/>
                  <a:pt x="10" y="23"/>
                  <a:pt x="10" y="22"/>
                </a:cubicBezTo>
                <a:cubicBezTo>
                  <a:pt x="10" y="21"/>
                  <a:pt x="11" y="20"/>
                  <a:pt x="11" y="19"/>
                </a:cubicBezTo>
                <a:cubicBezTo>
                  <a:pt x="11" y="18"/>
                  <a:pt x="11" y="18"/>
                  <a:pt x="11" y="18"/>
                </a:cubicBezTo>
                <a:cubicBezTo>
                  <a:pt x="10" y="19"/>
                  <a:pt x="10" y="19"/>
                  <a:pt x="9" y="19"/>
                </a:cubicBezTo>
                <a:cubicBezTo>
                  <a:pt x="9" y="19"/>
                  <a:pt x="9" y="19"/>
                  <a:pt x="9" y="19"/>
                </a:cubicBezTo>
                <a:cubicBezTo>
                  <a:pt x="9" y="19"/>
                  <a:pt x="9" y="19"/>
                  <a:pt x="9" y="19"/>
                </a:cubicBezTo>
                <a:cubicBezTo>
                  <a:pt x="9" y="19"/>
                  <a:pt x="9" y="19"/>
                  <a:pt x="9" y="19"/>
                </a:cubicBezTo>
                <a:cubicBezTo>
                  <a:pt x="8" y="19"/>
                  <a:pt x="7" y="19"/>
                  <a:pt x="7" y="19"/>
                </a:cubicBezTo>
                <a:cubicBezTo>
                  <a:pt x="7" y="18"/>
                  <a:pt x="7" y="14"/>
                  <a:pt x="10" y="15"/>
                </a:cubicBezTo>
                <a:cubicBezTo>
                  <a:pt x="9" y="14"/>
                  <a:pt x="8" y="14"/>
                  <a:pt x="7" y="14"/>
                </a:cubicBezTo>
                <a:cubicBezTo>
                  <a:pt x="7" y="12"/>
                  <a:pt x="7" y="9"/>
                  <a:pt x="8" y="8"/>
                </a:cubicBezTo>
                <a:cubicBezTo>
                  <a:pt x="8" y="7"/>
                  <a:pt x="9" y="6"/>
                  <a:pt x="9" y="6"/>
                </a:cubicBezTo>
                <a:cubicBezTo>
                  <a:pt x="9" y="6"/>
                  <a:pt x="9" y="6"/>
                  <a:pt x="10" y="6"/>
                </a:cubicBezTo>
                <a:cubicBezTo>
                  <a:pt x="10" y="6"/>
                  <a:pt x="10" y="6"/>
                  <a:pt x="10" y="6"/>
                </a:cubicBezTo>
                <a:cubicBezTo>
                  <a:pt x="13" y="3"/>
                  <a:pt x="13" y="3"/>
                  <a:pt x="13" y="3"/>
                </a:cubicBezTo>
                <a:cubicBezTo>
                  <a:pt x="13" y="3"/>
                  <a:pt x="13" y="3"/>
                  <a:pt x="13" y="3"/>
                </a:cubicBezTo>
                <a:cubicBezTo>
                  <a:pt x="13" y="3"/>
                  <a:pt x="13" y="3"/>
                  <a:pt x="13" y="3"/>
                </a:cubicBezTo>
                <a:cubicBezTo>
                  <a:pt x="13" y="3"/>
                  <a:pt x="13" y="2"/>
                  <a:pt x="13" y="1"/>
                </a:cubicBezTo>
                <a:cubicBezTo>
                  <a:pt x="13" y="1"/>
                  <a:pt x="13" y="1"/>
                  <a:pt x="13" y="0"/>
                </a:cubicBezTo>
                <a:cubicBezTo>
                  <a:pt x="12" y="1"/>
                  <a:pt x="12" y="1"/>
                  <a:pt x="11" y="1"/>
                </a:cubicBezTo>
                <a:cubicBezTo>
                  <a:pt x="11" y="1"/>
                  <a:pt x="11" y="1"/>
                  <a:pt x="11" y="1"/>
                </a:cubicBezTo>
                <a:cubicBezTo>
                  <a:pt x="8" y="1"/>
                  <a:pt x="8" y="1"/>
                  <a:pt x="8" y="1"/>
                </a:cubicBezTo>
                <a:cubicBezTo>
                  <a:pt x="8" y="1"/>
                  <a:pt x="8" y="1"/>
                  <a:pt x="8" y="2"/>
                </a:cubicBezTo>
                <a:cubicBezTo>
                  <a:pt x="8" y="3"/>
                  <a:pt x="8" y="4"/>
                  <a:pt x="7" y="4"/>
                </a:cubicBezTo>
                <a:cubicBezTo>
                  <a:pt x="6" y="9"/>
                  <a:pt x="4" y="13"/>
                  <a:pt x="2" y="17"/>
                </a:cubicBezTo>
                <a:cubicBezTo>
                  <a:pt x="2" y="17"/>
                  <a:pt x="2" y="17"/>
                  <a:pt x="2" y="17"/>
                </a:cubicBezTo>
                <a:cubicBezTo>
                  <a:pt x="2" y="17"/>
                  <a:pt x="1" y="18"/>
                  <a:pt x="0" y="19"/>
                </a:cubicBezTo>
                <a:lnTo>
                  <a:pt x="1" y="19"/>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30" name="Rectangle 2986">
            <a:extLst>
              <a:ext uri="{FF2B5EF4-FFF2-40B4-BE49-F238E27FC236}">
                <a16:creationId xmlns:a16="http://schemas.microsoft.com/office/drawing/2014/main" id="{6FA34ABE-215D-4A2F-B02F-FEE40F3EEE65}"/>
              </a:ext>
            </a:extLst>
          </p:cNvPr>
          <p:cNvSpPr>
            <a:spLocks noChangeArrowheads="1"/>
          </p:cNvSpPr>
          <p:nvPr/>
        </p:nvSpPr>
        <p:spPr bwMode="auto">
          <a:xfrm>
            <a:off x="3876190" y="3200011"/>
            <a:ext cx="496" cy="594"/>
          </a:xfrm>
          <a:prstGeom prst="rect">
            <a:avLst/>
          </a:prstGeom>
          <a:solidFill>
            <a:schemeClr val="tx1">
              <a:lumMod val="40000"/>
              <a:lumOff val="60000"/>
            </a:schemeClr>
          </a:solid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31" name="Freeform 2987">
            <a:extLst>
              <a:ext uri="{FF2B5EF4-FFF2-40B4-BE49-F238E27FC236}">
                <a16:creationId xmlns:a16="http://schemas.microsoft.com/office/drawing/2014/main" id="{7AA3FA64-27C8-45CD-A9DC-8636479F0078}"/>
              </a:ext>
            </a:extLst>
          </p:cNvPr>
          <p:cNvSpPr>
            <a:spLocks/>
          </p:cNvSpPr>
          <p:nvPr/>
        </p:nvSpPr>
        <p:spPr bwMode="auto">
          <a:xfrm>
            <a:off x="3652197" y="3118095"/>
            <a:ext cx="222507" cy="102692"/>
          </a:xfrm>
          <a:custGeom>
            <a:avLst/>
            <a:gdLst>
              <a:gd name="T0" fmla="*/ 94 w 190"/>
              <a:gd name="T1" fmla="*/ 65 h 73"/>
              <a:gd name="T2" fmla="*/ 101 w 190"/>
              <a:gd name="T3" fmla="*/ 72 h 73"/>
              <a:gd name="T4" fmla="*/ 103 w 190"/>
              <a:gd name="T5" fmla="*/ 72 h 73"/>
              <a:gd name="T6" fmla="*/ 105 w 190"/>
              <a:gd name="T7" fmla="*/ 70 h 73"/>
              <a:gd name="T8" fmla="*/ 106 w 190"/>
              <a:gd name="T9" fmla="*/ 67 h 73"/>
              <a:gd name="T10" fmla="*/ 114 w 190"/>
              <a:gd name="T11" fmla="*/ 63 h 73"/>
              <a:gd name="T12" fmla="*/ 126 w 190"/>
              <a:gd name="T13" fmla="*/ 61 h 73"/>
              <a:gd name="T14" fmla="*/ 129 w 190"/>
              <a:gd name="T15" fmla="*/ 62 h 73"/>
              <a:gd name="T16" fmla="*/ 137 w 190"/>
              <a:gd name="T17" fmla="*/ 63 h 73"/>
              <a:gd name="T18" fmla="*/ 145 w 190"/>
              <a:gd name="T19" fmla="*/ 60 h 73"/>
              <a:gd name="T20" fmla="*/ 162 w 190"/>
              <a:gd name="T21" fmla="*/ 57 h 73"/>
              <a:gd name="T22" fmla="*/ 173 w 190"/>
              <a:gd name="T23" fmla="*/ 55 h 73"/>
              <a:gd name="T24" fmla="*/ 175 w 190"/>
              <a:gd name="T25" fmla="*/ 55 h 73"/>
              <a:gd name="T26" fmla="*/ 183 w 190"/>
              <a:gd name="T27" fmla="*/ 56 h 73"/>
              <a:gd name="T28" fmla="*/ 187 w 190"/>
              <a:gd name="T29" fmla="*/ 59 h 73"/>
              <a:gd name="T30" fmla="*/ 190 w 190"/>
              <a:gd name="T31" fmla="*/ 58 h 73"/>
              <a:gd name="T32" fmla="*/ 190 w 190"/>
              <a:gd name="T33" fmla="*/ 57 h 73"/>
              <a:gd name="T34" fmla="*/ 188 w 190"/>
              <a:gd name="T35" fmla="*/ 53 h 73"/>
              <a:gd name="T36" fmla="*/ 188 w 190"/>
              <a:gd name="T37" fmla="*/ 52 h 73"/>
              <a:gd name="T38" fmla="*/ 186 w 190"/>
              <a:gd name="T39" fmla="*/ 51 h 73"/>
              <a:gd name="T40" fmla="*/ 185 w 190"/>
              <a:gd name="T41" fmla="*/ 48 h 73"/>
              <a:gd name="T42" fmla="*/ 186 w 190"/>
              <a:gd name="T43" fmla="*/ 44 h 73"/>
              <a:gd name="T44" fmla="*/ 184 w 190"/>
              <a:gd name="T45" fmla="*/ 36 h 73"/>
              <a:gd name="T46" fmla="*/ 184 w 190"/>
              <a:gd name="T47" fmla="*/ 31 h 73"/>
              <a:gd name="T48" fmla="*/ 185 w 190"/>
              <a:gd name="T49" fmla="*/ 26 h 73"/>
              <a:gd name="T50" fmla="*/ 180 w 190"/>
              <a:gd name="T51" fmla="*/ 25 h 73"/>
              <a:gd name="T52" fmla="*/ 178 w 190"/>
              <a:gd name="T53" fmla="*/ 21 h 73"/>
              <a:gd name="T54" fmla="*/ 179 w 190"/>
              <a:gd name="T55" fmla="*/ 17 h 73"/>
              <a:gd name="T56" fmla="*/ 179 w 190"/>
              <a:gd name="T57" fmla="*/ 15 h 73"/>
              <a:gd name="T58" fmla="*/ 178 w 190"/>
              <a:gd name="T59" fmla="*/ 14 h 73"/>
              <a:gd name="T60" fmla="*/ 173 w 190"/>
              <a:gd name="T61" fmla="*/ 9 h 73"/>
              <a:gd name="T62" fmla="*/ 172 w 190"/>
              <a:gd name="T63" fmla="*/ 8 h 73"/>
              <a:gd name="T64" fmla="*/ 169 w 190"/>
              <a:gd name="T65" fmla="*/ 7 h 73"/>
              <a:gd name="T66" fmla="*/ 163 w 190"/>
              <a:gd name="T67" fmla="*/ 8 h 73"/>
              <a:gd name="T68" fmla="*/ 159 w 190"/>
              <a:gd name="T69" fmla="*/ 10 h 73"/>
              <a:gd name="T70" fmla="*/ 150 w 190"/>
              <a:gd name="T71" fmla="*/ 11 h 73"/>
              <a:gd name="T72" fmla="*/ 137 w 190"/>
              <a:gd name="T73" fmla="*/ 12 h 73"/>
              <a:gd name="T74" fmla="*/ 118 w 190"/>
              <a:gd name="T75" fmla="*/ 12 h 73"/>
              <a:gd name="T76" fmla="*/ 100 w 190"/>
              <a:gd name="T77" fmla="*/ 4 h 73"/>
              <a:gd name="T78" fmla="*/ 90 w 190"/>
              <a:gd name="T79" fmla="*/ 0 h 73"/>
              <a:gd name="T80" fmla="*/ 60 w 190"/>
              <a:gd name="T81" fmla="*/ 6 h 73"/>
              <a:gd name="T82" fmla="*/ 39 w 190"/>
              <a:gd name="T83" fmla="*/ 11 h 73"/>
              <a:gd name="T84" fmla="*/ 33 w 190"/>
              <a:gd name="T85" fmla="*/ 12 h 73"/>
              <a:gd name="T86" fmla="*/ 32 w 190"/>
              <a:gd name="T87" fmla="*/ 17 h 73"/>
              <a:gd name="T88" fmla="*/ 19 w 190"/>
              <a:gd name="T89" fmla="*/ 20 h 73"/>
              <a:gd name="T90" fmla="*/ 13 w 190"/>
              <a:gd name="T91" fmla="*/ 20 h 73"/>
              <a:gd name="T92" fmla="*/ 1 w 190"/>
              <a:gd name="T93" fmla="*/ 29 h 73"/>
              <a:gd name="T94" fmla="*/ 9 w 190"/>
              <a:gd name="T95" fmla="*/ 30 h 73"/>
              <a:gd name="T96" fmla="*/ 10 w 190"/>
              <a:gd name="T97" fmla="*/ 38 h 73"/>
              <a:gd name="T98" fmla="*/ 6 w 190"/>
              <a:gd name="T99" fmla="*/ 44 h 73"/>
              <a:gd name="T100" fmla="*/ 4 w 190"/>
              <a:gd name="T101" fmla="*/ 45 h 73"/>
              <a:gd name="T102" fmla="*/ 6 w 190"/>
              <a:gd name="T103" fmla="*/ 46 h 73"/>
              <a:gd name="T104" fmla="*/ 12 w 190"/>
              <a:gd name="T105" fmla="*/ 56 h 73"/>
              <a:gd name="T106" fmla="*/ 12 w 190"/>
              <a:gd name="T107" fmla="*/ 61 h 73"/>
              <a:gd name="T108" fmla="*/ 16 w 190"/>
              <a:gd name="T109" fmla="*/ 63 h 73"/>
              <a:gd name="T110" fmla="*/ 20 w 190"/>
              <a:gd name="T111" fmla="*/ 65 h 73"/>
              <a:gd name="T112" fmla="*/ 26 w 190"/>
              <a:gd name="T113" fmla="*/ 63 h 73"/>
              <a:gd name="T114" fmla="*/ 38 w 190"/>
              <a:gd name="T115" fmla="*/ 70 h 73"/>
              <a:gd name="T116" fmla="*/ 45 w 190"/>
              <a:gd name="T117" fmla="*/ 68 h 73"/>
              <a:gd name="T118" fmla="*/ 62 w 190"/>
              <a:gd name="T119" fmla="*/ 6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 h="73">
                <a:moveTo>
                  <a:pt x="82" y="68"/>
                </a:moveTo>
                <a:cubicBezTo>
                  <a:pt x="84" y="65"/>
                  <a:pt x="86" y="64"/>
                  <a:pt x="89" y="63"/>
                </a:cubicBezTo>
                <a:cubicBezTo>
                  <a:pt x="89" y="63"/>
                  <a:pt x="93" y="65"/>
                  <a:pt x="93" y="65"/>
                </a:cubicBezTo>
                <a:cubicBezTo>
                  <a:pt x="93" y="65"/>
                  <a:pt x="94" y="65"/>
                  <a:pt x="94" y="65"/>
                </a:cubicBezTo>
                <a:cubicBezTo>
                  <a:pt x="94" y="65"/>
                  <a:pt x="95" y="66"/>
                  <a:pt x="95" y="66"/>
                </a:cubicBezTo>
                <a:cubicBezTo>
                  <a:pt x="97" y="66"/>
                  <a:pt x="99" y="62"/>
                  <a:pt x="101" y="62"/>
                </a:cubicBezTo>
                <a:cubicBezTo>
                  <a:pt x="106" y="62"/>
                  <a:pt x="102" y="67"/>
                  <a:pt x="100" y="68"/>
                </a:cubicBezTo>
                <a:cubicBezTo>
                  <a:pt x="99" y="70"/>
                  <a:pt x="101" y="71"/>
                  <a:pt x="101" y="72"/>
                </a:cubicBezTo>
                <a:cubicBezTo>
                  <a:pt x="101" y="72"/>
                  <a:pt x="101" y="72"/>
                  <a:pt x="101" y="72"/>
                </a:cubicBezTo>
                <a:cubicBezTo>
                  <a:pt x="102" y="72"/>
                  <a:pt x="102" y="72"/>
                  <a:pt x="102" y="73"/>
                </a:cubicBezTo>
                <a:cubicBezTo>
                  <a:pt x="103" y="72"/>
                  <a:pt x="103" y="72"/>
                  <a:pt x="103" y="72"/>
                </a:cubicBezTo>
                <a:cubicBezTo>
                  <a:pt x="103" y="72"/>
                  <a:pt x="103" y="72"/>
                  <a:pt x="103" y="72"/>
                </a:cubicBezTo>
                <a:cubicBezTo>
                  <a:pt x="104" y="71"/>
                  <a:pt x="104" y="71"/>
                  <a:pt x="104" y="71"/>
                </a:cubicBezTo>
                <a:cubicBezTo>
                  <a:pt x="104" y="71"/>
                  <a:pt x="104" y="71"/>
                  <a:pt x="104" y="71"/>
                </a:cubicBezTo>
                <a:cubicBezTo>
                  <a:pt x="104" y="71"/>
                  <a:pt x="104" y="71"/>
                  <a:pt x="104" y="71"/>
                </a:cubicBezTo>
                <a:cubicBezTo>
                  <a:pt x="104" y="70"/>
                  <a:pt x="104" y="70"/>
                  <a:pt x="105" y="70"/>
                </a:cubicBezTo>
                <a:cubicBezTo>
                  <a:pt x="105" y="69"/>
                  <a:pt x="105" y="69"/>
                  <a:pt x="105" y="69"/>
                </a:cubicBezTo>
                <a:cubicBezTo>
                  <a:pt x="105" y="69"/>
                  <a:pt x="105" y="69"/>
                  <a:pt x="105" y="69"/>
                </a:cubicBezTo>
                <a:cubicBezTo>
                  <a:pt x="106" y="68"/>
                  <a:pt x="106" y="68"/>
                  <a:pt x="106" y="68"/>
                </a:cubicBezTo>
                <a:cubicBezTo>
                  <a:pt x="106" y="68"/>
                  <a:pt x="106" y="67"/>
                  <a:pt x="106" y="67"/>
                </a:cubicBezTo>
                <a:cubicBezTo>
                  <a:pt x="106" y="65"/>
                  <a:pt x="107" y="64"/>
                  <a:pt x="107" y="63"/>
                </a:cubicBezTo>
                <a:cubicBezTo>
                  <a:pt x="108" y="60"/>
                  <a:pt x="108" y="60"/>
                  <a:pt x="108" y="60"/>
                </a:cubicBezTo>
                <a:cubicBezTo>
                  <a:pt x="112" y="63"/>
                  <a:pt x="112" y="63"/>
                  <a:pt x="112" y="63"/>
                </a:cubicBezTo>
                <a:cubicBezTo>
                  <a:pt x="113" y="64"/>
                  <a:pt x="114" y="63"/>
                  <a:pt x="114" y="63"/>
                </a:cubicBezTo>
                <a:cubicBezTo>
                  <a:pt x="115" y="63"/>
                  <a:pt x="115" y="63"/>
                  <a:pt x="115" y="63"/>
                </a:cubicBezTo>
                <a:cubicBezTo>
                  <a:pt x="117" y="63"/>
                  <a:pt x="119" y="62"/>
                  <a:pt x="122" y="61"/>
                </a:cubicBezTo>
                <a:cubicBezTo>
                  <a:pt x="122" y="61"/>
                  <a:pt x="122" y="61"/>
                  <a:pt x="122" y="61"/>
                </a:cubicBezTo>
                <a:cubicBezTo>
                  <a:pt x="124" y="60"/>
                  <a:pt x="124" y="60"/>
                  <a:pt x="126" y="61"/>
                </a:cubicBezTo>
                <a:cubicBezTo>
                  <a:pt x="128" y="61"/>
                  <a:pt x="128" y="61"/>
                  <a:pt x="128" y="61"/>
                </a:cubicBezTo>
                <a:cubicBezTo>
                  <a:pt x="129" y="61"/>
                  <a:pt x="129" y="62"/>
                  <a:pt x="129" y="62"/>
                </a:cubicBezTo>
                <a:cubicBezTo>
                  <a:pt x="129" y="62"/>
                  <a:pt x="129" y="62"/>
                  <a:pt x="129" y="62"/>
                </a:cubicBezTo>
                <a:cubicBezTo>
                  <a:pt x="129" y="62"/>
                  <a:pt x="129" y="62"/>
                  <a:pt x="129" y="62"/>
                </a:cubicBezTo>
                <a:cubicBezTo>
                  <a:pt x="130" y="62"/>
                  <a:pt x="130" y="62"/>
                  <a:pt x="130" y="62"/>
                </a:cubicBezTo>
                <a:cubicBezTo>
                  <a:pt x="132" y="63"/>
                  <a:pt x="134" y="63"/>
                  <a:pt x="136" y="63"/>
                </a:cubicBezTo>
                <a:cubicBezTo>
                  <a:pt x="136" y="63"/>
                  <a:pt x="136" y="63"/>
                  <a:pt x="137" y="63"/>
                </a:cubicBezTo>
                <a:cubicBezTo>
                  <a:pt x="137" y="63"/>
                  <a:pt x="137" y="63"/>
                  <a:pt x="137" y="63"/>
                </a:cubicBezTo>
                <a:cubicBezTo>
                  <a:pt x="137" y="63"/>
                  <a:pt x="137" y="63"/>
                  <a:pt x="137" y="63"/>
                </a:cubicBezTo>
                <a:cubicBezTo>
                  <a:pt x="139" y="62"/>
                  <a:pt x="141" y="62"/>
                  <a:pt x="142" y="61"/>
                </a:cubicBezTo>
                <a:cubicBezTo>
                  <a:pt x="144" y="60"/>
                  <a:pt x="144" y="60"/>
                  <a:pt x="144" y="60"/>
                </a:cubicBezTo>
                <a:cubicBezTo>
                  <a:pt x="145" y="60"/>
                  <a:pt x="145" y="60"/>
                  <a:pt x="145" y="60"/>
                </a:cubicBezTo>
                <a:cubicBezTo>
                  <a:pt x="146" y="60"/>
                  <a:pt x="146" y="60"/>
                  <a:pt x="146" y="59"/>
                </a:cubicBezTo>
                <a:cubicBezTo>
                  <a:pt x="147" y="59"/>
                  <a:pt x="147" y="59"/>
                  <a:pt x="147" y="59"/>
                </a:cubicBezTo>
                <a:cubicBezTo>
                  <a:pt x="148" y="59"/>
                  <a:pt x="150" y="58"/>
                  <a:pt x="151" y="58"/>
                </a:cubicBezTo>
                <a:cubicBezTo>
                  <a:pt x="156" y="58"/>
                  <a:pt x="159" y="58"/>
                  <a:pt x="162" y="57"/>
                </a:cubicBezTo>
                <a:cubicBezTo>
                  <a:pt x="163" y="57"/>
                  <a:pt x="165" y="57"/>
                  <a:pt x="166" y="56"/>
                </a:cubicBezTo>
                <a:cubicBezTo>
                  <a:pt x="167" y="56"/>
                  <a:pt x="167" y="56"/>
                  <a:pt x="167" y="56"/>
                </a:cubicBezTo>
                <a:cubicBezTo>
                  <a:pt x="167" y="57"/>
                  <a:pt x="167" y="57"/>
                  <a:pt x="167" y="57"/>
                </a:cubicBezTo>
                <a:cubicBezTo>
                  <a:pt x="169" y="56"/>
                  <a:pt x="170" y="55"/>
                  <a:pt x="173" y="55"/>
                </a:cubicBezTo>
                <a:cubicBezTo>
                  <a:pt x="174" y="55"/>
                  <a:pt x="174" y="55"/>
                  <a:pt x="174" y="55"/>
                </a:cubicBezTo>
                <a:cubicBezTo>
                  <a:pt x="174" y="55"/>
                  <a:pt x="174" y="55"/>
                  <a:pt x="174" y="55"/>
                </a:cubicBezTo>
                <a:cubicBezTo>
                  <a:pt x="174" y="55"/>
                  <a:pt x="174" y="55"/>
                  <a:pt x="174" y="55"/>
                </a:cubicBezTo>
                <a:cubicBezTo>
                  <a:pt x="175" y="55"/>
                  <a:pt x="175" y="55"/>
                  <a:pt x="175" y="55"/>
                </a:cubicBezTo>
                <a:cubicBezTo>
                  <a:pt x="175" y="55"/>
                  <a:pt x="175" y="55"/>
                  <a:pt x="175" y="55"/>
                </a:cubicBezTo>
                <a:cubicBezTo>
                  <a:pt x="175" y="55"/>
                  <a:pt x="175" y="55"/>
                  <a:pt x="176" y="55"/>
                </a:cubicBezTo>
                <a:cubicBezTo>
                  <a:pt x="177" y="55"/>
                  <a:pt x="177" y="55"/>
                  <a:pt x="177" y="55"/>
                </a:cubicBezTo>
                <a:cubicBezTo>
                  <a:pt x="179" y="56"/>
                  <a:pt x="181" y="56"/>
                  <a:pt x="183" y="56"/>
                </a:cubicBezTo>
                <a:cubicBezTo>
                  <a:pt x="186" y="55"/>
                  <a:pt x="187" y="57"/>
                  <a:pt x="187" y="58"/>
                </a:cubicBezTo>
                <a:cubicBezTo>
                  <a:pt x="187" y="58"/>
                  <a:pt x="187" y="58"/>
                  <a:pt x="187" y="58"/>
                </a:cubicBezTo>
                <a:cubicBezTo>
                  <a:pt x="187" y="58"/>
                  <a:pt x="187" y="58"/>
                  <a:pt x="187" y="58"/>
                </a:cubicBezTo>
                <a:cubicBezTo>
                  <a:pt x="187" y="59"/>
                  <a:pt x="187" y="59"/>
                  <a:pt x="187" y="59"/>
                </a:cubicBezTo>
                <a:cubicBezTo>
                  <a:pt x="188" y="59"/>
                  <a:pt x="188" y="59"/>
                  <a:pt x="188" y="59"/>
                </a:cubicBezTo>
                <a:cubicBezTo>
                  <a:pt x="188" y="59"/>
                  <a:pt x="189" y="58"/>
                  <a:pt x="189" y="58"/>
                </a:cubicBezTo>
                <a:cubicBezTo>
                  <a:pt x="190" y="58"/>
                  <a:pt x="190" y="58"/>
                  <a:pt x="190" y="58"/>
                </a:cubicBezTo>
                <a:cubicBezTo>
                  <a:pt x="190" y="58"/>
                  <a:pt x="190" y="58"/>
                  <a:pt x="190" y="58"/>
                </a:cubicBezTo>
                <a:cubicBezTo>
                  <a:pt x="190" y="58"/>
                  <a:pt x="190" y="57"/>
                  <a:pt x="190" y="57"/>
                </a:cubicBezTo>
                <a:cubicBezTo>
                  <a:pt x="190" y="57"/>
                  <a:pt x="190" y="57"/>
                  <a:pt x="190" y="57"/>
                </a:cubicBezTo>
                <a:cubicBezTo>
                  <a:pt x="190" y="57"/>
                  <a:pt x="190" y="57"/>
                  <a:pt x="190" y="57"/>
                </a:cubicBezTo>
                <a:cubicBezTo>
                  <a:pt x="190" y="57"/>
                  <a:pt x="190" y="57"/>
                  <a:pt x="190" y="57"/>
                </a:cubicBezTo>
                <a:cubicBezTo>
                  <a:pt x="189" y="56"/>
                  <a:pt x="189" y="56"/>
                  <a:pt x="189" y="56"/>
                </a:cubicBezTo>
                <a:cubicBezTo>
                  <a:pt x="189" y="56"/>
                  <a:pt x="189" y="56"/>
                  <a:pt x="189" y="56"/>
                </a:cubicBezTo>
                <a:cubicBezTo>
                  <a:pt x="188" y="55"/>
                  <a:pt x="188" y="55"/>
                  <a:pt x="188" y="55"/>
                </a:cubicBezTo>
                <a:cubicBezTo>
                  <a:pt x="188" y="54"/>
                  <a:pt x="188" y="54"/>
                  <a:pt x="188" y="53"/>
                </a:cubicBezTo>
                <a:cubicBezTo>
                  <a:pt x="188" y="53"/>
                  <a:pt x="188" y="53"/>
                  <a:pt x="188" y="53"/>
                </a:cubicBezTo>
                <a:cubicBezTo>
                  <a:pt x="188" y="53"/>
                  <a:pt x="188" y="53"/>
                  <a:pt x="188" y="52"/>
                </a:cubicBezTo>
                <a:cubicBezTo>
                  <a:pt x="188" y="52"/>
                  <a:pt x="188" y="52"/>
                  <a:pt x="188" y="52"/>
                </a:cubicBezTo>
                <a:cubicBezTo>
                  <a:pt x="188" y="52"/>
                  <a:pt x="188" y="52"/>
                  <a:pt x="188" y="52"/>
                </a:cubicBezTo>
                <a:cubicBezTo>
                  <a:pt x="188" y="52"/>
                  <a:pt x="188" y="52"/>
                  <a:pt x="187" y="52"/>
                </a:cubicBezTo>
                <a:cubicBezTo>
                  <a:pt x="187" y="52"/>
                  <a:pt x="187" y="52"/>
                  <a:pt x="187" y="52"/>
                </a:cubicBezTo>
                <a:cubicBezTo>
                  <a:pt x="187" y="52"/>
                  <a:pt x="187" y="51"/>
                  <a:pt x="187" y="51"/>
                </a:cubicBezTo>
                <a:cubicBezTo>
                  <a:pt x="186" y="51"/>
                  <a:pt x="186" y="51"/>
                  <a:pt x="186" y="51"/>
                </a:cubicBezTo>
                <a:cubicBezTo>
                  <a:pt x="186" y="51"/>
                  <a:pt x="186" y="51"/>
                  <a:pt x="185" y="51"/>
                </a:cubicBezTo>
                <a:cubicBezTo>
                  <a:pt x="185" y="51"/>
                  <a:pt x="185" y="51"/>
                  <a:pt x="185" y="51"/>
                </a:cubicBezTo>
                <a:cubicBezTo>
                  <a:pt x="185" y="50"/>
                  <a:pt x="185" y="50"/>
                  <a:pt x="185" y="49"/>
                </a:cubicBezTo>
                <a:cubicBezTo>
                  <a:pt x="185" y="49"/>
                  <a:pt x="185" y="49"/>
                  <a:pt x="185" y="48"/>
                </a:cubicBezTo>
                <a:cubicBezTo>
                  <a:pt x="185" y="48"/>
                  <a:pt x="185" y="48"/>
                  <a:pt x="185" y="47"/>
                </a:cubicBezTo>
                <a:cubicBezTo>
                  <a:pt x="185" y="47"/>
                  <a:pt x="186" y="46"/>
                  <a:pt x="187" y="45"/>
                </a:cubicBezTo>
                <a:cubicBezTo>
                  <a:pt x="185" y="46"/>
                  <a:pt x="185" y="46"/>
                  <a:pt x="185" y="46"/>
                </a:cubicBezTo>
                <a:cubicBezTo>
                  <a:pt x="186" y="44"/>
                  <a:pt x="186" y="44"/>
                  <a:pt x="186" y="44"/>
                </a:cubicBezTo>
                <a:cubicBezTo>
                  <a:pt x="186" y="42"/>
                  <a:pt x="186" y="40"/>
                  <a:pt x="185" y="39"/>
                </a:cubicBezTo>
                <a:cubicBezTo>
                  <a:pt x="185" y="39"/>
                  <a:pt x="185" y="39"/>
                  <a:pt x="185" y="39"/>
                </a:cubicBezTo>
                <a:cubicBezTo>
                  <a:pt x="185" y="39"/>
                  <a:pt x="185" y="39"/>
                  <a:pt x="185" y="39"/>
                </a:cubicBezTo>
                <a:cubicBezTo>
                  <a:pt x="184" y="38"/>
                  <a:pt x="184" y="37"/>
                  <a:pt x="184" y="36"/>
                </a:cubicBezTo>
                <a:cubicBezTo>
                  <a:pt x="183" y="36"/>
                  <a:pt x="183" y="35"/>
                  <a:pt x="183" y="35"/>
                </a:cubicBezTo>
                <a:cubicBezTo>
                  <a:pt x="182" y="33"/>
                  <a:pt x="182" y="33"/>
                  <a:pt x="182" y="33"/>
                </a:cubicBezTo>
                <a:cubicBezTo>
                  <a:pt x="184" y="31"/>
                  <a:pt x="184" y="31"/>
                  <a:pt x="184" y="31"/>
                </a:cubicBezTo>
                <a:cubicBezTo>
                  <a:pt x="184" y="31"/>
                  <a:pt x="184" y="31"/>
                  <a:pt x="184" y="31"/>
                </a:cubicBezTo>
                <a:cubicBezTo>
                  <a:pt x="185" y="31"/>
                  <a:pt x="186" y="31"/>
                  <a:pt x="187" y="31"/>
                </a:cubicBezTo>
                <a:cubicBezTo>
                  <a:pt x="187" y="31"/>
                  <a:pt x="187" y="30"/>
                  <a:pt x="187" y="29"/>
                </a:cubicBezTo>
                <a:cubicBezTo>
                  <a:pt x="187" y="29"/>
                  <a:pt x="187" y="27"/>
                  <a:pt x="188" y="27"/>
                </a:cubicBezTo>
                <a:cubicBezTo>
                  <a:pt x="187" y="26"/>
                  <a:pt x="187" y="26"/>
                  <a:pt x="185" y="26"/>
                </a:cubicBezTo>
                <a:cubicBezTo>
                  <a:pt x="184" y="26"/>
                  <a:pt x="184" y="26"/>
                  <a:pt x="183" y="26"/>
                </a:cubicBezTo>
                <a:cubicBezTo>
                  <a:pt x="183" y="26"/>
                  <a:pt x="183" y="26"/>
                  <a:pt x="183" y="26"/>
                </a:cubicBezTo>
                <a:cubicBezTo>
                  <a:pt x="182" y="25"/>
                  <a:pt x="181" y="25"/>
                  <a:pt x="180" y="25"/>
                </a:cubicBezTo>
                <a:cubicBezTo>
                  <a:pt x="180" y="25"/>
                  <a:pt x="180" y="25"/>
                  <a:pt x="180" y="25"/>
                </a:cubicBezTo>
                <a:cubicBezTo>
                  <a:pt x="179" y="24"/>
                  <a:pt x="179" y="24"/>
                  <a:pt x="179" y="24"/>
                </a:cubicBezTo>
                <a:cubicBezTo>
                  <a:pt x="178" y="23"/>
                  <a:pt x="179" y="22"/>
                  <a:pt x="179" y="22"/>
                </a:cubicBezTo>
                <a:cubicBezTo>
                  <a:pt x="179" y="22"/>
                  <a:pt x="179" y="22"/>
                  <a:pt x="179" y="22"/>
                </a:cubicBezTo>
                <a:cubicBezTo>
                  <a:pt x="179" y="22"/>
                  <a:pt x="179" y="22"/>
                  <a:pt x="178" y="21"/>
                </a:cubicBezTo>
                <a:cubicBezTo>
                  <a:pt x="178" y="20"/>
                  <a:pt x="178" y="19"/>
                  <a:pt x="178" y="19"/>
                </a:cubicBezTo>
                <a:cubicBezTo>
                  <a:pt x="178" y="18"/>
                  <a:pt x="178" y="18"/>
                  <a:pt x="178" y="17"/>
                </a:cubicBezTo>
                <a:cubicBezTo>
                  <a:pt x="178" y="17"/>
                  <a:pt x="179" y="17"/>
                  <a:pt x="179" y="17"/>
                </a:cubicBezTo>
                <a:cubicBezTo>
                  <a:pt x="179" y="17"/>
                  <a:pt x="179" y="17"/>
                  <a:pt x="179" y="17"/>
                </a:cubicBezTo>
                <a:cubicBezTo>
                  <a:pt x="179" y="17"/>
                  <a:pt x="179" y="17"/>
                  <a:pt x="179" y="17"/>
                </a:cubicBezTo>
                <a:cubicBezTo>
                  <a:pt x="179" y="16"/>
                  <a:pt x="179" y="16"/>
                  <a:pt x="179" y="16"/>
                </a:cubicBezTo>
                <a:cubicBezTo>
                  <a:pt x="179" y="16"/>
                  <a:pt x="179" y="16"/>
                  <a:pt x="179" y="15"/>
                </a:cubicBezTo>
                <a:cubicBezTo>
                  <a:pt x="179" y="15"/>
                  <a:pt x="179" y="15"/>
                  <a:pt x="179" y="15"/>
                </a:cubicBezTo>
                <a:cubicBezTo>
                  <a:pt x="179" y="15"/>
                  <a:pt x="179" y="15"/>
                  <a:pt x="179" y="15"/>
                </a:cubicBezTo>
                <a:cubicBezTo>
                  <a:pt x="179" y="14"/>
                  <a:pt x="179" y="14"/>
                  <a:pt x="179" y="14"/>
                </a:cubicBezTo>
                <a:cubicBezTo>
                  <a:pt x="179" y="14"/>
                  <a:pt x="179" y="14"/>
                  <a:pt x="179" y="14"/>
                </a:cubicBezTo>
                <a:cubicBezTo>
                  <a:pt x="179" y="14"/>
                  <a:pt x="179" y="14"/>
                  <a:pt x="178" y="14"/>
                </a:cubicBezTo>
                <a:cubicBezTo>
                  <a:pt x="178" y="14"/>
                  <a:pt x="178" y="13"/>
                  <a:pt x="178" y="13"/>
                </a:cubicBezTo>
                <a:cubicBezTo>
                  <a:pt x="175" y="11"/>
                  <a:pt x="175" y="11"/>
                  <a:pt x="175" y="11"/>
                </a:cubicBezTo>
                <a:cubicBezTo>
                  <a:pt x="175" y="10"/>
                  <a:pt x="175" y="10"/>
                  <a:pt x="175" y="10"/>
                </a:cubicBezTo>
                <a:cubicBezTo>
                  <a:pt x="174" y="10"/>
                  <a:pt x="174" y="10"/>
                  <a:pt x="173" y="9"/>
                </a:cubicBezTo>
                <a:cubicBezTo>
                  <a:pt x="173" y="9"/>
                  <a:pt x="173" y="9"/>
                  <a:pt x="173" y="9"/>
                </a:cubicBezTo>
                <a:cubicBezTo>
                  <a:pt x="173" y="9"/>
                  <a:pt x="173" y="9"/>
                  <a:pt x="173" y="9"/>
                </a:cubicBezTo>
                <a:cubicBezTo>
                  <a:pt x="173" y="9"/>
                  <a:pt x="173" y="9"/>
                  <a:pt x="172" y="9"/>
                </a:cubicBezTo>
                <a:cubicBezTo>
                  <a:pt x="172" y="8"/>
                  <a:pt x="172" y="8"/>
                  <a:pt x="172" y="8"/>
                </a:cubicBezTo>
                <a:cubicBezTo>
                  <a:pt x="172" y="8"/>
                  <a:pt x="172" y="8"/>
                  <a:pt x="172" y="8"/>
                </a:cubicBezTo>
                <a:cubicBezTo>
                  <a:pt x="172" y="8"/>
                  <a:pt x="172" y="8"/>
                  <a:pt x="171" y="8"/>
                </a:cubicBezTo>
                <a:cubicBezTo>
                  <a:pt x="171" y="7"/>
                  <a:pt x="170" y="7"/>
                  <a:pt x="170" y="7"/>
                </a:cubicBezTo>
                <a:cubicBezTo>
                  <a:pt x="170" y="7"/>
                  <a:pt x="169" y="7"/>
                  <a:pt x="169" y="7"/>
                </a:cubicBezTo>
                <a:cubicBezTo>
                  <a:pt x="169" y="9"/>
                  <a:pt x="169" y="9"/>
                  <a:pt x="169" y="9"/>
                </a:cubicBezTo>
                <a:cubicBezTo>
                  <a:pt x="168" y="8"/>
                  <a:pt x="168" y="8"/>
                  <a:pt x="168" y="8"/>
                </a:cubicBezTo>
                <a:cubicBezTo>
                  <a:pt x="167" y="8"/>
                  <a:pt x="165" y="8"/>
                  <a:pt x="164" y="8"/>
                </a:cubicBezTo>
                <a:cubicBezTo>
                  <a:pt x="163" y="8"/>
                  <a:pt x="163" y="8"/>
                  <a:pt x="163" y="8"/>
                </a:cubicBezTo>
                <a:cubicBezTo>
                  <a:pt x="163" y="8"/>
                  <a:pt x="162" y="8"/>
                  <a:pt x="162" y="8"/>
                </a:cubicBezTo>
                <a:cubicBezTo>
                  <a:pt x="161" y="8"/>
                  <a:pt x="161" y="8"/>
                  <a:pt x="161" y="8"/>
                </a:cubicBezTo>
                <a:cubicBezTo>
                  <a:pt x="160" y="8"/>
                  <a:pt x="160" y="8"/>
                  <a:pt x="159" y="8"/>
                </a:cubicBezTo>
                <a:cubicBezTo>
                  <a:pt x="159" y="10"/>
                  <a:pt x="159" y="10"/>
                  <a:pt x="159" y="10"/>
                </a:cubicBezTo>
                <a:cubicBezTo>
                  <a:pt x="158" y="8"/>
                  <a:pt x="158" y="8"/>
                  <a:pt x="158" y="8"/>
                </a:cubicBezTo>
                <a:cubicBezTo>
                  <a:pt x="154" y="9"/>
                  <a:pt x="154" y="9"/>
                  <a:pt x="154" y="9"/>
                </a:cubicBezTo>
                <a:cubicBezTo>
                  <a:pt x="153" y="10"/>
                  <a:pt x="153" y="10"/>
                  <a:pt x="152" y="10"/>
                </a:cubicBezTo>
                <a:cubicBezTo>
                  <a:pt x="152" y="11"/>
                  <a:pt x="150" y="10"/>
                  <a:pt x="150" y="11"/>
                </a:cubicBezTo>
                <a:cubicBezTo>
                  <a:pt x="149" y="12"/>
                  <a:pt x="147" y="12"/>
                  <a:pt x="146" y="13"/>
                </a:cubicBezTo>
                <a:cubicBezTo>
                  <a:pt x="145" y="13"/>
                  <a:pt x="144" y="13"/>
                  <a:pt x="144" y="13"/>
                </a:cubicBezTo>
                <a:cubicBezTo>
                  <a:pt x="143" y="14"/>
                  <a:pt x="143" y="13"/>
                  <a:pt x="142" y="13"/>
                </a:cubicBezTo>
                <a:cubicBezTo>
                  <a:pt x="141" y="13"/>
                  <a:pt x="139" y="12"/>
                  <a:pt x="137" y="12"/>
                </a:cubicBezTo>
                <a:cubicBezTo>
                  <a:pt x="136" y="11"/>
                  <a:pt x="136" y="12"/>
                  <a:pt x="135" y="12"/>
                </a:cubicBezTo>
                <a:cubicBezTo>
                  <a:pt x="135" y="12"/>
                  <a:pt x="134" y="12"/>
                  <a:pt x="133" y="12"/>
                </a:cubicBezTo>
                <a:cubicBezTo>
                  <a:pt x="131" y="13"/>
                  <a:pt x="128" y="14"/>
                  <a:pt x="126" y="14"/>
                </a:cubicBezTo>
                <a:cubicBezTo>
                  <a:pt x="123" y="14"/>
                  <a:pt x="121" y="12"/>
                  <a:pt x="118" y="12"/>
                </a:cubicBezTo>
                <a:cubicBezTo>
                  <a:pt x="115" y="11"/>
                  <a:pt x="113" y="10"/>
                  <a:pt x="110" y="8"/>
                </a:cubicBezTo>
                <a:cubicBezTo>
                  <a:pt x="110" y="8"/>
                  <a:pt x="107" y="10"/>
                  <a:pt x="106" y="10"/>
                </a:cubicBezTo>
                <a:cubicBezTo>
                  <a:pt x="105" y="10"/>
                  <a:pt x="103" y="8"/>
                  <a:pt x="103" y="7"/>
                </a:cubicBezTo>
                <a:cubicBezTo>
                  <a:pt x="102" y="5"/>
                  <a:pt x="103" y="3"/>
                  <a:pt x="100" y="4"/>
                </a:cubicBezTo>
                <a:cubicBezTo>
                  <a:pt x="99" y="4"/>
                  <a:pt x="98" y="5"/>
                  <a:pt x="96" y="5"/>
                </a:cubicBezTo>
                <a:cubicBezTo>
                  <a:pt x="95" y="4"/>
                  <a:pt x="94" y="3"/>
                  <a:pt x="93" y="2"/>
                </a:cubicBezTo>
                <a:cubicBezTo>
                  <a:pt x="92" y="1"/>
                  <a:pt x="92" y="0"/>
                  <a:pt x="94" y="0"/>
                </a:cubicBezTo>
                <a:cubicBezTo>
                  <a:pt x="93" y="0"/>
                  <a:pt x="91" y="0"/>
                  <a:pt x="90" y="0"/>
                </a:cubicBezTo>
                <a:cubicBezTo>
                  <a:pt x="89" y="1"/>
                  <a:pt x="86" y="1"/>
                  <a:pt x="84" y="1"/>
                </a:cubicBezTo>
                <a:cubicBezTo>
                  <a:pt x="81" y="1"/>
                  <a:pt x="79" y="1"/>
                  <a:pt x="76" y="0"/>
                </a:cubicBezTo>
                <a:cubicBezTo>
                  <a:pt x="73" y="0"/>
                  <a:pt x="70" y="2"/>
                  <a:pt x="67" y="2"/>
                </a:cubicBezTo>
                <a:cubicBezTo>
                  <a:pt x="65" y="3"/>
                  <a:pt x="63" y="5"/>
                  <a:pt x="60" y="6"/>
                </a:cubicBezTo>
                <a:cubicBezTo>
                  <a:pt x="59" y="7"/>
                  <a:pt x="58" y="8"/>
                  <a:pt x="56" y="9"/>
                </a:cubicBezTo>
                <a:cubicBezTo>
                  <a:pt x="56" y="9"/>
                  <a:pt x="54" y="11"/>
                  <a:pt x="53" y="11"/>
                </a:cubicBezTo>
                <a:cubicBezTo>
                  <a:pt x="50" y="12"/>
                  <a:pt x="47" y="12"/>
                  <a:pt x="44" y="10"/>
                </a:cubicBezTo>
                <a:cubicBezTo>
                  <a:pt x="43" y="10"/>
                  <a:pt x="41" y="11"/>
                  <a:pt x="39" y="11"/>
                </a:cubicBezTo>
                <a:cubicBezTo>
                  <a:pt x="38" y="11"/>
                  <a:pt x="36" y="10"/>
                  <a:pt x="35" y="10"/>
                </a:cubicBezTo>
                <a:cubicBezTo>
                  <a:pt x="34" y="10"/>
                  <a:pt x="32" y="9"/>
                  <a:pt x="31" y="10"/>
                </a:cubicBezTo>
                <a:cubicBezTo>
                  <a:pt x="31" y="10"/>
                  <a:pt x="31" y="10"/>
                  <a:pt x="31" y="10"/>
                </a:cubicBezTo>
                <a:cubicBezTo>
                  <a:pt x="32" y="11"/>
                  <a:pt x="33" y="12"/>
                  <a:pt x="33" y="12"/>
                </a:cubicBezTo>
                <a:cubicBezTo>
                  <a:pt x="33" y="13"/>
                  <a:pt x="32" y="13"/>
                  <a:pt x="32" y="14"/>
                </a:cubicBezTo>
                <a:cubicBezTo>
                  <a:pt x="33" y="15"/>
                  <a:pt x="34" y="15"/>
                  <a:pt x="35" y="15"/>
                </a:cubicBezTo>
                <a:cubicBezTo>
                  <a:pt x="37" y="16"/>
                  <a:pt x="38" y="16"/>
                  <a:pt x="39" y="16"/>
                </a:cubicBezTo>
                <a:cubicBezTo>
                  <a:pt x="37" y="16"/>
                  <a:pt x="34" y="16"/>
                  <a:pt x="32" y="17"/>
                </a:cubicBezTo>
                <a:cubicBezTo>
                  <a:pt x="31" y="17"/>
                  <a:pt x="29" y="17"/>
                  <a:pt x="28" y="18"/>
                </a:cubicBezTo>
                <a:cubicBezTo>
                  <a:pt x="29" y="19"/>
                  <a:pt x="31" y="19"/>
                  <a:pt x="32" y="19"/>
                </a:cubicBezTo>
                <a:cubicBezTo>
                  <a:pt x="30" y="21"/>
                  <a:pt x="28" y="20"/>
                  <a:pt x="26" y="20"/>
                </a:cubicBezTo>
                <a:cubicBezTo>
                  <a:pt x="23" y="20"/>
                  <a:pt x="21" y="20"/>
                  <a:pt x="19" y="20"/>
                </a:cubicBezTo>
                <a:cubicBezTo>
                  <a:pt x="19" y="18"/>
                  <a:pt x="19" y="19"/>
                  <a:pt x="17" y="18"/>
                </a:cubicBezTo>
                <a:cubicBezTo>
                  <a:pt x="18" y="19"/>
                  <a:pt x="18" y="20"/>
                  <a:pt x="19" y="20"/>
                </a:cubicBezTo>
                <a:cubicBezTo>
                  <a:pt x="18" y="20"/>
                  <a:pt x="17" y="21"/>
                  <a:pt x="16" y="21"/>
                </a:cubicBezTo>
                <a:cubicBezTo>
                  <a:pt x="15" y="21"/>
                  <a:pt x="14" y="21"/>
                  <a:pt x="13" y="20"/>
                </a:cubicBezTo>
                <a:cubicBezTo>
                  <a:pt x="13" y="19"/>
                  <a:pt x="13" y="19"/>
                  <a:pt x="12" y="19"/>
                </a:cubicBezTo>
                <a:cubicBezTo>
                  <a:pt x="10" y="20"/>
                  <a:pt x="8" y="21"/>
                  <a:pt x="5" y="22"/>
                </a:cubicBezTo>
                <a:cubicBezTo>
                  <a:pt x="4" y="22"/>
                  <a:pt x="1" y="24"/>
                  <a:pt x="1" y="26"/>
                </a:cubicBezTo>
                <a:cubicBezTo>
                  <a:pt x="1" y="27"/>
                  <a:pt x="1" y="28"/>
                  <a:pt x="1" y="29"/>
                </a:cubicBezTo>
                <a:cubicBezTo>
                  <a:pt x="1" y="30"/>
                  <a:pt x="0" y="30"/>
                  <a:pt x="0" y="30"/>
                </a:cubicBezTo>
                <a:cubicBezTo>
                  <a:pt x="0" y="31"/>
                  <a:pt x="0" y="31"/>
                  <a:pt x="0" y="31"/>
                </a:cubicBezTo>
                <a:cubicBezTo>
                  <a:pt x="1" y="32"/>
                  <a:pt x="3" y="31"/>
                  <a:pt x="3" y="31"/>
                </a:cubicBezTo>
                <a:cubicBezTo>
                  <a:pt x="5" y="30"/>
                  <a:pt x="7" y="30"/>
                  <a:pt x="9" y="30"/>
                </a:cubicBezTo>
                <a:cubicBezTo>
                  <a:pt x="8" y="31"/>
                  <a:pt x="7" y="32"/>
                  <a:pt x="6" y="33"/>
                </a:cubicBezTo>
                <a:cubicBezTo>
                  <a:pt x="6" y="34"/>
                  <a:pt x="7" y="34"/>
                  <a:pt x="7" y="35"/>
                </a:cubicBezTo>
                <a:cubicBezTo>
                  <a:pt x="7" y="35"/>
                  <a:pt x="7" y="36"/>
                  <a:pt x="8" y="37"/>
                </a:cubicBezTo>
                <a:cubicBezTo>
                  <a:pt x="8" y="38"/>
                  <a:pt x="9" y="37"/>
                  <a:pt x="10" y="38"/>
                </a:cubicBezTo>
                <a:cubicBezTo>
                  <a:pt x="9" y="39"/>
                  <a:pt x="9" y="40"/>
                  <a:pt x="8" y="40"/>
                </a:cubicBezTo>
                <a:cubicBezTo>
                  <a:pt x="8" y="40"/>
                  <a:pt x="7" y="40"/>
                  <a:pt x="7" y="40"/>
                </a:cubicBezTo>
                <a:cubicBezTo>
                  <a:pt x="7" y="42"/>
                  <a:pt x="9" y="43"/>
                  <a:pt x="11" y="44"/>
                </a:cubicBezTo>
                <a:cubicBezTo>
                  <a:pt x="9" y="44"/>
                  <a:pt x="8" y="44"/>
                  <a:pt x="6" y="44"/>
                </a:cubicBezTo>
                <a:cubicBezTo>
                  <a:pt x="5" y="43"/>
                  <a:pt x="6" y="43"/>
                  <a:pt x="5" y="42"/>
                </a:cubicBezTo>
                <a:cubicBezTo>
                  <a:pt x="5" y="42"/>
                  <a:pt x="5" y="41"/>
                  <a:pt x="5" y="41"/>
                </a:cubicBezTo>
                <a:cubicBezTo>
                  <a:pt x="4" y="40"/>
                  <a:pt x="4" y="41"/>
                  <a:pt x="4" y="42"/>
                </a:cubicBezTo>
                <a:cubicBezTo>
                  <a:pt x="4" y="43"/>
                  <a:pt x="4" y="44"/>
                  <a:pt x="4" y="45"/>
                </a:cubicBezTo>
                <a:cubicBezTo>
                  <a:pt x="4" y="45"/>
                  <a:pt x="3" y="45"/>
                  <a:pt x="3" y="45"/>
                </a:cubicBezTo>
                <a:cubicBezTo>
                  <a:pt x="3" y="45"/>
                  <a:pt x="2" y="44"/>
                  <a:pt x="2" y="44"/>
                </a:cubicBezTo>
                <a:cubicBezTo>
                  <a:pt x="2" y="45"/>
                  <a:pt x="2" y="45"/>
                  <a:pt x="2" y="45"/>
                </a:cubicBezTo>
                <a:cubicBezTo>
                  <a:pt x="3" y="46"/>
                  <a:pt x="4" y="46"/>
                  <a:pt x="6" y="46"/>
                </a:cubicBezTo>
                <a:cubicBezTo>
                  <a:pt x="8" y="46"/>
                  <a:pt x="9" y="48"/>
                  <a:pt x="10" y="48"/>
                </a:cubicBezTo>
                <a:cubicBezTo>
                  <a:pt x="12" y="49"/>
                  <a:pt x="13" y="50"/>
                  <a:pt x="12" y="52"/>
                </a:cubicBezTo>
                <a:cubicBezTo>
                  <a:pt x="12" y="52"/>
                  <a:pt x="10" y="52"/>
                  <a:pt x="10" y="53"/>
                </a:cubicBezTo>
                <a:cubicBezTo>
                  <a:pt x="11" y="54"/>
                  <a:pt x="13" y="54"/>
                  <a:pt x="12" y="56"/>
                </a:cubicBezTo>
                <a:cubicBezTo>
                  <a:pt x="13" y="56"/>
                  <a:pt x="15" y="56"/>
                  <a:pt x="16" y="57"/>
                </a:cubicBezTo>
                <a:cubicBezTo>
                  <a:pt x="16" y="58"/>
                  <a:pt x="15" y="59"/>
                  <a:pt x="14" y="59"/>
                </a:cubicBezTo>
                <a:cubicBezTo>
                  <a:pt x="14" y="60"/>
                  <a:pt x="13" y="59"/>
                  <a:pt x="13" y="59"/>
                </a:cubicBezTo>
                <a:cubicBezTo>
                  <a:pt x="12" y="59"/>
                  <a:pt x="12" y="60"/>
                  <a:pt x="12" y="61"/>
                </a:cubicBezTo>
                <a:cubicBezTo>
                  <a:pt x="16" y="61"/>
                  <a:pt x="19" y="60"/>
                  <a:pt x="23" y="60"/>
                </a:cubicBezTo>
                <a:cubicBezTo>
                  <a:pt x="22" y="61"/>
                  <a:pt x="21" y="62"/>
                  <a:pt x="19" y="63"/>
                </a:cubicBezTo>
                <a:cubicBezTo>
                  <a:pt x="18" y="63"/>
                  <a:pt x="18" y="63"/>
                  <a:pt x="17" y="63"/>
                </a:cubicBezTo>
                <a:cubicBezTo>
                  <a:pt x="17" y="63"/>
                  <a:pt x="16" y="63"/>
                  <a:pt x="16" y="63"/>
                </a:cubicBezTo>
                <a:cubicBezTo>
                  <a:pt x="15" y="63"/>
                  <a:pt x="14" y="64"/>
                  <a:pt x="13" y="64"/>
                </a:cubicBezTo>
                <a:cubicBezTo>
                  <a:pt x="14" y="65"/>
                  <a:pt x="20" y="63"/>
                  <a:pt x="21" y="63"/>
                </a:cubicBezTo>
                <a:cubicBezTo>
                  <a:pt x="20" y="63"/>
                  <a:pt x="20" y="64"/>
                  <a:pt x="20" y="64"/>
                </a:cubicBezTo>
                <a:cubicBezTo>
                  <a:pt x="20" y="64"/>
                  <a:pt x="20" y="64"/>
                  <a:pt x="20" y="65"/>
                </a:cubicBezTo>
                <a:cubicBezTo>
                  <a:pt x="21" y="65"/>
                  <a:pt x="21" y="65"/>
                  <a:pt x="21" y="65"/>
                </a:cubicBezTo>
                <a:cubicBezTo>
                  <a:pt x="20" y="65"/>
                  <a:pt x="20" y="65"/>
                  <a:pt x="20" y="65"/>
                </a:cubicBezTo>
                <a:cubicBezTo>
                  <a:pt x="20" y="66"/>
                  <a:pt x="22" y="63"/>
                  <a:pt x="23" y="63"/>
                </a:cubicBezTo>
                <a:cubicBezTo>
                  <a:pt x="24" y="62"/>
                  <a:pt x="24" y="62"/>
                  <a:pt x="26" y="63"/>
                </a:cubicBezTo>
                <a:cubicBezTo>
                  <a:pt x="27" y="63"/>
                  <a:pt x="26" y="64"/>
                  <a:pt x="27" y="64"/>
                </a:cubicBezTo>
                <a:cubicBezTo>
                  <a:pt x="29" y="64"/>
                  <a:pt x="28" y="66"/>
                  <a:pt x="29" y="63"/>
                </a:cubicBezTo>
                <a:cubicBezTo>
                  <a:pt x="30" y="65"/>
                  <a:pt x="32" y="68"/>
                  <a:pt x="33" y="69"/>
                </a:cubicBezTo>
                <a:cubicBezTo>
                  <a:pt x="35" y="69"/>
                  <a:pt x="36" y="70"/>
                  <a:pt x="38" y="70"/>
                </a:cubicBezTo>
                <a:cubicBezTo>
                  <a:pt x="39" y="71"/>
                  <a:pt x="40" y="70"/>
                  <a:pt x="41" y="69"/>
                </a:cubicBezTo>
                <a:cubicBezTo>
                  <a:pt x="42" y="69"/>
                  <a:pt x="42" y="69"/>
                  <a:pt x="43" y="69"/>
                </a:cubicBezTo>
                <a:cubicBezTo>
                  <a:pt x="43" y="69"/>
                  <a:pt x="44" y="69"/>
                  <a:pt x="44" y="69"/>
                </a:cubicBezTo>
                <a:cubicBezTo>
                  <a:pt x="45" y="70"/>
                  <a:pt x="45" y="69"/>
                  <a:pt x="45" y="68"/>
                </a:cubicBezTo>
                <a:cubicBezTo>
                  <a:pt x="46" y="67"/>
                  <a:pt x="46" y="63"/>
                  <a:pt x="47" y="62"/>
                </a:cubicBezTo>
                <a:cubicBezTo>
                  <a:pt x="47" y="62"/>
                  <a:pt x="48" y="62"/>
                  <a:pt x="49" y="62"/>
                </a:cubicBezTo>
                <a:cubicBezTo>
                  <a:pt x="51" y="62"/>
                  <a:pt x="53" y="63"/>
                  <a:pt x="56" y="64"/>
                </a:cubicBezTo>
                <a:cubicBezTo>
                  <a:pt x="58" y="65"/>
                  <a:pt x="60" y="66"/>
                  <a:pt x="62" y="68"/>
                </a:cubicBezTo>
                <a:cubicBezTo>
                  <a:pt x="64" y="69"/>
                  <a:pt x="66" y="71"/>
                  <a:pt x="68" y="71"/>
                </a:cubicBezTo>
                <a:cubicBezTo>
                  <a:pt x="70" y="71"/>
                  <a:pt x="73" y="70"/>
                  <a:pt x="76" y="70"/>
                </a:cubicBezTo>
                <a:cubicBezTo>
                  <a:pt x="79" y="70"/>
                  <a:pt x="80" y="70"/>
                  <a:pt x="82" y="68"/>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32" name="Freeform 2988">
            <a:extLst>
              <a:ext uri="{FF2B5EF4-FFF2-40B4-BE49-F238E27FC236}">
                <a16:creationId xmlns:a16="http://schemas.microsoft.com/office/drawing/2014/main" id="{B8DAE7BC-B656-4420-B3CF-A253821B94B2}"/>
              </a:ext>
            </a:extLst>
          </p:cNvPr>
          <p:cNvSpPr>
            <a:spLocks/>
          </p:cNvSpPr>
          <p:nvPr/>
        </p:nvSpPr>
        <p:spPr bwMode="auto">
          <a:xfrm>
            <a:off x="3761220" y="3243344"/>
            <a:ext cx="15362" cy="20776"/>
          </a:xfrm>
          <a:custGeom>
            <a:avLst/>
            <a:gdLst>
              <a:gd name="T0" fmla="*/ 1 w 13"/>
              <a:gd name="T1" fmla="*/ 15 h 15"/>
              <a:gd name="T2" fmla="*/ 2 w 13"/>
              <a:gd name="T3" fmla="*/ 15 h 15"/>
              <a:gd name="T4" fmla="*/ 3 w 13"/>
              <a:gd name="T5" fmla="*/ 14 h 15"/>
              <a:gd name="T6" fmla="*/ 4 w 13"/>
              <a:gd name="T7" fmla="*/ 14 h 15"/>
              <a:gd name="T8" fmla="*/ 5 w 13"/>
              <a:gd name="T9" fmla="*/ 13 h 15"/>
              <a:gd name="T10" fmla="*/ 5 w 13"/>
              <a:gd name="T11" fmla="*/ 13 h 15"/>
              <a:gd name="T12" fmla="*/ 6 w 13"/>
              <a:gd name="T13" fmla="*/ 12 h 15"/>
              <a:gd name="T14" fmla="*/ 6 w 13"/>
              <a:gd name="T15" fmla="*/ 12 h 15"/>
              <a:gd name="T16" fmla="*/ 8 w 13"/>
              <a:gd name="T17" fmla="*/ 11 h 15"/>
              <a:gd name="T18" fmla="*/ 8 w 13"/>
              <a:gd name="T19" fmla="*/ 11 h 15"/>
              <a:gd name="T20" fmla="*/ 7 w 13"/>
              <a:gd name="T21" fmla="*/ 10 h 15"/>
              <a:gd name="T22" fmla="*/ 9 w 13"/>
              <a:gd name="T23" fmla="*/ 7 h 15"/>
              <a:gd name="T24" fmla="*/ 11 w 13"/>
              <a:gd name="T25" fmla="*/ 7 h 15"/>
              <a:gd name="T26" fmla="*/ 13 w 13"/>
              <a:gd name="T27" fmla="*/ 4 h 15"/>
              <a:gd name="T28" fmla="*/ 13 w 13"/>
              <a:gd name="T29" fmla="*/ 4 h 15"/>
              <a:gd name="T30" fmla="*/ 13 w 13"/>
              <a:gd name="T31" fmla="*/ 3 h 15"/>
              <a:gd name="T32" fmla="*/ 13 w 13"/>
              <a:gd name="T33" fmla="*/ 3 h 15"/>
              <a:gd name="T34" fmla="*/ 12 w 13"/>
              <a:gd name="T35" fmla="*/ 2 h 15"/>
              <a:gd name="T36" fmla="*/ 10 w 13"/>
              <a:gd name="T37" fmla="*/ 1 h 15"/>
              <a:gd name="T38" fmla="*/ 11 w 13"/>
              <a:gd name="T39" fmla="*/ 0 h 15"/>
              <a:gd name="T40" fmla="*/ 10 w 13"/>
              <a:gd name="T41" fmla="*/ 0 h 15"/>
              <a:gd name="T42" fmla="*/ 8 w 13"/>
              <a:gd name="T43" fmla="*/ 0 h 15"/>
              <a:gd name="T44" fmla="*/ 7 w 13"/>
              <a:gd name="T45" fmla="*/ 1 h 15"/>
              <a:gd name="T46" fmla="*/ 6 w 13"/>
              <a:gd name="T47" fmla="*/ 2 h 15"/>
              <a:gd name="T48" fmla="*/ 4 w 13"/>
              <a:gd name="T49" fmla="*/ 7 h 15"/>
              <a:gd name="T50" fmla="*/ 3 w 13"/>
              <a:gd name="T51" fmla="*/ 9 h 15"/>
              <a:gd name="T52" fmla="*/ 2 w 13"/>
              <a:gd name="T53" fmla="*/ 11 h 15"/>
              <a:gd name="T54" fmla="*/ 0 w 13"/>
              <a:gd name="T55" fmla="*/ 15 h 15"/>
              <a:gd name="T56" fmla="*/ 1 w 13"/>
              <a:gd name="T5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 h="15">
                <a:moveTo>
                  <a:pt x="1" y="15"/>
                </a:moveTo>
                <a:cubicBezTo>
                  <a:pt x="2" y="15"/>
                  <a:pt x="2" y="15"/>
                  <a:pt x="2" y="15"/>
                </a:cubicBezTo>
                <a:cubicBezTo>
                  <a:pt x="3" y="15"/>
                  <a:pt x="3" y="15"/>
                  <a:pt x="3" y="14"/>
                </a:cubicBezTo>
                <a:cubicBezTo>
                  <a:pt x="4" y="14"/>
                  <a:pt x="4" y="14"/>
                  <a:pt x="4" y="14"/>
                </a:cubicBezTo>
                <a:cubicBezTo>
                  <a:pt x="4" y="13"/>
                  <a:pt x="5" y="13"/>
                  <a:pt x="5" y="13"/>
                </a:cubicBezTo>
                <a:cubicBezTo>
                  <a:pt x="5" y="13"/>
                  <a:pt x="5" y="13"/>
                  <a:pt x="5" y="13"/>
                </a:cubicBezTo>
                <a:cubicBezTo>
                  <a:pt x="6" y="13"/>
                  <a:pt x="6" y="12"/>
                  <a:pt x="6" y="12"/>
                </a:cubicBezTo>
                <a:cubicBezTo>
                  <a:pt x="6" y="12"/>
                  <a:pt x="6" y="12"/>
                  <a:pt x="6" y="12"/>
                </a:cubicBezTo>
                <a:cubicBezTo>
                  <a:pt x="7" y="12"/>
                  <a:pt x="7" y="11"/>
                  <a:pt x="8" y="11"/>
                </a:cubicBezTo>
                <a:cubicBezTo>
                  <a:pt x="8" y="11"/>
                  <a:pt x="8" y="11"/>
                  <a:pt x="8" y="11"/>
                </a:cubicBezTo>
                <a:cubicBezTo>
                  <a:pt x="7" y="11"/>
                  <a:pt x="7" y="10"/>
                  <a:pt x="7" y="10"/>
                </a:cubicBezTo>
                <a:cubicBezTo>
                  <a:pt x="7" y="9"/>
                  <a:pt x="8" y="8"/>
                  <a:pt x="9" y="7"/>
                </a:cubicBezTo>
                <a:cubicBezTo>
                  <a:pt x="10" y="7"/>
                  <a:pt x="10" y="7"/>
                  <a:pt x="11" y="7"/>
                </a:cubicBezTo>
                <a:cubicBezTo>
                  <a:pt x="11" y="5"/>
                  <a:pt x="12" y="4"/>
                  <a:pt x="13" y="4"/>
                </a:cubicBezTo>
                <a:cubicBezTo>
                  <a:pt x="13" y="4"/>
                  <a:pt x="13" y="4"/>
                  <a:pt x="13" y="4"/>
                </a:cubicBezTo>
                <a:cubicBezTo>
                  <a:pt x="13" y="3"/>
                  <a:pt x="13" y="3"/>
                  <a:pt x="13" y="3"/>
                </a:cubicBezTo>
                <a:cubicBezTo>
                  <a:pt x="13" y="3"/>
                  <a:pt x="13" y="3"/>
                  <a:pt x="13" y="3"/>
                </a:cubicBezTo>
                <a:cubicBezTo>
                  <a:pt x="13" y="2"/>
                  <a:pt x="13" y="2"/>
                  <a:pt x="12" y="2"/>
                </a:cubicBezTo>
                <a:cubicBezTo>
                  <a:pt x="10" y="1"/>
                  <a:pt x="10" y="1"/>
                  <a:pt x="10" y="1"/>
                </a:cubicBezTo>
                <a:cubicBezTo>
                  <a:pt x="11" y="0"/>
                  <a:pt x="11" y="0"/>
                  <a:pt x="11" y="0"/>
                </a:cubicBezTo>
                <a:cubicBezTo>
                  <a:pt x="10" y="0"/>
                  <a:pt x="10" y="0"/>
                  <a:pt x="10" y="0"/>
                </a:cubicBezTo>
                <a:cubicBezTo>
                  <a:pt x="9" y="0"/>
                  <a:pt x="9" y="0"/>
                  <a:pt x="8" y="0"/>
                </a:cubicBezTo>
                <a:cubicBezTo>
                  <a:pt x="8" y="0"/>
                  <a:pt x="8" y="1"/>
                  <a:pt x="7" y="1"/>
                </a:cubicBezTo>
                <a:cubicBezTo>
                  <a:pt x="7" y="1"/>
                  <a:pt x="6" y="2"/>
                  <a:pt x="6" y="2"/>
                </a:cubicBezTo>
                <a:cubicBezTo>
                  <a:pt x="5" y="4"/>
                  <a:pt x="5" y="6"/>
                  <a:pt x="4" y="7"/>
                </a:cubicBezTo>
                <a:cubicBezTo>
                  <a:pt x="4" y="8"/>
                  <a:pt x="3" y="8"/>
                  <a:pt x="3" y="9"/>
                </a:cubicBezTo>
                <a:cubicBezTo>
                  <a:pt x="3" y="10"/>
                  <a:pt x="2" y="11"/>
                  <a:pt x="2" y="11"/>
                </a:cubicBezTo>
                <a:cubicBezTo>
                  <a:pt x="1" y="13"/>
                  <a:pt x="1" y="14"/>
                  <a:pt x="0" y="15"/>
                </a:cubicBezTo>
                <a:lnTo>
                  <a:pt x="1" y="15"/>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533" name="Freeform 2989">
            <a:extLst>
              <a:ext uri="{FF2B5EF4-FFF2-40B4-BE49-F238E27FC236}">
                <a16:creationId xmlns:a16="http://schemas.microsoft.com/office/drawing/2014/main" id="{C54A2BEE-5058-4B78-8E52-B4DFDBAFEF2E}"/>
              </a:ext>
            </a:extLst>
          </p:cNvPr>
          <p:cNvSpPr>
            <a:spLocks/>
          </p:cNvSpPr>
          <p:nvPr/>
        </p:nvSpPr>
        <p:spPr bwMode="auto">
          <a:xfrm>
            <a:off x="3863306" y="3133529"/>
            <a:ext cx="32707" cy="36803"/>
          </a:xfrm>
          <a:custGeom>
            <a:avLst/>
            <a:gdLst>
              <a:gd name="T0" fmla="*/ 0 w 28"/>
              <a:gd name="T1" fmla="*/ 8 h 26"/>
              <a:gd name="T2" fmla="*/ 1 w 28"/>
              <a:gd name="T3" fmla="*/ 10 h 26"/>
              <a:gd name="T4" fmla="*/ 3 w 28"/>
              <a:gd name="T5" fmla="*/ 12 h 26"/>
              <a:gd name="T6" fmla="*/ 5 w 28"/>
              <a:gd name="T7" fmla="*/ 12 h 26"/>
              <a:gd name="T8" fmla="*/ 12 w 28"/>
              <a:gd name="T9" fmla="*/ 16 h 26"/>
              <a:gd name="T10" fmla="*/ 14 w 28"/>
              <a:gd name="T11" fmla="*/ 15 h 26"/>
              <a:gd name="T12" fmla="*/ 15 w 28"/>
              <a:gd name="T13" fmla="*/ 16 h 26"/>
              <a:gd name="T14" fmla="*/ 17 w 28"/>
              <a:gd name="T15" fmla="*/ 17 h 26"/>
              <a:gd name="T16" fmla="*/ 18 w 28"/>
              <a:gd name="T17" fmla="*/ 18 h 26"/>
              <a:gd name="T18" fmla="*/ 19 w 28"/>
              <a:gd name="T19" fmla="*/ 18 h 26"/>
              <a:gd name="T20" fmla="*/ 20 w 28"/>
              <a:gd name="T21" fmla="*/ 18 h 26"/>
              <a:gd name="T22" fmla="*/ 22 w 28"/>
              <a:gd name="T23" fmla="*/ 19 h 26"/>
              <a:gd name="T24" fmla="*/ 23 w 28"/>
              <a:gd name="T25" fmla="*/ 20 h 26"/>
              <a:gd name="T26" fmla="*/ 23 w 28"/>
              <a:gd name="T27" fmla="*/ 21 h 26"/>
              <a:gd name="T28" fmla="*/ 26 w 28"/>
              <a:gd name="T29" fmla="*/ 26 h 26"/>
              <a:gd name="T30" fmla="*/ 27 w 28"/>
              <a:gd name="T31" fmla="*/ 26 h 26"/>
              <a:gd name="T32" fmla="*/ 28 w 28"/>
              <a:gd name="T33" fmla="*/ 26 h 26"/>
              <a:gd name="T34" fmla="*/ 28 w 28"/>
              <a:gd name="T35" fmla="*/ 25 h 26"/>
              <a:gd name="T36" fmla="*/ 27 w 28"/>
              <a:gd name="T37" fmla="*/ 25 h 26"/>
              <a:gd name="T38" fmla="*/ 27 w 28"/>
              <a:gd name="T39" fmla="*/ 22 h 26"/>
              <a:gd name="T40" fmla="*/ 27 w 28"/>
              <a:gd name="T41" fmla="*/ 20 h 26"/>
              <a:gd name="T42" fmla="*/ 16 w 28"/>
              <a:gd name="T43" fmla="*/ 13 h 26"/>
              <a:gd name="T44" fmla="*/ 20 w 28"/>
              <a:gd name="T45" fmla="*/ 13 h 26"/>
              <a:gd name="T46" fmla="*/ 22 w 28"/>
              <a:gd name="T47" fmla="*/ 12 h 26"/>
              <a:gd name="T48" fmla="*/ 22 w 28"/>
              <a:gd name="T49" fmla="*/ 11 h 26"/>
              <a:gd name="T50" fmla="*/ 20 w 28"/>
              <a:gd name="T51" fmla="*/ 10 h 26"/>
              <a:gd name="T52" fmla="*/ 17 w 28"/>
              <a:gd name="T53" fmla="*/ 5 h 26"/>
              <a:gd name="T54" fmla="*/ 18 w 28"/>
              <a:gd name="T55" fmla="*/ 4 h 26"/>
              <a:gd name="T56" fmla="*/ 18 w 28"/>
              <a:gd name="T57" fmla="*/ 3 h 26"/>
              <a:gd name="T58" fmla="*/ 15 w 28"/>
              <a:gd name="T59" fmla="*/ 2 h 26"/>
              <a:gd name="T60" fmla="*/ 15 w 28"/>
              <a:gd name="T61" fmla="*/ 2 h 26"/>
              <a:gd name="T62" fmla="*/ 14 w 28"/>
              <a:gd name="T63" fmla="*/ 0 h 26"/>
              <a:gd name="T64" fmla="*/ 14 w 28"/>
              <a:gd name="T65" fmla="*/ 0 h 26"/>
              <a:gd name="T66" fmla="*/ 13 w 28"/>
              <a:gd name="T67" fmla="*/ 0 h 26"/>
              <a:gd name="T68" fmla="*/ 12 w 28"/>
              <a:gd name="T69" fmla="*/ 0 h 26"/>
              <a:gd name="T70" fmla="*/ 10 w 28"/>
              <a:gd name="T71" fmla="*/ 0 h 26"/>
              <a:gd name="T72" fmla="*/ 8 w 28"/>
              <a:gd name="T73" fmla="*/ 0 h 26"/>
              <a:gd name="T74" fmla="*/ 0 w 28"/>
              <a:gd name="T75" fmla="*/ 1 h 26"/>
              <a:gd name="T76" fmla="*/ 1 w 28"/>
              <a:gd name="T77" fmla="*/ 2 h 26"/>
              <a:gd name="T78" fmla="*/ 3 w 28"/>
              <a:gd name="T79" fmla="*/ 2 h 26"/>
              <a:gd name="T80" fmla="*/ 1 w 28"/>
              <a:gd name="T81" fmla="*/ 3 h 26"/>
              <a:gd name="T82" fmla="*/ 1 w 28"/>
              <a:gd name="T83" fmla="*/ 4 h 26"/>
              <a:gd name="T84" fmla="*/ 1 w 28"/>
              <a:gd name="T85" fmla="*/ 6 h 26"/>
              <a:gd name="T86" fmla="*/ 0 w 28"/>
              <a:gd name="T87"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 h="26">
                <a:moveTo>
                  <a:pt x="0" y="8"/>
                </a:moveTo>
                <a:cubicBezTo>
                  <a:pt x="0" y="8"/>
                  <a:pt x="0" y="8"/>
                  <a:pt x="0" y="8"/>
                </a:cubicBezTo>
                <a:cubicBezTo>
                  <a:pt x="0" y="9"/>
                  <a:pt x="1" y="9"/>
                  <a:pt x="1" y="9"/>
                </a:cubicBezTo>
                <a:cubicBezTo>
                  <a:pt x="1" y="10"/>
                  <a:pt x="1" y="10"/>
                  <a:pt x="1" y="10"/>
                </a:cubicBezTo>
                <a:cubicBezTo>
                  <a:pt x="1" y="11"/>
                  <a:pt x="1" y="11"/>
                  <a:pt x="1" y="12"/>
                </a:cubicBezTo>
                <a:cubicBezTo>
                  <a:pt x="2" y="12"/>
                  <a:pt x="2" y="12"/>
                  <a:pt x="3" y="12"/>
                </a:cubicBezTo>
                <a:cubicBezTo>
                  <a:pt x="3" y="12"/>
                  <a:pt x="3" y="12"/>
                  <a:pt x="3" y="12"/>
                </a:cubicBezTo>
                <a:cubicBezTo>
                  <a:pt x="4" y="12"/>
                  <a:pt x="4" y="12"/>
                  <a:pt x="5" y="12"/>
                </a:cubicBezTo>
                <a:cubicBezTo>
                  <a:pt x="8" y="12"/>
                  <a:pt x="8" y="13"/>
                  <a:pt x="10" y="14"/>
                </a:cubicBezTo>
                <a:cubicBezTo>
                  <a:pt x="12" y="16"/>
                  <a:pt x="12" y="16"/>
                  <a:pt x="12" y="16"/>
                </a:cubicBezTo>
                <a:cubicBezTo>
                  <a:pt x="12" y="16"/>
                  <a:pt x="12" y="16"/>
                  <a:pt x="12" y="16"/>
                </a:cubicBezTo>
                <a:cubicBezTo>
                  <a:pt x="13" y="16"/>
                  <a:pt x="14" y="15"/>
                  <a:pt x="14" y="15"/>
                </a:cubicBezTo>
                <a:cubicBezTo>
                  <a:pt x="15" y="15"/>
                  <a:pt x="15" y="15"/>
                  <a:pt x="15" y="15"/>
                </a:cubicBezTo>
                <a:cubicBezTo>
                  <a:pt x="15" y="16"/>
                  <a:pt x="15" y="16"/>
                  <a:pt x="15" y="16"/>
                </a:cubicBezTo>
                <a:cubicBezTo>
                  <a:pt x="16" y="16"/>
                  <a:pt x="16" y="17"/>
                  <a:pt x="17" y="17"/>
                </a:cubicBezTo>
                <a:cubicBezTo>
                  <a:pt x="17" y="17"/>
                  <a:pt x="17" y="17"/>
                  <a:pt x="17" y="17"/>
                </a:cubicBezTo>
                <a:cubicBezTo>
                  <a:pt x="17" y="17"/>
                  <a:pt x="17" y="17"/>
                  <a:pt x="17" y="17"/>
                </a:cubicBezTo>
                <a:cubicBezTo>
                  <a:pt x="17" y="18"/>
                  <a:pt x="17" y="18"/>
                  <a:pt x="18" y="18"/>
                </a:cubicBezTo>
                <a:cubicBezTo>
                  <a:pt x="18" y="18"/>
                  <a:pt x="18" y="18"/>
                  <a:pt x="18" y="18"/>
                </a:cubicBezTo>
                <a:cubicBezTo>
                  <a:pt x="18" y="18"/>
                  <a:pt x="19" y="18"/>
                  <a:pt x="19" y="18"/>
                </a:cubicBezTo>
                <a:cubicBezTo>
                  <a:pt x="19" y="18"/>
                  <a:pt x="19" y="18"/>
                  <a:pt x="19" y="18"/>
                </a:cubicBezTo>
                <a:cubicBezTo>
                  <a:pt x="19" y="18"/>
                  <a:pt x="19" y="18"/>
                  <a:pt x="20" y="18"/>
                </a:cubicBezTo>
                <a:cubicBezTo>
                  <a:pt x="22" y="17"/>
                  <a:pt x="22" y="17"/>
                  <a:pt x="22" y="17"/>
                </a:cubicBezTo>
                <a:cubicBezTo>
                  <a:pt x="22" y="19"/>
                  <a:pt x="22" y="19"/>
                  <a:pt x="22" y="19"/>
                </a:cubicBezTo>
                <a:cubicBezTo>
                  <a:pt x="22" y="19"/>
                  <a:pt x="22" y="20"/>
                  <a:pt x="22" y="20"/>
                </a:cubicBezTo>
                <a:cubicBezTo>
                  <a:pt x="23" y="20"/>
                  <a:pt x="23" y="20"/>
                  <a:pt x="23" y="20"/>
                </a:cubicBezTo>
                <a:cubicBezTo>
                  <a:pt x="23" y="21"/>
                  <a:pt x="23" y="21"/>
                  <a:pt x="23" y="21"/>
                </a:cubicBezTo>
                <a:cubicBezTo>
                  <a:pt x="23" y="21"/>
                  <a:pt x="23" y="21"/>
                  <a:pt x="23" y="21"/>
                </a:cubicBezTo>
                <a:cubicBezTo>
                  <a:pt x="24" y="21"/>
                  <a:pt x="24" y="21"/>
                  <a:pt x="25" y="22"/>
                </a:cubicBezTo>
                <a:cubicBezTo>
                  <a:pt x="25" y="23"/>
                  <a:pt x="26" y="24"/>
                  <a:pt x="26" y="26"/>
                </a:cubicBezTo>
                <a:cubicBezTo>
                  <a:pt x="26" y="26"/>
                  <a:pt x="26" y="26"/>
                  <a:pt x="26" y="26"/>
                </a:cubicBezTo>
                <a:cubicBezTo>
                  <a:pt x="26" y="26"/>
                  <a:pt x="26" y="26"/>
                  <a:pt x="27" y="26"/>
                </a:cubicBezTo>
                <a:cubicBezTo>
                  <a:pt x="27" y="26"/>
                  <a:pt x="27" y="26"/>
                  <a:pt x="27" y="26"/>
                </a:cubicBezTo>
                <a:cubicBezTo>
                  <a:pt x="28" y="26"/>
                  <a:pt x="28" y="26"/>
                  <a:pt x="28" y="26"/>
                </a:cubicBezTo>
                <a:cubicBezTo>
                  <a:pt x="28" y="26"/>
                  <a:pt x="28" y="26"/>
                  <a:pt x="28" y="26"/>
                </a:cubicBezTo>
                <a:cubicBezTo>
                  <a:pt x="28" y="26"/>
                  <a:pt x="28" y="25"/>
                  <a:pt x="28" y="25"/>
                </a:cubicBezTo>
                <a:cubicBezTo>
                  <a:pt x="28" y="25"/>
                  <a:pt x="28" y="25"/>
                  <a:pt x="27" y="25"/>
                </a:cubicBezTo>
                <a:cubicBezTo>
                  <a:pt x="27" y="25"/>
                  <a:pt x="27" y="25"/>
                  <a:pt x="27" y="25"/>
                </a:cubicBezTo>
                <a:cubicBezTo>
                  <a:pt x="27" y="24"/>
                  <a:pt x="27" y="24"/>
                  <a:pt x="27" y="24"/>
                </a:cubicBezTo>
                <a:cubicBezTo>
                  <a:pt x="27" y="23"/>
                  <a:pt x="27" y="23"/>
                  <a:pt x="27" y="22"/>
                </a:cubicBezTo>
                <a:cubicBezTo>
                  <a:pt x="27" y="22"/>
                  <a:pt x="27" y="22"/>
                  <a:pt x="27" y="21"/>
                </a:cubicBezTo>
                <a:cubicBezTo>
                  <a:pt x="27" y="21"/>
                  <a:pt x="27" y="20"/>
                  <a:pt x="27" y="20"/>
                </a:cubicBezTo>
                <a:cubicBezTo>
                  <a:pt x="24" y="19"/>
                  <a:pt x="22" y="17"/>
                  <a:pt x="20" y="16"/>
                </a:cubicBezTo>
                <a:cubicBezTo>
                  <a:pt x="16" y="13"/>
                  <a:pt x="16" y="13"/>
                  <a:pt x="16" y="13"/>
                </a:cubicBezTo>
                <a:cubicBezTo>
                  <a:pt x="19" y="13"/>
                  <a:pt x="19" y="13"/>
                  <a:pt x="19" y="13"/>
                </a:cubicBezTo>
                <a:cubicBezTo>
                  <a:pt x="20" y="13"/>
                  <a:pt x="20" y="13"/>
                  <a:pt x="20" y="13"/>
                </a:cubicBezTo>
                <a:cubicBezTo>
                  <a:pt x="21" y="13"/>
                  <a:pt x="21" y="12"/>
                  <a:pt x="22" y="12"/>
                </a:cubicBezTo>
                <a:cubicBezTo>
                  <a:pt x="22" y="12"/>
                  <a:pt x="22" y="12"/>
                  <a:pt x="22" y="12"/>
                </a:cubicBezTo>
                <a:cubicBezTo>
                  <a:pt x="22" y="12"/>
                  <a:pt x="22" y="12"/>
                  <a:pt x="22" y="12"/>
                </a:cubicBezTo>
                <a:cubicBezTo>
                  <a:pt x="22" y="12"/>
                  <a:pt x="22" y="11"/>
                  <a:pt x="22" y="11"/>
                </a:cubicBezTo>
                <a:cubicBezTo>
                  <a:pt x="21" y="11"/>
                  <a:pt x="21" y="11"/>
                  <a:pt x="21" y="10"/>
                </a:cubicBezTo>
                <a:cubicBezTo>
                  <a:pt x="20" y="10"/>
                  <a:pt x="20" y="10"/>
                  <a:pt x="20" y="10"/>
                </a:cubicBezTo>
                <a:cubicBezTo>
                  <a:pt x="19" y="9"/>
                  <a:pt x="19" y="9"/>
                  <a:pt x="19" y="9"/>
                </a:cubicBezTo>
                <a:cubicBezTo>
                  <a:pt x="18" y="8"/>
                  <a:pt x="16" y="7"/>
                  <a:pt x="17" y="5"/>
                </a:cubicBezTo>
                <a:cubicBezTo>
                  <a:pt x="17" y="4"/>
                  <a:pt x="18" y="4"/>
                  <a:pt x="18" y="4"/>
                </a:cubicBezTo>
                <a:cubicBezTo>
                  <a:pt x="18" y="4"/>
                  <a:pt x="18" y="4"/>
                  <a:pt x="18" y="4"/>
                </a:cubicBezTo>
                <a:cubicBezTo>
                  <a:pt x="18" y="4"/>
                  <a:pt x="18" y="4"/>
                  <a:pt x="18" y="4"/>
                </a:cubicBezTo>
                <a:cubicBezTo>
                  <a:pt x="18" y="3"/>
                  <a:pt x="18" y="3"/>
                  <a:pt x="18" y="3"/>
                </a:cubicBezTo>
                <a:cubicBezTo>
                  <a:pt x="18" y="3"/>
                  <a:pt x="17" y="3"/>
                  <a:pt x="17" y="3"/>
                </a:cubicBezTo>
                <a:cubicBezTo>
                  <a:pt x="16" y="2"/>
                  <a:pt x="16" y="2"/>
                  <a:pt x="15" y="2"/>
                </a:cubicBezTo>
                <a:cubicBezTo>
                  <a:pt x="15" y="2"/>
                  <a:pt x="15" y="2"/>
                  <a:pt x="15" y="2"/>
                </a:cubicBezTo>
                <a:cubicBezTo>
                  <a:pt x="15" y="2"/>
                  <a:pt x="15" y="2"/>
                  <a:pt x="15" y="2"/>
                </a:cubicBezTo>
                <a:cubicBezTo>
                  <a:pt x="11" y="3"/>
                  <a:pt x="11" y="3"/>
                  <a:pt x="11" y="3"/>
                </a:cubicBezTo>
                <a:cubicBezTo>
                  <a:pt x="14" y="0"/>
                  <a:pt x="14" y="0"/>
                  <a:pt x="14" y="0"/>
                </a:cubicBezTo>
                <a:cubicBezTo>
                  <a:pt x="14" y="0"/>
                  <a:pt x="14" y="0"/>
                  <a:pt x="14" y="0"/>
                </a:cubicBezTo>
                <a:cubicBezTo>
                  <a:pt x="14" y="0"/>
                  <a:pt x="14" y="0"/>
                  <a:pt x="14" y="0"/>
                </a:cubicBezTo>
                <a:cubicBezTo>
                  <a:pt x="14" y="0"/>
                  <a:pt x="13" y="0"/>
                  <a:pt x="13" y="0"/>
                </a:cubicBezTo>
                <a:cubicBezTo>
                  <a:pt x="13" y="0"/>
                  <a:pt x="13" y="0"/>
                  <a:pt x="13" y="0"/>
                </a:cubicBezTo>
                <a:cubicBezTo>
                  <a:pt x="13" y="0"/>
                  <a:pt x="12" y="0"/>
                  <a:pt x="12" y="0"/>
                </a:cubicBezTo>
                <a:cubicBezTo>
                  <a:pt x="12" y="0"/>
                  <a:pt x="12" y="0"/>
                  <a:pt x="12" y="0"/>
                </a:cubicBezTo>
                <a:cubicBezTo>
                  <a:pt x="11" y="0"/>
                  <a:pt x="11" y="0"/>
                  <a:pt x="11" y="0"/>
                </a:cubicBezTo>
                <a:cubicBezTo>
                  <a:pt x="11" y="0"/>
                  <a:pt x="11" y="0"/>
                  <a:pt x="10" y="0"/>
                </a:cubicBezTo>
                <a:cubicBezTo>
                  <a:pt x="10" y="0"/>
                  <a:pt x="10" y="0"/>
                  <a:pt x="9" y="0"/>
                </a:cubicBezTo>
                <a:cubicBezTo>
                  <a:pt x="9" y="0"/>
                  <a:pt x="8" y="0"/>
                  <a:pt x="8" y="0"/>
                </a:cubicBezTo>
                <a:cubicBezTo>
                  <a:pt x="8" y="0"/>
                  <a:pt x="7" y="0"/>
                  <a:pt x="6" y="0"/>
                </a:cubicBezTo>
                <a:cubicBezTo>
                  <a:pt x="4" y="1"/>
                  <a:pt x="2" y="1"/>
                  <a:pt x="0" y="1"/>
                </a:cubicBezTo>
                <a:cubicBezTo>
                  <a:pt x="0" y="1"/>
                  <a:pt x="1" y="2"/>
                  <a:pt x="1" y="2"/>
                </a:cubicBezTo>
                <a:cubicBezTo>
                  <a:pt x="1" y="2"/>
                  <a:pt x="1" y="2"/>
                  <a:pt x="1" y="2"/>
                </a:cubicBezTo>
                <a:cubicBezTo>
                  <a:pt x="1" y="2"/>
                  <a:pt x="1" y="2"/>
                  <a:pt x="1" y="2"/>
                </a:cubicBezTo>
                <a:cubicBezTo>
                  <a:pt x="3" y="2"/>
                  <a:pt x="3" y="2"/>
                  <a:pt x="3" y="2"/>
                </a:cubicBezTo>
                <a:cubicBezTo>
                  <a:pt x="1" y="3"/>
                  <a:pt x="1" y="3"/>
                  <a:pt x="1" y="3"/>
                </a:cubicBezTo>
                <a:cubicBezTo>
                  <a:pt x="1" y="3"/>
                  <a:pt x="1" y="3"/>
                  <a:pt x="1" y="3"/>
                </a:cubicBezTo>
                <a:cubicBezTo>
                  <a:pt x="1" y="3"/>
                  <a:pt x="1" y="4"/>
                  <a:pt x="1" y="4"/>
                </a:cubicBezTo>
                <a:cubicBezTo>
                  <a:pt x="1" y="4"/>
                  <a:pt x="1" y="4"/>
                  <a:pt x="1" y="4"/>
                </a:cubicBezTo>
                <a:cubicBezTo>
                  <a:pt x="1" y="4"/>
                  <a:pt x="1" y="5"/>
                  <a:pt x="1" y="5"/>
                </a:cubicBezTo>
                <a:cubicBezTo>
                  <a:pt x="1" y="6"/>
                  <a:pt x="1" y="6"/>
                  <a:pt x="1" y="6"/>
                </a:cubicBezTo>
                <a:cubicBezTo>
                  <a:pt x="2" y="7"/>
                  <a:pt x="1" y="7"/>
                  <a:pt x="1" y="8"/>
                </a:cubicBezTo>
                <a:cubicBezTo>
                  <a:pt x="1" y="8"/>
                  <a:pt x="1" y="8"/>
                  <a:pt x="0" y="8"/>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4" name="Freeform 2991">
            <a:extLst>
              <a:ext uri="{FF2B5EF4-FFF2-40B4-BE49-F238E27FC236}">
                <a16:creationId xmlns:a16="http://schemas.microsoft.com/office/drawing/2014/main" id="{74D9812B-6F0F-4145-8EA5-58C9368D2991}"/>
              </a:ext>
            </a:extLst>
          </p:cNvPr>
          <p:cNvSpPr>
            <a:spLocks/>
          </p:cNvSpPr>
          <p:nvPr/>
        </p:nvSpPr>
        <p:spPr bwMode="auto">
          <a:xfrm>
            <a:off x="3896013" y="316914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5" name="Freeform 2992">
            <a:extLst>
              <a:ext uri="{FF2B5EF4-FFF2-40B4-BE49-F238E27FC236}">
                <a16:creationId xmlns:a16="http://schemas.microsoft.com/office/drawing/2014/main" id="{3D58748B-AB18-41CA-8EB2-632901258BD0}"/>
              </a:ext>
            </a:extLst>
          </p:cNvPr>
          <p:cNvSpPr>
            <a:spLocks/>
          </p:cNvSpPr>
          <p:nvPr/>
        </p:nvSpPr>
        <p:spPr bwMode="auto">
          <a:xfrm>
            <a:off x="3898491" y="3167364"/>
            <a:ext cx="991" cy="1781"/>
          </a:xfrm>
          <a:custGeom>
            <a:avLst/>
            <a:gdLst>
              <a:gd name="T0" fmla="*/ 1 w 1"/>
              <a:gd name="T1" fmla="*/ 0 h 1"/>
              <a:gd name="T2" fmla="*/ 0 w 1"/>
              <a:gd name="T3" fmla="*/ 0 h 1"/>
              <a:gd name="T4" fmla="*/ 0 w 1"/>
              <a:gd name="T5" fmla="*/ 0 h 1"/>
              <a:gd name="T6" fmla="*/ 0 w 1"/>
              <a:gd name="T7" fmla="*/ 1 h 1"/>
              <a:gd name="T8" fmla="*/ 0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0" y="0"/>
                  <a:pt x="0" y="0"/>
                  <a:pt x="0" y="0"/>
                </a:cubicBezTo>
                <a:cubicBezTo>
                  <a:pt x="0" y="0"/>
                  <a:pt x="0" y="0"/>
                  <a:pt x="0" y="0"/>
                </a:cubicBezTo>
                <a:cubicBezTo>
                  <a:pt x="0" y="1"/>
                  <a:pt x="0" y="1"/>
                  <a:pt x="0" y="1"/>
                </a:cubicBezTo>
                <a:cubicBezTo>
                  <a:pt x="0" y="1"/>
                  <a:pt x="0" y="1"/>
                  <a:pt x="0" y="1"/>
                </a:cubicBezTo>
                <a:cubicBezTo>
                  <a:pt x="1" y="0"/>
                  <a:pt x="1" y="0"/>
                  <a:pt x="1"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6" name="Freeform 2993">
            <a:extLst>
              <a:ext uri="{FF2B5EF4-FFF2-40B4-BE49-F238E27FC236}">
                <a16:creationId xmlns:a16="http://schemas.microsoft.com/office/drawing/2014/main" id="{A93DC593-4116-43F6-B5EC-068AFD728CA7}"/>
              </a:ext>
            </a:extLst>
          </p:cNvPr>
          <p:cNvSpPr>
            <a:spLocks/>
          </p:cNvSpPr>
          <p:nvPr/>
        </p:nvSpPr>
        <p:spPr bwMode="auto">
          <a:xfrm>
            <a:off x="3881642" y="3122844"/>
            <a:ext cx="62441" cy="54611"/>
          </a:xfrm>
          <a:custGeom>
            <a:avLst/>
            <a:gdLst>
              <a:gd name="T0" fmla="*/ 49 w 53"/>
              <a:gd name="T1" fmla="*/ 15 h 39"/>
              <a:gd name="T2" fmla="*/ 47 w 53"/>
              <a:gd name="T3" fmla="*/ 15 h 39"/>
              <a:gd name="T4" fmla="*/ 39 w 53"/>
              <a:gd name="T5" fmla="*/ 6 h 39"/>
              <a:gd name="T6" fmla="*/ 32 w 53"/>
              <a:gd name="T7" fmla="*/ 3 h 39"/>
              <a:gd name="T8" fmla="*/ 31 w 53"/>
              <a:gd name="T9" fmla="*/ 4 h 39"/>
              <a:gd name="T10" fmla="*/ 29 w 53"/>
              <a:gd name="T11" fmla="*/ 6 h 39"/>
              <a:gd name="T12" fmla="*/ 24 w 53"/>
              <a:gd name="T13" fmla="*/ 8 h 39"/>
              <a:gd name="T14" fmla="*/ 19 w 53"/>
              <a:gd name="T15" fmla="*/ 4 h 39"/>
              <a:gd name="T16" fmla="*/ 14 w 53"/>
              <a:gd name="T17" fmla="*/ 0 h 39"/>
              <a:gd name="T18" fmla="*/ 13 w 53"/>
              <a:gd name="T19" fmla="*/ 0 h 39"/>
              <a:gd name="T20" fmla="*/ 13 w 53"/>
              <a:gd name="T21" fmla="*/ 3 h 39"/>
              <a:gd name="T22" fmla="*/ 15 w 53"/>
              <a:gd name="T23" fmla="*/ 8 h 39"/>
              <a:gd name="T24" fmla="*/ 15 w 53"/>
              <a:gd name="T25" fmla="*/ 9 h 39"/>
              <a:gd name="T26" fmla="*/ 14 w 53"/>
              <a:gd name="T27" fmla="*/ 10 h 39"/>
              <a:gd name="T28" fmla="*/ 6 w 53"/>
              <a:gd name="T29" fmla="*/ 8 h 39"/>
              <a:gd name="T30" fmla="*/ 3 w 53"/>
              <a:gd name="T31" fmla="*/ 7 h 39"/>
              <a:gd name="T32" fmla="*/ 1 w 53"/>
              <a:gd name="T33" fmla="*/ 6 h 39"/>
              <a:gd name="T34" fmla="*/ 0 w 53"/>
              <a:gd name="T35" fmla="*/ 6 h 39"/>
              <a:gd name="T36" fmla="*/ 0 w 53"/>
              <a:gd name="T37" fmla="*/ 6 h 39"/>
              <a:gd name="T38" fmla="*/ 1 w 53"/>
              <a:gd name="T39" fmla="*/ 7 h 39"/>
              <a:gd name="T40" fmla="*/ 1 w 53"/>
              <a:gd name="T41" fmla="*/ 8 h 39"/>
              <a:gd name="T42" fmla="*/ 5 w 53"/>
              <a:gd name="T43" fmla="*/ 11 h 39"/>
              <a:gd name="T44" fmla="*/ 4 w 53"/>
              <a:gd name="T45" fmla="*/ 14 h 39"/>
              <a:gd name="T46" fmla="*/ 3 w 53"/>
              <a:gd name="T47" fmla="*/ 14 h 39"/>
              <a:gd name="T48" fmla="*/ 4 w 53"/>
              <a:gd name="T49" fmla="*/ 15 h 39"/>
              <a:gd name="T50" fmla="*/ 6 w 53"/>
              <a:gd name="T51" fmla="*/ 16 h 39"/>
              <a:gd name="T52" fmla="*/ 8 w 53"/>
              <a:gd name="T53" fmla="*/ 20 h 39"/>
              <a:gd name="T54" fmla="*/ 7 w 53"/>
              <a:gd name="T55" fmla="*/ 23 h 39"/>
              <a:gd name="T56" fmla="*/ 15 w 53"/>
              <a:gd name="T57" fmla="*/ 28 h 39"/>
              <a:gd name="T58" fmla="*/ 14 w 53"/>
              <a:gd name="T59" fmla="*/ 29 h 39"/>
              <a:gd name="T60" fmla="*/ 16 w 53"/>
              <a:gd name="T61" fmla="*/ 31 h 39"/>
              <a:gd name="T62" fmla="*/ 20 w 53"/>
              <a:gd name="T63" fmla="*/ 28 h 39"/>
              <a:gd name="T64" fmla="*/ 24 w 53"/>
              <a:gd name="T65" fmla="*/ 25 h 39"/>
              <a:gd name="T66" fmla="*/ 31 w 53"/>
              <a:gd name="T67" fmla="*/ 27 h 39"/>
              <a:gd name="T68" fmla="*/ 32 w 53"/>
              <a:gd name="T69" fmla="*/ 29 h 39"/>
              <a:gd name="T70" fmla="*/ 31 w 53"/>
              <a:gd name="T71" fmla="*/ 31 h 39"/>
              <a:gd name="T72" fmla="*/ 32 w 53"/>
              <a:gd name="T73" fmla="*/ 32 h 39"/>
              <a:gd name="T74" fmla="*/ 30 w 53"/>
              <a:gd name="T75" fmla="*/ 35 h 39"/>
              <a:gd name="T76" fmla="*/ 32 w 53"/>
              <a:gd name="T77" fmla="*/ 37 h 39"/>
              <a:gd name="T78" fmla="*/ 33 w 53"/>
              <a:gd name="T79" fmla="*/ 37 h 39"/>
              <a:gd name="T80" fmla="*/ 35 w 53"/>
              <a:gd name="T81" fmla="*/ 39 h 39"/>
              <a:gd name="T82" fmla="*/ 35 w 53"/>
              <a:gd name="T83" fmla="*/ 39 h 39"/>
              <a:gd name="T84" fmla="*/ 37 w 53"/>
              <a:gd name="T85" fmla="*/ 39 h 39"/>
              <a:gd name="T86" fmla="*/ 39 w 53"/>
              <a:gd name="T87" fmla="*/ 32 h 39"/>
              <a:gd name="T88" fmla="*/ 41 w 53"/>
              <a:gd name="T89" fmla="*/ 30 h 39"/>
              <a:gd name="T90" fmla="*/ 42 w 53"/>
              <a:gd name="T91" fmla="*/ 29 h 39"/>
              <a:gd name="T92" fmla="*/ 43 w 53"/>
              <a:gd name="T93" fmla="*/ 23 h 39"/>
              <a:gd name="T94" fmla="*/ 49 w 53"/>
              <a:gd name="T95" fmla="*/ 18 h 39"/>
              <a:gd name="T96" fmla="*/ 51 w 53"/>
              <a:gd name="T97" fmla="*/ 1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39">
                <a:moveTo>
                  <a:pt x="51" y="16"/>
                </a:moveTo>
                <a:cubicBezTo>
                  <a:pt x="51" y="16"/>
                  <a:pt x="50" y="15"/>
                  <a:pt x="49" y="15"/>
                </a:cubicBezTo>
                <a:cubicBezTo>
                  <a:pt x="49" y="15"/>
                  <a:pt x="49" y="15"/>
                  <a:pt x="48" y="15"/>
                </a:cubicBezTo>
                <a:cubicBezTo>
                  <a:pt x="48" y="15"/>
                  <a:pt x="47" y="15"/>
                  <a:pt x="47" y="15"/>
                </a:cubicBezTo>
                <a:cubicBezTo>
                  <a:pt x="46" y="15"/>
                  <a:pt x="45" y="14"/>
                  <a:pt x="44" y="13"/>
                </a:cubicBezTo>
                <a:cubicBezTo>
                  <a:pt x="42" y="11"/>
                  <a:pt x="40" y="9"/>
                  <a:pt x="39" y="6"/>
                </a:cubicBezTo>
                <a:cubicBezTo>
                  <a:pt x="39" y="4"/>
                  <a:pt x="37" y="2"/>
                  <a:pt x="35" y="0"/>
                </a:cubicBezTo>
                <a:cubicBezTo>
                  <a:pt x="34" y="1"/>
                  <a:pt x="33" y="3"/>
                  <a:pt x="32" y="3"/>
                </a:cubicBezTo>
                <a:cubicBezTo>
                  <a:pt x="32" y="4"/>
                  <a:pt x="32" y="4"/>
                  <a:pt x="32" y="4"/>
                </a:cubicBezTo>
                <a:cubicBezTo>
                  <a:pt x="32" y="4"/>
                  <a:pt x="31" y="4"/>
                  <a:pt x="31" y="4"/>
                </a:cubicBezTo>
                <a:cubicBezTo>
                  <a:pt x="31" y="4"/>
                  <a:pt x="30" y="5"/>
                  <a:pt x="30" y="5"/>
                </a:cubicBezTo>
                <a:cubicBezTo>
                  <a:pt x="30" y="5"/>
                  <a:pt x="30" y="5"/>
                  <a:pt x="29" y="6"/>
                </a:cubicBezTo>
                <a:cubicBezTo>
                  <a:pt x="28" y="8"/>
                  <a:pt x="27" y="8"/>
                  <a:pt x="26" y="8"/>
                </a:cubicBezTo>
                <a:cubicBezTo>
                  <a:pt x="25" y="8"/>
                  <a:pt x="24" y="8"/>
                  <a:pt x="24" y="8"/>
                </a:cubicBezTo>
                <a:cubicBezTo>
                  <a:pt x="21" y="8"/>
                  <a:pt x="20" y="6"/>
                  <a:pt x="19" y="5"/>
                </a:cubicBezTo>
                <a:cubicBezTo>
                  <a:pt x="19" y="5"/>
                  <a:pt x="19" y="4"/>
                  <a:pt x="19" y="4"/>
                </a:cubicBezTo>
                <a:cubicBezTo>
                  <a:pt x="18" y="4"/>
                  <a:pt x="17" y="3"/>
                  <a:pt x="16" y="2"/>
                </a:cubicBezTo>
                <a:cubicBezTo>
                  <a:pt x="16" y="1"/>
                  <a:pt x="15" y="0"/>
                  <a:pt x="14" y="0"/>
                </a:cubicBezTo>
                <a:cubicBezTo>
                  <a:pt x="14" y="0"/>
                  <a:pt x="13" y="0"/>
                  <a:pt x="13" y="0"/>
                </a:cubicBezTo>
                <a:cubicBezTo>
                  <a:pt x="13" y="0"/>
                  <a:pt x="13" y="0"/>
                  <a:pt x="13" y="0"/>
                </a:cubicBezTo>
                <a:cubicBezTo>
                  <a:pt x="12" y="2"/>
                  <a:pt x="12" y="2"/>
                  <a:pt x="12" y="2"/>
                </a:cubicBezTo>
                <a:cubicBezTo>
                  <a:pt x="12" y="2"/>
                  <a:pt x="12" y="2"/>
                  <a:pt x="13" y="3"/>
                </a:cubicBezTo>
                <a:cubicBezTo>
                  <a:pt x="13" y="3"/>
                  <a:pt x="14" y="3"/>
                  <a:pt x="14" y="4"/>
                </a:cubicBezTo>
                <a:cubicBezTo>
                  <a:pt x="16" y="5"/>
                  <a:pt x="16" y="7"/>
                  <a:pt x="15" y="8"/>
                </a:cubicBezTo>
                <a:cubicBezTo>
                  <a:pt x="15" y="8"/>
                  <a:pt x="15" y="8"/>
                  <a:pt x="15" y="8"/>
                </a:cubicBezTo>
                <a:cubicBezTo>
                  <a:pt x="15" y="8"/>
                  <a:pt x="15" y="8"/>
                  <a:pt x="15" y="9"/>
                </a:cubicBezTo>
                <a:cubicBezTo>
                  <a:pt x="15" y="10"/>
                  <a:pt x="15" y="10"/>
                  <a:pt x="15" y="10"/>
                </a:cubicBezTo>
                <a:cubicBezTo>
                  <a:pt x="14" y="10"/>
                  <a:pt x="14" y="10"/>
                  <a:pt x="14" y="10"/>
                </a:cubicBezTo>
                <a:cubicBezTo>
                  <a:pt x="13" y="10"/>
                  <a:pt x="12" y="9"/>
                  <a:pt x="12" y="9"/>
                </a:cubicBezTo>
                <a:cubicBezTo>
                  <a:pt x="10" y="9"/>
                  <a:pt x="8" y="9"/>
                  <a:pt x="6" y="8"/>
                </a:cubicBezTo>
                <a:cubicBezTo>
                  <a:pt x="5" y="8"/>
                  <a:pt x="5" y="8"/>
                  <a:pt x="5" y="8"/>
                </a:cubicBezTo>
                <a:cubicBezTo>
                  <a:pt x="4" y="7"/>
                  <a:pt x="3" y="7"/>
                  <a:pt x="3" y="7"/>
                </a:cubicBezTo>
                <a:cubicBezTo>
                  <a:pt x="2" y="6"/>
                  <a:pt x="2" y="6"/>
                  <a:pt x="1" y="5"/>
                </a:cubicBezTo>
                <a:cubicBezTo>
                  <a:pt x="1" y="5"/>
                  <a:pt x="1" y="5"/>
                  <a:pt x="1" y="6"/>
                </a:cubicBezTo>
                <a:cubicBezTo>
                  <a:pt x="0" y="6"/>
                  <a:pt x="0" y="6"/>
                  <a:pt x="0" y="6"/>
                </a:cubicBezTo>
                <a:cubicBezTo>
                  <a:pt x="0" y="6"/>
                  <a:pt x="0" y="6"/>
                  <a:pt x="0" y="6"/>
                </a:cubicBezTo>
                <a:cubicBezTo>
                  <a:pt x="0" y="6"/>
                  <a:pt x="0" y="6"/>
                  <a:pt x="0" y="6"/>
                </a:cubicBezTo>
                <a:cubicBezTo>
                  <a:pt x="0" y="6"/>
                  <a:pt x="0" y="6"/>
                  <a:pt x="0" y="6"/>
                </a:cubicBezTo>
                <a:cubicBezTo>
                  <a:pt x="0" y="7"/>
                  <a:pt x="0" y="7"/>
                  <a:pt x="0" y="7"/>
                </a:cubicBezTo>
                <a:cubicBezTo>
                  <a:pt x="1" y="7"/>
                  <a:pt x="1" y="7"/>
                  <a:pt x="1" y="7"/>
                </a:cubicBezTo>
                <a:cubicBezTo>
                  <a:pt x="1" y="7"/>
                  <a:pt x="1" y="7"/>
                  <a:pt x="1" y="7"/>
                </a:cubicBezTo>
                <a:cubicBezTo>
                  <a:pt x="1" y="8"/>
                  <a:pt x="1" y="8"/>
                  <a:pt x="1" y="8"/>
                </a:cubicBezTo>
                <a:cubicBezTo>
                  <a:pt x="2" y="8"/>
                  <a:pt x="2" y="8"/>
                  <a:pt x="2" y="9"/>
                </a:cubicBezTo>
                <a:cubicBezTo>
                  <a:pt x="4" y="9"/>
                  <a:pt x="4" y="10"/>
                  <a:pt x="5" y="11"/>
                </a:cubicBezTo>
                <a:cubicBezTo>
                  <a:pt x="5" y="12"/>
                  <a:pt x="5" y="13"/>
                  <a:pt x="5" y="13"/>
                </a:cubicBezTo>
                <a:cubicBezTo>
                  <a:pt x="4" y="13"/>
                  <a:pt x="4" y="14"/>
                  <a:pt x="4" y="14"/>
                </a:cubicBezTo>
                <a:cubicBezTo>
                  <a:pt x="4" y="14"/>
                  <a:pt x="3" y="14"/>
                  <a:pt x="3" y="14"/>
                </a:cubicBezTo>
                <a:cubicBezTo>
                  <a:pt x="3" y="14"/>
                  <a:pt x="3" y="14"/>
                  <a:pt x="3" y="14"/>
                </a:cubicBezTo>
                <a:cubicBezTo>
                  <a:pt x="3" y="14"/>
                  <a:pt x="3" y="14"/>
                  <a:pt x="3" y="14"/>
                </a:cubicBezTo>
                <a:cubicBezTo>
                  <a:pt x="3" y="14"/>
                  <a:pt x="4" y="15"/>
                  <a:pt x="4" y="15"/>
                </a:cubicBezTo>
                <a:cubicBezTo>
                  <a:pt x="5" y="15"/>
                  <a:pt x="5" y="15"/>
                  <a:pt x="5" y="16"/>
                </a:cubicBezTo>
                <a:cubicBezTo>
                  <a:pt x="6" y="16"/>
                  <a:pt x="6" y="16"/>
                  <a:pt x="6" y="16"/>
                </a:cubicBezTo>
                <a:cubicBezTo>
                  <a:pt x="7" y="17"/>
                  <a:pt x="7" y="17"/>
                  <a:pt x="7" y="17"/>
                </a:cubicBezTo>
                <a:cubicBezTo>
                  <a:pt x="8" y="18"/>
                  <a:pt x="8" y="19"/>
                  <a:pt x="8" y="20"/>
                </a:cubicBezTo>
                <a:cubicBezTo>
                  <a:pt x="8" y="20"/>
                  <a:pt x="8" y="20"/>
                  <a:pt x="8" y="20"/>
                </a:cubicBezTo>
                <a:cubicBezTo>
                  <a:pt x="8" y="21"/>
                  <a:pt x="8" y="22"/>
                  <a:pt x="7" y="23"/>
                </a:cubicBezTo>
                <a:cubicBezTo>
                  <a:pt x="9" y="24"/>
                  <a:pt x="11" y="25"/>
                  <a:pt x="14" y="27"/>
                </a:cubicBezTo>
                <a:cubicBezTo>
                  <a:pt x="15" y="28"/>
                  <a:pt x="15" y="28"/>
                  <a:pt x="15" y="28"/>
                </a:cubicBezTo>
                <a:cubicBezTo>
                  <a:pt x="14" y="29"/>
                  <a:pt x="14" y="29"/>
                  <a:pt x="14" y="29"/>
                </a:cubicBezTo>
                <a:cubicBezTo>
                  <a:pt x="14" y="29"/>
                  <a:pt x="14" y="29"/>
                  <a:pt x="14" y="29"/>
                </a:cubicBezTo>
                <a:cubicBezTo>
                  <a:pt x="14" y="29"/>
                  <a:pt x="14" y="30"/>
                  <a:pt x="15" y="30"/>
                </a:cubicBezTo>
                <a:cubicBezTo>
                  <a:pt x="16" y="31"/>
                  <a:pt x="16" y="31"/>
                  <a:pt x="16" y="31"/>
                </a:cubicBezTo>
                <a:cubicBezTo>
                  <a:pt x="17" y="30"/>
                  <a:pt x="17" y="30"/>
                  <a:pt x="18" y="30"/>
                </a:cubicBezTo>
                <a:cubicBezTo>
                  <a:pt x="19" y="29"/>
                  <a:pt x="19" y="29"/>
                  <a:pt x="20" y="28"/>
                </a:cubicBezTo>
                <a:cubicBezTo>
                  <a:pt x="21" y="27"/>
                  <a:pt x="23" y="26"/>
                  <a:pt x="24" y="26"/>
                </a:cubicBezTo>
                <a:cubicBezTo>
                  <a:pt x="24" y="25"/>
                  <a:pt x="24" y="25"/>
                  <a:pt x="24" y="25"/>
                </a:cubicBezTo>
                <a:cubicBezTo>
                  <a:pt x="26" y="24"/>
                  <a:pt x="27" y="24"/>
                  <a:pt x="28" y="24"/>
                </a:cubicBezTo>
                <a:cubicBezTo>
                  <a:pt x="29" y="24"/>
                  <a:pt x="30" y="25"/>
                  <a:pt x="31" y="27"/>
                </a:cubicBezTo>
                <a:cubicBezTo>
                  <a:pt x="32" y="27"/>
                  <a:pt x="32" y="27"/>
                  <a:pt x="32" y="27"/>
                </a:cubicBezTo>
                <a:cubicBezTo>
                  <a:pt x="32" y="28"/>
                  <a:pt x="32" y="28"/>
                  <a:pt x="32" y="29"/>
                </a:cubicBezTo>
                <a:cubicBezTo>
                  <a:pt x="33" y="30"/>
                  <a:pt x="32" y="31"/>
                  <a:pt x="32" y="31"/>
                </a:cubicBezTo>
                <a:cubicBezTo>
                  <a:pt x="32" y="31"/>
                  <a:pt x="31" y="31"/>
                  <a:pt x="31" y="31"/>
                </a:cubicBezTo>
                <a:cubicBezTo>
                  <a:pt x="31" y="31"/>
                  <a:pt x="32" y="31"/>
                  <a:pt x="32" y="31"/>
                </a:cubicBezTo>
                <a:cubicBezTo>
                  <a:pt x="32" y="32"/>
                  <a:pt x="32" y="32"/>
                  <a:pt x="32" y="32"/>
                </a:cubicBezTo>
                <a:cubicBezTo>
                  <a:pt x="33" y="33"/>
                  <a:pt x="33" y="33"/>
                  <a:pt x="33" y="33"/>
                </a:cubicBezTo>
                <a:cubicBezTo>
                  <a:pt x="30" y="35"/>
                  <a:pt x="30" y="35"/>
                  <a:pt x="30" y="35"/>
                </a:cubicBezTo>
                <a:cubicBezTo>
                  <a:pt x="31" y="36"/>
                  <a:pt x="31" y="36"/>
                  <a:pt x="31" y="36"/>
                </a:cubicBezTo>
                <a:cubicBezTo>
                  <a:pt x="31" y="36"/>
                  <a:pt x="32" y="36"/>
                  <a:pt x="32" y="37"/>
                </a:cubicBezTo>
                <a:cubicBezTo>
                  <a:pt x="32" y="37"/>
                  <a:pt x="32" y="37"/>
                  <a:pt x="32" y="37"/>
                </a:cubicBezTo>
                <a:cubicBezTo>
                  <a:pt x="32" y="37"/>
                  <a:pt x="33" y="37"/>
                  <a:pt x="33" y="37"/>
                </a:cubicBezTo>
                <a:cubicBezTo>
                  <a:pt x="33" y="38"/>
                  <a:pt x="34" y="38"/>
                  <a:pt x="34" y="38"/>
                </a:cubicBezTo>
                <a:cubicBezTo>
                  <a:pt x="34" y="38"/>
                  <a:pt x="35" y="39"/>
                  <a:pt x="35" y="39"/>
                </a:cubicBezTo>
                <a:cubicBezTo>
                  <a:pt x="35" y="39"/>
                  <a:pt x="35" y="39"/>
                  <a:pt x="35" y="39"/>
                </a:cubicBezTo>
                <a:cubicBezTo>
                  <a:pt x="35" y="39"/>
                  <a:pt x="35" y="39"/>
                  <a:pt x="35" y="39"/>
                </a:cubicBezTo>
                <a:cubicBezTo>
                  <a:pt x="35" y="39"/>
                  <a:pt x="36" y="39"/>
                  <a:pt x="37" y="39"/>
                </a:cubicBezTo>
                <a:cubicBezTo>
                  <a:pt x="37" y="39"/>
                  <a:pt x="37" y="39"/>
                  <a:pt x="37" y="39"/>
                </a:cubicBezTo>
                <a:cubicBezTo>
                  <a:pt x="37" y="38"/>
                  <a:pt x="37" y="37"/>
                  <a:pt x="38" y="35"/>
                </a:cubicBezTo>
                <a:cubicBezTo>
                  <a:pt x="38" y="34"/>
                  <a:pt x="37" y="31"/>
                  <a:pt x="39" y="32"/>
                </a:cubicBezTo>
                <a:cubicBezTo>
                  <a:pt x="39" y="32"/>
                  <a:pt x="40" y="34"/>
                  <a:pt x="40" y="34"/>
                </a:cubicBezTo>
                <a:cubicBezTo>
                  <a:pt x="40" y="33"/>
                  <a:pt x="40" y="30"/>
                  <a:pt x="41" y="30"/>
                </a:cubicBezTo>
                <a:cubicBezTo>
                  <a:pt x="42" y="29"/>
                  <a:pt x="42" y="31"/>
                  <a:pt x="43" y="30"/>
                </a:cubicBezTo>
                <a:cubicBezTo>
                  <a:pt x="43" y="29"/>
                  <a:pt x="42" y="29"/>
                  <a:pt x="42" y="29"/>
                </a:cubicBezTo>
                <a:cubicBezTo>
                  <a:pt x="42" y="28"/>
                  <a:pt x="41" y="28"/>
                  <a:pt x="42" y="27"/>
                </a:cubicBezTo>
                <a:cubicBezTo>
                  <a:pt x="42" y="26"/>
                  <a:pt x="42" y="25"/>
                  <a:pt x="43" y="23"/>
                </a:cubicBezTo>
                <a:cubicBezTo>
                  <a:pt x="43" y="22"/>
                  <a:pt x="44" y="20"/>
                  <a:pt x="45" y="19"/>
                </a:cubicBezTo>
                <a:cubicBezTo>
                  <a:pt x="46" y="18"/>
                  <a:pt x="48" y="18"/>
                  <a:pt x="49" y="18"/>
                </a:cubicBezTo>
                <a:cubicBezTo>
                  <a:pt x="51" y="18"/>
                  <a:pt x="51" y="18"/>
                  <a:pt x="53" y="19"/>
                </a:cubicBezTo>
                <a:cubicBezTo>
                  <a:pt x="52" y="18"/>
                  <a:pt x="52" y="17"/>
                  <a:pt x="51" y="16"/>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7" name="Freeform 2994">
            <a:extLst>
              <a:ext uri="{FF2B5EF4-FFF2-40B4-BE49-F238E27FC236}">
                <a16:creationId xmlns:a16="http://schemas.microsoft.com/office/drawing/2014/main" id="{1315769E-BA9E-4021-BB99-67436FF7C5FC}"/>
              </a:ext>
            </a:extLst>
          </p:cNvPr>
          <p:cNvSpPr>
            <a:spLocks/>
          </p:cNvSpPr>
          <p:nvPr/>
        </p:nvSpPr>
        <p:spPr bwMode="auto">
          <a:xfrm>
            <a:off x="3878173" y="3159054"/>
            <a:ext cx="12885" cy="11278"/>
          </a:xfrm>
          <a:custGeom>
            <a:avLst/>
            <a:gdLst>
              <a:gd name="T0" fmla="*/ 2 w 11"/>
              <a:gd name="T1" fmla="*/ 1 h 8"/>
              <a:gd name="T2" fmla="*/ 2 w 11"/>
              <a:gd name="T3" fmla="*/ 1 h 8"/>
              <a:gd name="T4" fmla="*/ 1 w 11"/>
              <a:gd name="T5" fmla="*/ 0 h 8"/>
              <a:gd name="T6" fmla="*/ 1 w 11"/>
              <a:gd name="T7" fmla="*/ 0 h 8"/>
              <a:gd name="T8" fmla="*/ 0 w 11"/>
              <a:gd name="T9" fmla="*/ 0 h 8"/>
              <a:gd name="T10" fmla="*/ 0 w 11"/>
              <a:gd name="T11" fmla="*/ 0 h 8"/>
              <a:gd name="T12" fmla="*/ 0 w 11"/>
              <a:gd name="T13" fmla="*/ 1 h 8"/>
              <a:gd name="T14" fmla="*/ 3 w 11"/>
              <a:gd name="T15" fmla="*/ 4 h 8"/>
              <a:gd name="T16" fmla="*/ 4 w 11"/>
              <a:gd name="T17" fmla="*/ 4 h 8"/>
              <a:gd name="T18" fmla="*/ 4 w 11"/>
              <a:gd name="T19" fmla="*/ 5 h 8"/>
              <a:gd name="T20" fmla="*/ 6 w 11"/>
              <a:gd name="T21" fmla="*/ 7 h 8"/>
              <a:gd name="T22" fmla="*/ 9 w 11"/>
              <a:gd name="T23" fmla="*/ 8 h 8"/>
              <a:gd name="T24" fmla="*/ 10 w 11"/>
              <a:gd name="T25" fmla="*/ 8 h 8"/>
              <a:gd name="T26" fmla="*/ 11 w 11"/>
              <a:gd name="T27" fmla="*/ 8 h 8"/>
              <a:gd name="T28" fmla="*/ 11 w 11"/>
              <a:gd name="T29" fmla="*/ 8 h 8"/>
              <a:gd name="T30" fmla="*/ 10 w 11"/>
              <a:gd name="T31" fmla="*/ 5 h 8"/>
              <a:gd name="T32" fmla="*/ 9 w 11"/>
              <a:gd name="T33" fmla="*/ 5 h 8"/>
              <a:gd name="T34" fmla="*/ 9 w 11"/>
              <a:gd name="T35" fmla="*/ 5 h 8"/>
              <a:gd name="T36" fmla="*/ 7 w 11"/>
              <a:gd name="T37" fmla="*/ 3 h 8"/>
              <a:gd name="T38" fmla="*/ 7 w 11"/>
              <a:gd name="T39" fmla="*/ 3 h 8"/>
              <a:gd name="T40" fmla="*/ 6 w 11"/>
              <a:gd name="T41" fmla="*/ 3 h 8"/>
              <a:gd name="T42" fmla="*/ 6 w 11"/>
              <a:gd name="T43" fmla="*/ 3 h 8"/>
              <a:gd name="T44" fmla="*/ 5 w 11"/>
              <a:gd name="T45" fmla="*/ 3 h 8"/>
              <a:gd name="T46" fmla="*/ 4 w 11"/>
              <a:gd name="T47" fmla="*/ 3 h 8"/>
              <a:gd name="T48" fmla="*/ 3 w 11"/>
              <a:gd name="T49" fmla="*/ 2 h 8"/>
              <a:gd name="T50" fmla="*/ 2 w 11"/>
              <a:gd name="T51"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 h="8">
                <a:moveTo>
                  <a:pt x="2" y="1"/>
                </a:moveTo>
                <a:cubicBezTo>
                  <a:pt x="2" y="1"/>
                  <a:pt x="2" y="1"/>
                  <a:pt x="2" y="1"/>
                </a:cubicBezTo>
                <a:cubicBezTo>
                  <a:pt x="1" y="0"/>
                  <a:pt x="1" y="0"/>
                  <a:pt x="1" y="0"/>
                </a:cubicBezTo>
                <a:cubicBezTo>
                  <a:pt x="1" y="0"/>
                  <a:pt x="1" y="0"/>
                  <a:pt x="1" y="0"/>
                </a:cubicBezTo>
                <a:cubicBezTo>
                  <a:pt x="0" y="0"/>
                  <a:pt x="0" y="0"/>
                  <a:pt x="0" y="0"/>
                </a:cubicBezTo>
                <a:cubicBezTo>
                  <a:pt x="0" y="0"/>
                  <a:pt x="0" y="0"/>
                  <a:pt x="0" y="0"/>
                </a:cubicBezTo>
                <a:cubicBezTo>
                  <a:pt x="0" y="0"/>
                  <a:pt x="0" y="1"/>
                  <a:pt x="0" y="1"/>
                </a:cubicBezTo>
                <a:cubicBezTo>
                  <a:pt x="0" y="1"/>
                  <a:pt x="1" y="2"/>
                  <a:pt x="3" y="4"/>
                </a:cubicBezTo>
                <a:cubicBezTo>
                  <a:pt x="3" y="4"/>
                  <a:pt x="3" y="4"/>
                  <a:pt x="4" y="4"/>
                </a:cubicBezTo>
                <a:cubicBezTo>
                  <a:pt x="4" y="5"/>
                  <a:pt x="4" y="5"/>
                  <a:pt x="4" y="5"/>
                </a:cubicBezTo>
                <a:cubicBezTo>
                  <a:pt x="5" y="6"/>
                  <a:pt x="5" y="6"/>
                  <a:pt x="6" y="7"/>
                </a:cubicBezTo>
                <a:cubicBezTo>
                  <a:pt x="6" y="7"/>
                  <a:pt x="8" y="7"/>
                  <a:pt x="9" y="8"/>
                </a:cubicBezTo>
                <a:cubicBezTo>
                  <a:pt x="10" y="8"/>
                  <a:pt x="10" y="8"/>
                  <a:pt x="10" y="8"/>
                </a:cubicBezTo>
                <a:cubicBezTo>
                  <a:pt x="10" y="8"/>
                  <a:pt x="11" y="8"/>
                  <a:pt x="11" y="8"/>
                </a:cubicBezTo>
                <a:cubicBezTo>
                  <a:pt x="11" y="8"/>
                  <a:pt x="11" y="8"/>
                  <a:pt x="11" y="8"/>
                </a:cubicBezTo>
                <a:cubicBezTo>
                  <a:pt x="11" y="7"/>
                  <a:pt x="10" y="6"/>
                  <a:pt x="10" y="5"/>
                </a:cubicBezTo>
                <a:cubicBezTo>
                  <a:pt x="10" y="5"/>
                  <a:pt x="9" y="5"/>
                  <a:pt x="9" y="5"/>
                </a:cubicBezTo>
                <a:cubicBezTo>
                  <a:pt x="9" y="5"/>
                  <a:pt x="9" y="5"/>
                  <a:pt x="9" y="5"/>
                </a:cubicBezTo>
                <a:cubicBezTo>
                  <a:pt x="8" y="5"/>
                  <a:pt x="8" y="4"/>
                  <a:pt x="7" y="3"/>
                </a:cubicBezTo>
                <a:cubicBezTo>
                  <a:pt x="7" y="3"/>
                  <a:pt x="7" y="3"/>
                  <a:pt x="7" y="3"/>
                </a:cubicBezTo>
                <a:cubicBezTo>
                  <a:pt x="7" y="3"/>
                  <a:pt x="6" y="3"/>
                  <a:pt x="6" y="3"/>
                </a:cubicBezTo>
                <a:cubicBezTo>
                  <a:pt x="6" y="3"/>
                  <a:pt x="6" y="3"/>
                  <a:pt x="6" y="3"/>
                </a:cubicBezTo>
                <a:cubicBezTo>
                  <a:pt x="5" y="3"/>
                  <a:pt x="5" y="3"/>
                  <a:pt x="5" y="3"/>
                </a:cubicBezTo>
                <a:cubicBezTo>
                  <a:pt x="4" y="3"/>
                  <a:pt x="4" y="3"/>
                  <a:pt x="4" y="3"/>
                </a:cubicBezTo>
                <a:cubicBezTo>
                  <a:pt x="4" y="2"/>
                  <a:pt x="4" y="2"/>
                  <a:pt x="3" y="2"/>
                </a:cubicBezTo>
                <a:cubicBezTo>
                  <a:pt x="3" y="2"/>
                  <a:pt x="3" y="2"/>
                  <a:pt x="2"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8" name="Freeform 2995">
            <a:extLst>
              <a:ext uri="{FF2B5EF4-FFF2-40B4-BE49-F238E27FC236}">
                <a16:creationId xmlns:a16="http://schemas.microsoft.com/office/drawing/2014/main" id="{F935CBD3-C206-4A41-93B4-B5B05A571765}"/>
              </a:ext>
            </a:extLst>
          </p:cNvPr>
          <p:cNvSpPr>
            <a:spLocks/>
          </p:cNvSpPr>
          <p:nvPr/>
        </p:nvSpPr>
        <p:spPr bwMode="auto">
          <a:xfrm>
            <a:off x="4631920" y="3527083"/>
            <a:ext cx="4460" cy="2968"/>
          </a:xfrm>
          <a:custGeom>
            <a:avLst/>
            <a:gdLst>
              <a:gd name="T0" fmla="*/ 9 w 9"/>
              <a:gd name="T1" fmla="*/ 0 h 5"/>
              <a:gd name="T2" fmla="*/ 0 w 9"/>
              <a:gd name="T3" fmla="*/ 0 h 5"/>
              <a:gd name="T4" fmla="*/ 4 w 9"/>
              <a:gd name="T5" fmla="*/ 2 h 5"/>
              <a:gd name="T6" fmla="*/ 4 w 9"/>
              <a:gd name="T7" fmla="*/ 2 h 5"/>
              <a:gd name="T8" fmla="*/ 7 w 9"/>
              <a:gd name="T9" fmla="*/ 2 h 5"/>
              <a:gd name="T10" fmla="*/ 9 w 9"/>
              <a:gd name="T11" fmla="*/ 5 h 5"/>
              <a:gd name="T12" fmla="*/ 9 w 9"/>
              <a:gd name="T13" fmla="*/ 2 h 5"/>
              <a:gd name="T14" fmla="*/ 9 w 9"/>
              <a:gd name="T15" fmla="*/ 0 h 5"/>
              <a:gd name="T16" fmla="*/ 9 w 9"/>
              <a:gd name="T17" fmla="*/ 0 h 5"/>
              <a:gd name="T18" fmla="*/ 9 w 9"/>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5">
                <a:moveTo>
                  <a:pt x="9" y="0"/>
                </a:moveTo>
                <a:lnTo>
                  <a:pt x="0" y="0"/>
                </a:lnTo>
                <a:lnTo>
                  <a:pt x="4" y="2"/>
                </a:lnTo>
                <a:lnTo>
                  <a:pt x="4" y="2"/>
                </a:lnTo>
                <a:lnTo>
                  <a:pt x="7" y="2"/>
                </a:lnTo>
                <a:lnTo>
                  <a:pt x="9" y="5"/>
                </a:lnTo>
                <a:lnTo>
                  <a:pt x="9" y="2"/>
                </a:lnTo>
                <a:lnTo>
                  <a:pt x="9" y="0"/>
                </a:lnTo>
                <a:lnTo>
                  <a:pt x="9" y="0"/>
                </a:lnTo>
                <a:lnTo>
                  <a:pt x="9" y="0"/>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9" name="Freeform 2996">
            <a:extLst>
              <a:ext uri="{FF2B5EF4-FFF2-40B4-BE49-F238E27FC236}">
                <a16:creationId xmlns:a16="http://schemas.microsoft.com/office/drawing/2014/main" id="{9C3A03E3-D092-40CC-BD33-0E547751EAFC}"/>
              </a:ext>
            </a:extLst>
          </p:cNvPr>
          <p:cNvSpPr>
            <a:spLocks/>
          </p:cNvSpPr>
          <p:nvPr/>
        </p:nvSpPr>
        <p:spPr bwMode="auto">
          <a:xfrm>
            <a:off x="5027873" y="3796575"/>
            <a:ext cx="118439" cy="116938"/>
          </a:xfrm>
          <a:custGeom>
            <a:avLst/>
            <a:gdLst>
              <a:gd name="T0" fmla="*/ 98 w 101"/>
              <a:gd name="T1" fmla="*/ 79 h 83"/>
              <a:gd name="T2" fmla="*/ 98 w 101"/>
              <a:gd name="T3" fmla="*/ 78 h 83"/>
              <a:gd name="T4" fmla="*/ 91 w 101"/>
              <a:gd name="T5" fmla="*/ 75 h 83"/>
              <a:gd name="T6" fmla="*/ 92 w 101"/>
              <a:gd name="T7" fmla="*/ 72 h 83"/>
              <a:gd name="T8" fmla="*/ 86 w 101"/>
              <a:gd name="T9" fmla="*/ 71 h 83"/>
              <a:gd name="T10" fmla="*/ 84 w 101"/>
              <a:gd name="T11" fmla="*/ 69 h 83"/>
              <a:gd name="T12" fmla="*/ 80 w 101"/>
              <a:gd name="T13" fmla="*/ 66 h 83"/>
              <a:gd name="T14" fmla="*/ 74 w 101"/>
              <a:gd name="T15" fmla="*/ 60 h 83"/>
              <a:gd name="T16" fmla="*/ 72 w 101"/>
              <a:gd name="T17" fmla="*/ 57 h 83"/>
              <a:gd name="T18" fmla="*/ 61 w 101"/>
              <a:gd name="T19" fmla="*/ 42 h 83"/>
              <a:gd name="T20" fmla="*/ 70 w 101"/>
              <a:gd name="T21" fmla="*/ 42 h 83"/>
              <a:gd name="T22" fmla="*/ 69 w 101"/>
              <a:gd name="T23" fmla="*/ 37 h 83"/>
              <a:gd name="T24" fmla="*/ 63 w 101"/>
              <a:gd name="T25" fmla="*/ 34 h 83"/>
              <a:gd name="T26" fmla="*/ 52 w 101"/>
              <a:gd name="T27" fmla="*/ 30 h 83"/>
              <a:gd name="T28" fmla="*/ 49 w 101"/>
              <a:gd name="T29" fmla="*/ 27 h 83"/>
              <a:gd name="T30" fmla="*/ 45 w 101"/>
              <a:gd name="T31" fmla="*/ 19 h 83"/>
              <a:gd name="T32" fmla="*/ 36 w 101"/>
              <a:gd name="T33" fmla="*/ 13 h 83"/>
              <a:gd name="T34" fmla="*/ 1 w 101"/>
              <a:gd name="T35" fmla="*/ 0 h 83"/>
              <a:gd name="T36" fmla="*/ 1 w 101"/>
              <a:gd name="T37" fmla="*/ 23 h 83"/>
              <a:gd name="T38" fmla="*/ 1 w 101"/>
              <a:gd name="T39" fmla="*/ 26 h 83"/>
              <a:gd name="T40" fmla="*/ 1 w 101"/>
              <a:gd name="T41" fmla="*/ 33 h 83"/>
              <a:gd name="T42" fmla="*/ 1 w 101"/>
              <a:gd name="T43" fmla="*/ 43 h 83"/>
              <a:gd name="T44" fmla="*/ 1 w 101"/>
              <a:gd name="T45" fmla="*/ 68 h 83"/>
              <a:gd name="T46" fmla="*/ 17 w 101"/>
              <a:gd name="T47" fmla="*/ 69 h 83"/>
              <a:gd name="T48" fmla="*/ 24 w 101"/>
              <a:gd name="T49" fmla="*/ 66 h 83"/>
              <a:gd name="T50" fmla="*/ 19 w 101"/>
              <a:gd name="T51" fmla="*/ 60 h 83"/>
              <a:gd name="T52" fmla="*/ 15 w 101"/>
              <a:gd name="T53" fmla="*/ 59 h 83"/>
              <a:gd name="T54" fmla="*/ 22 w 101"/>
              <a:gd name="T55" fmla="*/ 58 h 83"/>
              <a:gd name="T56" fmla="*/ 26 w 101"/>
              <a:gd name="T57" fmla="*/ 56 h 83"/>
              <a:gd name="T58" fmla="*/ 25 w 101"/>
              <a:gd name="T59" fmla="*/ 55 h 83"/>
              <a:gd name="T60" fmla="*/ 28 w 101"/>
              <a:gd name="T61" fmla="*/ 55 h 83"/>
              <a:gd name="T62" fmla="*/ 30 w 101"/>
              <a:gd name="T63" fmla="*/ 55 h 83"/>
              <a:gd name="T64" fmla="*/ 29 w 101"/>
              <a:gd name="T65" fmla="*/ 51 h 83"/>
              <a:gd name="T66" fmla="*/ 34 w 101"/>
              <a:gd name="T67" fmla="*/ 51 h 83"/>
              <a:gd name="T68" fmla="*/ 34 w 101"/>
              <a:gd name="T69" fmla="*/ 53 h 83"/>
              <a:gd name="T70" fmla="*/ 35 w 101"/>
              <a:gd name="T71" fmla="*/ 50 h 83"/>
              <a:gd name="T72" fmla="*/ 36 w 101"/>
              <a:gd name="T73" fmla="*/ 50 h 83"/>
              <a:gd name="T74" fmla="*/ 39 w 101"/>
              <a:gd name="T75" fmla="*/ 53 h 83"/>
              <a:gd name="T76" fmla="*/ 49 w 101"/>
              <a:gd name="T77" fmla="*/ 55 h 83"/>
              <a:gd name="T78" fmla="*/ 53 w 101"/>
              <a:gd name="T79" fmla="*/ 58 h 83"/>
              <a:gd name="T80" fmla="*/ 57 w 101"/>
              <a:gd name="T81" fmla="*/ 64 h 83"/>
              <a:gd name="T82" fmla="*/ 61 w 101"/>
              <a:gd name="T83" fmla="*/ 66 h 83"/>
              <a:gd name="T84" fmla="*/ 63 w 101"/>
              <a:gd name="T85" fmla="*/ 71 h 83"/>
              <a:gd name="T86" fmla="*/ 70 w 101"/>
              <a:gd name="T87" fmla="*/ 77 h 83"/>
              <a:gd name="T88" fmla="*/ 76 w 101"/>
              <a:gd name="T89" fmla="*/ 78 h 83"/>
              <a:gd name="T90" fmla="*/ 80 w 101"/>
              <a:gd name="T91" fmla="*/ 78 h 83"/>
              <a:gd name="T92" fmla="*/ 93 w 101"/>
              <a:gd name="T93" fmla="*/ 82 h 83"/>
              <a:gd name="T94" fmla="*/ 98 w 101"/>
              <a:gd name="T95" fmla="*/ 8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1" h="83">
                <a:moveTo>
                  <a:pt x="96" y="79"/>
                </a:moveTo>
                <a:cubicBezTo>
                  <a:pt x="96" y="79"/>
                  <a:pt x="97" y="79"/>
                  <a:pt x="98" y="79"/>
                </a:cubicBezTo>
                <a:cubicBezTo>
                  <a:pt x="99" y="79"/>
                  <a:pt x="100" y="79"/>
                  <a:pt x="101" y="78"/>
                </a:cubicBezTo>
                <a:cubicBezTo>
                  <a:pt x="100" y="79"/>
                  <a:pt x="99" y="78"/>
                  <a:pt x="98" y="78"/>
                </a:cubicBezTo>
                <a:cubicBezTo>
                  <a:pt x="97" y="78"/>
                  <a:pt x="96" y="78"/>
                  <a:pt x="95" y="78"/>
                </a:cubicBezTo>
                <a:cubicBezTo>
                  <a:pt x="94" y="77"/>
                  <a:pt x="92" y="76"/>
                  <a:pt x="91" y="75"/>
                </a:cubicBezTo>
                <a:cubicBezTo>
                  <a:pt x="89" y="74"/>
                  <a:pt x="89" y="74"/>
                  <a:pt x="90" y="74"/>
                </a:cubicBezTo>
                <a:cubicBezTo>
                  <a:pt x="91" y="73"/>
                  <a:pt x="92" y="74"/>
                  <a:pt x="92" y="72"/>
                </a:cubicBezTo>
                <a:cubicBezTo>
                  <a:pt x="92" y="72"/>
                  <a:pt x="91" y="72"/>
                  <a:pt x="91" y="72"/>
                </a:cubicBezTo>
                <a:cubicBezTo>
                  <a:pt x="89" y="72"/>
                  <a:pt x="87" y="72"/>
                  <a:pt x="86" y="71"/>
                </a:cubicBezTo>
                <a:cubicBezTo>
                  <a:pt x="85" y="71"/>
                  <a:pt x="84" y="70"/>
                  <a:pt x="84" y="69"/>
                </a:cubicBezTo>
                <a:cubicBezTo>
                  <a:pt x="84" y="69"/>
                  <a:pt x="84" y="69"/>
                  <a:pt x="84" y="69"/>
                </a:cubicBezTo>
                <a:cubicBezTo>
                  <a:pt x="84" y="68"/>
                  <a:pt x="85" y="66"/>
                  <a:pt x="85" y="66"/>
                </a:cubicBezTo>
                <a:cubicBezTo>
                  <a:pt x="84" y="65"/>
                  <a:pt x="81" y="66"/>
                  <a:pt x="80" y="66"/>
                </a:cubicBezTo>
                <a:cubicBezTo>
                  <a:pt x="78" y="67"/>
                  <a:pt x="78" y="66"/>
                  <a:pt x="77" y="64"/>
                </a:cubicBezTo>
                <a:cubicBezTo>
                  <a:pt x="76" y="63"/>
                  <a:pt x="74" y="62"/>
                  <a:pt x="74" y="60"/>
                </a:cubicBezTo>
                <a:cubicBezTo>
                  <a:pt x="74" y="60"/>
                  <a:pt x="74" y="60"/>
                  <a:pt x="74" y="60"/>
                </a:cubicBezTo>
                <a:cubicBezTo>
                  <a:pt x="74" y="59"/>
                  <a:pt x="73" y="58"/>
                  <a:pt x="72" y="57"/>
                </a:cubicBezTo>
                <a:cubicBezTo>
                  <a:pt x="70" y="53"/>
                  <a:pt x="64" y="52"/>
                  <a:pt x="63" y="48"/>
                </a:cubicBezTo>
                <a:cubicBezTo>
                  <a:pt x="62" y="47"/>
                  <a:pt x="60" y="44"/>
                  <a:pt x="61" y="42"/>
                </a:cubicBezTo>
                <a:cubicBezTo>
                  <a:pt x="63" y="42"/>
                  <a:pt x="65" y="43"/>
                  <a:pt x="67" y="42"/>
                </a:cubicBezTo>
                <a:cubicBezTo>
                  <a:pt x="68" y="42"/>
                  <a:pt x="69" y="42"/>
                  <a:pt x="70" y="42"/>
                </a:cubicBezTo>
                <a:cubicBezTo>
                  <a:pt x="70" y="41"/>
                  <a:pt x="70" y="39"/>
                  <a:pt x="70" y="38"/>
                </a:cubicBezTo>
                <a:cubicBezTo>
                  <a:pt x="70" y="38"/>
                  <a:pt x="69" y="37"/>
                  <a:pt x="69" y="37"/>
                </a:cubicBezTo>
                <a:cubicBezTo>
                  <a:pt x="68" y="36"/>
                  <a:pt x="67" y="35"/>
                  <a:pt x="65" y="34"/>
                </a:cubicBezTo>
                <a:cubicBezTo>
                  <a:pt x="64" y="34"/>
                  <a:pt x="64" y="34"/>
                  <a:pt x="63" y="34"/>
                </a:cubicBezTo>
                <a:cubicBezTo>
                  <a:pt x="60" y="34"/>
                  <a:pt x="59" y="32"/>
                  <a:pt x="56" y="31"/>
                </a:cubicBezTo>
                <a:cubicBezTo>
                  <a:pt x="55" y="31"/>
                  <a:pt x="53" y="30"/>
                  <a:pt x="52" y="30"/>
                </a:cubicBezTo>
                <a:cubicBezTo>
                  <a:pt x="51" y="30"/>
                  <a:pt x="49" y="30"/>
                  <a:pt x="49" y="29"/>
                </a:cubicBezTo>
                <a:cubicBezTo>
                  <a:pt x="48" y="28"/>
                  <a:pt x="49" y="28"/>
                  <a:pt x="49" y="27"/>
                </a:cubicBezTo>
                <a:cubicBezTo>
                  <a:pt x="49" y="26"/>
                  <a:pt x="49" y="25"/>
                  <a:pt x="49" y="25"/>
                </a:cubicBezTo>
                <a:cubicBezTo>
                  <a:pt x="48" y="23"/>
                  <a:pt x="46" y="21"/>
                  <a:pt x="45" y="19"/>
                </a:cubicBezTo>
                <a:cubicBezTo>
                  <a:pt x="44" y="18"/>
                  <a:pt x="44" y="19"/>
                  <a:pt x="43" y="18"/>
                </a:cubicBezTo>
                <a:cubicBezTo>
                  <a:pt x="40" y="17"/>
                  <a:pt x="37" y="15"/>
                  <a:pt x="36" y="13"/>
                </a:cubicBezTo>
                <a:cubicBezTo>
                  <a:pt x="36" y="12"/>
                  <a:pt x="35" y="12"/>
                  <a:pt x="35" y="12"/>
                </a:cubicBezTo>
                <a:cubicBezTo>
                  <a:pt x="23" y="8"/>
                  <a:pt x="12" y="4"/>
                  <a:pt x="1" y="0"/>
                </a:cubicBezTo>
                <a:cubicBezTo>
                  <a:pt x="1" y="3"/>
                  <a:pt x="1" y="6"/>
                  <a:pt x="1" y="9"/>
                </a:cubicBezTo>
                <a:cubicBezTo>
                  <a:pt x="1" y="13"/>
                  <a:pt x="1" y="18"/>
                  <a:pt x="1" y="23"/>
                </a:cubicBezTo>
                <a:cubicBezTo>
                  <a:pt x="1" y="25"/>
                  <a:pt x="1" y="25"/>
                  <a:pt x="1" y="25"/>
                </a:cubicBezTo>
                <a:cubicBezTo>
                  <a:pt x="1" y="25"/>
                  <a:pt x="1" y="26"/>
                  <a:pt x="1" y="26"/>
                </a:cubicBezTo>
                <a:cubicBezTo>
                  <a:pt x="1" y="27"/>
                  <a:pt x="1" y="27"/>
                  <a:pt x="1" y="27"/>
                </a:cubicBezTo>
                <a:cubicBezTo>
                  <a:pt x="1" y="29"/>
                  <a:pt x="1" y="31"/>
                  <a:pt x="1" y="33"/>
                </a:cubicBezTo>
                <a:cubicBezTo>
                  <a:pt x="0" y="42"/>
                  <a:pt x="0" y="42"/>
                  <a:pt x="0" y="42"/>
                </a:cubicBezTo>
                <a:cubicBezTo>
                  <a:pt x="1" y="43"/>
                  <a:pt x="1" y="43"/>
                  <a:pt x="1" y="43"/>
                </a:cubicBezTo>
                <a:cubicBezTo>
                  <a:pt x="1" y="43"/>
                  <a:pt x="1" y="44"/>
                  <a:pt x="1" y="44"/>
                </a:cubicBezTo>
                <a:cubicBezTo>
                  <a:pt x="1" y="68"/>
                  <a:pt x="1" y="68"/>
                  <a:pt x="1" y="68"/>
                </a:cubicBezTo>
                <a:cubicBezTo>
                  <a:pt x="4" y="68"/>
                  <a:pt x="12" y="67"/>
                  <a:pt x="13" y="67"/>
                </a:cubicBezTo>
                <a:cubicBezTo>
                  <a:pt x="14" y="68"/>
                  <a:pt x="16" y="68"/>
                  <a:pt x="17" y="69"/>
                </a:cubicBezTo>
                <a:cubicBezTo>
                  <a:pt x="18" y="69"/>
                  <a:pt x="20" y="67"/>
                  <a:pt x="21" y="67"/>
                </a:cubicBezTo>
                <a:cubicBezTo>
                  <a:pt x="22" y="67"/>
                  <a:pt x="24" y="66"/>
                  <a:pt x="24" y="66"/>
                </a:cubicBezTo>
                <a:cubicBezTo>
                  <a:pt x="25" y="65"/>
                  <a:pt x="24" y="63"/>
                  <a:pt x="24" y="62"/>
                </a:cubicBezTo>
                <a:cubicBezTo>
                  <a:pt x="23" y="60"/>
                  <a:pt x="21" y="60"/>
                  <a:pt x="19" y="60"/>
                </a:cubicBezTo>
                <a:cubicBezTo>
                  <a:pt x="19" y="59"/>
                  <a:pt x="18" y="59"/>
                  <a:pt x="17" y="59"/>
                </a:cubicBezTo>
                <a:cubicBezTo>
                  <a:pt x="16" y="58"/>
                  <a:pt x="15" y="60"/>
                  <a:pt x="15" y="59"/>
                </a:cubicBezTo>
                <a:cubicBezTo>
                  <a:pt x="16" y="59"/>
                  <a:pt x="18" y="58"/>
                  <a:pt x="19" y="58"/>
                </a:cubicBezTo>
                <a:cubicBezTo>
                  <a:pt x="20" y="59"/>
                  <a:pt x="20" y="59"/>
                  <a:pt x="22" y="58"/>
                </a:cubicBezTo>
                <a:cubicBezTo>
                  <a:pt x="22" y="58"/>
                  <a:pt x="23" y="58"/>
                  <a:pt x="24" y="58"/>
                </a:cubicBezTo>
                <a:cubicBezTo>
                  <a:pt x="26" y="58"/>
                  <a:pt x="28" y="58"/>
                  <a:pt x="26" y="56"/>
                </a:cubicBezTo>
                <a:cubicBezTo>
                  <a:pt x="26" y="56"/>
                  <a:pt x="25" y="55"/>
                  <a:pt x="24" y="54"/>
                </a:cubicBezTo>
                <a:cubicBezTo>
                  <a:pt x="25" y="54"/>
                  <a:pt x="25" y="55"/>
                  <a:pt x="25" y="55"/>
                </a:cubicBezTo>
                <a:cubicBezTo>
                  <a:pt x="26" y="55"/>
                  <a:pt x="26" y="55"/>
                  <a:pt x="27" y="55"/>
                </a:cubicBezTo>
                <a:cubicBezTo>
                  <a:pt x="27" y="55"/>
                  <a:pt x="28" y="55"/>
                  <a:pt x="28" y="55"/>
                </a:cubicBezTo>
                <a:cubicBezTo>
                  <a:pt x="29" y="56"/>
                  <a:pt x="30" y="55"/>
                  <a:pt x="29" y="55"/>
                </a:cubicBezTo>
                <a:cubicBezTo>
                  <a:pt x="30" y="55"/>
                  <a:pt x="30" y="55"/>
                  <a:pt x="30" y="55"/>
                </a:cubicBezTo>
                <a:cubicBezTo>
                  <a:pt x="29" y="53"/>
                  <a:pt x="28" y="51"/>
                  <a:pt x="27" y="50"/>
                </a:cubicBezTo>
                <a:cubicBezTo>
                  <a:pt x="28" y="50"/>
                  <a:pt x="28" y="50"/>
                  <a:pt x="29" y="51"/>
                </a:cubicBezTo>
                <a:cubicBezTo>
                  <a:pt x="29" y="51"/>
                  <a:pt x="29" y="52"/>
                  <a:pt x="30" y="52"/>
                </a:cubicBezTo>
                <a:cubicBezTo>
                  <a:pt x="31" y="53"/>
                  <a:pt x="32" y="51"/>
                  <a:pt x="34" y="51"/>
                </a:cubicBezTo>
                <a:cubicBezTo>
                  <a:pt x="34" y="52"/>
                  <a:pt x="34" y="52"/>
                  <a:pt x="34" y="52"/>
                </a:cubicBezTo>
                <a:cubicBezTo>
                  <a:pt x="34" y="52"/>
                  <a:pt x="34" y="52"/>
                  <a:pt x="34" y="53"/>
                </a:cubicBezTo>
                <a:cubicBezTo>
                  <a:pt x="35" y="53"/>
                  <a:pt x="35" y="53"/>
                  <a:pt x="36" y="53"/>
                </a:cubicBezTo>
                <a:cubicBezTo>
                  <a:pt x="35" y="52"/>
                  <a:pt x="35" y="51"/>
                  <a:pt x="35" y="50"/>
                </a:cubicBezTo>
                <a:cubicBezTo>
                  <a:pt x="35" y="51"/>
                  <a:pt x="36" y="51"/>
                  <a:pt x="36" y="52"/>
                </a:cubicBezTo>
                <a:cubicBezTo>
                  <a:pt x="36" y="51"/>
                  <a:pt x="36" y="51"/>
                  <a:pt x="36" y="50"/>
                </a:cubicBezTo>
                <a:cubicBezTo>
                  <a:pt x="36" y="52"/>
                  <a:pt x="38" y="51"/>
                  <a:pt x="39" y="51"/>
                </a:cubicBezTo>
                <a:cubicBezTo>
                  <a:pt x="40" y="51"/>
                  <a:pt x="39" y="52"/>
                  <a:pt x="39" y="53"/>
                </a:cubicBezTo>
                <a:cubicBezTo>
                  <a:pt x="40" y="53"/>
                  <a:pt x="41" y="53"/>
                  <a:pt x="42" y="53"/>
                </a:cubicBezTo>
                <a:cubicBezTo>
                  <a:pt x="44" y="54"/>
                  <a:pt x="47" y="54"/>
                  <a:pt x="49" y="55"/>
                </a:cubicBezTo>
                <a:cubicBezTo>
                  <a:pt x="48" y="56"/>
                  <a:pt x="51" y="56"/>
                  <a:pt x="52" y="56"/>
                </a:cubicBezTo>
                <a:cubicBezTo>
                  <a:pt x="52" y="57"/>
                  <a:pt x="52" y="57"/>
                  <a:pt x="53" y="58"/>
                </a:cubicBezTo>
                <a:cubicBezTo>
                  <a:pt x="54" y="58"/>
                  <a:pt x="54" y="59"/>
                  <a:pt x="54" y="60"/>
                </a:cubicBezTo>
                <a:cubicBezTo>
                  <a:pt x="55" y="61"/>
                  <a:pt x="56" y="62"/>
                  <a:pt x="57" y="64"/>
                </a:cubicBezTo>
                <a:cubicBezTo>
                  <a:pt x="58" y="65"/>
                  <a:pt x="57" y="65"/>
                  <a:pt x="58" y="66"/>
                </a:cubicBezTo>
                <a:cubicBezTo>
                  <a:pt x="59" y="67"/>
                  <a:pt x="60" y="67"/>
                  <a:pt x="61" y="66"/>
                </a:cubicBezTo>
                <a:cubicBezTo>
                  <a:pt x="61" y="66"/>
                  <a:pt x="61" y="67"/>
                  <a:pt x="61" y="67"/>
                </a:cubicBezTo>
                <a:cubicBezTo>
                  <a:pt x="61" y="68"/>
                  <a:pt x="62" y="70"/>
                  <a:pt x="63" y="71"/>
                </a:cubicBezTo>
                <a:cubicBezTo>
                  <a:pt x="64" y="71"/>
                  <a:pt x="64" y="71"/>
                  <a:pt x="65" y="72"/>
                </a:cubicBezTo>
                <a:cubicBezTo>
                  <a:pt x="67" y="74"/>
                  <a:pt x="68" y="76"/>
                  <a:pt x="70" y="77"/>
                </a:cubicBezTo>
                <a:cubicBezTo>
                  <a:pt x="71" y="77"/>
                  <a:pt x="71" y="77"/>
                  <a:pt x="72" y="77"/>
                </a:cubicBezTo>
                <a:cubicBezTo>
                  <a:pt x="73" y="77"/>
                  <a:pt x="74" y="78"/>
                  <a:pt x="76" y="78"/>
                </a:cubicBezTo>
                <a:cubicBezTo>
                  <a:pt x="76" y="78"/>
                  <a:pt x="77" y="78"/>
                  <a:pt x="77" y="78"/>
                </a:cubicBezTo>
                <a:cubicBezTo>
                  <a:pt x="78" y="78"/>
                  <a:pt x="79" y="78"/>
                  <a:pt x="80" y="78"/>
                </a:cubicBezTo>
                <a:cubicBezTo>
                  <a:pt x="81" y="79"/>
                  <a:pt x="81" y="78"/>
                  <a:pt x="82" y="78"/>
                </a:cubicBezTo>
                <a:cubicBezTo>
                  <a:pt x="85" y="78"/>
                  <a:pt x="91" y="79"/>
                  <a:pt x="93" y="82"/>
                </a:cubicBezTo>
                <a:cubicBezTo>
                  <a:pt x="94" y="83"/>
                  <a:pt x="94" y="83"/>
                  <a:pt x="95" y="83"/>
                </a:cubicBezTo>
                <a:cubicBezTo>
                  <a:pt x="96" y="83"/>
                  <a:pt x="98" y="82"/>
                  <a:pt x="98" y="82"/>
                </a:cubicBezTo>
                <a:cubicBezTo>
                  <a:pt x="98" y="81"/>
                  <a:pt x="97" y="80"/>
                  <a:pt x="96" y="79"/>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0" name="Freeform 2997">
            <a:extLst>
              <a:ext uri="{FF2B5EF4-FFF2-40B4-BE49-F238E27FC236}">
                <a16:creationId xmlns:a16="http://schemas.microsoft.com/office/drawing/2014/main" id="{36A1097E-B8B3-435A-B7A1-2FEEE0BFD0F8}"/>
              </a:ext>
            </a:extLst>
          </p:cNvPr>
          <p:cNvSpPr>
            <a:spLocks/>
          </p:cNvSpPr>
          <p:nvPr/>
        </p:nvSpPr>
        <p:spPr bwMode="auto">
          <a:xfrm>
            <a:off x="4906956" y="3764521"/>
            <a:ext cx="119430" cy="124655"/>
          </a:xfrm>
          <a:custGeom>
            <a:avLst/>
            <a:gdLst>
              <a:gd name="T0" fmla="*/ 101 w 102"/>
              <a:gd name="T1" fmla="*/ 67 h 89"/>
              <a:gd name="T2" fmla="*/ 102 w 102"/>
              <a:gd name="T3" fmla="*/ 50 h 89"/>
              <a:gd name="T4" fmla="*/ 102 w 102"/>
              <a:gd name="T5" fmla="*/ 46 h 89"/>
              <a:gd name="T6" fmla="*/ 100 w 102"/>
              <a:gd name="T7" fmla="*/ 23 h 89"/>
              <a:gd name="T8" fmla="*/ 91 w 102"/>
              <a:gd name="T9" fmla="*/ 21 h 89"/>
              <a:gd name="T10" fmla="*/ 72 w 102"/>
              <a:gd name="T11" fmla="*/ 12 h 89"/>
              <a:gd name="T12" fmla="*/ 64 w 102"/>
              <a:gd name="T13" fmla="*/ 15 h 89"/>
              <a:gd name="T14" fmla="*/ 62 w 102"/>
              <a:gd name="T15" fmla="*/ 18 h 89"/>
              <a:gd name="T16" fmla="*/ 55 w 102"/>
              <a:gd name="T17" fmla="*/ 21 h 89"/>
              <a:gd name="T18" fmla="*/ 50 w 102"/>
              <a:gd name="T19" fmla="*/ 28 h 89"/>
              <a:gd name="T20" fmla="*/ 47 w 102"/>
              <a:gd name="T21" fmla="*/ 30 h 89"/>
              <a:gd name="T22" fmla="*/ 38 w 102"/>
              <a:gd name="T23" fmla="*/ 25 h 89"/>
              <a:gd name="T24" fmla="*/ 37 w 102"/>
              <a:gd name="T25" fmla="*/ 25 h 89"/>
              <a:gd name="T26" fmla="*/ 33 w 102"/>
              <a:gd name="T27" fmla="*/ 14 h 89"/>
              <a:gd name="T28" fmla="*/ 34 w 102"/>
              <a:gd name="T29" fmla="*/ 10 h 89"/>
              <a:gd name="T30" fmla="*/ 25 w 102"/>
              <a:gd name="T31" fmla="*/ 3 h 89"/>
              <a:gd name="T32" fmla="*/ 10 w 102"/>
              <a:gd name="T33" fmla="*/ 3 h 89"/>
              <a:gd name="T34" fmla="*/ 4 w 102"/>
              <a:gd name="T35" fmla="*/ 6 h 89"/>
              <a:gd name="T36" fmla="*/ 11 w 102"/>
              <a:gd name="T37" fmla="*/ 12 h 89"/>
              <a:gd name="T38" fmla="*/ 14 w 102"/>
              <a:gd name="T39" fmla="*/ 19 h 89"/>
              <a:gd name="T40" fmla="*/ 19 w 102"/>
              <a:gd name="T41" fmla="*/ 19 h 89"/>
              <a:gd name="T42" fmla="*/ 27 w 102"/>
              <a:gd name="T43" fmla="*/ 19 h 89"/>
              <a:gd name="T44" fmla="*/ 30 w 102"/>
              <a:gd name="T45" fmla="*/ 20 h 89"/>
              <a:gd name="T46" fmla="*/ 31 w 102"/>
              <a:gd name="T47" fmla="*/ 21 h 89"/>
              <a:gd name="T48" fmla="*/ 29 w 102"/>
              <a:gd name="T49" fmla="*/ 22 h 89"/>
              <a:gd name="T50" fmla="*/ 26 w 102"/>
              <a:gd name="T51" fmla="*/ 22 h 89"/>
              <a:gd name="T52" fmla="*/ 24 w 102"/>
              <a:gd name="T53" fmla="*/ 21 h 89"/>
              <a:gd name="T54" fmla="*/ 17 w 102"/>
              <a:gd name="T55" fmla="*/ 24 h 89"/>
              <a:gd name="T56" fmla="*/ 13 w 102"/>
              <a:gd name="T57" fmla="*/ 24 h 89"/>
              <a:gd name="T58" fmla="*/ 19 w 102"/>
              <a:gd name="T59" fmla="*/ 30 h 89"/>
              <a:gd name="T60" fmla="*/ 19 w 102"/>
              <a:gd name="T61" fmla="*/ 33 h 89"/>
              <a:gd name="T62" fmla="*/ 22 w 102"/>
              <a:gd name="T63" fmla="*/ 38 h 89"/>
              <a:gd name="T64" fmla="*/ 30 w 102"/>
              <a:gd name="T65" fmla="*/ 27 h 89"/>
              <a:gd name="T66" fmla="*/ 28 w 102"/>
              <a:gd name="T67" fmla="*/ 31 h 89"/>
              <a:gd name="T68" fmla="*/ 32 w 102"/>
              <a:gd name="T69" fmla="*/ 36 h 89"/>
              <a:gd name="T70" fmla="*/ 35 w 102"/>
              <a:gd name="T71" fmla="*/ 36 h 89"/>
              <a:gd name="T72" fmla="*/ 41 w 102"/>
              <a:gd name="T73" fmla="*/ 37 h 89"/>
              <a:gd name="T74" fmla="*/ 66 w 102"/>
              <a:gd name="T75" fmla="*/ 48 h 89"/>
              <a:gd name="T76" fmla="*/ 73 w 102"/>
              <a:gd name="T77" fmla="*/ 52 h 89"/>
              <a:gd name="T78" fmla="*/ 74 w 102"/>
              <a:gd name="T79" fmla="*/ 55 h 89"/>
              <a:gd name="T80" fmla="*/ 81 w 102"/>
              <a:gd name="T81" fmla="*/ 65 h 89"/>
              <a:gd name="T82" fmla="*/ 80 w 102"/>
              <a:gd name="T83" fmla="*/ 67 h 89"/>
              <a:gd name="T84" fmla="*/ 85 w 102"/>
              <a:gd name="T85" fmla="*/ 70 h 89"/>
              <a:gd name="T86" fmla="*/ 81 w 102"/>
              <a:gd name="T87" fmla="*/ 72 h 89"/>
              <a:gd name="T88" fmla="*/ 83 w 102"/>
              <a:gd name="T89" fmla="*/ 77 h 89"/>
              <a:gd name="T90" fmla="*/ 81 w 102"/>
              <a:gd name="T91" fmla="*/ 80 h 89"/>
              <a:gd name="T92" fmla="*/ 85 w 102"/>
              <a:gd name="T93" fmla="*/ 79 h 89"/>
              <a:gd name="T94" fmla="*/ 90 w 102"/>
              <a:gd name="T95" fmla="*/ 80 h 89"/>
              <a:gd name="T96" fmla="*/ 94 w 102"/>
              <a:gd name="T97" fmla="*/ 79 h 89"/>
              <a:gd name="T98" fmla="*/ 102 w 102"/>
              <a:gd name="T99"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2" h="89">
                <a:moveTo>
                  <a:pt x="102" y="68"/>
                </a:moveTo>
                <a:cubicBezTo>
                  <a:pt x="102" y="67"/>
                  <a:pt x="102" y="67"/>
                  <a:pt x="102" y="67"/>
                </a:cubicBezTo>
                <a:cubicBezTo>
                  <a:pt x="101" y="67"/>
                  <a:pt x="101" y="67"/>
                  <a:pt x="101" y="67"/>
                </a:cubicBezTo>
                <a:cubicBezTo>
                  <a:pt x="101" y="67"/>
                  <a:pt x="101" y="66"/>
                  <a:pt x="101" y="66"/>
                </a:cubicBezTo>
                <a:cubicBezTo>
                  <a:pt x="102" y="56"/>
                  <a:pt x="102" y="56"/>
                  <a:pt x="102" y="56"/>
                </a:cubicBezTo>
                <a:cubicBezTo>
                  <a:pt x="102" y="54"/>
                  <a:pt x="102" y="52"/>
                  <a:pt x="102" y="50"/>
                </a:cubicBezTo>
                <a:cubicBezTo>
                  <a:pt x="102" y="49"/>
                  <a:pt x="102" y="49"/>
                  <a:pt x="102" y="49"/>
                </a:cubicBezTo>
                <a:cubicBezTo>
                  <a:pt x="102" y="48"/>
                  <a:pt x="102" y="48"/>
                  <a:pt x="102" y="48"/>
                </a:cubicBezTo>
                <a:cubicBezTo>
                  <a:pt x="102" y="46"/>
                  <a:pt x="102" y="46"/>
                  <a:pt x="102" y="46"/>
                </a:cubicBezTo>
                <a:cubicBezTo>
                  <a:pt x="102" y="41"/>
                  <a:pt x="102" y="36"/>
                  <a:pt x="102" y="32"/>
                </a:cubicBezTo>
                <a:cubicBezTo>
                  <a:pt x="102" y="29"/>
                  <a:pt x="102" y="26"/>
                  <a:pt x="102" y="23"/>
                </a:cubicBezTo>
                <a:cubicBezTo>
                  <a:pt x="101" y="23"/>
                  <a:pt x="101" y="23"/>
                  <a:pt x="100" y="23"/>
                </a:cubicBezTo>
                <a:cubicBezTo>
                  <a:pt x="100" y="23"/>
                  <a:pt x="100" y="22"/>
                  <a:pt x="99" y="22"/>
                </a:cubicBezTo>
                <a:cubicBezTo>
                  <a:pt x="98" y="21"/>
                  <a:pt x="96" y="21"/>
                  <a:pt x="95" y="21"/>
                </a:cubicBezTo>
                <a:cubicBezTo>
                  <a:pt x="94" y="20"/>
                  <a:pt x="92" y="21"/>
                  <a:pt x="91" y="21"/>
                </a:cubicBezTo>
                <a:cubicBezTo>
                  <a:pt x="90" y="20"/>
                  <a:pt x="89" y="20"/>
                  <a:pt x="88" y="19"/>
                </a:cubicBezTo>
                <a:cubicBezTo>
                  <a:pt x="85" y="18"/>
                  <a:pt x="83" y="17"/>
                  <a:pt x="80" y="15"/>
                </a:cubicBezTo>
                <a:cubicBezTo>
                  <a:pt x="77" y="14"/>
                  <a:pt x="75" y="13"/>
                  <a:pt x="72" y="12"/>
                </a:cubicBezTo>
                <a:cubicBezTo>
                  <a:pt x="71" y="11"/>
                  <a:pt x="70" y="12"/>
                  <a:pt x="69" y="12"/>
                </a:cubicBezTo>
                <a:cubicBezTo>
                  <a:pt x="67" y="13"/>
                  <a:pt x="67" y="13"/>
                  <a:pt x="65" y="14"/>
                </a:cubicBezTo>
                <a:cubicBezTo>
                  <a:pt x="65" y="14"/>
                  <a:pt x="64" y="14"/>
                  <a:pt x="64" y="15"/>
                </a:cubicBezTo>
                <a:cubicBezTo>
                  <a:pt x="64" y="16"/>
                  <a:pt x="64" y="16"/>
                  <a:pt x="64" y="17"/>
                </a:cubicBezTo>
                <a:cubicBezTo>
                  <a:pt x="64" y="17"/>
                  <a:pt x="65" y="17"/>
                  <a:pt x="65" y="17"/>
                </a:cubicBezTo>
                <a:cubicBezTo>
                  <a:pt x="64" y="18"/>
                  <a:pt x="63" y="18"/>
                  <a:pt x="62" y="18"/>
                </a:cubicBezTo>
                <a:cubicBezTo>
                  <a:pt x="61" y="19"/>
                  <a:pt x="60" y="20"/>
                  <a:pt x="58" y="19"/>
                </a:cubicBezTo>
                <a:cubicBezTo>
                  <a:pt x="58" y="19"/>
                  <a:pt x="58" y="19"/>
                  <a:pt x="57" y="19"/>
                </a:cubicBezTo>
                <a:cubicBezTo>
                  <a:pt x="56" y="19"/>
                  <a:pt x="55" y="20"/>
                  <a:pt x="55" y="21"/>
                </a:cubicBezTo>
                <a:cubicBezTo>
                  <a:pt x="54" y="23"/>
                  <a:pt x="52" y="24"/>
                  <a:pt x="51" y="26"/>
                </a:cubicBezTo>
                <a:cubicBezTo>
                  <a:pt x="51" y="26"/>
                  <a:pt x="51" y="27"/>
                  <a:pt x="51" y="27"/>
                </a:cubicBezTo>
                <a:cubicBezTo>
                  <a:pt x="51" y="27"/>
                  <a:pt x="50" y="27"/>
                  <a:pt x="50" y="28"/>
                </a:cubicBezTo>
                <a:cubicBezTo>
                  <a:pt x="49" y="28"/>
                  <a:pt x="50" y="28"/>
                  <a:pt x="49" y="28"/>
                </a:cubicBezTo>
                <a:cubicBezTo>
                  <a:pt x="49" y="29"/>
                  <a:pt x="48" y="29"/>
                  <a:pt x="48" y="29"/>
                </a:cubicBezTo>
                <a:cubicBezTo>
                  <a:pt x="48" y="29"/>
                  <a:pt x="48" y="30"/>
                  <a:pt x="47" y="30"/>
                </a:cubicBezTo>
                <a:cubicBezTo>
                  <a:pt x="46" y="31"/>
                  <a:pt x="44" y="31"/>
                  <a:pt x="43" y="31"/>
                </a:cubicBezTo>
                <a:cubicBezTo>
                  <a:pt x="41" y="30"/>
                  <a:pt x="40" y="29"/>
                  <a:pt x="40" y="26"/>
                </a:cubicBezTo>
                <a:cubicBezTo>
                  <a:pt x="39" y="27"/>
                  <a:pt x="39" y="27"/>
                  <a:pt x="38" y="25"/>
                </a:cubicBezTo>
                <a:cubicBezTo>
                  <a:pt x="38" y="25"/>
                  <a:pt x="39" y="23"/>
                  <a:pt x="38" y="22"/>
                </a:cubicBezTo>
                <a:cubicBezTo>
                  <a:pt x="37" y="21"/>
                  <a:pt x="36" y="22"/>
                  <a:pt x="36" y="23"/>
                </a:cubicBezTo>
                <a:cubicBezTo>
                  <a:pt x="37" y="24"/>
                  <a:pt x="37" y="25"/>
                  <a:pt x="37" y="25"/>
                </a:cubicBezTo>
                <a:cubicBezTo>
                  <a:pt x="37" y="26"/>
                  <a:pt x="36" y="25"/>
                  <a:pt x="36" y="25"/>
                </a:cubicBezTo>
                <a:cubicBezTo>
                  <a:pt x="35" y="23"/>
                  <a:pt x="35" y="21"/>
                  <a:pt x="34" y="19"/>
                </a:cubicBezTo>
                <a:cubicBezTo>
                  <a:pt x="33" y="18"/>
                  <a:pt x="33" y="16"/>
                  <a:pt x="33" y="14"/>
                </a:cubicBezTo>
                <a:cubicBezTo>
                  <a:pt x="33" y="13"/>
                  <a:pt x="33" y="14"/>
                  <a:pt x="33" y="13"/>
                </a:cubicBezTo>
                <a:cubicBezTo>
                  <a:pt x="34" y="12"/>
                  <a:pt x="34" y="12"/>
                  <a:pt x="34" y="11"/>
                </a:cubicBezTo>
                <a:cubicBezTo>
                  <a:pt x="34" y="10"/>
                  <a:pt x="34" y="11"/>
                  <a:pt x="34" y="10"/>
                </a:cubicBezTo>
                <a:cubicBezTo>
                  <a:pt x="34" y="9"/>
                  <a:pt x="33" y="8"/>
                  <a:pt x="32" y="7"/>
                </a:cubicBezTo>
                <a:cubicBezTo>
                  <a:pt x="32" y="6"/>
                  <a:pt x="32" y="5"/>
                  <a:pt x="33" y="5"/>
                </a:cubicBezTo>
                <a:cubicBezTo>
                  <a:pt x="31" y="5"/>
                  <a:pt x="27" y="5"/>
                  <a:pt x="25" y="3"/>
                </a:cubicBezTo>
                <a:cubicBezTo>
                  <a:pt x="22" y="2"/>
                  <a:pt x="20" y="0"/>
                  <a:pt x="17" y="0"/>
                </a:cubicBezTo>
                <a:cubicBezTo>
                  <a:pt x="16" y="0"/>
                  <a:pt x="15" y="0"/>
                  <a:pt x="14" y="1"/>
                </a:cubicBezTo>
                <a:cubicBezTo>
                  <a:pt x="12" y="1"/>
                  <a:pt x="11" y="3"/>
                  <a:pt x="10" y="3"/>
                </a:cubicBezTo>
                <a:cubicBezTo>
                  <a:pt x="9" y="4"/>
                  <a:pt x="7" y="4"/>
                  <a:pt x="6" y="4"/>
                </a:cubicBezTo>
                <a:cubicBezTo>
                  <a:pt x="5" y="4"/>
                  <a:pt x="4" y="4"/>
                  <a:pt x="4" y="5"/>
                </a:cubicBezTo>
                <a:cubicBezTo>
                  <a:pt x="3" y="5"/>
                  <a:pt x="4" y="6"/>
                  <a:pt x="4" y="6"/>
                </a:cubicBezTo>
                <a:cubicBezTo>
                  <a:pt x="3" y="8"/>
                  <a:pt x="1" y="10"/>
                  <a:pt x="0" y="11"/>
                </a:cubicBezTo>
                <a:cubicBezTo>
                  <a:pt x="3" y="11"/>
                  <a:pt x="5" y="11"/>
                  <a:pt x="8" y="12"/>
                </a:cubicBezTo>
                <a:cubicBezTo>
                  <a:pt x="9" y="12"/>
                  <a:pt x="10" y="12"/>
                  <a:pt x="11" y="12"/>
                </a:cubicBezTo>
                <a:cubicBezTo>
                  <a:pt x="10" y="13"/>
                  <a:pt x="10" y="13"/>
                  <a:pt x="10" y="14"/>
                </a:cubicBezTo>
                <a:cubicBezTo>
                  <a:pt x="11" y="15"/>
                  <a:pt x="10" y="15"/>
                  <a:pt x="11" y="15"/>
                </a:cubicBezTo>
                <a:cubicBezTo>
                  <a:pt x="11" y="17"/>
                  <a:pt x="12" y="18"/>
                  <a:pt x="14" y="19"/>
                </a:cubicBezTo>
                <a:cubicBezTo>
                  <a:pt x="14" y="20"/>
                  <a:pt x="14" y="19"/>
                  <a:pt x="15" y="19"/>
                </a:cubicBezTo>
                <a:cubicBezTo>
                  <a:pt x="15" y="19"/>
                  <a:pt x="16" y="19"/>
                  <a:pt x="17" y="19"/>
                </a:cubicBezTo>
                <a:cubicBezTo>
                  <a:pt x="17" y="19"/>
                  <a:pt x="18" y="19"/>
                  <a:pt x="19" y="19"/>
                </a:cubicBezTo>
                <a:cubicBezTo>
                  <a:pt x="20" y="19"/>
                  <a:pt x="20" y="20"/>
                  <a:pt x="21" y="20"/>
                </a:cubicBezTo>
                <a:cubicBezTo>
                  <a:pt x="22" y="20"/>
                  <a:pt x="23" y="19"/>
                  <a:pt x="24" y="19"/>
                </a:cubicBezTo>
                <a:cubicBezTo>
                  <a:pt x="24" y="19"/>
                  <a:pt x="26" y="20"/>
                  <a:pt x="27" y="19"/>
                </a:cubicBezTo>
                <a:cubicBezTo>
                  <a:pt x="28" y="20"/>
                  <a:pt x="29" y="18"/>
                  <a:pt x="31" y="18"/>
                </a:cubicBezTo>
                <a:cubicBezTo>
                  <a:pt x="31" y="18"/>
                  <a:pt x="29" y="19"/>
                  <a:pt x="30" y="20"/>
                </a:cubicBezTo>
                <a:cubicBezTo>
                  <a:pt x="30" y="20"/>
                  <a:pt x="30" y="20"/>
                  <a:pt x="30" y="20"/>
                </a:cubicBezTo>
                <a:cubicBezTo>
                  <a:pt x="30" y="20"/>
                  <a:pt x="32" y="20"/>
                  <a:pt x="30" y="20"/>
                </a:cubicBezTo>
                <a:cubicBezTo>
                  <a:pt x="31" y="20"/>
                  <a:pt x="31" y="20"/>
                  <a:pt x="31" y="20"/>
                </a:cubicBezTo>
                <a:cubicBezTo>
                  <a:pt x="31" y="20"/>
                  <a:pt x="31" y="21"/>
                  <a:pt x="31" y="21"/>
                </a:cubicBezTo>
                <a:cubicBezTo>
                  <a:pt x="31" y="21"/>
                  <a:pt x="31" y="21"/>
                  <a:pt x="32" y="21"/>
                </a:cubicBezTo>
                <a:cubicBezTo>
                  <a:pt x="30" y="21"/>
                  <a:pt x="30" y="22"/>
                  <a:pt x="30" y="23"/>
                </a:cubicBezTo>
                <a:cubicBezTo>
                  <a:pt x="29" y="23"/>
                  <a:pt x="29" y="23"/>
                  <a:pt x="29" y="22"/>
                </a:cubicBezTo>
                <a:cubicBezTo>
                  <a:pt x="29" y="23"/>
                  <a:pt x="28" y="23"/>
                  <a:pt x="28" y="24"/>
                </a:cubicBezTo>
                <a:cubicBezTo>
                  <a:pt x="28" y="22"/>
                  <a:pt x="28" y="22"/>
                  <a:pt x="26" y="23"/>
                </a:cubicBezTo>
                <a:cubicBezTo>
                  <a:pt x="26" y="23"/>
                  <a:pt x="26" y="22"/>
                  <a:pt x="26" y="22"/>
                </a:cubicBezTo>
                <a:cubicBezTo>
                  <a:pt x="26" y="22"/>
                  <a:pt x="25" y="23"/>
                  <a:pt x="26" y="24"/>
                </a:cubicBezTo>
                <a:cubicBezTo>
                  <a:pt x="25" y="24"/>
                  <a:pt x="25" y="24"/>
                  <a:pt x="25" y="24"/>
                </a:cubicBezTo>
                <a:cubicBezTo>
                  <a:pt x="25" y="23"/>
                  <a:pt x="26" y="22"/>
                  <a:pt x="24" y="21"/>
                </a:cubicBezTo>
                <a:cubicBezTo>
                  <a:pt x="22" y="21"/>
                  <a:pt x="21" y="23"/>
                  <a:pt x="20" y="24"/>
                </a:cubicBezTo>
                <a:cubicBezTo>
                  <a:pt x="19" y="25"/>
                  <a:pt x="19" y="25"/>
                  <a:pt x="18" y="25"/>
                </a:cubicBezTo>
                <a:cubicBezTo>
                  <a:pt x="17" y="25"/>
                  <a:pt x="17" y="24"/>
                  <a:pt x="17" y="24"/>
                </a:cubicBezTo>
                <a:cubicBezTo>
                  <a:pt x="16" y="24"/>
                  <a:pt x="16" y="24"/>
                  <a:pt x="16" y="24"/>
                </a:cubicBezTo>
                <a:cubicBezTo>
                  <a:pt x="16" y="24"/>
                  <a:pt x="15" y="24"/>
                  <a:pt x="14" y="24"/>
                </a:cubicBezTo>
                <a:cubicBezTo>
                  <a:pt x="14" y="24"/>
                  <a:pt x="13" y="24"/>
                  <a:pt x="13" y="24"/>
                </a:cubicBezTo>
                <a:cubicBezTo>
                  <a:pt x="12" y="24"/>
                  <a:pt x="12" y="24"/>
                  <a:pt x="11" y="25"/>
                </a:cubicBezTo>
                <a:cubicBezTo>
                  <a:pt x="12" y="26"/>
                  <a:pt x="14" y="26"/>
                  <a:pt x="15" y="27"/>
                </a:cubicBezTo>
                <a:cubicBezTo>
                  <a:pt x="17" y="28"/>
                  <a:pt x="17" y="29"/>
                  <a:pt x="19" y="30"/>
                </a:cubicBezTo>
                <a:cubicBezTo>
                  <a:pt x="19" y="30"/>
                  <a:pt x="19" y="30"/>
                  <a:pt x="20" y="30"/>
                </a:cubicBezTo>
                <a:cubicBezTo>
                  <a:pt x="20" y="31"/>
                  <a:pt x="21" y="32"/>
                  <a:pt x="20" y="33"/>
                </a:cubicBezTo>
                <a:cubicBezTo>
                  <a:pt x="20" y="33"/>
                  <a:pt x="19" y="33"/>
                  <a:pt x="19" y="33"/>
                </a:cubicBezTo>
                <a:cubicBezTo>
                  <a:pt x="19" y="34"/>
                  <a:pt x="19" y="36"/>
                  <a:pt x="20" y="37"/>
                </a:cubicBezTo>
                <a:cubicBezTo>
                  <a:pt x="20" y="37"/>
                  <a:pt x="20" y="38"/>
                  <a:pt x="20" y="38"/>
                </a:cubicBezTo>
                <a:cubicBezTo>
                  <a:pt x="21" y="39"/>
                  <a:pt x="21" y="38"/>
                  <a:pt x="22" y="38"/>
                </a:cubicBezTo>
                <a:cubicBezTo>
                  <a:pt x="23" y="38"/>
                  <a:pt x="23" y="38"/>
                  <a:pt x="23" y="38"/>
                </a:cubicBezTo>
                <a:cubicBezTo>
                  <a:pt x="25" y="38"/>
                  <a:pt x="26" y="35"/>
                  <a:pt x="26" y="34"/>
                </a:cubicBezTo>
                <a:cubicBezTo>
                  <a:pt x="27" y="31"/>
                  <a:pt x="28" y="28"/>
                  <a:pt x="30" y="27"/>
                </a:cubicBezTo>
                <a:cubicBezTo>
                  <a:pt x="30" y="28"/>
                  <a:pt x="30" y="28"/>
                  <a:pt x="29" y="29"/>
                </a:cubicBezTo>
                <a:cubicBezTo>
                  <a:pt x="29" y="29"/>
                  <a:pt x="29" y="29"/>
                  <a:pt x="29" y="29"/>
                </a:cubicBezTo>
                <a:cubicBezTo>
                  <a:pt x="28" y="30"/>
                  <a:pt x="29" y="30"/>
                  <a:pt x="28" y="31"/>
                </a:cubicBezTo>
                <a:cubicBezTo>
                  <a:pt x="28" y="32"/>
                  <a:pt x="28" y="32"/>
                  <a:pt x="28" y="32"/>
                </a:cubicBezTo>
                <a:cubicBezTo>
                  <a:pt x="28" y="34"/>
                  <a:pt x="29" y="33"/>
                  <a:pt x="30" y="33"/>
                </a:cubicBezTo>
                <a:cubicBezTo>
                  <a:pt x="31" y="33"/>
                  <a:pt x="30" y="36"/>
                  <a:pt x="32" y="36"/>
                </a:cubicBezTo>
                <a:cubicBezTo>
                  <a:pt x="33" y="35"/>
                  <a:pt x="33" y="35"/>
                  <a:pt x="33" y="35"/>
                </a:cubicBezTo>
                <a:cubicBezTo>
                  <a:pt x="34" y="36"/>
                  <a:pt x="34" y="37"/>
                  <a:pt x="35" y="37"/>
                </a:cubicBezTo>
                <a:cubicBezTo>
                  <a:pt x="35" y="37"/>
                  <a:pt x="35" y="36"/>
                  <a:pt x="35" y="36"/>
                </a:cubicBezTo>
                <a:cubicBezTo>
                  <a:pt x="36" y="36"/>
                  <a:pt x="37" y="37"/>
                  <a:pt x="38" y="37"/>
                </a:cubicBezTo>
                <a:cubicBezTo>
                  <a:pt x="38" y="37"/>
                  <a:pt x="38" y="36"/>
                  <a:pt x="39" y="36"/>
                </a:cubicBezTo>
                <a:cubicBezTo>
                  <a:pt x="39" y="36"/>
                  <a:pt x="40" y="37"/>
                  <a:pt x="41" y="37"/>
                </a:cubicBezTo>
                <a:cubicBezTo>
                  <a:pt x="39" y="37"/>
                  <a:pt x="39" y="36"/>
                  <a:pt x="38" y="38"/>
                </a:cubicBezTo>
                <a:cubicBezTo>
                  <a:pt x="38" y="40"/>
                  <a:pt x="47" y="42"/>
                  <a:pt x="47" y="42"/>
                </a:cubicBezTo>
                <a:cubicBezTo>
                  <a:pt x="54" y="44"/>
                  <a:pt x="60" y="46"/>
                  <a:pt x="66" y="48"/>
                </a:cubicBezTo>
                <a:cubicBezTo>
                  <a:pt x="69" y="49"/>
                  <a:pt x="71" y="50"/>
                  <a:pt x="73" y="52"/>
                </a:cubicBezTo>
                <a:cubicBezTo>
                  <a:pt x="73" y="52"/>
                  <a:pt x="73" y="52"/>
                  <a:pt x="73" y="52"/>
                </a:cubicBezTo>
                <a:cubicBezTo>
                  <a:pt x="73" y="52"/>
                  <a:pt x="73" y="52"/>
                  <a:pt x="73" y="52"/>
                </a:cubicBezTo>
                <a:cubicBezTo>
                  <a:pt x="73" y="52"/>
                  <a:pt x="72" y="55"/>
                  <a:pt x="74" y="55"/>
                </a:cubicBezTo>
                <a:cubicBezTo>
                  <a:pt x="75" y="55"/>
                  <a:pt x="75" y="54"/>
                  <a:pt x="76" y="54"/>
                </a:cubicBezTo>
                <a:cubicBezTo>
                  <a:pt x="75" y="55"/>
                  <a:pt x="75" y="55"/>
                  <a:pt x="74" y="55"/>
                </a:cubicBezTo>
                <a:cubicBezTo>
                  <a:pt x="75" y="56"/>
                  <a:pt x="76" y="56"/>
                  <a:pt x="77" y="56"/>
                </a:cubicBezTo>
                <a:cubicBezTo>
                  <a:pt x="74" y="57"/>
                  <a:pt x="75" y="58"/>
                  <a:pt x="76" y="60"/>
                </a:cubicBezTo>
                <a:cubicBezTo>
                  <a:pt x="77" y="62"/>
                  <a:pt x="79" y="63"/>
                  <a:pt x="81" y="65"/>
                </a:cubicBezTo>
                <a:cubicBezTo>
                  <a:pt x="80" y="65"/>
                  <a:pt x="80" y="65"/>
                  <a:pt x="79" y="65"/>
                </a:cubicBezTo>
                <a:cubicBezTo>
                  <a:pt x="79" y="65"/>
                  <a:pt x="81" y="66"/>
                  <a:pt x="82" y="67"/>
                </a:cubicBezTo>
                <a:cubicBezTo>
                  <a:pt x="81" y="66"/>
                  <a:pt x="81" y="67"/>
                  <a:pt x="80" y="67"/>
                </a:cubicBezTo>
                <a:cubicBezTo>
                  <a:pt x="80" y="67"/>
                  <a:pt x="79" y="67"/>
                  <a:pt x="78" y="67"/>
                </a:cubicBezTo>
                <a:cubicBezTo>
                  <a:pt x="78" y="67"/>
                  <a:pt x="79" y="68"/>
                  <a:pt x="79" y="68"/>
                </a:cubicBezTo>
                <a:cubicBezTo>
                  <a:pt x="81" y="69"/>
                  <a:pt x="83" y="69"/>
                  <a:pt x="85" y="70"/>
                </a:cubicBezTo>
                <a:cubicBezTo>
                  <a:pt x="83" y="71"/>
                  <a:pt x="82" y="70"/>
                  <a:pt x="80" y="70"/>
                </a:cubicBezTo>
                <a:cubicBezTo>
                  <a:pt x="80" y="70"/>
                  <a:pt x="79" y="70"/>
                  <a:pt x="79" y="70"/>
                </a:cubicBezTo>
                <a:cubicBezTo>
                  <a:pt x="79" y="70"/>
                  <a:pt x="81" y="72"/>
                  <a:pt x="81" y="72"/>
                </a:cubicBezTo>
                <a:cubicBezTo>
                  <a:pt x="81" y="73"/>
                  <a:pt x="82" y="73"/>
                  <a:pt x="83" y="74"/>
                </a:cubicBezTo>
                <a:cubicBezTo>
                  <a:pt x="83" y="74"/>
                  <a:pt x="83" y="74"/>
                  <a:pt x="83" y="74"/>
                </a:cubicBezTo>
                <a:cubicBezTo>
                  <a:pt x="83" y="74"/>
                  <a:pt x="83" y="77"/>
                  <a:pt x="83" y="77"/>
                </a:cubicBezTo>
                <a:cubicBezTo>
                  <a:pt x="82" y="77"/>
                  <a:pt x="82" y="77"/>
                  <a:pt x="82" y="78"/>
                </a:cubicBezTo>
                <a:cubicBezTo>
                  <a:pt x="82" y="78"/>
                  <a:pt x="82" y="79"/>
                  <a:pt x="82" y="79"/>
                </a:cubicBezTo>
                <a:cubicBezTo>
                  <a:pt x="82" y="80"/>
                  <a:pt x="81" y="79"/>
                  <a:pt x="81" y="80"/>
                </a:cubicBezTo>
                <a:cubicBezTo>
                  <a:pt x="81" y="80"/>
                  <a:pt x="82" y="81"/>
                  <a:pt x="82" y="81"/>
                </a:cubicBezTo>
                <a:cubicBezTo>
                  <a:pt x="82" y="81"/>
                  <a:pt x="83" y="80"/>
                  <a:pt x="83" y="80"/>
                </a:cubicBezTo>
                <a:cubicBezTo>
                  <a:pt x="84" y="80"/>
                  <a:pt x="85" y="79"/>
                  <a:pt x="85" y="79"/>
                </a:cubicBezTo>
                <a:cubicBezTo>
                  <a:pt x="85" y="79"/>
                  <a:pt x="85" y="78"/>
                  <a:pt x="85" y="78"/>
                </a:cubicBezTo>
                <a:cubicBezTo>
                  <a:pt x="85" y="77"/>
                  <a:pt x="85" y="79"/>
                  <a:pt x="85" y="80"/>
                </a:cubicBezTo>
                <a:cubicBezTo>
                  <a:pt x="86" y="81"/>
                  <a:pt x="88" y="80"/>
                  <a:pt x="90" y="80"/>
                </a:cubicBezTo>
                <a:cubicBezTo>
                  <a:pt x="91" y="79"/>
                  <a:pt x="92" y="80"/>
                  <a:pt x="93" y="79"/>
                </a:cubicBezTo>
                <a:cubicBezTo>
                  <a:pt x="93" y="79"/>
                  <a:pt x="93" y="77"/>
                  <a:pt x="94" y="77"/>
                </a:cubicBezTo>
                <a:cubicBezTo>
                  <a:pt x="93" y="78"/>
                  <a:pt x="94" y="78"/>
                  <a:pt x="94" y="79"/>
                </a:cubicBezTo>
                <a:cubicBezTo>
                  <a:pt x="93" y="79"/>
                  <a:pt x="93" y="79"/>
                  <a:pt x="93" y="80"/>
                </a:cubicBezTo>
                <a:cubicBezTo>
                  <a:pt x="92" y="81"/>
                  <a:pt x="95" y="82"/>
                  <a:pt x="95" y="83"/>
                </a:cubicBezTo>
                <a:cubicBezTo>
                  <a:pt x="98" y="85"/>
                  <a:pt x="100" y="87"/>
                  <a:pt x="102" y="89"/>
                </a:cubicBezTo>
                <a:lnTo>
                  <a:pt x="102" y="68"/>
                </a:ln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1" name="Freeform 2998">
            <a:extLst>
              <a:ext uri="{FF2B5EF4-FFF2-40B4-BE49-F238E27FC236}">
                <a16:creationId xmlns:a16="http://schemas.microsoft.com/office/drawing/2014/main" id="{3DEA4013-2B5B-40EF-914F-EF439498EAEE}"/>
              </a:ext>
            </a:extLst>
          </p:cNvPr>
          <p:cNvSpPr>
            <a:spLocks/>
          </p:cNvSpPr>
          <p:nvPr/>
        </p:nvSpPr>
        <p:spPr bwMode="auto">
          <a:xfrm>
            <a:off x="4643318" y="3696851"/>
            <a:ext cx="120917" cy="122281"/>
          </a:xfrm>
          <a:custGeom>
            <a:avLst/>
            <a:gdLst>
              <a:gd name="T0" fmla="*/ 91 w 103"/>
              <a:gd name="T1" fmla="*/ 23 h 87"/>
              <a:gd name="T2" fmla="*/ 89 w 103"/>
              <a:gd name="T3" fmla="*/ 15 h 87"/>
              <a:gd name="T4" fmla="*/ 89 w 103"/>
              <a:gd name="T5" fmla="*/ 13 h 87"/>
              <a:gd name="T6" fmla="*/ 86 w 103"/>
              <a:gd name="T7" fmla="*/ 11 h 87"/>
              <a:gd name="T8" fmla="*/ 86 w 103"/>
              <a:gd name="T9" fmla="*/ 9 h 87"/>
              <a:gd name="T10" fmla="*/ 86 w 103"/>
              <a:gd name="T11" fmla="*/ 9 h 87"/>
              <a:gd name="T12" fmla="*/ 88 w 103"/>
              <a:gd name="T13" fmla="*/ 7 h 87"/>
              <a:gd name="T14" fmla="*/ 90 w 103"/>
              <a:gd name="T15" fmla="*/ 5 h 87"/>
              <a:gd name="T16" fmla="*/ 86 w 103"/>
              <a:gd name="T17" fmla="*/ 2 h 87"/>
              <a:gd name="T18" fmla="*/ 72 w 103"/>
              <a:gd name="T19" fmla="*/ 1 h 87"/>
              <a:gd name="T20" fmla="*/ 69 w 103"/>
              <a:gd name="T21" fmla="*/ 12 h 87"/>
              <a:gd name="T22" fmla="*/ 65 w 103"/>
              <a:gd name="T23" fmla="*/ 17 h 87"/>
              <a:gd name="T24" fmla="*/ 66 w 103"/>
              <a:gd name="T25" fmla="*/ 18 h 87"/>
              <a:gd name="T26" fmla="*/ 66 w 103"/>
              <a:gd name="T27" fmla="*/ 19 h 87"/>
              <a:gd name="T28" fmla="*/ 63 w 103"/>
              <a:gd name="T29" fmla="*/ 22 h 87"/>
              <a:gd name="T30" fmla="*/ 62 w 103"/>
              <a:gd name="T31" fmla="*/ 22 h 87"/>
              <a:gd name="T32" fmla="*/ 61 w 103"/>
              <a:gd name="T33" fmla="*/ 26 h 87"/>
              <a:gd name="T34" fmla="*/ 60 w 103"/>
              <a:gd name="T35" fmla="*/ 27 h 87"/>
              <a:gd name="T36" fmla="*/ 56 w 103"/>
              <a:gd name="T37" fmla="*/ 31 h 87"/>
              <a:gd name="T38" fmla="*/ 55 w 103"/>
              <a:gd name="T39" fmla="*/ 31 h 87"/>
              <a:gd name="T40" fmla="*/ 51 w 103"/>
              <a:gd name="T41" fmla="*/ 32 h 87"/>
              <a:gd name="T42" fmla="*/ 44 w 103"/>
              <a:gd name="T43" fmla="*/ 32 h 87"/>
              <a:gd name="T44" fmla="*/ 40 w 103"/>
              <a:gd name="T45" fmla="*/ 30 h 87"/>
              <a:gd name="T46" fmla="*/ 35 w 103"/>
              <a:gd name="T47" fmla="*/ 31 h 87"/>
              <a:gd name="T48" fmla="*/ 35 w 103"/>
              <a:gd name="T49" fmla="*/ 31 h 87"/>
              <a:gd name="T50" fmla="*/ 27 w 103"/>
              <a:gd name="T51" fmla="*/ 35 h 87"/>
              <a:gd name="T52" fmla="*/ 22 w 103"/>
              <a:gd name="T53" fmla="*/ 36 h 87"/>
              <a:gd name="T54" fmla="*/ 15 w 103"/>
              <a:gd name="T55" fmla="*/ 35 h 87"/>
              <a:gd name="T56" fmla="*/ 14 w 103"/>
              <a:gd name="T57" fmla="*/ 35 h 87"/>
              <a:gd name="T58" fmla="*/ 6 w 103"/>
              <a:gd name="T59" fmla="*/ 26 h 87"/>
              <a:gd name="T60" fmla="*/ 2 w 103"/>
              <a:gd name="T61" fmla="*/ 31 h 87"/>
              <a:gd name="T62" fmla="*/ 0 w 103"/>
              <a:gd name="T63" fmla="*/ 38 h 87"/>
              <a:gd name="T64" fmla="*/ 4 w 103"/>
              <a:gd name="T65" fmla="*/ 44 h 87"/>
              <a:gd name="T66" fmla="*/ 2 w 103"/>
              <a:gd name="T67" fmla="*/ 49 h 87"/>
              <a:gd name="T68" fmla="*/ 9 w 103"/>
              <a:gd name="T69" fmla="*/ 53 h 87"/>
              <a:gd name="T70" fmla="*/ 11 w 103"/>
              <a:gd name="T71" fmla="*/ 62 h 87"/>
              <a:gd name="T72" fmla="*/ 13 w 103"/>
              <a:gd name="T73" fmla="*/ 65 h 87"/>
              <a:gd name="T74" fmla="*/ 14 w 103"/>
              <a:gd name="T75" fmla="*/ 74 h 87"/>
              <a:gd name="T76" fmla="*/ 19 w 103"/>
              <a:gd name="T77" fmla="*/ 75 h 87"/>
              <a:gd name="T78" fmla="*/ 23 w 103"/>
              <a:gd name="T79" fmla="*/ 75 h 87"/>
              <a:gd name="T80" fmla="*/ 28 w 103"/>
              <a:gd name="T81" fmla="*/ 75 h 87"/>
              <a:gd name="T82" fmla="*/ 30 w 103"/>
              <a:gd name="T83" fmla="*/ 81 h 87"/>
              <a:gd name="T84" fmla="*/ 44 w 103"/>
              <a:gd name="T85" fmla="*/ 76 h 87"/>
              <a:gd name="T86" fmla="*/ 50 w 103"/>
              <a:gd name="T87" fmla="*/ 80 h 87"/>
              <a:gd name="T88" fmla="*/ 55 w 103"/>
              <a:gd name="T89" fmla="*/ 79 h 87"/>
              <a:gd name="T90" fmla="*/ 57 w 103"/>
              <a:gd name="T91" fmla="*/ 80 h 87"/>
              <a:gd name="T92" fmla="*/ 59 w 103"/>
              <a:gd name="T93" fmla="*/ 87 h 87"/>
              <a:gd name="T94" fmla="*/ 65 w 103"/>
              <a:gd name="T95" fmla="*/ 84 h 87"/>
              <a:gd name="T96" fmla="*/ 74 w 103"/>
              <a:gd name="T97" fmla="*/ 77 h 87"/>
              <a:gd name="T98" fmla="*/ 76 w 103"/>
              <a:gd name="T99" fmla="*/ 73 h 87"/>
              <a:gd name="T100" fmla="*/ 76 w 103"/>
              <a:gd name="T101" fmla="*/ 66 h 87"/>
              <a:gd name="T102" fmla="*/ 77 w 103"/>
              <a:gd name="T103" fmla="*/ 62 h 87"/>
              <a:gd name="T104" fmla="*/ 82 w 103"/>
              <a:gd name="T105" fmla="*/ 57 h 87"/>
              <a:gd name="T106" fmla="*/ 89 w 103"/>
              <a:gd name="T107" fmla="*/ 49 h 87"/>
              <a:gd name="T108" fmla="*/ 89 w 103"/>
              <a:gd name="T109" fmla="*/ 39 h 87"/>
              <a:gd name="T110" fmla="*/ 93 w 103"/>
              <a:gd name="T111" fmla="*/ 35 h 87"/>
              <a:gd name="T112" fmla="*/ 98 w 103"/>
              <a:gd name="T113" fmla="*/ 3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3" h="87">
                <a:moveTo>
                  <a:pt x="101" y="33"/>
                </a:moveTo>
                <a:cubicBezTo>
                  <a:pt x="98" y="30"/>
                  <a:pt x="94" y="27"/>
                  <a:pt x="91" y="23"/>
                </a:cubicBezTo>
                <a:cubicBezTo>
                  <a:pt x="91" y="24"/>
                  <a:pt x="92" y="24"/>
                  <a:pt x="91" y="23"/>
                </a:cubicBezTo>
                <a:cubicBezTo>
                  <a:pt x="92" y="23"/>
                  <a:pt x="93" y="23"/>
                  <a:pt x="93" y="22"/>
                </a:cubicBezTo>
                <a:cubicBezTo>
                  <a:pt x="94" y="20"/>
                  <a:pt x="93" y="19"/>
                  <a:pt x="91" y="18"/>
                </a:cubicBezTo>
                <a:cubicBezTo>
                  <a:pt x="91" y="17"/>
                  <a:pt x="89" y="16"/>
                  <a:pt x="89" y="15"/>
                </a:cubicBezTo>
                <a:cubicBezTo>
                  <a:pt x="89" y="15"/>
                  <a:pt x="90" y="15"/>
                  <a:pt x="90" y="15"/>
                </a:cubicBezTo>
                <a:cubicBezTo>
                  <a:pt x="90" y="15"/>
                  <a:pt x="89" y="15"/>
                  <a:pt x="89" y="14"/>
                </a:cubicBezTo>
                <a:cubicBezTo>
                  <a:pt x="89" y="14"/>
                  <a:pt x="89" y="13"/>
                  <a:pt x="89" y="13"/>
                </a:cubicBezTo>
                <a:cubicBezTo>
                  <a:pt x="89" y="13"/>
                  <a:pt x="88" y="13"/>
                  <a:pt x="88" y="12"/>
                </a:cubicBezTo>
                <a:cubicBezTo>
                  <a:pt x="87" y="12"/>
                  <a:pt x="86" y="12"/>
                  <a:pt x="86" y="11"/>
                </a:cubicBezTo>
                <a:cubicBezTo>
                  <a:pt x="86" y="11"/>
                  <a:pt x="86" y="11"/>
                  <a:pt x="86" y="11"/>
                </a:cubicBezTo>
                <a:cubicBezTo>
                  <a:pt x="86" y="12"/>
                  <a:pt x="87" y="11"/>
                  <a:pt x="87" y="11"/>
                </a:cubicBezTo>
                <a:cubicBezTo>
                  <a:pt x="87" y="11"/>
                  <a:pt x="87" y="10"/>
                  <a:pt x="87" y="9"/>
                </a:cubicBezTo>
                <a:cubicBezTo>
                  <a:pt x="87" y="9"/>
                  <a:pt x="87" y="9"/>
                  <a:pt x="86" y="9"/>
                </a:cubicBezTo>
                <a:cubicBezTo>
                  <a:pt x="86" y="9"/>
                  <a:pt x="86" y="9"/>
                  <a:pt x="86" y="9"/>
                </a:cubicBezTo>
                <a:cubicBezTo>
                  <a:pt x="86" y="8"/>
                  <a:pt x="86" y="8"/>
                  <a:pt x="86" y="8"/>
                </a:cubicBezTo>
                <a:cubicBezTo>
                  <a:pt x="86" y="8"/>
                  <a:pt x="86" y="8"/>
                  <a:pt x="86" y="9"/>
                </a:cubicBezTo>
                <a:cubicBezTo>
                  <a:pt x="85" y="8"/>
                  <a:pt x="85" y="8"/>
                  <a:pt x="84" y="8"/>
                </a:cubicBezTo>
                <a:cubicBezTo>
                  <a:pt x="85" y="8"/>
                  <a:pt x="85" y="8"/>
                  <a:pt x="85" y="7"/>
                </a:cubicBezTo>
                <a:cubicBezTo>
                  <a:pt x="86" y="7"/>
                  <a:pt x="87" y="8"/>
                  <a:pt x="88" y="7"/>
                </a:cubicBezTo>
                <a:cubicBezTo>
                  <a:pt x="89" y="7"/>
                  <a:pt x="88" y="6"/>
                  <a:pt x="88" y="6"/>
                </a:cubicBezTo>
                <a:cubicBezTo>
                  <a:pt x="89" y="6"/>
                  <a:pt x="90" y="6"/>
                  <a:pt x="91" y="6"/>
                </a:cubicBezTo>
                <a:cubicBezTo>
                  <a:pt x="91" y="6"/>
                  <a:pt x="91" y="5"/>
                  <a:pt x="90" y="5"/>
                </a:cubicBezTo>
                <a:cubicBezTo>
                  <a:pt x="90" y="4"/>
                  <a:pt x="88" y="3"/>
                  <a:pt x="88" y="3"/>
                </a:cubicBezTo>
                <a:cubicBezTo>
                  <a:pt x="88" y="3"/>
                  <a:pt x="88" y="3"/>
                  <a:pt x="88" y="3"/>
                </a:cubicBezTo>
                <a:cubicBezTo>
                  <a:pt x="87" y="3"/>
                  <a:pt x="87" y="2"/>
                  <a:pt x="86" y="2"/>
                </a:cubicBezTo>
                <a:cubicBezTo>
                  <a:pt x="84" y="1"/>
                  <a:pt x="80" y="0"/>
                  <a:pt x="78" y="1"/>
                </a:cubicBezTo>
                <a:cubicBezTo>
                  <a:pt x="76" y="1"/>
                  <a:pt x="74" y="1"/>
                  <a:pt x="73" y="1"/>
                </a:cubicBezTo>
                <a:cubicBezTo>
                  <a:pt x="73" y="1"/>
                  <a:pt x="73" y="1"/>
                  <a:pt x="72" y="1"/>
                </a:cubicBezTo>
                <a:cubicBezTo>
                  <a:pt x="72" y="1"/>
                  <a:pt x="72" y="1"/>
                  <a:pt x="72" y="1"/>
                </a:cubicBezTo>
                <a:cubicBezTo>
                  <a:pt x="70" y="2"/>
                  <a:pt x="70" y="4"/>
                  <a:pt x="70" y="5"/>
                </a:cubicBezTo>
                <a:cubicBezTo>
                  <a:pt x="70" y="8"/>
                  <a:pt x="70" y="10"/>
                  <a:pt x="69" y="12"/>
                </a:cubicBezTo>
                <a:cubicBezTo>
                  <a:pt x="69" y="13"/>
                  <a:pt x="69" y="15"/>
                  <a:pt x="67" y="15"/>
                </a:cubicBezTo>
                <a:cubicBezTo>
                  <a:pt x="66" y="15"/>
                  <a:pt x="66" y="15"/>
                  <a:pt x="65" y="15"/>
                </a:cubicBezTo>
                <a:cubicBezTo>
                  <a:pt x="65" y="16"/>
                  <a:pt x="65" y="16"/>
                  <a:pt x="65" y="17"/>
                </a:cubicBezTo>
                <a:cubicBezTo>
                  <a:pt x="65" y="17"/>
                  <a:pt x="65" y="17"/>
                  <a:pt x="66" y="17"/>
                </a:cubicBezTo>
                <a:cubicBezTo>
                  <a:pt x="67" y="17"/>
                  <a:pt x="67" y="17"/>
                  <a:pt x="67" y="17"/>
                </a:cubicBezTo>
                <a:cubicBezTo>
                  <a:pt x="66" y="18"/>
                  <a:pt x="66" y="18"/>
                  <a:pt x="66" y="18"/>
                </a:cubicBezTo>
                <a:cubicBezTo>
                  <a:pt x="66" y="18"/>
                  <a:pt x="66" y="18"/>
                  <a:pt x="66" y="18"/>
                </a:cubicBezTo>
                <a:cubicBezTo>
                  <a:pt x="66" y="19"/>
                  <a:pt x="66" y="19"/>
                  <a:pt x="66" y="19"/>
                </a:cubicBezTo>
                <a:cubicBezTo>
                  <a:pt x="66" y="19"/>
                  <a:pt x="66" y="19"/>
                  <a:pt x="66" y="19"/>
                </a:cubicBezTo>
                <a:cubicBezTo>
                  <a:pt x="65" y="20"/>
                  <a:pt x="64" y="20"/>
                  <a:pt x="64" y="21"/>
                </a:cubicBezTo>
                <a:cubicBezTo>
                  <a:pt x="63" y="21"/>
                  <a:pt x="63" y="21"/>
                  <a:pt x="63" y="21"/>
                </a:cubicBezTo>
                <a:cubicBezTo>
                  <a:pt x="63" y="21"/>
                  <a:pt x="63" y="21"/>
                  <a:pt x="63" y="22"/>
                </a:cubicBezTo>
                <a:cubicBezTo>
                  <a:pt x="62" y="22"/>
                  <a:pt x="62" y="22"/>
                  <a:pt x="62" y="22"/>
                </a:cubicBezTo>
                <a:cubicBezTo>
                  <a:pt x="62" y="22"/>
                  <a:pt x="62" y="22"/>
                  <a:pt x="62" y="22"/>
                </a:cubicBezTo>
                <a:cubicBezTo>
                  <a:pt x="62" y="22"/>
                  <a:pt x="62" y="22"/>
                  <a:pt x="62" y="22"/>
                </a:cubicBezTo>
                <a:cubicBezTo>
                  <a:pt x="62" y="23"/>
                  <a:pt x="62" y="23"/>
                  <a:pt x="62" y="23"/>
                </a:cubicBezTo>
                <a:cubicBezTo>
                  <a:pt x="62" y="24"/>
                  <a:pt x="63" y="24"/>
                  <a:pt x="62" y="25"/>
                </a:cubicBezTo>
                <a:cubicBezTo>
                  <a:pt x="62" y="26"/>
                  <a:pt x="61" y="26"/>
                  <a:pt x="61" y="26"/>
                </a:cubicBezTo>
                <a:cubicBezTo>
                  <a:pt x="61" y="27"/>
                  <a:pt x="61" y="27"/>
                  <a:pt x="61" y="27"/>
                </a:cubicBezTo>
                <a:cubicBezTo>
                  <a:pt x="61" y="27"/>
                  <a:pt x="61" y="27"/>
                  <a:pt x="61" y="27"/>
                </a:cubicBezTo>
                <a:cubicBezTo>
                  <a:pt x="60" y="27"/>
                  <a:pt x="60" y="27"/>
                  <a:pt x="60" y="27"/>
                </a:cubicBezTo>
                <a:cubicBezTo>
                  <a:pt x="60" y="29"/>
                  <a:pt x="60" y="29"/>
                  <a:pt x="60" y="29"/>
                </a:cubicBezTo>
                <a:cubicBezTo>
                  <a:pt x="59" y="30"/>
                  <a:pt x="58" y="31"/>
                  <a:pt x="57" y="31"/>
                </a:cubicBezTo>
                <a:cubicBezTo>
                  <a:pt x="57" y="31"/>
                  <a:pt x="57" y="31"/>
                  <a:pt x="56" y="31"/>
                </a:cubicBezTo>
                <a:cubicBezTo>
                  <a:pt x="56" y="30"/>
                  <a:pt x="56" y="30"/>
                  <a:pt x="56" y="30"/>
                </a:cubicBezTo>
                <a:cubicBezTo>
                  <a:pt x="56" y="31"/>
                  <a:pt x="56" y="31"/>
                  <a:pt x="56" y="31"/>
                </a:cubicBezTo>
                <a:cubicBezTo>
                  <a:pt x="56" y="31"/>
                  <a:pt x="55" y="31"/>
                  <a:pt x="55" y="31"/>
                </a:cubicBezTo>
                <a:cubicBezTo>
                  <a:pt x="55" y="31"/>
                  <a:pt x="55" y="31"/>
                  <a:pt x="55" y="31"/>
                </a:cubicBezTo>
                <a:cubicBezTo>
                  <a:pt x="54" y="31"/>
                  <a:pt x="54" y="31"/>
                  <a:pt x="54" y="31"/>
                </a:cubicBezTo>
                <a:cubicBezTo>
                  <a:pt x="53" y="31"/>
                  <a:pt x="52" y="32"/>
                  <a:pt x="51" y="32"/>
                </a:cubicBezTo>
                <a:cubicBezTo>
                  <a:pt x="51" y="32"/>
                  <a:pt x="51" y="32"/>
                  <a:pt x="51" y="32"/>
                </a:cubicBezTo>
                <a:cubicBezTo>
                  <a:pt x="50" y="32"/>
                  <a:pt x="50" y="33"/>
                  <a:pt x="50" y="33"/>
                </a:cubicBezTo>
                <a:cubicBezTo>
                  <a:pt x="48" y="33"/>
                  <a:pt x="46" y="32"/>
                  <a:pt x="44" y="32"/>
                </a:cubicBezTo>
                <a:cubicBezTo>
                  <a:pt x="44" y="31"/>
                  <a:pt x="44" y="31"/>
                  <a:pt x="44" y="31"/>
                </a:cubicBezTo>
                <a:cubicBezTo>
                  <a:pt x="43" y="31"/>
                  <a:pt x="43" y="31"/>
                  <a:pt x="42" y="31"/>
                </a:cubicBezTo>
                <a:cubicBezTo>
                  <a:pt x="40" y="30"/>
                  <a:pt x="40" y="30"/>
                  <a:pt x="40" y="30"/>
                </a:cubicBezTo>
                <a:cubicBezTo>
                  <a:pt x="40" y="30"/>
                  <a:pt x="40" y="30"/>
                  <a:pt x="40" y="30"/>
                </a:cubicBezTo>
                <a:cubicBezTo>
                  <a:pt x="39" y="30"/>
                  <a:pt x="38" y="30"/>
                  <a:pt x="36" y="31"/>
                </a:cubicBezTo>
                <a:cubicBezTo>
                  <a:pt x="35" y="31"/>
                  <a:pt x="35" y="31"/>
                  <a:pt x="35" y="31"/>
                </a:cubicBezTo>
                <a:cubicBezTo>
                  <a:pt x="35" y="31"/>
                  <a:pt x="35" y="31"/>
                  <a:pt x="35" y="31"/>
                </a:cubicBezTo>
                <a:cubicBezTo>
                  <a:pt x="35" y="31"/>
                  <a:pt x="35" y="31"/>
                  <a:pt x="35" y="31"/>
                </a:cubicBezTo>
                <a:cubicBezTo>
                  <a:pt x="35" y="31"/>
                  <a:pt x="35" y="31"/>
                  <a:pt x="35" y="31"/>
                </a:cubicBezTo>
                <a:cubicBezTo>
                  <a:pt x="35" y="32"/>
                  <a:pt x="35" y="32"/>
                  <a:pt x="35" y="33"/>
                </a:cubicBezTo>
                <a:cubicBezTo>
                  <a:pt x="34" y="34"/>
                  <a:pt x="30" y="35"/>
                  <a:pt x="29" y="35"/>
                </a:cubicBezTo>
                <a:cubicBezTo>
                  <a:pt x="28" y="35"/>
                  <a:pt x="28" y="35"/>
                  <a:pt x="27" y="35"/>
                </a:cubicBezTo>
                <a:cubicBezTo>
                  <a:pt x="25" y="35"/>
                  <a:pt x="24" y="35"/>
                  <a:pt x="23" y="35"/>
                </a:cubicBezTo>
                <a:cubicBezTo>
                  <a:pt x="22" y="35"/>
                  <a:pt x="22" y="35"/>
                  <a:pt x="22" y="36"/>
                </a:cubicBezTo>
                <a:cubicBezTo>
                  <a:pt x="22" y="36"/>
                  <a:pt x="22" y="36"/>
                  <a:pt x="22" y="36"/>
                </a:cubicBezTo>
                <a:cubicBezTo>
                  <a:pt x="20" y="36"/>
                  <a:pt x="19" y="37"/>
                  <a:pt x="18" y="37"/>
                </a:cubicBezTo>
                <a:cubicBezTo>
                  <a:pt x="17" y="37"/>
                  <a:pt x="17" y="37"/>
                  <a:pt x="17" y="37"/>
                </a:cubicBezTo>
                <a:cubicBezTo>
                  <a:pt x="16" y="37"/>
                  <a:pt x="15" y="36"/>
                  <a:pt x="15" y="35"/>
                </a:cubicBezTo>
                <a:cubicBezTo>
                  <a:pt x="14" y="35"/>
                  <a:pt x="14" y="35"/>
                  <a:pt x="14" y="35"/>
                </a:cubicBezTo>
                <a:cubicBezTo>
                  <a:pt x="14" y="35"/>
                  <a:pt x="14" y="35"/>
                  <a:pt x="14" y="35"/>
                </a:cubicBezTo>
                <a:cubicBezTo>
                  <a:pt x="14" y="35"/>
                  <a:pt x="14" y="35"/>
                  <a:pt x="14" y="35"/>
                </a:cubicBezTo>
                <a:cubicBezTo>
                  <a:pt x="13" y="34"/>
                  <a:pt x="12" y="33"/>
                  <a:pt x="11" y="32"/>
                </a:cubicBezTo>
                <a:cubicBezTo>
                  <a:pt x="10" y="31"/>
                  <a:pt x="10" y="31"/>
                  <a:pt x="10" y="31"/>
                </a:cubicBezTo>
                <a:cubicBezTo>
                  <a:pt x="8" y="30"/>
                  <a:pt x="6" y="28"/>
                  <a:pt x="6" y="26"/>
                </a:cubicBezTo>
                <a:cubicBezTo>
                  <a:pt x="6" y="25"/>
                  <a:pt x="6" y="25"/>
                  <a:pt x="6" y="24"/>
                </a:cubicBezTo>
                <a:cubicBezTo>
                  <a:pt x="5" y="24"/>
                  <a:pt x="5" y="25"/>
                  <a:pt x="4" y="25"/>
                </a:cubicBezTo>
                <a:cubicBezTo>
                  <a:pt x="3" y="28"/>
                  <a:pt x="2" y="28"/>
                  <a:pt x="2" y="31"/>
                </a:cubicBezTo>
                <a:cubicBezTo>
                  <a:pt x="2" y="32"/>
                  <a:pt x="1" y="32"/>
                  <a:pt x="1" y="32"/>
                </a:cubicBezTo>
                <a:cubicBezTo>
                  <a:pt x="1" y="33"/>
                  <a:pt x="1" y="34"/>
                  <a:pt x="1" y="34"/>
                </a:cubicBezTo>
                <a:cubicBezTo>
                  <a:pt x="0" y="36"/>
                  <a:pt x="0" y="36"/>
                  <a:pt x="0" y="38"/>
                </a:cubicBezTo>
                <a:cubicBezTo>
                  <a:pt x="0" y="38"/>
                  <a:pt x="0" y="41"/>
                  <a:pt x="0" y="41"/>
                </a:cubicBezTo>
                <a:cubicBezTo>
                  <a:pt x="2" y="42"/>
                  <a:pt x="2" y="42"/>
                  <a:pt x="3" y="43"/>
                </a:cubicBezTo>
                <a:cubicBezTo>
                  <a:pt x="3" y="43"/>
                  <a:pt x="4" y="44"/>
                  <a:pt x="4" y="44"/>
                </a:cubicBezTo>
                <a:cubicBezTo>
                  <a:pt x="3" y="44"/>
                  <a:pt x="3" y="44"/>
                  <a:pt x="3" y="45"/>
                </a:cubicBezTo>
                <a:cubicBezTo>
                  <a:pt x="3" y="46"/>
                  <a:pt x="3" y="46"/>
                  <a:pt x="3" y="47"/>
                </a:cubicBezTo>
                <a:cubicBezTo>
                  <a:pt x="1" y="46"/>
                  <a:pt x="2" y="48"/>
                  <a:pt x="2" y="49"/>
                </a:cubicBezTo>
                <a:cubicBezTo>
                  <a:pt x="3" y="50"/>
                  <a:pt x="3" y="52"/>
                  <a:pt x="4" y="52"/>
                </a:cubicBezTo>
                <a:cubicBezTo>
                  <a:pt x="4" y="53"/>
                  <a:pt x="4" y="53"/>
                  <a:pt x="5" y="53"/>
                </a:cubicBezTo>
                <a:cubicBezTo>
                  <a:pt x="6" y="54"/>
                  <a:pt x="8" y="55"/>
                  <a:pt x="9" y="53"/>
                </a:cubicBezTo>
                <a:cubicBezTo>
                  <a:pt x="10" y="55"/>
                  <a:pt x="12" y="57"/>
                  <a:pt x="12" y="59"/>
                </a:cubicBezTo>
                <a:cubicBezTo>
                  <a:pt x="12" y="60"/>
                  <a:pt x="12" y="61"/>
                  <a:pt x="11" y="62"/>
                </a:cubicBezTo>
                <a:cubicBezTo>
                  <a:pt x="11" y="62"/>
                  <a:pt x="11" y="62"/>
                  <a:pt x="11" y="62"/>
                </a:cubicBezTo>
                <a:cubicBezTo>
                  <a:pt x="11" y="63"/>
                  <a:pt x="10" y="62"/>
                  <a:pt x="11" y="63"/>
                </a:cubicBezTo>
                <a:cubicBezTo>
                  <a:pt x="11" y="63"/>
                  <a:pt x="12" y="64"/>
                  <a:pt x="12" y="64"/>
                </a:cubicBezTo>
                <a:cubicBezTo>
                  <a:pt x="12" y="64"/>
                  <a:pt x="13" y="65"/>
                  <a:pt x="13" y="65"/>
                </a:cubicBezTo>
                <a:cubicBezTo>
                  <a:pt x="13" y="67"/>
                  <a:pt x="14" y="68"/>
                  <a:pt x="14" y="69"/>
                </a:cubicBezTo>
                <a:cubicBezTo>
                  <a:pt x="14" y="70"/>
                  <a:pt x="13" y="70"/>
                  <a:pt x="13" y="71"/>
                </a:cubicBezTo>
                <a:cubicBezTo>
                  <a:pt x="13" y="72"/>
                  <a:pt x="14" y="73"/>
                  <a:pt x="14" y="74"/>
                </a:cubicBezTo>
                <a:cubicBezTo>
                  <a:pt x="14" y="76"/>
                  <a:pt x="15" y="75"/>
                  <a:pt x="17" y="75"/>
                </a:cubicBezTo>
                <a:cubicBezTo>
                  <a:pt x="17" y="75"/>
                  <a:pt x="18" y="76"/>
                  <a:pt x="18" y="76"/>
                </a:cubicBezTo>
                <a:cubicBezTo>
                  <a:pt x="18" y="76"/>
                  <a:pt x="19" y="76"/>
                  <a:pt x="19" y="75"/>
                </a:cubicBezTo>
                <a:cubicBezTo>
                  <a:pt x="19" y="75"/>
                  <a:pt x="19" y="75"/>
                  <a:pt x="19" y="75"/>
                </a:cubicBezTo>
                <a:cubicBezTo>
                  <a:pt x="20" y="75"/>
                  <a:pt x="21" y="76"/>
                  <a:pt x="22" y="76"/>
                </a:cubicBezTo>
                <a:cubicBezTo>
                  <a:pt x="22" y="76"/>
                  <a:pt x="23" y="75"/>
                  <a:pt x="23" y="75"/>
                </a:cubicBezTo>
                <a:cubicBezTo>
                  <a:pt x="24" y="75"/>
                  <a:pt x="25" y="74"/>
                  <a:pt x="25" y="74"/>
                </a:cubicBezTo>
                <a:cubicBezTo>
                  <a:pt x="26" y="74"/>
                  <a:pt x="27" y="75"/>
                  <a:pt x="27" y="75"/>
                </a:cubicBezTo>
                <a:cubicBezTo>
                  <a:pt x="28" y="75"/>
                  <a:pt x="28" y="75"/>
                  <a:pt x="28" y="75"/>
                </a:cubicBezTo>
                <a:cubicBezTo>
                  <a:pt x="29" y="74"/>
                  <a:pt x="29" y="73"/>
                  <a:pt x="29" y="73"/>
                </a:cubicBezTo>
                <a:cubicBezTo>
                  <a:pt x="29" y="74"/>
                  <a:pt x="30" y="74"/>
                  <a:pt x="30" y="76"/>
                </a:cubicBezTo>
                <a:cubicBezTo>
                  <a:pt x="30" y="77"/>
                  <a:pt x="30" y="79"/>
                  <a:pt x="30" y="81"/>
                </a:cubicBezTo>
                <a:cubicBezTo>
                  <a:pt x="32" y="80"/>
                  <a:pt x="34" y="78"/>
                  <a:pt x="36" y="78"/>
                </a:cubicBezTo>
                <a:cubicBezTo>
                  <a:pt x="39" y="78"/>
                  <a:pt x="42" y="78"/>
                  <a:pt x="42" y="74"/>
                </a:cubicBezTo>
                <a:cubicBezTo>
                  <a:pt x="43" y="75"/>
                  <a:pt x="43" y="75"/>
                  <a:pt x="44" y="76"/>
                </a:cubicBezTo>
                <a:cubicBezTo>
                  <a:pt x="44" y="76"/>
                  <a:pt x="45" y="78"/>
                  <a:pt x="46" y="78"/>
                </a:cubicBezTo>
                <a:cubicBezTo>
                  <a:pt x="47" y="78"/>
                  <a:pt x="48" y="77"/>
                  <a:pt x="48" y="77"/>
                </a:cubicBezTo>
                <a:cubicBezTo>
                  <a:pt x="49" y="78"/>
                  <a:pt x="48" y="80"/>
                  <a:pt x="50" y="80"/>
                </a:cubicBezTo>
                <a:cubicBezTo>
                  <a:pt x="50" y="80"/>
                  <a:pt x="51" y="80"/>
                  <a:pt x="51" y="79"/>
                </a:cubicBezTo>
                <a:cubicBezTo>
                  <a:pt x="52" y="79"/>
                  <a:pt x="53" y="78"/>
                  <a:pt x="54" y="77"/>
                </a:cubicBezTo>
                <a:cubicBezTo>
                  <a:pt x="54" y="78"/>
                  <a:pt x="54" y="78"/>
                  <a:pt x="55" y="79"/>
                </a:cubicBezTo>
                <a:cubicBezTo>
                  <a:pt x="55" y="78"/>
                  <a:pt x="55" y="78"/>
                  <a:pt x="56" y="77"/>
                </a:cubicBezTo>
                <a:cubicBezTo>
                  <a:pt x="55" y="78"/>
                  <a:pt x="55" y="79"/>
                  <a:pt x="55" y="79"/>
                </a:cubicBezTo>
                <a:cubicBezTo>
                  <a:pt x="56" y="80"/>
                  <a:pt x="57" y="80"/>
                  <a:pt x="57" y="80"/>
                </a:cubicBezTo>
                <a:cubicBezTo>
                  <a:pt x="57" y="80"/>
                  <a:pt x="57" y="79"/>
                  <a:pt x="57" y="79"/>
                </a:cubicBezTo>
                <a:cubicBezTo>
                  <a:pt x="58" y="80"/>
                  <a:pt x="58" y="82"/>
                  <a:pt x="58" y="83"/>
                </a:cubicBezTo>
                <a:cubicBezTo>
                  <a:pt x="58" y="83"/>
                  <a:pt x="58" y="87"/>
                  <a:pt x="59" y="87"/>
                </a:cubicBezTo>
                <a:cubicBezTo>
                  <a:pt x="59" y="87"/>
                  <a:pt x="60" y="87"/>
                  <a:pt x="60" y="87"/>
                </a:cubicBezTo>
                <a:cubicBezTo>
                  <a:pt x="61" y="86"/>
                  <a:pt x="62" y="86"/>
                  <a:pt x="62" y="85"/>
                </a:cubicBezTo>
                <a:cubicBezTo>
                  <a:pt x="63" y="85"/>
                  <a:pt x="64" y="85"/>
                  <a:pt x="65" y="84"/>
                </a:cubicBezTo>
                <a:cubicBezTo>
                  <a:pt x="66" y="84"/>
                  <a:pt x="67" y="84"/>
                  <a:pt x="67" y="83"/>
                </a:cubicBezTo>
                <a:cubicBezTo>
                  <a:pt x="69" y="83"/>
                  <a:pt x="71" y="82"/>
                  <a:pt x="72" y="81"/>
                </a:cubicBezTo>
                <a:cubicBezTo>
                  <a:pt x="73" y="80"/>
                  <a:pt x="73" y="78"/>
                  <a:pt x="74" y="77"/>
                </a:cubicBezTo>
                <a:cubicBezTo>
                  <a:pt x="75" y="77"/>
                  <a:pt x="75" y="77"/>
                  <a:pt x="75" y="76"/>
                </a:cubicBezTo>
                <a:cubicBezTo>
                  <a:pt x="75" y="76"/>
                  <a:pt x="75" y="74"/>
                  <a:pt x="74" y="74"/>
                </a:cubicBezTo>
                <a:cubicBezTo>
                  <a:pt x="75" y="74"/>
                  <a:pt x="76" y="75"/>
                  <a:pt x="76" y="73"/>
                </a:cubicBezTo>
                <a:cubicBezTo>
                  <a:pt x="77" y="73"/>
                  <a:pt x="76" y="71"/>
                  <a:pt x="76" y="70"/>
                </a:cubicBezTo>
                <a:cubicBezTo>
                  <a:pt x="77" y="70"/>
                  <a:pt x="77" y="70"/>
                  <a:pt x="78" y="69"/>
                </a:cubicBezTo>
                <a:cubicBezTo>
                  <a:pt x="80" y="67"/>
                  <a:pt x="77" y="67"/>
                  <a:pt x="76" y="66"/>
                </a:cubicBezTo>
                <a:cubicBezTo>
                  <a:pt x="76" y="66"/>
                  <a:pt x="77" y="66"/>
                  <a:pt x="77" y="65"/>
                </a:cubicBezTo>
                <a:cubicBezTo>
                  <a:pt x="77" y="62"/>
                  <a:pt x="77" y="63"/>
                  <a:pt x="75" y="63"/>
                </a:cubicBezTo>
                <a:cubicBezTo>
                  <a:pt x="76" y="62"/>
                  <a:pt x="76" y="62"/>
                  <a:pt x="77" y="62"/>
                </a:cubicBezTo>
                <a:cubicBezTo>
                  <a:pt x="77" y="61"/>
                  <a:pt x="78" y="61"/>
                  <a:pt x="78" y="60"/>
                </a:cubicBezTo>
                <a:cubicBezTo>
                  <a:pt x="80" y="59"/>
                  <a:pt x="81" y="58"/>
                  <a:pt x="80" y="56"/>
                </a:cubicBezTo>
                <a:cubicBezTo>
                  <a:pt x="81" y="57"/>
                  <a:pt x="81" y="58"/>
                  <a:pt x="82" y="57"/>
                </a:cubicBezTo>
                <a:cubicBezTo>
                  <a:pt x="84" y="56"/>
                  <a:pt x="85" y="54"/>
                  <a:pt x="86" y="53"/>
                </a:cubicBezTo>
                <a:cubicBezTo>
                  <a:pt x="87" y="53"/>
                  <a:pt x="89" y="52"/>
                  <a:pt x="89" y="52"/>
                </a:cubicBezTo>
                <a:cubicBezTo>
                  <a:pt x="88" y="51"/>
                  <a:pt x="90" y="49"/>
                  <a:pt x="89" y="49"/>
                </a:cubicBezTo>
                <a:cubicBezTo>
                  <a:pt x="89" y="48"/>
                  <a:pt x="88" y="49"/>
                  <a:pt x="88" y="50"/>
                </a:cubicBezTo>
                <a:cubicBezTo>
                  <a:pt x="88" y="48"/>
                  <a:pt x="88" y="47"/>
                  <a:pt x="88" y="44"/>
                </a:cubicBezTo>
                <a:cubicBezTo>
                  <a:pt x="88" y="43"/>
                  <a:pt x="89" y="41"/>
                  <a:pt x="89" y="39"/>
                </a:cubicBezTo>
                <a:cubicBezTo>
                  <a:pt x="90" y="38"/>
                  <a:pt x="91" y="36"/>
                  <a:pt x="92" y="36"/>
                </a:cubicBezTo>
                <a:cubicBezTo>
                  <a:pt x="92" y="36"/>
                  <a:pt x="93" y="36"/>
                  <a:pt x="93" y="36"/>
                </a:cubicBezTo>
                <a:cubicBezTo>
                  <a:pt x="94" y="36"/>
                  <a:pt x="93" y="36"/>
                  <a:pt x="93" y="35"/>
                </a:cubicBezTo>
                <a:cubicBezTo>
                  <a:pt x="93" y="34"/>
                  <a:pt x="92" y="34"/>
                  <a:pt x="92" y="33"/>
                </a:cubicBezTo>
                <a:cubicBezTo>
                  <a:pt x="94" y="33"/>
                  <a:pt x="93" y="35"/>
                  <a:pt x="95" y="35"/>
                </a:cubicBezTo>
                <a:cubicBezTo>
                  <a:pt x="96" y="36"/>
                  <a:pt x="97" y="36"/>
                  <a:pt x="98" y="36"/>
                </a:cubicBezTo>
                <a:cubicBezTo>
                  <a:pt x="101" y="36"/>
                  <a:pt x="102" y="37"/>
                  <a:pt x="103" y="34"/>
                </a:cubicBezTo>
                <a:cubicBezTo>
                  <a:pt x="103" y="33"/>
                  <a:pt x="102" y="33"/>
                  <a:pt x="101" y="33"/>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2" name="Freeform 2999">
            <a:extLst>
              <a:ext uri="{FF2B5EF4-FFF2-40B4-BE49-F238E27FC236}">
                <a16:creationId xmlns:a16="http://schemas.microsoft.com/office/drawing/2014/main" id="{7F22780F-B7BE-4064-AE47-228F2787C2D4}"/>
              </a:ext>
            </a:extLst>
          </p:cNvPr>
          <p:cNvSpPr>
            <a:spLocks/>
          </p:cNvSpPr>
          <p:nvPr/>
        </p:nvSpPr>
        <p:spPr bwMode="auto">
          <a:xfrm>
            <a:off x="4719634" y="3657674"/>
            <a:ext cx="48069" cy="40958"/>
          </a:xfrm>
          <a:custGeom>
            <a:avLst/>
            <a:gdLst>
              <a:gd name="T0" fmla="*/ 40 w 41"/>
              <a:gd name="T1" fmla="*/ 17 h 29"/>
              <a:gd name="T2" fmla="*/ 38 w 41"/>
              <a:gd name="T3" fmla="*/ 17 h 29"/>
              <a:gd name="T4" fmla="*/ 34 w 41"/>
              <a:gd name="T5" fmla="*/ 16 h 29"/>
              <a:gd name="T6" fmla="*/ 30 w 41"/>
              <a:gd name="T7" fmla="*/ 13 h 29"/>
              <a:gd name="T8" fmla="*/ 29 w 41"/>
              <a:gd name="T9" fmla="*/ 14 h 29"/>
              <a:gd name="T10" fmla="*/ 27 w 41"/>
              <a:gd name="T11" fmla="*/ 13 h 29"/>
              <a:gd name="T12" fmla="*/ 29 w 41"/>
              <a:gd name="T13" fmla="*/ 12 h 29"/>
              <a:gd name="T14" fmla="*/ 28 w 41"/>
              <a:gd name="T15" fmla="*/ 11 h 29"/>
              <a:gd name="T16" fmla="*/ 27 w 41"/>
              <a:gd name="T17" fmla="*/ 11 h 29"/>
              <a:gd name="T18" fmla="*/ 23 w 41"/>
              <a:gd name="T19" fmla="*/ 12 h 29"/>
              <a:gd name="T20" fmla="*/ 24 w 41"/>
              <a:gd name="T21" fmla="*/ 12 h 29"/>
              <a:gd name="T22" fmla="*/ 24 w 41"/>
              <a:gd name="T23" fmla="*/ 11 h 29"/>
              <a:gd name="T24" fmla="*/ 24 w 41"/>
              <a:gd name="T25" fmla="*/ 10 h 29"/>
              <a:gd name="T26" fmla="*/ 25 w 41"/>
              <a:gd name="T27" fmla="*/ 8 h 29"/>
              <a:gd name="T28" fmla="*/ 25 w 41"/>
              <a:gd name="T29" fmla="*/ 8 h 29"/>
              <a:gd name="T30" fmla="*/ 24 w 41"/>
              <a:gd name="T31" fmla="*/ 5 h 29"/>
              <a:gd name="T32" fmla="*/ 22 w 41"/>
              <a:gd name="T33" fmla="*/ 5 h 29"/>
              <a:gd name="T34" fmla="*/ 19 w 41"/>
              <a:gd name="T35" fmla="*/ 1 h 29"/>
              <a:gd name="T36" fmla="*/ 18 w 41"/>
              <a:gd name="T37" fmla="*/ 2 h 29"/>
              <a:gd name="T38" fmla="*/ 16 w 41"/>
              <a:gd name="T39" fmla="*/ 5 h 29"/>
              <a:gd name="T40" fmla="*/ 16 w 41"/>
              <a:gd name="T41" fmla="*/ 4 h 29"/>
              <a:gd name="T42" fmla="*/ 16 w 41"/>
              <a:gd name="T43" fmla="*/ 1 h 29"/>
              <a:gd name="T44" fmla="*/ 14 w 41"/>
              <a:gd name="T45" fmla="*/ 4 h 29"/>
              <a:gd name="T46" fmla="*/ 10 w 41"/>
              <a:gd name="T47" fmla="*/ 9 h 29"/>
              <a:gd name="T48" fmla="*/ 6 w 41"/>
              <a:gd name="T49" fmla="*/ 16 h 29"/>
              <a:gd name="T50" fmla="*/ 3 w 41"/>
              <a:gd name="T51" fmla="*/ 16 h 29"/>
              <a:gd name="T52" fmla="*/ 1 w 41"/>
              <a:gd name="T53" fmla="*/ 18 h 29"/>
              <a:gd name="T54" fmla="*/ 2 w 41"/>
              <a:gd name="T55" fmla="*/ 18 h 29"/>
              <a:gd name="T56" fmla="*/ 2 w 41"/>
              <a:gd name="T57" fmla="*/ 19 h 29"/>
              <a:gd name="T58" fmla="*/ 2 w 41"/>
              <a:gd name="T59" fmla="*/ 21 h 29"/>
              <a:gd name="T60" fmla="*/ 0 w 41"/>
              <a:gd name="T61" fmla="*/ 22 h 29"/>
              <a:gd name="T62" fmla="*/ 1 w 41"/>
              <a:gd name="T63" fmla="*/ 24 h 29"/>
              <a:gd name="T64" fmla="*/ 1 w 41"/>
              <a:gd name="T65" fmla="*/ 25 h 29"/>
              <a:gd name="T66" fmla="*/ 2 w 41"/>
              <a:gd name="T67" fmla="*/ 27 h 29"/>
              <a:gd name="T68" fmla="*/ 3 w 41"/>
              <a:gd name="T69" fmla="*/ 29 h 29"/>
              <a:gd name="T70" fmla="*/ 6 w 41"/>
              <a:gd name="T71" fmla="*/ 27 h 29"/>
              <a:gd name="T72" fmla="*/ 7 w 41"/>
              <a:gd name="T73" fmla="*/ 26 h 29"/>
              <a:gd name="T74" fmla="*/ 8 w 41"/>
              <a:gd name="T75" fmla="*/ 27 h 29"/>
              <a:gd name="T76" fmla="*/ 8 w 41"/>
              <a:gd name="T77" fmla="*/ 27 h 29"/>
              <a:gd name="T78" fmla="*/ 8 w 41"/>
              <a:gd name="T79" fmla="*/ 27 h 29"/>
              <a:gd name="T80" fmla="*/ 12 w 41"/>
              <a:gd name="T81" fmla="*/ 26 h 29"/>
              <a:gd name="T82" fmla="*/ 12 w 41"/>
              <a:gd name="T83" fmla="*/ 26 h 29"/>
              <a:gd name="T84" fmla="*/ 22 w 41"/>
              <a:gd name="T85" fmla="*/ 28 h 29"/>
              <a:gd name="T86" fmla="*/ 24 w 41"/>
              <a:gd name="T87" fmla="*/ 29 h 29"/>
              <a:gd name="T88" fmla="*/ 25 w 41"/>
              <a:gd name="T89" fmla="*/ 27 h 29"/>
              <a:gd name="T90" fmla="*/ 27 w 41"/>
              <a:gd name="T91" fmla="*/ 28 h 29"/>
              <a:gd name="T92" fmla="*/ 35 w 41"/>
              <a:gd name="T93" fmla="*/ 27 h 29"/>
              <a:gd name="T94" fmla="*/ 33 w 41"/>
              <a:gd name="T95" fmla="*/ 26 h 29"/>
              <a:gd name="T96" fmla="*/ 33 w 41"/>
              <a:gd name="T97" fmla="*/ 26 h 29"/>
              <a:gd name="T98" fmla="*/ 32 w 41"/>
              <a:gd name="T99" fmla="*/ 25 h 29"/>
              <a:gd name="T100" fmla="*/ 30 w 41"/>
              <a:gd name="T101" fmla="*/ 24 h 29"/>
              <a:gd name="T102" fmla="*/ 33 w 41"/>
              <a:gd name="T103" fmla="*/ 21 h 29"/>
              <a:gd name="T104" fmla="*/ 34 w 41"/>
              <a:gd name="T105" fmla="*/ 22 h 29"/>
              <a:gd name="T106" fmla="*/ 39 w 41"/>
              <a:gd name="T107" fmla="*/ 19 h 29"/>
              <a:gd name="T108" fmla="*/ 41 w 41"/>
              <a:gd name="T109" fmla="*/ 19 h 29"/>
              <a:gd name="T110" fmla="*/ 40 w 41"/>
              <a:gd name="T111" fmla="*/ 1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1" h="29">
                <a:moveTo>
                  <a:pt x="40" y="17"/>
                </a:moveTo>
                <a:cubicBezTo>
                  <a:pt x="40" y="17"/>
                  <a:pt x="38" y="17"/>
                  <a:pt x="38" y="17"/>
                </a:cubicBezTo>
                <a:cubicBezTo>
                  <a:pt x="36" y="17"/>
                  <a:pt x="35" y="13"/>
                  <a:pt x="34" y="16"/>
                </a:cubicBezTo>
                <a:cubicBezTo>
                  <a:pt x="34" y="14"/>
                  <a:pt x="32" y="13"/>
                  <a:pt x="30" y="13"/>
                </a:cubicBezTo>
                <a:cubicBezTo>
                  <a:pt x="30" y="13"/>
                  <a:pt x="30" y="14"/>
                  <a:pt x="29" y="14"/>
                </a:cubicBezTo>
                <a:cubicBezTo>
                  <a:pt x="29" y="14"/>
                  <a:pt x="27" y="14"/>
                  <a:pt x="27" y="13"/>
                </a:cubicBezTo>
                <a:cubicBezTo>
                  <a:pt x="28" y="13"/>
                  <a:pt x="29" y="14"/>
                  <a:pt x="29" y="12"/>
                </a:cubicBezTo>
                <a:cubicBezTo>
                  <a:pt x="30" y="12"/>
                  <a:pt x="28" y="11"/>
                  <a:pt x="28" y="11"/>
                </a:cubicBezTo>
                <a:cubicBezTo>
                  <a:pt x="28" y="11"/>
                  <a:pt x="27" y="11"/>
                  <a:pt x="27" y="11"/>
                </a:cubicBezTo>
                <a:cubicBezTo>
                  <a:pt x="26" y="12"/>
                  <a:pt x="25" y="12"/>
                  <a:pt x="23" y="12"/>
                </a:cubicBezTo>
                <a:cubicBezTo>
                  <a:pt x="23" y="12"/>
                  <a:pt x="24" y="12"/>
                  <a:pt x="24" y="12"/>
                </a:cubicBezTo>
                <a:cubicBezTo>
                  <a:pt x="25" y="11"/>
                  <a:pt x="24" y="12"/>
                  <a:pt x="24" y="11"/>
                </a:cubicBezTo>
                <a:cubicBezTo>
                  <a:pt x="25" y="10"/>
                  <a:pt x="24" y="10"/>
                  <a:pt x="24" y="10"/>
                </a:cubicBezTo>
                <a:cubicBezTo>
                  <a:pt x="24" y="9"/>
                  <a:pt x="24" y="9"/>
                  <a:pt x="25" y="8"/>
                </a:cubicBezTo>
                <a:cubicBezTo>
                  <a:pt x="25" y="8"/>
                  <a:pt x="25" y="9"/>
                  <a:pt x="25" y="8"/>
                </a:cubicBezTo>
                <a:cubicBezTo>
                  <a:pt x="25" y="7"/>
                  <a:pt x="24" y="6"/>
                  <a:pt x="24" y="5"/>
                </a:cubicBezTo>
                <a:cubicBezTo>
                  <a:pt x="23" y="5"/>
                  <a:pt x="23" y="5"/>
                  <a:pt x="22" y="5"/>
                </a:cubicBezTo>
                <a:cubicBezTo>
                  <a:pt x="20" y="4"/>
                  <a:pt x="20" y="0"/>
                  <a:pt x="19" y="1"/>
                </a:cubicBezTo>
                <a:cubicBezTo>
                  <a:pt x="18" y="1"/>
                  <a:pt x="19" y="2"/>
                  <a:pt x="18" y="2"/>
                </a:cubicBezTo>
                <a:cubicBezTo>
                  <a:pt x="18" y="3"/>
                  <a:pt x="17" y="4"/>
                  <a:pt x="16" y="5"/>
                </a:cubicBezTo>
                <a:cubicBezTo>
                  <a:pt x="16" y="4"/>
                  <a:pt x="16" y="4"/>
                  <a:pt x="16" y="4"/>
                </a:cubicBezTo>
                <a:cubicBezTo>
                  <a:pt x="16" y="2"/>
                  <a:pt x="16" y="2"/>
                  <a:pt x="16" y="1"/>
                </a:cubicBezTo>
                <a:cubicBezTo>
                  <a:pt x="15" y="2"/>
                  <a:pt x="15" y="3"/>
                  <a:pt x="14" y="4"/>
                </a:cubicBezTo>
                <a:cubicBezTo>
                  <a:pt x="13" y="6"/>
                  <a:pt x="11" y="7"/>
                  <a:pt x="10" y="9"/>
                </a:cubicBezTo>
                <a:cubicBezTo>
                  <a:pt x="8" y="11"/>
                  <a:pt x="7" y="13"/>
                  <a:pt x="6" y="16"/>
                </a:cubicBezTo>
                <a:cubicBezTo>
                  <a:pt x="4" y="15"/>
                  <a:pt x="4" y="15"/>
                  <a:pt x="3" y="16"/>
                </a:cubicBezTo>
                <a:cubicBezTo>
                  <a:pt x="2" y="17"/>
                  <a:pt x="1" y="17"/>
                  <a:pt x="1" y="18"/>
                </a:cubicBezTo>
                <a:cubicBezTo>
                  <a:pt x="1" y="18"/>
                  <a:pt x="1" y="18"/>
                  <a:pt x="2" y="18"/>
                </a:cubicBezTo>
                <a:cubicBezTo>
                  <a:pt x="2" y="18"/>
                  <a:pt x="2" y="18"/>
                  <a:pt x="2" y="19"/>
                </a:cubicBezTo>
                <a:cubicBezTo>
                  <a:pt x="2" y="19"/>
                  <a:pt x="2" y="20"/>
                  <a:pt x="2" y="21"/>
                </a:cubicBezTo>
                <a:cubicBezTo>
                  <a:pt x="2" y="22"/>
                  <a:pt x="1" y="22"/>
                  <a:pt x="0" y="22"/>
                </a:cubicBezTo>
                <a:cubicBezTo>
                  <a:pt x="1" y="23"/>
                  <a:pt x="1" y="24"/>
                  <a:pt x="1" y="24"/>
                </a:cubicBezTo>
                <a:cubicBezTo>
                  <a:pt x="1" y="25"/>
                  <a:pt x="1" y="25"/>
                  <a:pt x="1" y="25"/>
                </a:cubicBezTo>
                <a:cubicBezTo>
                  <a:pt x="1" y="26"/>
                  <a:pt x="2" y="27"/>
                  <a:pt x="2" y="27"/>
                </a:cubicBezTo>
                <a:cubicBezTo>
                  <a:pt x="3" y="29"/>
                  <a:pt x="3" y="29"/>
                  <a:pt x="3" y="29"/>
                </a:cubicBezTo>
                <a:cubicBezTo>
                  <a:pt x="4" y="28"/>
                  <a:pt x="5" y="27"/>
                  <a:pt x="6" y="27"/>
                </a:cubicBezTo>
                <a:cubicBezTo>
                  <a:pt x="7" y="26"/>
                  <a:pt x="7" y="26"/>
                  <a:pt x="7" y="26"/>
                </a:cubicBezTo>
                <a:cubicBezTo>
                  <a:pt x="8" y="27"/>
                  <a:pt x="8" y="27"/>
                  <a:pt x="8" y="27"/>
                </a:cubicBezTo>
                <a:cubicBezTo>
                  <a:pt x="8" y="27"/>
                  <a:pt x="8" y="27"/>
                  <a:pt x="8" y="27"/>
                </a:cubicBezTo>
                <a:cubicBezTo>
                  <a:pt x="8" y="27"/>
                  <a:pt x="8" y="27"/>
                  <a:pt x="8" y="27"/>
                </a:cubicBezTo>
                <a:cubicBezTo>
                  <a:pt x="9" y="27"/>
                  <a:pt x="10" y="27"/>
                  <a:pt x="12" y="26"/>
                </a:cubicBezTo>
                <a:cubicBezTo>
                  <a:pt x="12" y="26"/>
                  <a:pt x="12" y="26"/>
                  <a:pt x="12" y="26"/>
                </a:cubicBezTo>
                <a:cubicBezTo>
                  <a:pt x="16" y="26"/>
                  <a:pt x="19" y="27"/>
                  <a:pt x="22" y="28"/>
                </a:cubicBezTo>
                <a:cubicBezTo>
                  <a:pt x="23" y="28"/>
                  <a:pt x="24" y="28"/>
                  <a:pt x="24" y="29"/>
                </a:cubicBezTo>
                <a:cubicBezTo>
                  <a:pt x="24" y="28"/>
                  <a:pt x="25" y="28"/>
                  <a:pt x="25" y="27"/>
                </a:cubicBezTo>
                <a:cubicBezTo>
                  <a:pt x="25" y="28"/>
                  <a:pt x="26" y="28"/>
                  <a:pt x="27" y="28"/>
                </a:cubicBezTo>
                <a:cubicBezTo>
                  <a:pt x="28" y="28"/>
                  <a:pt x="35" y="29"/>
                  <a:pt x="35" y="27"/>
                </a:cubicBezTo>
                <a:cubicBezTo>
                  <a:pt x="35" y="26"/>
                  <a:pt x="33" y="26"/>
                  <a:pt x="33" y="26"/>
                </a:cubicBezTo>
                <a:cubicBezTo>
                  <a:pt x="33" y="26"/>
                  <a:pt x="33" y="26"/>
                  <a:pt x="33" y="26"/>
                </a:cubicBezTo>
                <a:cubicBezTo>
                  <a:pt x="33" y="25"/>
                  <a:pt x="32" y="25"/>
                  <a:pt x="32" y="25"/>
                </a:cubicBezTo>
                <a:cubicBezTo>
                  <a:pt x="32" y="25"/>
                  <a:pt x="31" y="24"/>
                  <a:pt x="30" y="24"/>
                </a:cubicBezTo>
                <a:cubicBezTo>
                  <a:pt x="29" y="22"/>
                  <a:pt x="31" y="21"/>
                  <a:pt x="33" y="21"/>
                </a:cubicBezTo>
                <a:cubicBezTo>
                  <a:pt x="33" y="21"/>
                  <a:pt x="33" y="22"/>
                  <a:pt x="34" y="22"/>
                </a:cubicBezTo>
                <a:cubicBezTo>
                  <a:pt x="35" y="22"/>
                  <a:pt x="38" y="20"/>
                  <a:pt x="39" y="19"/>
                </a:cubicBezTo>
                <a:cubicBezTo>
                  <a:pt x="39" y="19"/>
                  <a:pt x="41" y="19"/>
                  <a:pt x="41" y="19"/>
                </a:cubicBezTo>
                <a:cubicBezTo>
                  <a:pt x="41" y="18"/>
                  <a:pt x="41" y="17"/>
                  <a:pt x="40" y="17"/>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3" name="Freeform 3000">
            <a:extLst>
              <a:ext uri="{FF2B5EF4-FFF2-40B4-BE49-F238E27FC236}">
                <a16:creationId xmlns:a16="http://schemas.microsoft.com/office/drawing/2014/main" id="{6DBA9A7F-FD53-4CC5-8269-DB30475C980F}"/>
              </a:ext>
            </a:extLst>
          </p:cNvPr>
          <p:cNvSpPr>
            <a:spLocks/>
          </p:cNvSpPr>
          <p:nvPr/>
        </p:nvSpPr>
        <p:spPr bwMode="auto">
          <a:xfrm>
            <a:off x="4652734" y="3691509"/>
            <a:ext cx="70370" cy="54611"/>
          </a:xfrm>
          <a:custGeom>
            <a:avLst/>
            <a:gdLst>
              <a:gd name="T0" fmla="*/ 0 w 60"/>
              <a:gd name="T1" fmla="*/ 30 h 39"/>
              <a:gd name="T2" fmla="*/ 4 w 60"/>
              <a:gd name="T3" fmla="*/ 34 h 39"/>
              <a:gd name="T4" fmla="*/ 8 w 60"/>
              <a:gd name="T5" fmla="*/ 37 h 39"/>
              <a:gd name="T6" fmla="*/ 9 w 60"/>
              <a:gd name="T7" fmla="*/ 38 h 39"/>
              <a:gd name="T8" fmla="*/ 13 w 60"/>
              <a:gd name="T9" fmla="*/ 37 h 39"/>
              <a:gd name="T10" fmla="*/ 19 w 60"/>
              <a:gd name="T11" fmla="*/ 37 h 39"/>
              <a:gd name="T12" fmla="*/ 21 w 60"/>
              <a:gd name="T13" fmla="*/ 37 h 39"/>
              <a:gd name="T14" fmla="*/ 24 w 60"/>
              <a:gd name="T15" fmla="*/ 35 h 39"/>
              <a:gd name="T16" fmla="*/ 27 w 60"/>
              <a:gd name="T17" fmla="*/ 32 h 39"/>
              <a:gd name="T18" fmla="*/ 36 w 60"/>
              <a:gd name="T19" fmla="*/ 32 h 39"/>
              <a:gd name="T20" fmla="*/ 37 w 60"/>
              <a:gd name="T21" fmla="*/ 33 h 39"/>
              <a:gd name="T22" fmla="*/ 41 w 60"/>
              <a:gd name="T23" fmla="*/ 34 h 39"/>
              <a:gd name="T24" fmla="*/ 42 w 60"/>
              <a:gd name="T25" fmla="*/ 34 h 39"/>
              <a:gd name="T26" fmla="*/ 46 w 60"/>
              <a:gd name="T27" fmla="*/ 33 h 39"/>
              <a:gd name="T28" fmla="*/ 48 w 60"/>
              <a:gd name="T29" fmla="*/ 32 h 39"/>
              <a:gd name="T30" fmla="*/ 48 w 60"/>
              <a:gd name="T31" fmla="*/ 32 h 39"/>
              <a:gd name="T32" fmla="*/ 49 w 60"/>
              <a:gd name="T33" fmla="*/ 32 h 39"/>
              <a:gd name="T34" fmla="*/ 50 w 60"/>
              <a:gd name="T35" fmla="*/ 30 h 39"/>
              <a:gd name="T36" fmla="*/ 51 w 60"/>
              <a:gd name="T37" fmla="*/ 29 h 39"/>
              <a:gd name="T38" fmla="*/ 52 w 60"/>
              <a:gd name="T39" fmla="*/ 28 h 39"/>
              <a:gd name="T40" fmla="*/ 52 w 60"/>
              <a:gd name="T41" fmla="*/ 27 h 39"/>
              <a:gd name="T42" fmla="*/ 53 w 60"/>
              <a:gd name="T43" fmla="*/ 23 h 39"/>
              <a:gd name="T44" fmla="*/ 54 w 60"/>
              <a:gd name="T45" fmla="*/ 23 h 39"/>
              <a:gd name="T46" fmla="*/ 55 w 60"/>
              <a:gd name="T47" fmla="*/ 22 h 39"/>
              <a:gd name="T48" fmla="*/ 59 w 60"/>
              <a:gd name="T49" fmla="*/ 16 h 39"/>
              <a:gd name="T50" fmla="*/ 59 w 60"/>
              <a:gd name="T51" fmla="*/ 9 h 39"/>
              <a:gd name="T52" fmla="*/ 58 w 60"/>
              <a:gd name="T53" fmla="*/ 5 h 39"/>
              <a:gd name="T54" fmla="*/ 57 w 60"/>
              <a:gd name="T55" fmla="*/ 5 h 39"/>
              <a:gd name="T56" fmla="*/ 54 w 60"/>
              <a:gd name="T57" fmla="*/ 3 h 39"/>
              <a:gd name="T58" fmla="*/ 54 w 60"/>
              <a:gd name="T59" fmla="*/ 0 h 39"/>
              <a:gd name="T60" fmla="*/ 54 w 60"/>
              <a:gd name="T61" fmla="*/ 3 h 39"/>
              <a:gd name="T62" fmla="*/ 54 w 60"/>
              <a:gd name="T63" fmla="*/ 4 h 39"/>
              <a:gd name="T64" fmla="*/ 53 w 60"/>
              <a:gd name="T65" fmla="*/ 7 h 39"/>
              <a:gd name="T66" fmla="*/ 51 w 60"/>
              <a:gd name="T67" fmla="*/ 8 h 39"/>
              <a:gd name="T68" fmla="*/ 47 w 60"/>
              <a:gd name="T69" fmla="*/ 5 h 39"/>
              <a:gd name="T70" fmla="*/ 46 w 60"/>
              <a:gd name="T71" fmla="*/ 4 h 39"/>
              <a:gd name="T72" fmla="*/ 44 w 60"/>
              <a:gd name="T73" fmla="*/ 3 h 39"/>
              <a:gd name="T74" fmla="*/ 35 w 60"/>
              <a:gd name="T75" fmla="*/ 15 h 39"/>
              <a:gd name="T76" fmla="*/ 21 w 60"/>
              <a:gd name="T77" fmla="*/ 19 h 39"/>
              <a:gd name="T78" fmla="*/ 18 w 60"/>
              <a:gd name="T79" fmla="*/ 24 h 39"/>
              <a:gd name="T80" fmla="*/ 16 w 60"/>
              <a:gd name="T81" fmla="*/ 24 h 39"/>
              <a:gd name="T82" fmla="*/ 16 w 60"/>
              <a:gd name="T83" fmla="*/ 32 h 39"/>
              <a:gd name="T84" fmla="*/ 17 w 60"/>
              <a:gd name="T85" fmla="*/ 35 h 39"/>
              <a:gd name="T86" fmla="*/ 10 w 60"/>
              <a:gd name="T87" fmla="*/ 32 h 39"/>
              <a:gd name="T88" fmla="*/ 5 w 60"/>
              <a:gd name="T89" fmla="*/ 31 h 39"/>
              <a:gd name="T90" fmla="*/ 1 w 60"/>
              <a:gd name="T91" fmla="*/ 2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 h="39">
                <a:moveTo>
                  <a:pt x="1" y="29"/>
                </a:moveTo>
                <a:cubicBezTo>
                  <a:pt x="0" y="29"/>
                  <a:pt x="0" y="29"/>
                  <a:pt x="0" y="30"/>
                </a:cubicBezTo>
                <a:cubicBezTo>
                  <a:pt x="1" y="31"/>
                  <a:pt x="2" y="32"/>
                  <a:pt x="4" y="34"/>
                </a:cubicBezTo>
                <a:cubicBezTo>
                  <a:pt x="4" y="34"/>
                  <a:pt x="4" y="34"/>
                  <a:pt x="4" y="34"/>
                </a:cubicBezTo>
                <a:cubicBezTo>
                  <a:pt x="5" y="35"/>
                  <a:pt x="6" y="36"/>
                  <a:pt x="7" y="36"/>
                </a:cubicBezTo>
                <a:cubicBezTo>
                  <a:pt x="8" y="37"/>
                  <a:pt x="8" y="37"/>
                  <a:pt x="8" y="37"/>
                </a:cubicBezTo>
                <a:cubicBezTo>
                  <a:pt x="8" y="37"/>
                  <a:pt x="8" y="37"/>
                  <a:pt x="8" y="38"/>
                </a:cubicBezTo>
                <a:cubicBezTo>
                  <a:pt x="9" y="38"/>
                  <a:pt x="9" y="38"/>
                  <a:pt x="9" y="38"/>
                </a:cubicBezTo>
                <a:cubicBezTo>
                  <a:pt x="10" y="39"/>
                  <a:pt x="12" y="38"/>
                  <a:pt x="13" y="37"/>
                </a:cubicBezTo>
                <a:cubicBezTo>
                  <a:pt x="13" y="37"/>
                  <a:pt x="13" y="37"/>
                  <a:pt x="13" y="37"/>
                </a:cubicBezTo>
                <a:cubicBezTo>
                  <a:pt x="13" y="37"/>
                  <a:pt x="14" y="37"/>
                  <a:pt x="14" y="37"/>
                </a:cubicBezTo>
                <a:cubicBezTo>
                  <a:pt x="16" y="36"/>
                  <a:pt x="18" y="36"/>
                  <a:pt x="19" y="37"/>
                </a:cubicBezTo>
                <a:cubicBezTo>
                  <a:pt x="20" y="37"/>
                  <a:pt x="20" y="37"/>
                  <a:pt x="20" y="37"/>
                </a:cubicBezTo>
                <a:cubicBezTo>
                  <a:pt x="20" y="37"/>
                  <a:pt x="20" y="37"/>
                  <a:pt x="21" y="37"/>
                </a:cubicBezTo>
                <a:cubicBezTo>
                  <a:pt x="22" y="37"/>
                  <a:pt x="24" y="36"/>
                  <a:pt x="24" y="35"/>
                </a:cubicBezTo>
                <a:cubicBezTo>
                  <a:pt x="24" y="35"/>
                  <a:pt x="24" y="35"/>
                  <a:pt x="24" y="35"/>
                </a:cubicBezTo>
                <a:cubicBezTo>
                  <a:pt x="24" y="35"/>
                  <a:pt x="24" y="35"/>
                  <a:pt x="24" y="35"/>
                </a:cubicBezTo>
                <a:cubicBezTo>
                  <a:pt x="25" y="33"/>
                  <a:pt x="25" y="32"/>
                  <a:pt x="27" y="32"/>
                </a:cubicBezTo>
                <a:cubicBezTo>
                  <a:pt x="28" y="32"/>
                  <a:pt x="28" y="32"/>
                  <a:pt x="28" y="32"/>
                </a:cubicBezTo>
                <a:cubicBezTo>
                  <a:pt x="34" y="31"/>
                  <a:pt x="35" y="31"/>
                  <a:pt x="36" y="32"/>
                </a:cubicBezTo>
                <a:cubicBezTo>
                  <a:pt x="36" y="32"/>
                  <a:pt x="36" y="32"/>
                  <a:pt x="36" y="33"/>
                </a:cubicBezTo>
                <a:cubicBezTo>
                  <a:pt x="36" y="33"/>
                  <a:pt x="37" y="33"/>
                  <a:pt x="37" y="33"/>
                </a:cubicBezTo>
                <a:cubicBezTo>
                  <a:pt x="37" y="33"/>
                  <a:pt x="37" y="33"/>
                  <a:pt x="37" y="33"/>
                </a:cubicBezTo>
                <a:cubicBezTo>
                  <a:pt x="39" y="34"/>
                  <a:pt x="40" y="35"/>
                  <a:pt x="41" y="34"/>
                </a:cubicBezTo>
                <a:cubicBezTo>
                  <a:pt x="41" y="34"/>
                  <a:pt x="41" y="34"/>
                  <a:pt x="41" y="34"/>
                </a:cubicBezTo>
                <a:cubicBezTo>
                  <a:pt x="41" y="34"/>
                  <a:pt x="42" y="34"/>
                  <a:pt x="42" y="34"/>
                </a:cubicBezTo>
                <a:cubicBezTo>
                  <a:pt x="43" y="33"/>
                  <a:pt x="44" y="33"/>
                  <a:pt x="45" y="33"/>
                </a:cubicBezTo>
                <a:cubicBezTo>
                  <a:pt x="46" y="33"/>
                  <a:pt x="46" y="33"/>
                  <a:pt x="46" y="33"/>
                </a:cubicBezTo>
                <a:cubicBezTo>
                  <a:pt x="48" y="32"/>
                  <a:pt x="48" y="32"/>
                  <a:pt x="48" y="32"/>
                </a:cubicBezTo>
                <a:cubicBezTo>
                  <a:pt x="48" y="32"/>
                  <a:pt x="48" y="32"/>
                  <a:pt x="48" y="32"/>
                </a:cubicBezTo>
                <a:cubicBezTo>
                  <a:pt x="48" y="32"/>
                  <a:pt x="48" y="32"/>
                  <a:pt x="48" y="32"/>
                </a:cubicBezTo>
                <a:cubicBezTo>
                  <a:pt x="48" y="32"/>
                  <a:pt x="48" y="32"/>
                  <a:pt x="48" y="32"/>
                </a:cubicBezTo>
                <a:cubicBezTo>
                  <a:pt x="49" y="32"/>
                  <a:pt x="49" y="32"/>
                  <a:pt x="49" y="32"/>
                </a:cubicBezTo>
                <a:cubicBezTo>
                  <a:pt x="49" y="32"/>
                  <a:pt x="49" y="32"/>
                  <a:pt x="49" y="32"/>
                </a:cubicBezTo>
                <a:cubicBezTo>
                  <a:pt x="50" y="31"/>
                  <a:pt x="50" y="31"/>
                  <a:pt x="50" y="31"/>
                </a:cubicBezTo>
                <a:cubicBezTo>
                  <a:pt x="50" y="31"/>
                  <a:pt x="50" y="30"/>
                  <a:pt x="50" y="30"/>
                </a:cubicBezTo>
                <a:cubicBezTo>
                  <a:pt x="50" y="30"/>
                  <a:pt x="50" y="29"/>
                  <a:pt x="50" y="29"/>
                </a:cubicBezTo>
                <a:cubicBezTo>
                  <a:pt x="51" y="29"/>
                  <a:pt x="51" y="29"/>
                  <a:pt x="51" y="29"/>
                </a:cubicBezTo>
                <a:cubicBezTo>
                  <a:pt x="51" y="28"/>
                  <a:pt x="51" y="28"/>
                  <a:pt x="51" y="28"/>
                </a:cubicBezTo>
                <a:cubicBezTo>
                  <a:pt x="52" y="28"/>
                  <a:pt x="52" y="28"/>
                  <a:pt x="52" y="28"/>
                </a:cubicBezTo>
                <a:cubicBezTo>
                  <a:pt x="52" y="28"/>
                  <a:pt x="52" y="28"/>
                  <a:pt x="52" y="28"/>
                </a:cubicBezTo>
                <a:cubicBezTo>
                  <a:pt x="52" y="28"/>
                  <a:pt x="52" y="28"/>
                  <a:pt x="52" y="27"/>
                </a:cubicBezTo>
                <a:cubicBezTo>
                  <a:pt x="51" y="27"/>
                  <a:pt x="51" y="26"/>
                  <a:pt x="51" y="25"/>
                </a:cubicBezTo>
                <a:cubicBezTo>
                  <a:pt x="52" y="24"/>
                  <a:pt x="52" y="24"/>
                  <a:pt x="53" y="23"/>
                </a:cubicBezTo>
                <a:cubicBezTo>
                  <a:pt x="54" y="23"/>
                  <a:pt x="54" y="23"/>
                  <a:pt x="54" y="23"/>
                </a:cubicBezTo>
                <a:cubicBezTo>
                  <a:pt x="54" y="23"/>
                  <a:pt x="54" y="23"/>
                  <a:pt x="54" y="23"/>
                </a:cubicBezTo>
                <a:cubicBezTo>
                  <a:pt x="55" y="23"/>
                  <a:pt x="55" y="23"/>
                  <a:pt x="55" y="23"/>
                </a:cubicBezTo>
                <a:cubicBezTo>
                  <a:pt x="55" y="22"/>
                  <a:pt x="55" y="22"/>
                  <a:pt x="55" y="22"/>
                </a:cubicBezTo>
                <a:cubicBezTo>
                  <a:pt x="54" y="21"/>
                  <a:pt x="54" y="19"/>
                  <a:pt x="55" y="18"/>
                </a:cubicBezTo>
                <a:cubicBezTo>
                  <a:pt x="56" y="17"/>
                  <a:pt x="57" y="16"/>
                  <a:pt x="59" y="16"/>
                </a:cubicBezTo>
                <a:cubicBezTo>
                  <a:pt x="59" y="16"/>
                  <a:pt x="59" y="16"/>
                  <a:pt x="59" y="16"/>
                </a:cubicBezTo>
                <a:cubicBezTo>
                  <a:pt x="60" y="14"/>
                  <a:pt x="59" y="12"/>
                  <a:pt x="59" y="9"/>
                </a:cubicBezTo>
                <a:cubicBezTo>
                  <a:pt x="59" y="8"/>
                  <a:pt x="60" y="7"/>
                  <a:pt x="60" y="5"/>
                </a:cubicBezTo>
                <a:cubicBezTo>
                  <a:pt x="58" y="5"/>
                  <a:pt x="58" y="5"/>
                  <a:pt x="58" y="5"/>
                </a:cubicBezTo>
                <a:cubicBezTo>
                  <a:pt x="58" y="5"/>
                  <a:pt x="57" y="5"/>
                  <a:pt x="57" y="5"/>
                </a:cubicBezTo>
                <a:cubicBezTo>
                  <a:pt x="57" y="5"/>
                  <a:pt x="57" y="5"/>
                  <a:pt x="57" y="5"/>
                </a:cubicBezTo>
                <a:cubicBezTo>
                  <a:pt x="56" y="5"/>
                  <a:pt x="55" y="5"/>
                  <a:pt x="54" y="4"/>
                </a:cubicBezTo>
                <a:cubicBezTo>
                  <a:pt x="54" y="3"/>
                  <a:pt x="54" y="3"/>
                  <a:pt x="54" y="3"/>
                </a:cubicBezTo>
                <a:cubicBezTo>
                  <a:pt x="54" y="2"/>
                  <a:pt x="54" y="1"/>
                  <a:pt x="54" y="0"/>
                </a:cubicBezTo>
                <a:cubicBezTo>
                  <a:pt x="54" y="0"/>
                  <a:pt x="54" y="0"/>
                  <a:pt x="54" y="0"/>
                </a:cubicBezTo>
                <a:cubicBezTo>
                  <a:pt x="54" y="1"/>
                  <a:pt x="54" y="1"/>
                  <a:pt x="54" y="1"/>
                </a:cubicBezTo>
                <a:cubicBezTo>
                  <a:pt x="54" y="2"/>
                  <a:pt x="54" y="2"/>
                  <a:pt x="54" y="3"/>
                </a:cubicBezTo>
                <a:cubicBezTo>
                  <a:pt x="54" y="3"/>
                  <a:pt x="54" y="3"/>
                  <a:pt x="54" y="3"/>
                </a:cubicBezTo>
                <a:cubicBezTo>
                  <a:pt x="54" y="4"/>
                  <a:pt x="54" y="4"/>
                  <a:pt x="54" y="4"/>
                </a:cubicBezTo>
                <a:cubicBezTo>
                  <a:pt x="54" y="5"/>
                  <a:pt x="54" y="5"/>
                  <a:pt x="54" y="5"/>
                </a:cubicBezTo>
                <a:cubicBezTo>
                  <a:pt x="54" y="6"/>
                  <a:pt x="54" y="7"/>
                  <a:pt x="53" y="7"/>
                </a:cubicBezTo>
                <a:cubicBezTo>
                  <a:pt x="52" y="8"/>
                  <a:pt x="52" y="8"/>
                  <a:pt x="51" y="8"/>
                </a:cubicBezTo>
                <a:cubicBezTo>
                  <a:pt x="51" y="8"/>
                  <a:pt x="51" y="8"/>
                  <a:pt x="51" y="8"/>
                </a:cubicBezTo>
                <a:cubicBezTo>
                  <a:pt x="49" y="8"/>
                  <a:pt x="49" y="7"/>
                  <a:pt x="47" y="5"/>
                </a:cubicBezTo>
                <a:cubicBezTo>
                  <a:pt x="47" y="5"/>
                  <a:pt x="47" y="5"/>
                  <a:pt x="47" y="5"/>
                </a:cubicBezTo>
                <a:cubicBezTo>
                  <a:pt x="47" y="5"/>
                  <a:pt x="47" y="5"/>
                  <a:pt x="47" y="4"/>
                </a:cubicBezTo>
                <a:cubicBezTo>
                  <a:pt x="46" y="4"/>
                  <a:pt x="46" y="4"/>
                  <a:pt x="46" y="4"/>
                </a:cubicBezTo>
                <a:cubicBezTo>
                  <a:pt x="46" y="4"/>
                  <a:pt x="46" y="4"/>
                  <a:pt x="46" y="4"/>
                </a:cubicBezTo>
                <a:cubicBezTo>
                  <a:pt x="46" y="4"/>
                  <a:pt x="45" y="3"/>
                  <a:pt x="44" y="3"/>
                </a:cubicBezTo>
                <a:cubicBezTo>
                  <a:pt x="43" y="5"/>
                  <a:pt x="41" y="7"/>
                  <a:pt x="39" y="10"/>
                </a:cubicBezTo>
                <a:cubicBezTo>
                  <a:pt x="38" y="12"/>
                  <a:pt x="36" y="14"/>
                  <a:pt x="35" y="15"/>
                </a:cubicBezTo>
                <a:cubicBezTo>
                  <a:pt x="34" y="16"/>
                  <a:pt x="33" y="17"/>
                  <a:pt x="31" y="17"/>
                </a:cubicBezTo>
                <a:cubicBezTo>
                  <a:pt x="28" y="18"/>
                  <a:pt x="25" y="19"/>
                  <a:pt x="21" y="19"/>
                </a:cubicBezTo>
                <a:cubicBezTo>
                  <a:pt x="20" y="20"/>
                  <a:pt x="20" y="20"/>
                  <a:pt x="19" y="22"/>
                </a:cubicBezTo>
                <a:cubicBezTo>
                  <a:pt x="19" y="23"/>
                  <a:pt x="19" y="24"/>
                  <a:pt x="18" y="24"/>
                </a:cubicBezTo>
                <a:cubicBezTo>
                  <a:pt x="17" y="24"/>
                  <a:pt x="17" y="24"/>
                  <a:pt x="16" y="24"/>
                </a:cubicBezTo>
                <a:cubicBezTo>
                  <a:pt x="16" y="24"/>
                  <a:pt x="16" y="23"/>
                  <a:pt x="16" y="24"/>
                </a:cubicBezTo>
                <a:cubicBezTo>
                  <a:pt x="16" y="25"/>
                  <a:pt x="17" y="26"/>
                  <a:pt x="17" y="27"/>
                </a:cubicBezTo>
                <a:cubicBezTo>
                  <a:pt x="15" y="28"/>
                  <a:pt x="13" y="31"/>
                  <a:pt x="16" y="32"/>
                </a:cubicBezTo>
                <a:cubicBezTo>
                  <a:pt x="15" y="32"/>
                  <a:pt x="13" y="32"/>
                  <a:pt x="14" y="33"/>
                </a:cubicBezTo>
                <a:cubicBezTo>
                  <a:pt x="15" y="34"/>
                  <a:pt x="17" y="34"/>
                  <a:pt x="17" y="35"/>
                </a:cubicBezTo>
                <a:cubicBezTo>
                  <a:pt x="15" y="35"/>
                  <a:pt x="13" y="33"/>
                  <a:pt x="10" y="34"/>
                </a:cubicBezTo>
                <a:cubicBezTo>
                  <a:pt x="11" y="33"/>
                  <a:pt x="11" y="33"/>
                  <a:pt x="10" y="32"/>
                </a:cubicBezTo>
                <a:cubicBezTo>
                  <a:pt x="10" y="32"/>
                  <a:pt x="9" y="31"/>
                  <a:pt x="9" y="31"/>
                </a:cubicBezTo>
                <a:cubicBezTo>
                  <a:pt x="8" y="30"/>
                  <a:pt x="6" y="31"/>
                  <a:pt x="5" y="31"/>
                </a:cubicBezTo>
                <a:cubicBezTo>
                  <a:pt x="5" y="31"/>
                  <a:pt x="4" y="31"/>
                  <a:pt x="3" y="31"/>
                </a:cubicBezTo>
                <a:cubicBezTo>
                  <a:pt x="2" y="31"/>
                  <a:pt x="1" y="30"/>
                  <a:pt x="1" y="28"/>
                </a:cubicBezTo>
                <a:lnTo>
                  <a:pt x="1" y="29"/>
                </a:ln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4" name="Rectangle 3001">
            <a:extLst>
              <a:ext uri="{FF2B5EF4-FFF2-40B4-BE49-F238E27FC236}">
                <a16:creationId xmlns:a16="http://schemas.microsoft.com/office/drawing/2014/main" id="{162D6FA9-492E-4086-B4CD-9DCCB637A168}"/>
              </a:ext>
            </a:extLst>
          </p:cNvPr>
          <p:cNvSpPr>
            <a:spLocks noChangeArrowheads="1"/>
          </p:cNvSpPr>
          <p:nvPr/>
        </p:nvSpPr>
        <p:spPr bwMode="auto">
          <a:xfrm>
            <a:off x="4704272" y="3691509"/>
            <a:ext cx="496" cy="594"/>
          </a:xfrm>
          <a:prstGeom prst="rect">
            <a:avLst/>
          </a:prstGeom>
          <a:solidFill>
            <a:schemeClr val="tx1">
              <a:lumMod val="40000"/>
              <a:lumOff val="60000"/>
            </a:schemeClr>
          </a:solid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5" name="Freeform 3002">
            <a:extLst>
              <a:ext uri="{FF2B5EF4-FFF2-40B4-BE49-F238E27FC236}">
                <a16:creationId xmlns:a16="http://schemas.microsoft.com/office/drawing/2014/main" id="{60408055-F32D-4036-B73C-8343E56E5802}"/>
              </a:ext>
            </a:extLst>
          </p:cNvPr>
          <p:cNvSpPr>
            <a:spLocks/>
          </p:cNvSpPr>
          <p:nvPr/>
        </p:nvSpPr>
        <p:spPr bwMode="auto">
          <a:xfrm>
            <a:off x="4707741" y="3687353"/>
            <a:ext cx="8425" cy="12465"/>
          </a:xfrm>
          <a:custGeom>
            <a:avLst/>
            <a:gdLst>
              <a:gd name="T0" fmla="*/ 1 w 7"/>
              <a:gd name="T1" fmla="*/ 5 h 9"/>
              <a:gd name="T2" fmla="*/ 2 w 7"/>
              <a:gd name="T3" fmla="*/ 6 h 9"/>
              <a:gd name="T4" fmla="*/ 2 w 7"/>
              <a:gd name="T5" fmla="*/ 6 h 9"/>
              <a:gd name="T6" fmla="*/ 2 w 7"/>
              <a:gd name="T7" fmla="*/ 7 h 9"/>
              <a:gd name="T8" fmla="*/ 4 w 7"/>
              <a:gd name="T9" fmla="*/ 9 h 9"/>
              <a:gd name="T10" fmla="*/ 4 w 7"/>
              <a:gd name="T11" fmla="*/ 9 h 9"/>
              <a:gd name="T12" fmla="*/ 4 w 7"/>
              <a:gd name="T13" fmla="*/ 8 h 9"/>
              <a:gd name="T14" fmla="*/ 4 w 7"/>
              <a:gd name="T15" fmla="*/ 8 h 9"/>
              <a:gd name="T16" fmla="*/ 5 w 7"/>
              <a:gd name="T17" fmla="*/ 7 h 9"/>
              <a:gd name="T18" fmla="*/ 4 w 7"/>
              <a:gd name="T19" fmla="*/ 6 h 9"/>
              <a:gd name="T20" fmla="*/ 4 w 7"/>
              <a:gd name="T21" fmla="*/ 5 h 9"/>
              <a:gd name="T22" fmla="*/ 4 w 7"/>
              <a:gd name="T23" fmla="*/ 4 h 9"/>
              <a:gd name="T24" fmla="*/ 4 w 7"/>
              <a:gd name="T25" fmla="*/ 3 h 9"/>
              <a:gd name="T26" fmla="*/ 4 w 7"/>
              <a:gd name="T27" fmla="*/ 2 h 9"/>
              <a:gd name="T28" fmla="*/ 5 w 7"/>
              <a:gd name="T29" fmla="*/ 2 h 9"/>
              <a:gd name="T30" fmla="*/ 5 w 7"/>
              <a:gd name="T31" fmla="*/ 2 h 9"/>
              <a:gd name="T32" fmla="*/ 6 w 7"/>
              <a:gd name="T33" fmla="*/ 1 h 9"/>
              <a:gd name="T34" fmla="*/ 6 w 7"/>
              <a:gd name="T35" fmla="*/ 1 h 9"/>
              <a:gd name="T36" fmla="*/ 7 w 7"/>
              <a:gd name="T37" fmla="*/ 1 h 9"/>
              <a:gd name="T38" fmla="*/ 7 w 7"/>
              <a:gd name="T39" fmla="*/ 0 h 9"/>
              <a:gd name="T40" fmla="*/ 3 w 7"/>
              <a:gd name="T41" fmla="*/ 3 h 9"/>
              <a:gd name="T42" fmla="*/ 0 w 7"/>
              <a:gd name="T43" fmla="*/ 4 h 9"/>
              <a:gd name="T44" fmla="*/ 1 w 7"/>
              <a:gd name="T45"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 h="9">
                <a:moveTo>
                  <a:pt x="1" y="5"/>
                </a:moveTo>
                <a:cubicBezTo>
                  <a:pt x="1" y="6"/>
                  <a:pt x="1" y="6"/>
                  <a:pt x="2" y="6"/>
                </a:cubicBezTo>
                <a:cubicBezTo>
                  <a:pt x="2" y="6"/>
                  <a:pt x="2" y="6"/>
                  <a:pt x="2" y="6"/>
                </a:cubicBezTo>
                <a:cubicBezTo>
                  <a:pt x="2" y="6"/>
                  <a:pt x="2" y="7"/>
                  <a:pt x="2" y="7"/>
                </a:cubicBezTo>
                <a:cubicBezTo>
                  <a:pt x="3" y="8"/>
                  <a:pt x="4" y="9"/>
                  <a:pt x="4" y="9"/>
                </a:cubicBezTo>
                <a:cubicBezTo>
                  <a:pt x="4" y="9"/>
                  <a:pt x="4" y="9"/>
                  <a:pt x="4" y="9"/>
                </a:cubicBezTo>
                <a:cubicBezTo>
                  <a:pt x="4" y="8"/>
                  <a:pt x="4" y="8"/>
                  <a:pt x="4" y="8"/>
                </a:cubicBezTo>
                <a:cubicBezTo>
                  <a:pt x="4" y="8"/>
                  <a:pt x="4" y="8"/>
                  <a:pt x="4" y="8"/>
                </a:cubicBezTo>
                <a:cubicBezTo>
                  <a:pt x="5" y="8"/>
                  <a:pt x="5" y="7"/>
                  <a:pt x="5" y="7"/>
                </a:cubicBezTo>
                <a:cubicBezTo>
                  <a:pt x="4" y="7"/>
                  <a:pt x="4" y="7"/>
                  <a:pt x="4" y="6"/>
                </a:cubicBezTo>
                <a:cubicBezTo>
                  <a:pt x="4" y="6"/>
                  <a:pt x="4" y="5"/>
                  <a:pt x="4" y="5"/>
                </a:cubicBezTo>
                <a:cubicBezTo>
                  <a:pt x="4" y="4"/>
                  <a:pt x="4" y="4"/>
                  <a:pt x="4" y="4"/>
                </a:cubicBezTo>
                <a:cubicBezTo>
                  <a:pt x="4" y="4"/>
                  <a:pt x="4" y="3"/>
                  <a:pt x="4" y="3"/>
                </a:cubicBezTo>
                <a:cubicBezTo>
                  <a:pt x="4" y="2"/>
                  <a:pt x="4" y="2"/>
                  <a:pt x="4" y="2"/>
                </a:cubicBezTo>
                <a:cubicBezTo>
                  <a:pt x="4" y="2"/>
                  <a:pt x="5" y="2"/>
                  <a:pt x="5" y="2"/>
                </a:cubicBezTo>
                <a:cubicBezTo>
                  <a:pt x="5" y="2"/>
                  <a:pt x="5" y="2"/>
                  <a:pt x="5" y="2"/>
                </a:cubicBezTo>
                <a:cubicBezTo>
                  <a:pt x="5" y="1"/>
                  <a:pt x="5" y="1"/>
                  <a:pt x="6" y="1"/>
                </a:cubicBezTo>
                <a:cubicBezTo>
                  <a:pt x="6" y="1"/>
                  <a:pt x="6" y="1"/>
                  <a:pt x="6" y="1"/>
                </a:cubicBezTo>
                <a:cubicBezTo>
                  <a:pt x="6" y="1"/>
                  <a:pt x="7" y="1"/>
                  <a:pt x="7" y="1"/>
                </a:cubicBezTo>
                <a:cubicBezTo>
                  <a:pt x="7" y="0"/>
                  <a:pt x="7" y="0"/>
                  <a:pt x="7" y="0"/>
                </a:cubicBezTo>
                <a:cubicBezTo>
                  <a:pt x="6" y="1"/>
                  <a:pt x="4" y="2"/>
                  <a:pt x="3" y="3"/>
                </a:cubicBezTo>
                <a:cubicBezTo>
                  <a:pt x="3" y="4"/>
                  <a:pt x="1" y="4"/>
                  <a:pt x="0" y="4"/>
                </a:cubicBezTo>
                <a:cubicBezTo>
                  <a:pt x="0" y="5"/>
                  <a:pt x="1" y="5"/>
                  <a:pt x="1" y="5"/>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6" name="Freeform 3003">
            <a:extLst>
              <a:ext uri="{FF2B5EF4-FFF2-40B4-BE49-F238E27FC236}">
                <a16:creationId xmlns:a16="http://schemas.microsoft.com/office/drawing/2014/main" id="{4C4978CE-616F-49A3-B442-52B5D6BF8CC8}"/>
              </a:ext>
            </a:extLst>
          </p:cNvPr>
          <p:cNvSpPr>
            <a:spLocks noEditPoints="1"/>
          </p:cNvSpPr>
          <p:nvPr/>
        </p:nvSpPr>
        <p:spPr bwMode="auto">
          <a:xfrm>
            <a:off x="1330001" y="2504318"/>
            <a:ext cx="382077" cy="378120"/>
          </a:xfrm>
          <a:custGeom>
            <a:avLst/>
            <a:gdLst>
              <a:gd name="T0" fmla="*/ 314 w 326"/>
              <a:gd name="T1" fmla="*/ 210 h 269"/>
              <a:gd name="T2" fmla="*/ 299 w 326"/>
              <a:gd name="T3" fmla="*/ 197 h 269"/>
              <a:gd name="T4" fmla="*/ 274 w 326"/>
              <a:gd name="T5" fmla="*/ 187 h 269"/>
              <a:gd name="T6" fmla="*/ 253 w 326"/>
              <a:gd name="T7" fmla="*/ 26 h 269"/>
              <a:gd name="T8" fmla="*/ 168 w 326"/>
              <a:gd name="T9" fmla="*/ 19 h 269"/>
              <a:gd name="T10" fmla="*/ 142 w 326"/>
              <a:gd name="T11" fmla="*/ 12 h 269"/>
              <a:gd name="T12" fmla="*/ 123 w 326"/>
              <a:gd name="T13" fmla="*/ 12 h 269"/>
              <a:gd name="T14" fmla="*/ 98 w 326"/>
              <a:gd name="T15" fmla="*/ 11 h 269"/>
              <a:gd name="T16" fmla="*/ 84 w 326"/>
              <a:gd name="T17" fmla="*/ 17 h 269"/>
              <a:gd name="T18" fmla="*/ 67 w 326"/>
              <a:gd name="T19" fmla="*/ 22 h 269"/>
              <a:gd name="T20" fmla="*/ 35 w 326"/>
              <a:gd name="T21" fmla="*/ 46 h 269"/>
              <a:gd name="T22" fmla="*/ 21 w 326"/>
              <a:gd name="T23" fmla="*/ 60 h 269"/>
              <a:gd name="T24" fmla="*/ 56 w 326"/>
              <a:gd name="T25" fmla="*/ 79 h 269"/>
              <a:gd name="T26" fmla="*/ 61 w 326"/>
              <a:gd name="T27" fmla="*/ 84 h 269"/>
              <a:gd name="T28" fmla="*/ 69 w 326"/>
              <a:gd name="T29" fmla="*/ 93 h 269"/>
              <a:gd name="T30" fmla="*/ 34 w 326"/>
              <a:gd name="T31" fmla="*/ 87 h 269"/>
              <a:gd name="T32" fmla="*/ 10 w 326"/>
              <a:gd name="T33" fmla="*/ 99 h 269"/>
              <a:gd name="T34" fmla="*/ 16 w 326"/>
              <a:gd name="T35" fmla="*/ 109 h 269"/>
              <a:gd name="T36" fmla="*/ 37 w 326"/>
              <a:gd name="T37" fmla="*/ 121 h 269"/>
              <a:gd name="T38" fmla="*/ 55 w 326"/>
              <a:gd name="T39" fmla="*/ 122 h 269"/>
              <a:gd name="T40" fmla="*/ 68 w 326"/>
              <a:gd name="T41" fmla="*/ 123 h 269"/>
              <a:gd name="T42" fmla="*/ 55 w 326"/>
              <a:gd name="T43" fmla="*/ 142 h 269"/>
              <a:gd name="T44" fmla="*/ 29 w 326"/>
              <a:gd name="T45" fmla="*/ 154 h 269"/>
              <a:gd name="T46" fmla="*/ 27 w 326"/>
              <a:gd name="T47" fmla="*/ 174 h 269"/>
              <a:gd name="T48" fmla="*/ 36 w 326"/>
              <a:gd name="T49" fmla="*/ 180 h 269"/>
              <a:gd name="T50" fmla="*/ 38 w 326"/>
              <a:gd name="T51" fmla="*/ 183 h 269"/>
              <a:gd name="T52" fmla="*/ 26 w 326"/>
              <a:gd name="T53" fmla="*/ 184 h 269"/>
              <a:gd name="T54" fmla="*/ 54 w 326"/>
              <a:gd name="T55" fmla="*/ 189 h 269"/>
              <a:gd name="T56" fmla="*/ 57 w 326"/>
              <a:gd name="T57" fmla="*/ 188 h 269"/>
              <a:gd name="T58" fmla="*/ 63 w 326"/>
              <a:gd name="T59" fmla="*/ 207 h 269"/>
              <a:gd name="T60" fmla="*/ 73 w 326"/>
              <a:gd name="T61" fmla="*/ 210 h 269"/>
              <a:gd name="T62" fmla="*/ 92 w 326"/>
              <a:gd name="T63" fmla="*/ 217 h 269"/>
              <a:gd name="T64" fmla="*/ 99 w 326"/>
              <a:gd name="T65" fmla="*/ 208 h 269"/>
              <a:gd name="T66" fmla="*/ 107 w 326"/>
              <a:gd name="T67" fmla="*/ 219 h 269"/>
              <a:gd name="T68" fmla="*/ 93 w 326"/>
              <a:gd name="T69" fmla="*/ 239 h 269"/>
              <a:gd name="T70" fmla="*/ 71 w 326"/>
              <a:gd name="T71" fmla="*/ 254 h 269"/>
              <a:gd name="T72" fmla="*/ 49 w 326"/>
              <a:gd name="T73" fmla="*/ 265 h 269"/>
              <a:gd name="T74" fmla="*/ 61 w 326"/>
              <a:gd name="T75" fmla="*/ 265 h 269"/>
              <a:gd name="T76" fmla="*/ 75 w 326"/>
              <a:gd name="T77" fmla="*/ 258 h 269"/>
              <a:gd name="T78" fmla="*/ 95 w 326"/>
              <a:gd name="T79" fmla="*/ 251 h 269"/>
              <a:gd name="T80" fmla="*/ 107 w 326"/>
              <a:gd name="T81" fmla="*/ 243 h 269"/>
              <a:gd name="T82" fmla="*/ 129 w 326"/>
              <a:gd name="T83" fmla="*/ 227 h 269"/>
              <a:gd name="T84" fmla="*/ 143 w 326"/>
              <a:gd name="T85" fmla="*/ 215 h 269"/>
              <a:gd name="T86" fmla="*/ 142 w 326"/>
              <a:gd name="T87" fmla="*/ 203 h 269"/>
              <a:gd name="T88" fmla="*/ 161 w 326"/>
              <a:gd name="T89" fmla="*/ 187 h 269"/>
              <a:gd name="T90" fmla="*/ 185 w 326"/>
              <a:gd name="T91" fmla="*/ 171 h 269"/>
              <a:gd name="T92" fmla="*/ 172 w 326"/>
              <a:gd name="T93" fmla="*/ 181 h 269"/>
              <a:gd name="T94" fmla="*/ 172 w 326"/>
              <a:gd name="T95" fmla="*/ 198 h 269"/>
              <a:gd name="T96" fmla="*/ 177 w 326"/>
              <a:gd name="T97" fmla="*/ 200 h 269"/>
              <a:gd name="T98" fmla="*/ 187 w 326"/>
              <a:gd name="T99" fmla="*/ 195 h 269"/>
              <a:gd name="T100" fmla="*/ 201 w 326"/>
              <a:gd name="T101" fmla="*/ 191 h 269"/>
              <a:gd name="T102" fmla="*/ 202 w 326"/>
              <a:gd name="T103" fmla="*/ 184 h 269"/>
              <a:gd name="T104" fmla="*/ 204 w 326"/>
              <a:gd name="T105" fmla="*/ 178 h 269"/>
              <a:gd name="T106" fmla="*/ 218 w 326"/>
              <a:gd name="T107" fmla="*/ 176 h 269"/>
              <a:gd name="T108" fmla="*/ 222 w 326"/>
              <a:gd name="T109" fmla="*/ 183 h 269"/>
              <a:gd name="T110" fmla="*/ 242 w 326"/>
              <a:gd name="T111" fmla="*/ 191 h 269"/>
              <a:gd name="T112" fmla="*/ 288 w 326"/>
              <a:gd name="T113" fmla="*/ 195 h 269"/>
              <a:gd name="T114" fmla="*/ 291 w 326"/>
              <a:gd name="T115" fmla="*/ 198 h 269"/>
              <a:gd name="T116" fmla="*/ 322 w 326"/>
              <a:gd name="T117" fmla="*/ 217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269">
                <a:moveTo>
                  <a:pt x="325" y="214"/>
                </a:moveTo>
                <a:cubicBezTo>
                  <a:pt x="325" y="213"/>
                  <a:pt x="323" y="214"/>
                  <a:pt x="322" y="214"/>
                </a:cubicBezTo>
                <a:cubicBezTo>
                  <a:pt x="322" y="214"/>
                  <a:pt x="323" y="213"/>
                  <a:pt x="323" y="213"/>
                </a:cubicBezTo>
                <a:cubicBezTo>
                  <a:pt x="323" y="212"/>
                  <a:pt x="321" y="211"/>
                  <a:pt x="320" y="211"/>
                </a:cubicBezTo>
                <a:cubicBezTo>
                  <a:pt x="321" y="211"/>
                  <a:pt x="321" y="211"/>
                  <a:pt x="322" y="211"/>
                </a:cubicBezTo>
                <a:cubicBezTo>
                  <a:pt x="321" y="210"/>
                  <a:pt x="319" y="210"/>
                  <a:pt x="317" y="210"/>
                </a:cubicBezTo>
                <a:cubicBezTo>
                  <a:pt x="316" y="210"/>
                  <a:pt x="316" y="210"/>
                  <a:pt x="315" y="211"/>
                </a:cubicBezTo>
                <a:cubicBezTo>
                  <a:pt x="316" y="209"/>
                  <a:pt x="318" y="210"/>
                  <a:pt x="317" y="208"/>
                </a:cubicBezTo>
                <a:cubicBezTo>
                  <a:pt x="317" y="208"/>
                  <a:pt x="317" y="208"/>
                  <a:pt x="317" y="208"/>
                </a:cubicBezTo>
                <a:cubicBezTo>
                  <a:pt x="316" y="208"/>
                  <a:pt x="315" y="209"/>
                  <a:pt x="315" y="209"/>
                </a:cubicBezTo>
                <a:cubicBezTo>
                  <a:pt x="314" y="209"/>
                  <a:pt x="314" y="209"/>
                  <a:pt x="314" y="210"/>
                </a:cubicBezTo>
                <a:cubicBezTo>
                  <a:pt x="314" y="210"/>
                  <a:pt x="314" y="210"/>
                  <a:pt x="314" y="210"/>
                </a:cubicBezTo>
                <a:cubicBezTo>
                  <a:pt x="313" y="210"/>
                  <a:pt x="313" y="210"/>
                  <a:pt x="312" y="210"/>
                </a:cubicBezTo>
                <a:cubicBezTo>
                  <a:pt x="312" y="210"/>
                  <a:pt x="312" y="210"/>
                  <a:pt x="312" y="210"/>
                </a:cubicBezTo>
                <a:cubicBezTo>
                  <a:pt x="311" y="210"/>
                  <a:pt x="310" y="210"/>
                  <a:pt x="310" y="210"/>
                </a:cubicBezTo>
                <a:cubicBezTo>
                  <a:pt x="310" y="209"/>
                  <a:pt x="310" y="209"/>
                  <a:pt x="310" y="209"/>
                </a:cubicBezTo>
                <a:cubicBezTo>
                  <a:pt x="310" y="208"/>
                  <a:pt x="310" y="208"/>
                  <a:pt x="310" y="208"/>
                </a:cubicBezTo>
                <a:cubicBezTo>
                  <a:pt x="310" y="207"/>
                  <a:pt x="310" y="207"/>
                  <a:pt x="310" y="207"/>
                </a:cubicBezTo>
                <a:cubicBezTo>
                  <a:pt x="310" y="206"/>
                  <a:pt x="310" y="205"/>
                  <a:pt x="309" y="205"/>
                </a:cubicBezTo>
                <a:cubicBezTo>
                  <a:pt x="309" y="205"/>
                  <a:pt x="309" y="205"/>
                  <a:pt x="309" y="205"/>
                </a:cubicBezTo>
                <a:cubicBezTo>
                  <a:pt x="309" y="204"/>
                  <a:pt x="307" y="204"/>
                  <a:pt x="307" y="203"/>
                </a:cubicBezTo>
                <a:cubicBezTo>
                  <a:pt x="306" y="203"/>
                  <a:pt x="306" y="203"/>
                  <a:pt x="306" y="203"/>
                </a:cubicBezTo>
                <a:cubicBezTo>
                  <a:pt x="306" y="203"/>
                  <a:pt x="306" y="202"/>
                  <a:pt x="305" y="202"/>
                </a:cubicBezTo>
                <a:cubicBezTo>
                  <a:pt x="299" y="197"/>
                  <a:pt x="299" y="197"/>
                  <a:pt x="299" y="197"/>
                </a:cubicBezTo>
                <a:cubicBezTo>
                  <a:pt x="298" y="196"/>
                  <a:pt x="296" y="195"/>
                  <a:pt x="295" y="194"/>
                </a:cubicBezTo>
                <a:cubicBezTo>
                  <a:pt x="295" y="194"/>
                  <a:pt x="295" y="194"/>
                  <a:pt x="295" y="194"/>
                </a:cubicBezTo>
                <a:cubicBezTo>
                  <a:pt x="294" y="193"/>
                  <a:pt x="293" y="191"/>
                  <a:pt x="293" y="190"/>
                </a:cubicBezTo>
                <a:cubicBezTo>
                  <a:pt x="294" y="189"/>
                  <a:pt x="294" y="189"/>
                  <a:pt x="294" y="189"/>
                </a:cubicBezTo>
                <a:cubicBezTo>
                  <a:pt x="294" y="189"/>
                  <a:pt x="293" y="189"/>
                  <a:pt x="292" y="189"/>
                </a:cubicBezTo>
                <a:cubicBezTo>
                  <a:pt x="292" y="189"/>
                  <a:pt x="292" y="189"/>
                  <a:pt x="292" y="189"/>
                </a:cubicBezTo>
                <a:cubicBezTo>
                  <a:pt x="291" y="189"/>
                  <a:pt x="290" y="189"/>
                  <a:pt x="290" y="189"/>
                </a:cubicBezTo>
                <a:cubicBezTo>
                  <a:pt x="289" y="189"/>
                  <a:pt x="289" y="189"/>
                  <a:pt x="289" y="190"/>
                </a:cubicBezTo>
                <a:cubicBezTo>
                  <a:pt x="288" y="190"/>
                  <a:pt x="287" y="191"/>
                  <a:pt x="285" y="191"/>
                </a:cubicBezTo>
                <a:cubicBezTo>
                  <a:pt x="276" y="190"/>
                  <a:pt x="276" y="190"/>
                  <a:pt x="276" y="190"/>
                </a:cubicBezTo>
                <a:cubicBezTo>
                  <a:pt x="275" y="189"/>
                  <a:pt x="274" y="189"/>
                  <a:pt x="274" y="187"/>
                </a:cubicBezTo>
                <a:cubicBezTo>
                  <a:pt x="274" y="187"/>
                  <a:pt x="274" y="187"/>
                  <a:pt x="274" y="187"/>
                </a:cubicBezTo>
                <a:cubicBezTo>
                  <a:pt x="274" y="186"/>
                  <a:pt x="274" y="185"/>
                  <a:pt x="274" y="184"/>
                </a:cubicBezTo>
                <a:cubicBezTo>
                  <a:pt x="274" y="178"/>
                  <a:pt x="274" y="178"/>
                  <a:pt x="274" y="178"/>
                </a:cubicBezTo>
                <a:cubicBezTo>
                  <a:pt x="274" y="175"/>
                  <a:pt x="274" y="172"/>
                  <a:pt x="274" y="168"/>
                </a:cubicBezTo>
                <a:cubicBezTo>
                  <a:pt x="274" y="163"/>
                  <a:pt x="274" y="157"/>
                  <a:pt x="274" y="151"/>
                </a:cubicBezTo>
                <a:cubicBezTo>
                  <a:pt x="274" y="126"/>
                  <a:pt x="274" y="126"/>
                  <a:pt x="274" y="126"/>
                </a:cubicBezTo>
                <a:cubicBezTo>
                  <a:pt x="274" y="116"/>
                  <a:pt x="274" y="105"/>
                  <a:pt x="274" y="94"/>
                </a:cubicBezTo>
                <a:cubicBezTo>
                  <a:pt x="274" y="94"/>
                  <a:pt x="274" y="94"/>
                  <a:pt x="274" y="94"/>
                </a:cubicBezTo>
                <a:cubicBezTo>
                  <a:pt x="274" y="81"/>
                  <a:pt x="274" y="64"/>
                  <a:pt x="274" y="49"/>
                </a:cubicBezTo>
                <a:cubicBezTo>
                  <a:pt x="274" y="32"/>
                  <a:pt x="274" y="32"/>
                  <a:pt x="274" y="32"/>
                </a:cubicBezTo>
                <a:cubicBezTo>
                  <a:pt x="273" y="32"/>
                  <a:pt x="272" y="32"/>
                  <a:pt x="271" y="31"/>
                </a:cubicBezTo>
                <a:cubicBezTo>
                  <a:pt x="268" y="30"/>
                  <a:pt x="264" y="28"/>
                  <a:pt x="261" y="27"/>
                </a:cubicBezTo>
                <a:cubicBezTo>
                  <a:pt x="258" y="26"/>
                  <a:pt x="256" y="26"/>
                  <a:pt x="253" y="26"/>
                </a:cubicBezTo>
                <a:cubicBezTo>
                  <a:pt x="251" y="26"/>
                  <a:pt x="247" y="25"/>
                  <a:pt x="245" y="26"/>
                </a:cubicBezTo>
                <a:cubicBezTo>
                  <a:pt x="244" y="26"/>
                  <a:pt x="245" y="27"/>
                  <a:pt x="243" y="27"/>
                </a:cubicBezTo>
                <a:cubicBezTo>
                  <a:pt x="242" y="26"/>
                  <a:pt x="241" y="26"/>
                  <a:pt x="240" y="26"/>
                </a:cubicBezTo>
                <a:cubicBezTo>
                  <a:pt x="239" y="26"/>
                  <a:pt x="239" y="27"/>
                  <a:pt x="237" y="27"/>
                </a:cubicBezTo>
                <a:cubicBezTo>
                  <a:pt x="235" y="27"/>
                  <a:pt x="233" y="27"/>
                  <a:pt x="231" y="26"/>
                </a:cubicBezTo>
                <a:cubicBezTo>
                  <a:pt x="229" y="25"/>
                  <a:pt x="227" y="23"/>
                  <a:pt x="224" y="23"/>
                </a:cubicBezTo>
                <a:cubicBezTo>
                  <a:pt x="221" y="23"/>
                  <a:pt x="218" y="23"/>
                  <a:pt x="215" y="23"/>
                </a:cubicBezTo>
                <a:cubicBezTo>
                  <a:pt x="214" y="24"/>
                  <a:pt x="212" y="23"/>
                  <a:pt x="211" y="23"/>
                </a:cubicBezTo>
                <a:cubicBezTo>
                  <a:pt x="205" y="22"/>
                  <a:pt x="199" y="21"/>
                  <a:pt x="193" y="20"/>
                </a:cubicBezTo>
                <a:cubicBezTo>
                  <a:pt x="189" y="19"/>
                  <a:pt x="185" y="18"/>
                  <a:pt x="180" y="19"/>
                </a:cubicBezTo>
                <a:cubicBezTo>
                  <a:pt x="180" y="19"/>
                  <a:pt x="170" y="17"/>
                  <a:pt x="172" y="20"/>
                </a:cubicBezTo>
                <a:cubicBezTo>
                  <a:pt x="171" y="20"/>
                  <a:pt x="169" y="19"/>
                  <a:pt x="168" y="19"/>
                </a:cubicBezTo>
                <a:cubicBezTo>
                  <a:pt x="167" y="18"/>
                  <a:pt x="166" y="18"/>
                  <a:pt x="165" y="17"/>
                </a:cubicBezTo>
                <a:cubicBezTo>
                  <a:pt x="166" y="17"/>
                  <a:pt x="166" y="17"/>
                  <a:pt x="166" y="16"/>
                </a:cubicBezTo>
                <a:cubicBezTo>
                  <a:pt x="163" y="16"/>
                  <a:pt x="160" y="16"/>
                  <a:pt x="158" y="16"/>
                </a:cubicBezTo>
                <a:cubicBezTo>
                  <a:pt x="158" y="16"/>
                  <a:pt x="160" y="16"/>
                  <a:pt x="161" y="16"/>
                </a:cubicBezTo>
                <a:cubicBezTo>
                  <a:pt x="162" y="16"/>
                  <a:pt x="162" y="16"/>
                  <a:pt x="163" y="16"/>
                </a:cubicBezTo>
                <a:cubicBezTo>
                  <a:pt x="161" y="15"/>
                  <a:pt x="160" y="15"/>
                  <a:pt x="158" y="14"/>
                </a:cubicBezTo>
                <a:cubicBezTo>
                  <a:pt x="159" y="14"/>
                  <a:pt x="161" y="12"/>
                  <a:pt x="161" y="12"/>
                </a:cubicBezTo>
                <a:cubicBezTo>
                  <a:pt x="161" y="11"/>
                  <a:pt x="161" y="11"/>
                  <a:pt x="160" y="11"/>
                </a:cubicBezTo>
                <a:cubicBezTo>
                  <a:pt x="159" y="11"/>
                  <a:pt x="158" y="11"/>
                  <a:pt x="156" y="11"/>
                </a:cubicBezTo>
                <a:cubicBezTo>
                  <a:pt x="153" y="10"/>
                  <a:pt x="150" y="10"/>
                  <a:pt x="148" y="10"/>
                </a:cubicBezTo>
                <a:cubicBezTo>
                  <a:pt x="147" y="10"/>
                  <a:pt x="146" y="10"/>
                  <a:pt x="145" y="10"/>
                </a:cubicBezTo>
                <a:cubicBezTo>
                  <a:pt x="143" y="10"/>
                  <a:pt x="143" y="11"/>
                  <a:pt x="142" y="12"/>
                </a:cubicBezTo>
                <a:cubicBezTo>
                  <a:pt x="141" y="13"/>
                  <a:pt x="139" y="12"/>
                  <a:pt x="137" y="11"/>
                </a:cubicBezTo>
                <a:cubicBezTo>
                  <a:pt x="136" y="10"/>
                  <a:pt x="137" y="9"/>
                  <a:pt x="137" y="8"/>
                </a:cubicBezTo>
                <a:cubicBezTo>
                  <a:pt x="135" y="5"/>
                  <a:pt x="133" y="8"/>
                  <a:pt x="132" y="8"/>
                </a:cubicBezTo>
                <a:cubicBezTo>
                  <a:pt x="132" y="7"/>
                  <a:pt x="133" y="6"/>
                  <a:pt x="132" y="5"/>
                </a:cubicBezTo>
                <a:cubicBezTo>
                  <a:pt x="132" y="5"/>
                  <a:pt x="130" y="6"/>
                  <a:pt x="130" y="7"/>
                </a:cubicBezTo>
                <a:cubicBezTo>
                  <a:pt x="130" y="7"/>
                  <a:pt x="131" y="7"/>
                  <a:pt x="131" y="7"/>
                </a:cubicBezTo>
                <a:cubicBezTo>
                  <a:pt x="131" y="9"/>
                  <a:pt x="130" y="8"/>
                  <a:pt x="129" y="8"/>
                </a:cubicBezTo>
                <a:cubicBezTo>
                  <a:pt x="129" y="8"/>
                  <a:pt x="128" y="9"/>
                  <a:pt x="128" y="9"/>
                </a:cubicBezTo>
                <a:cubicBezTo>
                  <a:pt x="127" y="9"/>
                  <a:pt x="127" y="10"/>
                  <a:pt x="127" y="10"/>
                </a:cubicBezTo>
                <a:cubicBezTo>
                  <a:pt x="127" y="11"/>
                  <a:pt x="126" y="11"/>
                  <a:pt x="125" y="11"/>
                </a:cubicBezTo>
                <a:cubicBezTo>
                  <a:pt x="124" y="11"/>
                  <a:pt x="124" y="11"/>
                  <a:pt x="123" y="11"/>
                </a:cubicBezTo>
                <a:cubicBezTo>
                  <a:pt x="123" y="12"/>
                  <a:pt x="124" y="13"/>
                  <a:pt x="123" y="12"/>
                </a:cubicBezTo>
                <a:cubicBezTo>
                  <a:pt x="123" y="12"/>
                  <a:pt x="123" y="9"/>
                  <a:pt x="123" y="9"/>
                </a:cubicBezTo>
                <a:cubicBezTo>
                  <a:pt x="123" y="8"/>
                  <a:pt x="124" y="8"/>
                  <a:pt x="124" y="8"/>
                </a:cubicBezTo>
                <a:cubicBezTo>
                  <a:pt x="125" y="8"/>
                  <a:pt x="126" y="7"/>
                  <a:pt x="127" y="7"/>
                </a:cubicBezTo>
                <a:cubicBezTo>
                  <a:pt x="127" y="6"/>
                  <a:pt x="127" y="6"/>
                  <a:pt x="126" y="6"/>
                </a:cubicBezTo>
                <a:cubicBezTo>
                  <a:pt x="124" y="5"/>
                  <a:pt x="123" y="5"/>
                  <a:pt x="121" y="5"/>
                </a:cubicBezTo>
                <a:cubicBezTo>
                  <a:pt x="120" y="4"/>
                  <a:pt x="117" y="3"/>
                  <a:pt x="117" y="2"/>
                </a:cubicBezTo>
                <a:cubicBezTo>
                  <a:pt x="117" y="1"/>
                  <a:pt x="118" y="1"/>
                  <a:pt x="119" y="1"/>
                </a:cubicBezTo>
                <a:cubicBezTo>
                  <a:pt x="117" y="0"/>
                  <a:pt x="117" y="1"/>
                  <a:pt x="116" y="2"/>
                </a:cubicBezTo>
                <a:cubicBezTo>
                  <a:pt x="114" y="3"/>
                  <a:pt x="112" y="5"/>
                  <a:pt x="111" y="6"/>
                </a:cubicBezTo>
                <a:cubicBezTo>
                  <a:pt x="108" y="8"/>
                  <a:pt x="106" y="9"/>
                  <a:pt x="104" y="10"/>
                </a:cubicBezTo>
                <a:cubicBezTo>
                  <a:pt x="102" y="11"/>
                  <a:pt x="99" y="11"/>
                  <a:pt x="97" y="11"/>
                </a:cubicBezTo>
                <a:cubicBezTo>
                  <a:pt x="97" y="11"/>
                  <a:pt x="98" y="11"/>
                  <a:pt x="98" y="11"/>
                </a:cubicBezTo>
                <a:cubicBezTo>
                  <a:pt x="96" y="12"/>
                  <a:pt x="95" y="12"/>
                  <a:pt x="93" y="12"/>
                </a:cubicBezTo>
                <a:cubicBezTo>
                  <a:pt x="91" y="12"/>
                  <a:pt x="90" y="12"/>
                  <a:pt x="89" y="13"/>
                </a:cubicBezTo>
                <a:cubicBezTo>
                  <a:pt x="88" y="12"/>
                  <a:pt x="88" y="13"/>
                  <a:pt x="87" y="12"/>
                </a:cubicBezTo>
                <a:cubicBezTo>
                  <a:pt x="88" y="12"/>
                  <a:pt x="89" y="12"/>
                  <a:pt x="90" y="11"/>
                </a:cubicBezTo>
                <a:cubicBezTo>
                  <a:pt x="90" y="11"/>
                  <a:pt x="89" y="11"/>
                  <a:pt x="88" y="11"/>
                </a:cubicBezTo>
                <a:cubicBezTo>
                  <a:pt x="89" y="11"/>
                  <a:pt x="89" y="11"/>
                  <a:pt x="89" y="11"/>
                </a:cubicBezTo>
                <a:cubicBezTo>
                  <a:pt x="88" y="11"/>
                  <a:pt x="86" y="11"/>
                  <a:pt x="84" y="13"/>
                </a:cubicBezTo>
                <a:cubicBezTo>
                  <a:pt x="83" y="14"/>
                  <a:pt x="82" y="14"/>
                  <a:pt x="81" y="15"/>
                </a:cubicBezTo>
                <a:cubicBezTo>
                  <a:pt x="82" y="15"/>
                  <a:pt x="82" y="15"/>
                  <a:pt x="83" y="15"/>
                </a:cubicBezTo>
                <a:cubicBezTo>
                  <a:pt x="83" y="16"/>
                  <a:pt x="83" y="16"/>
                  <a:pt x="84" y="17"/>
                </a:cubicBezTo>
                <a:cubicBezTo>
                  <a:pt x="85" y="18"/>
                  <a:pt x="86" y="17"/>
                  <a:pt x="88" y="17"/>
                </a:cubicBezTo>
                <a:cubicBezTo>
                  <a:pt x="86" y="17"/>
                  <a:pt x="85" y="19"/>
                  <a:pt x="84" y="17"/>
                </a:cubicBezTo>
                <a:cubicBezTo>
                  <a:pt x="83" y="18"/>
                  <a:pt x="83" y="20"/>
                  <a:pt x="83" y="21"/>
                </a:cubicBezTo>
                <a:cubicBezTo>
                  <a:pt x="83" y="22"/>
                  <a:pt x="84" y="22"/>
                  <a:pt x="84" y="23"/>
                </a:cubicBezTo>
                <a:cubicBezTo>
                  <a:pt x="84" y="22"/>
                  <a:pt x="83" y="22"/>
                  <a:pt x="83" y="21"/>
                </a:cubicBezTo>
                <a:cubicBezTo>
                  <a:pt x="83" y="21"/>
                  <a:pt x="83" y="20"/>
                  <a:pt x="82" y="20"/>
                </a:cubicBezTo>
                <a:cubicBezTo>
                  <a:pt x="82" y="19"/>
                  <a:pt x="81" y="20"/>
                  <a:pt x="80" y="21"/>
                </a:cubicBezTo>
                <a:cubicBezTo>
                  <a:pt x="81" y="20"/>
                  <a:pt x="82" y="19"/>
                  <a:pt x="82" y="18"/>
                </a:cubicBezTo>
                <a:cubicBezTo>
                  <a:pt x="81" y="18"/>
                  <a:pt x="81" y="18"/>
                  <a:pt x="80" y="18"/>
                </a:cubicBezTo>
                <a:cubicBezTo>
                  <a:pt x="80" y="17"/>
                  <a:pt x="83" y="17"/>
                  <a:pt x="82" y="16"/>
                </a:cubicBezTo>
                <a:cubicBezTo>
                  <a:pt x="81" y="16"/>
                  <a:pt x="80" y="16"/>
                  <a:pt x="80" y="15"/>
                </a:cubicBezTo>
                <a:cubicBezTo>
                  <a:pt x="78" y="17"/>
                  <a:pt x="76" y="18"/>
                  <a:pt x="74" y="19"/>
                </a:cubicBezTo>
                <a:cubicBezTo>
                  <a:pt x="74" y="19"/>
                  <a:pt x="74" y="19"/>
                  <a:pt x="75" y="19"/>
                </a:cubicBezTo>
                <a:cubicBezTo>
                  <a:pt x="73" y="21"/>
                  <a:pt x="69" y="22"/>
                  <a:pt x="67" y="22"/>
                </a:cubicBezTo>
                <a:cubicBezTo>
                  <a:pt x="66" y="22"/>
                  <a:pt x="65" y="22"/>
                  <a:pt x="65" y="22"/>
                </a:cubicBezTo>
                <a:cubicBezTo>
                  <a:pt x="64" y="22"/>
                  <a:pt x="64" y="23"/>
                  <a:pt x="64" y="23"/>
                </a:cubicBezTo>
                <a:cubicBezTo>
                  <a:pt x="62" y="23"/>
                  <a:pt x="61" y="23"/>
                  <a:pt x="60" y="24"/>
                </a:cubicBezTo>
                <a:cubicBezTo>
                  <a:pt x="61" y="23"/>
                  <a:pt x="63" y="24"/>
                  <a:pt x="63" y="22"/>
                </a:cubicBezTo>
                <a:cubicBezTo>
                  <a:pt x="63" y="22"/>
                  <a:pt x="63" y="22"/>
                  <a:pt x="62" y="22"/>
                </a:cubicBezTo>
                <a:cubicBezTo>
                  <a:pt x="63" y="22"/>
                  <a:pt x="63" y="22"/>
                  <a:pt x="64" y="22"/>
                </a:cubicBezTo>
                <a:cubicBezTo>
                  <a:pt x="63" y="21"/>
                  <a:pt x="63" y="21"/>
                  <a:pt x="62" y="21"/>
                </a:cubicBezTo>
                <a:cubicBezTo>
                  <a:pt x="61" y="21"/>
                  <a:pt x="60" y="23"/>
                  <a:pt x="59" y="24"/>
                </a:cubicBezTo>
                <a:cubicBezTo>
                  <a:pt x="56" y="26"/>
                  <a:pt x="55" y="28"/>
                  <a:pt x="52" y="30"/>
                </a:cubicBezTo>
                <a:cubicBezTo>
                  <a:pt x="50" y="31"/>
                  <a:pt x="49" y="35"/>
                  <a:pt x="48" y="37"/>
                </a:cubicBezTo>
                <a:cubicBezTo>
                  <a:pt x="48" y="39"/>
                  <a:pt x="47" y="40"/>
                  <a:pt x="46" y="41"/>
                </a:cubicBezTo>
                <a:cubicBezTo>
                  <a:pt x="43" y="44"/>
                  <a:pt x="39" y="45"/>
                  <a:pt x="35" y="46"/>
                </a:cubicBezTo>
                <a:cubicBezTo>
                  <a:pt x="32" y="46"/>
                  <a:pt x="30" y="47"/>
                  <a:pt x="27" y="47"/>
                </a:cubicBezTo>
                <a:cubicBezTo>
                  <a:pt x="24" y="47"/>
                  <a:pt x="22" y="47"/>
                  <a:pt x="20" y="47"/>
                </a:cubicBezTo>
                <a:cubicBezTo>
                  <a:pt x="18" y="47"/>
                  <a:pt x="18" y="47"/>
                  <a:pt x="18" y="48"/>
                </a:cubicBezTo>
                <a:cubicBezTo>
                  <a:pt x="18" y="49"/>
                  <a:pt x="18" y="50"/>
                  <a:pt x="18" y="51"/>
                </a:cubicBezTo>
                <a:cubicBezTo>
                  <a:pt x="18" y="52"/>
                  <a:pt x="18" y="53"/>
                  <a:pt x="17" y="53"/>
                </a:cubicBezTo>
                <a:cubicBezTo>
                  <a:pt x="17" y="54"/>
                  <a:pt x="17" y="54"/>
                  <a:pt x="17" y="55"/>
                </a:cubicBezTo>
                <a:cubicBezTo>
                  <a:pt x="16" y="55"/>
                  <a:pt x="16" y="55"/>
                  <a:pt x="16" y="55"/>
                </a:cubicBezTo>
                <a:cubicBezTo>
                  <a:pt x="15" y="56"/>
                  <a:pt x="14" y="56"/>
                  <a:pt x="13" y="56"/>
                </a:cubicBezTo>
                <a:cubicBezTo>
                  <a:pt x="13" y="56"/>
                  <a:pt x="14" y="55"/>
                  <a:pt x="15" y="55"/>
                </a:cubicBezTo>
                <a:cubicBezTo>
                  <a:pt x="14" y="56"/>
                  <a:pt x="13" y="56"/>
                  <a:pt x="12" y="56"/>
                </a:cubicBezTo>
                <a:cubicBezTo>
                  <a:pt x="14" y="57"/>
                  <a:pt x="16" y="57"/>
                  <a:pt x="19" y="58"/>
                </a:cubicBezTo>
                <a:cubicBezTo>
                  <a:pt x="19" y="58"/>
                  <a:pt x="20" y="59"/>
                  <a:pt x="21" y="60"/>
                </a:cubicBezTo>
                <a:cubicBezTo>
                  <a:pt x="22" y="60"/>
                  <a:pt x="23" y="60"/>
                  <a:pt x="24" y="61"/>
                </a:cubicBezTo>
                <a:cubicBezTo>
                  <a:pt x="28" y="61"/>
                  <a:pt x="30" y="65"/>
                  <a:pt x="33" y="66"/>
                </a:cubicBezTo>
                <a:cubicBezTo>
                  <a:pt x="33" y="65"/>
                  <a:pt x="35" y="66"/>
                  <a:pt x="35" y="66"/>
                </a:cubicBezTo>
                <a:cubicBezTo>
                  <a:pt x="36" y="67"/>
                  <a:pt x="36" y="68"/>
                  <a:pt x="37" y="68"/>
                </a:cubicBezTo>
                <a:cubicBezTo>
                  <a:pt x="39" y="69"/>
                  <a:pt x="40" y="70"/>
                  <a:pt x="41" y="71"/>
                </a:cubicBezTo>
                <a:cubicBezTo>
                  <a:pt x="42" y="72"/>
                  <a:pt x="42" y="73"/>
                  <a:pt x="43" y="74"/>
                </a:cubicBezTo>
                <a:cubicBezTo>
                  <a:pt x="43" y="75"/>
                  <a:pt x="43" y="76"/>
                  <a:pt x="43" y="77"/>
                </a:cubicBezTo>
                <a:cubicBezTo>
                  <a:pt x="44" y="79"/>
                  <a:pt x="48" y="78"/>
                  <a:pt x="49" y="79"/>
                </a:cubicBezTo>
                <a:cubicBezTo>
                  <a:pt x="50" y="79"/>
                  <a:pt x="51" y="80"/>
                  <a:pt x="52" y="80"/>
                </a:cubicBezTo>
                <a:cubicBezTo>
                  <a:pt x="53" y="79"/>
                  <a:pt x="53" y="79"/>
                  <a:pt x="54" y="79"/>
                </a:cubicBezTo>
                <a:cubicBezTo>
                  <a:pt x="55" y="79"/>
                  <a:pt x="55" y="80"/>
                  <a:pt x="55" y="79"/>
                </a:cubicBezTo>
                <a:cubicBezTo>
                  <a:pt x="56" y="79"/>
                  <a:pt x="56" y="79"/>
                  <a:pt x="56" y="79"/>
                </a:cubicBezTo>
                <a:cubicBezTo>
                  <a:pt x="57" y="78"/>
                  <a:pt x="57" y="77"/>
                  <a:pt x="58" y="77"/>
                </a:cubicBezTo>
                <a:cubicBezTo>
                  <a:pt x="58" y="78"/>
                  <a:pt x="55" y="80"/>
                  <a:pt x="57" y="80"/>
                </a:cubicBezTo>
                <a:cubicBezTo>
                  <a:pt x="58" y="80"/>
                  <a:pt x="58" y="79"/>
                  <a:pt x="58" y="79"/>
                </a:cubicBezTo>
                <a:cubicBezTo>
                  <a:pt x="58" y="79"/>
                  <a:pt x="58" y="79"/>
                  <a:pt x="59" y="79"/>
                </a:cubicBezTo>
                <a:cubicBezTo>
                  <a:pt x="59" y="79"/>
                  <a:pt x="59" y="79"/>
                  <a:pt x="59" y="79"/>
                </a:cubicBezTo>
                <a:cubicBezTo>
                  <a:pt x="59" y="79"/>
                  <a:pt x="60" y="79"/>
                  <a:pt x="61" y="79"/>
                </a:cubicBezTo>
                <a:cubicBezTo>
                  <a:pt x="63" y="79"/>
                  <a:pt x="64" y="79"/>
                  <a:pt x="66" y="80"/>
                </a:cubicBezTo>
                <a:cubicBezTo>
                  <a:pt x="65" y="82"/>
                  <a:pt x="61" y="83"/>
                  <a:pt x="63" y="85"/>
                </a:cubicBezTo>
                <a:cubicBezTo>
                  <a:pt x="64" y="86"/>
                  <a:pt x="66" y="86"/>
                  <a:pt x="66" y="87"/>
                </a:cubicBezTo>
                <a:cubicBezTo>
                  <a:pt x="66" y="87"/>
                  <a:pt x="65" y="87"/>
                  <a:pt x="65" y="87"/>
                </a:cubicBezTo>
                <a:cubicBezTo>
                  <a:pt x="64" y="87"/>
                  <a:pt x="61" y="87"/>
                  <a:pt x="61" y="86"/>
                </a:cubicBezTo>
                <a:cubicBezTo>
                  <a:pt x="60" y="85"/>
                  <a:pt x="61" y="84"/>
                  <a:pt x="61" y="84"/>
                </a:cubicBezTo>
                <a:cubicBezTo>
                  <a:pt x="61" y="83"/>
                  <a:pt x="59" y="82"/>
                  <a:pt x="59" y="82"/>
                </a:cubicBezTo>
                <a:cubicBezTo>
                  <a:pt x="58" y="81"/>
                  <a:pt x="58" y="79"/>
                  <a:pt x="56" y="81"/>
                </a:cubicBezTo>
                <a:cubicBezTo>
                  <a:pt x="56" y="82"/>
                  <a:pt x="55" y="83"/>
                  <a:pt x="56" y="84"/>
                </a:cubicBezTo>
                <a:cubicBezTo>
                  <a:pt x="57" y="85"/>
                  <a:pt x="59" y="84"/>
                  <a:pt x="59" y="85"/>
                </a:cubicBezTo>
                <a:cubicBezTo>
                  <a:pt x="60" y="86"/>
                  <a:pt x="61" y="86"/>
                  <a:pt x="61" y="87"/>
                </a:cubicBezTo>
                <a:cubicBezTo>
                  <a:pt x="62" y="87"/>
                  <a:pt x="63" y="88"/>
                  <a:pt x="63" y="89"/>
                </a:cubicBezTo>
                <a:cubicBezTo>
                  <a:pt x="63" y="90"/>
                  <a:pt x="62" y="90"/>
                  <a:pt x="62" y="91"/>
                </a:cubicBezTo>
                <a:cubicBezTo>
                  <a:pt x="62" y="93"/>
                  <a:pt x="63" y="91"/>
                  <a:pt x="63" y="90"/>
                </a:cubicBezTo>
                <a:cubicBezTo>
                  <a:pt x="65" y="89"/>
                  <a:pt x="69" y="90"/>
                  <a:pt x="70" y="91"/>
                </a:cubicBezTo>
                <a:cubicBezTo>
                  <a:pt x="71" y="92"/>
                  <a:pt x="71" y="92"/>
                  <a:pt x="71" y="93"/>
                </a:cubicBezTo>
                <a:cubicBezTo>
                  <a:pt x="71" y="94"/>
                  <a:pt x="70" y="96"/>
                  <a:pt x="70" y="94"/>
                </a:cubicBezTo>
                <a:cubicBezTo>
                  <a:pt x="71" y="93"/>
                  <a:pt x="71" y="93"/>
                  <a:pt x="69" y="93"/>
                </a:cubicBezTo>
                <a:cubicBezTo>
                  <a:pt x="68" y="93"/>
                  <a:pt x="66" y="93"/>
                  <a:pt x="65" y="94"/>
                </a:cubicBezTo>
                <a:cubicBezTo>
                  <a:pt x="65" y="94"/>
                  <a:pt x="64" y="95"/>
                  <a:pt x="64" y="95"/>
                </a:cubicBezTo>
                <a:cubicBezTo>
                  <a:pt x="64" y="95"/>
                  <a:pt x="64" y="95"/>
                  <a:pt x="64" y="96"/>
                </a:cubicBezTo>
                <a:cubicBezTo>
                  <a:pt x="63" y="96"/>
                  <a:pt x="62" y="97"/>
                  <a:pt x="63" y="97"/>
                </a:cubicBezTo>
                <a:cubicBezTo>
                  <a:pt x="62" y="97"/>
                  <a:pt x="54" y="96"/>
                  <a:pt x="54" y="97"/>
                </a:cubicBezTo>
                <a:cubicBezTo>
                  <a:pt x="52" y="96"/>
                  <a:pt x="49" y="95"/>
                  <a:pt x="47" y="95"/>
                </a:cubicBezTo>
                <a:cubicBezTo>
                  <a:pt x="46" y="95"/>
                  <a:pt x="45" y="96"/>
                  <a:pt x="44" y="95"/>
                </a:cubicBezTo>
                <a:cubicBezTo>
                  <a:pt x="43" y="95"/>
                  <a:pt x="40" y="94"/>
                  <a:pt x="40" y="93"/>
                </a:cubicBezTo>
                <a:cubicBezTo>
                  <a:pt x="43" y="93"/>
                  <a:pt x="42" y="90"/>
                  <a:pt x="43" y="89"/>
                </a:cubicBezTo>
                <a:cubicBezTo>
                  <a:pt x="43" y="89"/>
                  <a:pt x="44" y="88"/>
                  <a:pt x="43" y="87"/>
                </a:cubicBezTo>
                <a:cubicBezTo>
                  <a:pt x="42" y="87"/>
                  <a:pt x="39" y="87"/>
                  <a:pt x="38" y="87"/>
                </a:cubicBezTo>
                <a:cubicBezTo>
                  <a:pt x="37" y="87"/>
                  <a:pt x="35" y="87"/>
                  <a:pt x="34" y="87"/>
                </a:cubicBezTo>
                <a:cubicBezTo>
                  <a:pt x="33" y="87"/>
                  <a:pt x="31" y="89"/>
                  <a:pt x="31" y="89"/>
                </a:cubicBezTo>
                <a:cubicBezTo>
                  <a:pt x="30" y="90"/>
                  <a:pt x="30" y="89"/>
                  <a:pt x="29" y="89"/>
                </a:cubicBezTo>
                <a:cubicBezTo>
                  <a:pt x="27" y="89"/>
                  <a:pt x="24" y="90"/>
                  <a:pt x="23" y="91"/>
                </a:cubicBezTo>
                <a:cubicBezTo>
                  <a:pt x="22" y="92"/>
                  <a:pt x="21" y="93"/>
                  <a:pt x="23" y="93"/>
                </a:cubicBezTo>
                <a:cubicBezTo>
                  <a:pt x="24" y="93"/>
                  <a:pt x="24" y="94"/>
                  <a:pt x="25" y="94"/>
                </a:cubicBezTo>
                <a:cubicBezTo>
                  <a:pt x="24" y="95"/>
                  <a:pt x="21" y="95"/>
                  <a:pt x="19" y="94"/>
                </a:cubicBezTo>
                <a:cubicBezTo>
                  <a:pt x="19" y="94"/>
                  <a:pt x="19" y="94"/>
                  <a:pt x="18" y="94"/>
                </a:cubicBezTo>
                <a:cubicBezTo>
                  <a:pt x="17" y="94"/>
                  <a:pt x="17" y="94"/>
                  <a:pt x="17" y="94"/>
                </a:cubicBezTo>
                <a:cubicBezTo>
                  <a:pt x="16" y="95"/>
                  <a:pt x="15" y="95"/>
                  <a:pt x="14" y="95"/>
                </a:cubicBezTo>
                <a:cubicBezTo>
                  <a:pt x="13" y="96"/>
                  <a:pt x="12" y="97"/>
                  <a:pt x="12" y="97"/>
                </a:cubicBezTo>
                <a:cubicBezTo>
                  <a:pt x="12" y="97"/>
                  <a:pt x="11" y="97"/>
                  <a:pt x="11" y="97"/>
                </a:cubicBezTo>
                <a:cubicBezTo>
                  <a:pt x="10" y="97"/>
                  <a:pt x="10" y="98"/>
                  <a:pt x="10" y="99"/>
                </a:cubicBezTo>
                <a:cubicBezTo>
                  <a:pt x="9" y="100"/>
                  <a:pt x="8" y="99"/>
                  <a:pt x="7" y="98"/>
                </a:cubicBezTo>
                <a:cubicBezTo>
                  <a:pt x="7" y="98"/>
                  <a:pt x="5" y="99"/>
                  <a:pt x="5" y="100"/>
                </a:cubicBezTo>
                <a:cubicBezTo>
                  <a:pt x="4" y="100"/>
                  <a:pt x="4" y="101"/>
                  <a:pt x="4" y="101"/>
                </a:cubicBezTo>
                <a:cubicBezTo>
                  <a:pt x="4" y="102"/>
                  <a:pt x="3" y="101"/>
                  <a:pt x="2" y="102"/>
                </a:cubicBezTo>
                <a:cubicBezTo>
                  <a:pt x="2" y="102"/>
                  <a:pt x="1" y="102"/>
                  <a:pt x="0" y="103"/>
                </a:cubicBezTo>
                <a:cubicBezTo>
                  <a:pt x="0" y="104"/>
                  <a:pt x="5" y="107"/>
                  <a:pt x="7" y="107"/>
                </a:cubicBezTo>
                <a:cubicBezTo>
                  <a:pt x="9" y="107"/>
                  <a:pt x="11" y="108"/>
                  <a:pt x="13" y="108"/>
                </a:cubicBezTo>
                <a:cubicBezTo>
                  <a:pt x="12" y="108"/>
                  <a:pt x="12" y="107"/>
                  <a:pt x="11" y="107"/>
                </a:cubicBezTo>
                <a:cubicBezTo>
                  <a:pt x="13" y="107"/>
                  <a:pt x="14" y="108"/>
                  <a:pt x="16" y="108"/>
                </a:cubicBezTo>
                <a:cubicBezTo>
                  <a:pt x="17" y="108"/>
                  <a:pt x="18" y="108"/>
                  <a:pt x="20" y="109"/>
                </a:cubicBezTo>
                <a:cubicBezTo>
                  <a:pt x="19" y="110"/>
                  <a:pt x="18" y="109"/>
                  <a:pt x="17" y="109"/>
                </a:cubicBezTo>
                <a:cubicBezTo>
                  <a:pt x="17" y="109"/>
                  <a:pt x="16" y="109"/>
                  <a:pt x="16" y="109"/>
                </a:cubicBezTo>
                <a:cubicBezTo>
                  <a:pt x="15" y="110"/>
                  <a:pt x="16" y="110"/>
                  <a:pt x="16" y="110"/>
                </a:cubicBezTo>
                <a:cubicBezTo>
                  <a:pt x="14" y="112"/>
                  <a:pt x="13" y="112"/>
                  <a:pt x="11" y="111"/>
                </a:cubicBezTo>
                <a:cubicBezTo>
                  <a:pt x="12" y="112"/>
                  <a:pt x="14" y="114"/>
                  <a:pt x="15" y="115"/>
                </a:cubicBezTo>
                <a:cubicBezTo>
                  <a:pt x="15" y="115"/>
                  <a:pt x="15" y="115"/>
                  <a:pt x="15" y="114"/>
                </a:cubicBezTo>
                <a:cubicBezTo>
                  <a:pt x="17" y="115"/>
                  <a:pt x="16" y="116"/>
                  <a:pt x="15" y="117"/>
                </a:cubicBezTo>
                <a:cubicBezTo>
                  <a:pt x="15" y="118"/>
                  <a:pt x="17" y="119"/>
                  <a:pt x="18" y="120"/>
                </a:cubicBezTo>
                <a:cubicBezTo>
                  <a:pt x="19" y="121"/>
                  <a:pt x="21" y="121"/>
                  <a:pt x="23" y="121"/>
                </a:cubicBezTo>
                <a:cubicBezTo>
                  <a:pt x="26" y="121"/>
                  <a:pt x="30" y="124"/>
                  <a:pt x="33" y="122"/>
                </a:cubicBezTo>
                <a:cubicBezTo>
                  <a:pt x="32" y="122"/>
                  <a:pt x="31" y="122"/>
                  <a:pt x="32" y="122"/>
                </a:cubicBezTo>
                <a:cubicBezTo>
                  <a:pt x="32" y="121"/>
                  <a:pt x="33" y="121"/>
                  <a:pt x="34" y="121"/>
                </a:cubicBezTo>
                <a:cubicBezTo>
                  <a:pt x="35" y="121"/>
                  <a:pt x="37" y="120"/>
                  <a:pt x="38" y="120"/>
                </a:cubicBezTo>
                <a:cubicBezTo>
                  <a:pt x="38" y="120"/>
                  <a:pt x="38" y="120"/>
                  <a:pt x="37" y="121"/>
                </a:cubicBezTo>
                <a:cubicBezTo>
                  <a:pt x="38" y="120"/>
                  <a:pt x="39" y="121"/>
                  <a:pt x="40" y="121"/>
                </a:cubicBezTo>
                <a:cubicBezTo>
                  <a:pt x="41" y="121"/>
                  <a:pt x="42" y="120"/>
                  <a:pt x="42" y="120"/>
                </a:cubicBezTo>
                <a:cubicBezTo>
                  <a:pt x="44" y="120"/>
                  <a:pt x="45" y="121"/>
                  <a:pt x="47" y="121"/>
                </a:cubicBezTo>
                <a:cubicBezTo>
                  <a:pt x="47" y="121"/>
                  <a:pt x="48" y="122"/>
                  <a:pt x="49" y="123"/>
                </a:cubicBezTo>
                <a:cubicBezTo>
                  <a:pt x="49" y="124"/>
                  <a:pt x="50" y="123"/>
                  <a:pt x="50" y="122"/>
                </a:cubicBezTo>
                <a:cubicBezTo>
                  <a:pt x="50" y="122"/>
                  <a:pt x="51" y="122"/>
                  <a:pt x="51" y="122"/>
                </a:cubicBezTo>
                <a:cubicBezTo>
                  <a:pt x="50" y="121"/>
                  <a:pt x="49" y="121"/>
                  <a:pt x="49" y="121"/>
                </a:cubicBezTo>
                <a:cubicBezTo>
                  <a:pt x="48" y="121"/>
                  <a:pt x="48" y="121"/>
                  <a:pt x="47" y="120"/>
                </a:cubicBezTo>
                <a:cubicBezTo>
                  <a:pt x="49" y="119"/>
                  <a:pt x="49" y="119"/>
                  <a:pt x="51" y="120"/>
                </a:cubicBezTo>
                <a:cubicBezTo>
                  <a:pt x="51" y="121"/>
                  <a:pt x="52" y="121"/>
                  <a:pt x="53" y="122"/>
                </a:cubicBezTo>
                <a:cubicBezTo>
                  <a:pt x="53" y="124"/>
                  <a:pt x="52" y="125"/>
                  <a:pt x="54" y="124"/>
                </a:cubicBezTo>
                <a:cubicBezTo>
                  <a:pt x="55" y="123"/>
                  <a:pt x="54" y="123"/>
                  <a:pt x="55" y="122"/>
                </a:cubicBezTo>
                <a:cubicBezTo>
                  <a:pt x="56" y="121"/>
                  <a:pt x="57" y="121"/>
                  <a:pt x="59" y="120"/>
                </a:cubicBezTo>
                <a:cubicBezTo>
                  <a:pt x="59" y="119"/>
                  <a:pt x="59" y="119"/>
                  <a:pt x="60" y="118"/>
                </a:cubicBezTo>
                <a:cubicBezTo>
                  <a:pt x="61" y="118"/>
                  <a:pt x="62" y="118"/>
                  <a:pt x="63" y="118"/>
                </a:cubicBezTo>
                <a:cubicBezTo>
                  <a:pt x="63" y="118"/>
                  <a:pt x="64" y="116"/>
                  <a:pt x="64" y="117"/>
                </a:cubicBezTo>
                <a:cubicBezTo>
                  <a:pt x="65" y="117"/>
                  <a:pt x="66" y="118"/>
                  <a:pt x="67" y="117"/>
                </a:cubicBezTo>
                <a:cubicBezTo>
                  <a:pt x="69" y="116"/>
                  <a:pt x="69" y="114"/>
                  <a:pt x="71" y="115"/>
                </a:cubicBezTo>
                <a:cubicBezTo>
                  <a:pt x="71" y="115"/>
                  <a:pt x="71" y="114"/>
                  <a:pt x="72" y="115"/>
                </a:cubicBezTo>
                <a:cubicBezTo>
                  <a:pt x="72" y="116"/>
                  <a:pt x="72" y="116"/>
                  <a:pt x="72" y="116"/>
                </a:cubicBezTo>
                <a:cubicBezTo>
                  <a:pt x="73" y="118"/>
                  <a:pt x="74" y="118"/>
                  <a:pt x="73" y="119"/>
                </a:cubicBezTo>
                <a:cubicBezTo>
                  <a:pt x="71" y="120"/>
                  <a:pt x="71" y="121"/>
                  <a:pt x="69" y="121"/>
                </a:cubicBezTo>
                <a:cubicBezTo>
                  <a:pt x="68" y="122"/>
                  <a:pt x="68" y="121"/>
                  <a:pt x="67" y="121"/>
                </a:cubicBezTo>
                <a:cubicBezTo>
                  <a:pt x="67" y="122"/>
                  <a:pt x="67" y="123"/>
                  <a:pt x="68" y="123"/>
                </a:cubicBezTo>
                <a:cubicBezTo>
                  <a:pt x="68" y="123"/>
                  <a:pt x="69" y="123"/>
                  <a:pt x="69" y="123"/>
                </a:cubicBezTo>
                <a:cubicBezTo>
                  <a:pt x="69" y="123"/>
                  <a:pt x="70" y="124"/>
                  <a:pt x="70" y="125"/>
                </a:cubicBezTo>
                <a:cubicBezTo>
                  <a:pt x="71" y="125"/>
                  <a:pt x="72" y="126"/>
                  <a:pt x="72" y="126"/>
                </a:cubicBezTo>
                <a:cubicBezTo>
                  <a:pt x="72" y="127"/>
                  <a:pt x="72" y="128"/>
                  <a:pt x="72" y="129"/>
                </a:cubicBezTo>
                <a:cubicBezTo>
                  <a:pt x="72" y="130"/>
                  <a:pt x="73" y="130"/>
                  <a:pt x="73" y="131"/>
                </a:cubicBezTo>
                <a:cubicBezTo>
                  <a:pt x="74" y="133"/>
                  <a:pt x="74" y="134"/>
                  <a:pt x="72" y="135"/>
                </a:cubicBezTo>
                <a:cubicBezTo>
                  <a:pt x="72" y="136"/>
                  <a:pt x="71" y="137"/>
                  <a:pt x="70" y="137"/>
                </a:cubicBezTo>
                <a:cubicBezTo>
                  <a:pt x="69" y="138"/>
                  <a:pt x="65" y="138"/>
                  <a:pt x="63" y="138"/>
                </a:cubicBezTo>
                <a:cubicBezTo>
                  <a:pt x="62" y="138"/>
                  <a:pt x="61" y="138"/>
                  <a:pt x="60" y="138"/>
                </a:cubicBezTo>
                <a:cubicBezTo>
                  <a:pt x="59" y="138"/>
                  <a:pt x="59" y="137"/>
                  <a:pt x="58" y="137"/>
                </a:cubicBezTo>
                <a:cubicBezTo>
                  <a:pt x="57" y="138"/>
                  <a:pt x="57" y="140"/>
                  <a:pt x="56" y="140"/>
                </a:cubicBezTo>
                <a:cubicBezTo>
                  <a:pt x="56" y="141"/>
                  <a:pt x="55" y="142"/>
                  <a:pt x="55" y="142"/>
                </a:cubicBezTo>
                <a:cubicBezTo>
                  <a:pt x="54" y="142"/>
                  <a:pt x="54" y="143"/>
                  <a:pt x="53" y="143"/>
                </a:cubicBezTo>
                <a:cubicBezTo>
                  <a:pt x="53" y="143"/>
                  <a:pt x="53" y="143"/>
                  <a:pt x="52" y="144"/>
                </a:cubicBezTo>
                <a:cubicBezTo>
                  <a:pt x="50" y="146"/>
                  <a:pt x="47" y="146"/>
                  <a:pt x="44" y="144"/>
                </a:cubicBezTo>
                <a:cubicBezTo>
                  <a:pt x="43" y="143"/>
                  <a:pt x="43" y="142"/>
                  <a:pt x="42" y="142"/>
                </a:cubicBezTo>
                <a:cubicBezTo>
                  <a:pt x="39" y="142"/>
                  <a:pt x="37" y="143"/>
                  <a:pt x="35" y="144"/>
                </a:cubicBezTo>
                <a:cubicBezTo>
                  <a:pt x="35" y="144"/>
                  <a:pt x="37" y="145"/>
                  <a:pt x="38" y="146"/>
                </a:cubicBezTo>
                <a:cubicBezTo>
                  <a:pt x="36" y="146"/>
                  <a:pt x="34" y="145"/>
                  <a:pt x="33" y="147"/>
                </a:cubicBezTo>
                <a:cubicBezTo>
                  <a:pt x="32" y="148"/>
                  <a:pt x="32" y="149"/>
                  <a:pt x="32" y="150"/>
                </a:cubicBezTo>
                <a:cubicBezTo>
                  <a:pt x="32" y="154"/>
                  <a:pt x="34" y="150"/>
                  <a:pt x="36" y="150"/>
                </a:cubicBezTo>
                <a:cubicBezTo>
                  <a:pt x="35" y="151"/>
                  <a:pt x="34" y="152"/>
                  <a:pt x="33" y="154"/>
                </a:cubicBezTo>
                <a:cubicBezTo>
                  <a:pt x="32" y="155"/>
                  <a:pt x="33" y="154"/>
                  <a:pt x="32" y="154"/>
                </a:cubicBezTo>
                <a:cubicBezTo>
                  <a:pt x="31" y="153"/>
                  <a:pt x="30" y="153"/>
                  <a:pt x="29" y="154"/>
                </a:cubicBezTo>
                <a:cubicBezTo>
                  <a:pt x="27" y="156"/>
                  <a:pt x="25" y="158"/>
                  <a:pt x="24" y="160"/>
                </a:cubicBezTo>
                <a:cubicBezTo>
                  <a:pt x="23" y="161"/>
                  <a:pt x="23" y="162"/>
                  <a:pt x="24" y="164"/>
                </a:cubicBezTo>
                <a:cubicBezTo>
                  <a:pt x="24" y="165"/>
                  <a:pt x="20" y="165"/>
                  <a:pt x="19" y="165"/>
                </a:cubicBezTo>
                <a:cubicBezTo>
                  <a:pt x="20" y="166"/>
                  <a:pt x="22" y="166"/>
                  <a:pt x="22" y="167"/>
                </a:cubicBezTo>
                <a:cubicBezTo>
                  <a:pt x="21" y="167"/>
                  <a:pt x="19" y="168"/>
                  <a:pt x="19" y="167"/>
                </a:cubicBezTo>
                <a:cubicBezTo>
                  <a:pt x="18" y="169"/>
                  <a:pt x="19" y="169"/>
                  <a:pt x="21" y="169"/>
                </a:cubicBezTo>
                <a:cubicBezTo>
                  <a:pt x="21" y="169"/>
                  <a:pt x="22" y="169"/>
                  <a:pt x="22" y="169"/>
                </a:cubicBezTo>
                <a:cubicBezTo>
                  <a:pt x="23" y="170"/>
                  <a:pt x="22" y="170"/>
                  <a:pt x="21" y="171"/>
                </a:cubicBezTo>
                <a:cubicBezTo>
                  <a:pt x="21" y="173"/>
                  <a:pt x="24" y="172"/>
                  <a:pt x="24" y="173"/>
                </a:cubicBezTo>
                <a:cubicBezTo>
                  <a:pt x="24" y="174"/>
                  <a:pt x="24" y="175"/>
                  <a:pt x="24" y="175"/>
                </a:cubicBezTo>
                <a:cubicBezTo>
                  <a:pt x="25" y="176"/>
                  <a:pt x="26" y="176"/>
                  <a:pt x="27" y="176"/>
                </a:cubicBezTo>
                <a:cubicBezTo>
                  <a:pt x="27" y="176"/>
                  <a:pt x="27" y="174"/>
                  <a:pt x="27" y="174"/>
                </a:cubicBezTo>
                <a:cubicBezTo>
                  <a:pt x="27" y="173"/>
                  <a:pt x="28" y="174"/>
                  <a:pt x="28" y="173"/>
                </a:cubicBezTo>
                <a:cubicBezTo>
                  <a:pt x="29" y="174"/>
                  <a:pt x="27" y="174"/>
                  <a:pt x="27" y="174"/>
                </a:cubicBezTo>
                <a:cubicBezTo>
                  <a:pt x="28" y="175"/>
                  <a:pt x="28" y="175"/>
                  <a:pt x="29" y="175"/>
                </a:cubicBezTo>
                <a:cubicBezTo>
                  <a:pt x="29" y="175"/>
                  <a:pt x="29" y="174"/>
                  <a:pt x="30" y="174"/>
                </a:cubicBezTo>
                <a:cubicBezTo>
                  <a:pt x="30" y="175"/>
                  <a:pt x="29" y="175"/>
                  <a:pt x="29" y="176"/>
                </a:cubicBezTo>
                <a:cubicBezTo>
                  <a:pt x="30" y="176"/>
                  <a:pt x="32" y="176"/>
                  <a:pt x="33" y="176"/>
                </a:cubicBezTo>
                <a:cubicBezTo>
                  <a:pt x="32" y="176"/>
                  <a:pt x="31" y="176"/>
                  <a:pt x="31" y="177"/>
                </a:cubicBezTo>
                <a:cubicBezTo>
                  <a:pt x="30" y="177"/>
                  <a:pt x="29" y="177"/>
                  <a:pt x="29" y="178"/>
                </a:cubicBezTo>
                <a:cubicBezTo>
                  <a:pt x="30" y="179"/>
                  <a:pt x="31" y="178"/>
                  <a:pt x="32" y="178"/>
                </a:cubicBezTo>
                <a:cubicBezTo>
                  <a:pt x="32" y="178"/>
                  <a:pt x="33" y="179"/>
                  <a:pt x="33" y="179"/>
                </a:cubicBezTo>
                <a:cubicBezTo>
                  <a:pt x="33" y="179"/>
                  <a:pt x="34" y="179"/>
                  <a:pt x="34" y="179"/>
                </a:cubicBezTo>
                <a:cubicBezTo>
                  <a:pt x="35" y="179"/>
                  <a:pt x="35" y="180"/>
                  <a:pt x="36" y="180"/>
                </a:cubicBezTo>
                <a:cubicBezTo>
                  <a:pt x="37" y="180"/>
                  <a:pt x="38" y="180"/>
                  <a:pt x="39" y="180"/>
                </a:cubicBezTo>
                <a:cubicBezTo>
                  <a:pt x="39" y="180"/>
                  <a:pt x="40" y="180"/>
                  <a:pt x="41" y="180"/>
                </a:cubicBezTo>
                <a:cubicBezTo>
                  <a:pt x="42" y="180"/>
                  <a:pt x="41" y="179"/>
                  <a:pt x="42" y="179"/>
                </a:cubicBezTo>
                <a:cubicBezTo>
                  <a:pt x="42" y="179"/>
                  <a:pt x="43" y="178"/>
                  <a:pt x="43" y="178"/>
                </a:cubicBezTo>
                <a:cubicBezTo>
                  <a:pt x="44" y="178"/>
                  <a:pt x="44" y="178"/>
                  <a:pt x="44" y="178"/>
                </a:cubicBezTo>
                <a:cubicBezTo>
                  <a:pt x="44" y="179"/>
                  <a:pt x="45" y="179"/>
                  <a:pt x="45" y="179"/>
                </a:cubicBezTo>
                <a:cubicBezTo>
                  <a:pt x="44" y="180"/>
                  <a:pt x="43" y="179"/>
                  <a:pt x="42" y="180"/>
                </a:cubicBezTo>
                <a:cubicBezTo>
                  <a:pt x="43" y="180"/>
                  <a:pt x="46" y="180"/>
                  <a:pt x="46" y="181"/>
                </a:cubicBezTo>
                <a:cubicBezTo>
                  <a:pt x="47" y="182"/>
                  <a:pt x="44" y="185"/>
                  <a:pt x="43" y="184"/>
                </a:cubicBezTo>
                <a:cubicBezTo>
                  <a:pt x="42" y="183"/>
                  <a:pt x="43" y="181"/>
                  <a:pt x="41" y="181"/>
                </a:cubicBezTo>
                <a:cubicBezTo>
                  <a:pt x="40" y="181"/>
                  <a:pt x="40" y="182"/>
                  <a:pt x="40" y="182"/>
                </a:cubicBezTo>
                <a:cubicBezTo>
                  <a:pt x="39" y="183"/>
                  <a:pt x="38" y="183"/>
                  <a:pt x="38" y="183"/>
                </a:cubicBezTo>
                <a:cubicBezTo>
                  <a:pt x="37" y="184"/>
                  <a:pt x="37" y="184"/>
                  <a:pt x="36" y="184"/>
                </a:cubicBezTo>
                <a:cubicBezTo>
                  <a:pt x="37" y="184"/>
                  <a:pt x="37" y="183"/>
                  <a:pt x="37" y="183"/>
                </a:cubicBezTo>
                <a:cubicBezTo>
                  <a:pt x="37" y="183"/>
                  <a:pt x="38" y="183"/>
                  <a:pt x="38" y="183"/>
                </a:cubicBezTo>
                <a:cubicBezTo>
                  <a:pt x="39" y="181"/>
                  <a:pt x="38" y="181"/>
                  <a:pt x="37" y="181"/>
                </a:cubicBezTo>
                <a:cubicBezTo>
                  <a:pt x="36" y="180"/>
                  <a:pt x="35" y="181"/>
                  <a:pt x="34" y="180"/>
                </a:cubicBezTo>
                <a:cubicBezTo>
                  <a:pt x="33" y="180"/>
                  <a:pt x="33" y="179"/>
                  <a:pt x="33" y="179"/>
                </a:cubicBezTo>
                <a:cubicBezTo>
                  <a:pt x="33" y="179"/>
                  <a:pt x="32" y="180"/>
                  <a:pt x="32" y="180"/>
                </a:cubicBezTo>
                <a:cubicBezTo>
                  <a:pt x="32" y="179"/>
                  <a:pt x="32" y="178"/>
                  <a:pt x="31" y="179"/>
                </a:cubicBezTo>
                <a:cubicBezTo>
                  <a:pt x="31" y="179"/>
                  <a:pt x="31" y="180"/>
                  <a:pt x="31" y="181"/>
                </a:cubicBezTo>
                <a:cubicBezTo>
                  <a:pt x="31" y="181"/>
                  <a:pt x="30" y="181"/>
                  <a:pt x="30" y="181"/>
                </a:cubicBezTo>
                <a:cubicBezTo>
                  <a:pt x="30" y="182"/>
                  <a:pt x="31" y="182"/>
                  <a:pt x="30" y="182"/>
                </a:cubicBezTo>
                <a:cubicBezTo>
                  <a:pt x="30" y="183"/>
                  <a:pt x="27" y="184"/>
                  <a:pt x="26" y="184"/>
                </a:cubicBezTo>
                <a:cubicBezTo>
                  <a:pt x="27" y="185"/>
                  <a:pt x="28" y="185"/>
                  <a:pt x="29" y="185"/>
                </a:cubicBezTo>
                <a:cubicBezTo>
                  <a:pt x="30" y="185"/>
                  <a:pt x="30" y="184"/>
                  <a:pt x="31" y="185"/>
                </a:cubicBezTo>
                <a:cubicBezTo>
                  <a:pt x="31" y="185"/>
                  <a:pt x="30" y="186"/>
                  <a:pt x="30" y="186"/>
                </a:cubicBezTo>
                <a:cubicBezTo>
                  <a:pt x="29" y="186"/>
                  <a:pt x="29" y="186"/>
                  <a:pt x="30" y="187"/>
                </a:cubicBezTo>
                <a:cubicBezTo>
                  <a:pt x="30" y="188"/>
                  <a:pt x="32" y="188"/>
                  <a:pt x="33" y="188"/>
                </a:cubicBezTo>
                <a:cubicBezTo>
                  <a:pt x="34" y="188"/>
                  <a:pt x="34" y="188"/>
                  <a:pt x="34" y="188"/>
                </a:cubicBezTo>
                <a:cubicBezTo>
                  <a:pt x="36" y="190"/>
                  <a:pt x="37" y="193"/>
                  <a:pt x="39" y="195"/>
                </a:cubicBezTo>
                <a:cubicBezTo>
                  <a:pt x="40" y="196"/>
                  <a:pt x="42" y="196"/>
                  <a:pt x="44" y="196"/>
                </a:cubicBezTo>
                <a:cubicBezTo>
                  <a:pt x="45" y="196"/>
                  <a:pt x="54" y="195"/>
                  <a:pt x="54" y="193"/>
                </a:cubicBezTo>
                <a:cubicBezTo>
                  <a:pt x="55" y="194"/>
                  <a:pt x="56" y="193"/>
                  <a:pt x="56" y="192"/>
                </a:cubicBezTo>
                <a:cubicBezTo>
                  <a:pt x="56" y="192"/>
                  <a:pt x="57" y="190"/>
                  <a:pt x="57" y="190"/>
                </a:cubicBezTo>
                <a:cubicBezTo>
                  <a:pt x="56" y="189"/>
                  <a:pt x="55" y="189"/>
                  <a:pt x="54" y="189"/>
                </a:cubicBezTo>
                <a:cubicBezTo>
                  <a:pt x="55" y="189"/>
                  <a:pt x="55" y="189"/>
                  <a:pt x="56" y="188"/>
                </a:cubicBezTo>
                <a:cubicBezTo>
                  <a:pt x="56" y="188"/>
                  <a:pt x="55" y="188"/>
                  <a:pt x="55" y="188"/>
                </a:cubicBezTo>
                <a:cubicBezTo>
                  <a:pt x="55" y="188"/>
                  <a:pt x="56" y="188"/>
                  <a:pt x="56" y="188"/>
                </a:cubicBezTo>
                <a:cubicBezTo>
                  <a:pt x="56" y="187"/>
                  <a:pt x="57" y="187"/>
                  <a:pt x="57" y="187"/>
                </a:cubicBezTo>
                <a:cubicBezTo>
                  <a:pt x="57" y="187"/>
                  <a:pt x="57" y="187"/>
                  <a:pt x="57" y="186"/>
                </a:cubicBezTo>
                <a:cubicBezTo>
                  <a:pt x="57" y="186"/>
                  <a:pt x="57" y="187"/>
                  <a:pt x="57" y="186"/>
                </a:cubicBezTo>
                <a:cubicBezTo>
                  <a:pt x="58" y="186"/>
                  <a:pt x="58" y="185"/>
                  <a:pt x="58" y="184"/>
                </a:cubicBezTo>
                <a:cubicBezTo>
                  <a:pt x="59" y="183"/>
                  <a:pt x="60" y="183"/>
                  <a:pt x="60" y="182"/>
                </a:cubicBezTo>
                <a:cubicBezTo>
                  <a:pt x="61" y="183"/>
                  <a:pt x="61" y="182"/>
                  <a:pt x="62" y="182"/>
                </a:cubicBezTo>
                <a:cubicBezTo>
                  <a:pt x="62" y="183"/>
                  <a:pt x="60" y="183"/>
                  <a:pt x="59" y="184"/>
                </a:cubicBezTo>
                <a:cubicBezTo>
                  <a:pt x="59" y="185"/>
                  <a:pt x="58" y="186"/>
                  <a:pt x="58" y="187"/>
                </a:cubicBezTo>
                <a:cubicBezTo>
                  <a:pt x="58" y="187"/>
                  <a:pt x="57" y="188"/>
                  <a:pt x="57" y="188"/>
                </a:cubicBezTo>
                <a:cubicBezTo>
                  <a:pt x="57" y="189"/>
                  <a:pt x="58" y="190"/>
                  <a:pt x="58" y="190"/>
                </a:cubicBezTo>
                <a:cubicBezTo>
                  <a:pt x="58" y="191"/>
                  <a:pt x="59" y="190"/>
                  <a:pt x="58" y="189"/>
                </a:cubicBezTo>
                <a:cubicBezTo>
                  <a:pt x="59" y="190"/>
                  <a:pt x="59" y="190"/>
                  <a:pt x="60" y="189"/>
                </a:cubicBezTo>
                <a:cubicBezTo>
                  <a:pt x="59" y="191"/>
                  <a:pt x="59" y="191"/>
                  <a:pt x="60" y="193"/>
                </a:cubicBezTo>
                <a:cubicBezTo>
                  <a:pt x="60" y="193"/>
                  <a:pt x="60" y="194"/>
                  <a:pt x="60" y="194"/>
                </a:cubicBezTo>
                <a:cubicBezTo>
                  <a:pt x="60" y="195"/>
                  <a:pt x="61" y="196"/>
                  <a:pt x="62" y="196"/>
                </a:cubicBezTo>
                <a:cubicBezTo>
                  <a:pt x="62" y="197"/>
                  <a:pt x="62" y="198"/>
                  <a:pt x="63" y="198"/>
                </a:cubicBezTo>
                <a:cubicBezTo>
                  <a:pt x="63" y="199"/>
                  <a:pt x="64" y="200"/>
                  <a:pt x="64" y="200"/>
                </a:cubicBezTo>
                <a:cubicBezTo>
                  <a:pt x="64" y="201"/>
                  <a:pt x="63" y="201"/>
                  <a:pt x="62" y="202"/>
                </a:cubicBezTo>
                <a:cubicBezTo>
                  <a:pt x="61" y="204"/>
                  <a:pt x="61" y="204"/>
                  <a:pt x="62" y="206"/>
                </a:cubicBezTo>
                <a:cubicBezTo>
                  <a:pt x="63" y="208"/>
                  <a:pt x="64" y="205"/>
                  <a:pt x="65" y="206"/>
                </a:cubicBezTo>
                <a:cubicBezTo>
                  <a:pt x="65" y="207"/>
                  <a:pt x="63" y="207"/>
                  <a:pt x="63" y="207"/>
                </a:cubicBezTo>
                <a:cubicBezTo>
                  <a:pt x="63" y="208"/>
                  <a:pt x="63" y="209"/>
                  <a:pt x="63" y="209"/>
                </a:cubicBezTo>
                <a:cubicBezTo>
                  <a:pt x="63" y="210"/>
                  <a:pt x="64" y="211"/>
                  <a:pt x="64" y="211"/>
                </a:cubicBezTo>
                <a:cubicBezTo>
                  <a:pt x="64" y="211"/>
                  <a:pt x="65" y="211"/>
                  <a:pt x="64" y="212"/>
                </a:cubicBezTo>
                <a:cubicBezTo>
                  <a:pt x="63" y="212"/>
                  <a:pt x="61" y="213"/>
                  <a:pt x="60" y="213"/>
                </a:cubicBezTo>
                <a:cubicBezTo>
                  <a:pt x="61" y="214"/>
                  <a:pt x="63" y="213"/>
                  <a:pt x="64" y="214"/>
                </a:cubicBezTo>
                <a:cubicBezTo>
                  <a:pt x="64" y="214"/>
                  <a:pt x="64" y="214"/>
                  <a:pt x="64" y="213"/>
                </a:cubicBezTo>
                <a:cubicBezTo>
                  <a:pt x="64" y="214"/>
                  <a:pt x="64" y="214"/>
                  <a:pt x="64" y="215"/>
                </a:cubicBezTo>
                <a:cubicBezTo>
                  <a:pt x="65" y="214"/>
                  <a:pt x="66" y="214"/>
                  <a:pt x="67" y="213"/>
                </a:cubicBezTo>
                <a:cubicBezTo>
                  <a:pt x="68" y="213"/>
                  <a:pt x="68" y="213"/>
                  <a:pt x="68" y="213"/>
                </a:cubicBezTo>
                <a:cubicBezTo>
                  <a:pt x="69" y="212"/>
                  <a:pt x="68" y="211"/>
                  <a:pt x="69" y="211"/>
                </a:cubicBezTo>
                <a:cubicBezTo>
                  <a:pt x="69" y="211"/>
                  <a:pt x="69" y="211"/>
                  <a:pt x="69" y="211"/>
                </a:cubicBezTo>
                <a:cubicBezTo>
                  <a:pt x="70" y="211"/>
                  <a:pt x="73" y="209"/>
                  <a:pt x="73" y="210"/>
                </a:cubicBezTo>
                <a:cubicBezTo>
                  <a:pt x="73" y="210"/>
                  <a:pt x="74" y="210"/>
                  <a:pt x="74" y="209"/>
                </a:cubicBezTo>
                <a:cubicBezTo>
                  <a:pt x="75" y="209"/>
                  <a:pt x="77" y="207"/>
                  <a:pt x="78" y="207"/>
                </a:cubicBezTo>
                <a:cubicBezTo>
                  <a:pt x="79" y="207"/>
                  <a:pt x="79" y="208"/>
                  <a:pt x="79" y="209"/>
                </a:cubicBezTo>
                <a:cubicBezTo>
                  <a:pt x="79" y="210"/>
                  <a:pt x="79" y="209"/>
                  <a:pt x="80" y="209"/>
                </a:cubicBezTo>
                <a:cubicBezTo>
                  <a:pt x="80" y="210"/>
                  <a:pt x="80" y="210"/>
                  <a:pt x="81" y="210"/>
                </a:cubicBezTo>
                <a:cubicBezTo>
                  <a:pt x="81" y="210"/>
                  <a:pt x="81" y="210"/>
                  <a:pt x="82" y="210"/>
                </a:cubicBezTo>
                <a:cubicBezTo>
                  <a:pt x="82" y="210"/>
                  <a:pt x="82" y="211"/>
                  <a:pt x="82" y="211"/>
                </a:cubicBezTo>
                <a:cubicBezTo>
                  <a:pt x="83" y="212"/>
                  <a:pt x="83" y="211"/>
                  <a:pt x="84" y="210"/>
                </a:cubicBezTo>
                <a:cubicBezTo>
                  <a:pt x="84" y="210"/>
                  <a:pt x="85" y="208"/>
                  <a:pt x="85" y="209"/>
                </a:cubicBezTo>
                <a:cubicBezTo>
                  <a:pt x="86" y="209"/>
                  <a:pt x="86" y="210"/>
                  <a:pt x="86" y="210"/>
                </a:cubicBezTo>
                <a:cubicBezTo>
                  <a:pt x="86" y="211"/>
                  <a:pt x="87" y="211"/>
                  <a:pt x="87" y="211"/>
                </a:cubicBezTo>
                <a:cubicBezTo>
                  <a:pt x="89" y="213"/>
                  <a:pt x="90" y="216"/>
                  <a:pt x="92" y="217"/>
                </a:cubicBezTo>
                <a:cubicBezTo>
                  <a:pt x="93" y="217"/>
                  <a:pt x="94" y="217"/>
                  <a:pt x="94" y="216"/>
                </a:cubicBezTo>
                <a:cubicBezTo>
                  <a:pt x="95" y="215"/>
                  <a:pt x="94" y="215"/>
                  <a:pt x="94" y="214"/>
                </a:cubicBezTo>
                <a:cubicBezTo>
                  <a:pt x="93" y="213"/>
                  <a:pt x="93" y="212"/>
                  <a:pt x="93" y="212"/>
                </a:cubicBezTo>
                <a:cubicBezTo>
                  <a:pt x="93" y="211"/>
                  <a:pt x="95" y="210"/>
                  <a:pt x="94" y="209"/>
                </a:cubicBezTo>
                <a:cubicBezTo>
                  <a:pt x="95" y="209"/>
                  <a:pt x="94" y="210"/>
                  <a:pt x="95" y="210"/>
                </a:cubicBezTo>
                <a:cubicBezTo>
                  <a:pt x="96" y="209"/>
                  <a:pt x="96" y="209"/>
                  <a:pt x="96" y="209"/>
                </a:cubicBezTo>
                <a:cubicBezTo>
                  <a:pt x="96" y="208"/>
                  <a:pt x="97" y="208"/>
                  <a:pt x="97" y="207"/>
                </a:cubicBezTo>
                <a:cubicBezTo>
                  <a:pt x="97" y="207"/>
                  <a:pt x="98" y="207"/>
                  <a:pt x="97" y="206"/>
                </a:cubicBezTo>
                <a:cubicBezTo>
                  <a:pt x="97" y="206"/>
                  <a:pt x="97" y="206"/>
                  <a:pt x="97" y="206"/>
                </a:cubicBezTo>
                <a:cubicBezTo>
                  <a:pt x="98" y="207"/>
                  <a:pt x="98" y="207"/>
                  <a:pt x="100" y="207"/>
                </a:cubicBezTo>
                <a:cubicBezTo>
                  <a:pt x="101" y="208"/>
                  <a:pt x="102" y="208"/>
                  <a:pt x="102" y="209"/>
                </a:cubicBezTo>
                <a:cubicBezTo>
                  <a:pt x="101" y="208"/>
                  <a:pt x="100" y="208"/>
                  <a:pt x="99" y="208"/>
                </a:cubicBezTo>
                <a:cubicBezTo>
                  <a:pt x="98" y="208"/>
                  <a:pt x="97" y="208"/>
                  <a:pt x="97" y="208"/>
                </a:cubicBezTo>
                <a:cubicBezTo>
                  <a:pt x="97" y="209"/>
                  <a:pt x="97" y="210"/>
                  <a:pt x="97" y="211"/>
                </a:cubicBezTo>
                <a:cubicBezTo>
                  <a:pt x="97" y="211"/>
                  <a:pt x="97" y="211"/>
                  <a:pt x="97" y="211"/>
                </a:cubicBezTo>
                <a:cubicBezTo>
                  <a:pt x="98" y="212"/>
                  <a:pt x="98" y="212"/>
                  <a:pt x="98" y="212"/>
                </a:cubicBezTo>
                <a:cubicBezTo>
                  <a:pt x="99" y="212"/>
                  <a:pt x="98" y="213"/>
                  <a:pt x="99" y="213"/>
                </a:cubicBezTo>
                <a:cubicBezTo>
                  <a:pt x="99" y="214"/>
                  <a:pt x="99" y="214"/>
                  <a:pt x="100" y="214"/>
                </a:cubicBezTo>
                <a:cubicBezTo>
                  <a:pt x="102" y="214"/>
                  <a:pt x="104" y="213"/>
                  <a:pt x="105" y="212"/>
                </a:cubicBezTo>
                <a:cubicBezTo>
                  <a:pt x="106" y="212"/>
                  <a:pt x="108" y="211"/>
                  <a:pt x="110" y="210"/>
                </a:cubicBezTo>
                <a:cubicBezTo>
                  <a:pt x="112" y="210"/>
                  <a:pt x="112" y="209"/>
                  <a:pt x="113" y="208"/>
                </a:cubicBezTo>
                <a:cubicBezTo>
                  <a:pt x="113" y="209"/>
                  <a:pt x="110" y="213"/>
                  <a:pt x="113" y="212"/>
                </a:cubicBezTo>
                <a:cubicBezTo>
                  <a:pt x="111" y="214"/>
                  <a:pt x="109" y="216"/>
                  <a:pt x="107" y="217"/>
                </a:cubicBezTo>
                <a:cubicBezTo>
                  <a:pt x="107" y="218"/>
                  <a:pt x="106" y="219"/>
                  <a:pt x="107" y="219"/>
                </a:cubicBezTo>
                <a:cubicBezTo>
                  <a:pt x="108" y="220"/>
                  <a:pt x="110" y="219"/>
                  <a:pt x="111" y="221"/>
                </a:cubicBezTo>
                <a:cubicBezTo>
                  <a:pt x="108" y="220"/>
                  <a:pt x="107" y="220"/>
                  <a:pt x="106" y="223"/>
                </a:cubicBezTo>
                <a:cubicBezTo>
                  <a:pt x="106" y="224"/>
                  <a:pt x="106" y="225"/>
                  <a:pt x="105" y="226"/>
                </a:cubicBezTo>
                <a:cubicBezTo>
                  <a:pt x="105" y="226"/>
                  <a:pt x="105" y="227"/>
                  <a:pt x="105" y="227"/>
                </a:cubicBezTo>
                <a:cubicBezTo>
                  <a:pt x="105" y="228"/>
                  <a:pt x="105" y="228"/>
                  <a:pt x="106" y="229"/>
                </a:cubicBezTo>
                <a:cubicBezTo>
                  <a:pt x="106" y="229"/>
                  <a:pt x="107" y="229"/>
                  <a:pt x="106" y="230"/>
                </a:cubicBezTo>
                <a:cubicBezTo>
                  <a:pt x="106" y="231"/>
                  <a:pt x="105" y="230"/>
                  <a:pt x="105" y="229"/>
                </a:cubicBezTo>
                <a:cubicBezTo>
                  <a:pt x="103" y="229"/>
                  <a:pt x="101" y="232"/>
                  <a:pt x="99" y="234"/>
                </a:cubicBezTo>
                <a:cubicBezTo>
                  <a:pt x="98" y="235"/>
                  <a:pt x="96" y="236"/>
                  <a:pt x="95" y="237"/>
                </a:cubicBezTo>
                <a:cubicBezTo>
                  <a:pt x="94" y="239"/>
                  <a:pt x="96" y="240"/>
                  <a:pt x="96" y="241"/>
                </a:cubicBezTo>
                <a:cubicBezTo>
                  <a:pt x="94" y="241"/>
                  <a:pt x="93" y="240"/>
                  <a:pt x="92" y="240"/>
                </a:cubicBezTo>
                <a:cubicBezTo>
                  <a:pt x="92" y="240"/>
                  <a:pt x="93" y="240"/>
                  <a:pt x="93" y="239"/>
                </a:cubicBezTo>
                <a:cubicBezTo>
                  <a:pt x="90" y="241"/>
                  <a:pt x="86" y="244"/>
                  <a:pt x="82" y="246"/>
                </a:cubicBezTo>
                <a:cubicBezTo>
                  <a:pt x="81" y="247"/>
                  <a:pt x="78" y="248"/>
                  <a:pt x="77" y="249"/>
                </a:cubicBezTo>
                <a:cubicBezTo>
                  <a:pt x="77" y="250"/>
                  <a:pt x="77" y="251"/>
                  <a:pt x="76" y="252"/>
                </a:cubicBezTo>
                <a:cubicBezTo>
                  <a:pt x="76" y="252"/>
                  <a:pt x="76" y="252"/>
                  <a:pt x="76" y="252"/>
                </a:cubicBezTo>
                <a:cubicBezTo>
                  <a:pt x="76" y="252"/>
                  <a:pt x="76" y="253"/>
                  <a:pt x="76" y="253"/>
                </a:cubicBezTo>
                <a:cubicBezTo>
                  <a:pt x="77" y="253"/>
                  <a:pt x="78" y="254"/>
                  <a:pt x="79" y="254"/>
                </a:cubicBezTo>
                <a:cubicBezTo>
                  <a:pt x="79" y="255"/>
                  <a:pt x="78" y="255"/>
                  <a:pt x="79" y="255"/>
                </a:cubicBezTo>
                <a:cubicBezTo>
                  <a:pt x="77" y="255"/>
                  <a:pt x="76" y="255"/>
                  <a:pt x="74" y="254"/>
                </a:cubicBezTo>
                <a:cubicBezTo>
                  <a:pt x="73" y="255"/>
                  <a:pt x="75" y="256"/>
                  <a:pt x="75" y="256"/>
                </a:cubicBezTo>
                <a:cubicBezTo>
                  <a:pt x="74" y="256"/>
                  <a:pt x="73" y="255"/>
                  <a:pt x="72" y="255"/>
                </a:cubicBezTo>
                <a:cubicBezTo>
                  <a:pt x="72" y="255"/>
                  <a:pt x="72" y="254"/>
                  <a:pt x="72" y="254"/>
                </a:cubicBezTo>
                <a:cubicBezTo>
                  <a:pt x="72" y="254"/>
                  <a:pt x="71" y="254"/>
                  <a:pt x="71" y="254"/>
                </a:cubicBezTo>
                <a:cubicBezTo>
                  <a:pt x="71" y="253"/>
                  <a:pt x="73" y="253"/>
                  <a:pt x="73" y="253"/>
                </a:cubicBezTo>
                <a:cubicBezTo>
                  <a:pt x="73" y="252"/>
                  <a:pt x="70" y="252"/>
                  <a:pt x="69" y="252"/>
                </a:cubicBezTo>
                <a:cubicBezTo>
                  <a:pt x="69" y="252"/>
                  <a:pt x="69" y="252"/>
                  <a:pt x="69" y="252"/>
                </a:cubicBezTo>
                <a:cubicBezTo>
                  <a:pt x="65" y="254"/>
                  <a:pt x="61" y="255"/>
                  <a:pt x="58" y="258"/>
                </a:cubicBezTo>
                <a:cubicBezTo>
                  <a:pt x="56" y="260"/>
                  <a:pt x="53" y="261"/>
                  <a:pt x="51" y="263"/>
                </a:cubicBezTo>
                <a:cubicBezTo>
                  <a:pt x="50" y="264"/>
                  <a:pt x="50" y="264"/>
                  <a:pt x="51" y="263"/>
                </a:cubicBezTo>
                <a:cubicBezTo>
                  <a:pt x="50" y="264"/>
                  <a:pt x="49" y="264"/>
                  <a:pt x="49" y="264"/>
                </a:cubicBezTo>
                <a:cubicBezTo>
                  <a:pt x="48" y="265"/>
                  <a:pt x="48" y="264"/>
                  <a:pt x="48" y="265"/>
                </a:cubicBezTo>
                <a:cubicBezTo>
                  <a:pt x="48" y="266"/>
                  <a:pt x="48" y="267"/>
                  <a:pt x="48" y="267"/>
                </a:cubicBezTo>
                <a:cubicBezTo>
                  <a:pt x="48" y="268"/>
                  <a:pt x="48" y="269"/>
                  <a:pt x="47" y="269"/>
                </a:cubicBezTo>
                <a:cubicBezTo>
                  <a:pt x="48" y="268"/>
                  <a:pt x="49" y="268"/>
                  <a:pt x="50" y="267"/>
                </a:cubicBezTo>
                <a:cubicBezTo>
                  <a:pt x="49" y="267"/>
                  <a:pt x="48" y="265"/>
                  <a:pt x="49" y="265"/>
                </a:cubicBezTo>
                <a:cubicBezTo>
                  <a:pt x="50" y="264"/>
                  <a:pt x="51" y="266"/>
                  <a:pt x="52" y="266"/>
                </a:cubicBezTo>
                <a:cubicBezTo>
                  <a:pt x="50" y="268"/>
                  <a:pt x="56" y="267"/>
                  <a:pt x="55" y="267"/>
                </a:cubicBezTo>
                <a:cubicBezTo>
                  <a:pt x="55" y="267"/>
                  <a:pt x="55" y="266"/>
                  <a:pt x="55" y="265"/>
                </a:cubicBezTo>
                <a:cubicBezTo>
                  <a:pt x="55" y="266"/>
                  <a:pt x="55" y="265"/>
                  <a:pt x="55" y="265"/>
                </a:cubicBezTo>
                <a:cubicBezTo>
                  <a:pt x="55" y="265"/>
                  <a:pt x="55" y="264"/>
                  <a:pt x="55" y="264"/>
                </a:cubicBezTo>
                <a:cubicBezTo>
                  <a:pt x="55" y="264"/>
                  <a:pt x="54" y="264"/>
                  <a:pt x="54" y="264"/>
                </a:cubicBezTo>
                <a:cubicBezTo>
                  <a:pt x="54" y="264"/>
                  <a:pt x="54" y="264"/>
                  <a:pt x="54" y="263"/>
                </a:cubicBezTo>
                <a:cubicBezTo>
                  <a:pt x="54" y="261"/>
                  <a:pt x="57" y="265"/>
                  <a:pt x="57" y="265"/>
                </a:cubicBezTo>
                <a:cubicBezTo>
                  <a:pt x="57" y="265"/>
                  <a:pt x="57" y="266"/>
                  <a:pt x="56" y="266"/>
                </a:cubicBezTo>
                <a:cubicBezTo>
                  <a:pt x="57" y="266"/>
                  <a:pt x="58" y="266"/>
                  <a:pt x="58" y="266"/>
                </a:cubicBezTo>
                <a:cubicBezTo>
                  <a:pt x="59" y="266"/>
                  <a:pt x="59" y="265"/>
                  <a:pt x="59" y="265"/>
                </a:cubicBezTo>
                <a:cubicBezTo>
                  <a:pt x="60" y="265"/>
                  <a:pt x="60" y="266"/>
                  <a:pt x="61" y="265"/>
                </a:cubicBezTo>
                <a:cubicBezTo>
                  <a:pt x="61" y="265"/>
                  <a:pt x="61" y="264"/>
                  <a:pt x="61" y="264"/>
                </a:cubicBezTo>
                <a:cubicBezTo>
                  <a:pt x="61" y="263"/>
                  <a:pt x="62" y="263"/>
                  <a:pt x="62" y="262"/>
                </a:cubicBezTo>
                <a:cubicBezTo>
                  <a:pt x="63" y="262"/>
                  <a:pt x="64" y="262"/>
                  <a:pt x="64" y="261"/>
                </a:cubicBezTo>
                <a:cubicBezTo>
                  <a:pt x="65" y="260"/>
                  <a:pt x="64" y="259"/>
                  <a:pt x="65" y="259"/>
                </a:cubicBezTo>
                <a:cubicBezTo>
                  <a:pt x="66" y="258"/>
                  <a:pt x="67" y="258"/>
                  <a:pt x="68" y="258"/>
                </a:cubicBezTo>
                <a:cubicBezTo>
                  <a:pt x="69" y="258"/>
                  <a:pt x="70" y="259"/>
                  <a:pt x="70" y="259"/>
                </a:cubicBezTo>
                <a:cubicBezTo>
                  <a:pt x="68" y="259"/>
                  <a:pt x="68" y="258"/>
                  <a:pt x="67" y="260"/>
                </a:cubicBezTo>
                <a:cubicBezTo>
                  <a:pt x="67" y="260"/>
                  <a:pt x="66" y="261"/>
                  <a:pt x="66" y="261"/>
                </a:cubicBezTo>
                <a:cubicBezTo>
                  <a:pt x="66" y="262"/>
                  <a:pt x="68" y="261"/>
                  <a:pt x="68" y="261"/>
                </a:cubicBezTo>
                <a:cubicBezTo>
                  <a:pt x="69" y="261"/>
                  <a:pt x="69" y="261"/>
                  <a:pt x="70" y="261"/>
                </a:cubicBezTo>
                <a:cubicBezTo>
                  <a:pt x="71" y="261"/>
                  <a:pt x="74" y="261"/>
                  <a:pt x="74" y="260"/>
                </a:cubicBezTo>
                <a:cubicBezTo>
                  <a:pt x="75" y="259"/>
                  <a:pt x="73" y="259"/>
                  <a:pt x="75" y="258"/>
                </a:cubicBezTo>
                <a:cubicBezTo>
                  <a:pt x="76" y="258"/>
                  <a:pt x="76" y="260"/>
                  <a:pt x="76" y="260"/>
                </a:cubicBezTo>
                <a:cubicBezTo>
                  <a:pt x="77" y="260"/>
                  <a:pt x="77" y="258"/>
                  <a:pt x="77" y="257"/>
                </a:cubicBezTo>
                <a:cubicBezTo>
                  <a:pt x="80" y="256"/>
                  <a:pt x="83" y="256"/>
                  <a:pt x="85" y="255"/>
                </a:cubicBezTo>
                <a:cubicBezTo>
                  <a:pt x="84" y="256"/>
                  <a:pt x="86" y="257"/>
                  <a:pt x="85" y="257"/>
                </a:cubicBezTo>
                <a:cubicBezTo>
                  <a:pt x="86" y="257"/>
                  <a:pt x="85" y="258"/>
                  <a:pt x="84" y="258"/>
                </a:cubicBezTo>
                <a:cubicBezTo>
                  <a:pt x="86" y="259"/>
                  <a:pt x="87" y="255"/>
                  <a:pt x="86" y="254"/>
                </a:cubicBezTo>
                <a:cubicBezTo>
                  <a:pt x="87" y="254"/>
                  <a:pt x="87" y="255"/>
                  <a:pt x="87" y="255"/>
                </a:cubicBezTo>
                <a:cubicBezTo>
                  <a:pt x="88" y="255"/>
                  <a:pt x="90" y="254"/>
                  <a:pt x="90" y="254"/>
                </a:cubicBezTo>
                <a:cubicBezTo>
                  <a:pt x="92" y="254"/>
                  <a:pt x="93" y="253"/>
                  <a:pt x="95" y="253"/>
                </a:cubicBezTo>
                <a:cubicBezTo>
                  <a:pt x="95" y="253"/>
                  <a:pt x="94" y="253"/>
                  <a:pt x="94" y="253"/>
                </a:cubicBezTo>
                <a:cubicBezTo>
                  <a:pt x="95" y="253"/>
                  <a:pt x="95" y="253"/>
                  <a:pt x="95" y="253"/>
                </a:cubicBezTo>
                <a:cubicBezTo>
                  <a:pt x="95" y="252"/>
                  <a:pt x="95" y="251"/>
                  <a:pt x="95" y="251"/>
                </a:cubicBezTo>
                <a:cubicBezTo>
                  <a:pt x="95" y="251"/>
                  <a:pt x="95" y="249"/>
                  <a:pt x="96" y="250"/>
                </a:cubicBezTo>
                <a:cubicBezTo>
                  <a:pt x="96" y="251"/>
                  <a:pt x="96" y="252"/>
                  <a:pt x="97" y="251"/>
                </a:cubicBezTo>
                <a:cubicBezTo>
                  <a:pt x="96" y="252"/>
                  <a:pt x="97" y="252"/>
                  <a:pt x="97" y="252"/>
                </a:cubicBezTo>
                <a:cubicBezTo>
                  <a:pt x="97" y="252"/>
                  <a:pt x="97" y="251"/>
                  <a:pt x="97" y="251"/>
                </a:cubicBezTo>
                <a:cubicBezTo>
                  <a:pt x="97" y="250"/>
                  <a:pt x="98" y="250"/>
                  <a:pt x="98" y="249"/>
                </a:cubicBezTo>
                <a:cubicBezTo>
                  <a:pt x="98" y="249"/>
                  <a:pt x="98" y="249"/>
                  <a:pt x="98" y="249"/>
                </a:cubicBezTo>
                <a:cubicBezTo>
                  <a:pt x="98" y="249"/>
                  <a:pt x="99" y="247"/>
                  <a:pt x="98" y="248"/>
                </a:cubicBezTo>
                <a:cubicBezTo>
                  <a:pt x="98" y="247"/>
                  <a:pt x="97" y="247"/>
                  <a:pt x="97" y="248"/>
                </a:cubicBezTo>
                <a:cubicBezTo>
                  <a:pt x="96" y="248"/>
                  <a:pt x="96" y="249"/>
                  <a:pt x="95" y="248"/>
                </a:cubicBezTo>
                <a:cubicBezTo>
                  <a:pt x="95" y="248"/>
                  <a:pt x="97" y="247"/>
                  <a:pt x="97" y="247"/>
                </a:cubicBezTo>
                <a:cubicBezTo>
                  <a:pt x="99" y="245"/>
                  <a:pt x="101" y="244"/>
                  <a:pt x="103" y="243"/>
                </a:cubicBezTo>
                <a:cubicBezTo>
                  <a:pt x="104" y="242"/>
                  <a:pt x="105" y="243"/>
                  <a:pt x="107" y="243"/>
                </a:cubicBezTo>
                <a:cubicBezTo>
                  <a:pt x="107" y="243"/>
                  <a:pt x="107" y="242"/>
                  <a:pt x="106" y="242"/>
                </a:cubicBezTo>
                <a:cubicBezTo>
                  <a:pt x="107" y="241"/>
                  <a:pt x="109" y="241"/>
                  <a:pt x="110" y="241"/>
                </a:cubicBezTo>
                <a:cubicBezTo>
                  <a:pt x="111" y="241"/>
                  <a:pt x="113" y="239"/>
                  <a:pt x="114" y="239"/>
                </a:cubicBezTo>
                <a:cubicBezTo>
                  <a:pt x="114" y="239"/>
                  <a:pt x="114" y="239"/>
                  <a:pt x="114" y="239"/>
                </a:cubicBezTo>
                <a:cubicBezTo>
                  <a:pt x="115" y="237"/>
                  <a:pt x="115" y="238"/>
                  <a:pt x="117" y="238"/>
                </a:cubicBezTo>
                <a:cubicBezTo>
                  <a:pt x="116" y="237"/>
                  <a:pt x="116" y="237"/>
                  <a:pt x="116" y="236"/>
                </a:cubicBezTo>
                <a:cubicBezTo>
                  <a:pt x="117" y="235"/>
                  <a:pt x="118" y="234"/>
                  <a:pt x="118" y="233"/>
                </a:cubicBezTo>
                <a:cubicBezTo>
                  <a:pt x="118" y="233"/>
                  <a:pt x="117" y="234"/>
                  <a:pt x="117" y="234"/>
                </a:cubicBezTo>
                <a:cubicBezTo>
                  <a:pt x="117" y="232"/>
                  <a:pt x="121" y="231"/>
                  <a:pt x="122" y="230"/>
                </a:cubicBezTo>
                <a:cubicBezTo>
                  <a:pt x="124" y="230"/>
                  <a:pt x="125" y="228"/>
                  <a:pt x="126" y="227"/>
                </a:cubicBezTo>
                <a:cubicBezTo>
                  <a:pt x="126" y="227"/>
                  <a:pt x="126" y="226"/>
                  <a:pt x="126" y="226"/>
                </a:cubicBezTo>
                <a:cubicBezTo>
                  <a:pt x="127" y="226"/>
                  <a:pt x="128" y="227"/>
                  <a:pt x="129" y="227"/>
                </a:cubicBezTo>
                <a:cubicBezTo>
                  <a:pt x="129" y="227"/>
                  <a:pt x="130" y="225"/>
                  <a:pt x="130" y="225"/>
                </a:cubicBezTo>
                <a:cubicBezTo>
                  <a:pt x="131" y="225"/>
                  <a:pt x="131" y="225"/>
                  <a:pt x="132" y="224"/>
                </a:cubicBezTo>
                <a:cubicBezTo>
                  <a:pt x="132" y="224"/>
                  <a:pt x="132" y="223"/>
                  <a:pt x="133" y="223"/>
                </a:cubicBezTo>
                <a:cubicBezTo>
                  <a:pt x="134" y="222"/>
                  <a:pt x="138" y="221"/>
                  <a:pt x="138" y="220"/>
                </a:cubicBezTo>
                <a:cubicBezTo>
                  <a:pt x="138" y="221"/>
                  <a:pt x="139" y="221"/>
                  <a:pt x="139" y="222"/>
                </a:cubicBezTo>
                <a:cubicBezTo>
                  <a:pt x="140" y="221"/>
                  <a:pt x="140" y="220"/>
                  <a:pt x="141" y="220"/>
                </a:cubicBezTo>
                <a:cubicBezTo>
                  <a:pt x="141" y="220"/>
                  <a:pt x="141" y="219"/>
                  <a:pt x="141" y="219"/>
                </a:cubicBezTo>
                <a:cubicBezTo>
                  <a:pt x="141" y="219"/>
                  <a:pt x="141" y="219"/>
                  <a:pt x="142" y="219"/>
                </a:cubicBezTo>
                <a:cubicBezTo>
                  <a:pt x="141" y="218"/>
                  <a:pt x="140" y="219"/>
                  <a:pt x="140" y="219"/>
                </a:cubicBezTo>
                <a:cubicBezTo>
                  <a:pt x="141" y="218"/>
                  <a:pt x="142" y="218"/>
                  <a:pt x="143" y="217"/>
                </a:cubicBezTo>
                <a:cubicBezTo>
                  <a:pt x="142" y="217"/>
                  <a:pt x="142" y="217"/>
                  <a:pt x="142" y="216"/>
                </a:cubicBezTo>
                <a:cubicBezTo>
                  <a:pt x="142" y="215"/>
                  <a:pt x="142" y="216"/>
                  <a:pt x="143" y="215"/>
                </a:cubicBezTo>
                <a:cubicBezTo>
                  <a:pt x="144" y="215"/>
                  <a:pt x="144" y="214"/>
                  <a:pt x="145" y="214"/>
                </a:cubicBezTo>
                <a:cubicBezTo>
                  <a:pt x="146" y="213"/>
                  <a:pt x="148" y="213"/>
                  <a:pt x="149" y="212"/>
                </a:cubicBezTo>
                <a:cubicBezTo>
                  <a:pt x="149" y="211"/>
                  <a:pt x="149" y="210"/>
                  <a:pt x="150" y="210"/>
                </a:cubicBezTo>
                <a:cubicBezTo>
                  <a:pt x="150" y="210"/>
                  <a:pt x="150" y="210"/>
                  <a:pt x="150" y="210"/>
                </a:cubicBezTo>
                <a:cubicBezTo>
                  <a:pt x="151" y="209"/>
                  <a:pt x="147" y="208"/>
                  <a:pt x="147" y="208"/>
                </a:cubicBezTo>
                <a:cubicBezTo>
                  <a:pt x="146" y="208"/>
                  <a:pt x="146" y="207"/>
                  <a:pt x="146" y="207"/>
                </a:cubicBezTo>
                <a:cubicBezTo>
                  <a:pt x="146" y="207"/>
                  <a:pt x="145" y="207"/>
                  <a:pt x="144" y="207"/>
                </a:cubicBezTo>
                <a:cubicBezTo>
                  <a:pt x="143" y="207"/>
                  <a:pt x="142" y="207"/>
                  <a:pt x="141" y="207"/>
                </a:cubicBezTo>
                <a:cubicBezTo>
                  <a:pt x="142" y="206"/>
                  <a:pt x="141" y="206"/>
                  <a:pt x="140" y="206"/>
                </a:cubicBezTo>
                <a:cubicBezTo>
                  <a:pt x="140" y="206"/>
                  <a:pt x="141" y="205"/>
                  <a:pt x="142" y="205"/>
                </a:cubicBezTo>
                <a:cubicBezTo>
                  <a:pt x="141" y="204"/>
                  <a:pt x="143" y="203"/>
                  <a:pt x="143" y="203"/>
                </a:cubicBezTo>
                <a:cubicBezTo>
                  <a:pt x="143" y="203"/>
                  <a:pt x="142" y="203"/>
                  <a:pt x="142" y="203"/>
                </a:cubicBezTo>
                <a:cubicBezTo>
                  <a:pt x="142" y="202"/>
                  <a:pt x="146" y="201"/>
                  <a:pt x="146" y="201"/>
                </a:cubicBezTo>
                <a:cubicBezTo>
                  <a:pt x="146" y="200"/>
                  <a:pt x="145" y="200"/>
                  <a:pt x="144" y="200"/>
                </a:cubicBezTo>
                <a:cubicBezTo>
                  <a:pt x="145" y="199"/>
                  <a:pt x="146" y="199"/>
                  <a:pt x="147" y="199"/>
                </a:cubicBezTo>
                <a:cubicBezTo>
                  <a:pt x="147" y="199"/>
                  <a:pt x="146" y="199"/>
                  <a:pt x="146" y="199"/>
                </a:cubicBezTo>
                <a:cubicBezTo>
                  <a:pt x="147" y="198"/>
                  <a:pt x="149" y="197"/>
                  <a:pt x="149" y="196"/>
                </a:cubicBezTo>
                <a:cubicBezTo>
                  <a:pt x="149" y="197"/>
                  <a:pt x="150" y="198"/>
                  <a:pt x="149" y="198"/>
                </a:cubicBezTo>
                <a:cubicBezTo>
                  <a:pt x="150" y="199"/>
                  <a:pt x="153" y="197"/>
                  <a:pt x="153" y="196"/>
                </a:cubicBezTo>
                <a:cubicBezTo>
                  <a:pt x="153" y="195"/>
                  <a:pt x="151" y="196"/>
                  <a:pt x="150" y="196"/>
                </a:cubicBezTo>
                <a:cubicBezTo>
                  <a:pt x="151" y="194"/>
                  <a:pt x="155" y="194"/>
                  <a:pt x="157" y="193"/>
                </a:cubicBezTo>
                <a:cubicBezTo>
                  <a:pt x="158" y="192"/>
                  <a:pt x="157" y="192"/>
                  <a:pt x="157" y="191"/>
                </a:cubicBezTo>
                <a:cubicBezTo>
                  <a:pt x="155" y="190"/>
                  <a:pt x="154" y="188"/>
                  <a:pt x="152" y="189"/>
                </a:cubicBezTo>
                <a:cubicBezTo>
                  <a:pt x="155" y="188"/>
                  <a:pt x="158" y="188"/>
                  <a:pt x="161" y="187"/>
                </a:cubicBezTo>
                <a:cubicBezTo>
                  <a:pt x="158" y="186"/>
                  <a:pt x="161" y="184"/>
                  <a:pt x="162" y="184"/>
                </a:cubicBezTo>
                <a:cubicBezTo>
                  <a:pt x="163" y="183"/>
                  <a:pt x="163" y="183"/>
                  <a:pt x="164" y="182"/>
                </a:cubicBezTo>
                <a:cubicBezTo>
                  <a:pt x="164" y="182"/>
                  <a:pt x="165" y="181"/>
                  <a:pt x="165" y="181"/>
                </a:cubicBezTo>
                <a:cubicBezTo>
                  <a:pt x="166" y="181"/>
                  <a:pt x="165" y="181"/>
                  <a:pt x="165" y="180"/>
                </a:cubicBezTo>
                <a:cubicBezTo>
                  <a:pt x="166" y="178"/>
                  <a:pt x="168" y="178"/>
                  <a:pt x="170" y="177"/>
                </a:cubicBezTo>
                <a:cubicBezTo>
                  <a:pt x="171" y="177"/>
                  <a:pt x="172" y="177"/>
                  <a:pt x="172" y="176"/>
                </a:cubicBezTo>
                <a:cubicBezTo>
                  <a:pt x="173" y="176"/>
                  <a:pt x="173" y="175"/>
                  <a:pt x="173" y="175"/>
                </a:cubicBezTo>
                <a:cubicBezTo>
                  <a:pt x="174" y="174"/>
                  <a:pt x="176" y="174"/>
                  <a:pt x="177" y="173"/>
                </a:cubicBezTo>
                <a:cubicBezTo>
                  <a:pt x="177" y="173"/>
                  <a:pt x="178" y="172"/>
                  <a:pt x="178" y="172"/>
                </a:cubicBezTo>
                <a:cubicBezTo>
                  <a:pt x="179" y="172"/>
                  <a:pt x="181" y="172"/>
                  <a:pt x="182" y="172"/>
                </a:cubicBezTo>
                <a:cubicBezTo>
                  <a:pt x="182" y="172"/>
                  <a:pt x="183" y="172"/>
                  <a:pt x="183" y="172"/>
                </a:cubicBezTo>
                <a:cubicBezTo>
                  <a:pt x="184" y="172"/>
                  <a:pt x="184" y="171"/>
                  <a:pt x="185" y="171"/>
                </a:cubicBezTo>
                <a:cubicBezTo>
                  <a:pt x="185" y="171"/>
                  <a:pt x="185" y="171"/>
                  <a:pt x="185" y="172"/>
                </a:cubicBezTo>
                <a:cubicBezTo>
                  <a:pt x="186" y="172"/>
                  <a:pt x="186" y="172"/>
                  <a:pt x="187" y="172"/>
                </a:cubicBezTo>
                <a:cubicBezTo>
                  <a:pt x="187" y="172"/>
                  <a:pt x="187" y="172"/>
                  <a:pt x="187" y="172"/>
                </a:cubicBezTo>
                <a:cubicBezTo>
                  <a:pt x="187" y="172"/>
                  <a:pt x="187" y="172"/>
                  <a:pt x="187" y="172"/>
                </a:cubicBezTo>
                <a:cubicBezTo>
                  <a:pt x="187" y="173"/>
                  <a:pt x="188" y="173"/>
                  <a:pt x="188" y="174"/>
                </a:cubicBezTo>
                <a:cubicBezTo>
                  <a:pt x="188" y="175"/>
                  <a:pt x="187" y="176"/>
                  <a:pt x="186" y="177"/>
                </a:cubicBezTo>
                <a:cubicBezTo>
                  <a:pt x="188" y="178"/>
                  <a:pt x="190" y="179"/>
                  <a:pt x="192" y="180"/>
                </a:cubicBezTo>
                <a:cubicBezTo>
                  <a:pt x="190" y="179"/>
                  <a:pt x="188" y="179"/>
                  <a:pt x="186" y="178"/>
                </a:cubicBezTo>
                <a:cubicBezTo>
                  <a:pt x="185" y="178"/>
                  <a:pt x="184" y="179"/>
                  <a:pt x="183" y="179"/>
                </a:cubicBezTo>
                <a:cubicBezTo>
                  <a:pt x="182" y="179"/>
                  <a:pt x="180" y="178"/>
                  <a:pt x="178" y="178"/>
                </a:cubicBezTo>
                <a:cubicBezTo>
                  <a:pt x="178" y="177"/>
                  <a:pt x="177" y="178"/>
                  <a:pt x="176" y="179"/>
                </a:cubicBezTo>
                <a:cubicBezTo>
                  <a:pt x="175" y="179"/>
                  <a:pt x="174" y="181"/>
                  <a:pt x="172" y="181"/>
                </a:cubicBezTo>
                <a:cubicBezTo>
                  <a:pt x="172" y="181"/>
                  <a:pt x="170" y="181"/>
                  <a:pt x="170" y="182"/>
                </a:cubicBezTo>
                <a:cubicBezTo>
                  <a:pt x="169" y="182"/>
                  <a:pt x="170" y="183"/>
                  <a:pt x="170" y="183"/>
                </a:cubicBezTo>
                <a:cubicBezTo>
                  <a:pt x="170" y="184"/>
                  <a:pt x="171" y="185"/>
                  <a:pt x="171" y="185"/>
                </a:cubicBezTo>
                <a:cubicBezTo>
                  <a:pt x="171" y="186"/>
                  <a:pt x="171" y="186"/>
                  <a:pt x="171" y="187"/>
                </a:cubicBezTo>
                <a:cubicBezTo>
                  <a:pt x="170" y="187"/>
                  <a:pt x="170" y="187"/>
                  <a:pt x="170" y="187"/>
                </a:cubicBezTo>
                <a:cubicBezTo>
                  <a:pt x="169" y="189"/>
                  <a:pt x="169" y="190"/>
                  <a:pt x="168" y="191"/>
                </a:cubicBezTo>
                <a:cubicBezTo>
                  <a:pt x="167" y="192"/>
                  <a:pt x="166" y="193"/>
                  <a:pt x="166" y="194"/>
                </a:cubicBezTo>
                <a:cubicBezTo>
                  <a:pt x="165" y="196"/>
                  <a:pt x="164" y="197"/>
                  <a:pt x="166" y="198"/>
                </a:cubicBezTo>
                <a:cubicBezTo>
                  <a:pt x="167" y="198"/>
                  <a:pt x="168" y="198"/>
                  <a:pt x="168" y="199"/>
                </a:cubicBezTo>
                <a:cubicBezTo>
                  <a:pt x="170" y="199"/>
                  <a:pt x="170" y="198"/>
                  <a:pt x="171" y="197"/>
                </a:cubicBezTo>
                <a:cubicBezTo>
                  <a:pt x="172" y="197"/>
                  <a:pt x="172" y="196"/>
                  <a:pt x="173" y="196"/>
                </a:cubicBezTo>
                <a:cubicBezTo>
                  <a:pt x="173" y="197"/>
                  <a:pt x="172" y="198"/>
                  <a:pt x="172" y="198"/>
                </a:cubicBezTo>
                <a:cubicBezTo>
                  <a:pt x="172" y="199"/>
                  <a:pt x="172" y="199"/>
                  <a:pt x="171" y="199"/>
                </a:cubicBezTo>
                <a:cubicBezTo>
                  <a:pt x="171" y="200"/>
                  <a:pt x="170" y="199"/>
                  <a:pt x="170" y="200"/>
                </a:cubicBezTo>
                <a:cubicBezTo>
                  <a:pt x="169" y="201"/>
                  <a:pt x="170" y="200"/>
                  <a:pt x="169" y="201"/>
                </a:cubicBezTo>
                <a:cubicBezTo>
                  <a:pt x="169" y="201"/>
                  <a:pt x="170" y="202"/>
                  <a:pt x="168" y="201"/>
                </a:cubicBezTo>
                <a:cubicBezTo>
                  <a:pt x="167" y="201"/>
                  <a:pt x="167" y="201"/>
                  <a:pt x="166" y="201"/>
                </a:cubicBezTo>
                <a:cubicBezTo>
                  <a:pt x="165" y="202"/>
                  <a:pt x="163" y="202"/>
                  <a:pt x="165" y="203"/>
                </a:cubicBezTo>
                <a:cubicBezTo>
                  <a:pt x="164" y="203"/>
                  <a:pt x="163" y="203"/>
                  <a:pt x="164" y="204"/>
                </a:cubicBezTo>
                <a:cubicBezTo>
                  <a:pt x="164" y="204"/>
                  <a:pt x="165" y="205"/>
                  <a:pt x="166" y="205"/>
                </a:cubicBezTo>
                <a:cubicBezTo>
                  <a:pt x="168" y="206"/>
                  <a:pt x="171" y="204"/>
                  <a:pt x="173" y="203"/>
                </a:cubicBezTo>
                <a:cubicBezTo>
                  <a:pt x="175" y="203"/>
                  <a:pt x="176" y="202"/>
                  <a:pt x="178" y="201"/>
                </a:cubicBezTo>
                <a:cubicBezTo>
                  <a:pt x="178" y="201"/>
                  <a:pt x="177" y="201"/>
                  <a:pt x="177" y="201"/>
                </a:cubicBezTo>
                <a:cubicBezTo>
                  <a:pt x="178" y="201"/>
                  <a:pt x="178" y="200"/>
                  <a:pt x="177" y="200"/>
                </a:cubicBezTo>
                <a:cubicBezTo>
                  <a:pt x="178" y="200"/>
                  <a:pt x="178" y="199"/>
                  <a:pt x="178" y="199"/>
                </a:cubicBezTo>
                <a:cubicBezTo>
                  <a:pt x="179" y="200"/>
                  <a:pt x="179" y="200"/>
                  <a:pt x="179" y="201"/>
                </a:cubicBezTo>
                <a:cubicBezTo>
                  <a:pt x="180" y="200"/>
                  <a:pt x="180" y="198"/>
                  <a:pt x="181" y="197"/>
                </a:cubicBezTo>
                <a:cubicBezTo>
                  <a:pt x="181" y="198"/>
                  <a:pt x="181" y="199"/>
                  <a:pt x="180" y="200"/>
                </a:cubicBezTo>
                <a:cubicBezTo>
                  <a:pt x="180" y="200"/>
                  <a:pt x="180" y="201"/>
                  <a:pt x="180" y="201"/>
                </a:cubicBezTo>
                <a:cubicBezTo>
                  <a:pt x="181" y="201"/>
                  <a:pt x="184" y="199"/>
                  <a:pt x="182" y="198"/>
                </a:cubicBezTo>
                <a:cubicBezTo>
                  <a:pt x="183" y="197"/>
                  <a:pt x="184" y="197"/>
                  <a:pt x="184" y="197"/>
                </a:cubicBezTo>
                <a:cubicBezTo>
                  <a:pt x="184" y="197"/>
                  <a:pt x="184" y="197"/>
                  <a:pt x="183" y="196"/>
                </a:cubicBezTo>
                <a:cubicBezTo>
                  <a:pt x="185" y="196"/>
                  <a:pt x="185" y="197"/>
                  <a:pt x="186" y="198"/>
                </a:cubicBezTo>
                <a:cubicBezTo>
                  <a:pt x="186" y="198"/>
                  <a:pt x="186" y="197"/>
                  <a:pt x="186" y="196"/>
                </a:cubicBezTo>
                <a:cubicBezTo>
                  <a:pt x="186" y="196"/>
                  <a:pt x="185" y="196"/>
                  <a:pt x="185" y="195"/>
                </a:cubicBezTo>
                <a:cubicBezTo>
                  <a:pt x="185" y="195"/>
                  <a:pt x="186" y="195"/>
                  <a:pt x="187" y="195"/>
                </a:cubicBezTo>
                <a:cubicBezTo>
                  <a:pt x="187" y="195"/>
                  <a:pt x="186" y="194"/>
                  <a:pt x="186" y="194"/>
                </a:cubicBezTo>
                <a:cubicBezTo>
                  <a:pt x="187" y="194"/>
                  <a:pt x="188" y="197"/>
                  <a:pt x="188" y="197"/>
                </a:cubicBezTo>
                <a:cubicBezTo>
                  <a:pt x="188" y="197"/>
                  <a:pt x="188" y="197"/>
                  <a:pt x="188" y="197"/>
                </a:cubicBezTo>
                <a:cubicBezTo>
                  <a:pt x="188" y="196"/>
                  <a:pt x="188" y="196"/>
                  <a:pt x="188" y="195"/>
                </a:cubicBezTo>
                <a:cubicBezTo>
                  <a:pt x="188" y="194"/>
                  <a:pt x="189" y="194"/>
                  <a:pt x="189" y="194"/>
                </a:cubicBezTo>
                <a:cubicBezTo>
                  <a:pt x="190" y="193"/>
                  <a:pt x="189" y="193"/>
                  <a:pt x="190" y="191"/>
                </a:cubicBezTo>
                <a:cubicBezTo>
                  <a:pt x="191" y="192"/>
                  <a:pt x="191" y="193"/>
                  <a:pt x="191" y="195"/>
                </a:cubicBezTo>
                <a:cubicBezTo>
                  <a:pt x="192" y="194"/>
                  <a:pt x="192" y="192"/>
                  <a:pt x="193" y="192"/>
                </a:cubicBezTo>
                <a:cubicBezTo>
                  <a:pt x="194" y="192"/>
                  <a:pt x="195" y="194"/>
                  <a:pt x="195" y="194"/>
                </a:cubicBezTo>
                <a:cubicBezTo>
                  <a:pt x="197" y="194"/>
                  <a:pt x="198" y="194"/>
                  <a:pt x="198" y="193"/>
                </a:cubicBezTo>
                <a:cubicBezTo>
                  <a:pt x="199" y="192"/>
                  <a:pt x="200" y="193"/>
                  <a:pt x="200" y="192"/>
                </a:cubicBezTo>
                <a:cubicBezTo>
                  <a:pt x="201" y="192"/>
                  <a:pt x="200" y="191"/>
                  <a:pt x="201" y="191"/>
                </a:cubicBezTo>
                <a:cubicBezTo>
                  <a:pt x="201" y="190"/>
                  <a:pt x="205" y="190"/>
                  <a:pt x="202" y="189"/>
                </a:cubicBezTo>
                <a:cubicBezTo>
                  <a:pt x="202" y="189"/>
                  <a:pt x="202" y="189"/>
                  <a:pt x="202" y="189"/>
                </a:cubicBezTo>
                <a:cubicBezTo>
                  <a:pt x="202" y="189"/>
                  <a:pt x="200" y="189"/>
                  <a:pt x="200" y="189"/>
                </a:cubicBezTo>
                <a:cubicBezTo>
                  <a:pt x="200" y="189"/>
                  <a:pt x="202" y="188"/>
                  <a:pt x="202" y="188"/>
                </a:cubicBezTo>
                <a:cubicBezTo>
                  <a:pt x="202" y="188"/>
                  <a:pt x="201" y="188"/>
                  <a:pt x="202" y="187"/>
                </a:cubicBezTo>
                <a:cubicBezTo>
                  <a:pt x="202" y="187"/>
                  <a:pt x="203" y="187"/>
                  <a:pt x="202" y="187"/>
                </a:cubicBezTo>
                <a:cubicBezTo>
                  <a:pt x="203" y="187"/>
                  <a:pt x="206" y="186"/>
                  <a:pt x="204" y="186"/>
                </a:cubicBezTo>
                <a:cubicBezTo>
                  <a:pt x="205" y="185"/>
                  <a:pt x="204" y="184"/>
                  <a:pt x="203" y="184"/>
                </a:cubicBezTo>
                <a:cubicBezTo>
                  <a:pt x="203" y="184"/>
                  <a:pt x="202" y="186"/>
                  <a:pt x="202" y="186"/>
                </a:cubicBezTo>
                <a:cubicBezTo>
                  <a:pt x="201" y="187"/>
                  <a:pt x="199" y="185"/>
                  <a:pt x="197" y="186"/>
                </a:cubicBezTo>
                <a:cubicBezTo>
                  <a:pt x="198" y="185"/>
                  <a:pt x="198" y="185"/>
                  <a:pt x="199" y="184"/>
                </a:cubicBezTo>
                <a:cubicBezTo>
                  <a:pt x="200" y="184"/>
                  <a:pt x="201" y="184"/>
                  <a:pt x="202" y="184"/>
                </a:cubicBezTo>
                <a:cubicBezTo>
                  <a:pt x="203" y="183"/>
                  <a:pt x="201" y="182"/>
                  <a:pt x="202" y="181"/>
                </a:cubicBezTo>
                <a:cubicBezTo>
                  <a:pt x="201" y="182"/>
                  <a:pt x="201" y="183"/>
                  <a:pt x="200" y="183"/>
                </a:cubicBezTo>
                <a:cubicBezTo>
                  <a:pt x="200" y="183"/>
                  <a:pt x="201" y="181"/>
                  <a:pt x="200" y="181"/>
                </a:cubicBezTo>
                <a:cubicBezTo>
                  <a:pt x="200" y="181"/>
                  <a:pt x="198" y="182"/>
                  <a:pt x="197" y="183"/>
                </a:cubicBezTo>
                <a:cubicBezTo>
                  <a:pt x="197" y="181"/>
                  <a:pt x="199" y="181"/>
                  <a:pt x="200" y="181"/>
                </a:cubicBezTo>
                <a:cubicBezTo>
                  <a:pt x="199" y="180"/>
                  <a:pt x="198" y="181"/>
                  <a:pt x="197" y="181"/>
                </a:cubicBezTo>
                <a:cubicBezTo>
                  <a:pt x="198" y="180"/>
                  <a:pt x="203" y="179"/>
                  <a:pt x="201" y="178"/>
                </a:cubicBezTo>
                <a:cubicBezTo>
                  <a:pt x="201" y="178"/>
                  <a:pt x="203" y="178"/>
                  <a:pt x="203" y="177"/>
                </a:cubicBezTo>
                <a:cubicBezTo>
                  <a:pt x="202" y="176"/>
                  <a:pt x="201" y="178"/>
                  <a:pt x="200" y="178"/>
                </a:cubicBezTo>
                <a:cubicBezTo>
                  <a:pt x="200" y="176"/>
                  <a:pt x="203" y="176"/>
                  <a:pt x="204" y="175"/>
                </a:cubicBezTo>
                <a:cubicBezTo>
                  <a:pt x="206" y="175"/>
                  <a:pt x="206" y="174"/>
                  <a:pt x="207" y="173"/>
                </a:cubicBezTo>
                <a:cubicBezTo>
                  <a:pt x="207" y="175"/>
                  <a:pt x="205" y="176"/>
                  <a:pt x="204" y="178"/>
                </a:cubicBezTo>
                <a:cubicBezTo>
                  <a:pt x="204" y="178"/>
                  <a:pt x="204" y="178"/>
                  <a:pt x="204" y="179"/>
                </a:cubicBezTo>
                <a:cubicBezTo>
                  <a:pt x="204" y="178"/>
                  <a:pt x="206" y="180"/>
                  <a:pt x="205" y="180"/>
                </a:cubicBezTo>
                <a:cubicBezTo>
                  <a:pt x="206" y="180"/>
                  <a:pt x="206" y="179"/>
                  <a:pt x="207" y="179"/>
                </a:cubicBezTo>
                <a:cubicBezTo>
                  <a:pt x="207" y="178"/>
                  <a:pt x="208" y="178"/>
                  <a:pt x="208" y="178"/>
                </a:cubicBezTo>
                <a:cubicBezTo>
                  <a:pt x="208" y="178"/>
                  <a:pt x="208" y="178"/>
                  <a:pt x="208" y="177"/>
                </a:cubicBezTo>
                <a:cubicBezTo>
                  <a:pt x="208" y="177"/>
                  <a:pt x="208" y="177"/>
                  <a:pt x="209" y="176"/>
                </a:cubicBezTo>
                <a:cubicBezTo>
                  <a:pt x="209" y="176"/>
                  <a:pt x="209" y="174"/>
                  <a:pt x="209" y="175"/>
                </a:cubicBezTo>
                <a:cubicBezTo>
                  <a:pt x="209" y="177"/>
                  <a:pt x="209" y="178"/>
                  <a:pt x="209" y="179"/>
                </a:cubicBezTo>
                <a:cubicBezTo>
                  <a:pt x="209" y="178"/>
                  <a:pt x="209" y="178"/>
                  <a:pt x="210" y="177"/>
                </a:cubicBezTo>
                <a:cubicBezTo>
                  <a:pt x="210" y="180"/>
                  <a:pt x="211" y="178"/>
                  <a:pt x="212" y="177"/>
                </a:cubicBezTo>
                <a:cubicBezTo>
                  <a:pt x="213" y="177"/>
                  <a:pt x="215" y="178"/>
                  <a:pt x="216" y="178"/>
                </a:cubicBezTo>
                <a:cubicBezTo>
                  <a:pt x="217" y="177"/>
                  <a:pt x="217" y="176"/>
                  <a:pt x="218" y="176"/>
                </a:cubicBezTo>
                <a:cubicBezTo>
                  <a:pt x="219" y="175"/>
                  <a:pt x="220" y="175"/>
                  <a:pt x="221" y="176"/>
                </a:cubicBezTo>
                <a:cubicBezTo>
                  <a:pt x="221" y="176"/>
                  <a:pt x="217" y="176"/>
                  <a:pt x="219" y="177"/>
                </a:cubicBezTo>
                <a:cubicBezTo>
                  <a:pt x="218" y="177"/>
                  <a:pt x="217" y="178"/>
                  <a:pt x="218" y="179"/>
                </a:cubicBezTo>
                <a:cubicBezTo>
                  <a:pt x="218" y="178"/>
                  <a:pt x="217" y="178"/>
                  <a:pt x="217" y="178"/>
                </a:cubicBezTo>
                <a:cubicBezTo>
                  <a:pt x="217" y="179"/>
                  <a:pt x="218" y="180"/>
                  <a:pt x="218" y="180"/>
                </a:cubicBezTo>
                <a:cubicBezTo>
                  <a:pt x="219" y="180"/>
                  <a:pt x="222" y="180"/>
                  <a:pt x="222" y="179"/>
                </a:cubicBezTo>
                <a:cubicBezTo>
                  <a:pt x="222" y="181"/>
                  <a:pt x="221" y="181"/>
                  <a:pt x="219" y="181"/>
                </a:cubicBezTo>
                <a:cubicBezTo>
                  <a:pt x="219" y="181"/>
                  <a:pt x="219" y="181"/>
                  <a:pt x="220" y="181"/>
                </a:cubicBezTo>
                <a:cubicBezTo>
                  <a:pt x="219" y="181"/>
                  <a:pt x="218" y="182"/>
                  <a:pt x="218" y="182"/>
                </a:cubicBezTo>
                <a:cubicBezTo>
                  <a:pt x="218" y="183"/>
                  <a:pt x="220" y="181"/>
                  <a:pt x="221" y="181"/>
                </a:cubicBezTo>
                <a:cubicBezTo>
                  <a:pt x="222" y="181"/>
                  <a:pt x="224" y="182"/>
                  <a:pt x="224" y="181"/>
                </a:cubicBezTo>
                <a:cubicBezTo>
                  <a:pt x="224" y="182"/>
                  <a:pt x="223" y="182"/>
                  <a:pt x="222" y="183"/>
                </a:cubicBezTo>
                <a:cubicBezTo>
                  <a:pt x="223" y="183"/>
                  <a:pt x="224" y="182"/>
                  <a:pt x="225" y="182"/>
                </a:cubicBezTo>
                <a:cubicBezTo>
                  <a:pt x="226" y="182"/>
                  <a:pt x="227" y="183"/>
                  <a:pt x="228" y="183"/>
                </a:cubicBezTo>
                <a:cubicBezTo>
                  <a:pt x="228" y="184"/>
                  <a:pt x="226" y="185"/>
                  <a:pt x="225" y="186"/>
                </a:cubicBezTo>
                <a:cubicBezTo>
                  <a:pt x="228" y="186"/>
                  <a:pt x="231" y="186"/>
                  <a:pt x="233" y="186"/>
                </a:cubicBezTo>
                <a:cubicBezTo>
                  <a:pt x="234" y="186"/>
                  <a:pt x="235" y="185"/>
                  <a:pt x="235" y="185"/>
                </a:cubicBezTo>
                <a:cubicBezTo>
                  <a:pt x="236" y="184"/>
                  <a:pt x="236" y="184"/>
                  <a:pt x="237" y="183"/>
                </a:cubicBezTo>
                <a:cubicBezTo>
                  <a:pt x="237" y="183"/>
                  <a:pt x="238" y="182"/>
                  <a:pt x="239" y="182"/>
                </a:cubicBezTo>
                <a:cubicBezTo>
                  <a:pt x="237" y="183"/>
                  <a:pt x="237" y="183"/>
                  <a:pt x="237" y="184"/>
                </a:cubicBezTo>
                <a:cubicBezTo>
                  <a:pt x="236" y="186"/>
                  <a:pt x="237" y="186"/>
                  <a:pt x="236" y="187"/>
                </a:cubicBezTo>
                <a:cubicBezTo>
                  <a:pt x="235" y="187"/>
                  <a:pt x="236" y="187"/>
                  <a:pt x="236" y="188"/>
                </a:cubicBezTo>
                <a:cubicBezTo>
                  <a:pt x="236" y="189"/>
                  <a:pt x="235" y="188"/>
                  <a:pt x="237" y="189"/>
                </a:cubicBezTo>
                <a:cubicBezTo>
                  <a:pt x="238" y="190"/>
                  <a:pt x="240" y="190"/>
                  <a:pt x="242" y="191"/>
                </a:cubicBezTo>
                <a:cubicBezTo>
                  <a:pt x="243" y="191"/>
                  <a:pt x="245" y="192"/>
                  <a:pt x="245" y="192"/>
                </a:cubicBezTo>
                <a:cubicBezTo>
                  <a:pt x="247" y="192"/>
                  <a:pt x="250" y="192"/>
                  <a:pt x="252" y="192"/>
                </a:cubicBezTo>
                <a:cubicBezTo>
                  <a:pt x="255" y="192"/>
                  <a:pt x="258" y="191"/>
                  <a:pt x="261" y="192"/>
                </a:cubicBezTo>
                <a:cubicBezTo>
                  <a:pt x="263" y="192"/>
                  <a:pt x="265" y="192"/>
                  <a:pt x="267" y="193"/>
                </a:cubicBezTo>
                <a:cubicBezTo>
                  <a:pt x="268" y="193"/>
                  <a:pt x="269" y="194"/>
                  <a:pt x="270" y="193"/>
                </a:cubicBezTo>
                <a:cubicBezTo>
                  <a:pt x="270" y="193"/>
                  <a:pt x="272" y="193"/>
                  <a:pt x="272" y="192"/>
                </a:cubicBezTo>
                <a:cubicBezTo>
                  <a:pt x="272" y="192"/>
                  <a:pt x="270" y="192"/>
                  <a:pt x="271" y="191"/>
                </a:cubicBezTo>
                <a:cubicBezTo>
                  <a:pt x="272" y="190"/>
                  <a:pt x="273" y="193"/>
                  <a:pt x="273" y="194"/>
                </a:cubicBezTo>
                <a:cubicBezTo>
                  <a:pt x="273" y="194"/>
                  <a:pt x="271" y="195"/>
                  <a:pt x="271" y="195"/>
                </a:cubicBezTo>
                <a:cubicBezTo>
                  <a:pt x="274" y="196"/>
                  <a:pt x="278" y="198"/>
                  <a:pt x="282" y="198"/>
                </a:cubicBezTo>
                <a:cubicBezTo>
                  <a:pt x="284" y="198"/>
                  <a:pt x="285" y="197"/>
                  <a:pt x="286" y="196"/>
                </a:cubicBezTo>
                <a:cubicBezTo>
                  <a:pt x="287" y="196"/>
                  <a:pt x="288" y="196"/>
                  <a:pt x="288" y="195"/>
                </a:cubicBezTo>
                <a:cubicBezTo>
                  <a:pt x="289" y="194"/>
                  <a:pt x="290" y="194"/>
                  <a:pt x="290" y="194"/>
                </a:cubicBezTo>
                <a:cubicBezTo>
                  <a:pt x="291" y="193"/>
                  <a:pt x="290" y="192"/>
                  <a:pt x="291" y="192"/>
                </a:cubicBezTo>
                <a:cubicBezTo>
                  <a:pt x="293" y="193"/>
                  <a:pt x="295" y="195"/>
                  <a:pt x="297" y="196"/>
                </a:cubicBezTo>
                <a:cubicBezTo>
                  <a:pt x="296" y="196"/>
                  <a:pt x="294" y="195"/>
                  <a:pt x="293" y="196"/>
                </a:cubicBezTo>
                <a:cubicBezTo>
                  <a:pt x="293" y="196"/>
                  <a:pt x="293" y="198"/>
                  <a:pt x="294" y="198"/>
                </a:cubicBezTo>
                <a:cubicBezTo>
                  <a:pt x="294" y="199"/>
                  <a:pt x="293" y="200"/>
                  <a:pt x="293" y="199"/>
                </a:cubicBezTo>
                <a:cubicBezTo>
                  <a:pt x="293" y="198"/>
                  <a:pt x="293" y="197"/>
                  <a:pt x="293" y="196"/>
                </a:cubicBezTo>
                <a:cubicBezTo>
                  <a:pt x="293" y="195"/>
                  <a:pt x="293" y="195"/>
                  <a:pt x="293" y="195"/>
                </a:cubicBezTo>
                <a:cubicBezTo>
                  <a:pt x="293" y="194"/>
                  <a:pt x="292" y="194"/>
                  <a:pt x="292" y="194"/>
                </a:cubicBezTo>
                <a:cubicBezTo>
                  <a:pt x="291" y="193"/>
                  <a:pt x="290" y="194"/>
                  <a:pt x="290" y="195"/>
                </a:cubicBezTo>
                <a:cubicBezTo>
                  <a:pt x="290" y="196"/>
                  <a:pt x="291" y="196"/>
                  <a:pt x="291" y="197"/>
                </a:cubicBezTo>
                <a:cubicBezTo>
                  <a:pt x="291" y="198"/>
                  <a:pt x="291" y="197"/>
                  <a:pt x="291" y="198"/>
                </a:cubicBezTo>
                <a:cubicBezTo>
                  <a:pt x="291" y="198"/>
                  <a:pt x="290" y="199"/>
                  <a:pt x="290" y="199"/>
                </a:cubicBezTo>
                <a:cubicBezTo>
                  <a:pt x="290" y="199"/>
                  <a:pt x="289" y="200"/>
                  <a:pt x="288" y="200"/>
                </a:cubicBezTo>
                <a:cubicBezTo>
                  <a:pt x="288" y="200"/>
                  <a:pt x="287" y="200"/>
                  <a:pt x="288" y="200"/>
                </a:cubicBezTo>
                <a:cubicBezTo>
                  <a:pt x="289" y="201"/>
                  <a:pt x="290" y="201"/>
                  <a:pt x="292" y="202"/>
                </a:cubicBezTo>
                <a:cubicBezTo>
                  <a:pt x="294" y="203"/>
                  <a:pt x="297" y="205"/>
                  <a:pt x="299" y="206"/>
                </a:cubicBezTo>
                <a:cubicBezTo>
                  <a:pt x="300" y="206"/>
                  <a:pt x="301" y="205"/>
                  <a:pt x="302" y="205"/>
                </a:cubicBezTo>
                <a:cubicBezTo>
                  <a:pt x="301" y="206"/>
                  <a:pt x="301" y="206"/>
                  <a:pt x="300" y="206"/>
                </a:cubicBezTo>
                <a:cubicBezTo>
                  <a:pt x="303" y="209"/>
                  <a:pt x="306" y="210"/>
                  <a:pt x="309" y="212"/>
                </a:cubicBezTo>
                <a:cubicBezTo>
                  <a:pt x="312" y="215"/>
                  <a:pt x="316" y="217"/>
                  <a:pt x="319" y="219"/>
                </a:cubicBezTo>
                <a:cubicBezTo>
                  <a:pt x="320" y="220"/>
                  <a:pt x="320" y="218"/>
                  <a:pt x="320" y="218"/>
                </a:cubicBezTo>
                <a:cubicBezTo>
                  <a:pt x="321" y="218"/>
                  <a:pt x="321" y="218"/>
                  <a:pt x="322" y="218"/>
                </a:cubicBezTo>
                <a:cubicBezTo>
                  <a:pt x="325" y="219"/>
                  <a:pt x="322" y="217"/>
                  <a:pt x="322" y="217"/>
                </a:cubicBezTo>
                <a:cubicBezTo>
                  <a:pt x="323" y="217"/>
                  <a:pt x="326" y="219"/>
                  <a:pt x="326" y="217"/>
                </a:cubicBezTo>
                <a:cubicBezTo>
                  <a:pt x="326" y="216"/>
                  <a:pt x="325" y="214"/>
                  <a:pt x="325" y="214"/>
                </a:cubicBezTo>
                <a:close/>
                <a:moveTo>
                  <a:pt x="190" y="170"/>
                </a:moveTo>
                <a:cubicBezTo>
                  <a:pt x="190" y="170"/>
                  <a:pt x="191" y="170"/>
                  <a:pt x="191" y="170"/>
                </a:cubicBezTo>
                <a:cubicBezTo>
                  <a:pt x="191" y="170"/>
                  <a:pt x="191" y="170"/>
                  <a:pt x="191" y="170"/>
                </a:cubicBezTo>
                <a:cubicBezTo>
                  <a:pt x="191" y="170"/>
                  <a:pt x="190" y="170"/>
                  <a:pt x="190" y="17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7" name="Freeform 3004">
            <a:extLst>
              <a:ext uri="{FF2B5EF4-FFF2-40B4-BE49-F238E27FC236}">
                <a16:creationId xmlns:a16="http://schemas.microsoft.com/office/drawing/2014/main" id="{E0776F65-12C6-4D0A-847A-F508381C527C}"/>
              </a:ext>
            </a:extLst>
          </p:cNvPr>
          <p:cNvSpPr>
            <a:spLocks/>
          </p:cNvSpPr>
          <p:nvPr/>
        </p:nvSpPr>
        <p:spPr bwMode="auto">
          <a:xfrm>
            <a:off x="1782448" y="286581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8" name="Freeform 3005">
            <a:extLst>
              <a:ext uri="{FF2B5EF4-FFF2-40B4-BE49-F238E27FC236}">
                <a16:creationId xmlns:a16="http://schemas.microsoft.com/office/drawing/2014/main" id="{B4DE6E80-ED11-4145-A9F2-5FFFBA857F6D}"/>
              </a:ext>
            </a:extLst>
          </p:cNvPr>
          <p:cNvSpPr>
            <a:spLocks/>
          </p:cNvSpPr>
          <p:nvPr/>
        </p:nvSpPr>
        <p:spPr bwMode="auto">
          <a:xfrm>
            <a:off x="1701176" y="2782715"/>
            <a:ext cx="37663" cy="32054"/>
          </a:xfrm>
          <a:custGeom>
            <a:avLst/>
            <a:gdLst>
              <a:gd name="T0" fmla="*/ 30 w 32"/>
              <a:gd name="T1" fmla="*/ 18 h 23"/>
              <a:gd name="T2" fmla="*/ 30 w 32"/>
              <a:gd name="T3" fmla="*/ 16 h 23"/>
              <a:gd name="T4" fmla="*/ 23 w 32"/>
              <a:gd name="T5" fmla="*/ 8 h 23"/>
              <a:gd name="T6" fmla="*/ 22 w 32"/>
              <a:gd name="T7" fmla="*/ 8 h 23"/>
              <a:gd name="T8" fmla="*/ 19 w 32"/>
              <a:gd name="T9" fmla="*/ 5 h 23"/>
              <a:gd name="T10" fmla="*/ 14 w 32"/>
              <a:gd name="T11" fmla="*/ 0 h 23"/>
              <a:gd name="T12" fmla="*/ 13 w 32"/>
              <a:gd name="T13" fmla="*/ 0 h 23"/>
              <a:gd name="T14" fmla="*/ 11 w 32"/>
              <a:gd name="T15" fmla="*/ 1 h 23"/>
              <a:gd name="T16" fmla="*/ 9 w 32"/>
              <a:gd name="T17" fmla="*/ 1 h 23"/>
              <a:gd name="T18" fmla="*/ 8 w 32"/>
              <a:gd name="T19" fmla="*/ 2 h 23"/>
              <a:gd name="T20" fmla="*/ 8 w 32"/>
              <a:gd name="T21" fmla="*/ 3 h 23"/>
              <a:gd name="T22" fmla="*/ 6 w 32"/>
              <a:gd name="T23" fmla="*/ 4 h 23"/>
              <a:gd name="T24" fmla="*/ 6 w 32"/>
              <a:gd name="T25" fmla="*/ 5 h 23"/>
              <a:gd name="T26" fmla="*/ 5 w 32"/>
              <a:gd name="T27" fmla="*/ 8 h 23"/>
              <a:gd name="T28" fmla="*/ 3 w 32"/>
              <a:gd name="T29" fmla="*/ 9 h 23"/>
              <a:gd name="T30" fmla="*/ 2 w 32"/>
              <a:gd name="T31" fmla="*/ 9 h 23"/>
              <a:gd name="T32" fmla="*/ 0 w 32"/>
              <a:gd name="T33" fmla="*/ 10 h 23"/>
              <a:gd name="T34" fmla="*/ 3 w 32"/>
              <a:gd name="T35" fmla="*/ 11 h 23"/>
              <a:gd name="T36" fmla="*/ 5 w 32"/>
              <a:gd name="T37" fmla="*/ 11 h 23"/>
              <a:gd name="T38" fmla="*/ 9 w 32"/>
              <a:gd name="T39" fmla="*/ 13 h 23"/>
              <a:gd name="T40" fmla="*/ 10 w 32"/>
              <a:gd name="T41" fmla="*/ 12 h 23"/>
              <a:gd name="T42" fmla="*/ 9 w 32"/>
              <a:gd name="T43" fmla="*/ 13 h 23"/>
              <a:gd name="T44" fmla="*/ 11 w 32"/>
              <a:gd name="T45" fmla="*/ 18 h 23"/>
              <a:gd name="T46" fmla="*/ 14 w 32"/>
              <a:gd name="T47" fmla="*/ 19 h 23"/>
              <a:gd name="T48" fmla="*/ 15 w 32"/>
              <a:gd name="T49" fmla="*/ 19 h 23"/>
              <a:gd name="T50" fmla="*/ 16 w 32"/>
              <a:gd name="T51" fmla="*/ 20 h 23"/>
              <a:gd name="T52" fmla="*/ 19 w 32"/>
              <a:gd name="T53" fmla="*/ 18 h 23"/>
              <a:gd name="T54" fmla="*/ 17 w 32"/>
              <a:gd name="T55" fmla="*/ 13 h 23"/>
              <a:gd name="T56" fmla="*/ 16 w 32"/>
              <a:gd name="T57" fmla="*/ 9 h 23"/>
              <a:gd name="T58" fmla="*/ 14 w 32"/>
              <a:gd name="T59" fmla="*/ 7 h 23"/>
              <a:gd name="T60" fmla="*/ 14 w 32"/>
              <a:gd name="T61" fmla="*/ 5 h 23"/>
              <a:gd name="T62" fmla="*/ 16 w 32"/>
              <a:gd name="T63" fmla="*/ 6 h 23"/>
              <a:gd name="T64" fmla="*/ 18 w 32"/>
              <a:gd name="T65" fmla="*/ 10 h 23"/>
              <a:gd name="T66" fmla="*/ 19 w 32"/>
              <a:gd name="T67" fmla="*/ 14 h 23"/>
              <a:gd name="T68" fmla="*/ 20 w 32"/>
              <a:gd name="T69" fmla="*/ 15 h 23"/>
              <a:gd name="T70" fmla="*/ 22 w 32"/>
              <a:gd name="T71" fmla="*/ 19 h 23"/>
              <a:gd name="T72" fmla="*/ 29 w 32"/>
              <a:gd name="T73" fmla="*/ 21 h 23"/>
              <a:gd name="T74" fmla="*/ 30 w 32"/>
              <a:gd name="T75"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23">
                <a:moveTo>
                  <a:pt x="30" y="19"/>
                </a:moveTo>
                <a:cubicBezTo>
                  <a:pt x="30" y="19"/>
                  <a:pt x="31" y="18"/>
                  <a:pt x="30" y="18"/>
                </a:cubicBezTo>
                <a:cubicBezTo>
                  <a:pt x="31" y="17"/>
                  <a:pt x="32" y="17"/>
                  <a:pt x="32" y="17"/>
                </a:cubicBezTo>
                <a:cubicBezTo>
                  <a:pt x="30" y="16"/>
                  <a:pt x="30" y="16"/>
                  <a:pt x="30" y="16"/>
                </a:cubicBezTo>
                <a:cubicBezTo>
                  <a:pt x="28" y="14"/>
                  <a:pt x="27" y="13"/>
                  <a:pt x="25" y="11"/>
                </a:cubicBezTo>
                <a:cubicBezTo>
                  <a:pt x="25" y="10"/>
                  <a:pt x="24" y="9"/>
                  <a:pt x="23" y="8"/>
                </a:cubicBezTo>
                <a:cubicBezTo>
                  <a:pt x="23" y="8"/>
                  <a:pt x="23" y="8"/>
                  <a:pt x="23" y="8"/>
                </a:cubicBezTo>
                <a:cubicBezTo>
                  <a:pt x="22" y="8"/>
                  <a:pt x="22" y="8"/>
                  <a:pt x="22" y="8"/>
                </a:cubicBezTo>
                <a:cubicBezTo>
                  <a:pt x="22" y="8"/>
                  <a:pt x="22" y="8"/>
                  <a:pt x="21" y="8"/>
                </a:cubicBezTo>
                <a:cubicBezTo>
                  <a:pt x="20" y="7"/>
                  <a:pt x="19" y="6"/>
                  <a:pt x="19" y="5"/>
                </a:cubicBezTo>
                <a:cubicBezTo>
                  <a:pt x="18" y="4"/>
                  <a:pt x="17" y="2"/>
                  <a:pt x="16" y="1"/>
                </a:cubicBezTo>
                <a:cubicBezTo>
                  <a:pt x="15" y="0"/>
                  <a:pt x="15" y="0"/>
                  <a:pt x="14" y="0"/>
                </a:cubicBezTo>
                <a:cubicBezTo>
                  <a:pt x="14" y="0"/>
                  <a:pt x="14" y="0"/>
                  <a:pt x="14" y="0"/>
                </a:cubicBezTo>
                <a:cubicBezTo>
                  <a:pt x="13" y="0"/>
                  <a:pt x="13" y="0"/>
                  <a:pt x="13" y="0"/>
                </a:cubicBezTo>
                <a:cubicBezTo>
                  <a:pt x="12" y="1"/>
                  <a:pt x="12" y="1"/>
                  <a:pt x="12" y="1"/>
                </a:cubicBezTo>
                <a:cubicBezTo>
                  <a:pt x="12" y="1"/>
                  <a:pt x="12" y="1"/>
                  <a:pt x="11" y="1"/>
                </a:cubicBezTo>
                <a:cubicBezTo>
                  <a:pt x="11" y="1"/>
                  <a:pt x="10" y="1"/>
                  <a:pt x="10" y="1"/>
                </a:cubicBezTo>
                <a:cubicBezTo>
                  <a:pt x="9" y="1"/>
                  <a:pt x="9" y="1"/>
                  <a:pt x="9" y="1"/>
                </a:cubicBezTo>
                <a:cubicBezTo>
                  <a:pt x="9" y="1"/>
                  <a:pt x="9" y="2"/>
                  <a:pt x="8" y="2"/>
                </a:cubicBezTo>
                <a:cubicBezTo>
                  <a:pt x="8" y="2"/>
                  <a:pt x="8" y="2"/>
                  <a:pt x="8" y="2"/>
                </a:cubicBezTo>
                <a:cubicBezTo>
                  <a:pt x="9" y="2"/>
                  <a:pt x="9" y="2"/>
                  <a:pt x="9" y="2"/>
                </a:cubicBezTo>
                <a:cubicBezTo>
                  <a:pt x="8" y="3"/>
                  <a:pt x="8" y="3"/>
                  <a:pt x="8" y="3"/>
                </a:cubicBezTo>
                <a:cubicBezTo>
                  <a:pt x="8" y="3"/>
                  <a:pt x="8" y="4"/>
                  <a:pt x="7" y="4"/>
                </a:cubicBezTo>
                <a:cubicBezTo>
                  <a:pt x="6" y="4"/>
                  <a:pt x="6" y="4"/>
                  <a:pt x="6" y="4"/>
                </a:cubicBezTo>
                <a:cubicBezTo>
                  <a:pt x="6" y="4"/>
                  <a:pt x="6" y="4"/>
                  <a:pt x="6" y="4"/>
                </a:cubicBezTo>
                <a:cubicBezTo>
                  <a:pt x="6" y="5"/>
                  <a:pt x="6" y="5"/>
                  <a:pt x="6" y="5"/>
                </a:cubicBezTo>
                <a:cubicBezTo>
                  <a:pt x="6" y="6"/>
                  <a:pt x="6" y="7"/>
                  <a:pt x="5" y="8"/>
                </a:cubicBezTo>
                <a:cubicBezTo>
                  <a:pt x="5" y="8"/>
                  <a:pt x="5" y="8"/>
                  <a:pt x="5" y="8"/>
                </a:cubicBezTo>
                <a:cubicBezTo>
                  <a:pt x="5" y="8"/>
                  <a:pt x="4" y="9"/>
                  <a:pt x="4" y="9"/>
                </a:cubicBezTo>
                <a:cubicBezTo>
                  <a:pt x="3" y="9"/>
                  <a:pt x="3" y="9"/>
                  <a:pt x="3" y="9"/>
                </a:cubicBezTo>
                <a:cubicBezTo>
                  <a:pt x="2" y="9"/>
                  <a:pt x="2" y="9"/>
                  <a:pt x="2" y="9"/>
                </a:cubicBezTo>
                <a:cubicBezTo>
                  <a:pt x="2" y="9"/>
                  <a:pt x="2" y="9"/>
                  <a:pt x="2" y="9"/>
                </a:cubicBezTo>
                <a:cubicBezTo>
                  <a:pt x="2" y="9"/>
                  <a:pt x="2" y="9"/>
                  <a:pt x="2" y="9"/>
                </a:cubicBezTo>
                <a:cubicBezTo>
                  <a:pt x="1" y="9"/>
                  <a:pt x="1" y="9"/>
                  <a:pt x="0" y="10"/>
                </a:cubicBezTo>
                <a:cubicBezTo>
                  <a:pt x="0" y="10"/>
                  <a:pt x="0" y="10"/>
                  <a:pt x="0" y="10"/>
                </a:cubicBezTo>
                <a:cubicBezTo>
                  <a:pt x="2" y="10"/>
                  <a:pt x="3" y="11"/>
                  <a:pt x="3" y="11"/>
                </a:cubicBezTo>
                <a:cubicBezTo>
                  <a:pt x="3" y="11"/>
                  <a:pt x="3" y="10"/>
                  <a:pt x="3" y="10"/>
                </a:cubicBezTo>
                <a:cubicBezTo>
                  <a:pt x="3" y="10"/>
                  <a:pt x="4" y="10"/>
                  <a:pt x="5" y="11"/>
                </a:cubicBezTo>
                <a:cubicBezTo>
                  <a:pt x="5" y="11"/>
                  <a:pt x="5" y="12"/>
                  <a:pt x="5" y="12"/>
                </a:cubicBezTo>
                <a:cubicBezTo>
                  <a:pt x="5" y="13"/>
                  <a:pt x="8" y="14"/>
                  <a:pt x="9" y="13"/>
                </a:cubicBezTo>
                <a:cubicBezTo>
                  <a:pt x="9" y="12"/>
                  <a:pt x="8" y="10"/>
                  <a:pt x="8" y="10"/>
                </a:cubicBezTo>
                <a:cubicBezTo>
                  <a:pt x="9" y="10"/>
                  <a:pt x="9" y="13"/>
                  <a:pt x="10" y="12"/>
                </a:cubicBezTo>
                <a:cubicBezTo>
                  <a:pt x="11" y="12"/>
                  <a:pt x="11" y="11"/>
                  <a:pt x="12" y="12"/>
                </a:cubicBezTo>
                <a:cubicBezTo>
                  <a:pt x="11" y="12"/>
                  <a:pt x="10" y="12"/>
                  <a:pt x="9" y="13"/>
                </a:cubicBezTo>
                <a:cubicBezTo>
                  <a:pt x="9" y="13"/>
                  <a:pt x="10" y="13"/>
                  <a:pt x="10" y="14"/>
                </a:cubicBezTo>
                <a:cubicBezTo>
                  <a:pt x="11" y="15"/>
                  <a:pt x="12" y="17"/>
                  <a:pt x="11" y="18"/>
                </a:cubicBezTo>
                <a:cubicBezTo>
                  <a:pt x="10" y="18"/>
                  <a:pt x="11" y="19"/>
                  <a:pt x="11" y="19"/>
                </a:cubicBezTo>
                <a:cubicBezTo>
                  <a:pt x="12" y="19"/>
                  <a:pt x="13" y="19"/>
                  <a:pt x="14" y="19"/>
                </a:cubicBezTo>
                <a:cubicBezTo>
                  <a:pt x="15" y="19"/>
                  <a:pt x="15" y="20"/>
                  <a:pt x="15" y="19"/>
                </a:cubicBezTo>
                <a:cubicBezTo>
                  <a:pt x="15" y="19"/>
                  <a:pt x="15" y="19"/>
                  <a:pt x="15" y="19"/>
                </a:cubicBezTo>
                <a:cubicBezTo>
                  <a:pt x="15" y="19"/>
                  <a:pt x="15" y="17"/>
                  <a:pt x="15" y="18"/>
                </a:cubicBezTo>
                <a:cubicBezTo>
                  <a:pt x="16" y="19"/>
                  <a:pt x="16" y="20"/>
                  <a:pt x="16" y="20"/>
                </a:cubicBezTo>
                <a:cubicBezTo>
                  <a:pt x="17" y="21"/>
                  <a:pt x="17" y="21"/>
                  <a:pt x="19" y="21"/>
                </a:cubicBezTo>
                <a:cubicBezTo>
                  <a:pt x="20" y="21"/>
                  <a:pt x="19" y="19"/>
                  <a:pt x="19" y="18"/>
                </a:cubicBezTo>
                <a:cubicBezTo>
                  <a:pt x="19" y="18"/>
                  <a:pt x="17" y="15"/>
                  <a:pt x="19" y="16"/>
                </a:cubicBezTo>
                <a:cubicBezTo>
                  <a:pt x="18" y="15"/>
                  <a:pt x="18" y="14"/>
                  <a:pt x="17" y="13"/>
                </a:cubicBezTo>
                <a:cubicBezTo>
                  <a:pt x="17" y="12"/>
                  <a:pt x="16" y="11"/>
                  <a:pt x="16" y="11"/>
                </a:cubicBezTo>
                <a:cubicBezTo>
                  <a:pt x="16" y="10"/>
                  <a:pt x="16" y="10"/>
                  <a:pt x="16" y="9"/>
                </a:cubicBezTo>
                <a:cubicBezTo>
                  <a:pt x="16" y="9"/>
                  <a:pt x="16" y="9"/>
                  <a:pt x="15" y="8"/>
                </a:cubicBezTo>
                <a:cubicBezTo>
                  <a:pt x="15" y="8"/>
                  <a:pt x="14" y="7"/>
                  <a:pt x="14" y="7"/>
                </a:cubicBezTo>
                <a:cubicBezTo>
                  <a:pt x="15" y="6"/>
                  <a:pt x="16" y="7"/>
                  <a:pt x="16" y="7"/>
                </a:cubicBezTo>
                <a:cubicBezTo>
                  <a:pt x="16" y="7"/>
                  <a:pt x="15" y="6"/>
                  <a:pt x="14" y="5"/>
                </a:cubicBezTo>
                <a:cubicBezTo>
                  <a:pt x="16" y="6"/>
                  <a:pt x="16" y="4"/>
                  <a:pt x="16" y="3"/>
                </a:cubicBezTo>
                <a:cubicBezTo>
                  <a:pt x="17" y="4"/>
                  <a:pt x="16" y="5"/>
                  <a:pt x="16" y="6"/>
                </a:cubicBezTo>
                <a:cubicBezTo>
                  <a:pt x="16" y="6"/>
                  <a:pt x="17" y="6"/>
                  <a:pt x="17" y="7"/>
                </a:cubicBezTo>
                <a:cubicBezTo>
                  <a:pt x="18" y="8"/>
                  <a:pt x="18" y="9"/>
                  <a:pt x="18" y="10"/>
                </a:cubicBezTo>
                <a:cubicBezTo>
                  <a:pt x="18" y="11"/>
                  <a:pt x="18" y="12"/>
                  <a:pt x="19" y="13"/>
                </a:cubicBezTo>
                <a:cubicBezTo>
                  <a:pt x="19" y="13"/>
                  <a:pt x="19" y="14"/>
                  <a:pt x="19" y="14"/>
                </a:cubicBezTo>
                <a:cubicBezTo>
                  <a:pt x="20" y="14"/>
                  <a:pt x="20" y="13"/>
                  <a:pt x="21" y="13"/>
                </a:cubicBezTo>
                <a:cubicBezTo>
                  <a:pt x="21" y="14"/>
                  <a:pt x="21" y="16"/>
                  <a:pt x="20" y="15"/>
                </a:cubicBezTo>
                <a:cubicBezTo>
                  <a:pt x="20" y="16"/>
                  <a:pt x="21" y="16"/>
                  <a:pt x="21" y="17"/>
                </a:cubicBezTo>
                <a:cubicBezTo>
                  <a:pt x="22" y="18"/>
                  <a:pt x="22" y="18"/>
                  <a:pt x="22" y="19"/>
                </a:cubicBezTo>
                <a:cubicBezTo>
                  <a:pt x="23" y="20"/>
                  <a:pt x="28" y="23"/>
                  <a:pt x="29" y="21"/>
                </a:cubicBezTo>
                <a:cubicBezTo>
                  <a:pt x="29" y="21"/>
                  <a:pt x="29" y="21"/>
                  <a:pt x="29" y="21"/>
                </a:cubicBezTo>
                <a:cubicBezTo>
                  <a:pt x="29" y="20"/>
                  <a:pt x="29" y="20"/>
                  <a:pt x="29" y="20"/>
                </a:cubicBezTo>
                <a:cubicBezTo>
                  <a:pt x="29" y="20"/>
                  <a:pt x="30" y="19"/>
                  <a:pt x="30" y="19"/>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9" name="Freeform 3006">
            <a:extLst>
              <a:ext uri="{FF2B5EF4-FFF2-40B4-BE49-F238E27FC236}">
                <a16:creationId xmlns:a16="http://schemas.microsoft.com/office/drawing/2014/main" id="{62FD075A-D29F-4704-8A1F-0BD48B5CE871}"/>
              </a:ext>
            </a:extLst>
          </p:cNvPr>
          <p:cNvSpPr>
            <a:spLocks/>
          </p:cNvSpPr>
          <p:nvPr/>
        </p:nvSpPr>
        <p:spPr bwMode="auto">
          <a:xfrm>
            <a:off x="1735369" y="2806458"/>
            <a:ext cx="48069" cy="77167"/>
          </a:xfrm>
          <a:custGeom>
            <a:avLst/>
            <a:gdLst>
              <a:gd name="T0" fmla="*/ 40 w 41"/>
              <a:gd name="T1" fmla="*/ 51 h 55"/>
              <a:gd name="T2" fmla="*/ 41 w 41"/>
              <a:gd name="T3" fmla="*/ 46 h 55"/>
              <a:gd name="T4" fmla="*/ 40 w 41"/>
              <a:gd name="T5" fmla="*/ 43 h 55"/>
              <a:gd name="T6" fmla="*/ 40 w 41"/>
              <a:gd name="T7" fmla="*/ 42 h 55"/>
              <a:gd name="T8" fmla="*/ 40 w 41"/>
              <a:gd name="T9" fmla="*/ 42 h 55"/>
              <a:gd name="T10" fmla="*/ 40 w 41"/>
              <a:gd name="T11" fmla="*/ 37 h 55"/>
              <a:gd name="T12" fmla="*/ 35 w 41"/>
              <a:gd name="T13" fmla="*/ 34 h 55"/>
              <a:gd name="T14" fmla="*/ 34 w 41"/>
              <a:gd name="T15" fmla="*/ 33 h 55"/>
              <a:gd name="T16" fmla="*/ 31 w 41"/>
              <a:gd name="T17" fmla="*/ 32 h 55"/>
              <a:gd name="T18" fmla="*/ 27 w 41"/>
              <a:gd name="T19" fmla="*/ 31 h 55"/>
              <a:gd name="T20" fmla="*/ 25 w 41"/>
              <a:gd name="T21" fmla="*/ 30 h 55"/>
              <a:gd name="T22" fmla="*/ 22 w 41"/>
              <a:gd name="T23" fmla="*/ 29 h 55"/>
              <a:gd name="T24" fmla="*/ 21 w 41"/>
              <a:gd name="T25" fmla="*/ 27 h 55"/>
              <a:gd name="T26" fmla="*/ 19 w 41"/>
              <a:gd name="T27" fmla="*/ 25 h 55"/>
              <a:gd name="T28" fmla="*/ 18 w 41"/>
              <a:gd name="T29" fmla="*/ 23 h 55"/>
              <a:gd name="T30" fmla="*/ 18 w 41"/>
              <a:gd name="T31" fmla="*/ 20 h 55"/>
              <a:gd name="T32" fmla="*/ 13 w 41"/>
              <a:gd name="T33" fmla="*/ 14 h 55"/>
              <a:gd name="T34" fmla="*/ 13 w 41"/>
              <a:gd name="T35" fmla="*/ 12 h 55"/>
              <a:gd name="T36" fmla="*/ 9 w 41"/>
              <a:gd name="T37" fmla="*/ 7 h 55"/>
              <a:gd name="T38" fmla="*/ 8 w 41"/>
              <a:gd name="T39" fmla="*/ 5 h 55"/>
              <a:gd name="T40" fmla="*/ 3 w 41"/>
              <a:gd name="T41" fmla="*/ 0 h 55"/>
              <a:gd name="T42" fmla="*/ 1 w 41"/>
              <a:gd name="T43" fmla="*/ 4 h 55"/>
              <a:gd name="T44" fmla="*/ 1 w 41"/>
              <a:gd name="T45" fmla="*/ 5 h 55"/>
              <a:gd name="T46" fmla="*/ 4 w 41"/>
              <a:gd name="T47" fmla="*/ 6 h 55"/>
              <a:gd name="T48" fmla="*/ 4 w 41"/>
              <a:gd name="T49" fmla="*/ 8 h 55"/>
              <a:gd name="T50" fmla="*/ 4 w 41"/>
              <a:gd name="T51" fmla="*/ 11 h 55"/>
              <a:gd name="T52" fmla="*/ 9 w 41"/>
              <a:gd name="T53" fmla="*/ 10 h 55"/>
              <a:gd name="T54" fmla="*/ 8 w 41"/>
              <a:gd name="T55" fmla="*/ 13 h 55"/>
              <a:gd name="T56" fmla="*/ 8 w 41"/>
              <a:gd name="T57" fmla="*/ 14 h 55"/>
              <a:gd name="T58" fmla="*/ 10 w 41"/>
              <a:gd name="T59" fmla="*/ 18 h 55"/>
              <a:gd name="T60" fmla="*/ 6 w 41"/>
              <a:gd name="T61" fmla="*/ 20 h 55"/>
              <a:gd name="T62" fmla="*/ 13 w 41"/>
              <a:gd name="T63" fmla="*/ 21 h 55"/>
              <a:gd name="T64" fmla="*/ 14 w 41"/>
              <a:gd name="T65" fmla="*/ 25 h 55"/>
              <a:gd name="T66" fmla="*/ 17 w 41"/>
              <a:gd name="T67" fmla="*/ 28 h 55"/>
              <a:gd name="T68" fmla="*/ 18 w 41"/>
              <a:gd name="T69" fmla="*/ 29 h 55"/>
              <a:gd name="T70" fmla="*/ 20 w 41"/>
              <a:gd name="T71" fmla="*/ 32 h 55"/>
              <a:gd name="T72" fmla="*/ 23 w 41"/>
              <a:gd name="T73" fmla="*/ 35 h 55"/>
              <a:gd name="T74" fmla="*/ 21 w 41"/>
              <a:gd name="T75" fmla="*/ 38 h 55"/>
              <a:gd name="T76" fmla="*/ 20 w 41"/>
              <a:gd name="T77" fmla="*/ 41 h 55"/>
              <a:gd name="T78" fmla="*/ 22 w 41"/>
              <a:gd name="T79" fmla="*/ 44 h 55"/>
              <a:gd name="T80" fmla="*/ 24 w 41"/>
              <a:gd name="T81" fmla="*/ 40 h 55"/>
              <a:gd name="T82" fmla="*/ 26 w 41"/>
              <a:gd name="T83" fmla="*/ 38 h 55"/>
              <a:gd name="T84" fmla="*/ 30 w 41"/>
              <a:gd name="T85" fmla="*/ 38 h 55"/>
              <a:gd name="T86" fmla="*/ 33 w 41"/>
              <a:gd name="T87" fmla="*/ 42 h 55"/>
              <a:gd name="T88" fmla="*/ 36 w 41"/>
              <a:gd name="T89" fmla="*/ 47 h 55"/>
              <a:gd name="T90" fmla="*/ 33 w 41"/>
              <a:gd name="T91" fmla="*/ 50 h 55"/>
              <a:gd name="T92" fmla="*/ 33 w 41"/>
              <a:gd name="T93" fmla="*/ 53 h 55"/>
              <a:gd name="T94" fmla="*/ 39 w 41"/>
              <a:gd name="T95" fmla="*/ 52 h 55"/>
              <a:gd name="T96" fmla="*/ 39 w 41"/>
              <a:gd name="T97" fmla="*/ 5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1" h="55">
                <a:moveTo>
                  <a:pt x="39" y="51"/>
                </a:moveTo>
                <a:cubicBezTo>
                  <a:pt x="40" y="51"/>
                  <a:pt x="40" y="51"/>
                  <a:pt x="40" y="51"/>
                </a:cubicBezTo>
                <a:cubicBezTo>
                  <a:pt x="40" y="50"/>
                  <a:pt x="41" y="48"/>
                  <a:pt x="41" y="47"/>
                </a:cubicBezTo>
                <a:cubicBezTo>
                  <a:pt x="41" y="47"/>
                  <a:pt x="41" y="46"/>
                  <a:pt x="41" y="46"/>
                </a:cubicBezTo>
                <a:cubicBezTo>
                  <a:pt x="40" y="45"/>
                  <a:pt x="40" y="44"/>
                  <a:pt x="40" y="44"/>
                </a:cubicBezTo>
                <a:cubicBezTo>
                  <a:pt x="40" y="43"/>
                  <a:pt x="40" y="43"/>
                  <a:pt x="40" y="43"/>
                </a:cubicBezTo>
                <a:cubicBezTo>
                  <a:pt x="40" y="43"/>
                  <a:pt x="40" y="43"/>
                  <a:pt x="40" y="42"/>
                </a:cubicBezTo>
                <a:cubicBezTo>
                  <a:pt x="40" y="42"/>
                  <a:pt x="40" y="42"/>
                  <a:pt x="40" y="42"/>
                </a:cubicBezTo>
                <a:cubicBezTo>
                  <a:pt x="40" y="42"/>
                  <a:pt x="40" y="42"/>
                  <a:pt x="40" y="42"/>
                </a:cubicBezTo>
                <a:cubicBezTo>
                  <a:pt x="40" y="42"/>
                  <a:pt x="40" y="42"/>
                  <a:pt x="40" y="42"/>
                </a:cubicBezTo>
                <a:cubicBezTo>
                  <a:pt x="40" y="40"/>
                  <a:pt x="40" y="39"/>
                  <a:pt x="41" y="38"/>
                </a:cubicBezTo>
                <a:cubicBezTo>
                  <a:pt x="41" y="38"/>
                  <a:pt x="41" y="38"/>
                  <a:pt x="40" y="37"/>
                </a:cubicBezTo>
                <a:cubicBezTo>
                  <a:pt x="40" y="37"/>
                  <a:pt x="40" y="37"/>
                  <a:pt x="40" y="37"/>
                </a:cubicBezTo>
                <a:cubicBezTo>
                  <a:pt x="40" y="36"/>
                  <a:pt x="36" y="34"/>
                  <a:pt x="35" y="34"/>
                </a:cubicBezTo>
                <a:cubicBezTo>
                  <a:pt x="35" y="34"/>
                  <a:pt x="35" y="34"/>
                  <a:pt x="35" y="34"/>
                </a:cubicBezTo>
                <a:cubicBezTo>
                  <a:pt x="34" y="34"/>
                  <a:pt x="34" y="33"/>
                  <a:pt x="34" y="33"/>
                </a:cubicBezTo>
                <a:cubicBezTo>
                  <a:pt x="33" y="33"/>
                  <a:pt x="32" y="33"/>
                  <a:pt x="32" y="32"/>
                </a:cubicBezTo>
                <a:cubicBezTo>
                  <a:pt x="31" y="32"/>
                  <a:pt x="31" y="32"/>
                  <a:pt x="31" y="32"/>
                </a:cubicBezTo>
                <a:cubicBezTo>
                  <a:pt x="30" y="32"/>
                  <a:pt x="30" y="32"/>
                  <a:pt x="29" y="32"/>
                </a:cubicBezTo>
                <a:cubicBezTo>
                  <a:pt x="28" y="31"/>
                  <a:pt x="28" y="31"/>
                  <a:pt x="27" y="31"/>
                </a:cubicBezTo>
                <a:cubicBezTo>
                  <a:pt x="27" y="30"/>
                  <a:pt x="27" y="30"/>
                  <a:pt x="27" y="30"/>
                </a:cubicBezTo>
                <a:cubicBezTo>
                  <a:pt x="26" y="30"/>
                  <a:pt x="26" y="30"/>
                  <a:pt x="25" y="30"/>
                </a:cubicBezTo>
                <a:cubicBezTo>
                  <a:pt x="24" y="30"/>
                  <a:pt x="23" y="30"/>
                  <a:pt x="23" y="29"/>
                </a:cubicBezTo>
                <a:cubicBezTo>
                  <a:pt x="22" y="29"/>
                  <a:pt x="22" y="29"/>
                  <a:pt x="22" y="29"/>
                </a:cubicBezTo>
                <a:cubicBezTo>
                  <a:pt x="22" y="28"/>
                  <a:pt x="22" y="28"/>
                  <a:pt x="22" y="28"/>
                </a:cubicBezTo>
                <a:cubicBezTo>
                  <a:pt x="22" y="28"/>
                  <a:pt x="22" y="28"/>
                  <a:pt x="21" y="27"/>
                </a:cubicBezTo>
                <a:cubicBezTo>
                  <a:pt x="21" y="27"/>
                  <a:pt x="20" y="26"/>
                  <a:pt x="20" y="25"/>
                </a:cubicBezTo>
                <a:cubicBezTo>
                  <a:pt x="19" y="25"/>
                  <a:pt x="19" y="25"/>
                  <a:pt x="19" y="25"/>
                </a:cubicBezTo>
                <a:cubicBezTo>
                  <a:pt x="19" y="25"/>
                  <a:pt x="19" y="25"/>
                  <a:pt x="19" y="25"/>
                </a:cubicBezTo>
                <a:cubicBezTo>
                  <a:pt x="19" y="24"/>
                  <a:pt x="18" y="24"/>
                  <a:pt x="18" y="23"/>
                </a:cubicBezTo>
                <a:cubicBezTo>
                  <a:pt x="17" y="22"/>
                  <a:pt x="17" y="21"/>
                  <a:pt x="18" y="20"/>
                </a:cubicBezTo>
                <a:cubicBezTo>
                  <a:pt x="18" y="20"/>
                  <a:pt x="18" y="20"/>
                  <a:pt x="18" y="20"/>
                </a:cubicBezTo>
                <a:cubicBezTo>
                  <a:pt x="18" y="19"/>
                  <a:pt x="17" y="19"/>
                  <a:pt x="17" y="18"/>
                </a:cubicBezTo>
                <a:cubicBezTo>
                  <a:pt x="16" y="17"/>
                  <a:pt x="15" y="15"/>
                  <a:pt x="13" y="14"/>
                </a:cubicBezTo>
                <a:cubicBezTo>
                  <a:pt x="13" y="14"/>
                  <a:pt x="13" y="14"/>
                  <a:pt x="13" y="14"/>
                </a:cubicBezTo>
                <a:cubicBezTo>
                  <a:pt x="13" y="12"/>
                  <a:pt x="13" y="12"/>
                  <a:pt x="13" y="12"/>
                </a:cubicBezTo>
                <a:cubicBezTo>
                  <a:pt x="12" y="12"/>
                  <a:pt x="12" y="11"/>
                  <a:pt x="11" y="10"/>
                </a:cubicBezTo>
                <a:cubicBezTo>
                  <a:pt x="10" y="9"/>
                  <a:pt x="10" y="8"/>
                  <a:pt x="9" y="7"/>
                </a:cubicBezTo>
                <a:cubicBezTo>
                  <a:pt x="9" y="6"/>
                  <a:pt x="8" y="6"/>
                  <a:pt x="8" y="5"/>
                </a:cubicBezTo>
                <a:cubicBezTo>
                  <a:pt x="8" y="5"/>
                  <a:pt x="8" y="5"/>
                  <a:pt x="8" y="5"/>
                </a:cubicBezTo>
                <a:cubicBezTo>
                  <a:pt x="7" y="4"/>
                  <a:pt x="7" y="3"/>
                  <a:pt x="6" y="3"/>
                </a:cubicBezTo>
                <a:cubicBezTo>
                  <a:pt x="3" y="0"/>
                  <a:pt x="3" y="0"/>
                  <a:pt x="3" y="0"/>
                </a:cubicBezTo>
                <a:cubicBezTo>
                  <a:pt x="2" y="1"/>
                  <a:pt x="2" y="1"/>
                  <a:pt x="1" y="2"/>
                </a:cubicBezTo>
                <a:cubicBezTo>
                  <a:pt x="1" y="3"/>
                  <a:pt x="1" y="3"/>
                  <a:pt x="1" y="4"/>
                </a:cubicBezTo>
                <a:cubicBezTo>
                  <a:pt x="1" y="4"/>
                  <a:pt x="1" y="4"/>
                  <a:pt x="1" y="4"/>
                </a:cubicBezTo>
                <a:cubicBezTo>
                  <a:pt x="1" y="4"/>
                  <a:pt x="1" y="5"/>
                  <a:pt x="1" y="5"/>
                </a:cubicBezTo>
                <a:cubicBezTo>
                  <a:pt x="0" y="6"/>
                  <a:pt x="0" y="7"/>
                  <a:pt x="2" y="8"/>
                </a:cubicBezTo>
                <a:cubicBezTo>
                  <a:pt x="4" y="8"/>
                  <a:pt x="3" y="6"/>
                  <a:pt x="4" y="6"/>
                </a:cubicBezTo>
                <a:cubicBezTo>
                  <a:pt x="4" y="7"/>
                  <a:pt x="3" y="7"/>
                  <a:pt x="4" y="8"/>
                </a:cubicBezTo>
                <a:cubicBezTo>
                  <a:pt x="5" y="9"/>
                  <a:pt x="4" y="8"/>
                  <a:pt x="4" y="8"/>
                </a:cubicBezTo>
                <a:cubicBezTo>
                  <a:pt x="3" y="9"/>
                  <a:pt x="3" y="9"/>
                  <a:pt x="3" y="10"/>
                </a:cubicBezTo>
                <a:cubicBezTo>
                  <a:pt x="4" y="10"/>
                  <a:pt x="4" y="10"/>
                  <a:pt x="4" y="11"/>
                </a:cubicBezTo>
                <a:cubicBezTo>
                  <a:pt x="5" y="10"/>
                  <a:pt x="5" y="9"/>
                  <a:pt x="6" y="9"/>
                </a:cubicBezTo>
                <a:cubicBezTo>
                  <a:pt x="7" y="9"/>
                  <a:pt x="8" y="9"/>
                  <a:pt x="9" y="10"/>
                </a:cubicBezTo>
                <a:cubicBezTo>
                  <a:pt x="8" y="10"/>
                  <a:pt x="6" y="9"/>
                  <a:pt x="6" y="10"/>
                </a:cubicBezTo>
                <a:cubicBezTo>
                  <a:pt x="5" y="11"/>
                  <a:pt x="7" y="13"/>
                  <a:pt x="8" y="13"/>
                </a:cubicBezTo>
                <a:cubicBezTo>
                  <a:pt x="7" y="13"/>
                  <a:pt x="5" y="12"/>
                  <a:pt x="5" y="13"/>
                </a:cubicBezTo>
                <a:cubicBezTo>
                  <a:pt x="4" y="15"/>
                  <a:pt x="7" y="14"/>
                  <a:pt x="8" y="14"/>
                </a:cubicBezTo>
                <a:cubicBezTo>
                  <a:pt x="7" y="15"/>
                  <a:pt x="6" y="15"/>
                  <a:pt x="6" y="16"/>
                </a:cubicBezTo>
                <a:cubicBezTo>
                  <a:pt x="7" y="18"/>
                  <a:pt x="8" y="18"/>
                  <a:pt x="10" y="18"/>
                </a:cubicBezTo>
                <a:cubicBezTo>
                  <a:pt x="9" y="19"/>
                  <a:pt x="9" y="18"/>
                  <a:pt x="7" y="19"/>
                </a:cubicBezTo>
                <a:cubicBezTo>
                  <a:pt x="6" y="19"/>
                  <a:pt x="7" y="20"/>
                  <a:pt x="6" y="20"/>
                </a:cubicBezTo>
                <a:cubicBezTo>
                  <a:pt x="7" y="20"/>
                  <a:pt x="9" y="20"/>
                  <a:pt x="10" y="20"/>
                </a:cubicBezTo>
                <a:cubicBezTo>
                  <a:pt x="11" y="21"/>
                  <a:pt x="13" y="22"/>
                  <a:pt x="13" y="21"/>
                </a:cubicBezTo>
                <a:cubicBezTo>
                  <a:pt x="14" y="24"/>
                  <a:pt x="13" y="23"/>
                  <a:pt x="12" y="23"/>
                </a:cubicBezTo>
                <a:cubicBezTo>
                  <a:pt x="13" y="24"/>
                  <a:pt x="13" y="25"/>
                  <a:pt x="14" y="25"/>
                </a:cubicBezTo>
                <a:cubicBezTo>
                  <a:pt x="15" y="26"/>
                  <a:pt x="16" y="26"/>
                  <a:pt x="18" y="25"/>
                </a:cubicBezTo>
                <a:cubicBezTo>
                  <a:pt x="17" y="26"/>
                  <a:pt x="16" y="27"/>
                  <a:pt x="17" y="28"/>
                </a:cubicBezTo>
                <a:cubicBezTo>
                  <a:pt x="17" y="27"/>
                  <a:pt x="16" y="27"/>
                  <a:pt x="16" y="28"/>
                </a:cubicBezTo>
                <a:cubicBezTo>
                  <a:pt x="16" y="28"/>
                  <a:pt x="17" y="29"/>
                  <a:pt x="18" y="29"/>
                </a:cubicBezTo>
                <a:cubicBezTo>
                  <a:pt x="18" y="29"/>
                  <a:pt x="19" y="30"/>
                  <a:pt x="20" y="31"/>
                </a:cubicBezTo>
                <a:cubicBezTo>
                  <a:pt x="20" y="31"/>
                  <a:pt x="20" y="31"/>
                  <a:pt x="20" y="32"/>
                </a:cubicBezTo>
                <a:cubicBezTo>
                  <a:pt x="20" y="32"/>
                  <a:pt x="21" y="32"/>
                  <a:pt x="22" y="33"/>
                </a:cubicBezTo>
                <a:cubicBezTo>
                  <a:pt x="23" y="33"/>
                  <a:pt x="23" y="34"/>
                  <a:pt x="23" y="35"/>
                </a:cubicBezTo>
                <a:cubicBezTo>
                  <a:pt x="21" y="35"/>
                  <a:pt x="23" y="36"/>
                  <a:pt x="22" y="37"/>
                </a:cubicBezTo>
                <a:cubicBezTo>
                  <a:pt x="22" y="38"/>
                  <a:pt x="22" y="38"/>
                  <a:pt x="21" y="38"/>
                </a:cubicBezTo>
                <a:cubicBezTo>
                  <a:pt x="21" y="38"/>
                  <a:pt x="21" y="40"/>
                  <a:pt x="21" y="40"/>
                </a:cubicBezTo>
                <a:cubicBezTo>
                  <a:pt x="20" y="40"/>
                  <a:pt x="20" y="40"/>
                  <a:pt x="20" y="41"/>
                </a:cubicBezTo>
                <a:cubicBezTo>
                  <a:pt x="18" y="40"/>
                  <a:pt x="19" y="42"/>
                  <a:pt x="20" y="43"/>
                </a:cubicBezTo>
                <a:cubicBezTo>
                  <a:pt x="20" y="43"/>
                  <a:pt x="22" y="45"/>
                  <a:pt x="22" y="44"/>
                </a:cubicBezTo>
                <a:cubicBezTo>
                  <a:pt x="22" y="43"/>
                  <a:pt x="22" y="43"/>
                  <a:pt x="22" y="42"/>
                </a:cubicBezTo>
                <a:cubicBezTo>
                  <a:pt x="22" y="42"/>
                  <a:pt x="24" y="41"/>
                  <a:pt x="24" y="40"/>
                </a:cubicBezTo>
                <a:cubicBezTo>
                  <a:pt x="24" y="40"/>
                  <a:pt x="23" y="40"/>
                  <a:pt x="23" y="39"/>
                </a:cubicBezTo>
                <a:cubicBezTo>
                  <a:pt x="24" y="39"/>
                  <a:pt x="25" y="38"/>
                  <a:pt x="26" y="38"/>
                </a:cubicBezTo>
                <a:cubicBezTo>
                  <a:pt x="28" y="37"/>
                  <a:pt x="30" y="37"/>
                  <a:pt x="31" y="36"/>
                </a:cubicBezTo>
                <a:cubicBezTo>
                  <a:pt x="31" y="36"/>
                  <a:pt x="30" y="37"/>
                  <a:pt x="30" y="38"/>
                </a:cubicBezTo>
                <a:cubicBezTo>
                  <a:pt x="30" y="38"/>
                  <a:pt x="31" y="39"/>
                  <a:pt x="31" y="39"/>
                </a:cubicBezTo>
                <a:cubicBezTo>
                  <a:pt x="32" y="40"/>
                  <a:pt x="33" y="41"/>
                  <a:pt x="33" y="42"/>
                </a:cubicBezTo>
                <a:cubicBezTo>
                  <a:pt x="33" y="43"/>
                  <a:pt x="33" y="44"/>
                  <a:pt x="33" y="45"/>
                </a:cubicBezTo>
                <a:cubicBezTo>
                  <a:pt x="33" y="48"/>
                  <a:pt x="34" y="46"/>
                  <a:pt x="36" y="47"/>
                </a:cubicBezTo>
                <a:cubicBezTo>
                  <a:pt x="34" y="48"/>
                  <a:pt x="32" y="47"/>
                  <a:pt x="31" y="49"/>
                </a:cubicBezTo>
                <a:cubicBezTo>
                  <a:pt x="31" y="50"/>
                  <a:pt x="32" y="50"/>
                  <a:pt x="33" y="50"/>
                </a:cubicBezTo>
                <a:cubicBezTo>
                  <a:pt x="33" y="50"/>
                  <a:pt x="32" y="51"/>
                  <a:pt x="32" y="51"/>
                </a:cubicBezTo>
                <a:cubicBezTo>
                  <a:pt x="32" y="52"/>
                  <a:pt x="32" y="52"/>
                  <a:pt x="33" y="53"/>
                </a:cubicBezTo>
                <a:cubicBezTo>
                  <a:pt x="33" y="54"/>
                  <a:pt x="32" y="55"/>
                  <a:pt x="35" y="55"/>
                </a:cubicBezTo>
                <a:cubicBezTo>
                  <a:pt x="37" y="55"/>
                  <a:pt x="38" y="53"/>
                  <a:pt x="39" y="52"/>
                </a:cubicBezTo>
                <a:cubicBezTo>
                  <a:pt x="39" y="52"/>
                  <a:pt x="39" y="52"/>
                  <a:pt x="40" y="51"/>
                </a:cubicBezTo>
                <a:lnTo>
                  <a:pt x="39" y="51"/>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0" name="Freeform 3007">
            <a:extLst>
              <a:ext uri="{FF2B5EF4-FFF2-40B4-BE49-F238E27FC236}">
                <a16:creationId xmlns:a16="http://schemas.microsoft.com/office/drawing/2014/main" id="{AE9070F9-7DD9-4C41-A525-669AD4B689E7}"/>
              </a:ext>
            </a:extLst>
          </p:cNvPr>
          <p:cNvSpPr>
            <a:spLocks noEditPoints="1"/>
          </p:cNvSpPr>
          <p:nvPr/>
        </p:nvSpPr>
        <p:spPr bwMode="auto">
          <a:xfrm>
            <a:off x="1654593" y="2488885"/>
            <a:ext cx="1055544" cy="630992"/>
          </a:xfrm>
          <a:custGeom>
            <a:avLst/>
            <a:gdLst>
              <a:gd name="T0" fmla="*/ 870 w 901"/>
              <a:gd name="T1" fmla="*/ 349 h 449"/>
              <a:gd name="T2" fmla="*/ 838 w 901"/>
              <a:gd name="T3" fmla="*/ 293 h 449"/>
              <a:gd name="T4" fmla="*/ 805 w 901"/>
              <a:gd name="T5" fmla="*/ 256 h 449"/>
              <a:gd name="T6" fmla="*/ 777 w 901"/>
              <a:gd name="T7" fmla="*/ 199 h 449"/>
              <a:gd name="T8" fmla="*/ 773 w 901"/>
              <a:gd name="T9" fmla="*/ 212 h 449"/>
              <a:gd name="T10" fmla="*/ 769 w 901"/>
              <a:gd name="T11" fmla="*/ 219 h 449"/>
              <a:gd name="T12" fmla="*/ 765 w 901"/>
              <a:gd name="T13" fmla="*/ 225 h 449"/>
              <a:gd name="T14" fmla="*/ 747 w 901"/>
              <a:gd name="T15" fmla="*/ 233 h 449"/>
              <a:gd name="T16" fmla="*/ 742 w 901"/>
              <a:gd name="T17" fmla="*/ 228 h 449"/>
              <a:gd name="T18" fmla="*/ 742 w 901"/>
              <a:gd name="T19" fmla="*/ 229 h 449"/>
              <a:gd name="T20" fmla="*/ 723 w 901"/>
              <a:gd name="T21" fmla="*/ 223 h 449"/>
              <a:gd name="T22" fmla="*/ 730 w 901"/>
              <a:gd name="T23" fmla="*/ 218 h 449"/>
              <a:gd name="T24" fmla="*/ 728 w 901"/>
              <a:gd name="T25" fmla="*/ 201 h 449"/>
              <a:gd name="T26" fmla="*/ 666 w 901"/>
              <a:gd name="T27" fmla="*/ 169 h 449"/>
              <a:gd name="T28" fmla="*/ 647 w 901"/>
              <a:gd name="T29" fmla="*/ 209 h 449"/>
              <a:gd name="T30" fmla="*/ 639 w 901"/>
              <a:gd name="T31" fmla="*/ 220 h 449"/>
              <a:gd name="T32" fmla="*/ 648 w 901"/>
              <a:gd name="T33" fmla="*/ 232 h 449"/>
              <a:gd name="T34" fmla="*/ 656 w 901"/>
              <a:gd name="T35" fmla="*/ 261 h 449"/>
              <a:gd name="T36" fmla="*/ 629 w 901"/>
              <a:gd name="T37" fmla="*/ 290 h 449"/>
              <a:gd name="T38" fmla="*/ 634 w 901"/>
              <a:gd name="T39" fmla="*/ 306 h 449"/>
              <a:gd name="T40" fmla="*/ 632 w 901"/>
              <a:gd name="T41" fmla="*/ 326 h 449"/>
              <a:gd name="T42" fmla="*/ 612 w 901"/>
              <a:gd name="T43" fmla="*/ 332 h 449"/>
              <a:gd name="T44" fmla="*/ 604 w 901"/>
              <a:gd name="T45" fmla="*/ 316 h 449"/>
              <a:gd name="T46" fmla="*/ 592 w 901"/>
              <a:gd name="T47" fmla="*/ 276 h 449"/>
              <a:gd name="T48" fmla="*/ 568 w 901"/>
              <a:gd name="T49" fmla="*/ 274 h 449"/>
              <a:gd name="T50" fmla="*/ 471 w 901"/>
              <a:gd name="T51" fmla="*/ 196 h 449"/>
              <a:gd name="T52" fmla="*/ 537 w 901"/>
              <a:gd name="T53" fmla="*/ 139 h 449"/>
              <a:gd name="T54" fmla="*/ 589 w 901"/>
              <a:gd name="T55" fmla="*/ 101 h 449"/>
              <a:gd name="T56" fmla="*/ 538 w 901"/>
              <a:gd name="T57" fmla="*/ 69 h 449"/>
              <a:gd name="T58" fmla="*/ 453 w 901"/>
              <a:gd name="T59" fmla="*/ 17 h 449"/>
              <a:gd name="T60" fmla="*/ 454 w 901"/>
              <a:gd name="T61" fmla="*/ 72 h 449"/>
              <a:gd name="T62" fmla="*/ 342 w 901"/>
              <a:gd name="T63" fmla="*/ 90 h 449"/>
              <a:gd name="T64" fmla="*/ 164 w 901"/>
              <a:gd name="T65" fmla="*/ 37 h 449"/>
              <a:gd name="T66" fmla="*/ 68 w 901"/>
              <a:gd name="T67" fmla="*/ 46 h 449"/>
              <a:gd name="T68" fmla="*/ 39 w 901"/>
              <a:gd name="T69" fmla="*/ 216 h 449"/>
              <a:gd name="T70" fmla="*/ 111 w 901"/>
              <a:gd name="T71" fmla="*/ 284 h 449"/>
              <a:gd name="T72" fmla="*/ 126 w 901"/>
              <a:gd name="T73" fmla="*/ 308 h 449"/>
              <a:gd name="T74" fmla="*/ 141 w 901"/>
              <a:gd name="T75" fmla="*/ 324 h 449"/>
              <a:gd name="T76" fmla="*/ 167 w 901"/>
              <a:gd name="T77" fmla="*/ 340 h 449"/>
              <a:gd name="T78" fmla="*/ 513 w 901"/>
              <a:gd name="T79" fmla="*/ 370 h 449"/>
              <a:gd name="T80" fmla="*/ 532 w 901"/>
              <a:gd name="T81" fmla="*/ 365 h 449"/>
              <a:gd name="T82" fmla="*/ 536 w 901"/>
              <a:gd name="T83" fmla="*/ 364 h 449"/>
              <a:gd name="T84" fmla="*/ 548 w 901"/>
              <a:gd name="T85" fmla="*/ 363 h 449"/>
              <a:gd name="T86" fmla="*/ 566 w 901"/>
              <a:gd name="T87" fmla="*/ 374 h 449"/>
              <a:gd name="T88" fmla="*/ 573 w 901"/>
              <a:gd name="T89" fmla="*/ 385 h 449"/>
              <a:gd name="T90" fmla="*/ 595 w 901"/>
              <a:gd name="T91" fmla="*/ 396 h 449"/>
              <a:gd name="T92" fmla="*/ 621 w 901"/>
              <a:gd name="T93" fmla="*/ 407 h 449"/>
              <a:gd name="T94" fmla="*/ 609 w 901"/>
              <a:gd name="T95" fmla="*/ 410 h 449"/>
              <a:gd name="T96" fmla="*/ 609 w 901"/>
              <a:gd name="T97" fmla="*/ 414 h 449"/>
              <a:gd name="T98" fmla="*/ 606 w 901"/>
              <a:gd name="T99" fmla="*/ 442 h 449"/>
              <a:gd name="T100" fmla="*/ 651 w 901"/>
              <a:gd name="T101" fmla="*/ 422 h 449"/>
              <a:gd name="T102" fmla="*/ 763 w 901"/>
              <a:gd name="T103" fmla="*/ 426 h 449"/>
              <a:gd name="T104" fmla="*/ 772 w 901"/>
              <a:gd name="T105" fmla="*/ 373 h 449"/>
              <a:gd name="T106" fmla="*/ 780 w 901"/>
              <a:gd name="T107" fmla="*/ 359 h 449"/>
              <a:gd name="T108" fmla="*/ 717 w 901"/>
              <a:gd name="T109" fmla="*/ 383 h 449"/>
              <a:gd name="T110" fmla="*/ 718 w 901"/>
              <a:gd name="T111" fmla="*/ 368 h 449"/>
              <a:gd name="T112" fmla="*/ 733 w 901"/>
              <a:gd name="T113" fmla="*/ 365 h 449"/>
              <a:gd name="T114" fmla="*/ 758 w 901"/>
              <a:gd name="T115" fmla="*/ 344 h 449"/>
              <a:gd name="T116" fmla="*/ 845 w 901"/>
              <a:gd name="T117" fmla="*/ 352 h 449"/>
              <a:gd name="T118" fmla="*/ 880 w 901"/>
              <a:gd name="T119" fmla="*/ 375 h 449"/>
              <a:gd name="T120" fmla="*/ 197 w 901"/>
              <a:gd name="T121" fmla="*/ 121 h 449"/>
              <a:gd name="T122" fmla="*/ 292 w 901"/>
              <a:gd name="T123" fmla="*/ 180 h 449"/>
              <a:gd name="T124" fmla="*/ 443 w 901"/>
              <a:gd name="T125" fmla="*/ 318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1" h="449">
                <a:moveTo>
                  <a:pt x="901" y="373"/>
                </a:moveTo>
                <a:cubicBezTo>
                  <a:pt x="901" y="373"/>
                  <a:pt x="900" y="372"/>
                  <a:pt x="899" y="372"/>
                </a:cubicBezTo>
                <a:cubicBezTo>
                  <a:pt x="899" y="373"/>
                  <a:pt x="897" y="374"/>
                  <a:pt x="896" y="375"/>
                </a:cubicBezTo>
                <a:cubicBezTo>
                  <a:pt x="896" y="375"/>
                  <a:pt x="896" y="375"/>
                  <a:pt x="896" y="375"/>
                </a:cubicBezTo>
                <a:cubicBezTo>
                  <a:pt x="895" y="373"/>
                  <a:pt x="896" y="372"/>
                  <a:pt x="896" y="370"/>
                </a:cubicBezTo>
                <a:cubicBezTo>
                  <a:pt x="896" y="370"/>
                  <a:pt x="897" y="369"/>
                  <a:pt x="897" y="369"/>
                </a:cubicBezTo>
                <a:cubicBezTo>
                  <a:pt x="897" y="368"/>
                  <a:pt x="898" y="366"/>
                  <a:pt x="899" y="366"/>
                </a:cubicBezTo>
                <a:cubicBezTo>
                  <a:pt x="898" y="366"/>
                  <a:pt x="897" y="366"/>
                  <a:pt x="896" y="366"/>
                </a:cubicBezTo>
                <a:cubicBezTo>
                  <a:pt x="896" y="367"/>
                  <a:pt x="896" y="367"/>
                  <a:pt x="896" y="367"/>
                </a:cubicBezTo>
                <a:cubicBezTo>
                  <a:pt x="895" y="367"/>
                  <a:pt x="894" y="368"/>
                  <a:pt x="894" y="369"/>
                </a:cubicBezTo>
                <a:cubicBezTo>
                  <a:pt x="894" y="369"/>
                  <a:pt x="894" y="369"/>
                  <a:pt x="894" y="369"/>
                </a:cubicBezTo>
                <a:cubicBezTo>
                  <a:pt x="894" y="369"/>
                  <a:pt x="894" y="369"/>
                  <a:pt x="894" y="369"/>
                </a:cubicBezTo>
                <a:cubicBezTo>
                  <a:pt x="893" y="369"/>
                  <a:pt x="893" y="369"/>
                  <a:pt x="893" y="370"/>
                </a:cubicBezTo>
                <a:cubicBezTo>
                  <a:pt x="892" y="371"/>
                  <a:pt x="892" y="372"/>
                  <a:pt x="892" y="372"/>
                </a:cubicBezTo>
                <a:cubicBezTo>
                  <a:pt x="892" y="372"/>
                  <a:pt x="892" y="372"/>
                  <a:pt x="892" y="373"/>
                </a:cubicBezTo>
                <a:cubicBezTo>
                  <a:pt x="892" y="374"/>
                  <a:pt x="891" y="373"/>
                  <a:pt x="891" y="373"/>
                </a:cubicBezTo>
                <a:cubicBezTo>
                  <a:pt x="891" y="373"/>
                  <a:pt x="891" y="373"/>
                  <a:pt x="891" y="373"/>
                </a:cubicBezTo>
                <a:cubicBezTo>
                  <a:pt x="891" y="373"/>
                  <a:pt x="890" y="373"/>
                  <a:pt x="890" y="373"/>
                </a:cubicBezTo>
                <a:cubicBezTo>
                  <a:pt x="890" y="372"/>
                  <a:pt x="890" y="372"/>
                  <a:pt x="890" y="372"/>
                </a:cubicBezTo>
                <a:cubicBezTo>
                  <a:pt x="890" y="372"/>
                  <a:pt x="889" y="371"/>
                  <a:pt x="889" y="371"/>
                </a:cubicBezTo>
                <a:cubicBezTo>
                  <a:pt x="889" y="370"/>
                  <a:pt x="890" y="369"/>
                  <a:pt x="891" y="368"/>
                </a:cubicBezTo>
                <a:cubicBezTo>
                  <a:pt x="891" y="368"/>
                  <a:pt x="891" y="368"/>
                  <a:pt x="891" y="368"/>
                </a:cubicBezTo>
                <a:cubicBezTo>
                  <a:pt x="891" y="367"/>
                  <a:pt x="891" y="367"/>
                  <a:pt x="891" y="367"/>
                </a:cubicBezTo>
                <a:cubicBezTo>
                  <a:pt x="890" y="367"/>
                  <a:pt x="890" y="367"/>
                  <a:pt x="888" y="367"/>
                </a:cubicBezTo>
                <a:cubicBezTo>
                  <a:pt x="889" y="367"/>
                  <a:pt x="890" y="367"/>
                  <a:pt x="891" y="366"/>
                </a:cubicBezTo>
                <a:cubicBezTo>
                  <a:pt x="890" y="366"/>
                  <a:pt x="889" y="366"/>
                  <a:pt x="889" y="366"/>
                </a:cubicBezTo>
                <a:cubicBezTo>
                  <a:pt x="889" y="366"/>
                  <a:pt x="888" y="366"/>
                  <a:pt x="888" y="366"/>
                </a:cubicBezTo>
                <a:cubicBezTo>
                  <a:pt x="888" y="366"/>
                  <a:pt x="889" y="365"/>
                  <a:pt x="889" y="365"/>
                </a:cubicBezTo>
                <a:cubicBezTo>
                  <a:pt x="889" y="365"/>
                  <a:pt x="890" y="366"/>
                  <a:pt x="891" y="366"/>
                </a:cubicBezTo>
                <a:cubicBezTo>
                  <a:pt x="891" y="366"/>
                  <a:pt x="891" y="366"/>
                  <a:pt x="892" y="365"/>
                </a:cubicBezTo>
                <a:cubicBezTo>
                  <a:pt x="891" y="365"/>
                  <a:pt x="890" y="365"/>
                  <a:pt x="889" y="365"/>
                </a:cubicBezTo>
                <a:cubicBezTo>
                  <a:pt x="889" y="365"/>
                  <a:pt x="890" y="365"/>
                  <a:pt x="890" y="365"/>
                </a:cubicBezTo>
                <a:cubicBezTo>
                  <a:pt x="890" y="365"/>
                  <a:pt x="890" y="365"/>
                  <a:pt x="890" y="365"/>
                </a:cubicBezTo>
                <a:cubicBezTo>
                  <a:pt x="891" y="365"/>
                  <a:pt x="891" y="365"/>
                  <a:pt x="892" y="364"/>
                </a:cubicBezTo>
                <a:cubicBezTo>
                  <a:pt x="892" y="364"/>
                  <a:pt x="893" y="364"/>
                  <a:pt x="893" y="363"/>
                </a:cubicBezTo>
                <a:cubicBezTo>
                  <a:pt x="893" y="363"/>
                  <a:pt x="894" y="364"/>
                  <a:pt x="894" y="363"/>
                </a:cubicBezTo>
                <a:cubicBezTo>
                  <a:pt x="894" y="363"/>
                  <a:pt x="894" y="362"/>
                  <a:pt x="894" y="362"/>
                </a:cubicBezTo>
                <a:cubicBezTo>
                  <a:pt x="895" y="362"/>
                  <a:pt x="896" y="363"/>
                  <a:pt x="897" y="362"/>
                </a:cubicBezTo>
                <a:cubicBezTo>
                  <a:pt x="897" y="361"/>
                  <a:pt x="898" y="358"/>
                  <a:pt x="896" y="359"/>
                </a:cubicBezTo>
                <a:cubicBezTo>
                  <a:pt x="896" y="359"/>
                  <a:pt x="895" y="360"/>
                  <a:pt x="895" y="360"/>
                </a:cubicBezTo>
                <a:cubicBezTo>
                  <a:pt x="895" y="360"/>
                  <a:pt x="895" y="360"/>
                  <a:pt x="895" y="360"/>
                </a:cubicBezTo>
                <a:cubicBezTo>
                  <a:pt x="894" y="360"/>
                  <a:pt x="894" y="359"/>
                  <a:pt x="893" y="359"/>
                </a:cubicBezTo>
                <a:cubicBezTo>
                  <a:pt x="893" y="359"/>
                  <a:pt x="893" y="360"/>
                  <a:pt x="892" y="361"/>
                </a:cubicBezTo>
                <a:cubicBezTo>
                  <a:pt x="892" y="361"/>
                  <a:pt x="892" y="361"/>
                  <a:pt x="891" y="362"/>
                </a:cubicBezTo>
                <a:cubicBezTo>
                  <a:pt x="891" y="362"/>
                  <a:pt x="891" y="361"/>
                  <a:pt x="892" y="361"/>
                </a:cubicBezTo>
                <a:cubicBezTo>
                  <a:pt x="891" y="361"/>
                  <a:pt x="891" y="361"/>
                  <a:pt x="890" y="362"/>
                </a:cubicBezTo>
                <a:cubicBezTo>
                  <a:pt x="891" y="360"/>
                  <a:pt x="891" y="360"/>
                  <a:pt x="890" y="361"/>
                </a:cubicBezTo>
                <a:cubicBezTo>
                  <a:pt x="890" y="361"/>
                  <a:pt x="890" y="361"/>
                  <a:pt x="890" y="361"/>
                </a:cubicBezTo>
                <a:cubicBezTo>
                  <a:pt x="890" y="361"/>
                  <a:pt x="889" y="361"/>
                  <a:pt x="889" y="361"/>
                </a:cubicBezTo>
                <a:cubicBezTo>
                  <a:pt x="889" y="362"/>
                  <a:pt x="889" y="362"/>
                  <a:pt x="889" y="362"/>
                </a:cubicBezTo>
                <a:cubicBezTo>
                  <a:pt x="889" y="362"/>
                  <a:pt x="889" y="362"/>
                  <a:pt x="889" y="362"/>
                </a:cubicBezTo>
                <a:cubicBezTo>
                  <a:pt x="889" y="362"/>
                  <a:pt x="889" y="362"/>
                  <a:pt x="889" y="361"/>
                </a:cubicBezTo>
                <a:cubicBezTo>
                  <a:pt x="888" y="361"/>
                  <a:pt x="887" y="362"/>
                  <a:pt x="886" y="362"/>
                </a:cubicBezTo>
                <a:cubicBezTo>
                  <a:pt x="887" y="362"/>
                  <a:pt x="885" y="363"/>
                  <a:pt x="886" y="362"/>
                </a:cubicBezTo>
                <a:cubicBezTo>
                  <a:pt x="886" y="362"/>
                  <a:pt x="887" y="362"/>
                  <a:pt x="887" y="362"/>
                </a:cubicBezTo>
                <a:cubicBezTo>
                  <a:pt x="888" y="361"/>
                  <a:pt x="890" y="361"/>
                  <a:pt x="890" y="360"/>
                </a:cubicBezTo>
                <a:cubicBezTo>
                  <a:pt x="889" y="360"/>
                  <a:pt x="889" y="360"/>
                  <a:pt x="888" y="360"/>
                </a:cubicBezTo>
                <a:cubicBezTo>
                  <a:pt x="889" y="359"/>
                  <a:pt x="890" y="359"/>
                  <a:pt x="891" y="358"/>
                </a:cubicBezTo>
                <a:cubicBezTo>
                  <a:pt x="890" y="359"/>
                  <a:pt x="890" y="358"/>
                  <a:pt x="889" y="358"/>
                </a:cubicBezTo>
                <a:cubicBezTo>
                  <a:pt x="889" y="358"/>
                  <a:pt x="888" y="358"/>
                  <a:pt x="888" y="358"/>
                </a:cubicBezTo>
                <a:cubicBezTo>
                  <a:pt x="888" y="358"/>
                  <a:pt x="888" y="358"/>
                  <a:pt x="889" y="358"/>
                </a:cubicBezTo>
                <a:cubicBezTo>
                  <a:pt x="889" y="358"/>
                  <a:pt x="889" y="358"/>
                  <a:pt x="889" y="358"/>
                </a:cubicBezTo>
                <a:cubicBezTo>
                  <a:pt x="889" y="358"/>
                  <a:pt x="888" y="359"/>
                  <a:pt x="888" y="359"/>
                </a:cubicBezTo>
                <a:cubicBezTo>
                  <a:pt x="888" y="359"/>
                  <a:pt x="888" y="359"/>
                  <a:pt x="888" y="359"/>
                </a:cubicBezTo>
                <a:cubicBezTo>
                  <a:pt x="888" y="359"/>
                  <a:pt x="887" y="358"/>
                  <a:pt x="888" y="358"/>
                </a:cubicBezTo>
                <a:cubicBezTo>
                  <a:pt x="889" y="358"/>
                  <a:pt x="889" y="357"/>
                  <a:pt x="889" y="357"/>
                </a:cubicBezTo>
                <a:cubicBezTo>
                  <a:pt x="888" y="356"/>
                  <a:pt x="887" y="357"/>
                  <a:pt x="887" y="357"/>
                </a:cubicBezTo>
                <a:cubicBezTo>
                  <a:pt x="887" y="357"/>
                  <a:pt x="886" y="357"/>
                  <a:pt x="886" y="357"/>
                </a:cubicBezTo>
                <a:cubicBezTo>
                  <a:pt x="886" y="357"/>
                  <a:pt x="886" y="357"/>
                  <a:pt x="885" y="357"/>
                </a:cubicBezTo>
                <a:cubicBezTo>
                  <a:pt x="886" y="357"/>
                  <a:pt x="886" y="357"/>
                  <a:pt x="886" y="357"/>
                </a:cubicBezTo>
                <a:cubicBezTo>
                  <a:pt x="887" y="356"/>
                  <a:pt x="887" y="356"/>
                  <a:pt x="888" y="356"/>
                </a:cubicBezTo>
                <a:cubicBezTo>
                  <a:pt x="889" y="355"/>
                  <a:pt x="889" y="355"/>
                  <a:pt x="890" y="354"/>
                </a:cubicBezTo>
                <a:cubicBezTo>
                  <a:pt x="890" y="354"/>
                  <a:pt x="890" y="354"/>
                  <a:pt x="891" y="354"/>
                </a:cubicBezTo>
                <a:cubicBezTo>
                  <a:pt x="891" y="353"/>
                  <a:pt x="891" y="354"/>
                  <a:pt x="892" y="353"/>
                </a:cubicBezTo>
                <a:cubicBezTo>
                  <a:pt x="892" y="352"/>
                  <a:pt x="892" y="351"/>
                  <a:pt x="893" y="351"/>
                </a:cubicBezTo>
                <a:cubicBezTo>
                  <a:pt x="893" y="351"/>
                  <a:pt x="893" y="351"/>
                  <a:pt x="892" y="350"/>
                </a:cubicBezTo>
                <a:cubicBezTo>
                  <a:pt x="892" y="350"/>
                  <a:pt x="891" y="349"/>
                  <a:pt x="890" y="349"/>
                </a:cubicBezTo>
                <a:cubicBezTo>
                  <a:pt x="889" y="349"/>
                  <a:pt x="888" y="348"/>
                  <a:pt x="888" y="348"/>
                </a:cubicBezTo>
                <a:cubicBezTo>
                  <a:pt x="887" y="348"/>
                  <a:pt x="887" y="348"/>
                  <a:pt x="887" y="348"/>
                </a:cubicBezTo>
                <a:cubicBezTo>
                  <a:pt x="886" y="348"/>
                  <a:pt x="886" y="348"/>
                  <a:pt x="886" y="348"/>
                </a:cubicBezTo>
                <a:cubicBezTo>
                  <a:pt x="886" y="348"/>
                  <a:pt x="886" y="349"/>
                  <a:pt x="886" y="349"/>
                </a:cubicBezTo>
                <a:cubicBezTo>
                  <a:pt x="886" y="349"/>
                  <a:pt x="885" y="349"/>
                  <a:pt x="885" y="349"/>
                </a:cubicBezTo>
                <a:cubicBezTo>
                  <a:pt x="883" y="348"/>
                  <a:pt x="883" y="349"/>
                  <a:pt x="882" y="351"/>
                </a:cubicBezTo>
                <a:cubicBezTo>
                  <a:pt x="882" y="350"/>
                  <a:pt x="883" y="349"/>
                  <a:pt x="883" y="348"/>
                </a:cubicBezTo>
                <a:cubicBezTo>
                  <a:pt x="883" y="348"/>
                  <a:pt x="883" y="348"/>
                  <a:pt x="883" y="348"/>
                </a:cubicBezTo>
                <a:cubicBezTo>
                  <a:pt x="883" y="348"/>
                  <a:pt x="883" y="348"/>
                  <a:pt x="882" y="348"/>
                </a:cubicBezTo>
                <a:cubicBezTo>
                  <a:pt x="883" y="348"/>
                  <a:pt x="883" y="347"/>
                  <a:pt x="883" y="347"/>
                </a:cubicBezTo>
                <a:cubicBezTo>
                  <a:pt x="881" y="347"/>
                  <a:pt x="881" y="350"/>
                  <a:pt x="879" y="350"/>
                </a:cubicBezTo>
                <a:cubicBezTo>
                  <a:pt x="879" y="350"/>
                  <a:pt x="879" y="351"/>
                  <a:pt x="878" y="350"/>
                </a:cubicBezTo>
                <a:cubicBezTo>
                  <a:pt x="878" y="351"/>
                  <a:pt x="878" y="350"/>
                  <a:pt x="878" y="350"/>
                </a:cubicBezTo>
                <a:cubicBezTo>
                  <a:pt x="878" y="350"/>
                  <a:pt x="877" y="351"/>
                  <a:pt x="877" y="351"/>
                </a:cubicBezTo>
                <a:cubicBezTo>
                  <a:pt x="877" y="351"/>
                  <a:pt x="877" y="351"/>
                  <a:pt x="877" y="351"/>
                </a:cubicBezTo>
                <a:cubicBezTo>
                  <a:pt x="877" y="351"/>
                  <a:pt x="877" y="351"/>
                  <a:pt x="876" y="351"/>
                </a:cubicBezTo>
                <a:cubicBezTo>
                  <a:pt x="876" y="351"/>
                  <a:pt x="876" y="351"/>
                  <a:pt x="876" y="351"/>
                </a:cubicBezTo>
                <a:cubicBezTo>
                  <a:pt x="876" y="351"/>
                  <a:pt x="876" y="351"/>
                  <a:pt x="875" y="351"/>
                </a:cubicBezTo>
                <a:cubicBezTo>
                  <a:pt x="874" y="351"/>
                  <a:pt x="875" y="352"/>
                  <a:pt x="874" y="352"/>
                </a:cubicBezTo>
                <a:cubicBezTo>
                  <a:pt x="874" y="353"/>
                  <a:pt x="874" y="353"/>
                  <a:pt x="874" y="353"/>
                </a:cubicBezTo>
                <a:cubicBezTo>
                  <a:pt x="874" y="353"/>
                  <a:pt x="874" y="353"/>
                  <a:pt x="874" y="353"/>
                </a:cubicBezTo>
                <a:cubicBezTo>
                  <a:pt x="874" y="353"/>
                  <a:pt x="873" y="353"/>
                  <a:pt x="873" y="353"/>
                </a:cubicBezTo>
                <a:cubicBezTo>
                  <a:pt x="874" y="352"/>
                  <a:pt x="874" y="352"/>
                  <a:pt x="875" y="351"/>
                </a:cubicBezTo>
                <a:cubicBezTo>
                  <a:pt x="875" y="350"/>
                  <a:pt x="875" y="349"/>
                  <a:pt x="875" y="349"/>
                </a:cubicBezTo>
                <a:cubicBezTo>
                  <a:pt x="876" y="349"/>
                  <a:pt x="876" y="348"/>
                  <a:pt x="875" y="348"/>
                </a:cubicBezTo>
                <a:cubicBezTo>
                  <a:pt x="875" y="347"/>
                  <a:pt x="875" y="347"/>
                  <a:pt x="875" y="347"/>
                </a:cubicBezTo>
                <a:cubicBezTo>
                  <a:pt x="874" y="347"/>
                  <a:pt x="874" y="348"/>
                  <a:pt x="874" y="349"/>
                </a:cubicBezTo>
                <a:cubicBezTo>
                  <a:pt x="874" y="349"/>
                  <a:pt x="874" y="350"/>
                  <a:pt x="874" y="350"/>
                </a:cubicBezTo>
                <a:cubicBezTo>
                  <a:pt x="874" y="350"/>
                  <a:pt x="874" y="350"/>
                  <a:pt x="874" y="349"/>
                </a:cubicBezTo>
                <a:cubicBezTo>
                  <a:pt x="874" y="349"/>
                  <a:pt x="874" y="349"/>
                  <a:pt x="874" y="349"/>
                </a:cubicBezTo>
                <a:cubicBezTo>
                  <a:pt x="874" y="349"/>
                  <a:pt x="873" y="349"/>
                  <a:pt x="873" y="350"/>
                </a:cubicBezTo>
                <a:cubicBezTo>
                  <a:pt x="873" y="350"/>
                  <a:pt x="873" y="349"/>
                  <a:pt x="873" y="349"/>
                </a:cubicBezTo>
                <a:cubicBezTo>
                  <a:pt x="873" y="349"/>
                  <a:pt x="873" y="349"/>
                  <a:pt x="874" y="348"/>
                </a:cubicBezTo>
                <a:cubicBezTo>
                  <a:pt x="873" y="348"/>
                  <a:pt x="873" y="348"/>
                  <a:pt x="873" y="348"/>
                </a:cubicBezTo>
                <a:cubicBezTo>
                  <a:pt x="872" y="348"/>
                  <a:pt x="872" y="349"/>
                  <a:pt x="871" y="349"/>
                </a:cubicBezTo>
                <a:cubicBezTo>
                  <a:pt x="871" y="349"/>
                  <a:pt x="871" y="348"/>
                  <a:pt x="871" y="348"/>
                </a:cubicBezTo>
                <a:cubicBezTo>
                  <a:pt x="871" y="349"/>
                  <a:pt x="871" y="349"/>
                  <a:pt x="870" y="349"/>
                </a:cubicBezTo>
                <a:cubicBezTo>
                  <a:pt x="870" y="349"/>
                  <a:pt x="869" y="347"/>
                  <a:pt x="868" y="347"/>
                </a:cubicBezTo>
                <a:cubicBezTo>
                  <a:pt x="868" y="347"/>
                  <a:pt x="868" y="347"/>
                  <a:pt x="868" y="347"/>
                </a:cubicBezTo>
                <a:cubicBezTo>
                  <a:pt x="868" y="347"/>
                  <a:pt x="868" y="347"/>
                  <a:pt x="868" y="347"/>
                </a:cubicBezTo>
                <a:cubicBezTo>
                  <a:pt x="867" y="347"/>
                  <a:pt x="866" y="348"/>
                  <a:pt x="866" y="348"/>
                </a:cubicBezTo>
                <a:cubicBezTo>
                  <a:pt x="866" y="348"/>
                  <a:pt x="868" y="347"/>
                  <a:pt x="868" y="346"/>
                </a:cubicBezTo>
                <a:cubicBezTo>
                  <a:pt x="868" y="346"/>
                  <a:pt x="869" y="345"/>
                  <a:pt x="868" y="345"/>
                </a:cubicBezTo>
                <a:cubicBezTo>
                  <a:pt x="868" y="345"/>
                  <a:pt x="868" y="345"/>
                  <a:pt x="868" y="345"/>
                </a:cubicBezTo>
                <a:cubicBezTo>
                  <a:pt x="867" y="345"/>
                  <a:pt x="866" y="346"/>
                  <a:pt x="865" y="346"/>
                </a:cubicBezTo>
                <a:cubicBezTo>
                  <a:pt x="865" y="346"/>
                  <a:pt x="866" y="345"/>
                  <a:pt x="867" y="344"/>
                </a:cubicBezTo>
                <a:cubicBezTo>
                  <a:pt x="867" y="344"/>
                  <a:pt x="868" y="344"/>
                  <a:pt x="868" y="344"/>
                </a:cubicBezTo>
                <a:cubicBezTo>
                  <a:pt x="869" y="343"/>
                  <a:pt x="870" y="343"/>
                  <a:pt x="871" y="343"/>
                </a:cubicBezTo>
                <a:cubicBezTo>
                  <a:pt x="871" y="343"/>
                  <a:pt x="872" y="342"/>
                  <a:pt x="872" y="342"/>
                </a:cubicBezTo>
                <a:cubicBezTo>
                  <a:pt x="872" y="341"/>
                  <a:pt x="870" y="341"/>
                  <a:pt x="870" y="341"/>
                </a:cubicBezTo>
                <a:cubicBezTo>
                  <a:pt x="870" y="341"/>
                  <a:pt x="870" y="341"/>
                  <a:pt x="870" y="341"/>
                </a:cubicBezTo>
                <a:cubicBezTo>
                  <a:pt x="869" y="342"/>
                  <a:pt x="869" y="342"/>
                  <a:pt x="869" y="341"/>
                </a:cubicBezTo>
                <a:cubicBezTo>
                  <a:pt x="869" y="341"/>
                  <a:pt x="869" y="341"/>
                  <a:pt x="868" y="341"/>
                </a:cubicBezTo>
                <a:cubicBezTo>
                  <a:pt x="868" y="341"/>
                  <a:pt x="868" y="341"/>
                  <a:pt x="868" y="341"/>
                </a:cubicBezTo>
                <a:cubicBezTo>
                  <a:pt x="868" y="340"/>
                  <a:pt x="868" y="340"/>
                  <a:pt x="867" y="340"/>
                </a:cubicBezTo>
                <a:cubicBezTo>
                  <a:pt x="867" y="340"/>
                  <a:pt x="867" y="341"/>
                  <a:pt x="867" y="341"/>
                </a:cubicBezTo>
                <a:cubicBezTo>
                  <a:pt x="867" y="341"/>
                  <a:pt x="867" y="341"/>
                  <a:pt x="867" y="341"/>
                </a:cubicBezTo>
                <a:cubicBezTo>
                  <a:pt x="867" y="341"/>
                  <a:pt x="867" y="341"/>
                  <a:pt x="867" y="341"/>
                </a:cubicBezTo>
                <a:cubicBezTo>
                  <a:pt x="867" y="341"/>
                  <a:pt x="867" y="341"/>
                  <a:pt x="867" y="341"/>
                </a:cubicBezTo>
                <a:cubicBezTo>
                  <a:pt x="866" y="341"/>
                  <a:pt x="866" y="341"/>
                  <a:pt x="866" y="341"/>
                </a:cubicBezTo>
                <a:cubicBezTo>
                  <a:pt x="866" y="341"/>
                  <a:pt x="866" y="341"/>
                  <a:pt x="866" y="341"/>
                </a:cubicBezTo>
                <a:cubicBezTo>
                  <a:pt x="866" y="341"/>
                  <a:pt x="865" y="342"/>
                  <a:pt x="865" y="342"/>
                </a:cubicBezTo>
                <a:cubicBezTo>
                  <a:pt x="865" y="342"/>
                  <a:pt x="865" y="341"/>
                  <a:pt x="865" y="341"/>
                </a:cubicBezTo>
                <a:cubicBezTo>
                  <a:pt x="865" y="340"/>
                  <a:pt x="865" y="340"/>
                  <a:pt x="865" y="339"/>
                </a:cubicBezTo>
                <a:cubicBezTo>
                  <a:pt x="864" y="339"/>
                  <a:pt x="864" y="340"/>
                  <a:pt x="863" y="341"/>
                </a:cubicBezTo>
                <a:cubicBezTo>
                  <a:pt x="863" y="342"/>
                  <a:pt x="862" y="342"/>
                  <a:pt x="863" y="343"/>
                </a:cubicBezTo>
                <a:cubicBezTo>
                  <a:pt x="862" y="341"/>
                  <a:pt x="859" y="346"/>
                  <a:pt x="858" y="347"/>
                </a:cubicBezTo>
                <a:cubicBezTo>
                  <a:pt x="858" y="346"/>
                  <a:pt x="858" y="345"/>
                  <a:pt x="858" y="345"/>
                </a:cubicBezTo>
                <a:cubicBezTo>
                  <a:pt x="858" y="345"/>
                  <a:pt x="858" y="344"/>
                  <a:pt x="858" y="344"/>
                </a:cubicBezTo>
                <a:cubicBezTo>
                  <a:pt x="858" y="343"/>
                  <a:pt x="858" y="342"/>
                  <a:pt x="859" y="341"/>
                </a:cubicBezTo>
                <a:cubicBezTo>
                  <a:pt x="859" y="341"/>
                  <a:pt x="859" y="340"/>
                  <a:pt x="860" y="340"/>
                </a:cubicBezTo>
                <a:cubicBezTo>
                  <a:pt x="860" y="338"/>
                  <a:pt x="861" y="337"/>
                  <a:pt x="862" y="336"/>
                </a:cubicBezTo>
                <a:cubicBezTo>
                  <a:pt x="862" y="335"/>
                  <a:pt x="865" y="333"/>
                  <a:pt x="866" y="332"/>
                </a:cubicBezTo>
                <a:cubicBezTo>
                  <a:pt x="866" y="331"/>
                  <a:pt x="865" y="331"/>
                  <a:pt x="865" y="330"/>
                </a:cubicBezTo>
                <a:cubicBezTo>
                  <a:pt x="865" y="330"/>
                  <a:pt x="865" y="330"/>
                  <a:pt x="865" y="330"/>
                </a:cubicBezTo>
                <a:cubicBezTo>
                  <a:pt x="865" y="330"/>
                  <a:pt x="865" y="330"/>
                  <a:pt x="865" y="330"/>
                </a:cubicBezTo>
                <a:cubicBezTo>
                  <a:pt x="865" y="330"/>
                  <a:pt x="866" y="331"/>
                  <a:pt x="866" y="331"/>
                </a:cubicBezTo>
                <a:cubicBezTo>
                  <a:pt x="866" y="331"/>
                  <a:pt x="866" y="331"/>
                  <a:pt x="866" y="331"/>
                </a:cubicBezTo>
                <a:cubicBezTo>
                  <a:pt x="867" y="330"/>
                  <a:pt x="867" y="330"/>
                  <a:pt x="868" y="329"/>
                </a:cubicBezTo>
                <a:cubicBezTo>
                  <a:pt x="868" y="329"/>
                  <a:pt x="868" y="329"/>
                  <a:pt x="868" y="329"/>
                </a:cubicBezTo>
                <a:cubicBezTo>
                  <a:pt x="868" y="329"/>
                  <a:pt x="868" y="329"/>
                  <a:pt x="868" y="329"/>
                </a:cubicBezTo>
                <a:cubicBezTo>
                  <a:pt x="868" y="328"/>
                  <a:pt x="869" y="327"/>
                  <a:pt x="869" y="326"/>
                </a:cubicBezTo>
                <a:cubicBezTo>
                  <a:pt x="869" y="326"/>
                  <a:pt x="869" y="325"/>
                  <a:pt x="869" y="324"/>
                </a:cubicBezTo>
                <a:cubicBezTo>
                  <a:pt x="869" y="324"/>
                  <a:pt x="868" y="324"/>
                  <a:pt x="868" y="325"/>
                </a:cubicBezTo>
                <a:cubicBezTo>
                  <a:pt x="868" y="325"/>
                  <a:pt x="867" y="325"/>
                  <a:pt x="867" y="325"/>
                </a:cubicBezTo>
                <a:cubicBezTo>
                  <a:pt x="867" y="325"/>
                  <a:pt x="867" y="325"/>
                  <a:pt x="867" y="325"/>
                </a:cubicBezTo>
                <a:cubicBezTo>
                  <a:pt x="867" y="325"/>
                  <a:pt x="866" y="324"/>
                  <a:pt x="866" y="324"/>
                </a:cubicBezTo>
                <a:cubicBezTo>
                  <a:pt x="866" y="324"/>
                  <a:pt x="866" y="323"/>
                  <a:pt x="866" y="323"/>
                </a:cubicBezTo>
                <a:cubicBezTo>
                  <a:pt x="866" y="322"/>
                  <a:pt x="866" y="322"/>
                  <a:pt x="867" y="323"/>
                </a:cubicBezTo>
                <a:cubicBezTo>
                  <a:pt x="868" y="323"/>
                  <a:pt x="868" y="323"/>
                  <a:pt x="868" y="323"/>
                </a:cubicBezTo>
                <a:cubicBezTo>
                  <a:pt x="868" y="323"/>
                  <a:pt x="868" y="323"/>
                  <a:pt x="869" y="323"/>
                </a:cubicBezTo>
                <a:cubicBezTo>
                  <a:pt x="869" y="323"/>
                  <a:pt x="869" y="323"/>
                  <a:pt x="870" y="323"/>
                </a:cubicBezTo>
                <a:cubicBezTo>
                  <a:pt x="870" y="323"/>
                  <a:pt x="871" y="323"/>
                  <a:pt x="871" y="323"/>
                </a:cubicBezTo>
                <a:cubicBezTo>
                  <a:pt x="872" y="323"/>
                  <a:pt x="873" y="320"/>
                  <a:pt x="873" y="320"/>
                </a:cubicBezTo>
                <a:cubicBezTo>
                  <a:pt x="873" y="319"/>
                  <a:pt x="872" y="319"/>
                  <a:pt x="872" y="319"/>
                </a:cubicBezTo>
                <a:cubicBezTo>
                  <a:pt x="871" y="319"/>
                  <a:pt x="870" y="320"/>
                  <a:pt x="870" y="320"/>
                </a:cubicBezTo>
                <a:cubicBezTo>
                  <a:pt x="870" y="320"/>
                  <a:pt x="870" y="320"/>
                  <a:pt x="871" y="321"/>
                </a:cubicBezTo>
                <a:cubicBezTo>
                  <a:pt x="871" y="321"/>
                  <a:pt x="871" y="321"/>
                  <a:pt x="871" y="321"/>
                </a:cubicBezTo>
                <a:cubicBezTo>
                  <a:pt x="871" y="321"/>
                  <a:pt x="871" y="321"/>
                  <a:pt x="871" y="321"/>
                </a:cubicBezTo>
                <a:cubicBezTo>
                  <a:pt x="870" y="321"/>
                  <a:pt x="870" y="321"/>
                  <a:pt x="869" y="321"/>
                </a:cubicBezTo>
                <a:cubicBezTo>
                  <a:pt x="869" y="321"/>
                  <a:pt x="868" y="321"/>
                  <a:pt x="868" y="321"/>
                </a:cubicBezTo>
                <a:cubicBezTo>
                  <a:pt x="868" y="321"/>
                  <a:pt x="868" y="321"/>
                  <a:pt x="868" y="321"/>
                </a:cubicBezTo>
                <a:cubicBezTo>
                  <a:pt x="868" y="320"/>
                  <a:pt x="868" y="320"/>
                  <a:pt x="868" y="320"/>
                </a:cubicBezTo>
                <a:cubicBezTo>
                  <a:pt x="868" y="319"/>
                  <a:pt x="868" y="319"/>
                  <a:pt x="868" y="319"/>
                </a:cubicBezTo>
                <a:cubicBezTo>
                  <a:pt x="868" y="319"/>
                  <a:pt x="868" y="319"/>
                  <a:pt x="868" y="319"/>
                </a:cubicBezTo>
                <a:cubicBezTo>
                  <a:pt x="868" y="319"/>
                  <a:pt x="868" y="319"/>
                  <a:pt x="868" y="319"/>
                </a:cubicBezTo>
                <a:cubicBezTo>
                  <a:pt x="868" y="319"/>
                  <a:pt x="868" y="319"/>
                  <a:pt x="868" y="319"/>
                </a:cubicBezTo>
                <a:cubicBezTo>
                  <a:pt x="869" y="318"/>
                  <a:pt x="869" y="316"/>
                  <a:pt x="871" y="316"/>
                </a:cubicBezTo>
                <a:cubicBezTo>
                  <a:pt x="870" y="316"/>
                  <a:pt x="869" y="315"/>
                  <a:pt x="868" y="315"/>
                </a:cubicBezTo>
                <a:cubicBezTo>
                  <a:pt x="867" y="314"/>
                  <a:pt x="866" y="314"/>
                  <a:pt x="865" y="314"/>
                </a:cubicBezTo>
                <a:cubicBezTo>
                  <a:pt x="866" y="314"/>
                  <a:pt x="867" y="314"/>
                  <a:pt x="868" y="314"/>
                </a:cubicBezTo>
                <a:cubicBezTo>
                  <a:pt x="869" y="315"/>
                  <a:pt x="870" y="315"/>
                  <a:pt x="869" y="314"/>
                </a:cubicBezTo>
                <a:cubicBezTo>
                  <a:pt x="870" y="314"/>
                  <a:pt x="871" y="315"/>
                  <a:pt x="870" y="314"/>
                </a:cubicBezTo>
                <a:cubicBezTo>
                  <a:pt x="870" y="313"/>
                  <a:pt x="868" y="312"/>
                  <a:pt x="867" y="312"/>
                </a:cubicBezTo>
                <a:cubicBezTo>
                  <a:pt x="866" y="312"/>
                  <a:pt x="863" y="312"/>
                  <a:pt x="862" y="311"/>
                </a:cubicBezTo>
                <a:cubicBezTo>
                  <a:pt x="863" y="311"/>
                  <a:pt x="864" y="312"/>
                  <a:pt x="864" y="312"/>
                </a:cubicBezTo>
                <a:cubicBezTo>
                  <a:pt x="865" y="312"/>
                  <a:pt x="865" y="312"/>
                  <a:pt x="866" y="312"/>
                </a:cubicBezTo>
                <a:cubicBezTo>
                  <a:pt x="867" y="311"/>
                  <a:pt x="867" y="312"/>
                  <a:pt x="867" y="311"/>
                </a:cubicBezTo>
                <a:cubicBezTo>
                  <a:pt x="868" y="311"/>
                  <a:pt x="869" y="312"/>
                  <a:pt x="869" y="311"/>
                </a:cubicBezTo>
                <a:cubicBezTo>
                  <a:pt x="870" y="310"/>
                  <a:pt x="868" y="310"/>
                  <a:pt x="867" y="310"/>
                </a:cubicBezTo>
                <a:cubicBezTo>
                  <a:pt x="867" y="310"/>
                  <a:pt x="866" y="309"/>
                  <a:pt x="865" y="308"/>
                </a:cubicBezTo>
                <a:cubicBezTo>
                  <a:pt x="866" y="308"/>
                  <a:pt x="868" y="309"/>
                  <a:pt x="868" y="308"/>
                </a:cubicBezTo>
                <a:cubicBezTo>
                  <a:pt x="871" y="308"/>
                  <a:pt x="867" y="305"/>
                  <a:pt x="866" y="306"/>
                </a:cubicBezTo>
                <a:cubicBezTo>
                  <a:pt x="866" y="305"/>
                  <a:pt x="867" y="306"/>
                  <a:pt x="867" y="305"/>
                </a:cubicBezTo>
                <a:cubicBezTo>
                  <a:pt x="868" y="305"/>
                  <a:pt x="868" y="305"/>
                  <a:pt x="868" y="304"/>
                </a:cubicBezTo>
                <a:cubicBezTo>
                  <a:pt x="870" y="305"/>
                  <a:pt x="870" y="302"/>
                  <a:pt x="869" y="301"/>
                </a:cubicBezTo>
                <a:cubicBezTo>
                  <a:pt x="868" y="300"/>
                  <a:pt x="867" y="301"/>
                  <a:pt x="866" y="300"/>
                </a:cubicBezTo>
                <a:cubicBezTo>
                  <a:pt x="865" y="299"/>
                  <a:pt x="864" y="298"/>
                  <a:pt x="865" y="298"/>
                </a:cubicBezTo>
                <a:cubicBezTo>
                  <a:pt x="866" y="298"/>
                  <a:pt x="867" y="299"/>
                  <a:pt x="867" y="298"/>
                </a:cubicBezTo>
                <a:cubicBezTo>
                  <a:pt x="866" y="298"/>
                  <a:pt x="864" y="297"/>
                  <a:pt x="863" y="297"/>
                </a:cubicBezTo>
                <a:cubicBezTo>
                  <a:pt x="862" y="297"/>
                  <a:pt x="861" y="296"/>
                  <a:pt x="860" y="296"/>
                </a:cubicBezTo>
                <a:cubicBezTo>
                  <a:pt x="860" y="296"/>
                  <a:pt x="862" y="296"/>
                  <a:pt x="862" y="296"/>
                </a:cubicBezTo>
                <a:cubicBezTo>
                  <a:pt x="863" y="295"/>
                  <a:pt x="861" y="295"/>
                  <a:pt x="861" y="295"/>
                </a:cubicBezTo>
                <a:cubicBezTo>
                  <a:pt x="861" y="295"/>
                  <a:pt x="860" y="295"/>
                  <a:pt x="861" y="296"/>
                </a:cubicBezTo>
                <a:cubicBezTo>
                  <a:pt x="859" y="295"/>
                  <a:pt x="858" y="295"/>
                  <a:pt x="856" y="296"/>
                </a:cubicBezTo>
                <a:cubicBezTo>
                  <a:pt x="856" y="297"/>
                  <a:pt x="856" y="298"/>
                  <a:pt x="855" y="298"/>
                </a:cubicBezTo>
                <a:cubicBezTo>
                  <a:pt x="855" y="299"/>
                  <a:pt x="853" y="300"/>
                  <a:pt x="853" y="300"/>
                </a:cubicBezTo>
                <a:cubicBezTo>
                  <a:pt x="854" y="298"/>
                  <a:pt x="853" y="296"/>
                  <a:pt x="851" y="297"/>
                </a:cubicBezTo>
                <a:cubicBezTo>
                  <a:pt x="852" y="297"/>
                  <a:pt x="853" y="296"/>
                  <a:pt x="854" y="296"/>
                </a:cubicBezTo>
                <a:cubicBezTo>
                  <a:pt x="854" y="296"/>
                  <a:pt x="855" y="295"/>
                  <a:pt x="855" y="295"/>
                </a:cubicBezTo>
                <a:cubicBezTo>
                  <a:pt x="856" y="295"/>
                  <a:pt x="855" y="294"/>
                  <a:pt x="856" y="294"/>
                </a:cubicBezTo>
                <a:cubicBezTo>
                  <a:pt x="856" y="294"/>
                  <a:pt x="855" y="293"/>
                  <a:pt x="855" y="293"/>
                </a:cubicBezTo>
                <a:cubicBezTo>
                  <a:pt x="855" y="293"/>
                  <a:pt x="855" y="293"/>
                  <a:pt x="855" y="293"/>
                </a:cubicBezTo>
                <a:cubicBezTo>
                  <a:pt x="853" y="291"/>
                  <a:pt x="851" y="289"/>
                  <a:pt x="849" y="289"/>
                </a:cubicBezTo>
                <a:cubicBezTo>
                  <a:pt x="848" y="289"/>
                  <a:pt x="848" y="289"/>
                  <a:pt x="847" y="289"/>
                </a:cubicBezTo>
                <a:cubicBezTo>
                  <a:pt x="846" y="288"/>
                  <a:pt x="843" y="288"/>
                  <a:pt x="842" y="290"/>
                </a:cubicBezTo>
                <a:cubicBezTo>
                  <a:pt x="844" y="290"/>
                  <a:pt x="847" y="289"/>
                  <a:pt x="848" y="290"/>
                </a:cubicBezTo>
                <a:cubicBezTo>
                  <a:pt x="847" y="291"/>
                  <a:pt x="847" y="290"/>
                  <a:pt x="846" y="290"/>
                </a:cubicBezTo>
                <a:cubicBezTo>
                  <a:pt x="845" y="290"/>
                  <a:pt x="845" y="291"/>
                  <a:pt x="844" y="291"/>
                </a:cubicBezTo>
                <a:cubicBezTo>
                  <a:pt x="843" y="291"/>
                  <a:pt x="842" y="291"/>
                  <a:pt x="841" y="292"/>
                </a:cubicBezTo>
                <a:cubicBezTo>
                  <a:pt x="840" y="292"/>
                  <a:pt x="838" y="292"/>
                  <a:pt x="838" y="293"/>
                </a:cubicBezTo>
                <a:cubicBezTo>
                  <a:pt x="837" y="293"/>
                  <a:pt x="837" y="294"/>
                  <a:pt x="836" y="294"/>
                </a:cubicBezTo>
                <a:cubicBezTo>
                  <a:pt x="836" y="294"/>
                  <a:pt x="836" y="294"/>
                  <a:pt x="836" y="294"/>
                </a:cubicBezTo>
                <a:cubicBezTo>
                  <a:pt x="836" y="295"/>
                  <a:pt x="836" y="295"/>
                  <a:pt x="836" y="295"/>
                </a:cubicBezTo>
                <a:cubicBezTo>
                  <a:pt x="836" y="296"/>
                  <a:pt x="835" y="296"/>
                  <a:pt x="834" y="296"/>
                </a:cubicBezTo>
                <a:cubicBezTo>
                  <a:pt x="833" y="296"/>
                  <a:pt x="833" y="297"/>
                  <a:pt x="832" y="297"/>
                </a:cubicBezTo>
                <a:cubicBezTo>
                  <a:pt x="831" y="298"/>
                  <a:pt x="830" y="298"/>
                  <a:pt x="829" y="298"/>
                </a:cubicBezTo>
                <a:cubicBezTo>
                  <a:pt x="827" y="298"/>
                  <a:pt x="827" y="298"/>
                  <a:pt x="827" y="299"/>
                </a:cubicBezTo>
                <a:cubicBezTo>
                  <a:pt x="827" y="299"/>
                  <a:pt x="826" y="300"/>
                  <a:pt x="826" y="300"/>
                </a:cubicBezTo>
                <a:cubicBezTo>
                  <a:pt x="825" y="301"/>
                  <a:pt x="824" y="301"/>
                  <a:pt x="825" y="302"/>
                </a:cubicBezTo>
                <a:cubicBezTo>
                  <a:pt x="824" y="301"/>
                  <a:pt x="823" y="302"/>
                  <a:pt x="822" y="302"/>
                </a:cubicBezTo>
                <a:cubicBezTo>
                  <a:pt x="823" y="302"/>
                  <a:pt x="824" y="302"/>
                  <a:pt x="824" y="301"/>
                </a:cubicBezTo>
                <a:cubicBezTo>
                  <a:pt x="824" y="301"/>
                  <a:pt x="823" y="301"/>
                  <a:pt x="822" y="301"/>
                </a:cubicBezTo>
                <a:cubicBezTo>
                  <a:pt x="822" y="300"/>
                  <a:pt x="825" y="299"/>
                  <a:pt x="826" y="299"/>
                </a:cubicBezTo>
                <a:cubicBezTo>
                  <a:pt x="826" y="299"/>
                  <a:pt x="822" y="297"/>
                  <a:pt x="822" y="297"/>
                </a:cubicBezTo>
                <a:cubicBezTo>
                  <a:pt x="820" y="296"/>
                  <a:pt x="818" y="295"/>
                  <a:pt x="817" y="296"/>
                </a:cubicBezTo>
                <a:cubicBezTo>
                  <a:pt x="817" y="295"/>
                  <a:pt x="817" y="295"/>
                  <a:pt x="817" y="294"/>
                </a:cubicBezTo>
                <a:cubicBezTo>
                  <a:pt x="818" y="296"/>
                  <a:pt x="821" y="295"/>
                  <a:pt x="822" y="296"/>
                </a:cubicBezTo>
                <a:cubicBezTo>
                  <a:pt x="823" y="297"/>
                  <a:pt x="824" y="298"/>
                  <a:pt x="825" y="298"/>
                </a:cubicBezTo>
                <a:cubicBezTo>
                  <a:pt x="826" y="298"/>
                  <a:pt x="824" y="295"/>
                  <a:pt x="826" y="296"/>
                </a:cubicBezTo>
                <a:cubicBezTo>
                  <a:pt x="825" y="295"/>
                  <a:pt x="826" y="295"/>
                  <a:pt x="827" y="295"/>
                </a:cubicBezTo>
                <a:cubicBezTo>
                  <a:pt x="827" y="294"/>
                  <a:pt x="828" y="294"/>
                  <a:pt x="828" y="294"/>
                </a:cubicBezTo>
                <a:cubicBezTo>
                  <a:pt x="828" y="294"/>
                  <a:pt x="828" y="294"/>
                  <a:pt x="828" y="294"/>
                </a:cubicBezTo>
                <a:cubicBezTo>
                  <a:pt x="828" y="294"/>
                  <a:pt x="829" y="294"/>
                  <a:pt x="829" y="294"/>
                </a:cubicBezTo>
                <a:cubicBezTo>
                  <a:pt x="830" y="294"/>
                  <a:pt x="831" y="294"/>
                  <a:pt x="833" y="293"/>
                </a:cubicBezTo>
                <a:cubicBezTo>
                  <a:pt x="834" y="293"/>
                  <a:pt x="835" y="293"/>
                  <a:pt x="836" y="292"/>
                </a:cubicBezTo>
                <a:cubicBezTo>
                  <a:pt x="837" y="292"/>
                  <a:pt x="837" y="291"/>
                  <a:pt x="837" y="291"/>
                </a:cubicBezTo>
                <a:cubicBezTo>
                  <a:pt x="838" y="291"/>
                  <a:pt x="839" y="291"/>
                  <a:pt x="840" y="291"/>
                </a:cubicBezTo>
                <a:cubicBezTo>
                  <a:pt x="841" y="291"/>
                  <a:pt x="842" y="289"/>
                  <a:pt x="843" y="289"/>
                </a:cubicBezTo>
                <a:cubicBezTo>
                  <a:pt x="841" y="289"/>
                  <a:pt x="839" y="290"/>
                  <a:pt x="837" y="291"/>
                </a:cubicBezTo>
                <a:cubicBezTo>
                  <a:pt x="835" y="291"/>
                  <a:pt x="831" y="292"/>
                  <a:pt x="830" y="291"/>
                </a:cubicBezTo>
                <a:cubicBezTo>
                  <a:pt x="832" y="291"/>
                  <a:pt x="834" y="291"/>
                  <a:pt x="835" y="290"/>
                </a:cubicBezTo>
                <a:cubicBezTo>
                  <a:pt x="836" y="290"/>
                  <a:pt x="837" y="290"/>
                  <a:pt x="838" y="290"/>
                </a:cubicBezTo>
                <a:cubicBezTo>
                  <a:pt x="840" y="289"/>
                  <a:pt x="841" y="289"/>
                  <a:pt x="842" y="288"/>
                </a:cubicBezTo>
                <a:cubicBezTo>
                  <a:pt x="842" y="288"/>
                  <a:pt x="843" y="288"/>
                  <a:pt x="844" y="288"/>
                </a:cubicBezTo>
                <a:cubicBezTo>
                  <a:pt x="844" y="288"/>
                  <a:pt x="845" y="287"/>
                  <a:pt x="845" y="287"/>
                </a:cubicBezTo>
                <a:cubicBezTo>
                  <a:pt x="845" y="287"/>
                  <a:pt x="845" y="287"/>
                  <a:pt x="845" y="287"/>
                </a:cubicBezTo>
                <a:cubicBezTo>
                  <a:pt x="845" y="287"/>
                  <a:pt x="844" y="287"/>
                  <a:pt x="844" y="287"/>
                </a:cubicBezTo>
                <a:cubicBezTo>
                  <a:pt x="846" y="285"/>
                  <a:pt x="851" y="288"/>
                  <a:pt x="852" y="285"/>
                </a:cubicBezTo>
                <a:cubicBezTo>
                  <a:pt x="851" y="285"/>
                  <a:pt x="850" y="285"/>
                  <a:pt x="850" y="285"/>
                </a:cubicBezTo>
                <a:cubicBezTo>
                  <a:pt x="851" y="285"/>
                  <a:pt x="852" y="285"/>
                  <a:pt x="853" y="284"/>
                </a:cubicBezTo>
                <a:cubicBezTo>
                  <a:pt x="852" y="283"/>
                  <a:pt x="851" y="283"/>
                  <a:pt x="850" y="283"/>
                </a:cubicBezTo>
                <a:cubicBezTo>
                  <a:pt x="849" y="282"/>
                  <a:pt x="848" y="281"/>
                  <a:pt x="848" y="281"/>
                </a:cubicBezTo>
                <a:cubicBezTo>
                  <a:pt x="847" y="281"/>
                  <a:pt x="847" y="281"/>
                  <a:pt x="846" y="281"/>
                </a:cubicBezTo>
                <a:cubicBezTo>
                  <a:pt x="845" y="281"/>
                  <a:pt x="845" y="281"/>
                  <a:pt x="844" y="280"/>
                </a:cubicBezTo>
                <a:cubicBezTo>
                  <a:pt x="844" y="280"/>
                  <a:pt x="843" y="280"/>
                  <a:pt x="842" y="281"/>
                </a:cubicBezTo>
                <a:cubicBezTo>
                  <a:pt x="842" y="281"/>
                  <a:pt x="843" y="282"/>
                  <a:pt x="842" y="281"/>
                </a:cubicBezTo>
                <a:cubicBezTo>
                  <a:pt x="841" y="281"/>
                  <a:pt x="841" y="281"/>
                  <a:pt x="841" y="281"/>
                </a:cubicBezTo>
                <a:cubicBezTo>
                  <a:pt x="841" y="281"/>
                  <a:pt x="840" y="280"/>
                  <a:pt x="840" y="280"/>
                </a:cubicBezTo>
                <a:cubicBezTo>
                  <a:pt x="839" y="280"/>
                  <a:pt x="839" y="280"/>
                  <a:pt x="839" y="280"/>
                </a:cubicBezTo>
                <a:cubicBezTo>
                  <a:pt x="838" y="280"/>
                  <a:pt x="837" y="279"/>
                  <a:pt x="836" y="279"/>
                </a:cubicBezTo>
                <a:cubicBezTo>
                  <a:pt x="838" y="278"/>
                  <a:pt x="837" y="279"/>
                  <a:pt x="837" y="277"/>
                </a:cubicBezTo>
                <a:cubicBezTo>
                  <a:pt x="837" y="277"/>
                  <a:pt x="837" y="276"/>
                  <a:pt x="837" y="276"/>
                </a:cubicBezTo>
                <a:cubicBezTo>
                  <a:pt x="836" y="276"/>
                  <a:pt x="835" y="277"/>
                  <a:pt x="835" y="276"/>
                </a:cubicBezTo>
                <a:cubicBezTo>
                  <a:pt x="835" y="277"/>
                  <a:pt x="835" y="276"/>
                  <a:pt x="834" y="276"/>
                </a:cubicBezTo>
                <a:cubicBezTo>
                  <a:pt x="834" y="276"/>
                  <a:pt x="834" y="277"/>
                  <a:pt x="834" y="277"/>
                </a:cubicBezTo>
                <a:cubicBezTo>
                  <a:pt x="833" y="277"/>
                  <a:pt x="833" y="278"/>
                  <a:pt x="832" y="278"/>
                </a:cubicBezTo>
                <a:cubicBezTo>
                  <a:pt x="833" y="277"/>
                  <a:pt x="835" y="275"/>
                  <a:pt x="835" y="275"/>
                </a:cubicBezTo>
                <a:cubicBezTo>
                  <a:pt x="835" y="274"/>
                  <a:pt x="833" y="275"/>
                  <a:pt x="833" y="276"/>
                </a:cubicBezTo>
                <a:cubicBezTo>
                  <a:pt x="833" y="276"/>
                  <a:pt x="832" y="277"/>
                  <a:pt x="832" y="277"/>
                </a:cubicBezTo>
                <a:cubicBezTo>
                  <a:pt x="832" y="277"/>
                  <a:pt x="829" y="279"/>
                  <a:pt x="829" y="279"/>
                </a:cubicBezTo>
                <a:cubicBezTo>
                  <a:pt x="828" y="280"/>
                  <a:pt x="828" y="281"/>
                  <a:pt x="827" y="281"/>
                </a:cubicBezTo>
                <a:cubicBezTo>
                  <a:pt x="828" y="280"/>
                  <a:pt x="828" y="279"/>
                  <a:pt x="829" y="278"/>
                </a:cubicBezTo>
                <a:cubicBezTo>
                  <a:pt x="829" y="278"/>
                  <a:pt x="830" y="277"/>
                  <a:pt x="831" y="277"/>
                </a:cubicBezTo>
                <a:cubicBezTo>
                  <a:pt x="831" y="277"/>
                  <a:pt x="832" y="276"/>
                  <a:pt x="832" y="276"/>
                </a:cubicBezTo>
                <a:cubicBezTo>
                  <a:pt x="832" y="275"/>
                  <a:pt x="830" y="276"/>
                  <a:pt x="830" y="276"/>
                </a:cubicBezTo>
                <a:cubicBezTo>
                  <a:pt x="829" y="276"/>
                  <a:pt x="827" y="275"/>
                  <a:pt x="827" y="276"/>
                </a:cubicBezTo>
                <a:cubicBezTo>
                  <a:pt x="827" y="275"/>
                  <a:pt x="828" y="275"/>
                  <a:pt x="829" y="275"/>
                </a:cubicBezTo>
                <a:cubicBezTo>
                  <a:pt x="829" y="275"/>
                  <a:pt x="829" y="274"/>
                  <a:pt x="829" y="274"/>
                </a:cubicBezTo>
                <a:cubicBezTo>
                  <a:pt x="828" y="273"/>
                  <a:pt x="827" y="274"/>
                  <a:pt x="827" y="274"/>
                </a:cubicBezTo>
                <a:cubicBezTo>
                  <a:pt x="827" y="274"/>
                  <a:pt x="826" y="274"/>
                  <a:pt x="826" y="274"/>
                </a:cubicBezTo>
                <a:cubicBezTo>
                  <a:pt x="826" y="274"/>
                  <a:pt x="826" y="275"/>
                  <a:pt x="825" y="275"/>
                </a:cubicBezTo>
                <a:cubicBezTo>
                  <a:pt x="825" y="276"/>
                  <a:pt x="824" y="276"/>
                  <a:pt x="823" y="277"/>
                </a:cubicBezTo>
                <a:cubicBezTo>
                  <a:pt x="823" y="276"/>
                  <a:pt x="825" y="275"/>
                  <a:pt x="826" y="274"/>
                </a:cubicBezTo>
                <a:cubicBezTo>
                  <a:pt x="825" y="274"/>
                  <a:pt x="825" y="274"/>
                  <a:pt x="824" y="275"/>
                </a:cubicBezTo>
                <a:cubicBezTo>
                  <a:pt x="824" y="275"/>
                  <a:pt x="824" y="274"/>
                  <a:pt x="824" y="274"/>
                </a:cubicBezTo>
                <a:cubicBezTo>
                  <a:pt x="823" y="274"/>
                  <a:pt x="823" y="274"/>
                  <a:pt x="823" y="275"/>
                </a:cubicBezTo>
                <a:cubicBezTo>
                  <a:pt x="822" y="275"/>
                  <a:pt x="822" y="275"/>
                  <a:pt x="821" y="276"/>
                </a:cubicBezTo>
                <a:cubicBezTo>
                  <a:pt x="821" y="276"/>
                  <a:pt x="820" y="277"/>
                  <a:pt x="819" y="278"/>
                </a:cubicBezTo>
                <a:cubicBezTo>
                  <a:pt x="820" y="276"/>
                  <a:pt x="821" y="275"/>
                  <a:pt x="822" y="274"/>
                </a:cubicBezTo>
                <a:cubicBezTo>
                  <a:pt x="821" y="274"/>
                  <a:pt x="821" y="275"/>
                  <a:pt x="820" y="275"/>
                </a:cubicBezTo>
                <a:cubicBezTo>
                  <a:pt x="820" y="275"/>
                  <a:pt x="821" y="274"/>
                  <a:pt x="821" y="273"/>
                </a:cubicBezTo>
                <a:cubicBezTo>
                  <a:pt x="821" y="273"/>
                  <a:pt x="822" y="274"/>
                  <a:pt x="822" y="273"/>
                </a:cubicBezTo>
                <a:cubicBezTo>
                  <a:pt x="822" y="273"/>
                  <a:pt x="822" y="273"/>
                  <a:pt x="822" y="273"/>
                </a:cubicBezTo>
                <a:cubicBezTo>
                  <a:pt x="823" y="272"/>
                  <a:pt x="823" y="272"/>
                  <a:pt x="823" y="272"/>
                </a:cubicBezTo>
                <a:cubicBezTo>
                  <a:pt x="824" y="271"/>
                  <a:pt x="824" y="272"/>
                  <a:pt x="824" y="271"/>
                </a:cubicBezTo>
                <a:cubicBezTo>
                  <a:pt x="823" y="271"/>
                  <a:pt x="822" y="271"/>
                  <a:pt x="822" y="271"/>
                </a:cubicBezTo>
                <a:cubicBezTo>
                  <a:pt x="822" y="272"/>
                  <a:pt x="822" y="272"/>
                  <a:pt x="821" y="273"/>
                </a:cubicBezTo>
                <a:cubicBezTo>
                  <a:pt x="821" y="271"/>
                  <a:pt x="823" y="270"/>
                  <a:pt x="823" y="269"/>
                </a:cubicBezTo>
                <a:cubicBezTo>
                  <a:pt x="822" y="270"/>
                  <a:pt x="822" y="270"/>
                  <a:pt x="821" y="270"/>
                </a:cubicBezTo>
                <a:cubicBezTo>
                  <a:pt x="822" y="269"/>
                  <a:pt x="822" y="269"/>
                  <a:pt x="821" y="269"/>
                </a:cubicBezTo>
                <a:cubicBezTo>
                  <a:pt x="820" y="269"/>
                  <a:pt x="822" y="268"/>
                  <a:pt x="822" y="268"/>
                </a:cubicBezTo>
                <a:cubicBezTo>
                  <a:pt x="822" y="267"/>
                  <a:pt x="823" y="266"/>
                  <a:pt x="822" y="266"/>
                </a:cubicBezTo>
                <a:cubicBezTo>
                  <a:pt x="820" y="266"/>
                  <a:pt x="820" y="268"/>
                  <a:pt x="819" y="269"/>
                </a:cubicBezTo>
                <a:cubicBezTo>
                  <a:pt x="819" y="269"/>
                  <a:pt x="820" y="268"/>
                  <a:pt x="820" y="267"/>
                </a:cubicBezTo>
                <a:cubicBezTo>
                  <a:pt x="820" y="267"/>
                  <a:pt x="820" y="267"/>
                  <a:pt x="820" y="266"/>
                </a:cubicBezTo>
                <a:cubicBezTo>
                  <a:pt x="819" y="266"/>
                  <a:pt x="819" y="267"/>
                  <a:pt x="818" y="267"/>
                </a:cubicBezTo>
                <a:cubicBezTo>
                  <a:pt x="818" y="267"/>
                  <a:pt x="817" y="267"/>
                  <a:pt x="816" y="267"/>
                </a:cubicBezTo>
                <a:cubicBezTo>
                  <a:pt x="817" y="267"/>
                  <a:pt x="821" y="266"/>
                  <a:pt x="817" y="265"/>
                </a:cubicBezTo>
                <a:cubicBezTo>
                  <a:pt x="816" y="265"/>
                  <a:pt x="815" y="266"/>
                  <a:pt x="814" y="265"/>
                </a:cubicBezTo>
                <a:cubicBezTo>
                  <a:pt x="817" y="265"/>
                  <a:pt x="811" y="264"/>
                  <a:pt x="811" y="263"/>
                </a:cubicBezTo>
                <a:cubicBezTo>
                  <a:pt x="812" y="263"/>
                  <a:pt x="813" y="263"/>
                  <a:pt x="813" y="263"/>
                </a:cubicBezTo>
                <a:cubicBezTo>
                  <a:pt x="813" y="262"/>
                  <a:pt x="812" y="263"/>
                  <a:pt x="811" y="263"/>
                </a:cubicBezTo>
                <a:cubicBezTo>
                  <a:pt x="813" y="262"/>
                  <a:pt x="813" y="260"/>
                  <a:pt x="811" y="260"/>
                </a:cubicBezTo>
                <a:cubicBezTo>
                  <a:pt x="810" y="260"/>
                  <a:pt x="810" y="260"/>
                  <a:pt x="809" y="260"/>
                </a:cubicBezTo>
                <a:cubicBezTo>
                  <a:pt x="808" y="260"/>
                  <a:pt x="806" y="261"/>
                  <a:pt x="805" y="259"/>
                </a:cubicBezTo>
                <a:cubicBezTo>
                  <a:pt x="806" y="259"/>
                  <a:pt x="806" y="259"/>
                  <a:pt x="807" y="259"/>
                </a:cubicBezTo>
                <a:cubicBezTo>
                  <a:pt x="808" y="259"/>
                  <a:pt x="808" y="260"/>
                  <a:pt x="809" y="259"/>
                </a:cubicBezTo>
                <a:cubicBezTo>
                  <a:pt x="809" y="259"/>
                  <a:pt x="808" y="259"/>
                  <a:pt x="808" y="259"/>
                </a:cubicBezTo>
                <a:cubicBezTo>
                  <a:pt x="808" y="259"/>
                  <a:pt x="809" y="259"/>
                  <a:pt x="810" y="259"/>
                </a:cubicBezTo>
                <a:cubicBezTo>
                  <a:pt x="809" y="259"/>
                  <a:pt x="808" y="258"/>
                  <a:pt x="808" y="258"/>
                </a:cubicBezTo>
                <a:cubicBezTo>
                  <a:pt x="807" y="258"/>
                  <a:pt x="807" y="257"/>
                  <a:pt x="806" y="257"/>
                </a:cubicBezTo>
                <a:cubicBezTo>
                  <a:pt x="806" y="257"/>
                  <a:pt x="805" y="257"/>
                  <a:pt x="804" y="257"/>
                </a:cubicBezTo>
                <a:cubicBezTo>
                  <a:pt x="805" y="257"/>
                  <a:pt x="806" y="257"/>
                  <a:pt x="806" y="257"/>
                </a:cubicBezTo>
                <a:cubicBezTo>
                  <a:pt x="806" y="256"/>
                  <a:pt x="805" y="256"/>
                  <a:pt x="805" y="256"/>
                </a:cubicBezTo>
                <a:cubicBezTo>
                  <a:pt x="806" y="256"/>
                  <a:pt x="811" y="256"/>
                  <a:pt x="808" y="255"/>
                </a:cubicBezTo>
                <a:cubicBezTo>
                  <a:pt x="807" y="255"/>
                  <a:pt x="805" y="255"/>
                  <a:pt x="803" y="254"/>
                </a:cubicBezTo>
                <a:cubicBezTo>
                  <a:pt x="804" y="254"/>
                  <a:pt x="805" y="254"/>
                  <a:pt x="806" y="254"/>
                </a:cubicBezTo>
                <a:cubicBezTo>
                  <a:pt x="804" y="254"/>
                  <a:pt x="802" y="253"/>
                  <a:pt x="800" y="252"/>
                </a:cubicBezTo>
                <a:cubicBezTo>
                  <a:pt x="800" y="251"/>
                  <a:pt x="804" y="251"/>
                  <a:pt x="805" y="251"/>
                </a:cubicBezTo>
                <a:cubicBezTo>
                  <a:pt x="804" y="252"/>
                  <a:pt x="802" y="251"/>
                  <a:pt x="800" y="252"/>
                </a:cubicBezTo>
                <a:cubicBezTo>
                  <a:pt x="802" y="253"/>
                  <a:pt x="804" y="253"/>
                  <a:pt x="805" y="254"/>
                </a:cubicBezTo>
                <a:cubicBezTo>
                  <a:pt x="806" y="254"/>
                  <a:pt x="806" y="254"/>
                  <a:pt x="806" y="254"/>
                </a:cubicBezTo>
                <a:cubicBezTo>
                  <a:pt x="806" y="254"/>
                  <a:pt x="806" y="253"/>
                  <a:pt x="806" y="253"/>
                </a:cubicBezTo>
                <a:cubicBezTo>
                  <a:pt x="807" y="253"/>
                  <a:pt x="807" y="254"/>
                  <a:pt x="807" y="254"/>
                </a:cubicBezTo>
                <a:cubicBezTo>
                  <a:pt x="808" y="254"/>
                  <a:pt x="809" y="254"/>
                  <a:pt x="809" y="254"/>
                </a:cubicBezTo>
                <a:cubicBezTo>
                  <a:pt x="809" y="254"/>
                  <a:pt x="808" y="253"/>
                  <a:pt x="808" y="253"/>
                </a:cubicBezTo>
                <a:cubicBezTo>
                  <a:pt x="808" y="253"/>
                  <a:pt x="808" y="253"/>
                  <a:pt x="808" y="253"/>
                </a:cubicBezTo>
                <a:cubicBezTo>
                  <a:pt x="808" y="252"/>
                  <a:pt x="807" y="252"/>
                  <a:pt x="807" y="253"/>
                </a:cubicBezTo>
                <a:cubicBezTo>
                  <a:pt x="807" y="252"/>
                  <a:pt x="808" y="252"/>
                  <a:pt x="808" y="252"/>
                </a:cubicBezTo>
                <a:cubicBezTo>
                  <a:pt x="809" y="251"/>
                  <a:pt x="809" y="251"/>
                  <a:pt x="809" y="250"/>
                </a:cubicBezTo>
                <a:cubicBezTo>
                  <a:pt x="810" y="250"/>
                  <a:pt x="812" y="248"/>
                  <a:pt x="812" y="249"/>
                </a:cubicBezTo>
                <a:cubicBezTo>
                  <a:pt x="812" y="248"/>
                  <a:pt x="812" y="247"/>
                  <a:pt x="811" y="247"/>
                </a:cubicBezTo>
                <a:cubicBezTo>
                  <a:pt x="810" y="247"/>
                  <a:pt x="808" y="247"/>
                  <a:pt x="809" y="246"/>
                </a:cubicBezTo>
                <a:cubicBezTo>
                  <a:pt x="808" y="246"/>
                  <a:pt x="808" y="247"/>
                  <a:pt x="807" y="246"/>
                </a:cubicBezTo>
                <a:cubicBezTo>
                  <a:pt x="807" y="246"/>
                  <a:pt x="806" y="245"/>
                  <a:pt x="806" y="245"/>
                </a:cubicBezTo>
                <a:cubicBezTo>
                  <a:pt x="806" y="245"/>
                  <a:pt x="807" y="245"/>
                  <a:pt x="807" y="244"/>
                </a:cubicBezTo>
                <a:cubicBezTo>
                  <a:pt x="807" y="244"/>
                  <a:pt x="807" y="243"/>
                  <a:pt x="808" y="243"/>
                </a:cubicBezTo>
                <a:cubicBezTo>
                  <a:pt x="806" y="242"/>
                  <a:pt x="805" y="242"/>
                  <a:pt x="803" y="242"/>
                </a:cubicBezTo>
                <a:cubicBezTo>
                  <a:pt x="802" y="243"/>
                  <a:pt x="801" y="242"/>
                  <a:pt x="800" y="241"/>
                </a:cubicBezTo>
                <a:cubicBezTo>
                  <a:pt x="800" y="241"/>
                  <a:pt x="802" y="242"/>
                  <a:pt x="802" y="242"/>
                </a:cubicBezTo>
                <a:cubicBezTo>
                  <a:pt x="802" y="242"/>
                  <a:pt x="802" y="241"/>
                  <a:pt x="803" y="241"/>
                </a:cubicBezTo>
                <a:cubicBezTo>
                  <a:pt x="803" y="241"/>
                  <a:pt x="804" y="241"/>
                  <a:pt x="805" y="241"/>
                </a:cubicBezTo>
                <a:cubicBezTo>
                  <a:pt x="805" y="241"/>
                  <a:pt x="807" y="240"/>
                  <a:pt x="807" y="240"/>
                </a:cubicBezTo>
                <a:cubicBezTo>
                  <a:pt x="807" y="238"/>
                  <a:pt x="802" y="236"/>
                  <a:pt x="802" y="235"/>
                </a:cubicBezTo>
                <a:cubicBezTo>
                  <a:pt x="802" y="237"/>
                  <a:pt x="801" y="235"/>
                  <a:pt x="800" y="235"/>
                </a:cubicBezTo>
                <a:cubicBezTo>
                  <a:pt x="800" y="234"/>
                  <a:pt x="799" y="235"/>
                  <a:pt x="799" y="235"/>
                </a:cubicBezTo>
                <a:cubicBezTo>
                  <a:pt x="800" y="234"/>
                  <a:pt x="800" y="234"/>
                  <a:pt x="801" y="234"/>
                </a:cubicBezTo>
                <a:cubicBezTo>
                  <a:pt x="802" y="234"/>
                  <a:pt x="802" y="234"/>
                  <a:pt x="802" y="234"/>
                </a:cubicBezTo>
                <a:cubicBezTo>
                  <a:pt x="802" y="233"/>
                  <a:pt x="801" y="233"/>
                  <a:pt x="800" y="233"/>
                </a:cubicBezTo>
                <a:cubicBezTo>
                  <a:pt x="801" y="233"/>
                  <a:pt x="801" y="232"/>
                  <a:pt x="801" y="232"/>
                </a:cubicBezTo>
                <a:cubicBezTo>
                  <a:pt x="799" y="233"/>
                  <a:pt x="798" y="232"/>
                  <a:pt x="796" y="232"/>
                </a:cubicBezTo>
                <a:cubicBezTo>
                  <a:pt x="795" y="232"/>
                  <a:pt x="795" y="233"/>
                  <a:pt x="794" y="234"/>
                </a:cubicBezTo>
                <a:cubicBezTo>
                  <a:pt x="794" y="234"/>
                  <a:pt x="793" y="234"/>
                  <a:pt x="792" y="234"/>
                </a:cubicBezTo>
                <a:cubicBezTo>
                  <a:pt x="792" y="234"/>
                  <a:pt x="793" y="234"/>
                  <a:pt x="794" y="234"/>
                </a:cubicBezTo>
                <a:cubicBezTo>
                  <a:pt x="794" y="234"/>
                  <a:pt x="794" y="233"/>
                  <a:pt x="794" y="233"/>
                </a:cubicBezTo>
                <a:cubicBezTo>
                  <a:pt x="795" y="232"/>
                  <a:pt x="795" y="232"/>
                  <a:pt x="796" y="232"/>
                </a:cubicBezTo>
                <a:cubicBezTo>
                  <a:pt x="797" y="231"/>
                  <a:pt x="799" y="232"/>
                  <a:pt x="800" y="231"/>
                </a:cubicBezTo>
                <a:cubicBezTo>
                  <a:pt x="799" y="230"/>
                  <a:pt x="797" y="230"/>
                  <a:pt x="796" y="231"/>
                </a:cubicBezTo>
                <a:cubicBezTo>
                  <a:pt x="797" y="230"/>
                  <a:pt x="798" y="230"/>
                  <a:pt x="799" y="230"/>
                </a:cubicBezTo>
                <a:cubicBezTo>
                  <a:pt x="800" y="229"/>
                  <a:pt x="799" y="228"/>
                  <a:pt x="800" y="227"/>
                </a:cubicBezTo>
                <a:cubicBezTo>
                  <a:pt x="799" y="227"/>
                  <a:pt x="799" y="227"/>
                  <a:pt x="798" y="227"/>
                </a:cubicBezTo>
                <a:cubicBezTo>
                  <a:pt x="798" y="227"/>
                  <a:pt x="798" y="227"/>
                  <a:pt x="798" y="227"/>
                </a:cubicBezTo>
                <a:cubicBezTo>
                  <a:pt x="797" y="227"/>
                  <a:pt x="797" y="227"/>
                  <a:pt x="796" y="227"/>
                </a:cubicBezTo>
                <a:cubicBezTo>
                  <a:pt x="795" y="227"/>
                  <a:pt x="795" y="228"/>
                  <a:pt x="794" y="229"/>
                </a:cubicBezTo>
                <a:cubicBezTo>
                  <a:pt x="795" y="227"/>
                  <a:pt x="793" y="227"/>
                  <a:pt x="792" y="228"/>
                </a:cubicBezTo>
                <a:cubicBezTo>
                  <a:pt x="791" y="229"/>
                  <a:pt x="790" y="229"/>
                  <a:pt x="789" y="230"/>
                </a:cubicBezTo>
                <a:cubicBezTo>
                  <a:pt x="790" y="229"/>
                  <a:pt x="791" y="228"/>
                  <a:pt x="792" y="227"/>
                </a:cubicBezTo>
                <a:cubicBezTo>
                  <a:pt x="791" y="227"/>
                  <a:pt x="791" y="227"/>
                  <a:pt x="790" y="227"/>
                </a:cubicBezTo>
                <a:cubicBezTo>
                  <a:pt x="791" y="226"/>
                  <a:pt x="792" y="227"/>
                  <a:pt x="792" y="227"/>
                </a:cubicBezTo>
                <a:cubicBezTo>
                  <a:pt x="793" y="227"/>
                  <a:pt x="794" y="226"/>
                  <a:pt x="794" y="226"/>
                </a:cubicBezTo>
                <a:cubicBezTo>
                  <a:pt x="795" y="226"/>
                  <a:pt x="796" y="225"/>
                  <a:pt x="796" y="225"/>
                </a:cubicBezTo>
                <a:cubicBezTo>
                  <a:pt x="798" y="224"/>
                  <a:pt x="797" y="224"/>
                  <a:pt x="795" y="224"/>
                </a:cubicBezTo>
                <a:cubicBezTo>
                  <a:pt x="797" y="223"/>
                  <a:pt x="796" y="222"/>
                  <a:pt x="794" y="221"/>
                </a:cubicBezTo>
                <a:cubicBezTo>
                  <a:pt x="794" y="221"/>
                  <a:pt x="794" y="222"/>
                  <a:pt x="794" y="222"/>
                </a:cubicBezTo>
                <a:cubicBezTo>
                  <a:pt x="794" y="222"/>
                  <a:pt x="793" y="221"/>
                  <a:pt x="793" y="221"/>
                </a:cubicBezTo>
                <a:cubicBezTo>
                  <a:pt x="793" y="221"/>
                  <a:pt x="792" y="221"/>
                  <a:pt x="792" y="221"/>
                </a:cubicBezTo>
                <a:cubicBezTo>
                  <a:pt x="793" y="221"/>
                  <a:pt x="794" y="220"/>
                  <a:pt x="794" y="220"/>
                </a:cubicBezTo>
                <a:cubicBezTo>
                  <a:pt x="793" y="220"/>
                  <a:pt x="793" y="220"/>
                  <a:pt x="792" y="220"/>
                </a:cubicBezTo>
                <a:cubicBezTo>
                  <a:pt x="793" y="219"/>
                  <a:pt x="793" y="219"/>
                  <a:pt x="794" y="218"/>
                </a:cubicBezTo>
                <a:cubicBezTo>
                  <a:pt x="792" y="217"/>
                  <a:pt x="791" y="219"/>
                  <a:pt x="788" y="219"/>
                </a:cubicBezTo>
                <a:cubicBezTo>
                  <a:pt x="788" y="219"/>
                  <a:pt x="787" y="219"/>
                  <a:pt x="787" y="219"/>
                </a:cubicBezTo>
                <a:cubicBezTo>
                  <a:pt x="787" y="219"/>
                  <a:pt x="787" y="219"/>
                  <a:pt x="787" y="219"/>
                </a:cubicBezTo>
                <a:cubicBezTo>
                  <a:pt x="786" y="219"/>
                  <a:pt x="787" y="220"/>
                  <a:pt x="786" y="220"/>
                </a:cubicBezTo>
                <a:cubicBezTo>
                  <a:pt x="786" y="219"/>
                  <a:pt x="786" y="218"/>
                  <a:pt x="785" y="219"/>
                </a:cubicBezTo>
                <a:cubicBezTo>
                  <a:pt x="786" y="217"/>
                  <a:pt x="788" y="219"/>
                  <a:pt x="789" y="218"/>
                </a:cubicBezTo>
                <a:cubicBezTo>
                  <a:pt x="790" y="218"/>
                  <a:pt x="791" y="217"/>
                  <a:pt x="792" y="216"/>
                </a:cubicBezTo>
                <a:cubicBezTo>
                  <a:pt x="791" y="216"/>
                  <a:pt x="790" y="216"/>
                  <a:pt x="789" y="216"/>
                </a:cubicBezTo>
                <a:cubicBezTo>
                  <a:pt x="790" y="215"/>
                  <a:pt x="791" y="213"/>
                  <a:pt x="789" y="214"/>
                </a:cubicBezTo>
                <a:cubicBezTo>
                  <a:pt x="788" y="214"/>
                  <a:pt x="788" y="215"/>
                  <a:pt x="787" y="215"/>
                </a:cubicBezTo>
                <a:cubicBezTo>
                  <a:pt x="788" y="214"/>
                  <a:pt x="789" y="214"/>
                  <a:pt x="787" y="213"/>
                </a:cubicBezTo>
                <a:cubicBezTo>
                  <a:pt x="786" y="213"/>
                  <a:pt x="785" y="213"/>
                  <a:pt x="785" y="213"/>
                </a:cubicBezTo>
                <a:cubicBezTo>
                  <a:pt x="786" y="212"/>
                  <a:pt x="787" y="213"/>
                  <a:pt x="788" y="212"/>
                </a:cubicBezTo>
                <a:cubicBezTo>
                  <a:pt x="788" y="211"/>
                  <a:pt x="786" y="210"/>
                  <a:pt x="785" y="211"/>
                </a:cubicBezTo>
                <a:cubicBezTo>
                  <a:pt x="786" y="211"/>
                  <a:pt x="787" y="210"/>
                  <a:pt x="787" y="210"/>
                </a:cubicBezTo>
                <a:cubicBezTo>
                  <a:pt x="787" y="210"/>
                  <a:pt x="785" y="210"/>
                  <a:pt x="785" y="210"/>
                </a:cubicBezTo>
                <a:cubicBezTo>
                  <a:pt x="785" y="210"/>
                  <a:pt x="785" y="211"/>
                  <a:pt x="784" y="211"/>
                </a:cubicBezTo>
                <a:cubicBezTo>
                  <a:pt x="784" y="210"/>
                  <a:pt x="785" y="209"/>
                  <a:pt x="786" y="209"/>
                </a:cubicBezTo>
                <a:cubicBezTo>
                  <a:pt x="785" y="209"/>
                  <a:pt x="784" y="209"/>
                  <a:pt x="783" y="208"/>
                </a:cubicBezTo>
                <a:cubicBezTo>
                  <a:pt x="782" y="207"/>
                  <a:pt x="783" y="207"/>
                  <a:pt x="784" y="206"/>
                </a:cubicBezTo>
                <a:cubicBezTo>
                  <a:pt x="783" y="206"/>
                  <a:pt x="783" y="206"/>
                  <a:pt x="783" y="206"/>
                </a:cubicBezTo>
                <a:cubicBezTo>
                  <a:pt x="783" y="205"/>
                  <a:pt x="783" y="205"/>
                  <a:pt x="784" y="204"/>
                </a:cubicBezTo>
                <a:cubicBezTo>
                  <a:pt x="783" y="204"/>
                  <a:pt x="782" y="204"/>
                  <a:pt x="782" y="204"/>
                </a:cubicBezTo>
                <a:cubicBezTo>
                  <a:pt x="782" y="204"/>
                  <a:pt x="781" y="205"/>
                  <a:pt x="781" y="205"/>
                </a:cubicBezTo>
                <a:cubicBezTo>
                  <a:pt x="780" y="205"/>
                  <a:pt x="780" y="206"/>
                  <a:pt x="780" y="205"/>
                </a:cubicBezTo>
                <a:cubicBezTo>
                  <a:pt x="779" y="203"/>
                  <a:pt x="780" y="205"/>
                  <a:pt x="781" y="204"/>
                </a:cubicBezTo>
                <a:cubicBezTo>
                  <a:pt x="782" y="203"/>
                  <a:pt x="779" y="203"/>
                  <a:pt x="779" y="203"/>
                </a:cubicBezTo>
                <a:cubicBezTo>
                  <a:pt x="778" y="203"/>
                  <a:pt x="778" y="204"/>
                  <a:pt x="777" y="204"/>
                </a:cubicBezTo>
                <a:cubicBezTo>
                  <a:pt x="777" y="204"/>
                  <a:pt x="777" y="204"/>
                  <a:pt x="777" y="204"/>
                </a:cubicBezTo>
                <a:cubicBezTo>
                  <a:pt x="777" y="204"/>
                  <a:pt x="777" y="204"/>
                  <a:pt x="777" y="204"/>
                </a:cubicBezTo>
                <a:cubicBezTo>
                  <a:pt x="777" y="204"/>
                  <a:pt x="777" y="204"/>
                  <a:pt x="777" y="204"/>
                </a:cubicBezTo>
                <a:cubicBezTo>
                  <a:pt x="777" y="204"/>
                  <a:pt x="778" y="203"/>
                  <a:pt x="778" y="202"/>
                </a:cubicBezTo>
                <a:cubicBezTo>
                  <a:pt x="778" y="202"/>
                  <a:pt x="778" y="202"/>
                  <a:pt x="778" y="202"/>
                </a:cubicBezTo>
                <a:cubicBezTo>
                  <a:pt x="778" y="202"/>
                  <a:pt x="778" y="202"/>
                  <a:pt x="778" y="202"/>
                </a:cubicBezTo>
                <a:cubicBezTo>
                  <a:pt x="779" y="201"/>
                  <a:pt x="779" y="201"/>
                  <a:pt x="779" y="201"/>
                </a:cubicBezTo>
                <a:cubicBezTo>
                  <a:pt x="779" y="201"/>
                  <a:pt x="779" y="201"/>
                  <a:pt x="779" y="201"/>
                </a:cubicBezTo>
                <a:cubicBezTo>
                  <a:pt x="778" y="201"/>
                  <a:pt x="778" y="201"/>
                  <a:pt x="778" y="201"/>
                </a:cubicBezTo>
                <a:cubicBezTo>
                  <a:pt x="778" y="201"/>
                  <a:pt x="778" y="201"/>
                  <a:pt x="778" y="201"/>
                </a:cubicBezTo>
                <a:cubicBezTo>
                  <a:pt x="778" y="201"/>
                  <a:pt x="778" y="201"/>
                  <a:pt x="778" y="201"/>
                </a:cubicBezTo>
                <a:cubicBezTo>
                  <a:pt x="778" y="201"/>
                  <a:pt x="778" y="201"/>
                  <a:pt x="778" y="201"/>
                </a:cubicBezTo>
                <a:cubicBezTo>
                  <a:pt x="779" y="201"/>
                  <a:pt x="779" y="201"/>
                  <a:pt x="779" y="200"/>
                </a:cubicBezTo>
                <a:cubicBezTo>
                  <a:pt x="780" y="200"/>
                  <a:pt x="781" y="200"/>
                  <a:pt x="781" y="200"/>
                </a:cubicBezTo>
                <a:cubicBezTo>
                  <a:pt x="780" y="200"/>
                  <a:pt x="780" y="199"/>
                  <a:pt x="779" y="199"/>
                </a:cubicBezTo>
                <a:cubicBezTo>
                  <a:pt x="780" y="199"/>
                  <a:pt x="780" y="199"/>
                  <a:pt x="780" y="199"/>
                </a:cubicBezTo>
                <a:cubicBezTo>
                  <a:pt x="779" y="199"/>
                  <a:pt x="779" y="199"/>
                  <a:pt x="779" y="199"/>
                </a:cubicBezTo>
                <a:cubicBezTo>
                  <a:pt x="779" y="199"/>
                  <a:pt x="779" y="199"/>
                  <a:pt x="779" y="199"/>
                </a:cubicBezTo>
                <a:cubicBezTo>
                  <a:pt x="778" y="198"/>
                  <a:pt x="778" y="199"/>
                  <a:pt x="778" y="199"/>
                </a:cubicBezTo>
                <a:cubicBezTo>
                  <a:pt x="778" y="199"/>
                  <a:pt x="778" y="199"/>
                  <a:pt x="778" y="199"/>
                </a:cubicBezTo>
                <a:cubicBezTo>
                  <a:pt x="777" y="199"/>
                  <a:pt x="777" y="199"/>
                  <a:pt x="777" y="199"/>
                </a:cubicBezTo>
                <a:cubicBezTo>
                  <a:pt x="777" y="199"/>
                  <a:pt x="777" y="199"/>
                  <a:pt x="777" y="199"/>
                </a:cubicBezTo>
                <a:cubicBezTo>
                  <a:pt x="777" y="199"/>
                  <a:pt x="777" y="199"/>
                  <a:pt x="777" y="199"/>
                </a:cubicBezTo>
                <a:cubicBezTo>
                  <a:pt x="777" y="199"/>
                  <a:pt x="777" y="199"/>
                  <a:pt x="777" y="199"/>
                </a:cubicBezTo>
                <a:cubicBezTo>
                  <a:pt x="777" y="199"/>
                  <a:pt x="777" y="199"/>
                  <a:pt x="777" y="199"/>
                </a:cubicBezTo>
                <a:cubicBezTo>
                  <a:pt x="777" y="199"/>
                  <a:pt x="777" y="199"/>
                  <a:pt x="777" y="199"/>
                </a:cubicBezTo>
                <a:cubicBezTo>
                  <a:pt x="777" y="199"/>
                  <a:pt x="777" y="199"/>
                  <a:pt x="777" y="199"/>
                </a:cubicBezTo>
                <a:cubicBezTo>
                  <a:pt x="777" y="199"/>
                  <a:pt x="777" y="199"/>
                  <a:pt x="777" y="199"/>
                </a:cubicBezTo>
                <a:cubicBezTo>
                  <a:pt x="777" y="198"/>
                  <a:pt x="777" y="198"/>
                  <a:pt x="777" y="198"/>
                </a:cubicBezTo>
                <a:cubicBezTo>
                  <a:pt x="777" y="198"/>
                  <a:pt x="777" y="198"/>
                  <a:pt x="777" y="198"/>
                </a:cubicBezTo>
                <a:cubicBezTo>
                  <a:pt x="777" y="198"/>
                  <a:pt x="777" y="198"/>
                  <a:pt x="777" y="198"/>
                </a:cubicBezTo>
                <a:cubicBezTo>
                  <a:pt x="777" y="198"/>
                  <a:pt x="777" y="198"/>
                  <a:pt x="777" y="198"/>
                </a:cubicBezTo>
                <a:cubicBezTo>
                  <a:pt x="777" y="198"/>
                  <a:pt x="777" y="198"/>
                  <a:pt x="777" y="198"/>
                </a:cubicBezTo>
                <a:cubicBezTo>
                  <a:pt x="776" y="199"/>
                  <a:pt x="776" y="199"/>
                  <a:pt x="776" y="199"/>
                </a:cubicBezTo>
                <a:cubicBezTo>
                  <a:pt x="776" y="199"/>
                  <a:pt x="776" y="199"/>
                  <a:pt x="776" y="199"/>
                </a:cubicBezTo>
                <a:cubicBezTo>
                  <a:pt x="776" y="200"/>
                  <a:pt x="776" y="200"/>
                  <a:pt x="776" y="200"/>
                </a:cubicBezTo>
                <a:cubicBezTo>
                  <a:pt x="776" y="201"/>
                  <a:pt x="776" y="201"/>
                  <a:pt x="776" y="201"/>
                </a:cubicBezTo>
                <a:cubicBezTo>
                  <a:pt x="776" y="201"/>
                  <a:pt x="776" y="201"/>
                  <a:pt x="776" y="201"/>
                </a:cubicBezTo>
                <a:cubicBezTo>
                  <a:pt x="776" y="201"/>
                  <a:pt x="776" y="201"/>
                  <a:pt x="776" y="201"/>
                </a:cubicBezTo>
                <a:cubicBezTo>
                  <a:pt x="776" y="201"/>
                  <a:pt x="776" y="201"/>
                  <a:pt x="776" y="201"/>
                </a:cubicBezTo>
                <a:cubicBezTo>
                  <a:pt x="775" y="202"/>
                  <a:pt x="775" y="202"/>
                  <a:pt x="775" y="202"/>
                </a:cubicBezTo>
                <a:cubicBezTo>
                  <a:pt x="775" y="203"/>
                  <a:pt x="774" y="203"/>
                  <a:pt x="774" y="204"/>
                </a:cubicBezTo>
                <a:cubicBezTo>
                  <a:pt x="774" y="204"/>
                  <a:pt x="774" y="204"/>
                  <a:pt x="774" y="204"/>
                </a:cubicBezTo>
                <a:cubicBezTo>
                  <a:pt x="774" y="204"/>
                  <a:pt x="774" y="204"/>
                  <a:pt x="774" y="204"/>
                </a:cubicBezTo>
                <a:cubicBezTo>
                  <a:pt x="774" y="204"/>
                  <a:pt x="774" y="204"/>
                  <a:pt x="774" y="204"/>
                </a:cubicBezTo>
                <a:cubicBezTo>
                  <a:pt x="774" y="204"/>
                  <a:pt x="774" y="204"/>
                  <a:pt x="774" y="204"/>
                </a:cubicBezTo>
                <a:cubicBezTo>
                  <a:pt x="774" y="204"/>
                  <a:pt x="774" y="204"/>
                  <a:pt x="774" y="204"/>
                </a:cubicBezTo>
                <a:cubicBezTo>
                  <a:pt x="774" y="204"/>
                  <a:pt x="774" y="204"/>
                  <a:pt x="774" y="205"/>
                </a:cubicBezTo>
                <a:cubicBezTo>
                  <a:pt x="774" y="205"/>
                  <a:pt x="774" y="205"/>
                  <a:pt x="774" y="205"/>
                </a:cubicBezTo>
                <a:cubicBezTo>
                  <a:pt x="774" y="205"/>
                  <a:pt x="774" y="205"/>
                  <a:pt x="774" y="205"/>
                </a:cubicBezTo>
                <a:cubicBezTo>
                  <a:pt x="774" y="205"/>
                  <a:pt x="774" y="205"/>
                  <a:pt x="774" y="205"/>
                </a:cubicBezTo>
                <a:cubicBezTo>
                  <a:pt x="774" y="205"/>
                  <a:pt x="774" y="205"/>
                  <a:pt x="774" y="205"/>
                </a:cubicBezTo>
                <a:cubicBezTo>
                  <a:pt x="774" y="205"/>
                  <a:pt x="774" y="205"/>
                  <a:pt x="774" y="205"/>
                </a:cubicBezTo>
                <a:cubicBezTo>
                  <a:pt x="774" y="206"/>
                  <a:pt x="774" y="206"/>
                  <a:pt x="774" y="206"/>
                </a:cubicBezTo>
                <a:cubicBezTo>
                  <a:pt x="774" y="206"/>
                  <a:pt x="774" y="206"/>
                  <a:pt x="774" y="206"/>
                </a:cubicBezTo>
                <a:cubicBezTo>
                  <a:pt x="774" y="206"/>
                  <a:pt x="774" y="206"/>
                  <a:pt x="774" y="206"/>
                </a:cubicBezTo>
                <a:cubicBezTo>
                  <a:pt x="774" y="206"/>
                  <a:pt x="774" y="206"/>
                  <a:pt x="774" y="206"/>
                </a:cubicBezTo>
                <a:cubicBezTo>
                  <a:pt x="773" y="206"/>
                  <a:pt x="773" y="206"/>
                  <a:pt x="773" y="206"/>
                </a:cubicBezTo>
                <a:cubicBezTo>
                  <a:pt x="773" y="207"/>
                  <a:pt x="773" y="207"/>
                  <a:pt x="773" y="207"/>
                </a:cubicBezTo>
                <a:cubicBezTo>
                  <a:pt x="773" y="207"/>
                  <a:pt x="773" y="207"/>
                  <a:pt x="773" y="207"/>
                </a:cubicBezTo>
                <a:cubicBezTo>
                  <a:pt x="773" y="207"/>
                  <a:pt x="773" y="207"/>
                  <a:pt x="773" y="207"/>
                </a:cubicBezTo>
                <a:cubicBezTo>
                  <a:pt x="773" y="207"/>
                  <a:pt x="773" y="207"/>
                  <a:pt x="773" y="207"/>
                </a:cubicBezTo>
                <a:cubicBezTo>
                  <a:pt x="774" y="207"/>
                  <a:pt x="774" y="207"/>
                  <a:pt x="774" y="207"/>
                </a:cubicBezTo>
                <a:cubicBezTo>
                  <a:pt x="774" y="207"/>
                  <a:pt x="774" y="207"/>
                  <a:pt x="774" y="207"/>
                </a:cubicBezTo>
                <a:cubicBezTo>
                  <a:pt x="774" y="207"/>
                  <a:pt x="774" y="207"/>
                  <a:pt x="774" y="207"/>
                </a:cubicBezTo>
                <a:cubicBezTo>
                  <a:pt x="774" y="207"/>
                  <a:pt x="775" y="207"/>
                  <a:pt x="775" y="208"/>
                </a:cubicBezTo>
                <a:cubicBezTo>
                  <a:pt x="775" y="208"/>
                  <a:pt x="775" y="208"/>
                  <a:pt x="775" y="208"/>
                </a:cubicBezTo>
                <a:cubicBezTo>
                  <a:pt x="775" y="208"/>
                  <a:pt x="775" y="208"/>
                  <a:pt x="775" y="208"/>
                </a:cubicBezTo>
                <a:cubicBezTo>
                  <a:pt x="775" y="208"/>
                  <a:pt x="775" y="208"/>
                  <a:pt x="775" y="208"/>
                </a:cubicBezTo>
                <a:cubicBezTo>
                  <a:pt x="775" y="208"/>
                  <a:pt x="775" y="208"/>
                  <a:pt x="775" y="208"/>
                </a:cubicBezTo>
                <a:cubicBezTo>
                  <a:pt x="775" y="207"/>
                  <a:pt x="775" y="207"/>
                  <a:pt x="775" y="207"/>
                </a:cubicBezTo>
                <a:cubicBezTo>
                  <a:pt x="774" y="207"/>
                  <a:pt x="774" y="207"/>
                  <a:pt x="774" y="207"/>
                </a:cubicBezTo>
                <a:cubicBezTo>
                  <a:pt x="774" y="207"/>
                  <a:pt x="774" y="207"/>
                  <a:pt x="774" y="207"/>
                </a:cubicBezTo>
                <a:cubicBezTo>
                  <a:pt x="773" y="207"/>
                  <a:pt x="773" y="207"/>
                  <a:pt x="773" y="207"/>
                </a:cubicBezTo>
                <a:cubicBezTo>
                  <a:pt x="773" y="207"/>
                  <a:pt x="773" y="207"/>
                  <a:pt x="773" y="207"/>
                </a:cubicBezTo>
                <a:cubicBezTo>
                  <a:pt x="773" y="207"/>
                  <a:pt x="773" y="207"/>
                  <a:pt x="773" y="207"/>
                </a:cubicBezTo>
                <a:cubicBezTo>
                  <a:pt x="773" y="207"/>
                  <a:pt x="773" y="207"/>
                  <a:pt x="773" y="207"/>
                </a:cubicBezTo>
                <a:cubicBezTo>
                  <a:pt x="773" y="207"/>
                  <a:pt x="773" y="207"/>
                  <a:pt x="773" y="207"/>
                </a:cubicBezTo>
                <a:cubicBezTo>
                  <a:pt x="773" y="207"/>
                  <a:pt x="773" y="207"/>
                  <a:pt x="773" y="207"/>
                </a:cubicBezTo>
                <a:cubicBezTo>
                  <a:pt x="773" y="207"/>
                  <a:pt x="773" y="207"/>
                  <a:pt x="773" y="207"/>
                </a:cubicBezTo>
                <a:cubicBezTo>
                  <a:pt x="773" y="207"/>
                  <a:pt x="773" y="207"/>
                  <a:pt x="772" y="207"/>
                </a:cubicBezTo>
                <a:cubicBezTo>
                  <a:pt x="772" y="207"/>
                  <a:pt x="772" y="207"/>
                  <a:pt x="772" y="207"/>
                </a:cubicBezTo>
                <a:cubicBezTo>
                  <a:pt x="772" y="207"/>
                  <a:pt x="772" y="207"/>
                  <a:pt x="772" y="207"/>
                </a:cubicBezTo>
                <a:cubicBezTo>
                  <a:pt x="772" y="206"/>
                  <a:pt x="772" y="206"/>
                  <a:pt x="772" y="206"/>
                </a:cubicBezTo>
                <a:cubicBezTo>
                  <a:pt x="772" y="206"/>
                  <a:pt x="772" y="206"/>
                  <a:pt x="772" y="206"/>
                </a:cubicBezTo>
                <a:cubicBezTo>
                  <a:pt x="772" y="206"/>
                  <a:pt x="772" y="206"/>
                  <a:pt x="771" y="206"/>
                </a:cubicBezTo>
                <a:cubicBezTo>
                  <a:pt x="771" y="207"/>
                  <a:pt x="771" y="207"/>
                  <a:pt x="771" y="207"/>
                </a:cubicBezTo>
                <a:cubicBezTo>
                  <a:pt x="771" y="207"/>
                  <a:pt x="771" y="207"/>
                  <a:pt x="771" y="207"/>
                </a:cubicBezTo>
                <a:cubicBezTo>
                  <a:pt x="771" y="207"/>
                  <a:pt x="771" y="207"/>
                  <a:pt x="771" y="207"/>
                </a:cubicBezTo>
                <a:cubicBezTo>
                  <a:pt x="771" y="207"/>
                  <a:pt x="771" y="207"/>
                  <a:pt x="771" y="207"/>
                </a:cubicBezTo>
                <a:cubicBezTo>
                  <a:pt x="771" y="207"/>
                  <a:pt x="771" y="207"/>
                  <a:pt x="771" y="207"/>
                </a:cubicBezTo>
                <a:cubicBezTo>
                  <a:pt x="771" y="207"/>
                  <a:pt x="771" y="207"/>
                  <a:pt x="771" y="207"/>
                </a:cubicBezTo>
                <a:cubicBezTo>
                  <a:pt x="771" y="207"/>
                  <a:pt x="771" y="207"/>
                  <a:pt x="771" y="207"/>
                </a:cubicBezTo>
                <a:cubicBezTo>
                  <a:pt x="770" y="207"/>
                  <a:pt x="770" y="207"/>
                  <a:pt x="770" y="207"/>
                </a:cubicBezTo>
                <a:cubicBezTo>
                  <a:pt x="770" y="207"/>
                  <a:pt x="770" y="207"/>
                  <a:pt x="770" y="207"/>
                </a:cubicBezTo>
                <a:cubicBezTo>
                  <a:pt x="770" y="207"/>
                  <a:pt x="770" y="207"/>
                  <a:pt x="770" y="207"/>
                </a:cubicBezTo>
                <a:cubicBezTo>
                  <a:pt x="770" y="207"/>
                  <a:pt x="770" y="207"/>
                  <a:pt x="770" y="207"/>
                </a:cubicBezTo>
                <a:cubicBezTo>
                  <a:pt x="770" y="207"/>
                  <a:pt x="770" y="207"/>
                  <a:pt x="770" y="207"/>
                </a:cubicBezTo>
                <a:cubicBezTo>
                  <a:pt x="770" y="207"/>
                  <a:pt x="770" y="207"/>
                  <a:pt x="770" y="207"/>
                </a:cubicBezTo>
                <a:cubicBezTo>
                  <a:pt x="770" y="208"/>
                  <a:pt x="770" y="208"/>
                  <a:pt x="770" y="208"/>
                </a:cubicBezTo>
                <a:cubicBezTo>
                  <a:pt x="770" y="209"/>
                  <a:pt x="770" y="209"/>
                  <a:pt x="770" y="209"/>
                </a:cubicBezTo>
                <a:cubicBezTo>
                  <a:pt x="770" y="209"/>
                  <a:pt x="770" y="209"/>
                  <a:pt x="770" y="209"/>
                </a:cubicBezTo>
                <a:cubicBezTo>
                  <a:pt x="770" y="209"/>
                  <a:pt x="770" y="209"/>
                  <a:pt x="770" y="209"/>
                </a:cubicBezTo>
                <a:cubicBezTo>
                  <a:pt x="770" y="209"/>
                  <a:pt x="770" y="209"/>
                  <a:pt x="770" y="209"/>
                </a:cubicBezTo>
                <a:cubicBezTo>
                  <a:pt x="770" y="210"/>
                  <a:pt x="770" y="210"/>
                  <a:pt x="770" y="210"/>
                </a:cubicBezTo>
                <a:cubicBezTo>
                  <a:pt x="770" y="210"/>
                  <a:pt x="770" y="210"/>
                  <a:pt x="770" y="210"/>
                </a:cubicBezTo>
                <a:cubicBezTo>
                  <a:pt x="770" y="210"/>
                  <a:pt x="770" y="210"/>
                  <a:pt x="770" y="210"/>
                </a:cubicBezTo>
                <a:cubicBezTo>
                  <a:pt x="770" y="210"/>
                  <a:pt x="770" y="210"/>
                  <a:pt x="770" y="210"/>
                </a:cubicBezTo>
                <a:cubicBezTo>
                  <a:pt x="770" y="210"/>
                  <a:pt x="770" y="210"/>
                  <a:pt x="770" y="210"/>
                </a:cubicBezTo>
                <a:cubicBezTo>
                  <a:pt x="770" y="210"/>
                  <a:pt x="770" y="210"/>
                  <a:pt x="770" y="210"/>
                </a:cubicBezTo>
                <a:cubicBezTo>
                  <a:pt x="770" y="210"/>
                  <a:pt x="770" y="210"/>
                  <a:pt x="770" y="210"/>
                </a:cubicBezTo>
                <a:cubicBezTo>
                  <a:pt x="770" y="210"/>
                  <a:pt x="770" y="210"/>
                  <a:pt x="770" y="210"/>
                </a:cubicBezTo>
                <a:cubicBezTo>
                  <a:pt x="770" y="210"/>
                  <a:pt x="770" y="210"/>
                  <a:pt x="770" y="211"/>
                </a:cubicBezTo>
                <a:cubicBezTo>
                  <a:pt x="770" y="211"/>
                  <a:pt x="770" y="211"/>
                  <a:pt x="770" y="211"/>
                </a:cubicBezTo>
                <a:cubicBezTo>
                  <a:pt x="770" y="211"/>
                  <a:pt x="770" y="211"/>
                  <a:pt x="770" y="211"/>
                </a:cubicBezTo>
                <a:cubicBezTo>
                  <a:pt x="770" y="211"/>
                  <a:pt x="770" y="211"/>
                  <a:pt x="770" y="211"/>
                </a:cubicBezTo>
                <a:cubicBezTo>
                  <a:pt x="771" y="212"/>
                  <a:pt x="771" y="211"/>
                  <a:pt x="772" y="211"/>
                </a:cubicBezTo>
                <a:cubicBezTo>
                  <a:pt x="772" y="211"/>
                  <a:pt x="772" y="211"/>
                  <a:pt x="772" y="211"/>
                </a:cubicBezTo>
                <a:cubicBezTo>
                  <a:pt x="772" y="211"/>
                  <a:pt x="772" y="211"/>
                  <a:pt x="772" y="211"/>
                </a:cubicBezTo>
                <a:cubicBezTo>
                  <a:pt x="772" y="211"/>
                  <a:pt x="772" y="211"/>
                  <a:pt x="772" y="211"/>
                </a:cubicBezTo>
                <a:cubicBezTo>
                  <a:pt x="772" y="212"/>
                  <a:pt x="772" y="212"/>
                  <a:pt x="772" y="212"/>
                </a:cubicBezTo>
                <a:cubicBezTo>
                  <a:pt x="772" y="212"/>
                  <a:pt x="772" y="212"/>
                  <a:pt x="772" y="212"/>
                </a:cubicBezTo>
                <a:cubicBezTo>
                  <a:pt x="772" y="212"/>
                  <a:pt x="772" y="212"/>
                  <a:pt x="773" y="212"/>
                </a:cubicBezTo>
                <a:cubicBezTo>
                  <a:pt x="773" y="212"/>
                  <a:pt x="773" y="212"/>
                  <a:pt x="773" y="212"/>
                </a:cubicBezTo>
                <a:cubicBezTo>
                  <a:pt x="773" y="212"/>
                  <a:pt x="773" y="212"/>
                  <a:pt x="773" y="212"/>
                </a:cubicBezTo>
                <a:cubicBezTo>
                  <a:pt x="773" y="212"/>
                  <a:pt x="773" y="212"/>
                  <a:pt x="773" y="212"/>
                </a:cubicBezTo>
                <a:cubicBezTo>
                  <a:pt x="773" y="212"/>
                  <a:pt x="773" y="212"/>
                  <a:pt x="773" y="212"/>
                </a:cubicBezTo>
                <a:cubicBezTo>
                  <a:pt x="773" y="212"/>
                  <a:pt x="773" y="212"/>
                  <a:pt x="773" y="212"/>
                </a:cubicBezTo>
                <a:cubicBezTo>
                  <a:pt x="773" y="212"/>
                  <a:pt x="773" y="212"/>
                  <a:pt x="773" y="212"/>
                </a:cubicBezTo>
                <a:cubicBezTo>
                  <a:pt x="773" y="212"/>
                  <a:pt x="773" y="212"/>
                  <a:pt x="773" y="212"/>
                </a:cubicBezTo>
                <a:cubicBezTo>
                  <a:pt x="773" y="212"/>
                  <a:pt x="773" y="212"/>
                  <a:pt x="773" y="212"/>
                </a:cubicBezTo>
                <a:cubicBezTo>
                  <a:pt x="773" y="212"/>
                  <a:pt x="773" y="212"/>
                  <a:pt x="773" y="212"/>
                </a:cubicBezTo>
                <a:cubicBezTo>
                  <a:pt x="773" y="212"/>
                  <a:pt x="773" y="212"/>
                  <a:pt x="773" y="212"/>
                </a:cubicBezTo>
                <a:cubicBezTo>
                  <a:pt x="773" y="212"/>
                  <a:pt x="773" y="212"/>
                  <a:pt x="773" y="212"/>
                </a:cubicBezTo>
                <a:cubicBezTo>
                  <a:pt x="773" y="212"/>
                  <a:pt x="773" y="212"/>
                  <a:pt x="773" y="212"/>
                </a:cubicBezTo>
                <a:cubicBezTo>
                  <a:pt x="773" y="212"/>
                  <a:pt x="773" y="212"/>
                  <a:pt x="773" y="212"/>
                </a:cubicBezTo>
                <a:cubicBezTo>
                  <a:pt x="773" y="212"/>
                  <a:pt x="773" y="212"/>
                  <a:pt x="773" y="212"/>
                </a:cubicBezTo>
                <a:cubicBezTo>
                  <a:pt x="773" y="212"/>
                  <a:pt x="773" y="212"/>
                  <a:pt x="773" y="212"/>
                </a:cubicBezTo>
                <a:cubicBezTo>
                  <a:pt x="773" y="213"/>
                  <a:pt x="773" y="212"/>
                  <a:pt x="774" y="213"/>
                </a:cubicBezTo>
                <a:cubicBezTo>
                  <a:pt x="774" y="213"/>
                  <a:pt x="774" y="213"/>
                  <a:pt x="774" y="213"/>
                </a:cubicBezTo>
                <a:cubicBezTo>
                  <a:pt x="774" y="213"/>
                  <a:pt x="774" y="213"/>
                  <a:pt x="774" y="213"/>
                </a:cubicBezTo>
                <a:cubicBezTo>
                  <a:pt x="774" y="213"/>
                  <a:pt x="774" y="213"/>
                  <a:pt x="775" y="213"/>
                </a:cubicBezTo>
                <a:cubicBezTo>
                  <a:pt x="775" y="213"/>
                  <a:pt x="775" y="213"/>
                  <a:pt x="775" y="213"/>
                </a:cubicBezTo>
                <a:cubicBezTo>
                  <a:pt x="775" y="213"/>
                  <a:pt x="775" y="213"/>
                  <a:pt x="775" y="213"/>
                </a:cubicBezTo>
                <a:cubicBezTo>
                  <a:pt x="775" y="213"/>
                  <a:pt x="775" y="213"/>
                  <a:pt x="775" y="213"/>
                </a:cubicBezTo>
                <a:cubicBezTo>
                  <a:pt x="775" y="213"/>
                  <a:pt x="775" y="213"/>
                  <a:pt x="775" y="213"/>
                </a:cubicBezTo>
                <a:cubicBezTo>
                  <a:pt x="775" y="213"/>
                  <a:pt x="775" y="213"/>
                  <a:pt x="775" y="213"/>
                </a:cubicBezTo>
                <a:cubicBezTo>
                  <a:pt x="775" y="213"/>
                  <a:pt x="775" y="213"/>
                  <a:pt x="775" y="213"/>
                </a:cubicBezTo>
                <a:cubicBezTo>
                  <a:pt x="774" y="213"/>
                  <a:pt x="774" y="213"/>
                  <a:pt x="774" y="213"/>
                </a:cubicBezTo>
                <a:cubicBezTo>
                  <a:pt x="774" y="213"/>
                  <a:pt x="773" y="213"/>
                  <a:pt x="773" y="212"/>
                </a:cubicBezTo>
                <a:cubicBezTo>
                  <a:pt x="773" y="212"/>
                  <a:pt x="773" y="212"/>
                  <a:pt x="773" y="212"/>
                </a:cubicBezTo>
                <a:cubicBezTo>
                  <a:pt x="773" y="212"/>
                  <a:pt x="773" y="212"/>
                  <a:pt x="773" y="212"/>
                </a:cubicBezTo>
                <a:cubicBezTo>
                  <a:pt x="773" y="212"/>
                  <a:pt x="772" y="212"/>
                  <a:pt x="772" y="212"/>
                </a:cubicBezTo>
                <a:cubicBezTo>
                  <a:pt x="772" y="212"/>
                  <a:pt x="772" y="212"/>
                  <a:pt x="772" y="212"/>
                </a:cubicBezTo>
                <a:cubicBezTo>
                  <a:pt x="772" y="212"/>
                  <a:pt x="772" y="212"/>
                  <a:pt x="772" y="212"/>
                </a:cubicBezTo>
                <a:cubicBezTo>
                  <a:pt x="772" y="212"/>
                  <a:pt x="772" y="212"/>
                  <a:pt x="772" y="212"/>
                </a:cubicBezTo>
                <a:cubicBezTo>
                  <a:pt x="772" y="212"/>
                  <a:pt x="772" y="212"/>
                  <a:pt x="772" y="212"/>
                </a:cubicBezTo>
                <a:cubicBezTo>
                  <a:pt x="771" y="212"/>
                  <a:pt x="771" y="212"/>
                  <a:pt x="771" y="212"/>
                </a:cubicBezTo>
                <a:cubicBezTo>
                  <a:pt x="770" y="212"/>
                  <a:pt x="770" y="212"/>
                  <a:pt x="770" y="212"/>
                </a:cubicBezTo>
                <a:cubicBezTo>
                  <a:pt x="770" y="212"/>
                  <a:pt x="770" y="212"/>
                  <a:pt x="770" y="212"/>
                </a:cubicBezTo>
                <a:cubicBezTo>
                  <a:pt x="770" y="212"/>
                  <a:pt x="770" y="212"/>
                  <a:pt x="770" y="212"/>
                </a:cubicBezTo>
                <a:cubicBezTo>
                  <a:pt x="769" y="212"/>
                  <a:pt x="769" y="212"/>
                  <a:pt x="769" y="212"/>
                </a:cubicBezTo>
                <a:cubicBezTo>
                  <a:pt x="769" y="212"/>
                  <a:pt x="769" y="212"/>
                  <a:pt x="769" y="212"/>
                </a:cubicBezTo>
                <a:cubicBezTo>
                  <a:pt x="769" y="212"/>
                  <a:pt x="769" y="212"/>
                  <a:pt x="769" y="212"/>
                </a:cubicBezTo>
                <a:cubicBezTo>
                  <a:pt x="769" y="212"/>
                  <a:pt x="769" y="212"/>
                  <a:pt x="769" y="212"/>
                </a:cubicBezTo>
                <a:cubicBezTo>
                  <a:pt x="770" y="212"/>
                  <a:pt x="770" y="213"/>
                  <a:pt x="771" y="213"/>
                </a:cubicBezTo>
                <a:cubicBezTo>
                  <a:pt x="771" y="213"/>
                  <a:pt x="771" y="213"/>
                  <a:pt x="771" y="213"/>
                </a:cubicBezTo>
                <a:cubicBezTo>
                  <a:pt x="771" y="213"/>
                  <a:pt x="771" y="213"/>
                  <a:pt x="771" y="213"/>
                </a:cubicBezTo>
                <a:cubicBezTo>
                  <a:pt x="771" y="213"/>
                  <a:pt x="771" y="213"/>
                  <a:pt x="771" y="213"/>
                </a:cubicBezTo>
                <a:cubicBezTo>
                  <a:pt x="771" y="214"/>
                  <a:pt x="771" y="214"/>
                  <a:pt x="771" y="214"/>
                </a:cubicBezTo>
                <a:cubicBezTo>
                  <a:pt x="771" y="214"/>
                  <a:pt x="771" y="214"/>
                  <a:pt x="771" y="214"/>
                </a:cubicBezTo>
                <a:cubicBezTo>
                  <a:pt x="770" y="214"/>
                  <a:pt x="770" y="214"/>
                  <a:pt x="770" y="214"/>
                </a:cubicBezTo>
                <a:cubicBezTo>
                  <a:pt x="770" y="214"/>
                  <a:pt x="770" y="214"/>
                  <a:pt x="770" y="214"/>
                </a:cubicBezTo>
                <a:cubicBezTo>
                  <a:pt x="771" y="214"/>
                  <a:pt x="771" y="214"/>
                  <a:pt x="771" y="214"/>
                </a:cubicBezTo>
                <a:cubicBezTo>
                  <a:pt x="771" y="214"/>
                  <a:pt x="771" y="214"/>
                  <a:pt x="771" y="214"/>
                </a:cubicBezTo>
                <a:cubicBezTo>
                  <a:pt x="771" y="214"/>
                  <a:pt x="771" y="214"/>
                  <a:pt x="771" y="214"/>
                </a:cubicBezTo>
                <a:cubicBezTo>
                  <a:pt x="771" y="214"/>
                  <a:pt x="771" y="214"/>
                  <a:pt x="771" y="214"/>
                </a:cubicBezTo>
                <a:cubicBezTo>
                  <a:pt x="771" y="215"/>
                  <a:pt x="771" y="215"/>
                  <a:pt x="771" y="215"/>
                </a:cubicBezTo>
                <a:cubicBezTo>
                  <a:pt x="771" y="215"/>
                  <a:pt x="771" y="215"/>
                  <a:pt x="771" y="215"/>
                </a:cubicBezTo>
                <a:cubicBezTo>
                  <a:pt x="771" y="215"/>
                  <a:pt x="771" y="215"/>
                  <a:pt x="771" y="215"/>
                </a:cubicBezTo>
                <a:cubicBezTo>
                  <a:pt x="771" y="215"/>
                  <a:pt x="771" y="215"/>
                  <a:pt x="771" y="215"/>
                </a:cubicBezTo>
                <a:cubicBezTo>
                  <a:pt x="771" y="215"/>
                  <a:pt x="771" y="215"/>
                  <a:pt x="771" y="215"/>
                </a:cubicBezTo>
                <a:cubicBezTo>
                  <a:pt x="770" y="214"/>
                  <a:pt x="770" y="214"/>
                  <a:pt x="770" y="214"/>
                </a:cubicBezTo>
                <a:cubicBezTo>
                  <a:pt x="770" y="214"/>
                  <a:pt x="770" y="214"/>
                  <a:pt x="770" y="214"/>
                </a:cubicBezTo>
                <a:cubicBezTo>
                  <a:pt x="770" y="214"/>
                  <a:pt x="770" y="214"/>
                  <a:pt x="770" y="214"/>
                </a:cubicBezTo>
                <a:cubicBezTo>
                  <a:pt x="770" y="214"/>
                  <a:pt x="770" y="214"/>
                  <a:pt x="770" y="214"/>
                </a:cubicBezTo>
                <a:cubicBezTo>
                  <a:pt x="770" y="214"/>
                  <a:pt x="770" y="214"/>
                  <a:pt x="770" y="214"/>
                </a:cubicBezTo>
                <a:cubicBezTo>
                  <a:pt x="770" y="214"/>
                  <a:pt x="770" y="214"/>
                  <a:pt x="770" y="214"/>
                </a:cubicBezTo>
                <a:cubicBezTo>
                  <a:pt x="770" y="214"/>
                  <a:pt x="770" y="214"/>
                  <a:pt x="770" y="214"/>
                </a:cubicBezTo>
                <a:cubicBezTo>
                  <a:pt x="770" y="214"/>
                  <a:pt x="770" y="214"/>
                  <a:pt x="770" y="214"/>
                </a:cubicBezTo>
                <a:cubicBezTo>
                  <a:pt x="770" y="214"/>
                  <a:pt x="770" y="214"/>
                  <a:pt x="770" y="214"/>
                </a:cubicBezTo>
                <a:cubicBezTo>
                  <a:pt x="770" y="214"/>
                  <a:pt x="769" y="213"/>
                  <a:pt x="769" y="213"/>
                </a:cubicBezTo>
                <a:cubicBezTo>
                  <a:pt x="769" y="213"/>
                  <a:pt x="769" y="213"/>
                  <a:pt x="769" y="213"/>
                </a:cubicBezTo>
                <a:cubicBezTo>
                  <a:pt x="769" y="213"/>
                  <a:pt x="769" y="213"/>
                  <a:pt x="769" y="213"/>
                </a:cubicBezTo>
                <a:cubicBezTo>
                  <a:pt x="769" y="214"/>
                  <a:pt x="769" y="214"/>
                  <a:pt x="769" y="214"/>
                </a:cubicBezTo>
                <a:cubicBezTo>
                  <a:pt x="769" y="214"/>
                  <a:pt x="769" y="214"/>
                  <a:pt x="769" y="214"/>
                </a:cubicBezTo>
                <a:cubicBezTo>
                  <a:pt x="769" y="214"/>
                  <a:pt x="769" y="214"/>
                  <a:pt x="769" y="214"/>
                </a:cubicBezTo>
                <a:cubicBezTo>
                  <a:pt x="770" y="215"/>
                  <a:pt x="770" y="215"/>
                  <a:pt x="770" y="215"/>
                </a:cubicBezTo>
                <a:cubicBezTo>
                  <a:pt x="770" y="215"/>
                  <a:pt x="770" y="215"/>
                  <a:pt x="770" y="215"/>
                </a:cubicBezTo>
                <a:cubicBezTo>
                  <a:pt x="770" y="215"/>
                  <a:pt x="770" y="215"/>
                  <a:pt x="770" y="215"/>
                </a:cubicBezTo>
                <a:cubicBezTo>
                  <a:pt x="770" y="215"/>
                  <a:pt x="770" y="215"/>
                  <a:pt x="770" y="215"/>
                </a:cubicBezTo>
                <a:cubicBezTo>
                  <a:pt x="770" y="215"/>
                  <a:pt x="770" y="215"/>
                  <a:pt x="770" y="215"/>
                </a:cubicBezTo>
                <a:cubicBezTo>
                  <a:pt x="770" y="215"/>
                  <a:pt x="770" y="215"/>
                  <a:pt x="770" y="215"/>
                </a:cubicBezTo>
                <a:cubicBezTo>
                  <a:pt x="770" y="215"/>
                  <a:pt x="770" y="215"/>
                  <a:pt x="770" y="215"/>
                </a:cubicBezTo>
                <a:cubicBezTo>
                  <a:pt x="770" y="215"/>
                  <a:pt x="770" y="215"/>
                  <a:pt x="770" y="215"/>
                </a:cubicBezTo>
                <a:cubicBezTo>
                  <a:pt x="770" y="215"/>
                  <a:pt x="770" y="215"/>
                  <a:pt x="770" y="215"/>
                </a:cubicBezTo>
                <a:cubicBezTo>
                  <a:pt x="770" y="216"/>
                  <a:pt x="770" y="216"/>
                  <a:pt x="770" y="216"/>
                </a:cubicBezTo>
                <a:cubicBezTo>
                  <a:pt x="769" y="216"/>
                  <a:pt x="769" y="216"/>
                  <a:pt x="769" y="216"/>
                </a:cubicBezTo>
                <a:cubicBezTo>
                  <a:pt x="769" y="216"/>
                  <a:pt x="769" y="216"/>
                  <a:pt x="769" y="216"/>
                </a:cubicBezTo>
                <a:cubicBezTo>
                  <a:pt x="769" y="216"/>
                  <a:pt x="769" y="216"/>
                  <a:pt x="769" y="216"/>
                </a:cubicBezTo>
                <a:cubicBezTo>
                  <a:pt x="769" y="216"/>
                  <a:pt x="769" y="216"/>
                  <a:pt x="769" y="216"/>
                </a:cubicBezTo>
                <a:cubicBezTo>
                  <a:pt x="768" y="215"/>
                  <a:pt x="768" y="215"/>
                  <a:pt x="768" y="215"/>
                </a:cubicBezTo>
                <a:cubicBezTo>
                  <a:pt x="768" y="215"/>
                  <a:pt x="768" y="215"/>
                  <a:pt x="768" y="215"/>
                </a:cubicBezTo>
                <a:cubicBezTo>
                  <a:pt x="768" y="215"/>
                  <a:pt x="768" y="215"/>
                  <a:pt x="768" y="215"/>
                </a:cubicBezTo>
                <a:cubicBezTo>
                  <a:pt x="768" y="215"/>
                  <a:pt x="768" y="215"/>
                  <a:pt x="768" y="215"/>
                </a:cubicBezTo>
                <a:cubicBezTo>
                  <a:pt x="768" y="215"/>
                  <a:pt x="768" y="215"/>
                  <a:pt x="768" y="215"/>
                </a:cubicBezTo>
                <a:cubicBezTo>
                  <a:pt x="768" y="215"/>
                  <a:pt x="768" y="215"/>
                  <a:pt x="768" y="215"/>
                </a:cubicBezTo>
                <a:cubicBezTo>
                  <a:pt x="768" y="215"/>
                  <a:pt x="768" y="215"/>
                  <a:pt x="768" y="215"/>
                </a:cubicBezTo>
                <a:cubicBezTo>
                  <a:pt x="768" y="215"/>
                  <a:pt x="768" y="215"/>
                  <a:pt x="768" y="215"/>
                </a:cubicBezTo>
                <a:cubicBezTo>
                  <a:pt x="767" y="215"/>
                  <a:pt x="767" y="215"/>
                  <a:pt x="767" y="215"/>
                </a:cubicBezTo>
                <a:cubicBezTo>
                  <a:pt x="767" y="215"/>
                  <a:pt x="767" y="215"/>
                  <a:pt x="767" y="215"/>
                </a:cubicBezTo>
                <a:cubicBezTo>
                  <a:pt x="767" y="216"/>
                  <a:pt x="767" y="216"/>
                  <a:pt x="767" y="216"/>
                </a:cubicBezTo>
                <a:cubicBezTo>
                  <a:pt x="768" y="216"/>
                  <a:pt x="768" y="216"/>
                  <a:pt x="768" y="216"/>
                </a:cubicBezTo>
                <a:cubicBezTo>
                  <a:pt x="768" y="217"/>
                  <a:pt x="768" y="217"/>
                  <a:pt x="768" y="217"/>
                </a:cubicBezTo>
                <a:cubicBezTo>
                  <a:pt x="768" y="217"/>
                  <a:pt x="768" y="217"/>
                  <a:pt x="768" y="217"/>
                </a:cubicBezTo>
                <a:cubicBezTo>
                  <a:pt x="768" y="218"/>
                  <a:pt x="768" y="218"/>
                  <a:pt x="768" y="218"/>
                </a:cubicBezTo>
                <a:cubicBezTo>
                  <a:pt x="768" y="218"/>
                  <a:pt x="768" y="218"/>
                  <a:pt x="768" y="218"/>
                </a:cubicBezTo>
                <a:cubicBezTo>
                  <a:pt x="768" y="218"/>
                  <a:pt x="768" y="218"/>
                  <a:pt x="768" y="218"/>
                </a:cubicBezTo>
                <a:cubicBezTo>
                  <a:pt x="768" y="218"/>
                  <a:pt x="768" y="218"/>
                  <a:pt x="768" y="218"/>
                </a:cubicBezTo>
                <a:cubicBezTo>
                  <a:pt x="768" y="218"/>
                  <a:pt x="768" y="218"/>
                  <a:pt x="768" y="218"/>
                </a:cubicBezTo>
                <a:cubicBezTo>
                  <a:pt x="768" y="218"/>
                  <a:pt x="768" y="218"/>
                  <a:pt x="768" y="218"/>
                </a:cubicBezTo>
                <a:cubicBezTo>
                  <a:pt x="768" y="218"/>
                  <a:pt x="768" y="218"/>
                  <a:pt x="768" y="218"/>
                </a:cubicBezTo>
                <a:cubicBezTo>
                  <a:pt x="768" y="218"/>
                  <a:pt x="768" y="218"/>
                  <a:pt x="768" y="218"/>
                </a:cubicBezTo>
                <a:cubicBezTo>
                  <a:pt x="768" y="218"/>
                  <a:pt x="768" y="218"/>
                  <a:pt x="768" y="218"/>
                </a:cubicBezTo>
                <a:cubicBezTo>
                  <a:pt x="768" y="218"/>
                  <a:pt x="768" y="218"/>
                  <a:pt x="768" y="218"/>
                </a:cubicBezTo>
                <a:cubicBezTo>
                  <a:pt x="769" y="218"/>
                  <a:pt x="769" y="218"/>
                  <a:pt x="769" y="218"/>
                </a:cubicBezTo>
                <a:cubicBezTo>
                  <a:pt x="769" y="218"/>
                  <a:pt x="769" y="218"/>
                  <a:pt x="769" y="218"/>
                </a:cubicBezTo>
                <a:cubicBezTo>
                  <a:pt x="769" y="218"/>
                  <a:pt x="769" y="218"/>
                  <a:pt x="769" y="218"/>
                </a:cubicBezTo>
                <a:cubicBezTo>
                  <a:pt x="770" y="218"/>
                  <a:pt x="769" y="217"/>
                  <a:pt x="770" y="218"/>
                </a:cubicBezTo>
                <a:cubicBezTo>
                  <a:pt x="770" y="218"/>
                  <a:pt x="770" y="218"/>
                  <a:pt x="770" y="218"/>
                </a:cubicBezTo>
                <a:cubicBezTo>
                  <a:pt x="770" y="218"/>
                  <a:pt x="770" y="218"/>
                  <a:pt x="770" y="218"/>
                </a:cubicBezTo>
                <a:cubicBezTo>
                  <a:pt x="771" y="218"/>
                  <a:pt x="771" y="218"/>
                  <a:pt x="772" y="218"/>
                </a:cubicBezTo>
                <a:cubicBezTo>
                  <a:pt x="772" y="218"/>
                  <a:pt x="772" y="218"/>
                  <a:pt x="772" y="218"/>
                </a:cubicBezTo>
                <a:cubicBezTo>
                  <a:pt x="772" y="218"/>
                  <a:pt x="772" y="218"/>
                  <a:pt x="772" y="218"/>
                </a:cubicBezTo>
                <a:cubicBezTo>
                  <a:pt x="772" y="218"/>
                  <a:pt x="772" y="218"/>
                  <a:pt x="772" y="218"/>
                </a:cubicBezTo>
                <a:cubicBezTo>
                  <a:pt x="771" y="218"/>
                  <a:pt x="771" y="218"/>
                  <a:pt x="771" y="218"/>
                </a:cubicBezTo>
                <a:cubicBezTo>
                  <a:pt x="771" y="218"/>
                  <a:pt x="771" y="218"/>
                  <a:pt x="771" y="218"/>
                </a:cubicBezTo>
                <a:cubicBezTo>
                  <a:pt x="769" y="219"/>
                  <a:pt x="769" y="219"/>
                  <a:pt x="769" y="219"/>
                </a:cubicBezTo>
                <a:cubicBezTo>
                  <a:pt x="769" y="219"/>
                  <a:pt x="769" y="219"/>
                  <a:pt x="769" y="219"/>
                </a:cubicBezTo>
                <a:cubicBezTo>
                  <a:pt x="768" y="219"/>
                  <a:pt x="768" y="219"/>
                  <a:pt x="768" y="219"/>
                </a:cubicBezTo>
                <a:cubicBezTo>
                  <a:pt x="768" y="218"/>
                  <a:pt x="768" y="218"/>
                  <a:pt x="768" y="218"/>
                </a:cubicBezTo>
                <a:cubicBezTo>
                  <a:pt x="768" y="218"/>
                  <a:pt x="768" y="218"/>
                  <a:pt x="768" y="218"/>
                </a:cubicBezTo>
                <a:cubicBezTo>
                  <a:pt x="768" y="218"/>
                  <a:pt x="768" y="218"/>
                  <a:pt x="768" y="218"/>
                </a:cubicBezTo>
                <a:cubicBezTo>
                  <a:pt x="768" y="218"/>
                  <a:pt x="768" y="218"/>
                  <a:pt x="768" y="218"/>
                </a:cubicBezTo>
                <a:cubicBezTo>
                  <a:pt x="768" y="218"/>
                  <a:pt x="768" y="218"/>
                  <a:pt x="768" y="218"/>
                </a:cubicBezTo>
                <a:cubicBezTo>
                  <a:pt x="768" y="218"/>
                  <a:pt x="768" y="219"/>
                  <a:pt x="767" y="219"/>
                </a:cubicBezTo>
                <a:cubicBezTo>
                  <a:pt x="767" y="219"/>
                  <a:pt x="767" y="219"/>
                  <a:pt x="767" y="219"/>
                </a:cubicBezTo>
                <a:cubicBezTo>
                  <a:pt x="767" y="219"/>
                  <a:pt x="767" y="219"/>
                  <a:pt x="767" y="219"/>
                </a:cubicBezTo>
                <a:cubicBezTo>
                  <a:pt x="767" y="219"/>
                  <a:pt x="767" y="219"/>
                  <a:pt x="767" y="219"/>
                </a:cubicBezTo>
                <a:cubicBezTo>
                  <a:pt x="767" y="219"/>
                  <a:pt x="767" y="219"/>
                  <a:pt x="767" y="219"/>
                </a:cubicBezTo>
                <a:cubicBezTo>
                  <a:pt x="768" y="219"/>
                  <a:pt x="768" y="219"/>
                  <a:pt x="768" y="219"/>
                </a:cubicBezTo>
                <a:cubicBezTo>
                  <a:pt x="768" y="220"/>
                  <a:pt x="768" y="220"/>
                  <a:pt x="768" y="220"/>
                </a:cubicBezTo>
                <a:cubicBezTo>
                  <a:pt x="768" y="220"/>
                  <a:pt x="768" y="220"/>
                  <a:pt x="768" y="220"/>
                </a:cubicBezTo>
                <a:cubicBezTo>
                  <a:pt x="768" y="220"/>
                  <a:pt x="768" y="220"/>
                  <a:pt x="768" y="220"/>
                </a:cubicBezTo>
                <a:cubicBezTo>
                  <a:pt x="768" y="220"/>
                  <a:pt x="768" y="220"/>
                  <a:pt x="768" y="220"/>
                </a:cubicBezTo>
                <a:cubicBezTo>
                  <a:pt x="768" y="220"/>
                  <a:pt x="768" y="220"/>
                  <a:pt x="768" y="220"/>
                </a:cubicBezTo>
                <a:cubicBezTo>
                  <a:pt x="768" y="220"/>
                  <a:pt x="768" y="220"/>
                  <a:pt x="768" y="220"/>
                </a:cubicBezTo>
                <a:cubicBezTo>
                  <a:pt x="768" y="220"/>
                  <a:pt x="768" y="220"/>
                  <a:pt x="768" y="220"/>
                </a:cubicBezTo>
                <a:cubicBezTo>
                  <a:pt x="768" y="220"/>
                  <a:pt x="768" y="220"/>
                  <a:pt x="768" y="220"/>
                </a:cubicBezTo>
                <a:cubicBezTo>
                  <a:pt x="768" y="220"/>
                  <a:pt x="768" y="220"/>
                  <a:pt x="768" y="220"/>
                </a:cubicBezTo>
                <a:cubicBezTo>
                  <a:pt x="767" y="220"/>
                  <a:pt x="767" y="220"/>
                  <a:pt x="767" y="220"/>
                </a:cubicBezTo>
                <a:cubicBezTo>
                  <a:pt x="767" y="219"/>
                  <a:pt x="767" y="219"/>
                  <a:pt x="767" y="219"/>
                </a:cubicBezTo>
                <a:cubicBezTo>
                  <a:pt x="766" y="219"/>
                  <a:pt x="766" y="219"/>
                  <a:pt x="766" y="219"/>
                </a:cubicBezTo>
                <a:cubicBezTo>
                  <a:pt x="766" y="219"/>
                  <a:pt x="766" y="219"/>
                  <a:pt x="766" y="219"/>
                </a:cubicBezTo>
                <a:cubicBezTo>
                  <a:pt x="766" y="219"/>
                  <a:pt x="766" y="219"/>
                  <a:pt x="766" y="219"/>
                </a:cubicBezTo>
                <a:cubicBezTo>
                  <a:pt x="766" y="219"/>
                  <a:pt x="766" y="219"/>
                  <a:pt x="766" y="219"/>
                </a:cubicBezTo>
                <a:cubicBezTo>
                  <a:pt x="766" y="219"/>
                  <a:pt x="766" y="219"/>
                  <a:pt x="766" y="219"/>
                </a:cubicBezTo>
                <a:cubicBezTo>
                  <a:pt x="766" y="219"/>
                  <a:pt x="766" y="219"/>
                  <a:pt x="766" y="219"/>
                </a:cubicBezTo>
                <a:cubicBezTo>
                  <a:pt x="766" y="219"/>
                  <a:pt x="766" y="219"/>
                  <a:pt x="766" y="219"/>
                </a:cubicBezTo>
                <a:cubicBezTo>
                  <a:pt x="766" y="219"/>
                  <a:pt x="766" y="219"/>
                  <a:pt x="766" y="219"/>
                </a:cubicBezTo>
                <a:cubicBezTo>
                  <a:pt x="766" y="219"/>
                  <a:pt x="766" y="219"/>
                  <a:pt x="766" y="219"/>
                </a:cubicBezTo>
                <a:cubicBezTo>
                  <a:pt x="766" y="219"/>
                  <a:pt x="766" y="219"/>
                  <a:pt x="766" y="219"/>
                </a:cubicBezTo>
                <a:cubicBezTo>
                  <a:pt x="766" y="219"/>
                  <a:pt x="766" y="219"/>
                  <a:pt x="766" y="219"/>
                </a:cubicBezTo>
                <a:cubicBezTo>
                  <a:pt x="766" y="220"/>
                  <a:pt x="766" y="220"/>
                  <a:pt x="766" y="220"/>
                </a:cubicBezTo>
                <a:cubicBezTo>
                  <a:pt x="766" y="221"/>
                  <a:pt x="766" y="221"/>
                  <a:pt x="766" y="221"/>
                </a:cubicBezTo>
                <a:cubicBezTo>
                  <a:pt x="766" y="221"/>
                  <a:pt x="766" y="221"/>
                  <a:pt x="766" y="221"/>
                </a:cubicBezTo>
                <a:cubicBezTo>
                  <a:pt x="766" y="221"/>
                  <a:pt x="766" y="221"/>
                  <a:pt x="766" y="221"/>
                </a:cubicBezTo>
                <a:cubicBezTo>
                  <a:pt x="766" y="221"/>
                  <a:pt x="766" y="221"/>
                  <a:pt x="766" y="221"/>
                </a:cubicBezTo>
                <a:cubicBezTo>
                  <a:pt x="766" y="221"/>
                  <a:pt x="766" y="221"/>
                  <a:pt x="766" y="221"/>
                </a:cubicBezTo>
                <a:cubicBezTo>
                  <a:pt x="766" y="221"/>
                  <a:pt x="766" y="221"/>
                  <a:pt x="766" y="221"/>
                </a:cubicBezTo>
                <a:cubicBezTo>
                  <a:pt x="766" y="221"/>
                  <a:pt x="766" y="221"/>
                  <a:pt x="766" y="221"/>
                </a:cubicBezTo>
                <a:cubicBezTo>
                  <a:pt x="766" y="221"/>
                  <a:pt x="766" y="221"/>
                  <a:pt x="766" y="221"/>
                </a:cubicBezTo>
                <a:cubicBezTo>
                  <a:pt x="766" y="221"/>
                  <a:pt x="766" y="221"/>
                  <a:pt x="766" y="221"/>
                </a:cubicBezTo>
                <a:cubicBezTo>
                  <a:pt x="766" y="221"/>
                  <a:pt x="766" y="221"/>
                  <a:pt x="766" y="221"/>
                </a:cubicBezTo>
                <a:cubicBezTo>
                  <a:pt x="766" y="221"/>
                  <a:pt x="766" y="221"/>
                  <a:pt x="766" y="221"/>
                </a:cubicBezTo>
                <a:cubicBezTo>
                  <a:pt x="766" y="221"/>
                  <a:pt x="766" y="221"/>
                  <a:pt x="766" y="221"/>
                </a:cubicBezTo>
                <a:cubicBezTo>
                  <a:pt x="767" y="221"/>
                  <a:pt x="767" y="221"/>
                  <a:pt x="767" y="221"/>
                </a:cubicBezTo>
                <a:cubicBezTo>
                  <a:pt x="767" y="221"/>
                  <a:pt x="767" y="221"/>
                  <a:pt x="767" y="221"/>
                </a:cubicBezTo>
                <a:cubicBezTo>
                  <a:pt x="767" y="221"/>
                  <a:pt x="767" y="221"/>
                  <a:pt x="767" y="221"/>
                </a:cubicBezTo>
                <a:cubicBezTo>
                  <a:pt x="767" y="221"/>
                  <a:pt x="767" y="221"/>
                  <a:pt x="767" y="221"/>
                </a:cubicBezTo>
                <a:cubicBezTo>
                  <a:pt x="767" y="221"/>
                  <a:pt x="767" y="221"/>
                  <a:pt x="767" y="221"/>
                </a:cubicBezTo>
                <a:cubicBezTo>
                  <a:pt x="767" y="221"/>
                  <a:pt x="767" y="221"/>
                  <a:pt x="767" y="221"/>
                </a:cubicBezTo>
                <a:cubicBezTo>
                  <a:pt x="767" y="221"/>
                  <a:pt x="767" y="221"/>
                  <a:pt x="767" y="221"/>
                </a:cubicBezTo>
                <a:cubicBezTo>
                  <a:pt x="767" y="221"/>
                  <a:pt x="767" y="221"/>
                  <a:pt x="767" y="221"/>
                </a:cubicBezTo>
                <a:cubicBezTo>
                  <a:pt x="767" y="221"/>
                  <a:pt x="767" y="221"/>
                  <a:pt x="767" y="221"/>
                </a:cubicBezTo>
                <a:cubicBezTo>
                  <a:pt x="766" y="222"/>
                  <a:pt x="765" y="223"/>
                  <a:pt x="764" y="223"/>
                </a:cubicBezTo>
                <a:cubicBezTo>
                  <a:pt x="764" y="223"/>
                  <a:pt x="764" y="223"/>
                  <a:pt x="764" y="223"/>
                </a:cubicBezTo>
                <a:cubicBezTo>
                  <a:pt x="764" y="223"/>
                  <a:pt x="764" y="223"/>
                  <a:pt x="764" y="223"/>
                </a:cubicBezTo>
                <a:cubicBezTo>
                  <a:pt x="764" y="223"/>
                  <a:pt x="764" y="223"/>
                  <a:pt x="764" y="223"/>
                </a:cubicBezTo>
                <a:cubicBezTo>
                  <a:pt x="764" y="224"/>
                  <a:pt x="764" y="224"/>
                  <a:pt x="764" y="224"/>
                </a:cubicBezTo>
                <a:cubicBezTo>
                  <a:pt x="764" y="224"/>
                  <a:pt x="764" y="224"/>
                  <a:pt x="764" y="224"/>
                </a:cubicBezTo>
                <a:cubicBezTo>
                  <a:pt x="764" y="224"/>
                  <a:pt x="764" y="224"/>
                  <a:pt x="764" y="224"/>
                </a:cubicBezTo>
                <a:cubicBezTo>
                  <a:pt x="764" y="224"/>
                  <a:pt x="764" y="224"/>
                  <a:pt x="764" y="224"/>
                </a:cubicBezTo>
                <a:cubicBezTo>
                  <a:pt x="765" y="224"/>
                  <a:pt x="765" y="224"/>
                  <a:pt x="765" y="224"/>
                </a:cubicBezTo>
                <a:cubicBezTo>
                  <a:pt x="765" y="224"/>
                  <a:pt x="765" y="224"/>
                  <a:pt x="765" y="224"/>
                </a:cubicBezTo>
                <a:cubicBezTo>
                  <a:pt x="765" y="224"/>
                  <a:pt x="765" y="224"/>
                  <a:pt x="765" y="224"/>
                </a:cubicBezTo>
                <a:cubicBezTo>
                  <a:pt x="765" y="224"/>
                  <a:pt x="765" y="224"/>
                  <a:pt x="765" y="224"/>
                </a:cubicBezTo>
                <a:cubicBezTo>
                  <a:pt x="765" y="224"/>
                  <a:pt x="765" y="224"/>
                  <a:pt x="765" y="224"/>
                </a:cubicBezTo>
                <a:cubicBezTo>
                  <a:pt x="766" y="224"/>
                  <a:pt x="765" y="224"/>
                  <a:pt x="765" y="224"/>
                </a:cubicBezTo>
                <a:cubicBezTo>
                  <a:pt x="765" y="224"/>
                  <a:pt x="765" y="224"/>
                  <a:pt x="765" y="224"/>
                </a:cubicBezTo>
                <a:cubicBezTo>
                  <a:pt x="765" y="224"/>
                  <a:pt x="765" y="224"/>
                  <a:pt x="765" y="224"/>
                </a:cubicBezTo>
                <a:cubicBezTo>
                  <a:pt x="766" y="225"/>
                  <a:pt x="766" y="225"/>
                  <a:pt x="766" y="225"/>
                </a:cubicBezTo>
                <a:cubicBezTo>
                  <a:pt x="766" y="225"/>
                  <a:pt x="766" y="225"/>
                  <a:pt x="766" y="225"/>
                </a:cubicBezTo>
                <a:cubicBezTo>
                  <a:pt x="766" y="225"/>
                  <a:pt x="766" y="225"/>
                  <a:pt x="766" y="225"/>
                </a:cubicBezTo>
                <a:cubicBezTo>
                  <a:pt x="766" y="225"/>
                  <a:pt x="766" y="225"/>
                  <a:pt x="766" y="225"/>
                </a:cubicBezTo>
                <a:cubicBezTo>
                  <a:pt x="766" y="225"/>
                  <a:pt x="766" y="225"/>
                  <a:pt x="766" y="225"/>
                </a:cubicBezTo>
                <a:cubicBezTo>
                  <a:pt x="766" y="225"/>
                  <a:pt x="766" y="225"/>
                  <a:pt x="766" y="225"/>
                </a:cubicBezTo>
                <a:cubicBezTo>
                  <a:pt x="766" y="225"/>
                  <a:pt x="766" y="225"/>
                  <a:pt x="766" y="225"/>
                </a:cubicBezTo>
                <a:cubicBezTo>
                  <a:pt x="766" y="225"/>
                  <a:pt x="766" y="225"/>
                  <a:pt x="766" y="225"/>
                </a:cubicBezTo>
                <a:cubicBezTo>
                  <a:pt x="766" y="225"/>
                  <a:pt x="766" y="225"/>
                  <a:pt x="766" y="225"/>
                </a:cubicBezTo>
                <a:cubicBezTo>
                  <a:pt x="766" y="225"/>
                  <a:pt x="766" y="225"/>
                  <a:pt x="766" y="225"/>
                </a:cubicBezTo>
                <a:cubicBezTo>
                  <a:pt x="766" y="225"/>
                  <a:pt x="766" y="225"/>
                  <a:pt x="766" y="225"/>
                </a:cubicBezTo>
                <a:cubicBezTo>
                  <a:pt x="766" y="225"/>
                  <a:pt x="766" y="225"/>
                  <a:pt x="766" y="225"/>
                </a:cubicBezTo>
                <a:cubicBezTo>
                  <a:pt x="766" y="225"/>
                  <a:pt x="766" y="225"/>
                  <a:pt x="766" y="225"/>
                </a:cubicBezTo>
                <a:cubicBezTo>
                  <a:pt x="766" y="226"/>
                  <a:pt x="766" y="226"/>
                  <a:pt x="766" y="226"/>
                </a:cubicBezTo>
                <a:cubicBezTo>
                  <a:pt x="766" y="226"/>
                  <a:pt x="766" y="226"/>
                  <a:pt x="766" y="226"/>
                </a:cubicBezTo>
                <a:cubicBezTo>
                  <a:pt x="765" y="227"/>
                  <a:pt x="765" y="227"/>
                  <a:pt x="765" y="227"/>
                </a:cubicBezTo>
                <a:cubicBezTo>
                  <a:pt x="765" y="227"/>
                  <a:pt x="765" y="227"/>
                  <a:pt x="765" y="227"/>
                </a:cubicBezTo>
                <a:cubicBezTo>
                  <a:pt x="765" y="227"/>
                  <a:pt x="765" y="227"/>
                  <a:pt x="765" y="227"/>
                </a:cubicBezTo>
                <a:cubicBezTo>
                  <a:pt x="765" y="227"/>
                  <a:pt x="765" y="227"/>
                  <a:pt x="765" y="227"/>
                </a:cubicBezTo>
                <a:cubicBezTo>
                  <a:pt x="765" y="227"/>
                  <a:pt x="765" y="227"/>
                  <a:pt x="765" y="227"/>
                </a:cubicBezTo>
                <a:cubicBezTo>
                  <a:pt x="765" y="227"/>
                  <a:pt x="765" y="227"/>
                  <a:pt x="765" y="227"/>
                </a:cubicBezTo>
                <a:cubicBezTo>
                  <a:pt x="766" y="227"/>
                  <a:pt x="766" y="227"/>
                  <a:pt x="766" y="227"/>
                </a:cubicBezTo>
                <a:cubicBezTo>
                  <a:pt x="766" y="227"/>
                  <a:pt x="766" y="227"/>
                  <a:pt x="766" y="227"/>
                </a:cubicBezTo>
                <a:cubicBezTo>
                  <a:pt x="766" y="227"/>
                  <a:pt x="766" y="227"/>
                  <a:pt x="766" y="227"/>
                </a:cubicBezTo>
                <a:cubicBezTo>
                  <a:pt x="766" y="227"/>
                  <a:pt x="766" y="227"/>
                  <a:pt x="766" y="227"/>
                </a:cubicBezTo>
                <a:cubicBezTo>
                  <a:pt x="765" y="228"/>
                  <a:pt x="765" y="228"/>
                  <a:pt x="765" y="228"/>
                </a:cubicBezTo>
                <a:cubicBezTo>
                  <a:pt x="765" y="228"/>
                  <a:pt x="765" y="228"/>
                  <a:pt x="765" y="228"/>
                </a:cubicBezTo>
                <a:cubicBezTo>
                  <a:pt x="765" y="228"/>
                  <a:pt x="765" y="228"/>
                  <a:pt x="765" y="228"/>
                </a:cubicBezTo>
                <a:cubicBezTo>
                  <a:pt x="764" y="229"/>
                  <a:pt x="764" y="229"/>
                  <a:pt x="764" y="229"/>
                </a:cubicBezTo>
                <a:cubicBezTo>
                  <a:pt x="764" y="229"/>
                  <a:pt x="764" y="229"/>
                  <a:pt x="764" y="229"/>
                </a:cubicBezTo>
                <a:cubicBezTo>
                  <a:pt x="764" y="229"/>
                  <a:pt x="764" y="229"/>
                  <a:pt x="764" y="229"/>
                </a:cubicBezTo>
                <a:cubicBezTo>
                  <a:pt x="764" y="229"/>
                  <a:pt x="764" y="229"/>
                  <a:pt x="764" y="229"/>
                </a:cubicBezTo>
                <a:cubicBezTo>
                  <a:pt x="765" y="228"/>
                  <a:pt x="765" y="228"/>
                  <a:pt x="765" y="228"/>
                </a:cubicBezTo>
                <a:cubicBezTo>
                  <a:pt x="765" y="228"/>
                  <a:pt x="765" y="228"/>
                  <a:pt x="765" y="228"/>
                </a:cubicBezTo>
                <a:cubicBezTo>
                  <a:pt x="765" y="227"/>
                  <a:pt x="764" y="227"/>
                  <a:pt x="765" y="226"/>
                </a:cubicBezTo>
                <a:cubicBezTo>
                  <a:pt x="765" y="226"/>
                  <a:pt x="765" y="226"/>
                  <a:pt x="765" y="226"/>
                </a:cubicBezTo>
                <a:cubicBezTo>
                  <a:pt x="765" y="226"/>
                  <a:pt x="765" y="226"/>
                  <a:pt x="765" y="226"/>
                </a:cubicBezTo>
                <a:cubicBezTo>
                  <a:pt x="765" y="226"/>
                  <a:pt x="765" y="226"/>
                  <a:pt x="765" y="226"/>
                </a:cubicBezTo>
                <a:cubicBezTo>
                  <a:pt x="765" y="225"/>
                  <a:pt x="765" y="226"/>
                  <a:pt x="765" y="225"/>
                </a:cubicBezTo>
                <a:cubicBezTo>
                  <a:pt x="765" y="225"/>
                  <a:pt x="765" y="225"/>
                  <a:pt x="765" y="225"/>
                </a:cubicBezTo>
                <a:cubicBezTo>
                  <a:pt x="765" y="225"/>
                  <a:pt x="765" y="225"/>
                  <a:pt x="765" y="225"/>
                </a:cubicBezTo>
                <a:cubicBezTo>
                  <a:pt x="765" y="225"/>
                  <a:pt x="765" y="225"/>
                  <a:pt x="765" y="225"/>
                </a:cubicBezTo>
                <a:cubicBezTo>
                  <a:pt x="765" y="225"/>
                  <a:pt x="765" y="225"/>
                  <a:pt x="765" y="225"/>
                </a:cubicBezTo>
                <a:cubicBezTo>
                  <a:pt x="765" y="225"/>
                  <a:pt x="765" y="225"/>
                  <a:pt x="765" y="225"/>
                </a:cubicBezTo>
                <a:cubicBezTo>
                  <a:pt x="765" y="225"/>
                  <a:pt x="765" y="225"/>
                  <a:pt x="765" y="225"/>
                </a:cubicBezTo>
                <a:cubicBezTo>
                  <a:pt x="765" y="225"/>
                  <a:pt x="765" y="225"/>
                  <a:pt x="765" y="225"/>
                </a:cubicBezTo>
                <a:cubicBezTo>
                  <a:pt x="765" y="225"/>
                  <a:pt x="765" y="225"/>
                  <a:pt x="765" y="225"/>
                </a:cubicBezTo>
                <a:cubicBezTo>
                  <a:pt x="765" y="225"/>
                  <a:pt x="765" y="225"/>
                  <a:pt x="765" y="225"/>
                </a:cubicBezTo>
                <a:cubicBezTo>
                  <a:pt x="765" y="225"/>
                  <a:pt x="765" y="225"/>
                  <a:pt x="765" y="225"/>
                </a:cubicBezTo>
                <a:cubicBezTo>
                  <a:pt x="765" y="225"/>
                  <a:pt x="765" y="225"/>
                  <a:pt x="765" y="225"/>
                </a:cubicBezTo>
                <a:cubicBezTo>
                  <a:pt x="765" y="225"/>
                  <a:pt x="765" y="225"/>
                  <a:pt x="765" y="225"/>
                </a:cubicBezTo>
                <a:cubicBezTo>
                  <a:pt x="765" y="225"/>
                  <a:pt x="765" y="225"/>
                  <a:pt x="765" y="225"/>
                </a:cubicBezTo>
                <a:cubicBezTo>
                  <a:pt x="765" y="225"/>
                  <a:pt x="765" y="225"/>
                  <a:pt x="765" y="225"/>
                </a:cubicBezTo>
                <a:cubicBezTo>
                  <a:pt x="765" y="225"/>
                  <a:pt x="765" y="225"/>
                  <a:pt x="765" y="225"/>
                </a:cubicBezTo>
                <a:cubicBezTo>
                  <a:pt x="765" y="225"/>
                  <a:pt x="765" y="225"/>
                  <a:pt x="765" y="225"/>
                </a:cubicBezTo>
                <a:cubicBezTo>
                  <a:pt x="765" y="225"/>
                  <a:pt x="765" y="225"/>
                  <a:pt x="765" y="225"/>
                </a:cubicBezTo>
                <a:cubicBezTo>
                  <a:pt x="765" y="224"/>
                  <a:pt x="765" y="224"/>
                  <a:pt x="765" y="224"/>
                </a:cubicBezTo>
                <a:cubicBezTo>
                  <a:pt x="765" y="224"/>
                  <a:pt x="765" y="224"/>
                  <a:pt x="765" y="224"/>
                </a:cubicBezTo>
                <a:cubicBezTo>
                  <a:pt x="765" y="224"/>
                  <a:pt x="765" y="224"/>
                  <a:pt x="765" y="224"/>
                </a:cubicBezTo>
                <a:cubicBezTo>
                  <a:pt x="765" y="224"/>
                  <a:pt x="765" y="224"/>
                  <a:pt x="765" y="224"/>
                </a:cubicBezTo>
                <a:cubicBezTo>
                  <a:pt x="765" y="224"/>
                  <a:pt x="765" y="224"/>
                  <a:pt x="765" y="224"/>
                </a:cubicBezTo>
                <a:cubicBezTo>
                  <a:pt x="764" y="224"/>
                  <a:pt x="764" y="224"/>
                  <a:pt x="764" y="224"/>
                </a:cubicBezTo>
                <a:cubicBezTo>
                  <a:pt x="764" y="224"/>
                  <a:pt x="764" y="224"/>
                  <a:pt x="764" y="224"/>
                </a:cubicBezTo>
                <a:cubicBezTo>
                  <a:pt x="764" y="224"/>
                  <a:pt x="764" y="224"/>
                  <a:pt x="764" y="224"/>
                </a:cubicBezTo>
                <a:cubicBezTo>
                  <a:pt x="764" y="224"/>
                  <a:pt x="764" y="224"/>
                  <a:pt x="764" y="224"/>
                </a:cubicBezTo>
                <a:cubicBezTo>
                  <a:pt x="764" y="224"/>
                  <a:pt x="764" y="224"/>
                  <a:pt x="764" y="224"/>
                </a:cubicBezTo>
                <a:cubicBezTo>
                  <a:pt x="764" y="224"/>
                  <a:pt x="764" y="224"/>
                  <a:pt x="764" y="224"/>
                </a:cubicBezTo>
                <a:cubicBezTo>
                  <a:pt x="764" y="224"/>
                  <a:pt x="764" y="224"/>
                  <a:pt x="764" y="224"/>
                </a:cubicBezTo>
                <a:cubicBezTo>
                  <a:pt x="764" y="224"/>
                  <a:pt x="764" y="224"/>
                  <a:pt x="764" y="224"/>
                </a:cubicBezTo>
                <a:cubicBezTo>
                  <a:pt x="764" y="224"/>
                  <a:pt x="764" y="224"/>
                  <a:pt x="764" y="224"/>
                </a:cubicBezTo>
                <a:cubicBezTo>
                  <a:pt x="764" y="224"/>
                  <a:pt x="764" y="224"/>
                  <a:pt x="764" y="224"/>
                </a:cubicBezTo>
                <a:cubicBezTo>
                  <a:pt x="764" y="224"/>
                  <a:pt x="764" y="224"/>
                  <a:pt x="764" y="224"/>
                </a:cubicBezTo>
                <a:cubicBezTo>
                  <a:pt x="764" y="224"/>
                  <a:pt x="764" y="224"/>
                  <a:pt x="764" y="224"/>
                </a:cubicBezTo>
                <a:cubicBezTo>
                  <a:pt x="764" y="224"/>
                  <a:pt x="764" y="224"/>
                  <a:pt x="764" y="224"/>
                </a:cubicBezTo>
                <a:cubicBezTo>
                  <a:pt x="764" y="224"/>
                  <a:pt x="764" y="224"/>
                  <a:pt x="764" y="224"/>
                </a:cubicBezTo>
                <a:cubicBezTo>
                  <a:pt x="764" y="224"/>
                  <a:pt x="764" y="224"/>
                  <a:pt x="764" y="224"/>
                </a:cubicBezTo>
                <a:cubicBezTo>
                  <a:pt x="764" y="223"/>
                  <a:pt x="764" y="223"/>
                  <a:pt x="764" y="223"/>
                </a:cubicBezTo>
                <a:cubicBezTo>
                  <a:pt x="764" y="223"/>
                  <a:pt x="764" y="223"/>
                  <a:pt x="764" y="223"/>
                </a:cubicBezTo>
                <a:cubicBezTo>
                  <a:pt x="764" y="223"/>
                  <a:pt x="764" y="223"/>
                  <a:pt x="764" y="223"/>
                </a:cubicBezTo>
                <a:cubicBezTo>
                  <a:pt x="764" y="223"/>
                  <a:pt x="764" y="223"/>
                  <a:pt x="764" y="223"/>
                </a:cubicBezTo>
                <a:cubicBezTo>
                  <a:pt x="763" y="223"/>
                  <a:pt x="763" y="223"/>
                  <a:pt x="763" y="223"/>
                </a:cubicBezTo>
                <a:cubicBezTo>
                  <a:pt x="763" y="223"/>
                  <a:pt x="763" y="223"/>
                  <a:pt x="763" y="223"/>
                </a:cubicBezTo>
                <a:cubicBezTo>
                  <a:pt x="763" y="223"/>
                  <a:pt x="763" y="223"/>
                  <a:pt x="763" y="223"/>
                </a:cubicBezTo>
                <a:cubicBezTo>
                  <a:pt x="763" y="223"/>
                  <a:pt x="763" y="223"/>
                  <a:pt x="763" y="223"/>
                </a:cubicBezTo>
                <a:cubicBezTo>
                  <a:pt x="763" y="223"/>
                  <a:pt x="763" y="223"/>
                  <a:pt x="763" y="223"/>
                </a:cubicBezTo>
                <a:cubicBezTo>
                  <a:pt x="763" y="223"/>
                  <a:pt x="763" y="223"/>
                  <a:pt x="763" y="223"/>
                </a:cubicBezTo>
                <a:cubicBezTo>
                  <a:pt x="763" y="223"/>
                  <a:pt x="763" y="223"/>
                  <a:pt x="763" y="223"/>
                </a:cubicBezTo>
                <a:cubicBezTo>
                  <a:pt x="763" y="223"/>
                  <a:pt x="763" y="223"/>
                  <a:pt x="763" y="223"/>
                </a:cubicBezTo>
                <a:cubicBezTo>
                  <a:pt x="763" y="223"/>
                  <a:pt x="763" y="223"/>
                  <a:pt x="763" y="223"/>
                </a:cubicBezTo>
                <a:cubicBezTo>
                  <a:pt x="762" y="223"/>
                  <a:pt x="763" y="222"/>
                  <a:pt x="762" y="222"/>
                </a:cubicBezTo>
                <a:cubicBezTo>
                  <a:pt x="762" y="222"/>
                  <a:pt x="762" y="222"/>
                  <a:pt x="762" y="222"/>
                </a:cubicBezTo>
                <a:cubicBezTo>
                  <a:pt x="762" y="222"/>
                  <a:pt x="762" y="222"/>
                  <a:pt x="762" y="222"/>
                </a:cubicBezTo>
                <a:cubicBezTo>
                  <a:pt x="762" y="222"/>
                  <a:pt x="762" y="222"/>
                  <a:pt x="762" y="222"/>
                </a:cubicBezTo>
                <a:cubicBezTo>
                  <a:pt x="762" y="222"/>
                  <a:pt x="762" y="222"/>
                  <a:pt x="762" y="222"/>
                </a:cubicBezTo>
                <a:cubicBezTo>
                  <a:pt x="762" y="222"/>
                  <a:pt x="762" y="222"/>
                  <a:pt x="762" y="222"/>
                </a:cubicBezTo>
                <a:cubicBezTo>
                  <a:pt x="762" y="222"/>
                  <a:pt x="762" y="222"/>
                  <a:pt x="762" y="222"/>
                </a:cubicBezTo>
                <a:cubicBezTo>
                  <a:pt x="762" y="222"/>
                  <a:pt x="762" y="222"/>
                  <a:pt x="762" y="222"/>
                </a:cubicBezTo>
                <a:cubicBezTo>
                  <a:pt x="762" y="222"/>
                  <a:pt x="762" y="222"/>
                  <a:pt x="762" y="222"/>
                </a:cubicBezTo>
                <a:cubicBezTo>
                  <a:pt x="761" y="222"/>
                  <a:pt x="761" y="222"/>
                  <a:pt x="761" y="222"/>
                </a:cubicBezTo>
                <a:cubicBezTo>
                  <a:pt x="761" y="222"/>
                  <a:pt x="761" y="222"/>
                  <a:pt x="761" y="222"/>
                </a:cubicBezTo>
                <a:cubicBezTo>
                  <a:pt x="761" y="222"/>
                  <a:pt x="761" y="222"/>
                  <a:pt x="761" y="222"/>
                </a:cubicBezTo>
                <a:cubicBezTo>
                  <a:pt x="761" y="222"/>
                  <a:pt x="761" y="222"/>
                  <a:pt x="761" y="222"/>
                </a:cubicBezTo>
                <a:cubicBezTo>
                  <a:pt x="761" y="222"/>
                  <a:pt x="761" y="222"/>
                  <a:pt x="761" y="222"/>
                </a:cubicBezTo>
                <a:cubicBezTo>
                  <a:pt x="761" y="222"/>
                  <a:pt x="761" y="222"/>
                  <a:pt x="761" y="222"/>
                </a:cubicBezTo>
                <a:cubicBezTo>
                  <a:pt x="761" y="221"/>
                  <a:pt x="761" y="221"/>
                  <a:pt x="761" y="221"/>
                </a:cubicBezTo>
                <a:cubicBezTo>
                  <a:pt x="761" y="221"/>
                  <a:pt x="761" y="221"/>
                  <a:pt x="761" y="221"/>
                </a:cubicBezTo>
                <a:cubicBezTo>
                  <a:pt x="761" y="221"/>
                  <a:pt x="761" y="221"/>
                  <a:pt x="761" y="221"/>
                </a:cubicBezTo>
                <a:cubicBezTo>
                  <a:pt x="761" y="221"/>
                  <a:pt x="761" y="221"/>
                  <a:pt x="761" y="221"/>
                </a:cubicBezTo>
                <a:cubicBezTo>
                  <a:pt x="761" y="222"/>
                  <a:pt x="761" y="222"/>
                  <a:pt x="761" y="222"/>
                </a:cubicBezTo>
                <a:cubicBezTo>
                  <a:pt x="760" y="222"/>
                  <a:pt x="760" y="222"/>
                  <a:pt x="760" y="222"/>
                </a:cubicBezTo>
                <a:cubicBezTo>
                  <a:pt x="759" y="224"/>
                  <a:pt x="759" y="224"/>
                  <a:pt x="759" y="224"/>
                </a:cubicBezTo>
                <a:cubicBezTo>
                  <a:pt x="759" y="224"/>
                  <a:pt x="759" y="224"/>
                  <a:pt x="759" y="224"/>
                </a:cubicBezTo>
                <a:cubicBezTo>
                  <a:pt x="759" y="225"/>
                  <a:pt x="759" y="225"/>
                  <a:pt x="759" y="225"/>
                </a:cubicBezTo>
                <a:cubicBezTo>
                  <a:pt x="759" y="225"/>
                  <a:pt x="759" y="225"/>
                  <a:pt x="759" y="225"/>
                </a:cubicBezTo>
                <a:cubicBezTo>
                  <a:pt x="758" y="225"/>
                  <a:pt x="758" y="225"/>
                  <a:pt x="758" y="225"/>
                </a:cubicBezTo>
                <a:cubicBezTo>
                  <a:pt x="758" y="225"/>
                  <a:pt x="758" y="225"/>
                  <a:pt x="758" y="225"/>
                </a:cubicBezTo>
                <a:cubicBezTo>
                  <a:pt x="758" y="225"/>
                  <a:pt x="758" y="225"/>
                  <a:pt x="758" y="225"/>
                </a:cubicBezTo>
                <a:cubicBezTo>
                  <a:pt x="758" y="225"/>
                  <a:pt x="758" y="225"/>
                  <a:pt x="758" y="226"/>
                </a:cubicBezTo>
                <a:cubicBezTo>
                  <a:pt x="758" y="226"/>
                  <a:pt x="758" y="226"/>
                  <a:pt x="758" y="226"/>
                </a:cubicBezTo>
                <a:cubicBezTo>
                  <a:pt x="758" y="226"/>
                  <a:pt x="758" y="226"/>
                  <a:pt x="758" y="226"/>
                </a:cubicBezTo>
                <a:cubicBezTo>
                  <a:pt x="758" y="226"/>
                  <a:pt x="758" y="226"/>
                  <a:pt x="758" y="226"/>
                </a:cubicBezTo>
                <a:cubicBezTo>
                  <a:pt x="758" y="226"/>
                  <a:pt x="758" y="226"/>
                  <a:pt x="758" y="226"/>
                </a:cubicBezTo>
                <a:cubicBezTo>
                  <a:pt x="758" y="226"/>
                  <a:pt x="758" y="226"/>
                  <a:pt x="758" y="226"/>
                </a:cubicBezTo>
                <a:cubicBezTo>
                  <a:pt x="758" y="226"/>
                  <a:pt x="758" y="226"/>
                  <a:pt x="758" y="226"/>
                </a:cubicBezTo>
                <a:cubicBezTo>
                  <a:pt x="758" y="226"/>
                  <a:pt x="758" y="226"/>
                  <a:pt x="758" y="226"/>
                </a:cubicBezTo>
                <a:cubicBezTo>
                  <a:pt x="758" y="226"/>
                  <a:pt x="758" y="226"/>
                  <a:pt x="758" y="226"/>
                </a:cubicBezTo>
                <a:cubicBezTo>
                  <a:pt x="758" y="226"/>
                  <a:pt x="758" y="226"/>
                  <a:pt x="758" y="226"/>
                </a:cubicBezTo>
                <a:cubicBezTo>
                  <a:pt x="758" y="226"/>
                  <a:pt x="758" y="226"/>
                  <a:pt x="758" y="226"/>
                </a:cubicBezTo>
                <a:cubicBezTo>
                  <a:pt x="758" y="227"/>
                  <a:pt x="758" y="227"/>
                  <a:pt x="758" y="227"/>
                </a:cubicBezTo>
                <a:cubicBezTo>
                  <a:pt x="758" y="227"/>
                  <a:pt x="758" y="227"/>
                  <a:pt x="758" y="227"/>
                </a:cubicBezTo>
                <a:cubicBezTo>
                  <a:pt x="758" y="227"/>
                  <a:pt x="758" y="227"/>
                  <a:pt x="758" y="227"/>
                </a:cubicBezTo>
                <a:cubicBezTo>
                  <a:pt x="758" y="227"/>
                  <a:pt x="758" y="227"/>
                  <a:pt x="758" y="227"/>
                </a:cubicBezTo>
                <a:cubicBezTo>
                  <a:pt x="758" y="227"/>
                  <a:pt x="758" y="227"/>
                  <a:pt x="758" y="227"/>
                </a:cubicBezTo>
                <a:cubicBezTo>
                  <a:pt x="757" y="227"/>
                  <a:pt x="757" y="227"/>
                  <a:pt x="757" y="227"/>
                </a:cubicBezTo>
                <a:cubicBezTo>
                  <a:pt x="749" y="230"/>
                  <a:pt x="749" y="230"/>
                  <a:pt x="749" y="230"/>
                </a:cubicBezTo>
                <a:cubicBezTo>
                  <a:pt x="749" y="231"/>
                  <a:pt x="749" y="231"/>
                  <a:pt x="748" y="232"/>
                </a:cubicBezTo>
                <a:cubicBezTo>
                  <a:pt x="748" y="232"/>
                  <a:pt x="748" y="232"/>
                  <a:pt x="748" y="232"/>
                </a:cubicBezTo>
                <a:cubicBezTo>
                  <a:pt x="748" y="232"/>
                  <a:pt x="748" y="232"/>
                  <a:pt x="748" y="232"/>
                </a:cubicBezTo>
                <a:cubicBezTo>
                  <a:pt x="748" y="232"/>
                  <a:pt x="748" y="233"/>
                  <a:pt x="748" y="233"/>
                </a:cubicBezTo>
                <a:cubicBezTo>
                  <a:pt x="748" y="233"/>
                  <a:pt x="748" y="233"/>
                  <a:pt x="748" y="233"/>
                </a:cubicBezTo>
                <a:cubicBezTo>
                  <a:pt x="748" y="233"/>
                  <a:pt x="748" y="233"/>
                  <a:pt x="748" y="233"/>
                </a:cubicBezTo>
                <a:cubicBezTo>
                  <a:pt x="748" y="233"/>
                  <a:pt x="748" y="233"/>
                  <a:pt x="748" y="233"/>
                </a:cubicBezTo>
                <a:cubicBezTo>
                  <a:pt x="748" y="233"/>
                  <a:pt x="748" y="233"/>
                  <a:pt x="748" y="233"/>
                </a:cubicBezTo>
                <a:cubicBezTo>
                  <a:pt x="748" y="233"/>
                  <a:pt x="748" y="233"/>
                  <a:pt x="748" y="234"/>
                </a:cubicBezTo>
                <a:cubicBezTo>
                  <a:pt x="748" y="234"/>
                  <a:pt x="748" y="234"/>
                  <a:pt x="748" y="234"/>
                </a:cubicBezTo>
                <a:cubicBezTo>
                  <a:pt x="748" y="234"/>
                  <a:pt x="748" y="234"/>
                  <a:pt x="748" y="234"/>
                </a:cubicBezTo>
                <a:cubicBezTo>
                  <a:pt x="748" y="234"/>
                  <a:pt x="748" y="234"/>
                  <a:pt x="748" y="234"/>
                </a:cubicBezTo>
                <a:cubicBezTo>
                  <a:pt x="748" y="234"/>
                  <a:pt x="748" y="234"/>
                  <a:pt x="748" y="234"/>
                </a:cubicBezTo>
                <a:cubicBezTo>
                  <a:pt x="747" y="234"/>
                  <a:pt x="747" y="234"/>
                  <a:pt x="747" y="234"/>
                </a:cubicBezTo>
                <a:cubicBezTo>
                  <a:pt x="747" y="234"/>
                  <a:pt x="747" y="234"/>
                  <a:pt x="747" y="234"/>
                </a:cubicBezTo>
                <a:cubicBezTo>
                  <a:pt x="747" y="234"/>
                  <a:pt x="747" y="234"/>
                  <a:pt x="747" y="234"/>
                </a:cubicBezTo>
                <a:cubicBezTo>
                  <a:pt x="747" y="235"/>
                  <a:pt x="747" y="235"/>
                  <a:pt x="747" y="235"/>
                </a:cubicBezTo>
                <a:cubicBezTo>
                  <a:pt x="747" y="234"/>
                  <a:pt x="747" y="234"/>
                  <a:pt x="747" y="234"/>
                </a:cubicBezTo>
                <a:cubicBezTo>
                  <a:pt x="748" y="234"/>
                  <a:pt x="748" y="234"/>
                  <a:pt x="748" y="234"/>
                </a:cubicBezTo>
                <a:cubicBezTo>
                  <a:pt x="748" y="233"/>
                  <a:pt x="748" y="233"/>
                  <a:pt x="748" y="233"/>
                </a:cubicBezTo>
                <a:cubicBezTo>
                  <a:pt x="748" y="233"/>
                  <a:pt x="748" y="233"/>
                  <a:pt x="747" y="233"/>
                </a:cubicBezTo>
                <a:cubicBezTo>
                  <a:pt x="747" y="232"/>
                  <a:pt x="747" y="232"/>
                  <a:pt x="747" y="232"/>
                </a:cubicBezTo>
                <a:cubicBezTo>
                  <a:pt x="747" y="232"/>
                  <a:pt x="747" y="232"/>
                  <a:pt x="747" y="232"/>
                </a:cubicBezTo>
                <a:cubicBezTo>
                  <a:pt x="747" y="232"/>
                  <a:pt x="747" y="232"/>
                  <a:pt x="747" y="232"/>
                </a:cubicBezTo>
                <a:cubicBezTo>
                  <a:pt x="747" y="232"/>
                  <a:pt x="747" y="232"/>
                  <a:pt x="747" y="232"/>
                </a:cubicBezTo>
                <a:cubicBezTo>
                  <a:pt x="747" y="232"/>
                  <a:pt x="747" y="232"/>
                  <a:pt x="748" y="231"/>
                </a:cubicBezTo>
                <a:cubicBezTo>
                  <a:pt x="748" y="231"/>
                  <a:pt x="748" y="231"/>
                  <a:pt x="748" y="231"/>
                </a:cubicBezTo>
                <a:cubicBezTo>
                  <a:pt x="748" y="231"/>
                  <a:pt x="748" y="231"/>
                  <a:pt x="748" y="231"/>
                </a:cubicBezTo>
                <a:cubicBezTo>
                  <a:pt x="748" y="231"/>
                  <a:pt x="748" y="231"/>
                  <a:pt x="748" y="231"/>
                </a:cubicBezTo>
                <a:cubicBezTo>
                  <a:pt x="748" y="231"/>
                  <a:pt x="748" y="231"/>
                  <a:pt x="748" y="231"/>
                </a:cubicBezTo>
                <a:cubicBezTo>
                  <a:pt x="748" y="231"/>
                  <a:pt x="748" y="231"/>
                  <a:pt x="748" y="231"/>
                </a:cubicBezTo>
                <a:cubicBezTo>
                  <a:pt x="748" y="231"/>
                  <a:pt x="748" y="231"/>
                  <a:pt x="748" y="231"/>
                </a:cubicBezTo>
                <a:cubicBezTo>
                  <a:pt x="748" y="231"/>
                  <a:pt x="748" y="231"/>
                  <a:pt x="748" y="231"/>
                </a:cubicBezTo>
                <a:cubicBezTo>
                  <a:pt x="748" y="231"/>
                  <a:pt x="748" y="231"/>
                  <a:pt x="748" y="231"/>
                </a:cubicBezTo>
                <a:cubicBezTo>
                  <a:pt x="748" y="231"/>
                  <a:pt x="748" y="231"/>
                  <a:pt x="748" y="231"/>
                </a:cubicBezTo>
                <a:cubicBezTo>
                  <a:pt x="748" y="231"/>
                  <a:pt x="748" y="231"/>
                  <a:pt x="748" y="231"/>
                </a:cubicBezTo>
                <a:cubicBezTo>
                  <a:pt x="748" y="231"/>
                  <a:pt x="748" y="231"/>
                  <a:pt x="748" y="231"/>
                </a:cubicBezTo>
                <a:cubicBezTo>
                  <a:pt x="748" y="230"/>
                  <a:pt x="748" y="230"/>
                  <a:pt x="748" y="230"/>
                </a:cubicBezTo>
                <a:cubicBezTo>
                  <a:pt x="748" y="230"/>
                  <a:pt x="748" y="230"/>
                  <a:pt x="748" y="230"/>
                </a:cubicBezTo>
                <a:cubicBezTo>
                  <a:pt x="748" y="230"/>
                  <a:pt x="748" y="230"/>
                  <a:pt x="748" y="230"/>
                </a:cubicBezTo>
                <a:cubicBezTo>
                  <a:pt x="748" y="230"/>
                  <a:pt x="748" y="230"/>
                  <a:pt x="748" y="230"/>
                </a:cubicBezTo>
                <a:cubicBezTo>
                  <a:pt x="747" y="229"/>
                  <a:pt x="747" y="229"/>
                  <a:pt x="747" y="229"/>
                </a:cubicBezTo>
                <a:cubicBezTo>
                  <a:pt x="747" y="229"/>
                  <a:pt x="747" y="229"/>
                  <a:pt x="747" y="229"/>
                </a:cubicBezTo>
                <a:cubicBezTo>
                  <a:pt x="747" y="229"/>
                  <a:pt x="747" y="229"/>
                  <a:pt x="747" y="229"/>
                </a:cubicBezTo>
                <a:cubicBezTo>
                  <a:pt x="747" y="229"/>
                  <a:pt x="747" y="229"/>
                  <a:pt x="747" y="229"/>
                </a:cubicBezTo>
                <a:cubicBezTo>
                  <a:pt x="748" y="229"/>
                  <a:pt x="747" y="229"/>
                  <a:pt x="748" y="228"/>
                </a:cubicBezTo>
                <a:cubicBezTo>
                  <a:pt x="748" y="228"/>
                  <a:pt x="748" y="228"/>
                  <a:pt x="748" y="228"/>
                </a:cubicBezTo>
                <a:cubicBezTo>
                  <a:pt x="748" y="228"/>
                  <a:pt x="748" y="228"/>
                  <a:pt x="748" y="228"/>
                </a:cubicBezTo>
                <a:cubicBezTo>
                  <a:pt x="747" y="228"/>
                  <a:pt x="747" y="228"/>
                  <a:pt x="747" y="228"/>
                </a:cubicBezTo>
                <a:cubicBezTo>
                  <a:pt x="747" y="228"/>
                  <a:pt x="747" y="228"/>
                  <a:pt x="747" y="228"/>
                </a:cubicBezTo>
                <a:cubicBezTo>
                  <a:pt x="746" y="228"/>
                  <a:pt x="746" y="228"/>
                  <a:pt x="746" y="228"/>
                </a:cubicBezTo>
                <a:cubicBezTo>
                  <a:pt x="746" y="228"/>
                  <a:pt x="746" y="228"/>
                  <a:pt x="746" y="228"/>
                </a:cubicBezTo>
                <a:cubicBezTo>
                  <a:pt x="746" y="228"/>
                  <a:pt x="746" y="228"/>
                  <a:pt x="746" y="228"/>
                </a:cubicBezTo>
                <a:cubicBezTo>
                  <a:pt x="746" y="229"/>
                  <a:pt x="746" y="229"/>
                  <a:pt x="746" y="229"/>
                </a:cubicBezTo>
                <a:cubicBezTo>
                  <a:pt x="746" y="229"/>
                  <a:pt x="746" y="229"/>
                  <a:pt x="746" y="229"/>
                </a:cubicBezTo>
                <a:cubicBezTo>
                  <a:pt x="746" y="229"/>
                  <a:pt x="746" y="229"/>
                  <a:pt x="746" y="229"/>
                </a:cubicBezTo>
                <a:cubicBezTo>
                  <a:pt x="746" y="229"/>
                  <a:pt x="746" y="229"/>
                  <a:pt x="746" y="229"/>
                </a:cubicBezTo>
                <a:cubicBezTo>
                  <a:pt x="746" y="229"/>
                  <a:pt x="746" y="229"/>
                  <a:pt x="746" y="229"/>
                </a:cubicBezTo>
                <a:cubicBezTo>
                  <a:pt x="746" y="229"/>
                  <a:pt x="746" y="229"/>
                  <a:pt x="746" y="229"/>
                </a:cubicBezTo>
                <a:cubicBezTo>
                  <a:pt x="746" y="229"/>
                  <a:pt x="746" y="229"/>
                  <a:pt x="746" y="229"/>
                </a:cubicBezTo>
                <a:cubicBezTo>
                  <a:pt x="746" y="230"/>
                  <a:pt x="746" y="230"/>
                  <a:pt x="746" y="230"/>
                </a:cubicBezTo>
                <a:cubicBezTo>
                  <a:pt x="746" y="230"/>
                  <a:pt x="746" y="230"/>
                  <a:pt x="746" y="230"/>
                </a:cubicBezTo>
                <a:cubicBezTo>
                  <a:pt x="746" y="230"/>
                  <a:pt x="746" y="230"/>
                  <a:pt x="746" y="230"/>
                </a:cubicBezTo>
                <a:cubicBezTo>
                  <a:pt x="746" y="230"/>
                  <a:pt x="746" y="230"/>
                  <a:pt x="746" y="230"/>
                </a:cubicBezTo>
                <a:cubicBezTo>
                  <a:pt x="746" y="230"/>
                  <a:pt x="746" y="230"/>
                  <a:pt x="746" y="230"/>
                </a:cubicBezTo>
                <a:cubicBezTo>
                  <a:pt x="746" y="230"/>
                  <a:pt x="746" y="230"/>
                  <a:pt x="746" y="230"/>
                </a:cubicBezTo>
                <a:cubicBezTo>
                  <a:pt x="746" y="230"/>
                  <a:pt x="746" y="230"/>
                  <a:pt x="746" y="230"/>
                </a:cubicBezTo>
                <a:cubicBezTo>
                  <a:pt x="746" y="230"/>
                  <a:pt x="746" y="230"/>
                  <a:pt x="746" y="230"/>
                </a:cubicBezTo>
                <a:cubicBezTo>
                  <a:pt x="746" y="230"/>
                  <a:pt x="746" y="230"/>
                  <a:pt x="746" y="230"/>
                </a:cubicBezTo>
                <a:cubicBezTo>
                  <a:pt x="746" y="230"/>
                  <a:pt x="746" y="230"/>
                  <a:pt x="746" y="230"/>
                </a:cubicBezTo>
                <a:cubicBezTo>
                  <a:pt x="746" y="231"/>
                  <a:pt x="746" y="231"/>
                  <a:pt x="746" y="231"/>
                </a:cubicBezTo>
                <a:cubicBezTo>
                  <a:pt x="746" y="231"/>
                  <a:pt x="746" y="231"/>
                  <a:pt x="746" y="231"/>
                </a:cubicBezTo>
                <a:cubicBezTo>
                  <a:pt x="746" y="231"/>
                  <a:pt x="746" y="231"/>
                  <a:pt x="746" y="231"/>
                </a:cubicBezTo>
                <a:cubicBezTo>
                  <a:pt x="746" y="231"/>
                  <a:pt x="746" y="231"/>
                  <a:pt x="746" y="231"/>
                </a:cubicBezTo>
                <a:cubicBezTo>
                  <a:pt x="746" y="231"/>
                  <a:pt x="746" y="231"/>
                  <a:pt x="746" y="231"/>
                </a:cubicBezTo>
                <a:cubicBezTo>
                  <a:pt x="745" y="231"/>
                  <a:pt x="745" y="231"/>
                  <a:pt x="745" y="231"/>
                </a:cubicBezTo>
                <a:cubicBezTo>
                  <a:pt x="745" y="231"/>
                  <a:pt x="745" y="231"/>
                  <a:pt x="745" y="231"/>
                </a:cubicBezTo>
                <a:cubicBezTo>
                  <a:pt x="745" y="231"/>
                  <a:pt x="745" y="231"/>
                  <a:pt x="745" y="231"/>
                </a:cubicBezTo>
                <a:cubicBezTo>
                  <a:pt x="745" y="231"/>
                  <a:pt x="745" y="231"/>
                  <a:pt x="745" y="231"/>
                </a:cubicBezTo>
                <a:cubicBezTo>
                  <a:pt x="745" y="231"/>
                  <a:pt x="745" y="231"/>
                  <a:pt x="745" y="231"/>
                </a:cubicBezTo>
                <a:cubicBezTo>
                  <a:pt x="745" y="231"/>
                  <a:pt x="745" y="231"/>
                  <a:pt x="745" y="231"/>
                </a:cubicBezTo>
                <a:cubicBezTo>
                  <a:pt x="745" y="231"/>
                  <a:pt x="745" y="231"/>
                  <a:pt x="745" y="231"/>
                </a:cubicBezTo>
                <a:cubicBezTo>
                  <a:pt x="745" y="231"/>
                  <a:pt x="745" y="231"/>
                  <a:pt x="745" y="231"/>
                </a:cubicBezTo>
                <a:cubicBezTo>
                  <a:pt x="745" y="231"/>
                  <a:pt x="745" y="231"/>
                  <a:pt x="745" y="232"/>
                </a:cubicBezTo>
                <a:cubicBezTo>
                  <a:pt x="745" y="232"/>
                  <a:pt x="745" y="232"/>
                  <a:pt x="745" y="232"/>
                </a:cubicBezTo>
                <a:cubicBezTo>
                  <a:pt x="744" y="232"/>
                  <a:pt x="744" y="232"/>
                  <a:pt x="744" y="232"/>
                </a:cubicBezTo>
                <a:cubicBezTo>
                  <a:pt x="744" y="232"/>
                  <a:pt x="744" y="232"/>
                  <a:pt x="744" y="232"/>
                </a:cubicBezTo>
                <a:cubicBezTo>
                  <a:pt x="744" y="232"/>
                  <a:pt x="744" y="232"/>
                  <a:pt x="744" y="232"/>
                </a:cubicBezTo>
                <a:cubicBezTo>
                  <a:pt x="744" y="232"/>
                  <a:pt x="744" y="232"/>
                  <a:pt x="744" y="232"/>
                </a:cubicBezTo>
                <a:cubicBezTo>
                  <a:pt x="744" y="232"/>
                  <a:pt x="744" y="232"/>
                  <a:pt x="744" y="232"/>
                </a:cubicBezTo>
                <a:cubicBezTo>
                  <a:pt x="744" y="232"/>
                  <a:pt x="744" y="232"/>
                  <a:pt x="744" y="232"/>
                </a:cubicBezTo>
                <a:cubicBezTo>
                  <a:pt x="744" y="232"/>
                  <a:pt x="744" y="233"/>
                  <a:pt x="743" y="233"/>
                </a:cubicBezTo>
                <a:cubicBezTo>
                  <a:pt x="743" y="233"/>
                  <a:pt x="743" y="233"/>
                  <a:pt x="743" y="233"/>
                </a:cubicBezTo>
                <a:cubicBezTo>
                  <a:pt x="743" y="233"/>
                  <a:pt x="743" y="233"/>
                  <a:pt x="743" y="233"/>
                </a:cubicBezTo>
                <a:cubicBezTo>
                  <a:pt x="743" y="233"/>
                  <a:pt x="743" y="233"/>
                  <a:pt x="743" y="233"/>
                </a:cubicBezTo>
                <a:cubicBezTo>
                  <a:pt x="743" y="233"/>
                  <a:pt x="743" y="233"/>
                  <a:pt x="743" y="233"/>
                </a:cubicBezTo>
                <a:cubicBezTo>
                  <a:pt x="743" y="233"/>
                  <a:pt x="743" y="233"/>
                  <a:pt x="743" y="233"/>
                </a:cubicBezTo>
                <a:cubicBezTo>
                  <a:pt x="743" y="233"/>
                  <a:pt x="743" y="233"/>
                  <a:pt x="743" y="233"/>
                </a:cubicBezTo>
                <a:cubicBezTo>
                  <a:pt x="744" y="232"/>
                  <a:pt x="744" y="232"/>
                  <a:pt x="744" y="232"/>
                </a:cubicBezTo>
                <a:cubicBezTo>
                  <a:pt x="744" y="232"/>
                  <a:pt x="744" y="232"/>
                  <a:pt x="744" y="232"/>
                </a:cubicBezTo>
                <a:cubicBezTo>
                  <a:pt x="744" y="232"/>
                  <a:pt x="744" y="232"/>
                  <a:pt x="744" y="232"/>
                </a:cubicBezTo>
                <a:cubicBezTo>
                  <a:pt x="744" y="231"/>
                  <a:pt x="744" y="231"/>
                  <a:pt x="745" y="231"/>
                </a:cubicBezTo>
                <a:cubicBezTo>
                  <a:pt x="745" y="231"/>
                  <a:pt x="745" y="231"/>
                  <a:pt x="745" y="231"/>
                </a:cubicBezTo>
                <a:cubicBezTo>
                  <a:pt x="745" y="231"/>
                  <a:pt x="745" y="231"/>
                  <a:pt x="745" y="231"/>
                </a:cubicBezTo>
                <a:cubicBezTo>
                  <a:pt x="745" y="230"/>
                  <a:pt x="746" y="230"/>
                  <a:pt x="746" y="229"/>
                </a:cubicBezTo>
                <a:cubicBezTo>
                  <a:pt x="746" y="229"/>
                  <a:pt x="746" y="229"/>
                  <a:pt x="746" y="229"/>
                </a:cubicBezTo>
                <a:cubicBezTo>
                  <a:pt x="746" y="229"/>
                  <a:pt x="746" y="229"/>
                  <a:pt x="746" y="229"/>
                </a:cubicBezTo>
                <a:cubicBezTo>
                  <a:pt x="746" y="229"/>
                  <a:pt x="746" y="229"/>
                  <a:pt x="746" y="229"/>
                </a:cubicBezTo>
                <a:cubicBezTo>
                  <a:pt x="746" y="229"/>
                  <a:pt x="746" y="229"/>
                  <a:pt x="746" y="229"/>
                </a:cubicBezTo>
                <a:cubicBezTo>
                  <a:pt x="745" y="229"/>
                  <a:pt x="745" y="229"/>
                  <a:pt x="745" y="229"/>
                </a:cubicBezTo>
                <a:cubicBezTo>
                  <a:pt x="745" y="228"/>
                  <a:pt x="745" y="228"/>
                  <a:pt x="745" y="228"/>
                </a:cubicBezTo>
                <a:cubicBezTo>
                  <a:pt x="745" y="228"/>
                  <a:pt x="745" y="228"/>
                  <a:pt x="745" y="228"/>
                </a:cubicBezTo>
                <a:cubicBezTo>
                  <a:pt x="745" y="228"/>
                  <a:pt x="745" y="228"/>
                  <a:pt x="745" y="228"/>
                </a:cubicBezTo>
                <a:cubicBezTo>
                  <a:pt x="745" y="228"/>
                  <a:pt x="745" y="228"/>
                  <a:pt x="745" y="227"/>
                </a:cubicBezTo>
                <a:cubicBezTo>
                  <a:pt x="745" y="227"/>
                  <a:pt x="745" y="227"/>
                  <a:pt x="745" y="227"/>
                </a:cubicBezTo>
                <a:cubicBezTo>
                  <a:pt x="745" y="227"/>
                  <a:pt x="745" y="227"/>
                  <a:pt x="745" y="227"/>
                </a:cubicBezTo>
                <a:cubicBezTo>
                  <a:pt x="745" y="227"/>
                  <a:pt x="745" y="227"/>
                  <a:pt x="745" y="227"/>
                </a:cubicBezTo>
                <a:cubicBezTo>
                  <a:pt x="745" y="227"/>
                  <a:pt x="745" y="227"/>
                  <a:pt x="745" y="227"/>
                </a:cubicBezTo>
                <a:cubicBezTo>
                  <a:pt x="745" y="227"/>
                  <a:pt x="745" y="227"/>
                  <a:pt x="745" y="227"/>
                </a:cubicBezTo>
                <a:cubicBezTo>
                  <a:pt x="745" y="227"/>
                  <a:pt x="745" y="227"/>
                  <a:pt x="745" y="227"/>
                </a:cubicBezTo>
                <a:cubicBezTo>
                  <a:pt x="745" y="227"/>
                  <a:pt x="745" y="227"/>
                  <a:pt x="745" y="227"/>
                </a:cubicBezTo>
                <a:cubicBezTo>
                  <a:pt x="745" y="226"/>
                  <a:pt x="745" y="226"/>
                  <a:pt x="744" y="226"/>
                </a:cubicBezTo>
                <a:cubicBezTo>
                  <a:pt x="743" y="226"/>
                  <a:pt x="743" y="226"/>
                  <a:pt x="743" y="226"/>
                </a:cubicBezTo>
                <a:cubicBezTo>
                  <a:pt x="743" y="226"/>
                  <a:pt x="743" y="226"/>
                  <a:pt x="743" y="226"/>
                </a:cubicBezTo>
                <a:cubicBezTo>
                  <a:pt x="743" y="226"/>
                  <a:pt x="743" y="226"/>
                  <a:pt x="743" y="226"/>
                </a:cubicBezTo>
                <a:cubicBezTo>
                  <a:pt x="743" y="226"/>
                  <a:pt x="743" y="226"/>
                  <a:pt x="743" y="226"/>
                </a:cubicBezTo>
                <a:cubicBezTo>
                  <a:pt x="743" y="226"/>
                  <a:pt x="743" y="226"/>
                  <a:pt x="743" y="226"/>
                </a:cubicBezTo>
                <a:cubicBezTo>
                  <a:pt x="743" y="226"/>
                  <a:pt x="743" y="226"/>
                  <a:pt x="743" y="226"/>
                </a:cubicBezTo>
                <a:cubicBezTo>
                  <a:pt x="743" y="226"/>
                  <a:pt x="743" y="226"/>
                  <a:pt x="743" y="226"/>
                </a:cubicBezTo>
                <a:cubicBezTo>
                  <a:pt x="743" y="227"/>
                  <a:pt x="742" y="227"/>
                  <a:pt x="743" y="227"/>
                </a:cubicBezTo>
                <a:cubicBezTo>
                  <a:pt x="743" y="227"/>
                  <a:pt x="743" y="227"/>
                  <a:pt x="743" y="227"/>
                </a:cubicBezTo>
                <a:cubicBezTo>
                  <a:pt x="743" y="228"/>
                  <a:pt x="743" y="228"/>
                  <a:pt x="743" y="228"/>
                </a:cubicBezTo>
                <a:cubicBezTo>
                  <a:pt x="743" y="228"/>
                  <a:pt x="743" y="228"/>
                  <a:pt x="743" y="228"/>
                </a:cubicBezTo>
                <a:cubicBezTo>
                  <a:pt x="743" y="228"/>
                  <a:pt x="743" y="228"/>
                  <a:pt x="742" y="228"/>
                </a:cubicBezTo>
                <a:cubicBezTo>
                  <a:pt x="742" y="228"/>
                  <a:pt x="742" y="228"/>
                  <a:pt x="742" y="228"/>
                </a:cubicBezTo>
                <a:cubicBezTo>
                  <a:pt x="742" y="228"/>
                  <a:pt x="742" y="228"/>
                  <a:pt x="742" y="228"/>
                </a:cubicBezTo>
                <a:cubicBezTo>
                  <a:pt x="742" y="228"/>
                  <a:pt x="742" y="229"/>
                  <a:pt x="742" y="229"/>
                </a:cubicBezTo>
                <a:cubicBezTo>
                  <a:pt x="742" y="229"/>
                  <a:pt x="742" y="229"/>
                  <a:pt x="742" y="229"/>
                </a:cubicBezTo>
                <a:cubicBezTo>
                  <a:pt x="742" y="229"/>
                  <a:pt x="742" y="229"/>
                  <a:pt x="742" y="229"/>
                </a:cubicBezTo>
                <a:cubicBezTo>
                  <a:pt x="742" y="229"/>
                  <a:pt x="742" y="229"/>
                  <a:pt x="742" y="229"/>
                </a:cubicBezTo>
                <a:cubicBezTo>
                  <a:pt x="742" y="229"/>
                  <a:pt x="742" y="229"/>
                  <a:pt x="742" y="229"/>
                </a:cubicBezTo>
                <a:cubicBezTo>
                  <a:pt x="742" y="229"/>
                  <a:pt x="742" y="229"/>
                  <a:pt x="742" y="229"/>
                </a:cubicBezTo>
                <a:cubicBezTo>
                  <a:pt x="742" y="230"/>
                  <a:pt x="742" y="230"/>
                  <a:pt x="742" y="230"/>
                </a:cubicBezTo>
                <a:cubicBezTo>
                  <a:pt x="742" y="230"/>
                  <a:pt x="742" y="230"/>
                  <a:pt x="742" y="230"/>
                </a:cubicBezTo>
                <a:cubicBezTo>
                  <a:pt x="742" y="230"/>
                  <a:pt x="742" y="230"/>
                  <a:pt x="742" y="230"/>
                </a:cubicBezTo>
                <a:cubicBezTo>
                  <a:pt x="741" y="231"/>
                  <a:pt x="741" y="231"/>
                  <a:pt x="741" y="231"/>
                </a:cubicBezTo>
                <a:cubicBezTo>
                  <a:pt x="741" y="231"/>
                  <a:pt x="741" y="231"/>
                  <a:pt x="741" y="231"/>
                </a:cubicBezTo>
                <a:cubicBezTo>
                  <a:pt x="741" y="232"/>
                  <a:pt x="741" y="232"/>
                  <a:pt x="741" y="232"/>
                </a:cubicBezTo>
                <a:cubicBezTo>
                  <a:pt x="741" y="232"/>
                  <a:pt x="741" y="232"/>
                  <a:pt x="741" y="232"/>
                </a:cubicBezTo>
                <a:cubicBezTo>
                  <a:pt x="741" y="232"/>
                  <a:pt x="741" y="232"/>
                  <a:pt x="741" y="232"/>
                </a:cubicBezTo>
                <a:cubicBezTo>
                  <a:pt x="741" y="232"/>
                  <a:pt x="741" y="232"/>
                  <a:pt x="741" y="232"/>
                </a:cubicBezTo>
                <a:cubicBezTo>
                  <a:pt x="741" y="232"/>
                  <a:pt x="741" y="232"/>
                  <a:pt x="741" y="232"/>
                </a:cubicBezTo>
                <a:cubicBezTo>
                  <a:pt x="741" y="232"/>
                  <a:pt x="741" y="232"/>
                  <a:pt x="741" y="232"/>
                </a:cubicBezTo>
                <a:cubicBezTo>
                  <a:pt x="741" y="232"/>
                  <a:pt x="741" y="232"/>
                  <a:pt x="741" y="232"/>
                </a:cubicBezTo>
                <a:cubicBezTo>
                  <a:pt x="741" y="232"/>
                  <a:pt x="741" y="233"/>
                  <a:pt x="741" y="233"/>
                </a:cubicBezTo>
                <a:cubicBezTo>
                  <a:pt x="740" y="233"/>
                  <a:pt x="740" y="233"/>
                  <a:pt x="740" y="233"/>
                </a:cubicBezTo>
                <a:cubicBezTo>
                  <a:pt x="740" y="233"/>
                  <a:pt x="740" y="233"/>
                  <a:pt x="740" y="233"/>
                </a:cubicBezTo>
                <a:cubicBezTo>
                  <a:pt x="740" y="233"/>
                  <a:pt x="740" y="233"/>
                  <a:pt x="740" y="233"/>
                </a:cubicBezTo>
                <a:cubicBezTo>
                  <a:pt x="740" y="233"/>
                  <a:pt x="740" y="233"/>
                  <a:pt x="740" y="233"/>
                </a:cubicBezTo>
                <a:cubicBezTo>
                  <a:pt x="740" y="233"/>
                  <a:pt x="740" y="233"/>
                  <a:pt x="740" y="233"/>
                </a:cubicBezTo>
                <a:cubicBezTo>
                  <a:pt x="740" y="233"/>
                  <a:pt x="740" y="233"/>
                  <a:pt x="740" y="233"/>
                </a:cubicBezTo>
                <a:cubicBezTo>
                  <a:pt x="740" y="234"/>
                  <a:pt x="740" y="234"/>
                  <a:pt x="740" y="234"/>
                </a:cubicBezTo>
                <a:cubicBezTo>
                  <a:pt x="740" y="234"/>
                  <a:pt x="740" y="234"/>
                  <a:pt x="740" y="234"/>
                </a:cubicBezTo>
                <a:cubicBezTo>
                  <a:pt x="739" y="234"/>
                  <a:pt x="739" y="234"/>
                  <a:pt x="739" y="234"/>
                </a:cubicBezTo>
                <a:cubicBezTo>
                  <a:pt x="739" y="234"/>
                  <a:pt x="739" y="234"/>
                  <a:pt x="739" y="234"/>
                </a:cubicBezTo>
                <a:cubicBezTo>
                  <a:pt x="739" y="234"/>
                  <a:pt x="739" y="234"/>
                  <a:pt x="739" y="234"/>
                </a:cubicBezTo>
                <a:cubicBezTo>
                  <a:pt x="738" y="234"/>
                  <a:pt x="738" y="234"/>
                  <a:pt x="736" y="235"/>
                </a:cubicBezTo>
                <a:cubicBezTo>
                  <a:pt x="736" y="235"/>
                  <a:pt x="736" y="235"/>
                  <a:pt x="736" y="235"/>
                </a:cubicBezTo>
                <a:cubicBezTo>
                  <a:pt x="736" y="235"/>
                  <a:pt x="736" y="235"/>
                  <a:pt x="736" y="235"/>
                </a:cubicBezTo>
                <a:cubicBezTo>
                  <a:pt x="736" y="235"/>
                  <a:pt x="736" y="235"/>
                  <a:pt x="736" y="235"/>
                </a:cubicBezTo>
                <a:cubicBezTo>
                  <a:pt x="736" y="235"/>
                  <a:pt x="736" y="235"/>
                  <a:pt x="736" y="235"/>
                </a:cubicBezTo>
                <a:cubicBezTo>
                  <a:pt x="736" y="235"/>
                  <a:pt x="736" y="235"/>
                  <a:pt x="736" y="235"/>
                </a:cubicBezTo>
                <a:cubicBezTo>
                  <a:pt x="735" y="235"/>
                  <a:pt x="735" y="235"/>
                  <a:pt x="735" y="235"/>
                </a:cubicBezTo>
                <a:cubicBezTo>
                  <a:pt x="735" y="235"/>
                  <a:pt x="735" y="235"/>
                  <a:pt x="735" y="235"/>
                </a:cubicBezTo>
                <a:cubicBezTo>
                  <a:pt x="735" y="235"/>
                  <a:pt x="735" y="235"/>
                  <a:pt x="735" y="235"/>
                </a:cubicBezTo>
                <a:cubicBezTo>
                  <a:pt x="735" y="235"/>
                  <a:pt x="735" y="235"/>
                  <a:pt x="735" y="235"/>
                </a:cubicBezTo>
                <a:cubicBezTo>
                  <a:pt x="735" y="235"/>
                  <a:pt x="735" y="235"/>
                  <a:pt x="735" y="235"/>
                </a:cubicBezTo>
                <a:cubicBezTo>
                  <a:pt x="735" y="235"/>
                  <a:pt x="735" y="235"/>
                  <a:pt x="735" y="235"/>
                </a:cubicBezTo>
                <a:cubicBezTo>
                  <a:pt x="735" y="235"/>
                  <a:pt x="735" y="235"/>
                  <a:pt x="735" y="235"/>
                </a:cubicBezTo>
                <a:cubicBezTo>
                  <a:pt x="735" y="235"/>
                  <a:pt x="735" y="235"/>
                  <a:pt x="735" y="235"/>
                </a:cubicBezTo>
                <a:cubicBezTo>
                  <a:pt x="735" y="235"/>
                  <a:pt x="735" y="235"/>
                  <a:pt x="735" y="235"/>
                </a:cubicBezTo>
                <a:cubicBezTo>
                  <a:pt x="735" y="235"/>
                  <a:pt x="735" y="235"/>
                  <a:pt x="735" y="235"/>
                </a:cubicBezTo>
                <a:cubicBezTo>
                  <a:pt x="735" y="235"/>
                  <a:pt x="735" y="235"/>
                  <a:pt x="734" y="235"/>
                </a:cubicBezTo>
                <a:cubicBezTo>
                  <a:pt x="734" y="235"/>
                  <a:pt x="734" y="235"/>
                  <a:pt x="734" y="235"/>
                </a:cubicBezTo>
                <a:cubicBezTo>
                  <a:pt x="734" y="235"/>
                  <a:pt x="734" y="235"/>
                  <a:pt x="734" y="235"/>
                </a:cubicBezTo>
                <a:cubicBezTo>
                  <a:pt x="734" y="235"/>
                  <a:pt x="734" y="235"/>
                  <a:pt x="734" y="235"/>
                </a:cubicBezTo>
                <a:cubicBezTo>
                  <a:pt x="734" y="235"/>
                  <a:pt x="734" y="235"/>
                  <a:pt x="733" y="236"/>
                </a:cubicBezTo>
                <a:cubicBezTo>
                  <a:pt x="733" y="236"/>
                  <a:pt x="733" y="236"/>
                  <a:pt x="733" y="236"/>
                </a:cubicBezTo>
                <a:cubicBezTo>
                  <a:pt x="733" y="236"/>
                  <a:pt x="733" y="236"/>
                  <a:pt x="733" y="236"/>
                </a:cubicBezTo>
                <a:cubicBezTo>
                  <a:pt x="733" y="236"/>
                  <a:pt x="733" y="236"/>
                  <a:pt x="733" y="236"/>
                </a:cubicBezTo>
                <a:cubicBezTo>
                  <a:pt x="733" y="236"/>
                  <a:pt x="733" y="236"/>
                  <a:pt x="733" y="236"/>
                </a:cubicBezTo>
                <a:cubicBezTo>
                  <a:pt x="733" y="236"/>
                  <a:pt x="732" y="236"/>
                  <a:pt x="732" y="237"/>
                </a:cubicBezTo>
                <a:cubicBezTo>
                  <a:pt x="732" y="237"/>
                  <a:pt x="732" y="237"/>
                  <a:pt x="732" y="237"/>
                </a:cubicBezTo>
                <a:cubicBezTo>
                  <a:pt x="732" y="237"/>
                  <a:pt x="732" y="237"/>
                  <a:pt x="732" y="237"/>
                </a:cubicBezTo>
                <a:cubicBezTo>
                  <a:pt x="731" y="237"/>
                  <a:pt x="731" y="237"/>
                  <a:pt x="731" y="237"/>
                </a:cubicBezTo>
                <a:cubicBezTo>
                  <a:pt x="731" y="237"/>
                  <a:pt x="731" y="237"/>
                  <a:pt x="731" y="237"/>
                </a:cubicBezTo>
                <a:cubicBezTo>
                  <a:pt x="731" y="237"/>
                  <a:pt x="731" y="237"/>
                  <a:pt x="731" y="237"/>
                </a:cubicBezTo>
                <a:cubicBezTo>
                  <a:pt x="730" y="237"/>
                  <a:pt x="730" y="237"/>
                  <a:pt x="730" y="237"/>
                </a:cubicBezTo>
                <a:cubicBezTo>
                  <a:pt x="730" y="237"/>
                  <a:pt x="730" y="237"/>
                  <a:pt x="730" y="237"/>
                </a:cubicBezTo>
                <a:cubicBezTo>
                  <a:pt x="730" y="237"/>
                  <a:pt x="730" y="237"/>
                  <a:pt x="730" y="237"/>
                </a:cubicBezTo>
                <a:cubicBezTo>
                  <a:pt x="730" y="237"/>
                  <a:pt x="730" y="237"/>
                  <a:pt x="730" y="237"/>
                </a:cubicBezTo>
                <a:cubicBezTo>
                  <a:pt x="731" y="237"/>
                  <a:pt x="731" y="237"/>
                  <a:pt x="731" y="237"/>
                </a:cubicBezTo>
                <a:cubicBezTo>
                  <a:pt x="731" y="237"/>
                  <a:pt x="731" y="237"/>
                  <a:pt x="731" y="237"/>
                </a:cubicBezTo>
                <a:cubicBezTo>
                  <a:pt x="731" y="237"/>
                  <a:pt x="731" y="237"/>
                  <a:pt x="731" y="237"/>
                </a:cubicBezTo>
                <a:cubicBezTo>
                  <a:pt x="733" y="235"/>
                  <a:pt x="733" y="236"/>
                  <a:pt x="734" y="235"/>
                </a:cubicBezTo>
                <a:cubicBezTo>
                  <a:pt x="734" y="235"/>
                  <a:pt x="734" y="235"/>
                  <a:pt x="734" y="235"/>
                </a:cubicBezTo>
                <a:cubicBezTo>
                  <a:pt x="734" y="235"/>
                  <a:pt x="734" y="235"/>
                  <a:pt x="734" y="235"/>
                </a:cubicBezTo>
                <a:cubicBezTo>
                  <a:pt x="734" y="235"/>
                  <a:pt x="734" y="235"/>
                  <a:pt x="734" y="235"/>
                </a:cubicBezTo>
                <a:cubicBezTo>
                  <a:pt x="734" y="235"/>
                  <a:pt x="734" y="235"/>
                  <a:pt x="734" y="235"/>
                </a:cubicBezTo>
                <a:cubicBezTo>
                  <a:pt x="735" y="235"/>
                  <a:pt x="735" y="235"/>
                  <a:pt x="735" y="235"/>
                </a:cubicBezTo>
                <a:cubicBezTo>
                  <a:pt x="735" y="235"/>
                  <a:pt x="735" y="235"/>
                  <a:pt x="735" y="235"/>
                </a:cubicBezTo>
                <a:cubicBezTo>
                  <a:pt x="735" y="235"/>
                  <a:pt x="735" y="235"/>
                  <a:pt x="735" y="235"/>
                </a:cubicBezTo>
                <a:cubicBezTo>
                  <a:pt x="736" y="234"/>
                  <a:pt x="736" y="234"/>
                  <a:pt x="736" y="234"/>
                </a:cubicBezTo>
                <a:cubicBezTo>
                  <a:pt x="736" y="234"/>
                  <a:pt x="736" y="234"/>
                  <a:pt x="736" y="234"/>
                </a:cubicBezTo>
                <a:cubicBezTo>
                  <a:pt x="736" y="234"/>
                  <a:pt x="736" y="234"/>
                  <a:pt x="736" y="234"/>
                </a:cubicBezTo>
                <a:cubicBezTo>
                  <a:pt x="736" y="234"/>
                  <a:pt x="736" y="234"/>
                  <a:pt x="736" y="234"/>
                </a:cubicBezTo>
                <a:cubicBezTo>
                  <a:pt x="737" y="234"/>
                  <a:pt x="737" y="234"/>
                  <a:pt x="738" y="234"/>
                </a:cubicBezTo>
                <a:cubicBezTo>
                  <a:pt x="738" y="234"/>
                  <a:pt x="738" y="234"/>
                  <a:pt x="738" y="234"/>
                </a:cubicBezTo>
                <a:cubicBezTo>
                  <a:pt x="738" y="234"/>
                  <a:pt x="738" y="234"/>
                  <a:pt x="738" y="234"/>
                </a:cubicBezTo>
                <a:cubicBezTo>
                  <a:pt x="738" y="234"/>
                  <a:pt x="738" y="234"/>
                  <a:pt x="738" y="234"/>
                </a:cubicBezTo>
                <a:cubicBezTo>
                  <a:pt x="738" y="234"/>
                  <a:pt x="738" y="234"/>
                  <a:pt x="738" y="234"/>
                </a:cubicBezTo>
                <a:cubicBezTo>
                  <a:pt x="738" y="234"/>
                  <a:pt x="738" y="234"/>
                  <a:pt x="738" y="234"/>
                </a:cubicBezTo>
                <a:cubicBezTo>
                  <a:pt x="738" y="234"/>
                  <a:pt x="738" y="234"/>
                  <a:pt x="738" y="234"/>
                </a:cubicBezTo>
                <a:cubicBezTo>
                  <a:pt x="739" y="233"/>
                  <a:pt x="739" y="234"/>
                  <a:pt x="740" y="233"/>
                </a:cubicBezTo>
                <a:cubicBezTo>
                  <a:pt x="740" y="233"/>
                  <a:pt x="740" y="233"/>
                  <a:pt x="740" y="233"/>
                </a:cubicBezTo>
                <a:cubicBezTo>
                  <a:pt x="740" y="233"/>
                  <a:pt x="740" y="233"/>
                  <a:pt x="740" y="233"/>
                </a:cubicBezTo>
                <a:cubicBezTo>
                  <a:pt x="740" y="233"/>
                  <a:pt x="740" y="233"/>
                  <a:pt x="740" y="233"/>
                </a:cubicBezTo>
                <a:cubicBezTo>
                  <a:pt x="740" y="233"/>
                  <a:pt x="740" y="233"/>
                  <a:pt x="740" y="233"/>
                </a:cubicBezTo>
                <a:cubicBezTo>
                  <a:pt x="740" y="232"/>
                  <a:pt x="740" y="232"/>
                  <a:pt x="740" y="232"/>
                </a:cubicBezTo>
                <a:cubicBezTo>
                  <a:pt x="740" y="232"/>
                  <a:pt x="740" y="232"/>
                  <a:pt x="740" y="232"/>
                </a:cubicBezTo>
                <a:cubicBezTo>
                  <a:pt x="741" y="232"/>
                  <a:pt x="741" y="232"/>
                  <a:pt x="741" y="232"/>
                </a:cubicBezTo>
                <a:cubicBezTo>
                  <a:pt x="741" y="232"/>
                  <a:pt x="741" y="232"/>
                  <a:pt x="741" y="232"/>
                </a:cubicBezTo>
                <a:cubicBezTo>
                  <a:pt x="741" y="232"/>
                  <a:pt x="741" y="232"/>
                  <a:pt x="741" y="232"/>
                </a:cubicBezTo>
                <a:cubicBezTo>
                  <a:pt x="741" y="232"/>
                  <a:pt x="741" y="232"/>
                  <a:pt x="741" y="232"/>
                </a:cubicBezTo>
                <a:cubicBezTo>
                  <a:pt x="741" y="232"/>
                  <a:pt x="741" y="232"/>
                  <a:pt x="741" y="232"/>
                </a:cubicBezTo>
                <a:cubicBezTo>
                  <a:pt x="741" y="232"/>
                  <a:pt x="741" y="232"/>
                  <a:pt x="741" y="232"/>
                </a:cubicBezTo>
                <a:cubicBezTo>
                  <a:pt x="741" y="232"/>
                  <a:pt x="741" y="232"/>
                  <a:pt x="741" y="232"/>
                </a:cubicBezTo>
                <a:cubicBezTo>
                  <a:pt x="741" y="231"/>
                  <a:pt x="741" y="231"/>
                  <a:pt x="741" y="231"/>
                </a:cubicBezTo>
                <a:cubicBezTo>
                  <a:pt x="741" y="231"/>
                  <a:pt x="741" y="231"/>
                  <a:pt x="741" y="231"/>
                </a:cubicBezTo>
                <a:cubicBezTo>
                  <a:pt x="741" y="231"/>
                  <a:pt x="741" y="231"/>
                  <a:pt x="741" y="231"/>
                </a:cubicBezTo>
                <a:cubicBezTo>
                  <a:pt x="741" y="230"/>
                  <a:pt x="741" y="230"/>
                  <a:pt x="741" y="230"/>
                </a:cubicBezTo>
                <a:cubicBezTo>
                  <a:pt x="741" y="230"/>
                  <a:pt x="741" y="230"/>
                  <a:pt x="741" y="230"/>
                </a:cubicBezTo>
                <a:cubicBezTo>
                  <a:pt x="741" y="230"/>
                  <a:pt x="741" y="230"/>
                  <a:pt x="741" y="230"/>
                </a:cubicBezTo>
                <a:cubicBezTo>
                  <a:pt x="741" y="230"/>
                  <a:pt x="741" y="230"/>
                  <a:pt x="741" y="230"/>
                </a:cubicBezTo>
                <a:cubicBezTo>
                  <a:pt x="741" y="230"/>
                  <a:pt x="741" y="230"/>
                  <a:pt x="741" y="230"/>
                </a:cubicBezTo>
                <a:cubicBezTo>
                  <a:pt x="741" y="230"/>
                  <a:pt x="742" y="229"/>
                  <a:pt x="742" y="229"/>
                </a:cubicBezTo>
                <a:cubicBezTo>
                  <a:pt x="742" y="229"/>
                  <a:pt x="742" y="229"/>
                  <a:pt x="742" y="229"/>
                </a:cubicBezTo>
                <a:cubicBezTo>
                  <a:pt x="742" y="229"/>
                  <a:pt x="742" y="229"/>
                  <a:pt x="742" y="229"/>
                </a:cubicBezTo>
                <a:cubicBezTo>
                  <a:pt x="742" y="229"/>
                  <a:pt x="742" y="229"/>
                  <a:pt x="742" y="229"/>
                </a:cubicBezTo>
                <a:cubicBezTo>
                  <a:pt x="742" y="229"/>
                  <a:pt x="742" y="229"/>
                  <a:pt x="742" y="229"/>
                </a:cubicBezTo>
                <a:cubicBezTo>
                  <a:pt x="742" y="229"/>
                  <a:pt x="742" y="229"/>
                  <a:pt x="742" y="229"/>
                </a:cubicBezTo>
                <a:cubicBezTo>
                  <a:pt x="742" y="229"/>
                  <a:pt x="742" y="229"/>
                  <a:pt x="742" y="229"/>
                </a:cubicBezTo>
                <a:cubicBezTo>
                  <a:pt x="742" y="229"/>
                  <a:pt x="742" y="229"/>
                  <a:pt x="742" y="229"/>
                </a:cubicBezTo>
                <a:cubicBezTo>
                  <a:pt x="742" y="229"/>
                  <a:pt x="742" y="229"/>
                  <a:pt x="742" y="229"/>
                </a:cubicBezTo>
                <a:cubicBezTo>
                  <a:pt x="742" y="228"/>
                  <a:pt x="742" y="228"/>
                  <a:pt x="742" y="228"/>
                </a:cubicBezTo>
                <a:cubicBezTo>
                  <a:pt x="742" y="228"/>
                  <a:pt x="742" y="228"/>
                  <a:pt x="742" y="228"/>
                </a:cubicBezTo>
                <a:cubicBezTo>
                  <a:pt x="742" y="228"/>
                  <a:pt x="742" y="228"/>
                  <a:pt x="742" y="228"/>
                </a:cubicBezTo>
                <a:cubicBezTo>
                  <a:pt x="742" y="228"/>
                  <a:pt x="742" y="228"/>
                  <a:pt x="742" y="228"/>
                </a:cubicBezTo>
                <a:cubicBezTo>
                  <a:pt x="742" y="228"/>
                  <a:pt x="742" y="228"/>
                  <a:pt x="742" y="228"/>
                </a:cubicBezTo>
                <a:cubicBezTo>
                  <a:pt x="742" y="228"/>
                  <a:pt x="742" y="228"/>
                  <a:pt x="742" y="228"/>
                </a:cubicBezTo>
                <a:cubicBezTo>
                  <a:pt x="742" y="228"/>
                  <a:pt x="742" y="228"/>
                  <a:pt x="742" y="228"/>
                </a:cubicBezTo>
                <a:cubicBezTo>
                  <a:pt x="742" y="228"/>
                  <a:pt x="742" y="228"/>
                  <a:pt x="742" y="228"/>
                </a:cubicBezTo>
                <a:cubicBezTo>
                  <a:pt x="742" y="228"/>
                  <a:pt x="742" y="228"/>
                  <a:pt x="742" y="228"/>
                </a:cubicBezTo>
                <a:cubicBezTo>
                  <a:pt x="742" y="228"/>
                  <a:pt x="742" y="228"/>
                  <a:pt x="742" y="228"/>
                </a:cubicBezTo>
                <a:cubicBezTo>
                  <a:pt x="742" y="228"/>
                  <a:pt x="742" y="228"/>
                  <a:pt x="742" y="228"/>
                </a:cubicBezTo>
                <a:cubicBezTo>
                  <a:pt x="742" y="228"/>
                  <a:pt x="742" y="228"/>
                  <a:pt x="742" y="228"/>
                </a:cubicBezTo>
                <a:cubicBezTo>
                  <a:pt x="742" y="228"/>
                  <a:pt x="742" y="228"/>
                  <a:pt x="742" y="228"/>
                </a:cubicBezTo>
                <a:cubicBezTo>
                  <a:pt x="742" y="228"/>
                  <a:pt x="742" y="228"/>
                  <a:pt x="742" y="227"/>
                </a:cubicBezTo>
                <a:cubicBezTo>
                  <a:pt x="742" y="227"/>
                  <a:pt x="742" y="227"/>
                  <a:pt x="742" y="227"/>
                </a:cubicBezTo>
                <a:cubicBezTo>
                  <a:pt x="742" y="227"/>
                  <a:pt x="742" y="227"/>
                  <a:pt x="742" y="227"/>
                </a:cubicBezTo>
                <a:cubicBezTo>
                  <a:pt x="742" y="227"/>
                  <a:pt x="742" y="227"/>
                  <a:pt x="742" y="226"/>
                </a:cubicBezTo>
                <a:cubicBezTo>
                  <a:pt x="742" y="226"/>
                  <a:pt x="742" y="226"/>
                  <a:pt x="742" y="226"/>
                </a:cubicBezTo>
                <a:cubicBezTo>
                  <a:pt x="742" y="226"/>
                  <a:pt x="742" y="226"/>
                  <a:pt x="742" y="226"/>
                </a:cubicBezTo>
                <a:cubicBezTo>
                  <a:pt x="742" y="226"/>
                  <a:pt x="742" y="226"/>
                  <a:pt x="742" y="226"/>
                </a:cubicBezTo>
                <a:cubicBezTo>
                  <a:pt x="742" y="226"/>
                  <a:pt x="742" y="226"/>
                  <a:pt x="742" y="226"/>
                </a:cubicBezTo>
                <a:cubicBezTo>
                  <a:pt x="742" y="225"/>
                  <a:pt x="742" y="225"/>
                  <a:pt x="742" y="225"/>
                </a:cubicBezTo>
                <a:cubicBezTo>
                  <a:pt x="741" y="224"/>
                  <a:pt x="741" y="224"/>
                  <a:pt x="741" y="224"/>
                </a:cubicBezTo>
                <a:cubicBezTo>
                  <a:pt x="741" y="223"/>
                  <a:pt x="741" y="223"/>
                  <a:pt x="741" y="223"/>
                </a:cubicBezTo>
                <a:cubicBezTo>
                  <a:pt x="741" y="223"/>
                  <a:pt x="741" y="223"/>
                  <a:pt x="741" y="223"/>
                </a:cubicBezTo>
                <a:cubicBezTo>
                  <a:pt x="741" y="222"/>
                  <a:pt x="741" y="222"/>
                  <a:pt x="741" y="222"/>
                </a:cubicBezTo>
                <a:cubicBezTo>
                  <a:pt x="741" y="222"/>
                  <a:pt x="741" y="222"/>
                  <a:pt x="741" y="222"/>
                </a:cubicBezTo>
                <a:cubicBezTo>
                  <a:pt x="741" y="222"/>
                  <a:pt x="741" y="222"/>
                  <a:pt x="741" y="222"/>
                </a:cubicBezTo>
                <a:cubicBezTo>
                  <a:pt x="740" y="222"/>
                  <a:pt x="740" y="222"/>
                  <a:pt x="740" y="222"/>
                </a:cubicBezTo>
                <a:cubicBezTo>
                  <a:pt x="740" y="222"/>
                  <a:pt x="740" y="222"/>
                  <a:pt x="740" y="222"/>
                </a:cubicBezTo>
                <a:cubicBezTo>
                  <a:pt x="740" y="222"/>
                  <a:pt x="740" y="222"/>
                  <a:pt x="740" y="222"/>
                </a:cubicBezTo>
                <a:cubicBezTo>
                  <a:pt x="740" y="222"/>
                  <a:pt x="740" y="222"/>
                  <a:pt x="740" y="222"/>
                </a:cubicBezTo>
                <a:cubicBezTo>
                  <a:pt x="739" y="222"/>
                  <a:pt x="739" y="222"/>
                  <a:pt x="739" y="222"/>
                </a:cubicBezTo>
                <a:cubicBezTo>
                  <a:pt x="737" y="221"/>
                  <a:pt x="737" y="221"/>
                  <a:pt x="737" y="221"/>
                </a:cubicBezTo>
                <a:cubicBezTo>
                  <a:pt x="736" y="221"/>
                  <a:pt x="736" y="221"/>
                  <a:pt x="736" y="221"/>
                </a:cubicBezTo>
                <a:cubicBezTo>
                  <a:pt x="736" y="221"/>
                  <a:pt x="736" y="221"/>
                  <a:pt x="736" y="221"/>
                </a:cubicBezTo>
                <a:cubicBezTo>
                  <a:pt x="736" y="221"/>
                  <a:pt x="736" y="221"/>
                  <a:pt x="736" y="221"/>
                </a:cubicBezTo>
                <a:cubicBezTo>
                  <a:pt x="736" y="221"/>
                  <a:pt x="736" y="221"/>
                  <a:pt x="736" y="221"/>
                </a:cubicBezTo>
                <a:cubicBezTo>
                  <a:pt x="736" y="221"/>
                  <a:pt x="736" y="221"/>
                  <a:pt x="736" y="221"/>
                </a:cubicBezTo>
                <a:cubicBezTo>
                  <a:pt x="736" y="221"/>
                  <a:pt x="736" y="221"/>
                  <a:pt x="736" y="221"/>
                </a:cubicBezTo>
                <a:cubicBezTo>
                  <a:pt x="736" y="221"/>
                  <a:pt x="736" y="221"/>
                  <a:pt x="736" y="221"/>
                </a:cubicBezTo>
                <a:cubicBezTo>
                  <a:pt x="736" y="221"/>
                  <a:pt x="736" y="221"/>
                  <a:pt x="736" y="221"/>
                </a:cubicBezTo>
                <a:cubicBezTo>
                  <a:pt x="735" y="221"/>
                  <a:pt x="735" y="221"/>
                  <a:pt x="735" y="221"/>
                </a:cubicBezTo>
                <a:cubicBezTo>
                  <a:pt x="735" y="221"/>
                  <a:pt x="735" y="221"/>
                  <a:pt x="735" y="221"/>
                </a:cubicBezTo>
                <a:cubicBezTo>
                  <a:pt x="735" y="221"/>
                  <a:pt x="735" y="221"/>
                  <a:pt x="735" y="221"/>
                </a:cubicBezTo>
                <a:cubicBezTo>
                  <a:pt x="734" y="221"/>
                  <a:pt x="734" y="221"/>
                  <a:pt x="733" y="221"/>
                </a:cubicBezTo>
                <a:cubicBezTo>
                  <a:pt x="733" y="221"/>
                  <a:pt x="733" y="221"/>
                  <a:pt x="733" y="221"/>
                </a:cubicBezTo>
                <a:cubicBezTo>
                  <a:pt x="733" y="221"/>
                  <a:pt x="733" y="221"/>
                  <a:pt x="733" y="221"/>
                </a:cubicBezTo>
                <a:cubicBezTo>
                  <a:pt x="733" y="221"/>
                  <a:pt x="733" y="221"/>
                  <a:pt x="733" y="221"/>
                </a:cubicBezTo>
                <a:cubicBezTo>
                  <a:pt x="733" y="221"/>
                  <a:pt x="732" y="221"/>
                  <a:pt x="732" y="221"/>
                </a:cubicBezTo>
                <a:cubicBezTo>
                  <a:pt x="732" y="221"/>
                  <a:pt x="732" y="221"/>
                  <a:pt x="732" y="221"/>
                </a:cubicBezTo>
                <a:cubicBezTo>
                  <a:pt x="732" y="221"/>
                  <a:pt x="732" y="221"/>
                  <a:pt x="732" y="221"/>
                </a:cubicBezTo>
                <a:cubicBezTo>
                  <a:pt x="732" y="221"/>
                  <a:pt x="732" y="221"/>
                  <a:pt x="731" y="221"/>
                </a:cubicBezTo>
                <a:cubicBezTo>
                  <a:pt x="731" y="221"/>
                  <a:pt x="731" y="221"/>
                  <a:pt x="731" y="221"/>
                </a:cubicBezTo>
                <a:cubicBezTo>
                  <a:pt x="731" y="221"/>
                  <a:pt x="731" y="221"/>
                  <a:pt x="731" y="221"/>
                </a:cubicBezTo>
                <a:cubicBezTo>
                  <a:pt x="731" y="221"/>
                  <a:pt x="731" y="221"/>
                  <a:pt x="731" y="221"/>
                </a:cubicBezTo>
                <a:cubicBezTo>
                  <a:pt x="731" y="221"/>
                  <a:pt x="731" y="221"/>
                  <a:pt x="731" y="221"/>
                </a:cubicBezTo>
                <a:cubicBezTo>
                  <a:pt x="731" y="221"/>
                  <a:pt x="731" y="221"/>
                  <a:pt x="731" y="221"/>
                </a:cubicBezTo>
                <a:cubicBezTo>
                  <a:pt x="731" y="221"/>
                  <a:pt x="731" y="221"/>
                  <a:pt x="731" y="221"/>
                </a:cubicBezTo>
                <a:cubicBezTo>
                  <a:pt x="731" y="221"/>
                  <a:pt x="731" y="221"/>
                  <a:pt x="731" y="221"/>
                </a:cubicBezTo>
                <a:cubicBezTo>
                  <a:pt x="731" y="221"/>
                  <a:pt x="731" y="221"/>
                  <a:pt x="731" y="221"/>
                </a:cubicBezTo>
                <a:cubicBezTo>
                  <a:pt x="731" y="221"/>
                  <a:pt x="730" y="221"/>
                  <a:pt x="730" y="221"/>
                </a:cubicBezTo>
                <a:cubicBezTo>
                  <a:pt x="730" y="221"/>
                  <a:pt x="730" y="221"/>
                  <a:pt x="730" y="221"/>
                </a:cubicBezTo>
                <a:cubicBezTo>
                  <a:pt x="730" y="221"/>
                  <a:pt x="730" y="221"/>
                  <a:pt x="730" y="221"/>
                </a:cubicBezTo>
                <a:cubicBezTo>
                  <a:pt x="730" y="221"/>
                  <a:pt x="730" y="222"/>
                  <a:pt x="730" y="222"/>
                </a:cubicBezTo>
                <a:cubicBezTo>
                  <a:pt x="730" y="222"/>
                  <a:pt x="730" y="222"/>
                  <a:pt x="730" y="222"/>
                </a:cubicBezTo>
                <a:cubicBezTo>
                  <a:pt x="730" y="222"/>
                  <a:pt x="730" y="222"/>
                  <a:pt x="730" y="222"/>
                </a:cubicBezTo>
                <a:cubicBezTo>
                  <a:pt x="730" y="222"/>
                  <a:pt x="730" y="222"/>
                  <a:pt x="730" y="222"/>
                </a:cubicBezTo>
                <a:cubicBezTo>
                  <a:pt x="730" y="222"/>
                  <a:pt x="730" y="222"/>
                  <a:pt x="730" y="222"/>
                </a:cubicBezTo>
                <a:cubicBezTo>
                  <a:pt x="730" y="222"/>
                  <a:pt x="729" y="222"/>
                  <a:pt x="729" y="222"/>
                </a:cubicBezTo>
                <a:cubicBezTo>
                  <a:pt x="729" y="222"/>
                  <a:pt x="729" y="222"/>
                  <a:pt x="729" y="222"/>
                </a:cubicBezTo>
                <a:cubicBezTo>
                  <a:pt x="729" y="222"/>
                  <a:pt x="729" y="222"/>
                  <a:pt x="729" y="222"/>
                </a:cubicBezTo>
                <a:cubicBezTo>
                  <a:pt x="729" y="223"/>
                  <a:pt x="729" y="222"/>
                  <a:pt x="728" y="223"/>
                </a:cubicBezTo>
                <a:cubicBezTo>
                  <a:pt x="728" y="223"/>
                  <a:pt x="728" y="223"/>
                  <a:pt x="728" y="223"/>
                </a:cubicBezTo>
                <a:cubicBezTo>
                  <a:pt x="728" y="223"/>
                  <a:pt x="728" y="223"/>
                  <a:pt x="728" y="223"/>
                </a:cubicBezTo>
                <a:cubicBezTo>
                  <a:pt x="728" y="223"/>
                  <a:pt x="728" y="223"/>
                  <a:pt x="728" y="223"/>
                </a:cubicBezTo>
                <a:cubicBezTo>
                  <a:pt x="728" y="223"/>
                  <a:pt x="728" y="223"/>
                  <a:pt x="728" y="223"/>
                </a:cubicBezTo>
                <a:cubicBezTo>
                  <a:pt x="728" y="223"/>
                  <a:pt x="728" y="223"/>
                  <a:pt x="728" y="223"/>
                </a:cubicBezTo>
                <a:cubicBezTo>
                  <a:pt x="727" y="223"/>
                  <a:pt x="728" y="224"/>
                  <a:pt x="727" y="224"/>
                </a:cubicBezTo>
                <a:cubicBezTo>
                  <a:pt x="727" y="224"/>
                  <a:pt x="727" y="224"/>
                  <a:pt x="727" y="224"/>
                </a:cubicBezTo>
                <a:cubicBezTo>
                  <a:pt x="727" y="224"/>
                  <a:pt x="727" y="224"/>
                  <a:pt x="727" y="224"/>
                </a:cubicBezTo>
                <a:cubicBezTo>
                  <a:pt x="727" y="224"/>
                  <a:pt x="727" y="224"/>
                  <a:pt x="727" y="224"/>
                </a:cubicBezTo>
                <a:cubicBezTo>
                  <a:pt x="727" y="224"/>
                  <a:pt x="727" y="224"/>
                  <a:pt x="727" y="224"/>
                </a:cubicBezTo>
                <a:cubicBezTo>
                  <a:pt x="727" y="224"/>
                  <a:pt x="727" y="224"/>
                  <a:pt x="727" y="224"/>
                </a:cubicBezTo>
                <a:cubicBezTo>
                  <a:pt x="727" y="224"/>
                  <a:pt x="727" y="224"/>
                  <a:pt x="727" y="224"/>
                </a:cubicBezTo>
                <a:cubicBezTo>
                  <a:pt x="727" y="224"/>
                  <a:pt x="727" y="224"/>
                  <a:pt x="727" y="224"/>
                </a:cubicBezTo>
                <a:cubicBezTo>
                  <a:pt x="727" y="224"/>
                  <a:pt x="727" y="224"/>
                  <a:pt x="727" y="224"/>
                </a:cubicBezTo>
                <a:cubicBezTo>
                  <a:pt x="727" y="224"/>
                  <a:pt x="727" y="224"/>
                  <a:pt x="727" y="224"/>
                </a:cubicBezTo>
                <a:cubicBezTo>
                  <a:pt x="727" y="224"/>
                  <a:pt x="727" y="224"/>
                  <a:pt x="727" y="224"/>
                </a:cubicBezTo>
                <a:cubicBezTo>
                  <a:pt x="727" y="224"/>
                  <a:pt x="727" y="224"/>
                  <a:pt x="727" y="224"/>
                </a:cubicBezTo>
                <a:cubicBezTo>
                  <a:pt x="727" y="224"/>
                  <a:pt x="727" y="224"/>
                  <a:pt x="727" y="224"/>
                </a:cubicBezTo>
                <a:cubicBezTo>
                  <a:pt x="727" y="224"/>
                  <a:pt x="727" y="224"/>
                  <a:pt x="727" y="224"/>
                </a:cubicBezTo>
                <a:cubicBezTo>
                  <a:pt x="726" y="224"/>
                  <a:pt x="726" y="225"/>
                  <a:pt x="726" y="225"/>
                </a:cubicBezTo>
                <a:cubicBezTo>
                  <a:pt x="726" y="225"/>
                  <a:pt x="726" y="225"/>
                  <a:pt x="726" y="225"/>
                </a:cubicBezTo>
                <a:cubicBezTo>
                  <a:pt x="726" y="225"/>
                  <a:pt x="726" y="225"/>
                  <a:pt x="726" y="225"/>
                </a:cubicBezTo>
                <a:cubicBezTo>
                  <a:pt x="726" y="225"/>
                  <a:pt x="726" y="225"/>
                  <a:pt x="726" y="225"/>
                </a:cubicBezTo>
                <a:cubicBezTo>
                  <a:pt x="726" y="225"/>
                  <a:pt x="726" y="225"/>
                  <a:pt x="726" y="225"/>
                </a:cubicBezTo>
                <a:cubicBezTo>
                  <a:pt x="726" y="225"/>
                  <a:pt x="726" y="225"/>
                  <a:pt x="726" y="225"/>
                </a:cubicBezTo>
                <a:cubicBezTo>
                  <a:pt x="726" y="225"/>
                  <a:pt x="726" y="225"/>
                  <a:pt x="726" y="225"/>
                </a:cubicBezTo>
                <a:cubicBezTo>
                  <a:pt x="726" y="225"/>
                  <a:pt x="726" y="225"/>
                  <a:pt x="726" y="225"/>
                </a:cubicBezTo>
                <a:cubicBezTo>
                  <a:pt x="725" y="225"/>
                  <a:pt x="725" y="225"/>
                  <a:pt x="725" y="225"/>
                </a:cubicBezTo>
                <a:cubicBezTo>
                  <a:pt x="724" y="224"/>
                  <a:pt x="724" y="224"/>
                  <a:pt x="724" y="224"/>
                </a:cubicBezTo>
                <a:cubicBezTo>
                  <a:pt x="724" y="223"/>
                  <a:pt x="724" y="223"/>
                  <a:pt x="724" y="223"/>
                </a:cubicBezTo>
                <a:cubicBezTo>
                  <a:pt x="723" y="223"/>
                  <a:pt x="723" y="223"/>
                  <a:pt x="723" y="223"/>
                </a:cubicBezTo>
                <a:cubicBezTo>
                  <a:pt x="723" y="223"/>
                  <a:pt x="723" y="223"/>
                  <a:pt x="723" y="223"/>
                </a:cubicBezTo>
                <a:cubicBezTo>
                  <a:pt x="723" y="223"/>
                  <a:pt x="723" y="223"/>
                  <a:pt x="723" y="223"/>
                </a:cubicBezTo>
                <a:cubicBezTo>
                  <a:pt x="723" y="223"/>
                  <a:pt x="723" y="223"/>
                  <a:pt x="723" y="223"/>
                </a:cubicBezTo>
                <a:cubicBezTo>
                  <a:pt x="723" y="223"/>
                  <a:pt x="723" y="223"/>
                  <a:pt x="723" y="223"/>
                </a:cubicBezTo>
                <a:cubicBezTo>
                  <a:pt x="723" y="223"/>
                  <a:pt x="723" y="223"/>
                  <a:pt x="723" y="223"/>
                </a:cubicBezTo>
                <a:cubicBezTo>
                  <a:pt x="723" y="223"/>
                  <a:pt x="723" y="223"/>
                  <a:pt x="723" y="223"/>
                </a:cubicBezTo>
                <a:cubicBezTo>
                  <a:pt x="723" y="223"/>
                  <a:pt x="723" y="223"/>
                  <a:pt x="723" y="223"/>
                </a:cubicBezTo>
                <a:cubicBezTo>
                  <a:pt x="723" y="223"/>
                  <a:pt x="723" y="223"/>
                  <a:pt x="723" y="223"/>
                </a:cubicBezTo>
                <a:cubicBezTo>
                  <a:pt x="723" y="223"/>
                  <a:pt x="723" y="223"/>
                  <a:pt x="723" y="223"/>
                </a:cubicBezTo>
                <a:cubicBezTo>
                  <a:pt x="722" y="223"/>
                  <a:pt x="722" y="223"/>
                  <a:pt x="722" y="223"/>
                </a:cubicBezTo>
                <a:cubicBezTo>
                  <a:pt x="722" y="223"/>
                  <a:pt x="722" y="223"/>
                  <a:pt x="722" y="223"/>
                </a:cubicBezTo>
                <a:cubicBezTo>
                  <a:pt x="722" y="223"/>
                  <a:pt x="722" y="223"/>
                  <a:pt x="722" y="223"/>
                </a:cubicBezTo>
                <a:cubicBezTo>
                  <a:pt x="722" y="223"/>
                  <a:pt x="722" y="223"/>
                  <a:pt x="722" y="223"/>
                </a:cubicBezTo>
                <a:cubicBezTo>
                  <a:pt x="722" y="223"/>
                  <a:pt x="722" y="223"/>
                  <a:pt x="722" y="223"/>
                </a:cubicBezTo>
                <a:cubicBezTo>
                  <a:pt x="722" y="223"/>
                  <a:pt x="722" y="223"/>
                  <a:pt x="722" y="223"/>
                </a:cubicBezTo>
                <a:cubicBezTo>
                  <a:pt x="722" y="223"/>
                  <a:pt x="722" y="223"/>
                  <a:pt x="722" y="223"/>
                </a:cubicBezTo>
                <a:cubicBezTo>
                  <a:pt x="722" y="223"/>
                  <a:pt x="722" y="223"/>
                  <a:pt x="722" y="223"/>
                </a:cubicBezTo>
                <a:cubicBezTo>
                  <a:pt x="722" y="223"/>
                  <a:pt x="722" y="223"/>
                  <a:pt x="722" y="223"/>
                </a:cubicBezTo>
                <a:cubicBezTo>
                  <a:pt x="722" y="223"/>
                  <a:pt x="722" y="223"/>
                  <a:pt x="722" y="223"/>
                </a:cubicBezTo>
                <a:cubicBezTo>
                  <a:pt x="722" y="222"/>
                  <a:pt x="723" y="223"/>
                  <a:pt x="723" y="222"/>
                </a:cubicBezTo>
                <a:cubicBezTo>
                  <a:pt x="723" y="222"/>
                  <a:pt x="723" y="222"/>
                  <a:pt x="723" y="222"/>
                </a:cubicBezTo>
                <a:cubicBezTo>
                  <a:pt x="724" y="222"/>
                  <a:pt x="724" y="222"/>
                  <a:pt x="724" y="222"/>
                </a:cubicBezTo>
                <a:cubicBezTo>
                  <a:pt x="724" y="222"/>
                  <a:pt x="724" y="222"/>
                  <a:pt x="724" y="222"/>
                </a:cubicBezTo>
                <a:cubicBezTo>
                  <a:pt x="724" y="222"/>
                  <a:pt x="724" y="222"/>
                  <a:pt x="724" y="222"/>
                </a:cubicBezTo>
                <a:cubicBezTo>
                  <a:pt x="724" y="222"/>
                  <a:pt x="724" y="222"/>
                  <a:pt x="724" y="222"/>
                </a:cubicBezTo>
                <a:cubicBezTo>
                  <a:pt x="724" y="222"/>
                  <a:pt x="724" y="222"/>
                  <a:pt x="724" y="222"/>
                </a:cubicBezTo>
                <a:cubicBezTo>
                  <a:pt x="724" y="222"/>
                  <a:pt x="725" y="222"/>
                  <a:pt x="725" y="222"/>
                </a:cubicBezTo>
                <a:cubicBezTo>
                  <a:pt x="725" y="222"/>
                  <a:pt x="725" y="222"/>
                  <a:pt x="725" y="222"/>
                </a:cubicBezTo>
                <a:cubicBezTo>
                  <a:pt x="725" y="222"/>
                  <a:pt x="725" y="222"/>
                  <a:pt x="725" y="222"/>
                </a:cubicBezTo>
                <a:cubicBezTo>
                  <a:pt x="725" y="222"/>
                  <a:pt x="725" y="222"/>
                  <a:pt x="725" y="222"/>
                </a:cubicBezTo>
                <a:cubicBezTo>
                  <a:pt x="725" y="221"/>
                  <a:pt x="725" y="221"/>
                  <a:pt x="725" y="221"/>
                </a:cubicBezTo>
                <a:cubicBezTo>
                  <a:pt x="725" y="221"/>
                  <a:pt x="725" y="221"/>
                  <a:pt x="725" y="221"/>
                </a:cubicBezTo>
                <a:cubicBezTo>
                  <a:pt x="725" y="221"/>
                  <a:pt x="725" y="221"/>
                  <a:pt x="725" y="221"/>
                </a:cubicBezTo>
                <a:cubicBezTo>
                  <a:pt x="725" y="221"/>
                  <a:pt x="725" y="221"/>
                  <a:pt x="725" y="221"/>
                </a:cubicBezTo>
                <a:cubicBezTo>
                  <a:pt x="725" y="221"/>
                  <a:pt x="725" y="221"/>
                  <a:pt x="725" y="221"/>
                </a:cubicBezTo>
                <a:cubicBezTo>
                  <a:pt x="725" y="221"/>
                  <a:pt x="725" y="221"/>
                  <a:pt x="725" y="221"/>
                </a:cubicBezTo>
                <a:cubicBezTo>
                  <a:pt x="725" y="221"/>
                  <a:pt x="725" y="221"/>
                  <a:pt x="725" y="221"/>
                </a:cubicBezTo>
                <a:cubicBezTo>
                  <a:pt x="725" y="221"/>
                  <a:pt x="725" y="221"/>
                  <a:pt x="725" y="221"/>
                </a:cubicBezTo>
                <a:cubicBezTo>
                  <a:pt x="725" y="221"/>
                  <a:pt x="725" y="221"/>
                  <a:pt x="725" y="221"/>
                </a:cubicBezTo>
                <a:cubicBezTo>
                  <a:pt x="725" y="221"/>
                  <a:pt x="725" y="221"/>
                  <a:pt x="725" y="221"/>
                </a:cubicBezTo>
                <a:cubicBezTo>
                  <a:pt x="725" y="221"/>
                  <a:pt x="725" y="221"/>
                  <a:pt x="725" y="221"/>
                </a:cubicBezTo>
                <a:cubicBezTo>
                  <a:pt x="725" y="221"/>
                  <a:pt x="726" y="222"/>
                  <a:pt x="726" y="222"/>
                </a:cubicBezTo>
                <a:cubicBezTo>
                  <a:pt x="726" y="222"/>
                  <a:pt x="726" y="222"/>
                  <a:pt x="726" y="222"/>
                </a:cubicBezTo>
                <a:cubicBezTo>
                  <a:pt x="726" y="222"/>
                  <a:pt x="726" y="222"/>
                  <a:pt x="726" y="222"/>
                </a:cubicBezTo>
                <a:cubicBezTo>
                  <a:pt x="726" y="222"/>
                  <a:pt x="726" y="222"/>
                  <a:pt x="726" y="222"/>
                </a:cubicBezTo>
                <a:cubicBezTo>
                  <a:pt x="726" y="222"/>
                  <a:pt x="726" y="222"/>
                  <a:pt x="726" y="222"/>
                </a:cubicBezTo>
                <a:cubicBezTo>
                  <a:pt x="726" y="222"/>
                  <a:pt x="726" y="222"/>
                  <a:pt x="726" y="222"/>
                </a:cubicBezTo>
                <a:cubicBezTo>
                  <a:pt x="726" y="222"/>
                  <a:pt x="726" y="222"/>
                  <a:pt x="726" y="222"/>
                </a:cubicBezTo>
                <a:cubicBezTo>
                  <a:pt x="726" y="222"/>
                  <a:pt x="726" y="222"/>
                  <a:pt x="726" y="222"/>
                </a:cubicBezTo>
                <a:cubicBezTo>
                  <a:pt x="726" y="221"/>
                  <a:pt x="726" y="221"/>
                  <a:pt x="726" y="221"/>
                </a:cubicBezTo>
                <a:cubicBezTo>
                  <a:pt x="726" y="221"/>
                  <a:pt x="726" y="221"/>
                  <a:pt x="726" y="221"/>
                </a:cubicBezTo>
                <a:cubicBezTo>
                  <a:pt x="726" y="221"/>
                  <a:pt x="726" y="221"/>
                  <a:pt x="726" y="221"/>
                </a:cubicBezTo>
                <a:cubicBezTo>
                  <a:pt x="726" y="221"/>
                  <a:pt x="726" y="221"/>
                  <a:pt x="726" y="221"/>
                </a:cubicBezTo>
                <a:cubicBezTo>
                  <a:pt x="726" y="221"/>
                  <a:pt x="726" y="221"/>
                  <a:pt x="726" y="221"/>
                </a:cubicBezTo>
                <a:cubicBezTo>
                  <a:pt x="726" y="220"/>
                  <a:pt x="726" y="220"/>
                  <a:pt x="726" y="220"/>
                </a:cubicBezTo>
                <a:cubicBezTo>
                  <a:pt x="726" y="220"/>
                  <a:pt x="726" y="220"/>
                  <a:pt x="726" y="220"/>
                </a:cubicBezTo>
                <a:cubicBezTo>
                  <a:pt x="726" y="219"/>
                  <a:pt x="726" y="219"/>
                  <a:pt x="726" y="219"/>
                </a:cubicBezTo>
                <a:cubicBezTo>
                  <a:pt x="726" y="219"/>
                  <a:pt x="726" y="219"/>
                  <a:pt x="726" y="219"/>
                </a:cubicBezTo>
                <a:cubicBezTo>
                  <a:pt x="726" y="219"/>
                  <a:pt x="726" y="219"/>
                  <a:pt x="726" y="219"/>
                </a:cubicBezTo>
                <a:cubicBezTo>
                  <a:pt x="726" y="219"/>
                  <a:pt x="726" y="219"/>
                  <a:pt x="726" y="219"/>
                </a:cubicBezTo>
                <a:cubicBezTo>
                  <a:pt x="726" y="219"/>
                  <a:pt x="726" y="219"/>
                  <a:pt x="726" y="219"/>
                </a:cubicBezTo>
                <a:cubicBezTo>
                  <a:pt x="726" y="219"/>
                  <a:pt x="726" y="219"/>
                  <a:pt x="726" y="219"/>
                </a:cubicBezTo>
                <a:cubicBezTo>
                  <a:pt x="726" y="219"/>
                  <a:pt x="726" y="219"/>
                  <a:pt x="726" y="219"/>
                </a:cubicBezTo>
                <a:cubicBezTo>
                  <a:pt x="726" y="219"/>
                  <a:pt x="726" y="219"/>
                  <a:pt x="726" y="219"/>
                </a:cubicBezTo>
                <a:cubicBezTo>
                  <a:pt x="726" y="219"/>
                  <a:pt x="726" y="219"/>
                  <a:pt x="726" y="219"/>
                </a:cubicBezTo>
                <a:cubicBezTo>
                  <a:pt x="726" y="220"/>
                  <a:pt x="726" y="220"/>
                  <a:pt x="726" y="220"/>
                </a:cubicBezTo>
                <a:cubicBezTo>
                  <a:pt x="726" y="220"/>
                  <a:pt x="726" y="220"/>
                  <a:pt x="726" y="220"/>
                </a:cubicBezTo>
                <a:cubicBezTo>
                  <a:pt x="726" y="220"/>
                  <a:pt x="726" y="220"/>
                  <a:pt x="726" y="220"/>
                </a:cubicBezTo>
                <a:cubicBezTo>
                  <a:pt x="726" y="220"/>
                  <a:pt x="726" y="220"/>
                  <a:pt x="726" y="220"/>
                </a:cubicBezTo>
                <a:cubicBezTo>
                  <a:pt x="726" y="220"/>
                  <a:pt x="726" y="220"/>
                  <a:pt x="726" y="220"/>
                </a:cubicBezTo>
                <a:cubicBezTo>
                  <a:pt x="726" y="220"/>
                  <a:pt x="726" y="220"/>
                  <a:pt x="726" y="220"/>
                </a:cubicBezTo>
                <a:cubicBezTo>
                  <a:pt x="726" y="219"/>
                  <a:pt x="726" y="219"/>
                  <a:pt x="726" y="219"/>
                </a:cubicBezTo>
                <a:cubicBezTo>
                  <a:pt x="726" y="219"/>
                  <a:pt x="726" y="219"/>
                  <a:pt x="726" y="219"/>
                </a:cubicBezTo>
                <a:cubicBezTo>
                  <a:pt x="726" y="219"/>
                  <a:pt x="726" y="219"/>
                  <a:pt x="726" y="219"/>
                </a:cubicBezTo>
                <a:cubicBezTo>
                  <a:pt x="726" y="219"/>
                  <a:pt x="726" y="219"/>
                  <a:pt x="726" y="219"/>
                </a:cubicBezTo>
                <a:cubicBezTo>
                  <a:pt x="726" y="219"/>
                  <a:pt x="726" y="219"/>
                  <a:pt x="726" y="219"/>
                </a:cubicBezTo>
                <a:cubicBezTo>
                  <a:pt x="726" y="219"/>
                  <a:pt x="726" y="219"/>
                  <a:pt x="726" y="219"/>
                </a:cubicBezTo>
                <a:cubicBezTo>
                  <a:pt x="726" y="219"/>
                  <a:pt x="726" y="219"/>
                  <a:pt x="726" y="219"/>
                </a:cubicBezTo>
                <a:cubicBezTo>
                  <a:pt x="727" y="219"/>
                  <a:pt x="727" y="219"/>
                  <a:pt x="727" y="219"/>
                </a:cubicBezTo>
                <a:cubicBezTo>
                  <a:pt x="727" y="219"/>
                  <a:pt x="727" y="219"/>
                  <a:pt x="727" y="219"/>
                </a:cubicBezTo>
                <a:cubicBezTo>
                  <a:pt x="727" y="219"/>
                  <a:pt x="727" y="219"/>
                  <a:pt x="727" y="219"/>
                </a:cubicBezTo>
                <a:cubicBezTo>
                  <a:pt x="727" y="219"/>
                  <a:pt x="727" y="219"/>
                  <a:pt x="727" y="219"/>
                </a:cubicBezTo>
                <a:cubicBezTo>
                  <a:pt x="727" y="220"/>
                  <a:pt x="727" y="220"/>
                  <a:pt x="727" y="220"/>
                </a:cubicBezTo>
                <a:cubicBezTo>
                  <a:pt x="727" y="220"/>
                  <a:pt x="727" y="220"/>
                  <a:pt x="727" y="221"/>
                </a:cubicBezTo>
                <a:cubicBezTo>
                  <a:pt x="728" y="222"/>
                  <a:pt x="728" y="222"/>
                  <a:pt x="728" y="222"/>
                </a:cubicBezTo>
                <a:cubicBezTo>
                  <a:pt x="728" y="222"/>
                  <a:pt x="728" y="222"/>
                  <a:pt x="728" y="222"/>
                </a:cubicBezTo>
                <a:cubicBezTo>
                  <a:pt x="728" y="222"/>
                  <a:pt x="728" y="222"/>
                  <a:pt x="728" y="222"/>
                </a:cubicBezTo>
                <a:cubicBezTo>
                  <a:pt x="728" y="222"/>
                  <a:pt x="728" y="222"/>
                  <a:pt x="728" y="222"/>
                </a:cubicBezTo>
                <a:cubicBezTo>
                  <a:pt x="728" y="222"/>
                  <a:pt x="728" y="222"/>
                  <a:pt x="728" y="222"/>
                </a:cubicBezTo>
                <a:cubicBezTo>
                  <a:pt x="728" y="222"/>
                  <a:pt x="728" y="222"/>
                  <a:pt x="728" y="222"/>
                </a:cubicBezTo>
                <a:cubicBezTo>
                  <a:pt x="729" y="222"/>
                  <a:pt x="729" y="222"/>
                  <a:pt x="729" y="222"/>
                </a:cubicBezTo>
                <a:cubicBezTo>
                  <a:pt x="729" y="221"/>
                  <a:pt x="729" y="221"/>
                  <a:pt x="729" y="221"/>
                </a:cubicBezTo>
                <a:cubicBezTo>
                  <a:pt x="729" y="221"/>
                  <a:pt x="729" y="221"/>
                  <a:pt x="729" y="221"/>
                </a:cubicBezTo>
                <a:cubicBezTo>
                  <a:pt x="729" y="221"/>
                  <a:pt x="729" y="221"/>
                  <a:pt x="729" y="221"/>
                </a:cubicBezTo>
                <a:cubicBezTo>
                  <a:pt x="729" y="221"/>
                  <a:pt x="729" y="221"/>
                  <a:pt x="729" y="221"/>
                </a:cubicBezTo>
                <a:cubicBezTo>
                  <a:pt x="729" y="221"/>
                  <a:pt x="729" y="221"/>
                  <a:pt x="729" y="221"/>
                </a:cubicBezTo>
                <a:cubicBezTo>
                  <a:pt x="729" y="221"/>
                  <a:pt x="729" y="221"/>
                  <a:pt x="729" y="221"/>
                </a:cubicBezTo>
                <a:cubicBezTo>
                  <a:pt x="729" y="221"/>
                  <a:pt x="729" y="221"/>
                  <a:pt x="729" y="221"/>
                </a:cubicBezTo>
                <a:cubicBezTo>
                  <a:pt x="729" y="221"/>
                  <a:pt x="729" y="221"/>
                  <a:pt x="729" y="221"/>
                </a:cubicBezTo>
                <a:cubicBezTo>
                  <a:pt x="729" y="221"/>
                  <a:pt x="729" y="221"/>
                  <a:pt x="729" y="221"/>
                </a:cubicBezTo>
                <a:cubicBezTo>
                  <a:pt x="729" y="221"/>
                  <a:pt x="729" y="221"/>
                  <a:pt x="729" y="221"/>
                </a:cubicBezTo>
                <a:cubicBezTo>
                  <a:pt x="729" y="221"/>
                  <a:pt x="729" y="221"/>
                  <a:pt x="729" y="221"/>
                </a:cubicBezTo>
                <a:cubicBezTo>
                  <a:pt x="729" y="221"/>
                  <a:pt x="729" y="221"/>
                  <a:pt x="729" y="221"/>
                </a:cubicBezTo>
                <a:cubicBezTo>
                  <a:pt x="729" y="221"/>
                  <a:pt x="729" y="221"/>
                  <a:pt x="729" y="221"/>
                </a:cubicBezTo>
                <a:cubicBezTo>
                  <a:pt x="729" y="221"/>
                  <a:pt x="729" y="221"/>
                  <a:pt x="729" y="221"/>
                </a:cubicBezTo>
                <a:cubicBezTo>
                  <a:pt x="729" y="221"/>
                  <a:pt x="729" y="221"/>
                  <a:pt x="729" y="221"/>
                </a:cubicBezTo>
                <a:cubicBezTo>
                  <a:pt x="729" y="221"/>
                  <a:pt x="729" y="221"/>
                  <a:pt x="729" y="221"/>
                </a:cubicBezTo>
                <a:cubicBezTo>
                  <a:pt x="729" y="221"/>
                  <a:pt x="729" y="221"/>
                  <a:pt x="729" y="221"/>
                </a:cubicBezTo>
                <a:cubicBezTo>
                  <a:pt x="729" y="221"/>
                  <a:pt x="729" y="221"/>
                  <a:pt x="729" y="221"/>
                </a:cubicBezTo>
                <a:cubicBezTo>
                  <a:pt x="729" y="220"/>
                  <a:pt x="729" y="220"/>
                  <a:pt x="729" y="220"/>
                </a:cubicBezTo>
                <a:cubicBezTo>
                  <a:pt x="729" y="220"/>
                  <a:pt x="729" y="219"/>
                  <a:pt x="729" y="219"/>
                </a:cubicBezTo>
                <a:cubicBezTo>
                  <a:pt x="729" y="218"/>
                  <a:pt x="729" y="218"/>
                  <a:pt x="729" y="218"/>
                </a:cubicBezTo>
                <a:cubicBezTo>
                  <a:pt x="729" y="218"/>
                  <a:pt x="729" y="218"/>
                  <a:pt x="729" y="218"/>
                </a:cubicBezTo>
                <a:cubicBezTo>
                  <a:pt x="729" y="218"/>
                  <a:pt x="729" y="218"/>
                  <a:pt x="729" y="218"/>
                </a:cubicBezTo>
                <a:cubicBezTo>
                  <a:pt x="729" y="218"/>
                  <a:pt x="729" y="218"/>
                  <a:pt x="729" y="218"/>
                </a:cubicBezTo>
                <a:cubicBezTo>
                  <a:pt x="729" y="218"/>
                  <a:pt x="729" y="218"/>
                  <a:pt x="729" y="218"/>
                </a:cubicBezTo>
                <a:cubicBezTo>
                  <a:pt x="729" y="218"/>
                  <a:pt x="730" y="219"/>
                  <a:pt x="730" y="218"/>
                </a:cubicBezTo>
                <a:cubicBezTo>
                  <a:pt x="730" y="218"/>
                  <a:pt x="730" y="218"/>
                  <a:pt x="730" y="218"/>
                </a:cubicBezTo>
                <a:cubicBezTo>
                  <a:pt x="730" y="218"/>
                  <a:pt x="730" y="218"/>
                  <a:pt x="730" y="218"/>
                </a:cubicBezTo>
                <a:cubicBezTo>
                  <a:pt x="730" y="218"/>
                  <a:pt x="730" y="218"/>
                  <a:pt x="730" y="218"/>
                </a:cubicBezTo>
                <a:cubicBezTo>
                  <a:pt x="730" y="218"/>
                  <a:pt x="730" y="218"/>
                  <a:pt x="730" y="218"/>
                </a:cubicBezTo>
                <a:cubicBezTo>
                  <a:pt x="730" y="218"/>
                  <a:pt x="730" y="218"/>
                  <a:pt x="730" y="218"/>
                </a:cubicBezTo>
                <a:cubicBezTo>
                  <a:pt x="731" y="218"/>
                  <a:pt x="731" y="218"/>
                  <a:pt x="731" y="218"/>
                </a:cubicBezTo>
                <a:cubicBezTo>
                  <a:pt x="731" y="218"/>
                  <a:pt x="730" y="217"/>
                  <a:pt x="730" y="216"/>
                </a:cubicBezTo>
                <a:cubicBezTo>
                  <a:pt x="730" y="216"/>
                  <a:pt x="730" y="216"/>
                  <a:pt x="730" y="216"/>
                </a:cubicBezTo>
                <a:cubicBezTo>
                  <a:pt x="730" y="216"/>
                  <a:pt x="730" y="216"/>
                  <a:pt x="730" y="216"/>
                </a:cubicBezTo>
                <a:cubicBezTo>
                  <a:pt x="730" y="215"/>
                  <a:pt x="730" y="215"/>
                  <a:pt x="730" y="215"/>
                </a:cubicBezTo>
                <a:cubicBezTo>
                  <a:pt x="731" y="215"/>
                  <a:pt x="731" y="215"/>
                  <a:pt x="731" y="215"/>
                </a:cubicBezTo>
                <a:cubicBezTo>
                  <a:pt x="731" y="216"/>
                  <a:pt x="731" y="216"/>
                  <a:pt x="731" y="216"/>
                </a:cubicBezTo>
                <a:cubicBezTo>
                  <a:pt x="731" y="216"/>
                  <a:pt x="731" y="216"/>
                  <a:pt x="731" y="216"/>
                </a:cubicBezTo>
                <a:cubicBezTo>
                  <a:pt x="731" y="216"/>
                  <a:pt x="731" y="216"/>
                  <a:pt x="731" y="216"/>
                </a:cubicBezTo>
                <a:cubicBezTo>
                  <a:pt x="731" y="216"/>
                  <a:pt x="731" y="216"/>
                  <a:pt x="731" y="216"/>
                </a:cubicBezTo>
                <a:cubicBezTo>
                  <a:pt x="731" y="216"/>
                  <a:pt x="731" y="216"/>
                  <a:pt x="731" y="216"/>
                </a:cubicBezTo>
                <a:cubicBezTo>
                  <a:pt x="731" y="216"/>
                  <a:pt x="731" y="216"/>
                  <a:pt x="731" y="216"/>
                </a:cubicBezTo>
                <a:cubicBezTo>
                  <a:pt x="731" y="216"/>
                  <a:pt x="731" y="216"/>
                  <a:pt x="731" y="216"/>
                </a:cubicBezTo>
                <a:cubicBezTo>
                  <a:pt x="731" y="216"/>
                  <a:pt x="731" y="216"/>
                  <a:pt x="731" y="216"/>
                </a:cubicBezTo>
                <a:cubicBezTo>
                  <a:pt x="731" y="216"/>
                  <a:pt x="731" y="216"/>
                  <a:pt x="731" y="216"/>
                </a:cubicBezTo>
                <a:cubicBezTo>
                  <a:pt x="731" y="216"/>
                  <a:pt x="731" y="216"/>
                  <a:pt x="731" y="216"/>
                </a:cubicBezTo>
                <a:cubicBezTo>
                  <a:pt x="731" y="216"/>
                  <a:pt x="731" y="216"/>
                  <a:pt x="731" y="216"/>
                </a:cubicBezTo>
                <a:cubicBezTo>
                  <a:pt x="731" y="216"/>
                  <a:pt x="731" y="216"/>
                  <a:pt x="731" y="216"/>
                </a:cubicBezTo>
                <a:cubicBezTo>
                  <a:pt x="732" y="216"/>
                  <a:pt x="732" y="216"/>
                  <a:pt x="732" y="216"/>
                </a:cubicBezTo>
                <a:cubicBezTo>
                  <a:pt x="732" y="216"/>
                  <a:pt x="732" y="216"/>
                  <a:pt x="732" y="216"/>
                </a:cubicBezTo>
                <a:cubicBezTo>
                  <a:pt x="732" y="216"/>
                  <a:pt x="732" y="216"/>
                  <a:pt x="732" y="216"/>
                </a:cubicBezTo>
                <a:cubicBezTo>
                  <a:pt x="732" y="216"/>
                  <a:pt x="732" y="216"/>
                  <a:pt x="732" y="216"/>
                </a:cubicBezTo>
                <a:cubicBezTo>
                  <a:pt x="732" y="216"/>
                  <a:pt x="732" y="216"/>
                  <a:pt x="732" y="216"/>
                </a:cubicBezTo>
                <a:cubicBezTo>
                  <a:pt x="732" y="215"/>
                  <a:pt x="732" y="215"/>
                  <a:pt x="732" y="215"/>
                </a:cubicBezTo>
                <a:cubicBezTo>
                  <a:pt x="732" y="215"/>
                  <a:pt x="732" y="215"/>
                  <a:pt x="732" y="215"/>
                </a:cubicBezTo>
                <a:cubicBezTo>
                  <a:pt x="732" y="215"/>
                  <a:pt x="732" y="215"/>
                  <a:pt x="732" y="215"/>
                </a:cubicBezTo>
                <a:cubicBezTo>
                  <a:pt x="732" y="214"/>
                  <a:pt x="732" y="214"/>
                  <a:pt x="732" y="214"/>
                </a:cubicBezTo>
                <a:cubicBezTo>
                  <a:pt x="732" y="214"/>
                  <a:pt x="732" y="214"/>
                  <a:pt x="732" y="214"/>
                </a:cubicBezTo>
                <a:cubicBezTo>
                  <a:pt x="732" y="214"/>
                  <a:pt x="732" y="214"/>
                  <a:pt x="732" y="214"/>
                </a:cubicBezTo>
                <a:cubicBezTo>
                  <a:pt x="731" y="214"/>
                  <a:pt x="731" y="214"/>
                  <a:pt x="731" y="214"/>
                </a:cubicBezTo>
                <a:cubicBezTo>
                  <a:pt x="731" y="214"/>
                  <a:pt x="731" y="214"/>
                  <a:pt x="731" y="214"/>
                </a:cubicBezTo>
                <a:cubicBezTo>
                  <a:pt x="730" y="214"/>
                  <a:pt x="730" y="214"/>
                  <a:pt x="730" y="214"/>
                </a:cubicBezTo>
                <a:cubicBezTo>
                  <a:pt x="729" y="214"/>
                  <a:pt x="729" y="214"/>
                  <a:pt x="728" y="214"/>
                </a:cubicBezTo>
                <a:cubicBezTo>
                  <a:pt x="728" y="214"/>
                  <a:pt x="728" y="214"/>
                  <a:pt x="728" y="214"/>
                </a:cubicBezTo>
                <a:cubicBezTo>
                  <a:pt x="728" y="214"/>
                  <a:pt x="728" y="214"/>
                  <a:pt x="728" y="214"/>
                </a:cubicBezTo>
                <a:cubicBezTo>
                  <a:pt x="728" y="214"/>
                  <a:pt x="728" y="214"/>
                  <a:pt x="728" y="214"/>
                </a:cubicBezTo>
                <a:cubicBezTo>
                  <a:pt x="728" y="214"/>
                  <a:pt x="728" y="214"/>
                  <a:pt x="728" y="214"/>
                </a:cubicBezTo>
                <a:cubicBezTo>
                  <a:pt x="728" y="214"/>
                  <a:pt x="728" y="214"/>
                  <a:pt x="728" y="214"/>
                </a:cubicBezTo>
                <a:cubicBezTo>
                  <a:pt x="728" y="214"/>
                  <a:pt x="728" y="214"/>
                  <a:pt x="728" y="214"/>
                </a:cubicBezTo>
                <a:cubicBezTo>
                  <a:pt x="728" y="215"/>
                  <a:pt x="727" y="214"/>
                  <a:pt x="727" y="214"/>
                </a:cubicBezTo>
                <a:cubicBezTo>
                  <a:pt x="727" y="214"/>
                  <a:pt x="727" y="214"/>
                  <a:pt x="727" y="214"/>
                </a:cubicBezTo>
                <a:cubicBezTo>
                  <a:pt x="727" y="214"/>
                  <a:pt x="727" y="214"/>
                  <a:pt x="727" y="214"/>
                </a:cubicBezTo>
                <a:cubicBezTo>
                  <a:pt x="727" y="214"/>
                  <a:pt x="727" y="214"/>
                  <a:pt x="727" y="214"/>
                </a:cubicBezTo>
                <a:cubicBezTo>
                  <a:pt x="727" y="214"/>
                  <a:pt x="727" y="214"/>
                  <a:pt x="727" y="214"/>
                </a:cubicBezTo>
                <a:cubicBezTo>
                  <a:pt x="727" y="214"/>
                  <a:pt x="727" y="214"/>
                  <a:pt x="727" y="214"/>
                </a:cubicBezTo>
                <a:cubicBezTo>
                  <a:pt x="727" y="214"/>
                  <a:pt x="727" y="214"/>
                  <a:pt x="727" y="214"/>
                </a:cubicBezTo>
                <a:cubicBezTo>
                  <a:pt x="728" y="214"/>
                  <a:pt x="728" y="213"/>
                  <a:pt x="728" y="213"/>
                </a:cubicBezTo>
                <a:cubicBezTo>
                  <a:pt x="727" y="213"/>
                  <a:pt x="727" y="213"/>
                  <a:pt x="727" y="213"/>
                </a:cubicBezTo>
                <a:cubicBezTo>
                  <a:pt x="727" y="213"/>
                  <a:pt x="727" y="213"/>
                  <a:pt x="727" y="213"/>
                </a:cubicBezTo>
                <a:cubicBezTo>
                  <a:pt x="727" y="213"/>
                  <a:pt x="728" y="213"/>
                  <a:pt x="727" y="213"/>
                </a:cubicBezTo>
                <a:cubicBezTo>
                  <a:pt x="727" y="213"/>
                  <a:pt x="727" y="213"/>
                  <a:pt x="727" y="213"/>
                </a:cubicBezTo>
                <a:cubicBezTo>
                  <a:pt x="727" y="212"/>
                  <a:pt x="727" y="212"/>
                  <a:pt x="727" y="212"/>
                </a:cubicBezTo>
                <a:cubicBezTo>
                  <a:pt x="727" y="212"/>
                  <a:pt x="727" y="212"/>
                  <a:pt x="727" y="212"/>
                </a:cubicBezTo>
                <a:cubicBezTo>
                  <a:pt x="727" y="212"/>
                  <a:pt x="727" y="212"/>
                  <a:pt x="727" y="212"/>
                </a:cubicBezTo>
                <a:cubicBezTo>
                  <a:pt x="727" y="212"/>
                  <a:pt x="727" y="212"/>
                  <a:pt x="727" y="211"/>
                </a:cubicBezTo>
                <a:cubicBezTo>
                  <a:pt x="727" y="211"/>
                  <a:pt x="727" y="211"/>
                  <a:pt x="727" y="211"/>
                </a:cubicBezTo>
                <a:cubicBezTo>
                  <a:pt x="727" y="211"/>
                  <a:pt x="727" y="211"/>
                  <a:pt x="727" y="211"/>
                </a:cubicBezTo>
                <a:cubicBezTo>
                  <a:pt x="727" y="211"/>
                  <a:pt x="727" y="211"/>
                  <a:pt x="727" y="211"/>
                </a:cubicBezTo>
                <a:cubicBezTo>
                  <a:pt x="727" y="211"/>
                  <a:pt x="727" y="211"/>
                  <a:pt x="727" y="211"/>
                </a:cubicBezTo>
                <a:cubicBezTo>
                  <a:pt x="727" y="211"/>
                  <a:pt x="727" y="211"/>
                  <a:pt x="727" y="211"/>
                </a:cubicBezTo>
                <a:cubicBezTo>
                  <a:pt x="727" y="211"/>
                  <a:pt x="727" y="211"/>
                  <a:pt x="727" y="211"/>
                </a:cubicBezTo>
                <a:cubicBezTo>
                  <a:pt x="727" y="211"/>
                  <a:pt x="727" y="211"/>
                  <a:pt x="727" y="211"/>
                </a:cubicBezTo>
                <a:cubicBezTo>
                  <a:pt x="727" y="211"/>
                  <a:pt x="727" y="211"/>
                  <a:pt x="727" y="211"/>
                </a:cubicBezTo>
                <a:cubicBezTo>
                  <a:pt x="728" y="210"/>
                  <a:pt x="728" y="210"/>
                  <a:pt x="728" y="210"/>
                </a:cubicBezTo>
                <a:cubicBezTo>
                  <a:pt x="728" y="210"/>
                  <a:pt x="728" y="210"/>
                  <a:pt x="728" y="210"/>
                </a:cubicBezTo>
                <a:cubicBezTo>
                  <a:pt x="729" y="210"/>
                  <a:pt x="729" y="210"/>
                  <a:pt x="729" y="210"/>
                </a:cubicBezTo>
                <a:cubicBezTo>
                  <a:pt x="729" y="210"/>
                  <a:pt x="729" y="210"/>
                  <a:pt x="729" y="210"/>
                </a:cubicBezTo>
                <a:cubicBezTo>
                  <a:pt x="729" y="210"/>
                  <a:pt x="729" y="210"/>
                  <a:pt x="729" y="210"/>
                </a:cubicBezTo>
                <a:cubicBezTo>
                  <a:pt x="729" y="210"/>
                  <a:pt x="729" y="210"/>
                  <a:pt x="729" y="210"/>
                </a:cubicBezTo>
                <a:cubicBezTo>
                  <a:pt x="729" y="209"/>
                  <a:pt x="729" y="209"/>
                  <a:pt x="729" y="209"/>
                </a:cubicBezTo>
                <a:cubicBezTo>
                  <a:pt x="729" y="209"/>
                  <a:pt x="729" y="209"/>
                  <a:pt x="729" y="209"/>
                </a:cubicBezTo>
                <a:cubicBezTo>
                  <a:pt x="729" y="209"/>
                  <a:pt x="729" y="209"/>
                  <a:pt x="729" y="209"/>
                </a:cubicBezTo>
                <a:cubicBezTo>
                  <a:pt x="729" y="209"/>
                  <a:pt x="729" y="209"/>
                  <a:pt x="729" y="209"/>
                </a:cubicBezTo>
                <a:cubicBezTo>
                  <a:pt x="729" y="209"/>
                  <a:pt x="729" y="209"/>
                  <a:pt x="729" y="209"/>
                </a:cubicBezTo>
                <a:cubicBezTo>
                  <a:pt x="729" y="209"/>
                  <a:pt x="729" y="209"/>
                  <a:pt x="729" y="209"/>
                </a:cubicBezTo>
                <a:cubicBezTo>
                  <a:pt x="729" y="209"/>
                  <a:pt x="729" y="209"/>
                  <a:pt x="729" y="209"/>
                </a:cubicBezTo>
                <a:cubicBezTo>
                  <a:pt x="729" y="209"/>
                  <a:pt x="729" y="209"/>
                  <a:pt x="729" y="209"/>
                </a:cubicBezTo>
                <a:cubicBezTo>
                  <a:pt x="728" y="208"/>
                  <a:pt x="728" y="208"/>
                  <a:pt x="728" y="208"/>
                </a:cubicBezTo>
                <a:cubicBezTo>
                  <a:pt x="728" y="208"/>
                  <a:pt x="728" y="208"/>
                  <a:pt x="728" y="208"/>
                </a:cubicBezTo>
                <a:cubicBezTo>
                  <a:pt x="728" y="208"/>
                  <a:pt x="728" y="208"/>
                  <a:pt x="728" y="208"/>
                </a:cubicBezTo>
                <a:cubicBezTo>
                  <a:pt x="728" y="208"/>
                  <a:pt x="728" y="208"/>
                  <a:pt x="728" y="208"/>
                </a:cubicBezTo>
                <a:cubicBezTo>
                  <a:pt x="728" y="208"/>
                  <a:pt x="728" y="208"/>
                  <a:pt x="728" y="208"/>
                </a:cubicBezTo>
                <a:cubicBezTo>
                  <a:pt x="728" y="208"/>
                  <a:pt x="728" y="208"/>
                  <a:pt x="728" y="208"/>
                </a:cubicBezTo>
                <a:cubicBezTo>
                  <a:pt x="728" y="208"/>
                  <a:pt x="728" y="208"/>
                  <a:pt x="728" y="208"/>
                </a:cubicBezTo>
                <a:cubicBezTo>
                  <a:pt x="728" y="207"/>
                  <a:pt x="728" y="207"/>
                  <a:pt x="728" y="207"/>
                </a:cubicBezTo>
                <a:cubicBezTo>
                  <a:pt x="728" y="207"/>
                  <a:pt x="728" y="207"/>
                  <a:pt x="728" y="207"/>
                </a:cubicBezTo>
                <a:cubicBezTo>
                  <a:pt x="728" y="207"/>
                  <a:pt x="728" y="207"/>
                  <a:pt x="728" y="207"/>
                </a:cubicBezTo>
                <a:cubicBezTo>
                  <a:pt x="728" y="207"/>
                  <a:pt x="728" y="207"/>
                  <a:pt x="728" y="207"/>
                </a:cubicBezTo>
                <a:cubicBezTo>
                  <a:pt x="728" y="206"/>
                  <a:pt x="728" y="206"/>
                  <a:pt x="728" y="206"/>
                </a:cubicBezTo>
                <a:cubicBezTo>
                  <a:pt x="728" y="206"/>
                  <a:pt x="728" y="206"/>
                  <a:pt x="728" y="206"/>
                </a:cubicBezTo>
                <a:cubicBezTo>
                  <a:pt x="728" y="206"/>
                  <a:pt x="728" y="206"/>
                  <a:pt x="728" y="206"/>
                </a:cubicBezTo>
                <a:cubicBezTo>
                  <a:pt x="728" y="206"/>
                  <a:pt x="728" y="206"/>
                  <a:pt x="728" y="206"/>
                </a:cubicBezTo>
                <a:cubicBezTo>
                  <a:pt x="728" y="206"/>
                  <a:pt x="728" y="206"/>
                  <a:pt x="728" y="206"/>
                </a:cubicBezTo>
                <a:cubicBezTo>
                  <a:pt x="727" y="205"/>
                  <a:pt x="727" y="205"/>
                  <a:pt x="727" y="205"/>
                </a:cubicBezTo>
                <a:cubicBezTo>
                  <a:pt x="727" y="205"/>
                  <a:pt x="727" y="205"/>
                  <a:pt x="727" y="205"/>
                </a:cubicBezTo>
                <a:cubicBezTo>
                  <a:pt x="727" y="205"/>
                  <a:pt x="727" y="205"/>
                  <a:pt x="727" y="205"/>
                </a:cubicBezTo>
                <a:cubicBezTo>
                  <a:pt x="727" y="205"/>
                  <a:pt x="727" y="205"/>
                  <a:pt x="727" y="205"/>
                </a:cubicBezTo>
                <a:cubicBezTo>
                  <a:pt x="727" y="205"/>
                  <a:pt x="727" y="205"/>
                  <a:pt x="727" y="205"/>
                </a:cubicBezTo>
                <a:cubicBezTo>
                  <a:pt x="725" y="204"/>
                  <a:pt x="725" y="204"/>
                  <a:pt x="725" y="204"/>
                </a:cubicBezTo>
                <a:cubicBezTo>
                  <a:pt x="718" y="204"/>
                  <a:pt x="718" y="204"/>
                  <a:pt x="718" y="204"/>
                </a:cubicBezTo>
                <a:cubicBezTo>
                  <a:pt x="719" y="204"/>
                  <a:pt x="719" y="204"/>
                  <a:pt x="720" y="204"/>
                </a:cubicBezTo>
                <a:cubicBezTo>
                  <a:pt x="720" y="204"/>
                  <a:pt x="720" y="204"/>
                  <a:pt x="721" y="204"/>
                </a:cubicBezTo>
                <a:cubicBezTo>
                  <a:pt x="721" y="204"/>
                  <a:pt x="721" y="204"/>
                  <a:pt x="720" y="204"/>
                </a:cubicBezTo>
                <a:cubicBezTo>
                  <a:pt x="721" y="204"/>
                  <a:pt x="722" y="204"/>
                  <a:pt x="723" y="204"/>
                </a:cubicBezTo>
                <a:cubicBezTo>
                  <a:pt x="724" y="204"/>
                  <a:pt x="725" y="204"/>
                  <a:pt x="725" y="204"/>
                </a:cubicBezTo>
                <a:cubicBezTo>
                  <a:pt x="726" y="204"/>
                  <a:pt x="726" y="204"/>
                  <a:pt x="726" y="204"/>
                </a:cubicBezTo>
                <a:cubicBezTo>
                  <a:pt x="727" y="204"/>
                  <a:pt x="725" y="204"/>
                  <a:pt x="726" y="203"/>
                </a:cubicBezTo>
                <a:cubicBezTo>
                  <a:pt x="726" y="203"/>
                  <a:pt x="726" y="203"/>
                  <a:pt x="726" y="203"/>
                </a:cubicBezTo>
                <a:cubicBezTo>
                  <a:pt x="727" y="203"/>
                  <a:pt x="728" y="203"/>
                  <a:pt x="728" y="203"/>
                </a:cubicBezTo>
                <a:cubicBezTo>
                  <a:pt x="728" y="203"/>
                  <a:pt x="728" y="201"/>
                  <a:pt x="728" y="201"/>
                </a:cubicBezTo>
                <a:cubicBezTo>
                  <a:pt x="728" y="201"/>
                  <a:pt x="728" y="201"/>
                  <a:pt x="728" y="201"/>
                </a:cubicBezTo>
                <a:cubicBezTo>
                  <a:pt x="728" y="201"/>
                  <a:pt x="728" y="201"/>
                  <a:pt x="728" y="201"/>
                </a:cubicBezTo>
                <a:cubicBezTo>
                  <a:pt x="728" y="201"/>
                  <a:pt x="728" y="201"/>
                  <a:pt x="728" y="200"/>
                </a:cubicBezTo>
                <a:cubicBezTo>
                  <a:pt x="727" y="200"/>
                  <a:pt x="727" y="200"/>
                  <a:pt x="727" y="200"/>
                </a:cubicBezTo>
                <a:cubicBezTo>
                  <a:pt x="727" y="200"/>
                  <a:pt x="727" y="200"/>
                  <a:pt x="727" y="199"/>
                </a:cubicBezTo>
                <a:cubicBezTo>
                  <a:pt x="727" y="199"/>
                  <a:pt x="726" y="199"/>
                  <a:pt x="726" y="199"/>
                </a:cubicBezTo>
                <a:cubicBezTo>
                  <a:pt x="726" y="199"/>
                  <a:pt x="727" y="199"/>
                  <a:pt x="727" y="198"/>
                </a:cubicBezTo>
                <a:cubicBezTo>
                  <a:pt x="727" y="198"/>
                  <a:pt x="727" y="198"/>
                  <a:pt x="727" y="198"/>
                </a:cubicBezTo>
                <a:cubicBezTo>
                  <a:pt x="727" y="198"/>
                  <a:pt x="727" y="198"/>
                  <a:pt x="727" y="198"/>
                </a:cubicBezTo>
                <a:cubicBezTo>
                  <a:pt x="727" y="198"/>
                  <a:pt x="726" y="197"/>
                  <a:pt x="726" y="197"/>
                </a:cubicBezTo>
                <a:cubicBezTo>
                  <a:pt x="726" y="196"/>
                  <a:pt x="726" y="196"/>
                  <a:pt x="726" y="196"/>
                </a:cubicBezTo>
                <a:cubicBezTo>
                  <a:pt x="726" y="196"/>
                  <a:pt x="726" y="196"/>
                  <a:pt x="726" y="196"/>
                </a:cubicBezTo>
                <a:cubicBezTo>
                  <a:pt x="726" y="196"/>
                  <a:pt x="727" y="196"/>
                  <a:pt x="727" y="196"/>
                </a:cubicBezTo>
                <a:cubicBezTo>
                  <a:pt x="727" y="196"/>
                  <a:pt x="727" y="196"/>
                  <a:pt x="727" y="195"/>
                </a:cubicBezTo>
                <a:cubicBezTo>
                  <a:pt x="727" y="195"/>
                  <a:pt x="728" y="195"/>
                  <a:pt x="727" y="195"/>
                </a:cubicBezTo>
                <a:cubicBezTo>
                  <a:pt x="727" y="195"/>
                  <a:pt x="727" y="195"/>
                  <a:pt x="727" y="195"/>
                </a:cubicBezTo>
                <a:cubicBezTo>
                  <a:pt x="727" y="195"/>
                  <a:pt x="727" y="194"/>
                  <a:pt x="727" y="194"/>
                </a:cubicBezTo>
                <a:cubicBezTo>
                  <a:pt x="727" y="194"/>
                  <a:pt x="727" y="194"/>
                  <a:pt x="727" y="194"/>
                </a:cubicBezTo>
                <a:cubicBezTo>
                  <a:pt x="727" y="193"/>
                  <a:pt x="727" y="193"/>
                  <a:pt x="728" y="193"/>
                </a:cubicBezTo>
                <a:cubicBezTo>
                  <a:pt x="728" y="193"/>
                  <a:pt x="728" y="193"/>
                  <a:pt x="728" y="193"/>
                </a:cubicBezTo>
                <a:cubicBezTo>
                  <a:pt x="729" y="192"/>
                  <a:pt x="730" y="192"/>
                  <a:pt x="730" y="192"/>
                </a:cubicBezTo>
                <a:cubicBezTo>
                  <a:pt x="731" y="191"/>
                  <a:pt x="730" y="191"/>
                  <a:pt x="730" y="190"/>
                </a:cubicBezTo>
                <a:cubicBezTo>
                  <a:pt x="730" y="190"/>
                  <a:pt x="730" y="189"/>
                  <a:pt x="730" y="189"/>
                </a:cubicBezTo>
                <a:cubicBezTo>
                  <a:pt x="730" y="189"/>
                  <a:pt x="730" y="189"/>
                  <a:pt x="730" y="189"/>
                </a:cubicBezTo>
                <a:cubicBezTo>
                  <a:pt x="729" y="189"/>
                  <a:pt x="729" y="188"/>
                  <a:pt x="729" y="188"/>
                </a:cubicBezTo>
                <a:cubicBezTo>
                  <a:pt x="729" y="188"/>
                  <a:pt x="729" y="188"/>
                  <a:pt x="729" y="188"/>
                </a:cubicBezTo>
                <a:cubicBezTo>
                  <a:pt x="729" y="188"/>
                  <a:pt x="729" y="188"/>
                  <a:pt x="729" y="188"/>
                </a:cubicBezTo>
                <a:cubicBezTo>
                  <a:pt x="729" y="188"/>
                  <a:pt x="728" y="188"/>
                  <a:pt x="728" y="188"/>
                </a:cubicBezTo>
                <a:cubicBezTo>
                  <a:pt x="727" y="188"/>
                  <a:pt x="727" y="188"/>
                  <a:pt x="727" y="189"/>
                </a:cubicBezTo>
                <a:cubicBezTo>
                  <a:pt x="727" y="189"/>
                  <a:pt x="727" y="189"/>
                  <a:pt x="727" y="189"/>
                </a:cubicBezTo>
                <a:cubicBezTo>
                  <a:pt x="727" y="189"/>
                  <a:pt x="728" y="190"/>
                  <a:pt x="727" y="190"/>
                </a:cubicBezTo>
                <a:cubicBezTo>
                  <a:pt x="727" y="191"/>
                  <a:pt x="726" y="190"/>
                  <a:pt x="725" y="191"/>
                </a:cubicBezTo>
                <a:cubicBezTo>
                  <a:pt x="725" y="191"/>
                  <a:pt x="725" y="191"/>
                  <a:pt x="725" y="191"/>
                </a:cubicBezTo>
                <a:cubicBezTo>
                  <a:pt x="725" y="191"/>
                  <a:pt x="725" y="191"/>
                  <a:pt x="725" y="191"/>
                </a:cubicBezTo>
                <a:cubicBezTo>
                  <a:pt x="725" y="191"/>
                  <a:pt x="725" y="191"/>
                  <a:pt x="725" y="191"/>
                </a:cubicBezTo>
                <a:cubicBezTo>
                  <a:pt x="725" y="191"/>
                  <a:pt x="725" y="191"/>
                  <a:pt x="725" y="191"/>
                </a:cubicBezTo>
                <a:cubicBezTo>
                  <a:pt x="724" y="191"/>
                  <a:pt x="724" y="190"/>
                  <a:pt x="723" y="190"/>
                </a:cubicBezTo>
                <a:cubicBezTo>
                  <a:pt x="723" y="189"/>
                  <a:pt x="723" y="189"/>
                  <a:pt x="723" y="188"/>
                </a:cubicBezTo>
                <a:cubicBezTo>
                  <a:pt x="723" y="188"/>
                  <a:pt x="723" y="188"/>
                  <a:pt x="723" y="188"/>
                </a:cubicBezTo>
                <a:cubicBezTo>
                  <a:pt x="723" y="188"/>
                  <a:pt x="723" y="188"/>
                  <a:pt x="723" y="188"/>
                </a:cubicBezTo>
                <a:cubicBezTo>
                  <a:pt x="723" y="188"/>
                  <a:pt x="723" y="188"/>
                  <a:pt x="723" y="188"/>
                </a:cubicBezTo>
                <a:cubicBezTo>
                  <a:pt x="723" y="188"/>
                  <a:pt x="723" y="188"/>
                  <a:pt x="723" y="188"/>
                </a:cubicBezTo>
                <a:cubicBezTo>
                  <a:pt x="723" y="188"/>
                  <a:pt x="723" y="187"/>
                  <a:pt x="723" y="187"/>
                </a:cubicBezTo>
                <a:cubicBezTo>
                  <a:pt x="722" y="187"/>
                  <a:pt x="722" y="187"/>
                  <a:pt x="722" y="187"/>
                </a:cubicBezTo>
                <a:cubicBezTo>
                  <a:pt x="721" y="187"/>
                  <a:pt x="719" y="188"/>
                  <a:pt x="718" y="188"/>
                </a:cubicBezTo>
                <a:cubicBezTo>
                  <a:pt x="718" y="188"/>
                  <a:pt x="718" y="188"/>
                  <a:pt x="718" y="188"/>
                </a:cubicBezTo>
                <a:cubicBezTo>
                  <a:pt x="718" y="188"/>
                  <a:pt x="718" y="188"/>
                  <a:pt x="718" y="188"/>
                </a:cubicBezTo>
                <a:cubicBezTo>
                  <a:pt x="718" y="188"/>
                  <a:pt x="717" y="188"/>
                  <a:pt x="716" y="188"/>
                </a:cubicBezTo>
                <a:cubicBezTo>
                  <a:pt x="716" y="188"/>
                  <a:pt x="716" y="188"/>
                  <a:pt x="715" y="188"/>
                </a:cubicBezTo>
                <a:cubicBezTo>
                  <a:pt x="713" y="188"/>
                  <a:pt x="710" y="186"/>
                  <a:pt x="708" y="185"/>
                </a:cubicBezTo>
                <a:cubicBezTo>
                  <a:pt x="708" y="185"/>
                  <a:pt x="707" y="185"/>
                  <a:pt x="706" y="184"/>
                </a:cubicBezTo>
                <a:cubicBezTo>
                  <a:pt x="706" y="184"/>
                  <a:pt x="706" y="184"/>
                  <a:pt x="706" y="184"/>
                </a:cubicBezTo>
                <a:cubicBezTo>
                  <a:pt x="706" y="184"/>
                  <a:pt x="706" y="184"/>
                  <a:pt x="706" y="184"/>
                </a:cubicBezTo>
                <a:cubicBezTo>
                  <a:pt x="706" y="184"/>
                  <a:pt x="706" y="184"/>
                  <a:pt x="707" y="184"/>
                </a:cubicBezTo>
                <a:cubicBezTo>
                  <a:pt x="707" y="184"/>
                  <a:pt x="707" y="184"/>
                  <a:pt x="707" y="184"/>
                </a:cubicBezTo>
                <a:cubicBezTo>
                  <a:pt x="707" y="184"/>
                  <a:pt x="707" y="184"/>
                  <a:pt x="707" y="184"/>
                </a:cubicBezTo>
                <a:cubicBezTo>
                  <a:pt x="707" y="183"/>
                  <a:pt x="706" y="183"/>
                  <a:pt x="705" y="183"/>
                </a:cubicBezTo>
                <a:cubicBezTo>
                  <a:pt x="706" y="183"/>
                  <a:pt x="707" y="183"/>
                  <a:pt x="708" y="182"/>
                </a:cubicBezTo>
                <a:cubicBezTo>
                  <a:pt x="707" y="182"/>
                  <a:pt x="706" y="182"/>
                  <a:pt x="706" y="182"/>
                </a:cubicBezTo>
                <a:cubicBezTo>
                  <a:pt x="706" y="181"/>
                  <a:pt x="706" y="181"/>
                  <a:pt x="706" y="181"/>
                </a:cubicBezTo>
                <a:cubicBezTo>
                  <a:pt x="706" y="181"/>
                  <a:pt x="706" y="181"/>
                  <a:pt x="705" y="180"/>
                </a:cubicBezTo>
                <a:cubicBezTo>
                  <a:pt x="706" y="180"/>
                  <a:pt x="709" y="180"/>
                  <a:pt x="708" y="179"/>
                </a:cubicBezTo>
                <a:cubicBezTo>
                  <a:pt x="708" y="179"/>
                  <a:pt x="708" y="179"/>
                  <a:pt x="707" y="179"/>
                </a:cubicBezTo>
                <a:cubicBezTo>
                  <a:pt x="707" y="178"/>
                  <a:pt x="706" y="178"/>
                  <a:pt x="706" y="178"/>
                </a:cubicBezTo>
                <a:cubicBezTo>
                  <a:pt x="706" y="178"/>
                  <a:pt x="705" y="178"/>
                  <a:pt x="705" y="178"/>
                </a:cubicBezTo>
                <a:cubicBezTo>
                  <a:pt x="705" y="178"/>
                  <a:pt x="705" y="178"/>
                  <a:pt x="705" y="178"/>
                </a:cubicBezTo>
                <a:cubicBezTo>
                  <a:pt x="705" y="178"/>
                  <a:pt x="705" y="178"/>
                  <a:pt x="705" y="178"/>
                </a:cubicBezTo>
                <a:cubicBezTo>
                  <a:pt x="705" y="178"/>
                  <a:pt x="705" y="179"/>
                  <a:pt x="704" y="179"/>
                </a:cubicBezTo>
                <a:cubicBezTo>
                  <a:pt x="704" y="179"/>
                  <a:pt x="704" y="179"/>
                  <a:pt x="703" y="179"/>
                </a:cubicBezTo>
                <a:cubicBezTo>
                  <a:pt x="703" y="179"/>
                  <a:pt x="702" y="179"/>
                  <a:pt x="701" y="179"/>
                </a:cubicBezTo>
                <a:cubicBezTo>
                  <a:pt x="702" y="179"/>
                  <a:pt x="704" y="179"/>
                  <a:pt x="703" y="178"/>
                </a:cubicBezTo>
                <a:cubicBezTo>
                  <a:pt x="703" y="177"/>
                  <a:pt x="702" y="177"/>
                  <a:pt x="702" y="176"/>
                </a:cubicBezTo>
                <a:cubicBezTo>
                  <a:pt x="702" y="176"/>
                  <a:pt x="701" y="176"/>
                  <a:pt x="701" y="176"/>
                </a:cubicBezTo>
                <a:cubicBezTo>
                  <a:pt x="702" y="176"/>
                  <a:pt x="702" y="176"/>
                  <a:pt x="702" y="176"/>
                </a:cubicBezTo>
                <a:cubicBezTo>
                  <a:pt x="702" y="176"/>
                  <a:pt x="702" y="175"/>
                  <a:pt x="701" y="175"/>
                </a:cubicBezTo>
                <a:cubicBezTo>
                  <a:pt x="700" y="174"/>
                  <a:pt x="699" y="174"/>
                  <a:pt x="698" y="174"/>
                </a:cubicBezTo>
                <a:cubicBezTo>
                  <a:pt x="697" y="175"/>
                  <a:pt x="697" y="175"/>
                  <a:pt x="697" y="176"/>
                </a:cubicBezTo>
                <a:cubicBezTo>
                  <a:pt x="697" y="176"/>
                  <a:pt x="696" y="174"/>
                  <a:pt x="696" y="174"/>
                </a:cubicBezTo>
                <a:cubicBezTo>
                  <a:pt x="697" y="174"/>
                  <a:pt x="697" y="174"/>
                  <a:pt x="697" y="174"/>
                </a:cubicBezTo>
                <a:cubicBezTo>
                  <a:pt x="697" y="174"/>
                  <a:pt x="697" y="174"/>
                  <a:pt x="697" y="173"/>
                </a:cubicBezTo>
                <a:cubicBezTo>
                  <a:pt x="697" y="173"/>
                  <a:pt x="697" y="173"/>
                  <a:pt x="697" y="173"/>
                </a:cubicBezTo>
                <a:cubicBezTo>
                  <a:pt x="697" y="173"/>
                  <a:pt x="697" y="173"/>
                  <a:pt x="697" y="172"/>
                </a:cubicBezTo>
                <a:cubicBezTo>
                  <a:pt x="697" y="172"/>
                  <a:pt x="697" y="172"/>
                  <a:pt x="697" y="172"/>
                </a:cubicBezTo>
                <a:cubicBezTo>
                  <a:pt x="697" y="171"/>
                  <a:pt x="697" y="171"/>
                  <a:pt x="696" y="171"/>
                </a:cubicBezTo>
                <a:cubicBezTo>
                  <a:pt x="696" y="171"/>
                  <a:pt x="696" y="171"/>
                  <a:pt x="696" y="171"/>
                </a:cubicBezTo>
                <a:cubicBezTo>
                  <a:pt x="696" y="171"/>
                  <a:pt x="696" y="171"/>
                  <a:pt x="696" y="171"/>
                </a:cubicBezTo>
                <a:cubicBezTo>
                  <a:pt x="695" y="170"/>
                  <a:pt x="694" y="170"/>
                  <a:pt x="692" y="169"/>
                </a:cubicBezTo>
                <a:cubicBezTo>
                  <a:pt x="692" y="169"/>
                  <a:pt x="692" y="169"/>
                  <a:pt x="691" y="169"/>
                </a:cubicBezTo>
                <a:cubicBezTo>
                  <a:pt x="691" y="169"/>
                  <a:pt x="691" y="169"/>
                  <a:pt x="691" y="168"/>
                </a:cubicBezTo>
                <a:cubicBezTo>
                  <a:pt x="691" y="168"/>
                  <a:pt x="691" y="168"/>
                  <a:pt x="691" y="168"/>
                </a:cubicBezTo>
                <a:cubicBezTo>
                  <a:pt x="691" y="168"/>
                  <a:pt x="690" y="168"/>
                  <a:pt x="690" y="167"/>
                </a:cubicBezTo>
                <a:cubicBezTo>
                  <a:pt x="689" y="167"/>
                  <a:pt x="689" y="167"/>
                  <a:pt x="688" y="166"/>
                </a:cubicBezTo>
                <a:cubicBezTo>
                  <a:pt x="688" y="166"/>
                  <a:pt x="687" y="166"/>
                  <a:pt x="687" y="166"/>
                </a:cubicBezTo>
                <a:cubicBezTo>
                  <a:pt x="686" y="166"/>
                  <a:pt x="685" y="166"/>
                  <a:pt x="684" y="167"/>
                </a:cubicBezTo>
                <a:cubicBezTo>
                  <a:pt x="684" y="167"/>
                  <a:pt x="683" y="167"/>
                  <a:pt x="683" y="167"/>
                </a:cubicBezTo>
                <a:cubicBezTo>
                  <a:pt x="682" y="167"/>
                  <a:pt x="682" y="167"/>
                  <a:pt x="682" y="168"/>
                </a:cubicBezTo>
                <a:cubicBezTo>
                  <a:pt x="681" y="168"/>
                  <a:pt x="681" y="168"/>
                  <a:pt x="680" y="168"/>
                </a:cubicBezTo>
                <a:cubicBezTo>
                  <a:pt x="680" y="168"/>
                  <a:pt x="680" y="168"/>
                  <a:pt x="680" y="168"/>
                </a:cubicBezTo>
                <a:cubicBezTo>
                  <a:pt x="679" y="169"/>
                  <a:pt x="679" y="169"/>
                  <a:pt x="678" y="169"/>
                </a:cubicBezTo>
                <a:cubicBezTo>
                  <a:pt x="678" y="169"/>
                  <a:pt x="678" y="169"/>
                  <a:pt x="678" y="169"/>
                </a:cubicBezTo>
                <a:cubicBezTo>
                  <a:pt x="677" y="169"/>
                  <a:pt x="676" y="169"/>
                  <a:pt x="676" y="169"/>
                </a:cubicBezTo>
                <a:cubicBezTo>
                  <a:pt x="676" y="169"/>
                  <a:pt x="676" y="169"/>
                  <a:pt x="676" y="169"/>
                </a:cubicBezTo>
                <a:cubicBezTo>
                  <a:pt x="676" y="169"/>
                  <a:pt x="676" y="169"/>
                  <a:pt x="676" y="169"/>
                </a:cubicBezTo>
                <a:cubicBezTo>
                  <a:pt x="676" y="169"/>
                  <a:pt x="676" y="170"/>
                  <a:pt x="676" y="170"/>
                </a:cubicBezTo>
                <a:cubicBezTo>
                  <a:pt x="676" y="170"/>
                  <a:pt x="675" y="170"/>
                  <a:pt x="676" y="170"/>
                </a:cubicBezTo>
                <a:cubicBezTo>
                  <a:pt x="676" y="170"/>
                  <a:pt x="676" y="170"/>
                  <a:pt x="676" y="170"/>
                </a:cubicBezTo>
                <a:cubicBezTo>
                  <a:pt x="676" y="170"/>
                  <a:pt x="676" y="170"/>
                  <a:pt x="676" y="170"/>
                </a:cubicBezTo>
                <a:cubicBezTo>
                  <a:pt x="676" y="171"/>
                  <a:pt x="677" y="171"/>
                  <a:pt x="677" y="171"/>
                </a:cubicBezTo>
                <a:cubicBezTo>
                  <a:pt x="677" y="171"/>
                  <a:pt x="677" y="171"/>
                  <a:pt x="677" y="171"/>
                </a:cubicBezTo>
                <a:cubicBezTo>
                  <a:pt x="676" y="171"/>
                  <a:pt x="675" y="170"/>
                  <a:pt x="675" y="170"/>
                </a:cubicBezTo>
                <a:cubicBezTo>
                  <a:pt x="674" y="169"/>
                  <a:pt x="672" y="169"/>
                  <a:pt x="671" y="168"/>
                </a:cubicBezTo>
                <a:cubicBezTo>
                  <a:pt x="669" y="168"/>
                  <a:pt x="666" y="169"/>
                  <a:pt x="664" y="170"/>
                </a:cubicBezTo>
                <a:cubicBezTo>
                  <a:pt x="664" y="170"/>
                  <a:pt x="664" y="170"/>
                  <a:pt x="665" y="170"/>
                </a:cubicBezTo>
                <a:cubicBezTo>
                  <a:pt x="665" y="170"/>
                  <a:pt x="665" y="170"/>
                  <a:pt x="665" y="170"/>
                </a:cubicBezTo>
                <a:cubicBezTo>
                  <a:pt x="666" y="169"/>
                  <a:pt x="666" y="169"/>
                  <a:pt x="666" y="169"/>
                </a:cubicBezTo>
                <a:cubicBezTo>
                  <a:pt x="667" y="169"/>
                  <a:pt x="667" y="169"/>
                  <a:pt x="667" y="169"/>
                </a:cubicBezTo>
                <a:cubicBezTo>
                  <a:pt x="666" y="169"/>
                  <a:pt x="666" y="168"/>
                  <a:pt x="666" y="168"/>
                </a:cubicBezTo>
                <a:cubicBezTo>
                  <a:pt x="666" y="168"/>
                  <a:pt x="666" y="168"/>
                  <a:pt x="666" y="168"/>
                </a:cubicBezTo>
                <a:cubicBezTo>
                  <a:pt x="666" y="168"/>
                  <a:pt x="666" y="168"/>
                  <a:pt x="666" y="168"/>
                </a:cubicBezTo>
                <a:cubicBezTo>
                  <a:pt x="666" y="168"/>
                  <a:pt x="666" y="168"/>
                  <a:pt x="666" y="168"/>
                </a:cubicBezTo>
                <a:cubicBezTo>
                  <a:pt x="665" y="168"/>
                  <a:pt x="664" y="168"/>
                  <a:pt x="664" y="168"/>
                </a:cubicBezTo>
                <a:cubicBezTo>
                  <a:pt x="662" y="167"/>
                  <a:pt x="661" y="167"/>
                  <a:pt x="659" y="166"/>
                </a:cubicBezTo>
                <a:cubicBezTo>
                  <a:pt x="659" y="166"/>
                  <a:pt x="659" y="166"/>
                  <a:pt x="658" y="166"/>
                </a:cubicBezTo>
                <a:cubicBezTo>
                  <a:pt x="657" y="166"/>
                  <a:pt x="656" y="165"/>
                  <a:pt x="655" y="165"/>
                </a:cubicBezTo>
                <a:cubicBezTo>
                  <a:pt x="655" y="165"/>
                  <a:pt x="655" y="165"/>
                  <a:pt x="654" y="165"/>
                </a:cubicBezTo>
                <a:cubicBezTo>
                  <a:pt x="654" y="165"/>
                  <a:pt x="654" y="165"/>
                  <a:pt x="654" y="165"/>
                </a:cubicBezTo>
                <a:cubicBezTo>
                  <a:pt x="654" y="165"/>
                  <a:pt x="653" y="165"/>
                  <a:pt x="652" y="164"/>
                </a:cubicBezTo>
                <a:cubicBezTo>
                  <a:pt x="651" y="164"/>
                  <a:pt x="649" y="164"/>
                  <a:pt x="648" y="164"/>
                </a:cubicBezTo>
                <a:cubicBezTo>
                  <a:pt x="648" y="164"/>
                  <a:pt x="648" y="164"/>
                  <a:pt x="647" y="164"/>
                </a:cubicBezTo>
                <a:cubicBezTo>
                  <a:pt x="647" y="164"/>
                  <a:pt x="647" y="164"/>
                  <a:pt x="647" y="164"/>
                </a:cubicBezTo>
                <a:cubicBezTo>
                  <a:pt x="645" y="165"/>
                  <a:pt x="644" y="166"/>
                  <a:pt x="642" y="167"/>
                </a:cubicBezTo>
                <a:cubicBezTo>
                  <a:pt x="642" y="168"/>
                  <a:pt x="641" y="168"/>
                  <a:pt x="641" y="168"/>
                </a:cubicBezTo>
                <a:cubicBezTo>
                  <a:pt x="641" y="168"/>
                  <a:pt x="641" y="168"/>
                  <a:pt x="641" y="168"/>
                </a:cubicBezTo>
                <a:cubicBezTo>
                  <a:pt x="642" y="171"/>
                  <a:pt x="643" y="175"/>
                  <a:pt x="644" y="177"/>
                </a:cubicBezTo>
                <a:cubicBezTo>
                  <a:pt x="644" y="178"/>
                  <a:pt x="645" y="179"/>
                  <a:pt x="645" y="179"/>
                </a:cubicBezTo>
                <a:cubicBezTo>
                  <a:pt x="645" y="179"/>
                  <a:pt x="646" y="179"/>
                  <a:pt x="646" y="179"/>
                </a:cubicBezTo>
                <a:cubicBezTo>
                  <a:pt x="646" y="179"/>
                  <a:pt x="646" y="179"/>
                  <a:pt x="646" y="179"/>
                </a:cubicBezTo>
                <a:cubicBezTo>
                  <a:pt x="646" y="179"/>
                  <a:pt x="647" y="180"/>
                  <a:pt x="647" y="180"/>
                </a:cubicBezTo>
                <a:cubicBezTo>
                  <a:pt x="647" y="180"/>
                  <a:pt x="646" y="180"/>
                  <a:pt x="646" y="180"/>
                </a:cubicBezTo>
                <a:cubicBezTo>
                  <a:pt x="645" y="181"/>
                  <a:pt x="646" y="180"/>
                  <a:pt x="646" y="181"/>
                </a:cubicBezTo>
                <a:cubicBezTo>
                  <a:pt x="646" y="181"/>
                  <a:pt x="646" y="181"/>
                  <a:pt x="647" y="181"/>
                </a:cubicBezTo>
                <a:cubicBezTo>
                  <a:pt x="647" y="181"/>
                  <a:pt x="647" y="181"/>
                  <a:pt x="647" y="181"/>
                </a:cubicBezTo>
                <a:cubicBezTo>
                  <a:pt x="646" y="181"/>
                  <a:pt x="646" y="181"/>
                  <a:pt x="646" y="181"/>
                </a:cubicBezTo>
                <a:cubicBezTo>
                  <a:pt x="646" y="181"/>
                  <a:pt x="646" y="182"/>
                  <a:pt x="645" y="182"/>
                </a:cubicBezTo>
                <a:cubicBezTo>
                  <a:pt x="645" y="182"/>
                  <a:pt x="645" y="182"/>
                  <a:pt x="645" y="182"/>
                </a:cubicBezTo>
                <a:cubicBezTo>
                  <a:pt x="645" y="181"/>
                  <a:pt x="645" y="181"/>
                  <a:pt x="644" y="181"/>
                </a:cubicBezTo>
                <a:cubicBezTo>
                  <a:pt x="644" y="182"/>
                  <a:pt x="644" y="183"/>
                  <a:pt x="644" y="185"/>
                </a:cubicBezTo>
                <a:cubicBezTo>
                  <a:pt x="644" y="185"/>
                  <a:pt x="644" y="186"/>
                  <a:pt x="644" y="187"/>
                </a:cubicBezTo>
                <a:cubicBezTo>
                  <a:pt x="644" y="187"/>
                  <a:pt x="644" y="187"/>
                  <a:pt x="644" y="187"/>
                </a:cubicBezTo>
                <a:cubicBezTo>
                  <a:pt x="644" y="187"/>
                  <a:pt x="644" y="187"/>
                  <a:pt x="644" y="188"/>
                </a:cubicBezTo>
                <a:cubicBezTo>
                  <a:pt x="644" y="188"/>
                  <a:pt x="643" y="188"/>
                  <a:pt x="643" y="188"/>
                </a:cubicBezTo>
                <a:cubicBezTo>
                  <a:pt x="643" y="189"/>
                  <a:pt x="641" y="190"/>
                  <a:pt x="641" y="190"/>
                </a:cubicBezTo>
                <a:cubicBezTo>
                  <a:pt x="641" y="190"/>
                  <a:pt x="641" y="191"/>
                  <a:pt x="641" y="191"/>
                </a:cubicBezTo>
                <a:cubicBezTo>
                  <a:pt x="641" y="191"/>
                  <a:pt x="641" y="191"/>
                  <a:pt x="641" y="191"/>
                </a:cubicBezTo>
                <a:cubicBezTo>
                  <a:pt x="641" y="191"/>
                  <a:pt x="641" y="191"/>
                  <a:pt x="640" y="191"/>
                </a:cubicBezTo>
                <a:cubicBezTo>
                  <a:pt x="640" y="191"/>
                  <a:pt x="640" y="191"/>
                  <a:pt x="640" y="191"/>
                </a:cubicBezTo>
                <a:cubicBezTo>
                  <a:pt x="640" y="191"/>
                  <a:pt x="640" y="191"/>
                  <a:pt x="640" y="191"/>
                </a:cubicBezTo>
                <a:cubicBezTo>
                  <a:pt x="640" y="192"/>
                  <a:pt x="641" y="192"/>
                  <a:pt x="641" y="192"/>
                </a:cubicBezTo>
                <a:cubicBezTo>
                  <a:pt x="641" y="192"/>
                  <a:pt x="642" y="192"/>
                  <a:pt x="642" y="192"/>
                </a:cubicBezTo>
                <a:cubicBezTo>
                  <a:pt x="642" y="192"/>
                  <a:pt x="642" y="191"/>
                  <a:pt x="642" y="191"/>
                </a:cubicBezTo>
                <a:cubicBezTo>
                  <a:pt x="643" y="191"/>
                  <a:pt x="643" y="192"/>
                  <a:pt x="644" y="192"/>
                </a:cubicBezTo>
                <a:cubicBezTo>
                  <a:pt x="644" y="192"/>
                  <a:pt x="644" y="192"/>
                  <a:pt x="644" y="192"/>
                </a:cubicBezTo>
                <a:cubicBezTo>
                  <a:pt x="645" y="192"/>
                  <a:pt x="646" y="191"/>
                  <a:pt x="647" y="191"/>
                </a:cubicBezTo>
                <a:cubicBezTo>
                  <a:pt x="646" y="192"/>
                  <a:pt x="646" y="192"/>
                  <a:pt x="645" y="192"/>
                </a:cubicBezTo>
                <a:cubicBezTo>
                  <a:pt x="647" y="192"/>
                  <a:pt x="645" y="194"/>
                  <a:pt x="644" y="194"/>
                </a:cubicBezTo>
                <a:cubicBezTo>
                  <a:pt x="645" y="195"/>
                  <a:pt x="647" y="195"/>
                  <a:pt x="648" y="196"/>
                </a:cubicBezTo>
                <a:cubicBezTo>
                  <a:pt x="648" y="196"/>
                  <a:pt x="647" y="196"/>
                  <a:pt x="647" y="196"/>
                </a:cubicBezTo>
                <a:cubicBezTo>
                  <a:pt x="647" y="196"/>
                  <a:pt x="647" y="196"/>
                  <a:pt x="647" y="196"/>
                </a:cubicBezTo>
                <a:cubicBezTo>
                  <a:pt x="646" y="196"/>
                  <a:pt x="646" y="196"/>
                  <a:pt x="646" y="197"/>
                </a:cubicBezTo>
                <a:cubicBezTo>
                  <a:pt x="646" y="197"/>
                  <a:pt x="645" y="197"/>
                  <a:pt x="645" y="197"/>
                </a:cubicBezTo>
                <a:cubicBezTo>
                  <a:pt x="645" y="197"/>
                  <a:pt x="645" y="197"/>
                  <a:pt x="645" y="197"/>
                </a:cubicBezTo>
                <a:cubicBezTo>
                  <a:pt x="645" y="197"/>
                  <a:pt x="645" y="197"/>
                  <a:pt x="645" y="197"/>
                </a:cubicBezTo>
                <a:cubicBezTo>
                  <a:pt x="645" y="197"/>
                  <a:pt x="645" y="197"/>
                  <a:pt x="645" y="197"/>
                </a:cubicBezTo>
                <a:cubicBezTo>
                  <a:pt x="645" y="197"/>
                  <a:pt x="645" y="197"/>
                  <a:pt x="645" y="198"/>
                </a:cubicBezTo>
                <a:cubicBezTo>
                  <a:pt x="645" y="198"/>
                  <a:pt x="645" y="198"/>
                  <a:pt x="645" y="198"/>
                </a:cubicBezTo>
                <a:cubicBezTo>
                  <a:pt x="645" y="198"/>
                  <a:pt x="645" y="198"/>
                  <a:pt x="645" y="198"/>
                </a:cubicBezTo>
                <a:cubicBezTo>
                  <a:pt x="645" y="199"/>
                  <a:pt x="646" y="200"/>
                  <a:pt x="646" y="201"/>
                </a:cubicBezTo>
                <a:cubicBezTo>
                  <a:pt x="646" y="201"/>
                  <a:pt x="646" y="201"/>
                  <a:pt x="646" y="201"/>
                </a:cubicBezTo>
                <a:cubicBezTo>
                  <a:pt x="646" y="201"/>
                  <a:pt x="646" y="201"/>
                  <a:pt x="646" y="201"/>
                </a:cubicBezTo>
                <a:cubicBezTo>
                  <a:pt x="646" y="201"/>
                  <a:pt x="646" y="202"/>
                  <a:pt x="646" y="202"/>
                </a:cubicBezTo>
                <a:cubicBezTo>
                  <a:pt x="646" y="202"/>
                  <a:pt x="646" y="202"/>
                  <a:pt x="646" y="202"/>
                </a:cubicBezTo>
                <a:cubicBezTo>
                  <a:pt x="646" y="202"/>
                  <a:pt x="646" y="202"/>
                  <a:pt x="646" y="202"/>
                </a:cubicBezTo>
                <a:cubicBezTo>
                  <a:pt x="646" y="203"/>
                  <a:pt x="646" y="203"/>
                  <a:pt x="646" y="203"/>
                </a:cubicBezTo>
                <a:cubicBezTo>
                  <a:pt x="647" y="203"/>
                  <a:pt x="648" y="204"/>
                  <a:pt x="649" y="204"/>
                </a:cubicBezTo>
                <a:cubicBezTo>
                  <a:pt x="650" y="204"/>
                  <a:pt x="650" y="204"/>
                  <a:pt x="650" y="204"/>
                </a:cubicBezTo>
                <a:cubicBezTo>
                  <a:pt x="650" y="204"/>
                  <a:pt x="650" y="204"/>
                  <a:pt x="650" y="204"/>
                </a:cubicBezTo>
                <a:cubicBezTo>
                  <a:pt x="650" y="204"/>
                  <a:pt x="650" y="204"/>
                  <a:pt x="650" y="204"/>
                </a:cubicBezTo>
                <a:cubicBezTo>
                  <a:pt x="649" y="205"/>
                  <a:pt x="649" y="205"/>
                  <a:pt x="649" y="205"/>
                </a:cubicBezTo>
                <a:cubicBezTo>
                  <a:pt x="649" y="205"/>
                  <a:pt x="649" y="205"/>
                  <a:pt x="649" y="205"/>
                </a:cubicBezTo>
                <a:cubicBezTo>
                  <a:pt x="648" y="205"/>
                  <a:pt x="648" y="205"/>
                  <a:pt x="648" y="205"/>
                </a:cubicBezTo>
                <a:cubicBezTo>
                  <a:pt x="648" y="205"/>
                  <a:pt x="648" y="205"/>
                  <a:pt x="648" y="205"/>
                </a:cubicBezTo>
                <a:cubicBezTo>
                  <a:pt x="648" y="205"/>
                  <a:pt x="648" y="205"/>
                  <a:pt x="648" y="205"/>
                </a:cubicBezTo>
                <a:cubicBezTo>
                  <a:pt x="648" y="205"/>
                  <a:pt x="648" y="205"/>
                  <a:pt x="648" y="205"/>
                </a:cubicBezTo>
                <a:cubicBezTo>
                  <a:pt x="648" y="205"/>
                  <a:pt x="648" y="205"/>
                  <a:pt x="648" y="205"/>
                </a:cubicBezTo>
                <a:cubicBezTo>
                  <a:pt x="649" y="206"/>
                  <a:pt x="649" y="206"/>
                  <a:pt x="649" y="207"/>
                </a:cubicBezTo>
                <a:cubicBezTo>
                  <a:pt x="649" y="207"/>
                  <a:pt x="649" y="207"/>
                  <a:pt x="649" y="207"/>
                </a:cubicBezTo>
                <a:cubicBezTo>
                  <a:pt x="649" y="207"/>
                  <a:pt x="649" y="207"/>
                  <a:pt x="649" y="207"/>
                </a:cubicBezTo>
                <a:cubicBezTo>
                  <a:pt x="649" y="207"/>
                  <a:pt x="649" y="207"/>
                  <a:pt x="649" y="207"/>
                </a:cubicBezTo>
                <a:cubicBezTo>
                  <a:pt x="648" y="207"/>
                  <a:pt x="648" y="207"/>
                  <a:pt x="648" y="207"/>
                </a:cubicBezTo>
                <a:cubicBezTo>
                  <a:pt x="648" y="207"/>
                  <a:pt x="648" y="207"/>
                  <a:pt x="648" y="207"/>
                </a:cubicBezTo>
                <a:cubicBezTo>
                  <a:pt x="648" y="207"/>
                  <a:pt x="648" y="207"/>
                  <a:pt x="648" y="207"/>
                </a:cubicBezTo>
                <a:cubicBezTo>
                  <a:pt x="648" y="207"/>
                  <a:pt x="648" y="207"/>
                  <a:pt x="648" y="207"/>
                </a:cubicBezTo>
                <a:cubicBezTo>
                  <a:pt x="648" y="207"/>
                  <a:pt x="648" y="207"/>
                  <a:pt x="648" y="207"/>
                </a:cubicBezTo>
                <a:cubicBezTo>
                  <a:pt x="648" y="207"/>
                  <a:pt x="648" y="207"/>
                  <a:pt x="648" y="207"/>
                </a:cubicBezTo>
                <a:cubicBezTo>
                  <a:pt x="648" y="208"/>
                  <a:pt x="648" y="208"/>
                  <a:pt x="648" y="208"/>
                </a:cubicBezTo>
                <a:cubicBezTo>
                  <a:pt x="648" y="208"/>
                  <a:pt x="648" y="208"/>
                  <a:pt x="648" y="208"/>
                </a:cubicBezTo>
                <a:cubicBezTo>
                  <a:pt x="647" y="208"/>
                  <a:pt x="647" y="208"/>
                  <a:pt x="647" y="208"/>
                </a:cubicBezTo>
                <a:cubicBezTo>
                  <a:pt x="647" y="208"/>
                  <a:pt x="647" y="208"/>
                  <a:pt x="647" y="208"/>
                </a:cubicBezTo>
                <a:cubicBezTo>
                  <a:pt x="647" y="208"/>
                  <a:pt x="647" y="208"/>
                  <a:pt x="647" y="208"/>
                </a:cubicBezTo>
                <a:cubicBezTo>
                  <a:pt x="647" y="208"/>
                  <a:pt x="647" y="208"/>
                  <a:pt x="647" y="208"/>
                </a:cubicBezTo>
                <a:cubicBezTo>
                  <a:pt x="647" y="208"/>
                  <a:pt x="647" y="208"/>
                  <a:pt x="647" y="208"/>
                </a:cubicBezTo>
                <a:cubicBezTo>
                  <a:pt x="648" y="209"/>
                  <a:pt x="648" y="209"/>
                  <a:pt x="648" y="210"/>
                </a:cubicBezTo>
                <a:cubicBezTo>
                  <a:pt x="648" y="210"/>
                  <a:pt x="648" y="210"/>
                  <a:pt x="648" y="210"/>
                </a:cubicBezTo>
                <a:cubicBezTo>
                  <a:pt x="648" y="210"/>
                  <a:pt x="648" y="210"/>
                  <a:pt x="648" y="210"/>
                </a:cubicBezTo>
                <a:cubicBezTo>
                  <a:pt x="648" y="210"/>
                  <a:pt x="649" y="210"/>
                  <a:pt x="649" y="210"/>
                </a:cubicBezTo>
                <a:cubicBezTo>
                  <a:pt x="649" y="210"/>
                  <a:pt x="649" y="210"/>
                  <a:pt x="649" y="210"/>
                </a:cubicBezTo>
                <a:cubicBezTo>
                  <a:pt x="649" y="211"/>
                  <a:pt x="649" y="211"/>
                  <a:pt x="649" y="211"/>
                </a:cubicBezTo>
                <a:cubicBezTo>
                  <a:pt x="649" y="211"/>
                  <a:pt x="649" y="211"/>
                  <a:pt x="649" y="211"/>
                </a:cubicBezTo>
                <a:cubicBezTo>
                  <a:pt x="649" y="211"/>
                  <a:pt x="649" y="211"/>
                  <a:pt x="649" y="211"/>
                </a:cubicBezTo>
                <a:cubicBezTo>
                  <a:pt x="648" y="210"/>
                  <a:pt x="648" y="210"/>
                  <a:pt x="648" y="210"/>
                </a:cubicBezTo>
                <a:cubicBezTo>
                  <a:pt x="647" y="210"/>
                  <a:pt x="648" y="210"/>
                  <a:pt x="647" y="209"/>
                </a:cubicBezTo>
                <a:cubicBezTo>
                  <a:pt x="647" y="209"/>
                  <a:pt x="647" y="209"/>
                  <a:pt x="647" y="209"/>
                </a:cubicBezTo>
                <a:cubicBezTo>
                  <a:pt x="647" y="209"/>
                  <a:pt x="647" y="209"/>
                  <a:pt x="647" y="209"/>
                </a:cubicBezTo>
                <a:cubicBezTo>
                  <a:pt x="647" y="209"/>
                  <a:pt x="647" y="209"/>
                  <a:pt x="647" y="209"/>
                </a:cubicBezTo>
                <a:cubicBezTo>
                  <a:pt x="647" y="209"/>
                  <a:pt x="647" y="209"/>
                  <a:pt x="647" y="209"/>
                </a:cubicBezTo>
                <a:cubicBezTo>
                  <a:pt x="647" y="209"/>
                  <a:pt x="647" y="209"/>
                  <a:pt x="647" y="209"/>
                </a:cubicBezTo>
                <a:cubicBezTo>
                  <a:pt x="647" y="209"/>
                  <a:pt x="647" y="209"/>
                  <a:pt x="647" y="209"/>
                </a:cubicBezTo>
                <a:cubicBezTo>
                  <a:pt x="647" y="209"/>
                  <a:pt x="647" y="209"/>
                  <a:pt x="647" y="209"/>
                </a:cubicBezTo>
                <a:cubicBezTo>
                  <a:pt x="647" y="209"/>
                  <a:pt x="647" y="209"/>
                  <a:pt x="647" y="209"/>
                </a:cubicBezTo>
                <a:cubicBezTo>
                  <a:pt x="647" y="209"/>
                  <a:pt x="647" y="209"/>
                  <a:pt x="647" y="209"/>
                </a:cubicBezTo>
                <a:cubicBezTo>
                  <a:pt x="646" y="209"/>
                  <a:pt x="646" y="209"/>
                  <a:pt x="646" y="209"/>
                </a:cubicBezTo>
                <a:cubicBezTo>
                  <a:pt x="646" y="209"/>
                  <a:pt x="646" y="209"/>
                  <a:pt x="646" y="209"/>
                </a:cubicBezTo>
                <a:cubicBezTo>
                  <a:pt x="646" y="209"/>
                  <a:pt x="646" y="209"/>
                  <a:pt x="646" y="209"/>
                </a:cubicBezTo>
                <a:cubicBezTo>
                  <a:pt x="646" y="209"/>
                  <a:pt x="646" y="209"/>
                  <a:pt x="646" y="209"/>
                </a:cubicBezTo>
                <a:cubicBezTo>
                  <a:pt x="646" y="209"/>
                  <a:pt x="646" y="209"/>
                  <a:pt x="646" y="209"/>
                </a:cubicBezTo>
                <a:cubicBezTo>
                  <a:pt x="646" y="209"/>
                  <a:pt x="646" y="209"/>
                  <a:pt x="646" y="209"/>
                </a:cubicBezTo>
                <a:cubicBezTo>
                  <a:pt x="646" y="209"/>
                  <a:pt x="646" y="209"/>
                  <a:pt x="645" y="209"/>
                </a:cubicBezTo>
                <a:cubicBezTo>
                  <a:pt x="645" y="209"/>
                  <a:pt x="645" y="209"/>
                  <a:pt x="645" y="209"/>
                </a:cubicBezTo>
                <a:cubicBezTo>
                  <a:pt x="645" y="209"/>
                  <a:pt x="645" y="209"/>
                  <a:pt x="645" y="209"/>
                </a:cubicBezTo>
                <a:cubicBezTo>
                  <a:pt x="645" y="209"/>
                  <a:pt x="645" y="209"/>
                  <a:pt x="645" y="209"/>
                </a:cubicBezTo>
                <a:cubicBezTo>
                  <a:pt x="645" y="209"/>
                  <a:pt x="645" y="209"/>
                  <a:pt x="645" y="209"/>
                </a:cubicBezTo>
                <a:cubicBezTo>
                  <a:pt x="645" y="208"/>
                  <a:pt x="645" y="208"/>
                  <a:pt x="645" y="208"/>
                </a:cubicBezTo>
                <a:cubicBezTo>
                  <a:pt x="645" y="208"/>
                  <a:pt x="645" y="208"/>
                  <a:pt x="645" y="208"/>
                </a:cubicBezTo>
                <a:cubicBezTo>
                  <a:pt x="645" y="208"/>
                  <a:pt x="645" y="208"/>
                  <a:pt x="645" y="208"/>
                </a:cubicBezTo>
                <a:cubicBezTo>
                  <a:pt x="645" y="208"/>
                  <a:pt x="645" y="208"/>
                  <a:pt x="645" y="208"/>
                </a:cubicBezTo>
                <a:cubicBezTo>
                  <a:pt x="645" y="208"/>
                  <a:pt x="645" y="208"/>
                  <a:pt x="645" y="208"/>
                </a:cubicBezTo>
                <a:cubicBezTo>
                  <a:pt x="645" y="208"/>
                  <a:pt x="645" y="208"/>
                  <a:pt x="645" y="208"/>
                </a:cubicBezTo>
                <a:cubicBezTo>
                  <a:pt x="645" y="208"/>
                  <a:pt x="645" y="208"/>
                  <a:pt x="645" y="208"/>
                </a:cubicBezTo>
                <a:cubicBezTo>
                  <a:pt x="644" y="209"/>
                  <a:pt x="644" y="209"/>
                  <a:pt x="644" y="209"/>
                </a:cubicBezTo>
                <a:cubicBezTo>
                  <a:pt x="644" y="209"/>
                  <a:pt x="644" y="209"/>
                  <a:pt x="644" y="209"/>
                </a:cubicBezTo>
                <a:cubicBezTo>
                  <a:pt x="644" y="209"/>
                  <a:pt x="644" y="209"/>
                  <a:pt x="644" y="209"/>
                </a:cubicBezTo>
                <a:cubicBezTo>
                  <a:pt x="644" y="209"/>
                  <a:pt x="644" y="209"/>
                  <a:pt x="644" y="209"/>
                </a:cubicBezTo>
                <a:cubicBezTo>
                  <a:pt x="645" y="210"/>
                  <a:pt x="645" y="210"/>
                  <a:pt x="645" y="210"/>
                </a:cubicBezTo>
                <a:cubicBezTo>
                  <a:pt x="645" y="210"/>
                  <a:pt x="645" y="210"/>
                  <a:pt x="645" y="210"/>
                </a:cubicBezTo>
                <a:cubicBezTo>
                  <a:pt x="645" y="210"/>
                  <a:pt x="645" y="210"/>
                  <a:pt x="645" y="210"/>
                </a:cubicBezTo>
                <a:cubicBezTo>
                  <a:pt x="645" y="210"/>
                  <a:pt x="645" y="210"/>
                  <a:pt x="645" y="210"/>
                </a:cubicBezTo>
                <a:cubicBezTo>
                  <a:pt x="645" y="211"/>
                  <a:pt x="645" y="211"/>
                  <a:pt x="645" y="211"/>
                </a:cubicBezTo>
                <a:cubicBezTo>
                  <a:pt x="645" y="211"/>
                  <a:pt x="645" y="211"/>
                  <a:pt x="645" y="211"/>
                </a:cubicBezTo>
                <a:cubicBezTo>
                  <a:pt x="645" y="211"/>
                  <a:pt x="645" y="211"/>
                  <a:pt x="645" y="211"/>
                </a:cubicBezTo>
                <a:cubicBezTo>
                  <a:pt x="645" y="211"/>
                  <a:pt x="645" y="211"/>
                  <a:pt x="645" y="211"/>
                </a:cubicBezTo>
                <a:cubicBezTo>
                  <a:pt x="645" y="211"/>
                  <a:pt x="645" y="211"/>
                  <a:pt x="645" y="211"/>
                </a:cubicBezTo>
                <a:cubicBezTo>
                  <a:pt x="644" y="211"/>
                  <a:pt x="644" y="211"/>
                  <a:pt x="644" y="211"/>
                </a:cubicBezTo>
                <a:cubicBezTo>
                  <a:pt x="644" y="211"/>
                  <a:pt x="644" y="211"/>
                  <a:pt x="644" y="211"/>
                </a:cubicBezTo>
                <a:cubicBezTo>
                  <a:pt x="644" y="211"/>
                  <a:pt x="644" y="211"/>
                  <a:pt x="644" y="211"/>
                </a:cubicBezTo>
                <a:cubicBezTo>
                  <a:pt x="644" y="212"/>
                  <a:pt x="644" y="212"/>
                  <a:pt x="644" y="212"/>
                </a:cubicBezTo>
                <a:cubicBezTo>
                  <a:pt x="644" y="212"/>
                  <a:pt x="644" y="212"/>
                  <a:pt x="644" y="212"/>
                </a:cubicBezTo>
                <a:cubicBezTo>
                  <a:pt x="644" y="212"/>
                  <a:pt x="644" y="212"/>
                  <a:pt x="644" y="212"/>
                </a:cubicBezTo>
                <a:cubicBezTo>
                  <a:pt x="643" y="212"/>
                  <a:pt x="643" y="212"/>
                  <a:pt x="643" y="212"/>
                </a:cubicBezTo>
                <a:cubicBezTo>
                  <a:pt x="643" y="212"/>
                  <a:pt x="643" y="212"/>
                  <a:pt x="643" y="212"/>
                </a:cubicBezTo>
                <a:cubicBezTo>
                  <a:pt x="643" y="212"/>
                  <a:pt x="643" y="212"/>
                  <a:pt x="643" y="212"/>
                </a:cubicBezTo>
                <a:cubicBezTo>
                  <a:pt x="643" y="213"/>
                  <a:pt x="643" y="213"/>
                  <a:pt x="643" y="213"/>
                </a:cubicBezTo>
                <a:cubicBezTo>
                  <a:pt x="643" y="213"/>
                  <a:pt x="643" y="213"/>
                  <a:pt x="643" y="213"/>
                </a:cubicBezTo>
                <a:cubicBezTo>
                  <a:pt x="644" y="213"/>
                  <a:pt x="644" y="213"/>
                  <a:pt x="644" y="213"/>
                </a:cubicBezTo>
                <a:cubicBezTo>
                  <a:pt x="644" y="213"/>
                  <a:pt x="644" y="213"/>
                  <a:pt x="644" y="213"/>
                </a:cubicBezTo>
                <a:cubicBezTo>
                  <a:pt x="644" y="213"/>
                  <a:pt x="644" y="213"/>
                  <a:pt x="644" y="213"/>
                </a:cubicBezTo>
                <a:cubicBezTo>
                  <a:pt x="644" y="213"/>
                  <a:pt x="644" y="213"/>
                  <a:pt x="644" y="213"/>
                </a:cubicBezTo>
                <a:cubicBezTo>
                  <a:pt x="645" y="213"/>
                  <a:pt x="645" y="213"/>
                  <a:pt x="645" y="213"/>
                </a:cubicBezTo>
                <a:cubicBezTo>
                  <a:pt x="645" y="213"/>
                  <a:pt x="645" y="213"/>
                  <a:pt x="645" y="213"/>
                </a:cubicBezTo>
                <a:cubicBezTo>
                  <a:pt x="645" y="213"/>
                  <a:pt x="645" y="213"/>
                  <a:pt x="645" y="213"/>
                </a:cubicBezTo>
                <a:cubicBezTo>
                  <a:pt x="645" y="213"/>
                  <a:pt x="645" y="213"/>
                  <a:pt x="645" y="213"/>
                </a:cubicBezTo>
                <a:cubicBezTo>
                  <a:pt x="645" y="213"/>
                  <a:pt x="645" y="213"/>
                  <a:pt x="645" y="213"/>
                </a:cubicBezTo>
                <a:cubicBezTo>
                  <a:pt x="645" y="213"/>
                  <a:pt x="645" y="213"/>
                  <a:pt x="645" y="213"/>
                </a:cubicBezTo>
                <a:cubicBezTo>
                  <a:pt x="645" y="213"/>
                  <a:pt x="645" y="213"/>
                  <a:pt x="645" y="213"/>
                </a:cubicBezTo>
                <a:cubicBezTo>
                  <a:pt x="645" y="213"/>
                  <a:pt x="645" y="213"/>
                  <a:pt x="645" y="213"/>
                </a:cubicBezTo>
                <a:cubicBezTo>
                  <a:pt x="645" y="213"/>
                  <a:pt x="645" y="213"/>
                  <a:pt x="645" y="213"/>
                </a:cubicBezTo>
                <a:cubicBezTo>
                  <a:pt x="645" y="213"/>
                  <a:pt x="645" y="213"/>
                  <a:pt x="645" y="213"/>
                </a:cubicBezTo>
                <a:cubicBezTo>
                  <a:pt x="645" y="213"/>
                  <a:pt x="645" y="213"/>
                  <a:pt x="645" y="213"/>
                </a:cubicBezTo>
                <a:cubicBezTo>
                  <a:pt x="645" y="213"/>
                  <a:pt x="645" y="213"/>
                  <a:pt x="645" y="213"/>
                </a:cubicBezTo>
                <a:cubicBezTo>
                  <a:pt x="645" y="213"/>
                  <a:pt x="645" y="213"/>
                  <a:pt x="645" y="213"/>
                </a:cubicBezTo>
                <a:cubicBezTo>
                  <a:pt x="645" y="213"/>
                  <a:pt x="645" y="213"/>
                  <a:pt x="645" y="213"/>
                </a:cubicBezTo>
                <a:cubicBezTo>
                  <a:pt x="645" y="213"/>
                  <a:pt x="645" y="213"/>
                  <a:pt x="645" y="213"/>
                </a:cubicBezTo>
                <a:cubicBezTo>
                  <a:pt x="645" y="213"/>
                  <a:pt x="645" y="213"/>
                  <a:pt x="645" y="213"/>
                </a:cubicBezTo>
                <a:cubicBezTo>
                  <a:pt x="645" y="213"/>
                  <a:pt x="645" y="213"/>
                  <a:pt x="645" y="213"/>
                </a:cubicBezTo>
                <a:cubicBezTo>
                  <a:pt x="645" y="213"/>
                  <a:pt x="645" y="213"/>
                  <a:pt x="645" y="213"/>
                </a:cubicBezTo>
                <a:cubicBezTo>
                  <a:pt x="645" y="213"/>
                  <a:pt x="645" y="213"/>
                  <a:pt x="645" y="213"/>
                </a:cubicBezTo>
                <a:cubicBezTo>
                  <a:pt x="644" y="214"/>
                  <a:pt x="644" y="214"/>
                  <a:pt x="644" y="214"/>
                </a:cubicBezTo>
                <a:cubicBezTo>
                  <a:pt x="644" y="215"/>
                  <a:pt x="644" y="214"/>
                  <a:pt x="643" y="215"/>
                </a:cubicBezTo>
                <a:cubicBezTo>
                  <a:pt x="643" y="215"/>
                  <a:pt x="643" y="215"/>
                  <a:pt x="643" y="215"/>
                </a:cubicBezTo>
                <a:cubicBezTo>
                  <a:pt x="643" y="215"/>
                  <a:pt x="643" y="215"/>
                  <a:pt x="643" y="215"/>
                </a:cubicBezTo>
                <a:cubicBezTo>
                  <a:pt x="643" y="215"/>
                  <a:pt x="643" y="215"/>
                  <a:pt x="642" y="215"/>
                </a:cubicBezTo>
                <a:cubicBezTo>
                  <a:pt x="642" y="216"/>
                  <a:pt x="642" y="216"/>
                  <a:pt x="642" y="216"/>
                </a:cubicBezTo>
                <a:cubicBezTo>
                  <a:pt x="642" y="216"/>
                  <a:pt x="642" y="216"/>
                  <a:pt x="642" y="216"/>
                </a:cubicBezTo>
                <a:cubicBezTo>
                  <a:pt x="642" y="216"/>
                  <a:pt x="642" y="216"/>
                  <a:pt x="642" y="216"/>
                </a:cubicBezTo>
                <a:cubicBezTo>
                  <a:pt x="642" y="216"/>
                  <a:pt x="642" y="216"/>
                  <a:pt x="642" y="216"/>
                </a:cubicBezTo>
                <a:cubicBezTo>
                  <a:pt x="642" y="216"/>
                  <a:pt x="642" y="216"/>
                  <a:pt x="642" y="216"/>
                </a:cubicBezTo>
                <a:cubicBezTo>
                  <a:pt x="642" y="216"/>
                  <a:pt x="642" y="216"/>
                  <a:pt x="642" y="216"/>
                </a:cubicBezTo>
                <a:cubicBezTo>
                  <a:pt x="642" y="216"/>
                  <a:pt x="642" y="216"/>
                  <a:pt x="642" y="216"/>
                </a:cubicBezTo>
                <a:cubicBezTo>
                  <a:pt x="642" y="216"/>
                  <a:pt x="642" y="216"/>
                  <a:pt x="642" y="216"/>
                </a:cubicBezTo>
                <a:cubicBezTo>
                  <a:pt x="642" y="216"/>
                  <a:pt x="642" y="216"/>
                  <a:pt x="642" y="216"/>
                </a:cubicBezTo>
                <a:cubicBezTo>
                  <a:pt x="642" y="216"/>
                  <a:pt x="642" y="216"/>
                  <a:pt x="642" y="216"/>
                </a:cubicBezTo>
                <a:cubicBezTo>
                  <a:pt x="642" y="216"/>
                  <a:pt x="642" y="216"/>
                  <a:pt x="642" y="216"/>
                </a:cubicBezTo>
                <a:cubicBezTo>
                  <a:pt x="642" y="216"/>
                  <a:pt x="642" y="216"/>
                  <a:pt x="642" y="216"/>
                </a:cubicBezTo>
                <a:cubicBezTo>
                  <a:pt x="642" y="216"/>
                  <a:pt x="642" y="216"/>
                  <a:pt x="642" y="216"/>
                </a:cubicBezTo>
                <a:cubicBezTo>
                  <a:pt x="641" y="216"/>
                  <a:pt x="641" y="216"/>
                  <a:pt x="641" y="216"/>
                </a:cubicBezTo>
                <a:cubicBezTo>
                  <a:pt x="641" y="216"/>
                  <a:pt x="641" y="216"/>
                  <a:pt x="641" y="216"/>
                </a:cubicBezTo>
                <a:cubicBezTo>
                  <a:pt x="641" y="216"/>
                  <a:pt x="641" y="216"/>
                  <a:pt x="641" y="216"/>
                </a:cubicBezTo>
                <a:cubicBezTo>
                  <a:pt x="641" y="216"/>
                  <a:pt x="641" y="216"/>
                  <a:pt x="641" y="216"/>
                </a:cubicBezTo>
                <a:cubicBezTo>
                  <a:pt x="641" y="216"/>
                  <a:pt x="641" y="216"/>
                  <a:pt x="641" y="216"/>
                </a:cubicBezTo>
                <a:cubicBezTo>
                  <a:pt x="641" y="216"/>
                  <a:pt x="641" y="216"/>
                  <a:pt x="641" y="216"/>
                </a:cubicBezTo>
                <a:cubicBezTo>
                  <a:pt x="641" y="216"/>
                  <a:pt x="641" y="216"/>
                  <a:pt x="641" y="216"/>
                </a:cubicBezTo>
                <a:cubicBezTo>
                  <a:pt x="641" y="217"/>
                  <a:pt x="641" y="217"/>
                  <a:pt x="641" y="217"/>
                </a:cubicBezTo>
                <a:cubicBezTo>
                  <a:pt x="641" y="217"/>
                  <a:pt x="641" y="217"/>
                  <a:pt x="641" y="217"/>
                </a:cubicBezTo>
                <a:cubicBezTo>
                  <a:pt x="641" y="217"/>
                  <a:pt x="641" y="217"/>
                  <a:pt x="641" y="217"/>
                </a:cubicBezTo>
                <a:cubicBezTo>
                  <a:pt x="641" y="217"/>
                  <a:pt x="641" y="217"/>
                  <a:pt x="641" y="217"/>
                </a:cubicBezTo>
                <a:cubicBezTo>
                  <a:pt x="640" y="217"/>
                  <a:pt x="640" y="217"/>
                  <a:pt x="640" y="217"/>
                </a:cubicBezTo>
                <a:cubicBezTo>
                  <a:pt x="640" y="218"/>
                  <a:pt x="640" y="218"/>
                  <a:pt x="640" y="218"/>
                </a:cubicBezTo>
                <a:cubicBezTo>
                  <a:pt x="640" y="218"/>
                  <a:pt x="640" y="218"/>
                  <a:pt x="640" y="218"/>
                </a:cubicBezTo>
                <a:cubicBezTo>
                  <a:pt x="640" y="218"/>
                  <a:pt x="640" y="218"/>
                  <a:pt x="640" y="218"/>
                </a:cubicBezTo>
                <a:cubicBezTo>
                  <a:pt x="640" y="217"/>
                  <a:pt x="640" y="217"/>
                  <a:pt x="640" y="217"/>
                </a:cubicBezTo>
                <a:cubicBezTo>
                  <a:pt x="640" y="217"/>
                  <a:pt x="640" y="217"/>
                  <a:pt x="640" y="217"/>
                </a:cubicBezTo>
                <a:cubicBezTo>
                  <a:pt x="640" y="218"/>
                  <a:pt x="640" y="218"/>
                  <a:pt x="640" y="218"/>
                </a:cubicBezTo>
                <a:cubicBezTo>
                  <a:pt x="640" y="218"/>
                  <a:pt x="640" y="218"/>
                  <a:pt x="640" y="218"/>
                </a:cubicBezTo>
                <a:cubicBezTo>
                  <a:pt x="640" y="218"/>
                  <a:pt x="640" y="218"/>
                  <a:pt x="640" y="218"/>
                </a:cubicBezTo>
                <a:cubicBezTo>
                  <a:pt x="640" y="218"/>
                  <a:pt x="640" y="218"/>
                  <a:pt x="640" y="218"/>
                </a:cubicBezTo>
                <a:cubicBezTo>
                  <a:pt x="640" y="218"/>
                  <a:pt x="640" y="218"/>
                  <a:pt x="640" y="218"/>
                </a:cubicBezTo>
                <a:cubicBezTo>
                  <a:pt x="640" y="218"/>
                  <a:pt x="640" y="218"/>
                  <a:pt x="640" y="218"/>
                </a:cubicBezTo>
                <a:cubicBezTo>
                  <a:pt x="640" y="218"/>
                  <a:pt x="640" y="218"/>
                  <a:pt x="640" y="218"/>
                </a:cubicBezTo>
                <a:cubicBezTo>
                  <a:pt x="639" y="218"/>
                  <a:pt x="639" y="218"/>
                  <a:pt x="639" y="218"/>
                </a:cubicBezTo>
                <a:cubicBezTo>
                  <a:pt x="639" y="219"/>
                  <a:pt x="639" y="220"/>
                  <a:pt x="639" y="220"/>
                </a:cubicBezTo>
                <a:cubicBezTo>
                  <a:pt x="639" y="220"/>
                  <a:pt x="639" y="220"/>
                  <a:pt x="639" y="220"/>
                </a:cubicBezTo>
                <a:cubicBezTo>
                  <a:pt x="638" y="220"/>
                  <a:pt x="638" y="220"/>
                  <a:pt x="638" y="220"/>
                </a:cubicBezTo>
                <a:cubicBezTo>
                  <a:pt x="638" y="220"/>
                  <a:pt x="638" y="220"/>
                  <a:pt x="638" y="220"/>
                </a:cubicBezTo>
                <a:cubicBezTo>
                  <a:pt x="639" y="220"/>
                  <a:pt x="639" y="220"/>
                  <a:pt x="639" y="220"/>
                </a:cubicBezTo>
                <a:cubicBezTo>
                  <a:pt x="638" y="220"/>
                  <a:pt x="638" y="220"/>
                  <a:pt x="638" y="220"/>
                </a:cubicBezTo>
                <a:cubicBezTo>
                  <a:pt x="638" y="220"/>
                  <a:pt x="638" y="220"/>
                  <a:pt x="638" y="220"/>
                </a:cubicBezTo>
                <a:cubicBezTo>
                  <a:pt x="638" y="220"/>
                  <a:pt x="638" y="220"/>
                  <a:pt x="638" y="220"/>
                </a:cubicBezTo>
                <a:cubicBezTo>
                  <a:pt x="638" y="220"/>
                  <a:pt x="638" y="220"/>
                  <a:pt x="638" y="220"/>
                </a:cubicBezTo>
                <a:cubicBezTo>
                  <a:pt x="638" y="220"/>
                  <a:pt x="638" y="220"/>
                  <a:pt x="638" y="220"/>
                </a:cubicBezTo>
                <a:cubicBezTo>
                  <a:pt x="638" y="220"/>
                  <a:pt x="638" y="220"/>
                  <a:pt x="638" y="220"/>
                </a:cubicBezTo>
                <a:cubicBezTo>
                  <a:pt x="638" y="220"/>
                  <a:pt x="638" y="220"/>
                  <a:pt x="638" y="220"/>
                </a:cubicBezTo>
                <a:cubicBezTo>
                  <a:pt x="638" y="220"/>
                  <a:pt x="638" y="220"/>
                  <a:pt x="638" y="220"/>
                </a:cubicBezTo>
                <a:cubicBezTo>
                  <a:pt x="638" y="220"/>
                  <a:pt x="638" y="220"/>
                  <a:pt x="638" y="220"/>
                </a:cubicBezTo>
                <a:cubicBezTo>
                  <a:pt x="637" y="220"/>
                  <a:pt x="637" y="220"/>
                  <a:pt x="637" y="220"/>
                </a:cubicBezTo>
                <a:cubicBezTo>
                  <a:pt x="637" y="220"/>
                  <a:pt x="637" y="220"/>
                  <a:pt x="637" y="220"/>
                </a:cubicBezTo>
                <a:cubicBezTo>
                  <a:pt x="637" y="220"/>
                  <a:pt x="637" y="220"/>
                  <a:pt x="637" y="220"/>
                </a:cubicBezTo>
                <a:cubicBezTo>
                  <a:pt x="637" y="220"/>
                  <a:pt x="637" y="220"/>
                  <a:pt x="637" y="220"/>
                </a:cubicBezTo>
                <a:cubicBezTo>
                  <a:pt x="637" y="220"/>
                  <a:pt x="637" y="220"/>
                  <a:pt x="637" y="220"/>
                </a:cubicBezTo>
                <a:cubicBezTo>
                  <a:pt x="637" y="220"/>
                  <a:pt x="637" y="220"/>
                  <a:pt x="637" y="220"/>
                </a:cubicBezTo>
                <a:cubicBezTo>
                  <a:pt x="637" y="220"/>
                  <a:pt x="637" y="220"/>
                  <a:pt x="637" y="220"/>
                </a:cubicBezTo>
                <a:cubicBezTo>
                  <a:pt x="637" y="220"/>
                  <a:pt x="637" y="220"/>
                  <a:pt x="637" y="220"/>
                </a:cubicBezTo>
                <a:cubicBezTo>
                  <a:pt x="637" y="220"/>
                  <a:pt x="637" y="220"/>
                  <a:pt x="637" y="220"/>
                </a:cubicBezTo>
                <a:cubicBezTo>
                  <a:pt x="637" y="220"/>
                  <a:pt x="637" y="220"/>
                  <a:pt x="637" y="220"/>
                </a:cubicBezTo>
                <a:cubicBezTo>
                  <a:pt x="637" y="220"/>
                  <a:pt x="637" y="220"/>
                  <a:pt x="637" y="220"/>
                </a:cubicBezTo>
                <a:cubicBezTo>
                  <a:pt x="637" y="220"/>
                  <a:pt x="637" y="220"/>
                  <a:pt x="637" y="220"/>
                </a:cubicBezTo>
                <a:cubicBezTo>
                  <a:pt x="637" y="220"/>
                  <a:pt x="637" y="220"/>
                  <a:pt x="637" y="220"/>
                </a:cubicBezTo>
                <a:cubicBezTo>
                  <a:pt x="636" y="220"/>
                  <a:pt x="636" y="220"/>
                  <a:pt x="636" y="220"/>
                </a:cubicBezTo>
                <a:cubicBezTo>
                  <a:pt x="636" y="220"/>
                  <a:pt x="636" y="220"/>
                  <a:pt x="636" y="220"/>
                </a:cubicBezTo>
                <a:cubicBezTo>
                  <a:pt x="637" y="220"/>
                  <a:pt x="637" y="220"/>
                  <a:pt x="637" y="220"/>
                </a:cubicBezTo>
                <a:cubicBezTo>
                  <a:pt x="637" y="221"/>
                  <a:pt x="637" y="221"/>
                  <a:pt x="637" y="221"/>
                </a:cubicBezTo>
                <a:cubicBezTo>
                  <a:pt x="637" y="222"/>
                  <a:pt x="637" y="222"/>
                  <a:pt x="637" y="222"/>
                </a:cubicBezTo>
                <a:cubicBezTo>
                  <a:pt x="637" y="222"/>
                  <a:pt x="637" y="222"/>
                  <a:pt x="637" y="222"/>
                </a:cubicBezTo>
                <a:cubicBezTo>
                  <a:pt x="637" y="223"/>
                  <a:pt x="637" y="223"/>
                  <a:pt x="637" y="223"/>
                </a:cubicBezTo>
                <a:cubicBezTo>
                  <a:pt x="637" y="223"/>
                  <a:pt x="637" y="223"/>
                  <a:pt x="637" y="224"/>
                </a:cubicBezTo>
                <a:cubicBezTo>
                  <a:pt x="637" y="225"/>
                  <a:pt x="637" y="225"/>
                  <a:pt x="637" y="225"/>
                </a:cubicBezTo>
                <a:cubicBezTo>
                  <a:pt x="637" y="225"/>
                  <a:pt x="637" y="225"/>
                  <a:pt x="637" y="225"/>
                </a:cubicBezTo>
                <a:cubicBezTo>
                  <a:pt x="637" y="225"/>
                  <a:pt x="637" y="225"/>
                  <a:pt x="637" y="225"/>
                </a:cubicBezTo>
                <a:cubicBezTo>
                  <a:pt x="637" y="225"/>
                  <a:pt x="637" y="225"/>
                  <a:pt x="637" y="225"/>
                </a:cubicBezTo>
                <a:cubicBezTo>
                  <a:pt x="638" y="225"/>
                  <a:pt x="638" y="225"/>
                  <a:pt x="638" y="226"/>
                </a:cubicBezTo>
                <a:cubicBezTo>
                  <a:pt x="638" y="226"/>
                  <a:pt x="638" y="226"/>
                  <a:pt x="638" y="226"/>
                </a:cubicBezTo>
                <a:cubicBezTo>
                  <a:pt x="638" y="226"/>
                  <a:pt x="638" y="226"/>
                  <a:pt x="638" y="226"/>
                </a:cubicBezTo>
                <a:cubicBezTo>
                  <a:pt x="638" y="226"/>
                  <a:pt x="638" y="226"/>
                  <a:pt x="638" y="226"/>
                </a:cubicBezTo>
                <a:cubicBezTo>
                  <a:pt x="639" y="226"/>
                  <a:pt x="639" y="226"/>
                  <a:pt x="639" y="226"/>
                </a:cubicBezTo>
                <a:cubicBezTo>
                  <a:pt x="639" y="226"/>
                  <a:pt x="639" y="226"/>
                  <a:pt x="639" y="226"/>
                </a:cubicBezTo>
                <a:cubicBezTo>
                  <a:pt x="639" y="226"/>
                  <a:pt x="639" y="226"/>
                  <a:pt x="639" y="226"/>
                </a:cubicBezTo>
                <a:cubicBezTo>
                  <a:pt x="639" y="226"/>
                  <a:pt x="639" y="226"/>
                  <a:pt x="639" y="226"/>
                </a:cubicBezTo>
                <a:cubicBezTo>
                  <a:pt x="639" y="226"/>
                  <a:pt x="638" y="225"/>
                  <a:pt x="638" y="225"/>
                </a:cubicBezTo>
                <a:cubicBezTo>
                  <a:pt x="638" y="225"/>
                  <a:pt x="638" y="225"/>
                  <a:pt x="638" y="225"/>
                </a:cubicBezTo>
                <a:cubicBezTo>
                  <a:pt x="638" y="225"/>
                  <a:pt x="638" y="225"/>
                  <a:pt x="638" y="225"/>
                </a:cubicBezTo>
                <a:cubicBezTo>
                  <a:pt x="638" y="225"/>
                  <a:pt x="638" y="225"/>
                  <a:pt x="638" y="225"/>
                </a:cubicBezTo>
                <a:cubicBezTo>
                  <a:pt x="639" y="225"/>
                  <a:pt x="639" y="225"/>
                  <a:pt x="639" y="225"/>
                </a:cubicBezTo>
                <a:cubicBezTo>
                  <a:pt x="639" y="225"/>
                  <a:pt x="639" y="225"/>
                  <a:pt x="639" y="225"/>
                </a:cubicBezTo>
                <a:cubicBezTo>
                  <a:pt x="639" y="225"/>
                  <a:pt x="639" y="225"/>
                  <a:pt x="639" y="225"/>
                </a:cubicBezTo>
                <a:cubicBezTo>
                  <a:pt x="639" y="225"/>
                  <a:pt x="639" y="225"/>
                  <a:pt x="639" y="225"/>
                </a:cubicBezTo>
                <a:cubicBezTo>
                  <a:pt x="639" y="226"/>
                  <a:pt x="639" y="226"/>
                  <a:pt x="640" y="227"/>
                </a:cubicBezTo>
                <a:cubicBezTo>
                  <a:pt x="640" y="227"/>
                  <a:pt x="640" y="227"/>
                  <a:pt x="640" y="227"/>
                </a:cubicBezTo>
                <a:cubicBezTo>
                  <a:pt x="640" y="227"/>
                  <a:pt x="640" y="227"/>
                  <a:pt x="640" y="227"/>
                </a:cubicBezTo>
                <a:cubicBezTo>
                  <a:pt x="640" y="227"/>
                  <a:pt x="640" y="227"/>
                  <a:pt x="640" y="227"/>
                </a:cubicBezTo>
                <a:cubicBezTo>
                  <a:pt x="640" y="227"/>
                  <a:pt x="640" y="227"/>
                  <a:pt x="641" y="227"/>
                </a:cubicBezTo>
                <a:cubicBezTo>
                  <a:pt x="641" y="227"/>
                  <a:pt x="641" y="227"/>
                  <a:pt x="641" y="227"/>
                </a:cubicBezTo>
                <a:cubicBezTo>
                  <a:pt x="641" y="227"/>
                  <a:pt x="641" y="227"/>
                  <a:pt x="641" y="227"/>
                </a:cubicBezTo>
                <a:cubicBezTo>
                  <a:pt x="641" y="227"/>
                  <a:pt x="641" y="227"/>
                  <a:pt x="641" y="227"/>
                </a:cubicBezTo>
                <a:cubicBezTo>
                  <a:pt x="641" y="227"/>
                  <a:pt x="641" y="227"/>
                  <a:pt x="641" y="227"/>
                </a:cubicBezTo>
                <a:cubicBezTo>
                  <a:pt x="641" y="227"/>
                  <a:pt x="641" y="227"/>
                  <a:pt x="641" y="227"/>
                </a:cubicBezTo>
                <a:cubicBezTo>
                  <a:pt x="641" y="227"/>
                  <a:pt x="641" y="227"/>
                  <a:pt x="641" y="227"/>
                </a:cubicBezTo>
                <a:cubicBezTo>
                  <a:pt x="641" y="227"/>
                  <a:pt x="641" y="227"/>
                  <a:pt x="641" y="227"/>
                </a:cubicBezTo>
                <a:cubicBezTo>
                  <a:pt x="641" y="227"/>
                  <a:pt x="641" y="227"/>
                  <a:pt x="641" y="227"/>
                </a:cubicBezTo>
                <a:cubicBezTo>
                  <a:pt x="641" y="227"/>
                  <a:pt x="641" y="227"/>
                  <a:pt x="641" y="227"/>
                </a:cubicBezTo>
                <a:cubicBezTo>
                  <a:pt x="641" y="227"/>
                  <a:pt x="641" y="227"/>
                  <a:pt x="641" y="227"/>
                </a:cubicBezTo>
                <a:cubicBezTo>
                  <a:pt x="641" y="227"/>
                  <a:pt x="641" y="227"/>
                  <a:pt x="641" y="227"/>
                </a:cubicBezTo>
                <a:cubicBezTo>
                  <a:pt x="641" y="227"/>
                  <a:pt x="641" y="227"/>
                  <a:pt x="641" y="227"/>
                </a:cubicBezTo>
                <a:cubicBezTo>
                  <a:pt x="641" y="227"/>
                  <a:pt x="641" y="227"/>
                  <a:pt x="641" y="227"/>
                </a:cubicBezTo>
                <a:cubicBezTo>
                  <a:pt x="641" y="227"/>
                  <a:pt x="641" y="227"/>
                  <a:pt x="641" y="227"/>
                </a:cubicBezTo>
                <a:cubicBezTo>
                  <a:pt x="641" y="227"/>
                  <a:pt x="641" y="227"/>
                  <a:pt x="641" y="227"/>
                </a:cubicBezTo>
                <a:cubicBezTo>
                  <a:pt x="641" y="227"/>
                  <a:pt x="641" y="227"/>
                  <a:pt x="641" y="227"/>
                </a:cubicBezTo>
                <a:cubicBezTo>
                  <a:pt x="642" y="227"/>
                  <a:pt x="642" y="227"/>
                  <a:pt x="642" y="227"/>
                </a:cubicBezTo>
                <a:cubicBezTo>
                  <a:pt x="642" y="227"/>
                  <a:pt x="642" y="227"/>
                  <a:pt x="642" y="227"/>
                </a:cubicBezTo>
                <a:cubicBezTo>
                  <a:pt x="642" y="228"/>
                  <a:pt x="642" y="228"/>
                  <a:pt x="642" y="228"/>
                </a:cubicBezTo>
                <a:cubicBezTo>
                  <a:pt x="642" y="228"/>
                  <a:pt x="642" y="228"/>
                  <a:pt x="642" y="228"/>
                </a:cubicBezTo>
                <a:cubicBezTo>
                  <a:pt x="642" y="228"/>
                  <a:pt x="642" y="228"/>
                  <a:pt x="642" y="228"/>
                </a:cubicBezTo>
                <a:cubicBezTo>
                  <a:pt x="642" y="228"/>
                  <a:pt x="642" y="228"/>
                  <a:pt x="642" y="228"/>
                </a:cubicBezTo>
                <a:cubicBezTo>
                  <a:pt x="642" y="228"/>
                  <a:pt x="642" y="228"/>
                  <a:pt x="642" y="228"/>
                </a:cubicBezTo>
                <a:cubicBezTo>
                  <a:pt x="642" y="228"/>
                  <a:pt x="642" y="228"/>
                  <a:pt x="642" y="228"/>
                </a:cubicBezTo>
                <a:cubicBezTo>
                  <a:pt x="642" y="228"/>
                  <a:pt x="642" y="228"/>
                  <a:pt x="642" y="228"/>
                </a:cubicBezTo>
                <a:cubicBezTo>
                  <a:pt x="642" y="228"/>
                  <a:pt x="642" y="228"/>
                  <a:pt x="642" y="228"/>
                </a:cubicBezTo>
                <a:cubicBezTo>
                  <a:pt x="642" y="228"/>
                  <a:pt x="642" y="228"/>
                  <a:pt x="642" y="228"/>
                </a:cubicBezTo>
                <a:cubicBezTo>
                  <a:pt x="642" y="228"/>
                  <a:pt x="642" y="228"/>
                  <a:pt x="642" y="228"/>
                </a:cubicBezTo>
                <a:cubicBezTo>
                  <a:pt x="642" y="229"/>
                  <a:pt x="642" y="229"/>
                  <a:pt x="642" y="229"/>
                </a:cubicBezTo>
                <a:cubicBezTo>
                  <a:pt x="642" y="229"/>
                  <a:pt x="642" y="229"/>
                  <a:pt x="642" y="229"/>
                </a:cubicBezTo>
                <a:cubicBezTo>
                  <a:pt x="642" y="229"/>
                  <a:pt x="642" y="229"/>
                  <a:pt x="642" y="229"/>
                </a:cubicBezTo>
                <a:cubicBezTo>
                  <a:pt x="643" y="229"/>
                  <a:pt x="643" y="229"/>
                  <a:pt x="643" y="229"/>
                </a:cubicBezTo>
                <a:cubicBezTo>
                  <a:pt x="643" y="229"/>
                  <a:pt x="643" y="229"/>
                  <a:pt x="643" y="229"/>
                </a:cubicBezTo>
                <a:cubicBezTo>
                  <a:pt x="643" y="229"/>
                  <a:pt x="643" y="229"/>
                  <a:pt x="643" y="229"/>
                </a:cubicBezTo>
                <a:cubicBezTo>
                  <a:pt x="643" y="229"/>
                  <a:pt x="643" y="229"/>
                  <a:pt x="643" y="229"/>
                </a:cubicBezTo>
                <a:cubicBezTo>
                  <a:pt x="643" y="229"/>
                  <a:pt x="643" y="229"/>
                  <a:pt x="643" y="229"/>
                </a:cubicBezTo>
                <a:cubicBezTo>
                  <a:pt x="643" y="229"/>
                  <a:pt x="643" y="229"/>
                  <a:pt x="643" y="229"/>
                </a:cubicBezTo>
                <a:cubicBezTo>
                  <a:pt x="644" y="229"/>
                  <a:pt x="644" y="229"/>
                  <a:pt x="644" y="229"/>
                </a:cubicBezTo>
                <a:cubicBezTo>
                  <a:pt x="644" y="229"/>
                  <a:pt x="644" y="229"/>
                  <a:pt x="644" y="229"/>
                </a:cubicBezTo>
                <a:cubicBezTo>
                  <a:pt x="644" y="229"/>
                  <a:pt x="644" y="229"/>
                  <a:pt x="644" y="229"/>
                </a:cubicBezTo>
                <a:cubicBezTo>
                  <a:pt x="644" y="229"/>
                  <a:pt x="644" y="229"/>
                  <a:pt x="644" y="229"/>
                </a:cubicBezTo>
                <a:cubicBezTo>
                  <a:pt x="645" y="229"/>
                  <a:pt x="645" y="230"/>
                  <a:pt x="645" y="230"/>
                </a:cubicBezTo>
                <a:cubicBezTo>
                  <a:pt x="646" y="230"/>
                  <a:pt x="646" y="230"/>
                  <a:pt x="646" y="230"/>
                </a:cubicBezTo>
                <a:cubicBezTo>
                  <a:pt x="646" y="230"/>
                  <a:pt x="646" y="230"/>
                  <a:pt x="646" y="230"/>
                </a:cubicBezTo>
                <a:cubicBezTo>
                  <a:pt x="647" y="230"/>
                  <a:pt x="646" y="231"/>
                  <a:pt x="647" y="231"/>
                </a:cubicBezTo>
                <a:cubicBezTo>
                  <a:pt x="647" y="231"/>
                  <a:pt x="647" y="231"/>
                  <a:pt x="647" y="231"/>
                </a:cubicBezTo>
                <a:cubicBezTo>
                  <a:pt x="647" y="231"/>
                  <a:pt x="647" y="231"/>
                  <a:pt x="647" y="231"/>
                </a:cubicBezTo>
                <a:cubicBezTo>
                  <a:pt x="647" y="231"/>
                  <a:pt x="647" y="231"/>
                  <a:pt x="647" y="231"/>
                </a:cubicBezTo>
                <a:cubicBezTo>
                  <a:pt x="647" y="231"/>
                  <a:pt x="647" y="231"/>
                  <a:pt x="647" y="231"/>
                </a:cubicBezTo>
                <a:cubicBezTo>
                  <a:pt x="647" y="231"/>
                  <a:pt x="647" y="231"/>
                  <a:pt x="647" y="231"/>
                </a:cubicBezTo>
                <a:cubicBezTo>
                  <a:pt x="648" y="231"/>
                  <a:pt x="648" y="231"/>
                  <a:pt x="648" y="231"/>
                </a:cubicBezTo>
                <a:cubicBezTo>
                  <a:pt x="648" y="232"/>
                  <a:pt x="648" y="232"/>
                  <a:pt x="648" y="232"/>
                </a:cubicBezTo>
                <a:cubicBezTo>
                  <a:pt x="648" y="232"/>
                  <a:pt x="648" y="232"/>
                  <a:pt x="648" y="232"/>
                </a:cubicBezTo>
                <a:cubicBezTo>
                  <a:pt x="648" y="232"/>
                  <a:pt x="648" y="232"/>
                  <a:pt x="648" y="232"/>
                </a:cubicBezTo>
                <a:cubicBezTo>
                  <a:pt x="648" y="232"/>
                  <a:pt x="648" y="232"/>
                  <a:pt x="648" y="232"/>
                </a:cubicBezTo>
                <a:cubicBezTo>
                  <a:pt x="648" y="232"/>
                  <a:pt x="648" y="232"/>
                  <a:pt x="648" y="232"/>
                </a:cubicBezTo>
                <a:cubicBezTo>
                  <a:pt x="648" y="232"/>
                  <a:pt x="648" y="232"/>
                  <a:pt x="648" y="232"/>
                </a:cubicBezTo>
                <a:cubicBezTo>
                  <a:pt x="648" y="232"/>
                  <a:pt x="648" y="232"/>
                  <a:pt x="648" y="232"/>
                </a:cubicBezTo>
                <a:cubicBezTo>
                  <a:pt x="648" y="232"/>
                  <a:pt x="648" y="232"/>
                  <a:pt x="648" y="232"/>
                </a:cubicBezTo>
                <a:cubicBezTo>
                  <a:pt x="648" y="232"/>
                  <a:pt x="648" y="232"/>
                  <a:pt x="648" y="232"/>
                </a:cubicBezTo>
                <a:cubicBezTo>
                  <a:pt x="648" y="232"/>
                  <a:pt x="648" y="232"/>
                  <a:pt x="648" y="232"/>
                </a:cubicBezTo>
                <a:cubicBezTo>
                  <a:pt x="648" y="232"/>
                  <a:pt x="648" y="232"/>
                  <a:pt x="648" y="232"/>
                </a:cubicBezTo>
                <a:cubicBezTo>
                  <a:pt x="648" y="232"/>
                  <a:pt x="648" y="232"/>
                  <a:pt x="648" y="232"/>
                </a:cubicBezTo>
                <a:cubicBezTo>
                  <a:pt x="649" y="232"/>
                  <a:pt x="649" y="232"/>
                  <a:pt x="649" y="232"/>
                </a:cubicBezTo>
                <a:cubicBezTo>
                  <a:pt x="649" y="232"/>
                  <a:pt x="649" y="232"/>
                  <a:pt x="649" y="232"/>
                </a:cubicBezTo>
                <a:cubicBezTo>
                  <a:pt x="649" y="232"/>
                  <a:pt x="649" y="232"/>
                  <a:pt x="649" y="233"/>
                </a:cubicBezTo>
                <a:cubicBezTo>
                  <a:pt x="649" y="233"/>
                  <a:pt x="649" y="233"/>
                  <a:pt x="649" y="233"/>
                </a:cubicBezTo>
                <a:cubicBezTo>
                  <a:pt x="649" y="233"/>
                  <a:pt x="649" y="233"/>
                  <a:pt x="649" y="233"/>
                </a:cubicBezTo>
                <a:cubicBezTo>
                  <a:pt x="649" y="233"/>
                  <a:pt x="650" y="233"/>
                  <a:pt x="650" y="233"/>
                </a:cubicBezTo>
                <a:cubicBezTo>
                  <a:pt x="650" y="233"/>
                  <a:pt x="650" y="233"/>
                  <a:pt x="650" y="233"/>
                </a:cubicBezTo>
                <a:cubicBezTo>
                  <a:pt x="650" y="233"/>
                  <a:pt x="650" y="233"/>
                  <a:pt x="650" y="233"/>
                </a:cubicBezTo>
                <a:cubicBezTo>
                  <a:pt x="650" y="233"/>
                  <a:pt x="650" y="233"/>
                  <a:pt x="650" y="233"/>
                </a:cubicBezTo>
                <a:cubicBezTo>
                  <a:pt x="650" y="233"/>
                  <a:pt x="650" y="233"/>
                  <a:pt x="650" y="233"/>
                </a:cubicBezTo>
                <a:cubicBezTo>
                  <a:pt x="650" y="233"/>
                  <a:pt x="650" y="233"/>
                  <a:pt x="650" y="233"/>
                </a:cubicBezTo>
                <a:cubicBezTo>
                  <a:pt x="650" y="233"/>
                  <a:pt x="650" y="233"/>
                  <a:pt x="650" y="233"/>
                </a:cubicBezTo>
                <a:cubicBezTo>
                  <a:pt x="650" y="233"/>
                  <a:pt x="650" y="233"/>
                  <a:pt x="650" y="233"/>
                </a:cubicBezTo>
                <a:cubicBezTo>
                  <a:pt x="650" y="233"/>
                  <a:pt x="650" y="233"/>
                  <a:pt x="650" y="233"/>
                </a:cubicBezTo>
                <a:cubicBezTo>
                  <a:pt x="650" y="233"/>
                  <a:pt x="650" y="233"/>
                  <a:pt x="650" y="233"/>
                </a:cubicBezTo>
                <a:cubicBezTo>
                  <a:pt x="651" y="233"/>
                  <a:pt x="651" y="233"/>
                  <a:pt x="651" y="233"/>
                </a:cubicBezTo>
                <a:cubicBezTo>
                  <a:pt x="651" y="234"/>
                  <a:pt x="651" y="234"/>
                  <a:pt x="651" y="234"/>
                </a:cubicBezTo>
                <a:cubicBezTo>
                  <a:pt x="651" y="234"/>
                  <a:pt x="651" y="234"/>
                  <a:pt x="651" y="234"/>
                </a:cubicBezTo>
                <a:cubicBezTo>
                  <a:pt x="651" y="234"/>
                  <a:pt x="651" y="234"/>
                  <a:pt x="651" y="234"/>
                </a:cubicBezTo>
                <a:cubicBezTo>
                  <a:pt x="651" y="234"/>
                  <a:pt x="651" y="234"/>
                  <a:pt x="651" y="234"/>
                </a:cubicBezTo>
                <a:cubicBezTo>
                  <a:pt x="651" y="234"/>
                  <a:pt x="651" y="234"/>
                  <a:pt x="651" y="234"/>
                </a:cubicBezTo>
                <a:cubicBezTo>
                  <a:pt x="651" y="234"/>
                  <a:pt x="651" y="234"/>
                  <a:pt x="651" y="234"/>
                </a:cubicBezTo>
                <a:cubicBezTo>
                  <a:pt x="651" y="234"/>
                  <a:pt x="651" y="234"/>
                  <a:pt x="651" y="234"/>
                </a:cubicBezTo>
                <a:cubicBezTo>
                  <a:pt x="651" y="234"/>
                  <a:pt x="651" y="234"/>
                  <a:pt x="651" y="234"/>
                </a:cubicBezTo>
                <a:cubicBezTo>
                  <a:pt x="651" y="234"/>
                  <a:pt x="651" y="234"/>
                  <a:pt x="651" y="234"/>
                </a:cubicBezTo>
                <a:cubicBezTo>
                  <a:pt x="651" y="234"/>
                  <a:pt x="651" y="234"/>
                  <a:pt x="651" y="234"/>
                </a:cubicBezTo>
                <a:cubicBezTo>
                  <a:pt x="651" y="234"/>
                  <a:pt x="651" y="234"/>
                  <a:pt x="651" y="234"/>
                </a:cubicBezTo>
                <a:cubicBezTo>
                  <a:pt x="651" y="234"/>
                  <a:pt x="651" y="234"/>
                  <a:pt x="651" y="234"/>
                </a:cubicBezTo>
                <a:cubicBezTo>
                  <a:pt x="651" y="235"/>
                  <a:pt x="651" y="235"/>
                  <a:pt x="651" y="235"/>
                </a:cubicBezTo>
                <a:cubicBezTo>
                  <a:pt x="651" y="235"/>
                  <a:pt x="651" y="235"/>
                  <a:pt x="651" y="235"/>
                </a:cubicBezTo>
                <a:cubicBezTo>
                  <a:pt x="652" y="235"/>
                  <a:pt x="652" y="235"/>
                  <a:pt x="652" y="235"/>
                </a:cubicBezTo>
                <a:cubicBezTo>
                  <a:pt x="652" y="235"/>
                  <a:pt x="652" y="235"/>
                  <a:pt x="652" y="235"/>
                </a:cubicBezTo>
                <a:cubicBezTo>
                  <a:pt x="652" y="235"/>
                  <a:pt x="652" y="235"/>
                  <a:pt x="652" y="235"/>
                </a:cubicBezTo>
                <a:cubicBezTo>
                  <a:pt x="652" y="235"/>
                  <a:pt x="652" y="235"/>
                  <a:pt x="652" y="235"/>
                </a:cubicBezTo>
                <a:cubicBezTo>
                  <a:pt x="652" y="236"/>
                  <a:pt x="652" y="236"/>
                  <a:pt x="652" y="236"/>
                </a:cubicBezTo>
                <a:cubicBezTo>
                  <a:pt x="652" y="236"/>
                  <a:pt x="652" y="236"/>
                  <a:pt x="652" y="236"/>
                </a:cubicBezTo>
                <a:cubicBezTo>
                  <a:pt x="652" y="236"/>
                  <a:pt x="652" y="236"/>
                  <a:pt x="652" y="236"/>
                </a:cubicBezTo>
                <a:cubicBezTo>
                  <a:pt x="652" y="236"/>
                  <a:pt x="652" y="236"/>
                  <a:pt x="652" y="236"/>
                </a:cubicBezTo>
                <a:cubicBezTo>
                  <a:pt x="652" y="236"/>
                  <a:pt x="652" y="236"/>
                  <a:pt x="652" y="236"/>
                </a:cubicBezTo>
                <a:cubicBezTo>
                  <a:pt x="652" y="236"/>
                  <a:pt x="653" y="236"/>
                  <a:pt x="653" y="237"/>
                </a:cubicBezTo>
                <a:cubicBezTo>
                  <a:pt x="653" y="237"/>
                  <a:pt x="653" y="237"/>
                  <a:pt x="653" y="237"/>
                </a:cubicBezTo>
                <a:cubicBezTo>
                  <a:pt x="653" y="237"/>
                  <a:pt x="653" y="237"/>
                  <a:pt x="653" y="237"/>
                </a:cubicBezTo>
                <a:cubicBezTo>
                  <a:pt x="653" y="237"/>
                  <a:pt x="654" y="238"/>
                  <a:pt x="654" y="238"/>
                </a:cubicBezTo>
                <a:cubicBezTo>
                  <a:pt x="654" y="238"/>
                  <a:pt x="654" y="238"/>
                  <a:pt x="654" y="238"/>
                </a:cubicBezTo>
                <a:cubicBezTo>
                  <a:pt x="654" y="238"/>
                  <a:pt x="654" y="238"/>
                  <a:pt x="654" y="238"/>
                </a:cubicBezTo>
                <a:cubicBezTo>
                  <a:pt x="654" y="238"/>
                  <a:pt x="654" y="238"/>
                  <a:pt x="654" y="238"/>
                </a:cubicBezTo>
                <a:cubicBezTo>
                  <a:pt x="654" y="238"/>
                  <a:pt x="654" y="238"/>
                  <a:pt x="654" y="238"/>
                </a:cubicBezTo>
                <a:cubicBezTo>
                  <a:pt x="654" y="238"/>
                  <a:pt x="654" y="238"/>
                  <a:pt x="654" y="238"/>
                </a:cubicBezTo>
                <a:cubicBezTo>
                  <a:pt x="654" y="239"/>
                  <a:pt x="654" y="239"/>
                  <a:pt x="654" y="239"/>
                </a:cubicBezTo>
                <a:cubicBezTo>
                  <a:pt x="655" y="239"/>
                  <a:pt x="654" y="239"/>
                  <a:pt x="655" y="240"/>
                </a:cubicBezTo>
                <a:cubicBezTo>
                  <a:pt x="655" y="240"/>
                  <a:pt x="655" y="240"/>
                  <a:pt x="655" y="240"/>
                </a:cubicBezTo>
                <a:cubicBezTo>
                  <a:pt x="655" y="240"/>
                  <a:pt x="655" y="240"/>
                  <a:pt x="655" y="240"/>
                </a:cubicBezTo>
                <a:cubicBezTo>
                  <a:pt x="655" y="241"/>
                  <a:pt x="655" y="241"/>
                  <a:pt x="655" y="241"/>
                </a:cubicBezTo>
                <a:cubicBezTo>
                  <a:pt x="655" y="242"/>
                  <a:pt x="655" y="242"/>
                  <a:pt x="655" y="242"/>
                </a:cubicBezTo>
                <a:cubicBezTo>
                  <a:pt x="655" y="242"/>
                  <a:pt x="655" y="242"/>
                  <a:pt x="655" y="242"/>
                </a:cubicBezTo>
                <a:cubicBezTo>
                  <a:pt x="655" y="242"/>
                  <a:pt x="655" y="242"/>
                  <a:pt x="655" y="242"/>
                </a:cubicBezTo>
                <a:cubicBezTo>
                  <a:pt x="655" y="242"/>
                  <a:pt x="655" y="242"/>
                  <a:pt x="655" y="242"/>
                </a:cubicBezTo>
                <a:cubicBezTo>
                  <a:pt x="655" y="242"/>
                  <a:pt x="655" y="242"/>
                  <a:pt x="655" y="242"/>
                </a:cubicBezTo>
                <a:cubicBezTo>
                  <a:pt x="656" y="242"/>
                  <a:pt x="655" y="242"/>
                  <a:pt x="656" y="242"/>
                </a:cubicBezTo>
                <a:cubicBezTo>
                  <a:pt x="656" y="242"/>
                  <a:pt x="656" y="242"/>
                  <a:pt x="656" y="242"/>
                </a:cubicBezTo>
                <a:cubicBezTo>
                  <a:pt x="656" y="242"/>
                  <a:pt x="656" y="242"/>
                  <a:pt x="656" y="242"/>
                </a:cubicBezTo>
                <a:cubicBezTo>
                  <a:pt x="656" y="243"/>
                  <a:pt x="656" y="243"/>
                  <a:pt x="656" y="243"/>
                </a:cubicBezTo>
                <a:cubicBezTo>
                  <a:pt x="656" y="243"/>
                  <a:pt x="656" y="243"/>
                  <a:pt x="656" y="243"/>
                </a:cubicBezTo>
                <a:cubicBezTo>
                  <a:pt x="656" y="243"/>
                  <a:pt x="656" y="243"/>
                  <a:pt x="656" y="243"/>
                </a:cubicBezTo>
                <a:cubicBezTo>
                  <a:pt x="656" y="243"/>
                  <a:pt x="656" y="243"/>
                  <a:pt x="656" y="243"/>
                </a:cubicBezTo>
                <a:cubicBezTo>
                  <a:pt x="656" y="243"/>
                  <a:pt x="656" y="243"/>
                  <a:pt x="656" y="243"/>
                </a:cubicBezTo>
                <a:cubicBezTo>
                  <a:pt x="656" y="243"/>
                  <a:pt x="656" y="243"/>
                  <a:pt x="656" y="244"/>
                </a:cubicBezTo>
                <a:cubicBezTo>
                  <a:pt x="656" y="244"/>
                  <a:pt x="656" y="244"/>
                  <a:pt x="656" y="244"/>
                </a:cubicBezTo>
                <a:cubicBezTo>
                  <a:pt x="656" y="244"/>
                  <a:pt x="656" y="244"/>
                  <a:pt x="656" y="244"/>
                </a:cubicBezTo>
                <a:cubicBezTo>
                  <a:pt x="656" y="244"/>
                  <a:pt x="656" y="244"/>
                  <a:pt x="656" y="244"/>
                </a:cubicBezTo>
                <a:cubicBezTo>
                  <a:pt x="656" y="244"/>
                  <a:pt x="656" y="244"/>
                  <a:pt x="656" y="244"/>
                </a:cubicBezTo>
                <a:cubicBezTo>
                  <a:pt x="656" y="244"/>
                  <a:pt x="656" y="244"/>
                  <a:pt x="656" y="244"/>
                </a:cubicBezTo>
                <a:cubicBezTo>
                  <a:pt x="656" y="244"/>
                  <a:pt x="656" y="244"/>
                  <a:pt x="656" y="244"/>
                </a:cubicBezTo>
                <a:cubicBezTo>
                  <a:pt x="656" y="244"/>
                  <a:pt x="656" y="244"/>
                  <a:pt x="656" y="244"/>
                </a:cubicBezTo>
                <a:cubicBezTo>
                  <a:pt x="657" y="245"/>
                  <a:pt x="657" y="245"/>
                  <a:pt x="657" y="245"/>
                </a:cubicBezTo>
                <a:cubicBezTo>
                  <a:pt x="657" y="245"/>
                  <a:pt x="657" y="245"/>
                  <a:pt x="657" y="245"/>
                </a:cubicBezTo>
                <a:cubicBezTo>
                  <a:pt x="657" y="245"/>
                  <a:pt x="657" y="245"/>
                  <a:pt x="657" y="245"/>
                </a:cubicBezTo>
                <a:cubicBezTo>
                  <a:pt x="657" y="245"/>
                  <a:pt x="657" y="245"/>
                  <a:pt x="657" y="245"/>
                </a:cubicBezTo>
                <a:cubicBezTo>
                  <a:pt x="657" y="245"/>
                  <a:pt x="657" y="245"/>
                  <a:pt x="657" y="245"/>
                </a:cubicBezTo>
                <a:cubicBezTo>
                  <a:pt x="657" y="245"/>
                  <a:pt x="657" y="245"/>
                  <a:pt x="657" y="245"/>
                </a:cubicBezTo>
                <a:cubicBezTo>
                  <a:pt x="657" y="245"/>
                  <a:pt x="657" y="245"/>
                  <a:pt x="657" y="245"/>
                </a:cubicBezTo>
                <a:cubicBezTo>
                  <a:pt x="657" y="246"/>
                  <a:pt x="657" y="246"/>
                  <a:pt x="657" y="246"/>
                </a:cubicBezTo>
                <a:cubicBezTo>
                  <a:pt x="657" y="246"/>
                  <a:pt x="657" y="246"/>
                  <a:pt x="657" y="246"/>
                </a:cubicBezTo>
                <a:cubicBezTo>
                  <a:pt x="657" y="246"/>
                  <a:pt x="657" y="246"/>
                  <a:pt x="657" y="246"/>
                </a:cubicBezTo>
                <a:cubicBezTo>
                  <a:pt x="657" y="247"/>
                  <a:pt x="657" y="247"/>
                  <a:pt x="657" y="247"/>
                </a:cubicBezTo>
                <a:cubicBezTo>
                  <a:pt x="657" y="247"/>
                  <a:pt x="657" y="247"/>
                  <a:pt x="657" y="247"/>
                </a:cubicBezTo>
                <a:cubicBezTo>
                  <a:pt x="657" y="247"/>
                  <a:pt x="657" y="247"/>
                  <a:pt x="657" y="247"/>
                </a:cubicBezTo>
                <a:cubicBezTo>
                  <a:pt x="657" y="247"/>
                  <a:pt x="657" y="247"/>
                  <a:pt x="657" y="247"/>
                </a:cubicBezTo>
                <a:cubicBezTo>
                  <a:pt x="657" y="247"/>
                  <a:pt x="657" y="248"/>
                  <a:pt x="657" y="248"/>
                </a:cubicBezTo>
                <a:cubicBezTo>
                  <a:pt x="657" y="248"/>
                  <a:pt x="657" y="248"/>
                  <a:pt x="657" y="248"/>
                </a:cubicBezTo>
                <a:cubicBezTo>
                  <a:pt x="657" y="248"/>
                  <a:pt x="657" y="248"/>
                  <a:pt x="657" y="248"/>
                </a:cubicBezTo>
                <a:cubicBezTo>
                  <a:pt x="657" y="249"/>
                  <a:pt x="657" y="249"/>
                  <a:pt x="657" y="249"/>
                </a:cubicBezTo>
                <a:cubicBezTo>
                  <a:pt x="657" y="249"/>
                  <a:pt x="657" y="250"/>
                  <a:pt x="657" y="251"/>
                </a:cubicBezTo>
                <a:cubicBezTo>
                  <a:pt x="657" y="251"/>
                  <a:pt x="657" y="251"/>
                  <a:pt x="657" y="251"/>
                </a:cubicBezTo>
                <a:cubicBezTo>
                  <a:pt x="657" y="251"/>
                  <a:pt x="657" y="251"/>
                  <a:pt x="657" y="251"/>
                </a:cubicBezTo>
                <a:cubicBezTo>
                  <a:pt x="657" y="252"/>
                  <a:pt x="657" y="252"/>
                  <a:pt x="657" y="252"/>
                </a:cubicBezTo>
                <a:cubicBezTo>
                  <a:pt x="657" y="252"/>
                  <a:pt x="657" y="252"/>
                  <a:pt x="657" y="252"/>
                </a:cubicBezTo>
                <a:cubicBezTo>
                  <a:pt x="658" y="253"/>
                  <a:pt x="657" y="254"/>
                  <a:pt x="657" y="255"/>
                </a:cubicBezTo>
                <a:cubicBezTo>
                  <a:pt x="657" y="255"/>
                  <a:pt x="657" y="255"/>
                  <a:pt x="657" y="255"/>
                </a:cubicBezTo>
                <a:cubicBezTo>
                  <a:pt x="657" y="255"/>
                  <a:pt x="657" y="255"/>
                  <a:pt x="657" y="255"/>
                </a:cubicBezTo>
                <a:cubicBezTo>
                  <a:pt x="657" y="255"/>
                  <a:pt x="657" y="255"/>
                  <a:pt x="657" y="255"/>
                </a:cubicBezTo>
                <a:cubicBezTo>
                  <a:pt x="657" y="256"/>
                  <a:pt x="657" y="256"/>
                  <a:pt x="657" y="257"/>
                </a:cubicBezTo>
                <a:cubicBezTo>
                  <a:pt x="657" y="257"/>
                  <a:pt x="657" y="257"/>
                  <a:pt x="657" y="257"/>
                </a:cubicBezTo>
                <a:cubicBezTo>
                  <a:pt x="657" y="257"/>
                  <a:pt x="657" y="257"/>
                  <a:pt x="657" y="257"/>
                </a:cubicBezTo>
                <a:cubicBezTo>
                  <a:pt x="657" y="258"/>
                  <a:pt x="657" y="258"/>
                  <a:pt x="657" y="259"/>
                </a:cubicBezTo>
                <a:cubicBezTo>
                  <a:pt x="657" y="259"/>
                  <a:pt x="657" y="259"/>
                  <a:pt x="657" y="259"/>
                </a:cubicBezTo>
                <a:cubicBezTo>
                  <a:pt x="657" y="260"/>
                  <a:pt x="657" y="260"/>
                  <a:pt x="657" y="260"/>
                </a:cubicBezTo>
                <a:cubicBezTo>
                  <a:pt x="657" y="261"/>
                  <a:pt x="657" y="261"/>
                  <a:pt x="657" y="261"/>
                </a:cubicBezTo>
                <a:cubicBezTo>
                  <a:pt x="656" y="261"/>
                  <a:pt x="656" y="261"/>
                  <a:pt x="656" y="261"/>
                </a:cubicBezTo>
                <a:cubicBezTo>
                  <a:pt x="656" y="261"/>
                  <a:pt x="656" y="261"/>
                  <a:pt x="656" y="261"/>
                </a:cubicBezTo>
                <a:cubicBezTo>
                  <a:pt x="656" y="261"/>
                  <a:pt x="656" y="261"/>
                  <a:pt x="656" y="261"/>
                </a:cubicBezTo>
                <a:cubicBezTo>
                  <a:pt x="656" y="261"/>
                  <a:pt x="656" y="261"/>
                  <a:pt x="656" y="261"/>
                </a:cubicBezTo>
                <a:cubicBezTo>
                  <a:pt x="656" y="261"/>
                  <a:pt x="656" y="261"/>
                  <a:pt x="656" y="261"/>
                </a:cubicBezTo>
                <a:cubicBezTo>
                  <a:pt x="656" y="262"/>
                  <a:pt x="656" y="262"/>
                  <a:pt x="656" y="262"/>
                </a:cubicBezTo>
                <a:cubicBezTo>
                  <a:pt x="656" y="262"/>
                  <a:pt x="656" y="262"/>
                  <a:pt x="656" y="262"/>
                </a:cubicBezTo>
                <a:cubicBezTo>
                  <a:pt x="656" y="262"/>
                  <a:pt x="656" y="262"/>
                  <a:pt x="656" y="262"/>
                </a:cubicBezTo>
                <a:cubicBezTo>
                  <a:pt x="656" y="262"/>
                  <a:pt x="656" y="262"/>
                  <a:pt x="656" y="262"/>
                </a:cubicBezTo>
                <a:cubicBezTo>
                  <a:pt x="656" y="262"/>
                  <a:pt x="656" y="262"/>
                  <a:pt x="656" y="263"/>
                </a:cubicBezTo>
                <a:cubicBezTo>
                  <a:pt x="656" y="263"/>
                  <a:pt x="656" y="263"/>
                  <a:pt x="656" y="263"/>
                </a:cubicBezTo>
                <a:cubicBezTo>
                  <a:pt x="656" y="263"/>
                  <a:pt x="656" y="263"/>
                  <a:pt x="656" y="263"/>
                </a:cubicBezTo>
                <a:cubicBezTo>
                  <a:pt x="656" y="263"/>
                  <a:pt x="656" y="263"/>
                  <a:pt x="656" y="263"/>
                </a:cubicBezTo>
                <a:cubicBezTo>
                  <a:pt x="656" y="263"/>
                  <a:pt x="656" y="263"/>
                  <a:pt x="656" y="263"/>
                </a:cubicBezTo>
                <a:cubicBezTo>
                  <a:pt x="655" y="263"/>
                  <a:pt x="655" y="263"/>
                  <a:pt x="655" y="264"/>
                </a:cubicBezTo>
                <a:cubicBezTo>
                  <a:pt x="654" y="264"/>
                  <a:pt x="654" y="264"/>
                  <a:pt x="654" y="264"/>
                </a:cubicBezTo>
                <a:cubicBezTo>
                  <a:pt x="654" y="264"/>
                  <a:pt x="654" y="264"/>
                  <a:pt x="654" y="264"/>
                </a:cubicBezTo>
                <a:cubicBezTo>
                  <a:pt x="654" y="264"/>
                  <a:pt x="654" y="264"/>
                  <a:pt x="654" y="265"/>
                </a:cubicBezTo>
                <a:cubicBezTo>
                  <a:pt x="653" y="265"/>
                  <a:pt x="653" y="265"/>
                  <a:pt x="653" y="265"/>
                </a:cubicBezTo>
                <a:cubicBezTo>
                  <a:pt x="653" y="265"/>
                  <a:pt x="653" y="265"/>
                  <a:pt x="653" y="265"/>
                </a:cubicBezTo>
                <a:cubicBezTo>
                  <a:pt x="653" y="265"/>
                  <a:pt x="653" y="265"/>
                  <a:pt x="653" y="265"/>
                </a:cubicBezTo>
                <a:cubicBezTo>
                  <a:pt x="653" y="265"/>
                  <a:pt x="653" y="265"/>
                  <a:pt x="653" y="265"/>
                </a:cubicBezTo>
                <a:cubicBezTo>
                  <a:pt x="652" y="266"/>
                  <a:pt x="652" y="267"/>
                  <a:pt x="651" y="267"/>
                </a:cubicBezTo>
                <a:cubicBezTo>
                  <a:pt x="651" y="268"/>
                  <a:pt x="651" y="268"/>
                  <a:pt x="651" y="268"/>
                </a:cubicBezTo>
                <a:cubicBezTo>
                  <a:pt x="651" y="268"/>
                  <a:pt x="651" y="268"/>
                  <a:pt x="651" y="268"/>
                </a:cubicBezTo>
                <a:cubicBezTo>
                  <a:pt x="651" y="268"/>
                  <a:pt x="651" y="268"/>
                  <a:pt x="651" y="268"/>
                </a:cubicBezTo>
                <a:cubicBezTo>
                  <a:pt x="650" y="268"/>
                  <a:pt x="650" y="268"/>
                  <a:pt x="650" y="268"/>
                </a:cubicBezTo>
                <a:cubicBezTo>
                  <a:pt x="650" y="268"/>
                  <a:pt x="650" y="268"/>
                  <a:pt x="650" y="268"/>
                </a:cubicBezTo>
                <a:cubicBezTo>
                  <a:pt x="651" y="268"/>
                  <a:pt x="652" y="267"/>
                  <a:pt x="651" y="268"/>
                </a:cubicBezTo>
                <a:cubicBezTo>
                  <a:pt x="651" y="268"/>
                  <a:pt x="651" y="268"/>
                  <a:pt x="651" y="268"/>
                </a:cubicBezTo>
                <a:cubicBezTo>
                  <a:pt x="651" y="268"/>
                  <a:pt x="651" y="268"/>
                  <a:pt x="651" y="268"/>
                </a:cubicBezTo>
                <a:cubicBezTo>
                  <a:pt x="651" y="268"/>
                  <a:pt x="651" y="268"/>
                  <a:pt x="650" y="269"/>
                </a:cubicBezTo>
                <a:cubicBezTo>
                  <a:pt x="650" y="269"/>
                  <a:pt x="650" y="269"/>
                  <a:pt x="650" y="269"/>
                </a:cubicBezTo>
                <a:cubicBezTo>
                  <a:pt x="650" y="269"/>
                  <a:pt x="650" y="269"/>
                  <a:pt x="650" y="269"/>
                </a:cubicBezTo>
                <a:cubicBezTo>
                  <a:pt x="650" y="269"/>
                  <a:pt x="650" y="269"/>
                  <a:pt x="650" y="269"/>
                </a:cubicBezTo>
                <a:cubicBezTo>
                  <a:pt x="650" y="269"/>
                  <a:pt x="650" y="269"/>
                  <a:pt x="650" y="269"/>
                </a:cubicBezTo>
                <a:cubicBezTo>
                  <a:pt x="650" y="269"/>
                  <a:pt x="650" y="269"/>
                  <a:pt x="650" y="269"/>
                </a:cubicBezTo>
                <a:cubicBezTo>
                  <a:pt x="650" y="269"/>
                  <a:pt x="649" y="270"/>
                  <a:pt x="649" y="270"/>
                </a:cubicBezTo>
                <a:cubicBezTo>
                  <a:pt x="649" y="270"/>
                  <a:pt x="649" y="270"/>
                  <a:pt x="649" y="270"/>
                </a:cubicBezTo>
                <a:cubicBezTo>
                  <a:pt x="648" y="270"/>
                  <a:pt x="648" y="270"/>
                  <a:pt x="648" y="270"/>
                </a:cubicBezTo>
                <a:cubicBezTo>
                  <a:pt x="648" y="270"/>
                  <a:pt x="648" y="271"/>
                  <a:pt x="648" y="271"/>
                </a:cubicBezTo>
                <a:cubicBezTo>
                  <a:pt x="648" y="271"/>
                  <a:pt x="648" y="271"/>
                  <a:pt x="648" y="271"/>
                </a:cubicBezTo>
                <a:cubicBezTo>
                  <a:pt x="648" y="271"/>
                  <a:pt x="648" y="271"/>
                  <a:pt x="648" y="271"/>
                </a:cubicBezTo>
                <a:cubicBezTo>
                  <a:pt x="648" y="271"/>
                  <a:pt x="648" y="271"/>
                  <a:pt x="648" y="271"/>
                </a:cubicBezTo>
                <a:cubicBezTo>
                  <a:pt x="647" y="272"/>
                  <a:pt x="645" y="273"/>
                  <a:pt x="645" y="273"/>
                </a:cubicBezTo>
                <a:cubicBezTo>
                  <a:pt x="645" y="273"/>
                  <a:pt x="645" y="273"/>
                  <a:pt x="645" y="273"/>
                </a:cubicBezTo>
                <a:cubicBezTo>
                  <a:pt x="645" y="274"/>
                  <a:pt x="645" y="274"/>
                  <a:pt x="645" y="274"/>
                </a:cubicBezTo>
                <a:cubicBezTo>
                  <a:pt x="645" y="274"/>
                  <a:pt x="645" y="274"/>
                  <a:pt x="645" y="274"/>
                </a:cubicBezTo>
                <a:cubicBezTo>
                  <a:pt x="644" y="274"/>
                  <a:pt x="644" y="274"/>
                  <a:pt x="644" y="274"/>
                </a:cubicBezTo>
                <a:cubicBezTo>
                  <a:pt x="644" y="274"/>
                  <a:pt x="644" y="274"/>
                  <a:pt x="644" y="274"/>
                </a:cubicBezTo>
                <a:cubicBezTo>
                  <a:pt x="624" y="282"/>
                  <a:pt x="624" y="282"/>
                  <a:pt x="624" y="282"/>
                </a:cubicBezTo>
                <a:cubicBezTo>
                  <a:pt x="625" y="282"/>
                  <a:pt x="625" y="282"/>
                  <a:pt x="625" y="282"/>
                </a:cubicBezTo>
                <a:cubicBezTo>
                  <a:pt x="625" y="282"/>
                  <a:pt x="625" y="282"/>
                  <a:pt x="625" y="282"/>
                </a:cubicBezTo>
                <a:cubicBezTo>
                  <a:pt x="625" y="282"/>
                  <a:pt x="625" y="282"/>
                  <a:pt x="625" y="282"/>
                </a:cubicBezTo>
                <a:cubicBezTo>
                  <a:pt x="625" y="283"/>
                  <a:pt x="625" y="283"/>
                  <a:pt x="625" y="283"/>
                </a:cubicBezTo>
                <a:cubicBezTo>
                  <a:pt x="625" y="283"/>
                  <a:pt x="625" y="283"/>
                  <a:pt x="625" y="283"/>
                </a:cubicBezTo>
                <a:cubicBezTo>
                  <a:pt x="626" y="283"/>
                  <a:pt x="626" y="283"/>
                  <a:pt x="626" y="283"/>
                </a:cubicBezTo>
                <a:cubicBezTo>
                  <a:pt x="626" y="283"/>
                  <a:pt x="626" y="283"/>
                  <a:pt x="626" y="283"/>
                </a:cubicBezTo>
                <a:cubicBezTo>
                  <a:pt x="626" y="283"/>
                  <a:pt x="626" y="283"/>
                  <a:pt x="626" y="283"/>
                </a:cubicBezTo>
                <a:cubicBezTo>
                  <a:pt x="626" y="283"/>
                  <a:pt x="626" y="283"/>
                  <a:pt x="626" y="283"/>
                </a:cubicBezTo>
                <a:cubicBezTo>
                  <a:pt x="626" y="283"/>
                  <a:pt x="626" y="283"/>
                  <a:pt x="626" y="283"/>
                </a:cubicBezTo>
                <a:cubicBezTo>
                  <a:pt x="626" y="283"/>
                  <a:pt x="626" y="283"/>
                  <a:pt x="626" y="283"/>
                </a:cubicBezTo>
                <a:cubicBezTo>
                  <a:pt x="626" y="283"/>
                  <a:pt x="626" y="283"/>
                  <a:pt x="626" y="283"/>
                </a:cubicBezTo>
                <a:cubicBezTo>
                  <a:pt x="626" y="283"/>
                  <a:pt x="626" y="283"/>
                  <a:pt x="626" y="283"/>
                </a:cubicBezTo>
                <a:cubicBezTo>
                  <a:pt x="626" y="283"/>
                  <a:pt x="626" y="283"/>
                  <a:pt x="626" y="283"/>
                </a:cubicBezTo>
                <a:cubicBezTo>
                  <a:pt x="626" y="283"/>
                  <a:pt x="626" y="283"/>
                  <a:pt x="626" y="283"/>
                </a:cubicBezTo>
                <a:cubicBezTo>
                  <a:pt x="626" y="283"/>
                  <a:pt x="626" y="283"/>
                  <a:pt x="626" y="283"/>
                </a:cubicBezTo>
                <a:cubicBezTo>
                  <a:pt x="626" y="283"/>
                  <a:pt x="626" y="283"/>
                  <a:pt x="626" y="283"/>
                </a:cubicBezTo>
                <a:cubicBezTo>
                  <a:pt x="626" y="283"/>
                  <a:pt x="626" y="283"/>
                  <a:pt x="626" y="283"/>
                </a:cubicBezTo>
                <a:cubicBezTo>
                  <a:pt x="626" y="283"/>
                  <a:pt x="626" y="283"/>
                  <a:pt x="626" y="283"/>
                </a:cubicBezTo>
                <a:cubicBezTo>
                  <a:pt x="626" y="283"/>
                  <a:pt x="626" y="283"/>
                  <a:pt x="626" y="283"/>
                </a:cubicBezTo>
                <a:cubicBezTo>
                  <a:pt x="626" y="283"/>
                  <a:pt x="626" y="283"/>
                  <a:pt x="626" y="283"/>
                </a:cubicBezTo>
                <a:cubicBezTo>
                  <a:pt x="626" y="283"/>
                  <a:pt x="626" y="283"/>
                  <a:pt x="626" y="283"/>
                </a:cubicBezTo>
                <a:cubicBezTo>
                  <a:pt x="627" y="283"/>
                  <a:pt x="627" y="283"/>
                  <a:pt x="627" y="283"/>
                </a:cubicBezTo>
                <a:cubicBezTo>
                  <a:pt x="627" y="283"/>
                  <a:pt x="627" y="283"/>
                  <a:pt x="627" y="283"/>
                </a:cubicBezTo>
                <a:cubicBezTo>
                  <a:pt x="627" y="284"/>
                  <a:pt x="627" y="284"/>
                  <a:pt x="627" y="284"/>
                </a:cubicBezTo>
                <a:cubicBezTo>
                  <a:pt x="627" y="284"/>
                  <a:pt x="627" y="284"/>
                  <a:pt x="627" y="284"/>
                </a:cubicBezTo>
                <a:cubicBezTo>
                  <a:pt x="627" y="285"/>
                  <a:pt x="627" y="285"/>
                  <a:pt x="627" y="285"/>
                </a:cubicBezTo>
                <a:cubicBezTo>
                  <a:pt x="627" y="285"/>
                  <a:pt x="627" y="285"/>
                  <a:pt x="627" y="285"/>
                </a:cubicBezTo>
                <a:cubicBezTo>
                  <a:pt x="627" y="285"/>
                  <a:pt x="627" y="285"/>
                  <a:pt x="627" y="286"/>
                </a:cubicBezTo>
                <a:cubicBezTo>
                  <a:pt x="627" y="286"/>
                  <a:pt x="627" y="286"/>
                  <a:pt x="627" y="286"/>
                </a:cubicBezTo>
                <a:cubicBezTo>
                  <a:pt x="628" y="287"/>
                  <a:pt x="628" y="287"/>
                  <a:pt x="628" y="287"/>
                </a:cubicBezTo>
                <a:cubicBezTo>
                  <a:pt x="628" y="287"/>
                  <a:pt x="628" y="287"/>
                  <a:pt x="628" y="287"/>
                </a:cubicBezTo>
                <a:cubicBezTo>
                  <a:pt x="628" y="287"/>
                  <a:pt x="628" y="287"/>
                  <a:pt x="628" y="287"/>
                </a:cubicBezTo>
                <a:cubicBezTo>
                  <a:pt x="628" y="288"/>
                  <a:pt x="628" y="288"/>
                  <a:pt x="628" y="288"/>
                </a:cubicBezTo>
                <a:cubicBezTo>
                  <a:pt x="628" y="288"/>
                  <a:pt x="628" y="288"/>
                  <a:pt x="628" y="288"/>
                </a:cubicBezTo>
                <a:cubicBezTo>
                  <a:pt x="628" y="288"/>
                  <a:pt x="628" y="288"/>
                  <a:pt x="628" y="288"/>
                </a:cubicBezTo>
                <a:cubicBezTo>
                  <a:pt x="629" y="288"/>
                  <a:pt x="629" y="288"/>
                  <a:pt x="629" y="288"/>
                </a:cubicBezTo>
                <a:cubicBezTo>
                  <a:pt x="629" y="289"/>
                  <a:pt x="629" y="289"/>
                  <a:pt x="629" y="289"/>
                </a:cubicBezTo>
                <a:cubicBezTo>
                  <a:pt x="629" y="289"/>
                  <a:pt x="629" y="289"/>
                  <a:pt x="629" y="289"/>
                </a:cubicBezTo>
                <a:cubicBezTo>
                  <a:pt x="629" y="289"/>
                  <a:pt x="629" y="289"/>
                  <a:pt x="629" y="289"/>
                </a:cubicBezTo>
                <a:cubicBezTo>
                  <a:pt x="629" y="289"/>
                  <a:pt x="629" y="289"/>
                  <a:pt x="629" y="289"/>
                </a:cubicBezTo>
                <a:cubicBezTo>
                  <a:pt x="629" y="289"/>
                  <a:pt x="629" y="289"/>
                  <a:pt x="629" y="289"/>
                </a:cubicBezTo>
                <a:cubicBezTo>
                  <a:pt x="630" y="289"/>
                  <a:pt x="630" y="289"/>
                  <a:pt x="630" y="289"/>
                </a:cubicBezTo>
                <a:cubicBezTo>
                  <a:pt x="630" y="289"/>
                  <a:pt x="630" y="289"/>
                  <a:pt x="630" y="289"/>
                </a:cubicBezTo>
                <a:cubicBezTo>
                  <a:pt x="630" y="289"/>
                  <a:pt x="630" y="289"/>
                  <a:pt x="630" y="289"/>
                </a:cubicBezTo>
                <a:cubicBezTo>
                  <a:pt x="630" y="289"/>
                  <a:pt x="630" y="289"/>
                  <a:pt x="630" y="289"/>
                </a:cubicBezTo>
                <a:cubicBezTo>
                  <a:pt x="630" y="289"/>
                  <a:pt x="630" y="289"/>
                  <a:pt x="630" y="289"/>
                </a:cubicBezTo>
                <a:cubicBezTo>
                  <a:pt x="630" y="289"/>
                  <a:pt x="630" y="289"/>
                  <a:pt x="630" y="289"/>
                </a:cubicBezTo>
                <a:cubicBezTo>
                  <a:pt x="630" y="289"/>
                  <a:pt x="630" y="289"/>
                  <a:pt x="630" y="289"/>
                </a:cubicBezTo>
                <a:cubicBezTo>
                  <a:pt x="630" y="289"/>
                  <a:pt x="630" y="289"/>
                  <a:pt x="630" y="289"/>
                </a:cubicBezTo>
                <a:cubicBezTo>
                  <a:pt x="630" y="289"/>
                  <a:pt x="630" y="289"/>
                  <a:pt x="630" y="289"/>
                </a:cubicBezTo>
                <a:cubicBezTo>
                  <a:pt x="630" y="289"/>
                  <a:pt x="630" y="289"/>
                  <a:pt x="630" y="289"/>
                </a:cubicBezTo>
                <a:cubicBezTo>
                  <a:pt x="630" y="289"/>
                  <a:pt x="630" y="289"/>
                  <a:pt x="630" y="289"/>
                </a:cubicBezTo>
                <a:cubicBezTo>
                  <a:pt x="631" y="289"/>
                  <a:pt x="631" y="289"/>
                  <a:pt x="631" y="289"/>
                </a:cubicBezTo>
                <a:cubicBezTo>
                  <a:pt x="631" y="289"/>
                  <a:pt x="631" y="289"/>
                  <a:pt x="631" y="289"/>
                </a:cubicBezTo>
                <a:cubicBezTo>
                  <a:pt x="631" y="289"/>
                  <a:pt x="631" y="289"/>
                  <a:pt x="631" y="289"/>
                </a:cubicBezTo>
                <a:cubicBezTo>
                  <a:pt x="631" y="289"/>
                  <a:pt x="631" y="289"/>
                  <a:pt x="631" y="289"/>
                </a:cubicBezTo>
                <a:cubicBezTo>
                  <a:pt x="631" y="289"/>
                  <a:pt x="631" y="289"/>
                  <a:pt x="631" y="289"/>
                </a:cubicBezTo>
                <a:cubicBezTo>
                  <a:pt x="631" y="290"/>
                  <a:pt x="631" y="290"/>
                  <a:pt x="631" y="290"/>
                </a:cubicBezTo>
                <a:cubicBezTo>
                  <a:pt x="630" y="290"/>
                  <a:pt x="630" y="290"/>
                  <a:pt x="630" y="290"/>
                </a:cubicBezTo>
                <a:cubicBezTo>
                  <a:pt x="630" y="290"/>
                  <a:pt x="630" y="290"/>
                  <a:pt x="630" y="290"/>
                </a:cubicBezTo>
                <a:cubicBezTo>
                  <a:pt x="630" y="290"/>
                  <a:pt x="630" y="290"/>
                  <a:pt x="630" y="290"/>
                </a:cubicBezTo>
                <a:cubicBezTo>
                  <a:pt x="630" y="290"/>
                  <a:pt x="630" y="290"/>
                  <a:pt x="630" y="290"/>
                </a:cubicBezTo>
                <a:cubicBezTo>
                  <a:pt x="630" y="290"/>
                  <a:pt x="630" y="290"/>
                  <a:pt x="630" y="290"/>
                </a:cubicBezTo>
                <a:cubicBezTo>
                  <a:pt x="630" y="290"/>
                  <a:pt x="630" y="290"/>
                  <a:pt x="629" y="290"/>
                </a:cubicBezTo>
                <a:cubicBezTo>
                  <a:pt x="629" y="290"/>
                  <a:pt x="629" y="290"/>
                  <a:pt x="629" y="290"/>
                </a:cubicBezTo>
                <a:cubicBezTo>
                  <a:pt x="629" y="290"/>
                  <a:pt x="629" y="290"/>
                  <a:pt x="629" y="290"/>
                </a:cubicBezTo>
                <a:cubicBezTo>
                  <a:pt x="629" y="290"/>
                  <a:pt x="629" y="290"/>
                  <a:pt x="629" y="290"/>
                </a:cubicBezTo>
                <a:cubicBezTo>
                  <a:pt x="629" y="290"/>
                  <a:pt x="629" y="290"/>
                  <a:pt x="629" y="290"/>
                </a:cubicBezTo>
                <a:cubicBezTo>
                  <a:pt x="630" y="290"/>
                  <a:pt x="630" y="290"/>
                  <a:pt x="630" y="290"/>
                </a:cubicBezTo>
                <a:cubicBezTo>
                  <a:pt x="630" y="290"/>
                  <a:pt x="630" y="290"/>
                  <a:pt x="630" y="290"/>
                </a:cubicBezTo>
                <a:cubicBezTo>
                  <a:pt x="630" y="290"/>
                  <a:pt x="630" y="290"/>
                  <a:pt x="630" y="290"/>
                </a:cubicBezTo>
                <a:cubicBezTo>
                  <a:pt x="630" y="290"/>
                  <a:pt x="630" y="290"/>
                  <a:pt x="630" y="290"/>
                </a:cubicBezTo>
                <a:cubicBezTo>
                  <a:pt x="630" y="290"/>
                  <a:pt x="630" y="290"/>
                  <a:pt x="630" y="290"/>
                </a:cubicBezTo>
                <a:cubicBezTo>
                  <a:pt x="631" y="290"/>
                  <a:pt x="631" y="290"/>
                  <a:pt x="631" y="290"/>
                </a:cubicBezTo>
                <a:cubicBezTo>
                  <a:pt x="631" y="291"/>
                  <a:pt x="631" y="291"/>
                  <a:pt x="631" y="291"/>
                </a:cubicBezTo>
                <a:cubicBezTo>
                  <a:pt x="631" y="291"/>
                  <a:pt x="631" y="291"/>
                  <a:pt x="631" y="291"/>
                </a:cubicBezTo>
                <a:cubicBezTo>
                  <a:pt x="631" y="291"/>
                  <a:pt x="631" y="291"/>
                  <a:pt x="631" y="291"/>
                </a:cubicBezTo>
                <a:cubicBezTo>
                  <a:pt x="631" y="291"/>
                  <a:pt x="631" y="291"/>
                  <a:pt x="631" y="291"/>
                </a:cubicBezTo>
                <a:cubicBezTo>
                  <a:pt x="631" y="291"/>
                  <a:pt x="631" y="291"/>
                  <a:pt x="631" y="291"/>
                </a:cubicBezTo>
                <a:cubicBezTo>
                  <a:pt x="631" y="291"/>
                  <a:pt x="631" y="291"/>
                  <a:pt x="631" y="291"/>
                </a:cubicBezTo>
                <a:cubicBezTo>
                  <a:pt x="631" y="291"/>
                  <a:pt x="631" y="291"/>
                  <a:pt x="631" y="291"/>
                </a:cubicBezTo>
                <a:cubicBezTo>
                  <a:pt x="631" y="291"/>
                  <a:pt x="631" y="291"/>
                  <a:pt x="631" y="291"/>
                </a:cubicBezTo>
                <a:cubicBezTo>
                  <a:pt x="632" y="291"/>
                  <a:pt x="632" y="291"/>
                  <a:pt x="632" y="291"/>
                </a:cubicBezTo>
                <a:cubicBezTo>
                  <a:pt x="632" y="291"/>
                  <a:pt x="632" y="291"/>
                  <a:pt x="632" y="291"/>
                </a:cubicBezTo>
                <a:cubicBezTo>
                  <a:pt x="632" y="291"/>
                  <a:pt x="632" y="291"/>
                  <a:pt x="632" y="291"/>
                </a:cubicBezTo>
                <a:cubicBezTo>
                  <a:pt x="632" y="291"/>
                  <a:pt x="632" y="291"/>
                  <a:pt x="632" y="291"/>
                </a:cubicBezTo>
                <a:cubicBezTo>
                  <a:pt x="632" y="291"/>
                  <a:pt x="632" y="291"/>
                  <a:pt x="632" y="291"/>
                </a:cubicBezTo>
                <a:cubicBezTo>
                  <a:pt x="632" y="291"/>
                  <a:pt x="632" y="291"/>
                  <a:pt x="632" y="291"/>
                </a:cubicBezTo>
                <a:cubicBezTo>
                  <a:pt x="632" y="291"/>
                  <a:pt x="632" y="291"/>
                  <a:pt x="632" y="291"/>
                </a:cubicBezTo>
                <a:cubicBezTo>
                  <a:pt x="632" y="292"/>
                  <a:pt x="632" y="292"/>
                  <a:pt x="632" y="292"/>
                </a:cubicBezTo>
                <a:cubicBezTo>
                  <a:pt x="632" y="292"/>
                  <a:pt x="632" y="292"/>
                  <a:pt x="632" y="292"/>
                </a:cubicBezTo>
                <a:cubicBezTo>
                  <a:pt x="632" y="292"/>
                  <a:pt x="632" y="292"/>
                  <a:pt x="632" y="292"/>
                </a:cubicBezTo>
                <a:cubicBezTo>
                  <a:pt x="631" y="292"/>
                  <a:pt x="631" y="292"/>
                  <a:pt x="631" y="292"/>
                </a:cubicBezTo>
                <a:cubicBezTo>
                  <a:pt x="631" y="292"/>
                  <a:pt x="631" y="292"/>
                  <a:pt x="631" y="292"/>
                </a:cubicBezTo>
                <a:cubicBezTo>
                  <a:pt x="631" y="292"/>
                  <a:pt x="631" y="292"/>
                  <a:pt x="631" y="292"/>
                </a:cubicBezTo>
                <a:cubicBezTo>
                  <a:pt x="631" y="292"/>
                  <a:pt x="631" y="292"/>
                  <a:pt x="631" y="292"/>
                </a:cubicBezTo>
                <a:cubicBezTo>
                  <a:pt x="631" y="292"/>
                  <a:pt x="631" y="292"/>
                  <a:pt x="631" y="292"/>
                </a:cubicBezTo>
                <a:cubicBezTo>
                  <a:pt x="631" y="292"/>
                  <a:pt x="631" y="292"/>
                  <a:pt x="631" y="292"/>
                </a:cubicBezTo>
                <a:cubicBezTo>
                  <a:pt x="631" y="292"/>
                  <a:pt x="631" y="292"/>
                  <a:pt x="631" y="292"/>
                </a:cubicBezTo>
                <a:cubicBezTo>
                  <a:pt x="631" y="292"/>
                  <a:pt x="631" y="292"/>
                  <a:pt x="631" y="292"/>
                </a:cubicBezTo>
                <a:cubicBezTo>
                  <a:pt x="631" y="292"/>
                  <a:pt x="631" y="292"/>
                  <a:pt x="631" y="292"/>
                </a:cubicBezTo>
                <a:cubicBezTo>
                  <a:pt x="631" y="292"/>
                  <a:pt x="631" y="292"/>
                  <a:pt x="631" y="292"/>
                </a:cubicBezTo>
                <a:cubicBezTo>
                  <a:pt x="631" y="292"/>
                  <a:pt x="632" y="292"/>
                  <a:pt x="632" y="293"/>
                </a:cubicBezTo>
                <a:cubicBezTo>
                  <a:pt x="632" y="293"/>
                  <a:pt x="632" y="293"/>
                  <a:pt x="632" y="293"/>
                </a:cubicBezTo>
                <a:cubicBezTo>
                  <a:pt x="632" y="293"/>
                  <a:pt x="632" y="293"/>
                  <a:pt x="632" y="293"/>
                </a:cubicBezTo>
                <a:cubicBezTo>
                  <a:pt x="632" y="293"/>
                  <a:pt x="632" y="293"/>
                  <a:pt x="632" y="293"/>
                </a:cubicBezTo>
                <a:cubicBezTo>
                  <a:pt x="631" y="293"/>
                  <a:pt x="631" y="293"/>
                  <a:pt x="631" y="293"/>
                </a:cubicBezTo>
                <a:cubicBezTo>
                  <a:pt x="631" y="293"/>
                  <a:pt x="631" y="293"/>
                  <a:pt x="631" y="293"/>
                </a:cubicBezTo>
                <a:cubicBezTo>
                  <a:pt x="632" y="293"/>
                  <a:pt x="632" y="293"/>
                  <a:pt x="632" y="293"/>
                </a:cubicBezTo>
                <a:cubicBezTo>
                  <a:pt x="632" y="294"/>
                  <a:pt x="632" y="294"/>
                  <a:pt x="633" y="294"/>
                </a:cubicBezTo>
                <a:cubicBezTo>
                  <a:pt x="633" y="294"/>
                  <a:pt x="633" y="294"/>
                  <a:pt x="633" y="294"/>
                </a:cubicBezTo>
                <a:cubicBezTo>
                  <a:pt x="633" y="294"/>
                  <a:pt x="633" y="294"/>
                  <a:pt x="633" y="294"/>
                </a:cubicBezTo>
                <a:cubicBezTo>
                  <a:pt x="633" y="294"/>
                  <a:pt x="633" y="294"/>
                  <a:pt x="633" y="294"/>
                </a:cubicBezTo>
                <a:cubicBezTo>
                  <a:pt x="632" y="294"/>
                  <a:pt x="632" y="294"/>
                  <a:pt x="632" y="294"/>
                </a:cubicBezTo>
                <a:cubicBezTo>
                  <a:pt x="632" y="294"/>
                  <a:pt x="632" y="294"/>
                  <a:pt x="632" y="294"/>
                </a:cubicBezTo>
                <a:cubicBezTo>
                  <a:pt x="631" y="294"/>
                  <a:pt x="631" y="294"/>
                  <a:pt x="631" y="294"/>
                </a:cubicBezTo>
                <a:cubicBezTo>
                  <a:pt x="631" y="295"/>
                  <a:pt x="631" y="295"/>
                  <a:pt x="631" y="296"/>
                </a:cubicBezTo>
                <a:cubicBezTo>
                  <a:pt x="631" y="296"/>
                  <a:pt x="631" y="296"/>
                  <a:pt x="631" y="296"/>
                </a:cubicBezTo>
                <a:cubicBezTo>
                  <a:pt x="631" y="296"/>
                  <a:pt x="631" y="296"/>
                  <a:pt x="631" y="296"/>
                </a:cubicBezTo>
                <a:cubicBezTo>
                  <a:pt x="631" y="296"/>
                  <a:pt x="631" y="296"/>
                  <a:pt x="631" y="296"/>
                </a:cubicBezTo>
                <a:cubicBezTo>
                  <a:pt x="632" y="296"/>
                  <a:pt x="632" y="295"/>
                  <a:pt x="632" y="297"/>
                </a:cubicBezTo>
                <a:cubicBezTo>
                  <a:pt x="632" y="297"/>
                  <a:pt x="632" y="297"/>
                  <a:pt x="632" y="297"/>
                </a:cubicBezTo>
                <a:cubicBezTo>
                  <a:pt x="632" y="297"/>
                  <a:pt x="632" y="297"/>
                  <a:pt x="632" y="297"/>
                </a:cubicBezTo>
                <a:cubicBezTo>
                  <a:pt x="632" y="297"/>
                  <a:pt x="632" y="297"/>
                  <a:pt x="632" y="297"/>
                </a:cubicBezTo>
                <a:cubicBezTo>
                  <a:pt x="632" y="297"/>
                  <a:pt x="632" y="297"/>
                  <a:pt x="632" y="297"/>
                </a:cubicBezTo>
                <a:cubicBezTo>
                  <a:pt x="632" y="297"/>
                  <a:pt x="632" y="297"/>
                  <a:pt x="632" y="297"/>
                </a:cubicBezTo>
                <a:cubicBezTo>
                  <a:pt x="632" y="297"/>
                  <a:pt x="632" y="297"/>
                  <a:pt x="632" y="297"/>
                </a:cubicBezTo>
                <a:cubicBezTo>
                  <a:pt x="632" y="297"/>
                  <a:pt x="632" y="297"/>
                  <a:pt x="632" y="297"/>
                </a:cubicBezTo>
                <a:cubicBezTo>
                  <a:pt x="632" y="297"/>
                  <a:pt x="632" y="297"/>
                  <a:pt x="632" y="297"/>
                </a:cubicBezTo>
                <a:cubicBezTo>
                  <a:pt x="632" y="297"/>
                  <a:pt x="632" y="297"/>
                  <a:pt x="632" y="297"/>
                </a:cubicBezTo>
                <a:cubicBezTo>
                  <a:pt x="632" y="297"/>
                  <a:pt x="632" y="297"/>
                  <a:pt x="632" y="297"/>
                </a:cubicBezTo>
                <a:cubicBezTo>
                  <a:pt x="633" y="297"/>
                  <a:pt x="633" y="297"/>
                  <a:pt x="633" y="297"/>
                </a:cubicBezTo>
                <a:cubicBezTo>
                  <a:pt x="633" y="297"/>
                  <a:pt x="633" y="297"/>
                  <a:pt x="633" y="297"/>
                </a:cubicBezTo>
                <a:cubicBezTo>
                  <a:pt x="633" y="298"/>
                  <a:pt x="633" y="298"/>
                  <a:pt x="633" y="298"/>
                </a:cubicBezTo>
                <a:cubicBezTo>
                  <a:pt x="633" y="298"/>
                  <a:pt x="633" y="298"/>
                  <a:pt x="633" y="298"/>
                </a:cubicBezTo>
                <a:cubicBezTo>
                  <a:pt x="633" y="298"/>
                  <a:pt x="633" y="298"/>
                  <a:pt x="633" y="298"/>
                </a:cubicBezTo>
                <a:cubicBezTo>
                  <a:pt x="633" y="298"/>
                  <a:pt x="633" y="298"/>
                  <a:pt x="633" y="298"/>
                </a:cubicBezTo>
                <a:cubicBezTo>
                  <a:pt x="633" y="298"/>
                  <a:pt x="633" y="298"/>
                  <a:pt x="633" y="298"/>
                </a:cubicBezTo>
                <a:cubicBezTo>
                  <a:pt x="632" y="298"/>
                  <a:pt x="632" y="298"/>
                  <a:pt x="632" y="298"/>
                </a:cubicBezTo>
                <a:cubicBezTo>
                  <a:pt x="632" y="298"/>
                  <a:pt x="632" y="298"/>
                  <a:pt x="632" y="298"/>
                </a:cubicBezTo>
                <a:cubicBezTo>
                  <a:pt x="632" y="298"/>
                  <a:pt x="632" y="298"/>
                  <a:pt x="632" y="298"/>
                </a:cubicBezTo>
                <a:cubicBezTo>
                  <a:pt x="632" y="298"/>
                  <a:pt x="632" y="298"/>
                  <a:pt x="632" y="298"/>
                </a:cubicBezTo>
                <a:cubicBezTo>
                  <a:pt x="631" y="298"/>
                  <a:pt x="631" y="298"/>
                  <a:pt x="631" y="298"/>
                </a:cubicBezTo>
                <a:cubicBezTo>
                  <a:pt x="631" y="298"/>
                  <a:pt x="631" y="298"/>
                  <a:pt x="631" y="298"/>
                </a:cubicBezTo>
                <a:cubicBezTo>
                  <a:pt x="631" y="298"/>
                  <a:pt x="631" y="298"/>
                  <a:pt x="631" y="298"/>
                </a:cubicBezTo>
                <a:cubicBezTo>
                  <a:pt x="631" y="298"/>
                  <a:pt x="631" y="298"/>
                  <a:pt x="631" y="298"/>
                </a:cubicBezTo>
                <a:cubicBezTo>
                  <a:pt x="631" y="298"/>
                  <a:pt x="631" y="298"/>
                  <a:pt x="631" y="298"/>
                </a:cubicBezTo>
                <a:cubicBezTo>
                  <a:pt x="631" y="298"/>
                  <a:pt x="631" y="298"/>
                  <a:pt x="631" y="298"/>
                </a:cubicBezTo>
                <a:cubicBezTo>
                  <a:pt x="631" y="298"/>
                  <a:pt x="631" y="298"/>
                  <a:pt x="631" y="298"/>
                </a:cubicBezTo>
                <a:cubicBezTo>
                  <a:pt x="631" y="298"/>
                  <a:pt x="631" y="298"/>
                  <a:pt x="631" y="298"/>
                </a:cubicBezTo>
                <a:cubicBezTo>
                  <a:pt x="631" y="299"/>
                  <a:pt x="631" y="299"/>
                  <a:pt x="631" y="299"/>
                </a:cubicBezTo>
                <a:cubicBezTo>
                  <a:pt x="631" y="299"/>
                  <a:pt x="631" y="299"/>
                  <a:pt x="631" y="299"/>
                </a:cubicBezTo>
                <a:cubicBezTo>
                  <a:pt x="632" y="299"/>
                  <a:pt x="632" y="299"/>
                  <a:pt x="632" y="299"/>
                </a:cubicBezTo>
                <a:cubicBezTo>
                  <a:pt x="632" y="299"/>
                  <a:pt x="632" y="299"/>
                  <a:pt x="632" y="300"/>
                </a:cubicBezTo>
                <a:cubicBezTo>
                  <a:pt x="632" y="300"/>
                  <a:pt x="632" y="300"/>
                  <a:pt x="632" y="300"/>
                </a:cubicBezTo>
                <a:cubicBezTo>
                  <a:pt x="632" y="300"/>
                  <a:pt x="632" y="300"/>
                  <a:pt x="632" y="300"/>
                </a:cubicBezTo>
                <a:cubicBezTo>
                  <a:pt x="633" y="300"/>
                  <a:pt x="632" y="301"/>
                  <a:pt x="633" y="302"/>
                </a:cubicBezTo>
                <a:cubicBezTo>
                  <a:pt x="633" y="302"/>
                  <a:pt x="633" y="302"/>
                  <a:pt x="633" y="302"/>
                </a:cubicBezTo>
                <a:cubicBezTo>
                  <a:pt x="633" y="302"/>
                  <a:pt x="633" y="302"/>
                  <a:pt x="633" y="302"/>
                </a:cubicBezTo>
                <a:cubicBezTo>
                  <a:pt x="633" y="302"/>
                  <a:pt x="633" y="302"/>
                  <a:pt x="633" y="302"/>
                </a:cubicBezTo>
                <a:cubicBezTo>
                  <a:pt x="633" y="302"/>
                  <a:pt x="633" y="302"/>
                  <a:pt x="633" y="302"/>
                </a:cubicBezTo>
                <a:cubicBezTo>
                  <a:pt x="633" y="302"/>
                  <a:pt x="633" y="305"/>
                  <a:pt x="633" y="306"/>
                </a:cubicBezTo>
                <a:cubicBezTo>
                  <a:pt x="633" y="306"/>
                  <a:pt x="633" y="306"/>
                  <a:pt x="633" y="306"/>
                </a:cubicBezTo>
                <a:cubicBezTo>
                  <a:pt x="633" y="306"/>
                  <a:pt x="633" y="306"/>
                  <a:pt x="633" y="306"/>
                </a:cubicBezTo>
                <a:cubicBezTo>
                  <a:pt x="633" y="306"/>
                  <a:pt x="633" y="306"/>
                  <a:pt x="633" y="306"/>
                </a:cubicBezTo>
                <a:cubicBezTo>
                  <a:pt x="633" y="306"/>
                  <a:pt x="633" y="306"/>
                  <a:pt x="633" y="306"/>
                </a:cubicBezTo>
                <a:cubicBezTo>
                  <a:pt x="633" y="306"/>
                  <a:pt x="633" y="306"/>
                  <a:pt x="633" y="306"/>
                </a:cubicBezTo>
                <a:cubicBezTo>
                  <a:pt x="633" y="306"/>
                  <a:pt x="633" y="306"/>
                  <a:pt x="633" y="306"/>
                </a:cubicBezTo>
                <a:cubicBezTo>
                  <a:pt x="633" y="305"/>
                  <a:pt x="633" y="305"/>
                  <a:pt x="633" y="305"/>
                </a:cubicBezTo>
                <a:cubicBezTo>
                  <a:pt x="633" y="305"/>
                  <a:pt x="633" y="305"/>
                  <a:pt x="633" y="305"/>
                </a:cubicBezTo>
                <a:cubicBezTo>
                  <a:pt x="634" y="305"/>
                  <a:pt x="634" y="305"/>
                  <a:pt x="634" y="305"/>
                </a:cubicBezTo>
                <a:cubicBezTo>
                  <a:pt x="634" y="305"/>
                  <a:pt x="634" y="305"/>
                  <a:pt x="634" y="305"/>
                </a:cubicBezTo>
                <a:cubicBezTo>
                  <a:pt x="634" y="306"/>
                  <a:pt x="634" y="306"/>
                  <a:pt x="634" y="306"/>
                </a:cubicBezTo>
                <a:cubicBezTo>
                  <a:pt x="634" y="306"/>
                  <a:pt x="634" y="306"/>
                  <a:pt x="634" y="306"/>
                </a:cubicBezTo>
                <a:cubicBezTo>
                  <a:pt x="634" y="306"/>
                  <a:pt x="634" y="306"/>
                  <a:pt x="634" y="306"/>
                </a:cubicBezTo>
                <a:cubicBezTo>
                  <a:pt x="634" y="306"/>
                  <a:pt x="634" y="306"/>
                  <a:pt x="634" y="306"/>
                </a:cubicBezTo>
                <a:cubicBezTo>
                  <a:pt x="634" y="306"/>
                  <a:pt x="634" y="306"/>
                  <a:pt x="634" y="306"/>
                </a:cubicBezTo>
                <a:cubicBezTo>
                  <a:pt x="634" y="306"/>
                  <a:pt x="634" y="306"/>
                  <a:pt x="634" y="306"/>
                </a:cubicBezTo>
                <a:cubicBezTo>
                  <a:pt x="634" y="306"/>
                  <a:pt x="634" y="306"/>
                  <a:pt x="634" y="306"/>
                </a:cubicBezTo>
                <a:cubicBezTo>
                  <a:pt x="634" y="306"/>
                  <a:pt x="634" y="306"/>
                  <a:pt x="634" y="306"/>
                </a:cubicBezTo>
                <a:cubicBezTo>
                  <a:pt x="634" y="306"/>
                  <a:pt x="634" y="306"/>
                  <a:pt x="634" y="306"/>
                </a:cubicBezTo>
                <a:cubicBezTo>
                  <a:pt x="634" y="307"/>
                  <a:pt x="634" y="307"/>
                  <a:pt x="634" y="307"/>
                </a:cubicBezTo>
                <a:cubicBezTo>
                  <a:pt x="634" y="307"/>
                  <a:pt x="634" y="307"/>
                  <a:pt x="634" y="307"/>
                </a:cubicBezTo>
                <a:cubicBezTo>
                  <a:pt x="634" y="307"/>
                  <a:pt x="634" y="307"/>
                  <a:pt x="634" y="307"/>
                </a:cubicBezTo>
                <a:cubicBezTo>
                  <a:pt x="635" y="307"/>
                  <a:pt x="635" y="307"/>
                  <a:pt x="635" y="307"/>
                </a:cubicBezTo>
                <a:cubicBezTo>
                  <a:pt x="635" y="307"/>
                  <a:pt x="635" y="307"/>
                  <a:pt x="635" y="307"/>
                </a:cubicBezTo>
                <a:cubicBezTo>
                  <a:pt x="635" y="307"/>
                  <a:pt x="635" y="307"/>
                  <a:pt x="635" y="307"/>
                </a:cubicBezTo>
                <a:cubicBezTo>
                  <a:pt x="635" y="307"/>
                  <a:pt x="635" y="307"/>
                  <a:pt x="635" y="307"/>
                </a:cubicBezTo>
                <a:cubicBezTo>
                  <a:pt x="635" y="308"/>
                  <a:pt x="635" y="308"/>
                  <a:pt x="635" y="308"/>
                </a:cubicBezTo>
                <a:cubicBezTo>
                  <a:pt x="635" y="310"/>
                  <a:pt x="635" y="310"/>
                  <a:pt x="635" y="310"/>
                </a:cubicBezTo>
                <a:cubicBezTo>
                  <a:pt x="635" y="310"/>
                  <a:pt x="635" y="310"/>
                  <a:pt x="635" y="310"/>
                </a:cubicBezTo>
                <a:cubicBezTo>
                  <a:pt x="635" y="311"/>
                  <a:pt x="635" y="311"/>
                  <a:pt x="635" y="311"/>
                </a:cubicBezTo>
                <a:cubicBezTo>
                  <a:pt x="635" y="311"/>
                  <a:pt x="635" y="311"/>
                  <a:pt x="635" y="311"/>
                </a:cubicBezTo>
                <a:cubicBezTo>
                  <a:pt x="635" y="311"/>
                  <a:pt x="635" y="311"/>
                  <a:pt x="635" y="311"/>
                </a:cubicBezTo>
                <a:cubicBezTo>
                  <a:pt x="635" y="311"/>
                  <a:pt x="635" y="311"/>
                  <a:pt x="635" y="311"/>
                </a:cubicBezTo>
                <a:cubicBezTo>
                  <a:pt x="635" y="311"/>
                  <a:pt x="635" y="311"/>
                  <a:pt x="635" y="311"/>
                </a:cubicBezTo>
                <a:cubicBezTo>
                  <a:pt x="635" y="311"/>
                  <a:pt x="635" y="311"/>
                  <a:pt x="635" y="311"/>
                </a:cubicBezTo>
                <a:cubicBezTo>
                  <a:pt x="635" y="312"/>
                  <a:pt x="635" y="312"/>
                  <a:pt x="635" y="312"/>
                </a:cubicBezTo>
                <a:cubicBezTo>
                  <a:pt x="635" y="312"/>
                  <a:pt x="635" y="312"/>
                  <a:pt x="635" y="312"/>
                </a:cubicBezTo>
                <a:cubicBezTo>
                  <a:pt x="635" y="312"/>
                  <a:pt x="635" y="312"/>
                  <a:pt x="635" y="312"/>
                </a:cubicBezTo>
                <a:cubicBezTo>
                  <a:pt x="635" y="312"/>
                  <a:pt x="635" y="312"/>
                  <a:pt x="635" y="312"/>
                </a:cubicBezTo>
                <a:cubicBezTo>
                  <a:pt x="635" y="312"/>
                  <a:pt x="635" y="312"/>
                  <a:pt x="635" y="312"/>
                </a:cubicBezTo>
                <a:cubicBezTo>
                  <a:pt x="635" y="312"/>
                  <a:pt x="635" y="312"/>
                  <a:pt x="635" y="312"/>
                </a:cubicBezTo>
                <a:cubicBezTo>
                  <a:pt x="635" y="312"/>
                  <a:pt x="635" y="312"/>
                  <a:pt x="635" y="312"/>
                </a:cubicBezTo>
                <a:cubicBezTo>
                  <a:pt x="635" y="312"/>
                  <a:pt x="635" y="312"/>
                  <a:pt x="635" y="312"/>
                </a:cubicBezTo>
                <a:cubicBezTo>
                  <a:pt x="635" y="312"/>
                  <a:pt x="635" y="312"/>
                  <a:pt x="635" y="312"/>
                </a:cubicBezTo>
                <a:cubicBezTo>
                  <a:pt x="635" y="312"/>
                  <a:pt x="635" y="312"/>
                  <a:pt x="635" y="312"/>
                </a:cubicBezTo>
                <a:cubicBezTo>
                  <a:pt x="635" y="312"/>
                  <a:pt x="635" y="312"/>
                  <a:pt x="635" y="312"/>
                </a:cubicBezTo>
                <a:cubicBezTo>
                  <a:pt x="636" y="312"/>
                  <a:pt x="636" y="312"/>
                  <a:pt x="636" y="312"/>
                </a:cubicBezTo>
                <a:cubicBezTo>
                  <a:pt x="636" y="312"/>
                  <a:pt x="636" y="312"/>
                  <a:pt x="636" y="312"/>
                </a:cubicBezTo>
                <a:cubicBezTo>
                  <a:pt x="636" y="312"/>
                  <a:pt x="636" y="312"/>
                  <a:pt x="636" y="312"/>
                </a:cubicBezTo>
                <a:cubicBezTo>
                  <a:pt x="636" y="312"/>
                  <a:pt x="636" y="312"/>
                  <a:pt x="636" y="312"/>
                </a:cubicBezTo>
                <a:cubicBezTo>
                  <a:pt x="636" y="312"/>
                  <a:pt x="636" y="312"/>
                  <a:pt x="636" y="312"/>
                </a:cubicBezTo>
                <a:cubicBezTo>
                  <a:pt x="636" y="312"/>
                  <a:pt x="636" y="312"/>
                  <a:pt x="636" y="312"/>
                </a:cubicBezTo>
                <a:cubicBezTo>
                  <a:pt x="636" y="312"/>
                  <a:pt x="636" y="312"/>
                  <a:pt x="637" y="312"/>
                </a:cubicBezTo>
                <a:cubicBezTo>
                  <a:pt x="637" y="312"/>
                  <a:pt x="637" y="312"/>
                  <a:pt x="637" y="312"/>
                </a:cubicBezTo>
                <a:cubicBezTo>
                  <a:pt x="637" y="312"/>
                  <a:pt x="637" y="312"/>
                  <a:pt x="637" y="312"/>
                </a:cubicBezTo>
                <a:cubicBezTo>
                  <a:pt x="637" y="312"/>
                  <a:pt x="637" y="312"/>
                  <a:pt x="637" y="312"/>
                </a:cubicBezTo>
                <a:cubicBezTo>
                  <a:pt x="637" y="312"/>
                  <a:pt x="637" y="312"/>
                  <a:pt x="637" y="312"/>
                </a:cubicBezTo>
                <a:cubicBezTo>
                  <a:pt x="637" y="313"/>
                  <a:pt x="637" y="313"/>
                  <a:pt x="637" y="313"/>
                </a:cubicBezTo>
                <a:cubicBezTo>
                  <a:pt x="637" y="313"/>
                  <a:pt x="637" y="313"/>
                  <a:pt x="637" y="313"/>
                </a:cubicBezTo>
                <a:cubicBezTo>
                  <a:pt x="637" y="313"/>
                  <a:pt x="637" y="313"/>
                  <a:pt x="637" y="313"/>
                </a:cubicBezTo>
                <a:cubicBezTo>
                  <a:pt x="637" y="313"/>
                  <a:pt x="637" y="313"/>
                  <a:pt x="637" y="313"/>
                </a:cubicBezTo>
                <a:cubicBezTo>
                  <a:pt x="637" y="313"/>
                  <a:pt x="637" y="313"/>
                  <a:pt x="637" y="313"/>
                </a:cubicBezTo>
                <a:cubicBezTo>
                  <a:pt x="637" y="313"/>
                  <a:pt x="637" y="313"/>
                  <a:pt x="637" y="313"/>
                </a:cubicBezTo>
                <a:cubicBezTo>
                  <a:pt x="637" y="313"/>
                  <a:pt x="637" y="313"/>
                  <a:pt x="637" y="313"/>
                </a:cubicBezTo>
                <a:cubicBezTo>
                  <a:pt x="637" y="314"/>
                  <a:pt x="637" y="314"/>
                  <a:pt x="637" y="314"/>
                </a:cubicBezTo>
                <a:cubicBezTo>
                  <a:pt x="637" y="314"/>
                  <a:pt x="637" y="314"/>
                  <a:pt x="637" y="314"/>
                </a:cubicBezTo>
                <a:cubicBezTo>
                  <a:pt x="637" y="315"/>
                  <a:pt x="637" y="315"/>
                  <a:pt x="637" y="315"/>
                </a:cubicBezTo>
                <a:cubicBezTo>
                  <a:pt x="637" y="315"/>
                  <a:pt x="637" y="315"/>
                  <a:pt x="637" y="315"/>
                </a:cubicBezTo>
                <a:cubicBezTo>
                  <a:pt x="637" y="316"/>
                  <a:pt x="637" y="315"/>
                  <a:pt x="638" y="316"/>
                </a:cubicBezTo>
                <a:cubicBezTo>
                  <a:pt x="638" y="316"/>
                  <a:pt x="638" y="316"/>
                  <a:pt x="638" y="316"/>
                </a:cubicBezTo>
                <a:cubicBezTo>
                  <a:pt x="638" y="316"/>
                  <a:pt x="638" y="316"/>
                  <a:pt x="638" y="316"/>
                </a:cubicBezTo>
                <a:cubicBezTo>
                  <a:pt x="638" y="316"/>
                  <a:pt x="638" y="316"/>
                  <a:pt x="638" y="316"/>
                </a:cubicBezTo>
                <a:cubicBezTo>
                  <a:pt x="637" y="317"/>
                  <a:pt x="637" y="317"/>
                  <a:pt x="637" y="317"/>
                </a:cubicBezTo>
                <a:cubicBezTo>
                  <a:pt x="636" y="318"/>
                  <a:pt x="636" y="318"/>
                  <a:pt x="636" y="318"/>
                </a:cubicBezTo>
                <a:cubicBezTo>
                  <a:pt x="634" y="321"/>
                  <a:pt x="634" y="321"/>
                  <a:pt x="634" y="321"/>
                </a:cubicBezTo>
                <a:cubicBezTo>
                  <a:pt x="633" y="322"/>
                  <a:pt x="633" y="322"/>
                  <a:pt x="633" y="322"/>
                </a:cubicBezTo>
                <a:cubicBezTo>
                  <a:pt x="632" y="323"/>
                  <a:pt x="632" y="323"/>
                  <a:pt x="632" y="323"/>
                </a:cubicBezTo>
                <a:cubicBezTo>
                  <a:pt x="632" y="323"/>
                  <a:pt x="632" y="323"/>
                  <a:pt x="632" y="323"/>
                </a:cubicBezTo>
                <a:cubicBezTo>
                  <a:pt x="632" y="323"/>
                  <a:pt x="632" y="323"/>
                  <a:pt x="632" y="323"/>
                </a:cubicBezTo>
                <a:cubicBezTo>
                  <a:pt x="633" y="324"/>
                  <a:pt x="632" y="324"/>
                  <a:pt x="633" y="324"/>
                </a:cubicBezTo>
                <a:cubicBezTo>
                  <a:pt x="633" y="325"/>
                  <a:pt x="633" y="324"/>
                  <a:pt x="633" y="325"/>
                </a:cubicBezTo>
                <a:cubicBezTo>
                  <a:pt x="633" y="325"/>
                  <a:pt x="633" y="325"/>
                  <a:pt x="633" y="325"/>
                </a:cubicBezTo>
                <a:cubicBezTo>
                  <a:pt x="633" y="325"/>
                  <a:pt x="633" y="325"/>
                  <a:pt x="633" y="325"/>
                </a:cubicBezTo>
                <a:cubicBezTo>
                  <a:pt x="633" y="325"/>
                  <a:pt x="633" y="325"/>
                  <a:pt x="633" y="325"/>
                </a:cubicBezTo>
                <a:cubicBezTo>
                  <a:pt x="633" y="325"/>
                  <a:pt x="633" y="325"/>
                  <a:pt x="633" y="325"/>
                </a:cubicBezTo>
                <a:cubicBezTo>
                  <a:pt x="633" y="325"/>
                  <a:pt x="633" y="325"/>
                  <a:pt x="633" y="325"/>
                </a:cubicBezTo>
                <a:cubicBezTo>
                  <a:pt x="633" y="324"/>
                  <a:pt x="633" y="324"/>
                  <a:pt x="633" y="324"/>
                </a:cubicBezTo>
                <a:cubicBezTo>
                  <a:pt x="633" y="324"/>
                  <a:pt x="633" y="324"/>
                  <a:pt x="633" y="324"/>
                </a:cubicBezTo>
                <a:cubicBezTo>
                  <a:pt x="634" y="324"/>
                  <a:pt x="633" y="325"/>
                  <a:pt x="634" y="325"/>
                </a:cubicBezTo>
                <a:cubicBezTo>
                  <a:pt x="634" y="325"/>
                  <a:pt x="634" y="325"/>
                  <a:pt x="634" y="325"/>
                </a:cubicBezTo>
                <a:cubicBezTo>
                  <a:pt x="634" y="325"/>
                  <a:pt x="634" y="325"/>
                  <a:pt x="634" y="325"/>
                </a:cubicBezTo>
                <a:cubicBezTo>
                  <a:pt x="634" y="325"/>
                  <a:pt x="634" y="325"/>
                  <a:pt x="634" y="325"/>
                </a:cubicBezTo>
                <a:cubicBezTo>
                  <a:pt x="634" y="325"/>
                  <a:pt x="634" y="325"/>
                  <a:pt x="634" y="325"/>
                </a:cubicBezTo>
                <a:cubicBezTo>
                  <a:pt x="634" y="325"/>
                  <a:pt x="634" y="326"/>
                  <a:pt x="634" y="326"/>
                </a:cubicBezTo>
                <a:cubicBezTo>
                  <a:pt x="634" y="326"/>
                  <a:pt x="634" y="326"/>
                  <a:pt x="634" y="326"/>
                </a:cubicBezTo>
                <a:cubicBezTo>
                  <a:pt x="634" y="326"/>
                  <a:pt x="634" y="326"/>
                  <a:pt x="634" y="326"/>
                </a:cubicBezTo>
                <a:cubicBezTo>
                  <a:pt x="634" y="326"/>
                  <a:pt x="635" y="326"/>
                  <a:pt x="635" y="326"/>
                </a:cubicBezTo>
                <a:cubicBezTo>
                  <a:pt x="635" y="326"/>
                  <a:pt x="635" y="326"/>
                  <a:pt x="635" y="326"/>
                </a:cubicBezTo>
                <a:cubicBezTo>
                  <a:pt x="635" y="326"/>
                  <a:pt x="635" y="326"/>
                  <a:pt x="635" y="326"/>
                </a:cubicBezTo>
                <a:cubicBezTo>
                  <a:pt x="635" y="326"/>
                  <a:pt x="635" y="326"/>
                  <a:pt x="635" y="326"/>
                </a:cubicBezTo>
                <a:cubicBezTo>
                  <a:pt x="635" y="327"/>
                  <a:pt x="635" y="327"/>
                  <a:pt x="635" y="327"/>
                </a:cubicBezTo>
                <a:cubicBezTo>
                  <a:pt x="634" y="327"/>
                  <a:pt x="634" y="327"/>
                  <a:pt x="634" y="327"/>
                </a:cubicBezTo>
                <a:cubicBezTo>
                  <a:pt x="633" y="328"/>
                  <a:pt x="633" y="328"/>
                  <a:pt x="633" y="328"/>
                </a:cubicBezTo>
                <a:cubicBezTo>
                  <a:pt x="633" y="328"/>
                  <a:pt x="633" y="328"/>
                  <a:pt x="633" y="328"/>
                </a:cubicBezTo>
                <a:cubicBezTo>
                  <a:pt x="633" y="328"/>
                  <a:pt x="633" y="328"/>
                  <a:pt x="633" y="328"/>
                </a:cubicBezTo>
                <a:cubicBezTo>
                  <a:pt x="633" y="328"/>
                  <a:pt x="633" y="328"/>
                  <a:pt x="633" y="328"/>
                </a:cubicBezTo>
                <a:cubicBezTo>
                  <a:pt x="634" y="328"/>
                  <a:pt x="634" y="328"/>
                  <a:pt x="634" y="328"/>
                </a:cubicBezTo>
                <a:cubicBezTo>
                  <a:pt x="634" y="328"/>
                  <a:pt x="634" y="328"/>
                  <a:pt x="634" y="328"/>
                </a:cubicBezTo>
                <a:cubicBezTo>
                  <a:pt x="634" y="328"/>
                  <a:pt x="634" y="328"/>
                  <a:pt x="634" y="328"/>
                </a:cubicBezTo>
                <a:cubicBezTo>
                  <a:pt x="634" y="328"/>
                  <a:pt x="634" y="328"/>
                  <a:pt x="634" y="328"/>
                </a:cubicBezTo>
                <a:cubicBezTo>
                  <a:pt x="634" y="328"/>
                  <a:pt x="634" y="328"/>
                  <a:pt x="634" y="328"/>
                </a:cubicBezTo>
                <a:cubicBezTo>
                  <a:pt x="633" y="329"/>
                  <a:pt x="633" y="329"/>
                  <a:pt x="633" y="329"/>
                </a:cubicBezTo>
                <a:cubicBezTo>
                  <a:pt x="633" y="329"/>
                  <a:pt x="633" y="329"/>
                  <a:pt x="633" y="329"/>
                </a:cubicBezTo>
                <a:cubicBezTo>
                  <a:pt x="633" y="329"/>
                  <a:pt x="633" y="329"/>
                  <a:pt x="633" y="329"/>
                </a:cubicBezTo>
                <a:cubicBezTo>
                  <a:pt x="633" y="329"/>
                  <a:pt x="633" y="329"/>
                  <a:pt x="633" y="329"/>
                </a:cubicBezTo>
                <a:cubicBezTo>
                  <a:pt x="633" y="329"/>
                  <a:pt x="633" y="329"/>
                  <a:pt x="633" y="329"/>
                </a:cubicBezTo>
                <a:cubicBezTo>
                  <a:pt x="633" y="329"/>
                  <a:pt x="633" y="329"/>
                  <a:pt x="633" y="329"/>
                </a:cubicBezTo>
                <a:cubicBezTo>
                  <a:pt x="633" y="329"/>
                  <a:pt x="633" y="329"/>
                  <a:pt x="633" y="329"/>
                </a:cubicBezTo>
                <a:cubicBezTo>
                  <a:pt x="633" y="329"/>
                  <a:pt x="633" y="329"/>
                  <a:pt x="633" y="329"/>
                </a:cubicBezTo>
                <a:cubicBezTo>
                  <a:pt x="633" y="329"/>
                  <a:pt x="633" y="329"/>
                  <a:pt x="633" y="329"/>
                </a:cubicBezTo>
                <a:cubicBezTo>
                  <a:pt x="633" y="329"/>
                  <a:pt x="632" y="328"/>
                  <a:pt x="632" y="328"/>
                </a:cubicBezTo>
                <a:cubicBezTo>
                  <a:pt x="632" y="328"/>
                  <a:pt x="632" y="328"/>
                  <a:pt x="632" y="328"/>
                </a:cubicBezTo>
                <a:cubicBezTo>
                  <a:pt x="632" y="328"/>
                  <a:pt x="632" y="328"/>
                  <a:pt x="632" y="328"/>
                </a:cubicBezTo>
                <a:cubicBezTo>
                  <a:pt x="632" y="328"/>
                  <a:pt x="632" y="328"/>
                  <a:pt x="632" y="328"/>
                </a:cubicBezTo>
                <a:cubicBezTo>
                  <a:pt x="632" y="328"/>
                  <a:pt x="632" y="328"/>
                  <a:pt x="632" y="328"/>
                </a:cubicBezTo>
                <a:cubicBezTo>
                  <a:pt x="632" y="328"/>
                  <a:pt x="632" y="328"/>
                  <a:pt x="632" y="328"/>
                </a:cubicBezTo>
                <a:cubicBezTo>
                  <a:pt x="632" y="327"/>
                  <a:pt x="632" y="327"/>
                  <a:pt x="632" y="327"/>
                </a:cubicBezTo>
                <a:cubicBezTo>
                  <a:pt x="632" y="327"/>
                  <a:pt x="632" y="327"/>
                  <a:pt x="632" y="327"/>
                </a:cubicBezTo>
                <a:cubicBezTo>
                  <a:pt x="632" y="327"/>
                  <a:pt x="632" y="327"/>
                  <a:pt x="632" y="327"/>
                </a:cubicBezTo>
                <a:cubicBezTo>
                  <a:pt x="632" y="327"/>
                  <a:pt x="632" y="327"/>
                  <a:pt x="632" y="326"/>
                </a:cubicBezTo>
                <a:cubicBezTo>
                  <a:pt x="632" y="326"/>
                  <a:pt x="632" y="326"/>
                  <a:pt x="632" y="326"/>
                </a:cubicBezTo>
                <a:cubicBezTo>
                  <a:pt x="632" y="326"/>
                  <a:pt x="632" y="326"/>
                  <a:pt x="632" y="326"/>
                </a:cubicBezTo>
                <a:cubicBezTo>
                  <a:pt x="631" y="326"/>
                  <a:pt x="631" y="326"/>
                  <a:pt x="630" y="325"/>
                </a:cubicBezTo>
                <a:cubicBezTo>
                  <a:pt x="630" y="325"/>
                  <a:pt x="630" y="325"/>
                  <a:pt x="630" y="325"/>
                </a:cubicBezTo>
                <a:cubicBezTo>
                  <a:pt x="630" y="325"/>
                  <a:pt x="630" y="325"/>
                  <a:pt x="630" y="325"/>
                </a:cubicBezTo>
                <a:cubicBezTo>
                  <a:pt x="629" y="325"/>
                  <a:pt x="629" y="325"/>
                  <a:pt x="629" y="325"/>
                </a:cubicBezTo>
                <a:cubicBezTo>
                  <a:pt x="629" y="325"/>
                  <a:pt x="629" y="325"/>
                  <a:pt x="629" y="325"/>
                </a:cubicBezTo>
                <a:cubicBezTo>
                  <a:pt x="630" y="325"/>
                  <a:pt x="630" y="325"/>
                  <a:pt x="630" y="325"/>
                </a:cubicBezTo>
                <a:cubicBezTo>
                  <a:pt x="630" y="324"/>
                  <a:pt x="630" y="324"/>
                  <a:pt x="630" y="324"/>
                </a:cubicBezTo>
                <a:cubicBezTo>
                  <a:pt x="630" y="324"/>
                  <a:pt x="630" y="324"/>
                  <a:pt x="630" y="324"/>
                </a:cubicBezTo>
                <a:cubicBezTo>
                  <a:pt x="629" y="325"/>
                  <a:pt x="629" y="325"/>
                  <a:pt x="629" y="325"/>
                </a:cubicBezTo>
                <a:cubicBezTo>
                  <a:pt x="629" y="325"/>
                  <a:pt x="629" y="325"/>
                  <a:pt x="629" y="325"/>
                </a:cubicBezTo>
                <a:cubicBezTo>
                  <a:pt x="626" y="327"/>
                  <a:pt x="626" y="327"/>
                  <a:pt x="626" y="327"/>
                </a:cubicBezTo>
                <a:cubicBezTo>
                  <a:pt x="625" y="327"/>
                  <a:pt x="625" y="327"/>
                  <a:pt x="625" y="327"/>
                </a:cubicBezTo>
                <a:cubicBezTo>
                  <a:pt x="625" y="327"/>
                  <a:pt x="625" y="327"/>
                  <a:pt x="625" y="327"/>
                </a:cubicBezTo>
                <a:cubicBezTo>
                  <a:pt x="625" y="327"/>
                  <a:pt x="625" y="327"/>
                  <a:pt x="625" y="327"/>
                </a:cubicBezTo>
                <a:cubicBezTo>
                  <a:pt x="625" y="327"/>
                  <a:pt x="625" y="327"/>
                  <a:pt x="625" y="327"/>
                </a:cubicBezTo>
                <a:cubicBezTo>
                  <a:pt x="625" y="327"/>
                  <a:pt x="625" y="327"/>
                  <a:pt x="625" y="327"/>
                </a:cubicBezTo>
                <a:cubicBezTo>
                  <a:pt x="625" y="327"/>
                  <a:pt x="625" y="327"/>
                  <a:pt x="625" y="327"/>
                </a:cubicBezTo>
                <a:cubicBezTo>
                  <a:pt x="625" y="327"/>
                  <a:pt x="625" y="327"/>
                  <a:pt x="625" y="327"/>
                </a:cubicBezTo>
                <a:cubicBezTo>
                  <a:pt x="625" y="327"/>
                  <a:pt x="625" y="327"/>
                  <a:pt x="625" y="327"/>
                </a:cubicBezTo>
                <a:cubicBezTo>
                  <a:pt x="625" y="328"/>
                  <a:pt x="625" y="328"/>
                  <a:pt x="625" y="328"/>
                </a:cubicBezTo>
                <a:cubicBezTo>
                  <a:pt x="625" y="328"/>
                  <a:pt x="625" y="328"/>
                  <a:pt x="625" y="328"/>
                </a:cubicBezTo>
                <a:cubicBezTo>
                  <a:pt x="625" y="329"/>
                  <a:pt x="625" y="329"/>
                  <a:pt x="625" y="329"/>
                </a:cubicBezTo>
                <a:cubicBezTo>
                  <a:pt x="625" y="329"/>
                  <a:pt x="625" y="329"/>
                  <a:pt x="625" y="329"/>
                </a:cubicBezTo>
                <a:cubicBezTo>
                  <a:pt x="625" y="329"/>
                  <a:pt x="625" y="329"/>
                  <a:pt x="625" y="329"/>
                </a:cubicBezTo>
                <a:cubicBezTo>
                  <a:pt x="625" y="330"/>
                  <a:pt x="624" y="330"/>
                  <a:pt x="624" y="330"/>
                </a:cubicBezTo>
                <a:cubicBezTo>
                  <a:pt x="625" y="331"/>
                  <a:pt x="625" y="331"/>
                  <a:pt x="625" y="331"/>
                </a:cubicBezTo>
                <a:cubicBezTo>
                  <a:pt x="625" y="331"/>
                  <a:pt x="625" y="331"/>
                  <a:pt x="625" y="331"/>
                </a:cubicBezTo>
                <a:cubicBezTo>
                  <a:pt x="626" y="333"/>
                  <a:pt x="626" y="333"/>
                  <a:pt x="626" y="333"/>
                </a:cubicBezTo>
                <a:cubicBezTo>
                  <a:pt x="627" y="334"/>
                  <a:pt x="627" y="334"/>
                  <a:pt x="627" y="334"/>
                </a:cubicBezTo>
                <a:cubicBezTo>
                  <a:pt x="628" y="334"/>
                  <a:pt x="628" y="335"/>
                  <a:pt x="628" y="335"/>
                </a:cubicBezTo>
                <a:cubicBezTo>
                  <a:pt x="628" y="335"/>
                  <a:pt x="628" y="335"/>
                  <a:pt x="628" y="335"/>
                </a:cubicBezTo>
                <a:cubicBezTo>
                  <a:pt x="628" y="335"/>
                  <a:pt x="628" y="335"/>
                  <a:pt x="628" y="335"/>
                </a:cubicBezTo>
                <a:cubicBezTo>
                  <a:pt x="628" y="335"/>
                  <a:pt x="628" y="336"/>
                  <a:pt x="629" y="336"/>
                </a:cubicBezTo>
                <a:cubicBezTo>
                  <a:pt x="629" y="336"/>
                  <a:pt x="629" y="336"/>
                  <a:pt x="629" y="336"/>
                </a:cubicBezTo>
                <a:cubicBezTo>
                  <a:pt x="629" y="336"/>
                  <a:pt x="629" y="336"/>
                  <a:pt x="629" y="336"/>
                </a:cubicBezTo>
                <a:cubicBezTo>
                  <a:pt x="629" y="336"/>
                  <a:pt x="629" y="336"/>
                  <a:pt x="629" y="336"/>
                </a:cubicBezTo>
                <a:cubicBezTo>
                  <a:pt x="628" y="336"/>
                  <a:pt x="628" y="336"/>
                  <a:pt x="628" y="336"/>
                </a:cubicBezTo>
                <a:cubicBezTo>
                  <a:pt x="628" y="336"/>
                  <a:pt x="628" y="336"/>
                  <a:pt x="628" y="336"/>
                </a:cubicBezTo>
                <a:cubicBezTo>
                  <a:pt x="626" y="333"/>
                  <a:pt x="626" y="333"/>
                  <a:pt x="626" y="333"/>
                </a:cubicBezTo>
                <a:cubicBezTo>
                  <a:pt x="624" y="331"/>
                  <a:pt x="624" y="331"/>
                  <a:pt x="624" y="331"/>
                </a:cubicBezTo>
                <a:cubicBezTo>
                  <a:pt x="624" y="331"/>
                  <a:pt x="624" y="331"/>
                  <a:pt x="624" y="331"/>
                </a:cubicBezTo>
                <a:cubicBezTo>
                  <a:pt x="624" y="331"/>
                  <a:pt x="624" y="331"/>
                  <a:pt x="624" y="331"/>
                </a:cubicBezTo>
                <a:cubicBezTo>
                  <a:pt x="623" y="331"/>
                  <a:pt x="623" y="331"/>
                  <a:pt x="623" y="331"/>
                </a:cubicBezTo>
                <a:cubicBezTo>
                  <a:pt x="623" y="331"/>
                  <a:pt x="623" y="331"/>
                  <a:pt x="623" y="331"/>
                </a:cubicBezTo>
                <a:cubicBezTo>
                  <a:pt x="623" y="331"/>
                  <a:pt x="623" y="330"/>
                  <a:pt x="623" y="330"/>
                </a:cubicBezTo>
                <a:cubicBezTo>
                  <a:pt x="623" y="330"/>
                  <a:pt x="623" y="330"/>
                  <a:pt x="623" y="330"/>
                </a:cubicBezTo>
                <a:cubicBezTo>
                  <a:pt x="623" y="330"/>
                  <a:pt x="623" y="330"/>
                  <a:pt x="623" y="330"/>
                </a:cubicBezTo>
                <a:cubicBezTo>
                  <a:pt x="623" y="330"/>
                  <a:pt x="623" y="330"/>
                  <a:pt x="623" y="330"/>
                </a:cubicBezTo>
                <a:cubicBezTo>
                  <a:pt x="622" y="330"/>
                  <a:pt x="622" y="329"/>
                  <a:pt x="621" y="329"/>
                </a:cubicBezTo>
                <a:cubicBezTo>
                  <a:pt x="621" y="329"/>
                  <a:pt x="621" y="329"/>
                  <a:pt x="621" y="329"/>
                </a:cubicBezTo>
                <a:cubicBezTo>
                  <a:pt x="621" y="329"/>
                  <a:pt x="621" y="329"/>
                  <a:pt x="621" y="329"/>
                </a:cubicBezTo>
                <a:cubicBezTo>
                  <a:pt x="621" y="329"/>
                  <a:pt x="621" y="329"/>
                  <a:pt x="621" y="329"/>
                </a:cubicBezTo>
                <a:cubicBezTo>
                  <a:pt x="621" y="329"/>
                  <a:pt x="621" y="329"/>
                  <a:pt x="621" y="329"/>
                </a:cubicBezTo>
                <a:cubicBezTo>
                  <a:pt x="621" y="329"/>
                  <a:pt x="621" y="329"/>
                  <a:pt x="621" y="329"/>
                </a:cubicBezTo>
                <a:cubicBezTo>
                  <a:pt x="621" y="329"/>
                  <a:pt x="621" y="329"/>
                  <a:pt x="621" y="329"/>
                </a:cubicBezTo>
                <a:cubicBezTo>
                  <a:pt x="620" y="329"/>
                  <a:pt x="620" y="329"/>
                  <a:pt x="620" y="329"/>
                </a:cubicBezTo>
                <a:cubicBezTo>
                  <a:pt x="620" y="329"/>
                  <a:pt x="620" y="329"/>
                  <a:pt x="620" y="329"/>
                </a:cubicBezTo>
                <a:cubicBezTo>
                  <a:pt x="620" y="329"/>
                  <a:pt x="620" y="329"/>
                  <a:pt x="619" y="329"/>
                </a:cubicBezTo>
                <a:cubicBezTo>
                  <a:pt x="619" y="329"/>
                  <a:pt x="619" y="329"/>
                  <a:pt x="619" y="329"/>
                </a:cubicBezTo>
                <a:cubicBezTo>
                  <a:pt x="619" y="329"/>
                  <a:pt x="619" y="329"/>
                  <a:pt x="619" y="329"/>
                </a:cubicBezTo>
                <a:cubicBezTo>
                  <a:pt x="619" y="329"/>
                  <a:pt x="619" y="329"/>
                  <a:pt x="619" y="329"/>
                </a:cubicBezTo>
                <a:cubicBezTo>
                  <a:pt x="619" y="329"/>
                  <a:pt x="619" y="329"/>
                  <a:pt x="619" y="329"/>
                </a:cubicBezTo>
                <a:cubicBezTo>
                  <a:pt x="619" y="329"/>
                  <a:pt x="619" y="329"/>
                  <a:pt x="618" y="328"/>
                </a:cubicBezTo>
                <a:cubicBezTo>
                  <a:pt x="618" y="328"/>
                  <a:pt x="618" y="328"/>
                  <a:pt x="618" y="328"/>
                </a:cubicBezTo>
                <a:cubicBezTo>
                  <a:pt x="618" y="328"/>
                  <a:pt x="618" y="328"/>
                  <a:pt x="618" y="328"/>
                </a:cubicBezTo>
                <a:cubicBezTo>
                  <a:pt x="618" y="328"/>
                  <a:pt x="618" y="328"/>
                  <a:pt x="617" y="328"/>
                </a:cubicBezTo>
                <a:cubicBezTo>
                  <a:pt x="617" y="328"/>
                  <a:pt x="617" y="328"/>
                  <a:pt x="617" y="328"/>
                </a:cubicBezTo>
                <a:cubicBezTo>
                  <a:pt x="617" y="328"/>
                  <a:pt x="617" y="328"/>
                  <a:pt x="617" y="328"/>
                </a:cubicBezTo>
                <a:cubicBezTo>
                  <a:pt x="617" y="329"/>
                  <a:pt x="617" y="329"/>
                  <a:pt x="617" y="329"/>
                </a:cubicBezTo>
                <a:cubicBezTo>
                  <a:pt x="617" y="329"/>
                  <a:pt x="617" y="329"/>
                  <a:pt x="617" y="329"/>
                </a:cubicBezTo>
                <a:cubicBezTo>
                  <a:pt x="617" y="329"/>
                  <a:pt x="617" y="329"/>
                  <a:pt x="617" y="329"/>
                </a:cubicBezTo>
                <a:cubicBezTo>
                  <a:pt x="617" y="329"/>
                  <a:pt x="617" y="329"/>
                  <a:pt x="617" y="329"/>
                </a:cubicBezTo>
                <a:cubicBezTo>
                  <a:pt x="617" y="329"/>
                  <a:pt x="617" y="329"/>
                  <a:pt x="617" y="329"/>
                </a:cubicBezTo>
                <a:cubicBezTo>
                  <a:pt x="617" y="329"/>
                  <a:pt x="616" y="329"/>
                  <a:pt x="616" y="329"/>
                </a:cubicBezTo>
                <a:cubicBezTo>
                  <a:pt x="616" y="330"/>
                  <a:pt x="616" y="330"/>
                  <a:pt x="616" y="330"/>
                </a:cubicBezTo>
                <a:cubicBezTo>
                  <a:pt x="616" y="330"/>
                  <a:pt x="616" y="330"/>
                  <a:pt x="616" y="330"/>
                </a:cubicBezTo>
                <a:cubicBezTo>
                  <a:pt x="616" y="330"/>
                  <a:pt x="616" y="330"/>
                  <a:pt x="616" y="330"/>
                </a:cubicBezTo>
                <a:cubicBezTo>
                  <a:pt x="616" y="330"/>
                  <a:pt x="616" y="330"/>
                  <a:pt x="615" y="330"/>
                </a:cubicBezTo>
                <a:cubicBezTo>
                  <a:pt x="615" y="330"/>
                  <a:pt x="615" y="330"/>
                  <a:pt x="615" y="330"/>
                </a:cubicBezTo>
                <a:cubicBezTo>
                  <a:pt x="615" y="330"/>
                  <a:pt x="615" y="330"/>
                  <a:pt x="615" y="330"/>
                </a:cubicBezTo>
                <a:cubicBezTo>
                  <a:pt x="615" y="330"/>
                  <a:pt x="615" y="330"/>
                  <a:pt x="615" y="331"/>
                </a:cubicBezTo>
                <a:cubicBezTo>
                  <a:pt x="615" y="331"/>
                  <a:pt x="615" y="331"/>
                  <a:pt x="615" y="331"/>
                </a:cubicBezTo>
                <a:cubicBezTo>
                  <a:pt x="615" y="331"/>
                  <a:pt x="615" y="331"/>
                  <a:pt x="615" y="331"/>
                </a:cubicBezTo>
                <a:cubicBezTo>
                  <a:pt x="615" y="331"/>
                  <a:pt x="615" y="331"/>
                  <a:pt x="615" y="331"/>
                </a:cubicBezTo>
                <a:cubicBezTo>
                  <a:pt x="615" y="331"/>
                  <a:pt x="615" y="331"/>
                  <a:pt x="615" y="331"/>
                </a:cubicBezTo>
                <a:cubicBezTo>
                  <a:pt x="614" y="331"/>
                  <a:pt x="614" y="331"/>
                  <a:pt x="614" y="331"/>
                </a:cubicBezTo>
                <a:cubicBezTo>
                  <a:pt x="614" y="331"/>
                  <a:pt x="614" y="331"/>
                  <a:pt x="614" y="331"/>
                </a:cubicBezTo>
                <a:cubicBezTo>
                  <a:pt x="614" y="331"/>
                  <a:pt x="614" y="331"/>
                  <a:pt x="614" y="331"/>
                </a:cubicBezTo>
                <a:cubicBezTo>
                  <a:pt x="614" y="331"/>
                  <a:pt x="614" y="331"/>
                  <a:pt x="614" y="331"/>
                </a:cubicBezTo>
                <a:cubicBezTo>
                  <a:pt x="614" y="331"/>
                  <a:pt x="614" y="331"/>
                  <a:pt x="614" y="331"/>
                </a:cubicBezTo>
                <a:cubicBezTo>
                  <a:pt x="613" y="331"/>
                  <a:pt x="613" y="331"/>
                  <a:pt x="613" y="331"/>
                </a:cubicBezTo>
                <a:cubicBezTo>
                  <a:pt x="613" y="331"/>
                  <a:pt x="613" y="331"/>
                  <a:pt x="613" y="331"/>
                </a:cubicBezTo>
                <a:cubicBezTo>
                  <a:pt x="613" y="331"/>
                  <a:pt x="613" y="331"/>
                  <a:pt x="613" y="331"/>
                </a:cubicBezTo>
                <a:cubicBezTo>
                  <a:pt x="613" y="332"/>
                  <a:pt x="613" y="332"/>
                  <a:pt x="613" y="332"/>
                </a:cubicBezTo>
                <a:cubicBezTo>
                  <a:pt x="613" y="332"/>
                  <a:pt x="613" y="332"/>
                  <a:pt x="613" y="332"/>
                </a:cubicBezTo>
                <a:cubicBezTo>
                  <a:pt x="613" y="332"/>
                  <a:pt x="613" y="332"/>
                  <a:pt x="613" y="332"/>
                </a:cubicBezTo>
                <a:cubicBezTo>
                  <a:pt x="613" y="332"/>
                  <a:pt x="613" y="332"/>
                  <a:pt x="613" y="332"/>
                </a:cubicBezTo>
                <a:cubicBezTo>
                  <a:pt x="613" y="332"/>
                  <a:pt x="613" y="332"/>
                  <a:pt x="613" y="332"/>
                </a:cubicBezTo>
                <a:cubicBezTo>
                  <a:pt x="612" y="332"/>
                  <a:pt x="612" y="332"/>
                  <a:pt x="612" y="332"/>
                </a:cubicBezTo>
                <a:cubicBezTo>
                  <a:pt x="612" y="332"/>
                  <a:pt x="612" y="332"/>
                  <a:pt x="612" y="332"/>
                </a:cubicBezTo>
                <a:cubicBezTo>
                  <a:pt x="612" y="333"/>
                  <a:pt x="612" y="333"/>
                  <a:pt x="612" y="333"/>
                </a:cubicBezTo>
                <a:cubicBezTo>
                  <a:pt x="612" y="333"/>
                  <a:pt x="612" y="333"/>
                  <a:pt x="612" y="333"/>
                </a:cubicBezTo>
                <a:cubicBezTo>
                  <a:pt x="612" y="333"/>
                  <a:pt x="612" y="333"/>
                  <a:pt x="612" y="333"/>
                </a:cubicBezTo>
                <a:cubicBezTo>
                  <a:pt x="612" y="333"/>
                  <a:pt x="612" y="333"/>
                  <a:pt x="612" y="333"/>
                </a:cubicBezTo>
                <a:cubicBezTo>
                  <a:pt x="612" y="333"/>
                  <a:pt x="612" y="333"/>
                  <a:pt x="612" y="333"/>
                </a:cubicBezTo>
                <a:cubicBezTo>
                  <a:pt x="612" y="333"/>
                  <a:pt x="612" y="333"/>
                  <a:pt x="612" y="333"/>
                </a:cubicBezTo>
                <a:cubicBezTo>
                  <a:pt x="612" y="333"/>
                  <a:pt x="612" y="333"/>
                  <a:pt x="612" y="333"/>
                </a:cubicBezTo>
                <a:cubicBezTo>
                  <a:pt x="612" y="332"/>
                  <a:pt x="612" y="332"/>
                  <a:pt x="612" y="332"/>
                </a:cubicBezTo>
                <a:cubicBezTo>
                  <a:pt x="612" y="332"/>
                  <a:pt x="612" y="332"/>
                  <a:pt x="612" y="332"/>
                </a:cubicBezTo>
                <a:cubicBezTo>
                  <a:pt x="612" y="332"/>
                  <a:pt x="612" y="332"/>
                  <a:pt x="612" y="332"/>
                </a:cubicBezTo>
                <a:cubicBezTo>
                  <a:pt x="612" y="332"/>
                  <a:pt x="612" y="332"/>
                  <a:pt x="612" y="332"/>
                </a:cubicBezTo>
                <a:cubicBezTo>
                  <a:pt x="612" y="332"/>
                  <a:pt x="612" y="332"/>
                  <a:pt x="612" y="332"/>
                </a:cubicBezTo>
                <a:cubicBezTo>
                  <a:pt x="612" y="332"/>
                  <a:pt x="612" y="332"/>
                  <a:pt x="612" y="332"/>
                </a:cubicBezTo>
                <a:cubicBezTo>
                  <a:pt x="612" y="332"/>
                  <a:pt x="612" y="332"/>
                  <a:pt x="612" y="332"/>
                </a:cubicBezTo>
                <a:cubicBezTo>
                  <a:pt x="612" y="332"/>
                  <a:pt x="612" y="332"/>
                  <a:pt x="612" y="332"/>
                </a:cubicBezTo>
                <a:cubicBezTo>
                  <a:pt x="612" y="332"/>
                  <a:pt x="612" y="332"/>
                  <a:pt x="612" y="332"/>
                </a:cubicBezTo>
                <a:cubicBezTo>
                  <a:pt x="612" y="332"/>
                  <a:pt x="612" y="332"/>
                  <a:pt x="612" y="332"/>
                </a:cubicBezTo>
                <a:cubicBezTo>
                  <a:pt x="613" y="332"/>
                  <a:pt x="613" y="331"/>
                  <a:pt x="613" y="331"/>
                </a:cubicBezTo>
                <a:cubicBezTo>
                  <a:pt x="613" y="331"/>
                  <a:pt x="613" y="331"/>
                  <a:pt x="613" y="331"/>
                </a:cubicBezTo>
                <a:cubicBezTo>
                  <a:pt x="613" y="331"/>
                  <a:pt x="613" y="331"/>
                  <a:pt x="613" y="331"/>
                </a:cubicBezTo>
                <a:cubicBezTo>
                  <a:pt x="613" y="331"/>
                  <a:pt x="614" y="331"/>
                  <a:pt x="614" y="330"/>
                </a:cubicBezTo>
                <a:cubicBezTo>
                  <a:pt x="614" y="330"/>
                  <a:pt x="614" y="330"/>
                  <a:pt x="614" y="330"/>
                </a:cubicBezTo>
                <a:cubicBezTo>
                  <a:pt x="614" y="330"/>
                  <a:pt x="614" y="330"/>
                  <a:pt x="614" y="330"/>
                </a:cubicBezTo>
                <a:cubicBezTo>
                  <a:pt x="614" y="330"/>
                  <a:pt x="614" y="330"/>
                  <a:pt x="614" y="330"/>
                </a:cubicBezTo>
                <a:cubicBezTo>
                  <a:pt x="615" y="329"/>
                  <a:pt x="615" y="329"/>
                  <a:pt x="616" y="329"/>
                </a:cubicBezTo>
                <a:cubicBezTo>
                  <a:pt x="616" y="329"/>
                  <a:pt x="616" y="329"/>
                  <a:pt x="616" y="329"/>
                </a:cubicBezTo>
                <a:cubicBezTo>
                  <a:pt x="616" y="329"/>
                  <a:pt x="616" y="329"/>
                  <a:pt x="616" y="329"/>
                </a:cubicBezTo>
                <a:cubicBezTo>
                  <a:pt x="616" y="329"/>
                  <a:pt x="616" y="329"/>
                  <a:pt x="616" y="329"/>
                </a:cubicBezTo>
                <a:cubicBezTo>
                  <a:pt x="616" y="329"/>
                  <a:pt x="616" y="329"/>
                  <a:pt x="616" y="329"/>
                </a:cubicBezTo>
                <a:cubicBezTo>
                  <a:pt x="617" y="328"/>
                  <a:pt x="617" y="328"/>
                  <a:pt x="617" y="328"/>
                </a:cubicBezTo>
                <a:cubicBezTo>
                  <a:pt x="617" y="328"/>
                  <a:pt x="617" y="328"/>
                  <a:pt x="617" y="328"/>
                </a:cubicBezTo>
                <a:cubicBezTo>
                  <a:pt x="617" y="328"/>
                  <a:pt x="617" y="328"/>
                  <a:pt x="617" y="328"/>
                </a:cubicBezTo>
                <a:cubicBezTo>
                  <a:pt x="617" y="328"/>
                  <a:pt x="617" y="328"/>
                  <a:pt x="617" y="328"/>
                </a:cubicBezTo>
                <a:cubicBezTo>
                  <a:pt x="617" y="328"/>
                  <a:pt x="617" y="328"/>
                  <a:pt x="617" y="328"/>
                </a:cubicBezTo>
                <a:cubicBezTo>
                  <a:pt x="617" y="328"/>
                  <a:pt x="617" y="328"/>
                  <a:pt x="617" y="328"/>
                </a:cubicBezTo>
                <a:cubicBezTo>
                  <a:pt x="617" y="328"/>
                  <a:pt x="617" y="328"/>
                  <a:pt x="617" y="328"/>
                </a:cubicBezTo>
                <a:cubicBezTo>
                  <a:pt x="617" y="328"/>
                  <a:pt x="617" y="328"/>
                  <a:pt x="617" y="328"/>
                </a:cubicBezTo>
                <a:cubicBezTo>
                  <a:pt x="617" y="327"/>
                  <a:pt x="617" y="327"/>
                  <a:pt x="617" y="327"/>
                </a:cubicBezTo>
                <a:cubicBezTo>
                  <a:pt x="617" y="327"/>
                  <a:pt x="617" y="327"/>
                  <a:pt x="617" y="327"/>
                </a:cubicBezTo>
                <a:cubicBezTo>
                  <a:pt x="617" y="327"/>
                  <a:pt x="617" y="327"/>
                  <a:pt x="617" y="327"/>
                </a:cubicBezTo>
                <a:cubicBezTo>
                  <a:pt x="617" y="327"/>
                  <a:pt x="617" y="327"/>
                  <a:pt x="617" y="327"/>
                </a:cubicBezTo>
                <a:cubicBezTo>
                  <a:pt x="617" y="326"/>
                  <a:pt x="617" y="326"/>
                  <a:pt x="617" y="326"/>
                </a:cubicBezTo>
                <a:cubicBezTo>
                  <a:pt x="617" y="325"/>
                  <a:pt x="617" y="325"/>
                  <a:pt x="617" y="325"/>
                </a:cubicBezTo>
                <a:cubicBezTo>
                  <a:pt x="615" y="323"/>
                  <a:pt x="615" y="323"/>
                  <a:pt x="615" y="323"/>
                </a:cubicBezTo>
                <a:cubicBezTo>
                  <a:pt x="615" y="322"/>
                  <a:pt x="615" y="322"/>
                  <a:pt x="615" y="322"/>
                </a:cubicBezTo>
                <a:cubicBezTo>
                  <a:pt x="614" y="322"/>
                  <a:pt x="614" y="322"/>
                  <a:pt x="614" y="322"/>
                </a:cubicBezTo>
                <a:cubicBezTo>
                  <a:pt x="614" y="322"/>
                  <a:pt x="614" y="322"/>
                  <a:pt x="614" y="322"/>
                </a:cubicBezTo>
                <a:cubicBezTo>
                  <a:pt x="614" y="322"/>
                  <a:pt x="614" y="322"/>
                  <a:pt x="614" y="322"/>
                </a:cubicBezTo>
                <a:cubicBezTo>
                  <a:pt x="614" y="322"/>
                  <a:pt x="614" y="322"/>
                  <a:pt x="614" y="322"/>
                </a:cubicBezTo>
                <a:cubicBezTo>
                  <a:pt x="614" y="322"/>
                  <a:pt x="614" y="322"/>
                  <a:pt x="614" y="322"/>
                </a:cubicBezTo>
                <a:cubicBezTo>
                  <a:pt x="614" y="321"/>
                  <a:pt x="614" y="321"/>
                  <a:pt x="614" y="321"/>
                </a:cubicBezTo>
                <a:cubicBezTo>
                  <a:pt x="614" y="321"/>
                  <a:pt x="614" y="321"/>
                  <a:pt x="614" y="321"/>
                </a:cubicBezTo>
                <a:cubicBezTo>
                  <a:pt x="614" y="321"/>
                  <a:pt x="614" y="321"/>
                  <a:pt x="614" y="321"/>
                </a:cubicBezTo>
                <a:cubicBezTo>
                  <a:pt x="614" y="321"/>
                  <a:pt x="614" y="321"/>
                  <a:pt x="614" y="321"/>
                </a:cubicBezTo>
                <a:cubicBezTo>
                  <a:pt x="614" y="321"/>
                  <a:pt x="614" y="321"/>
                  <a:pt x="614" y="321"/>
                </a:cubicBezTo>
                <a:cubicBezTo>
                  <a:pt x="614" y="321"/>
                  <a:pt x="614" y="321"/>
                  <a:pt x="614" y="321"/>
                </a:cubicBezTo>
                <a:cubicBezTo>
                  <a:pt x="614" y="321"/>
                  <a:pt x="614" y="321"/>
                  <a:pt x="614" y="321"/>
                </a:cubicBezTo>
                <a:cubicBezTo>
                  <a:pt x="613" y="321"/>
                  <a:pt x="613" y="321"/>
                  <a:pt x="613" y="321"/>
                </a:cubicBezTo>
                <a:cubicBezTo>
                  <a:pt x="613" y="321"/>
                  <a:pt x="613" y="321"/>
                  <a:pt x="613" y="321"/>
                </a:cubicBezTo>
                <a:cubicBezTo>
                  <a:pt x="613" y="321"/>
                  <a:pt x="613" y="321"/>
                  <a:pt x="613" y="321"/>
                </a:cubicBezTo>
                <a:cubicBezTo>
                  <a:pt x="613" y="321"/>
                  <a:pt x="613" y="321"/>
                  <a:pt x="612" y="320"/>
                </a:cubicBezTo>
                <a:cubicBezTo>
                  <a:pt x="612" y="320"/>
                  <a:pt x="612" y="320"/>
                  <a:pt x="612" y="320"/>
                </a:cubicBezTo>
                <a:cubicBezTo>
                  <a:pt x="612" y="320"/>
                  <a:pt x="612" y="320"/>
                  <a:pt x="612" y="320"/>
                </a:cubicBezTo>
                <a:cubicBezTo>
                  <a:pt x="612" y="320"/>
                  <a:pt x="612" y="320"/>
                  <a:pt x="612" y="320"/>
                </a:cubicBezTo>
                <a:cubicBezTo>
                  <a:pt x="612" y="320"/>
                  <a:pt x="612" y="320"/>
                  <a:pt x="612" y="320"/>
                </a:cubicBezTo>
                <a:cubicBezTo>
                  <a:pt x="612" y="320"/>
                  <a:pt x="612" y="320"/>
                  <a:pt x="612" y="320"/>
                </a:cubicBezTo>
                <a:cubicBezTo>
                  <a:pt x="612" y="320"/>
                  <a:pt x="612" y="320"/>
                  <a:pt x="612" y="320"/>
                </a:cubicBezTo>
                <a:cubicBezTo>
                  <a:pt x="612" y="320"/>
                  <a:pt x="612" y="320"/>
                  <a:pt x="612" y="320"/>
                </a:cubicBezTo>
                <a:cubicBezTo>
                  <a:pt x="612" y="320"/>
                  <a:pt x="612" y="320"/>
                  <a:pt x="612" y="320"/>
                </a:cubicBezTo>
                <a:cubicBezTo>
                  <a:pt x="612" y="320"/>
                  <a:pt x="612" y="320"/>
                  <a:pt x="612" y="320"/>
                </a:cubicBezTo>
                <a:cubicBezTo>
                  <a:pt x="612" y="320"/>
                  <a:pt x="612" y="320"/>
                  <a:pt x="612" y="320"/>
                </a:cubicBezTo>
                <a:cubicBezTo>
                  <a:pt x="612" y="320"/>
                  <a:pt x="612" y="320"/>
                  <a:pt x="612" y="320"/>
                </a:cubicBezTo>
                <a:cubicBezTo>
                  <a:pt x="612" y="320"/>
                  <a:pt x="612" y="320"/>
                  <a:pt x="612" y="320"/>
                </a:cubicBezTo>
                <a:cubicBezTo>
                  <a:pt x="612" y="320"/>
                  <a:pt x="612" y="320"/>
                  <a:pt x="612" y="320"/>
                </a:cubicBezTo>
                <a:cubicBezTo>
                  <a:pt x="612" y="319"/>
                  <a:pt x="612" y="319"/>
                  <a:pt x="612" y="319"/>
                </a:cubicBezTo>
                <a:cubicBezTo>
                  <a:pt x="612" y="319"/>
                  <a:pt x="612" y="319"/>
                  <a:pt x="612" y="319"/>
                </a:cubicBezTo>
                <a:cubicBezTo>
                  <a:pt x="612" y="319"/>
                  <a:pt x="612" y="319"/>
                  <a:pt x="612" y="319"/>
                </a:cubicBezTo>
                <a:cubicBezTo>
                  <a:pt x="611" y="319"/>
                  <a:pt x="611" y="319"/>
                  <a:pt x="611" y="319"/>
                </a:cubicBezTo>
                <a:cubicBezTo>
                  <a:pt x="611" y="319"/>
                  <a:pt x="611" y="319"/>
                  <a:pt x="611" y="319"/>
                </a:cubicBezTo>
                <a:cubicBezTo>
                  <a:pt x="611" y="319"/>
                  <a:pt x="611" y="319"/>
                  <a:pt x="611" y="319"/>
                </a:cubicBezTo>
                <a:cubicBezTo>
                  <a:pt x="611" y="319"/>
                  <a:pt x="611" y="319"/>
                  <a:pt x="611" y="319"/>
                </a:cubicBezTo>
                <a:cubicBezTo>
                  <a:pt x="611" y="319"/>
                  <a:pt x="611" y="319"/>
                  <a:pt x="611" y="319"/>
                </a:cubicBezTo>
                <a:cubicBezTo>
                  <a:pt x="611" y="319"/>
                  <a:pt x="611" y="319"/>
                  <a:pt x="611" y="319"/>
                </a:cubicBezTo>
                <a:cubicBezTo>
                  <a:pt x="611" y="319"/>
                  <a:pt x="611" y="319"/>
                  <a:pt x="611" y="319"/>
                </a:cubicBezTo>
                <a:cubicBezTo>
                  <a:pt x="611" y="319"/>
                  <a:pt x="611" y="319"/>
                  <a:pt x="611" y="319"/>
                </a:cubicBezTo>
                <a:cubicBezTo>
                  <a:pt x="611" y="319"/>
                  <a:pt x="611" y="319"/>
                  <a:pt x="611" y="319"/>
                </a:cubicBezTo>
                <a:cubicBezTo>
                  <a:pt x="611" y="319"/>
                  <a:pt x="611" y="319"/>
                  <a:pt x="611" y="319"/>
                </a:cubicBezTo>
                <a:cubicBezTo>
                  <a:pt x="611" y="319"/>
                  <a:pt x="611" y="319"/>
                  <a:pt x="611" y="319"/>
                </a:cubicBezTo>
                <a:cubicBezTo>
                  <a:pt x="611" y="319"/>
                  <a:pt x="611" y="319"/>
                  <a:pt x="611" y="319"/>
                </a:cubicBezTo>
                <a:cubicBezTo>
                  <a:pt x="611" y="319"/>
                  <a:pt x="611" y="319"/>
                  <a:pt x="611" y="319"/>
                </a:cubicBezTo>
                <a:cubicBezTo>
                  <a:pt x="611" y="319"/>
                  <a:pt x="611" y="319"/>
                  <a:pt x="611" y="319"/>
                </a:cubicBezTo>
                <a:cubicBezTo>
                  <a:pt x="611" y="318"/>
                  <a:pt x="610" y="319"/>
                  <a:pt x="610" y="319"/>
                </a:cubicBezTo>
                <a:cubicBezTo>
                  <a:pt x="610" y="319"/>
                  <a:pt x="610" y="319"/>
                  <a:pt x="610" y="319"/>
                </a:cubicBezTo>
                <a:cubicBezTo>
                  <a:pt x="610" y="319"/>
                  <a:pt x="610" y="319"/>
                  <a:pt x="610" y="319"/>
                </a:cubicBezTo>
                <a:cubicBezTo>
                  <a:pt x="610" y="319"/>
                  <a:pt x="610" y="319"/>
                  <a:pt x="610" y="319"/>
                </a:cubicBezTo>
                <a:cubicBezTo>
                  <a:pt x="610" y="319"/>
                  <a:pt x="610" y="319"/>
                  <a:pt x="610" y="319"/>
                </a:cubicBezTo>
                <a:cubicBezTo>
                  <a:pt x="610" y="319"/>
                  <a:pt x="610" y="319"/>
                  <a:pt x="610" y="319"/>
                </a:cubicBezTo>
                <a:cubicBezTo>
                  <a:pt x="610" y="319"/>
                  <a:pt x="609" y="318"/>
                  <a:pt x="609" y="318"/>
                </a:cubicBezTo>
                <a:cubicBezTo>
                  <a:pt x="609" y="318"/>
                  <a:pt x="609" y="318"/>
                  <a:pt x="609" y="318"/>
                </a:cubicBezTo>
                <a:cubicBezTo>
                  <a:pt x="609" y="318"/>
                  <a:pt x="609" y="318"/>
                  <a:pt x="609" y="318"/>
                </a:cubicBezTo>
                <a:cubicBezTo>
                  <a:pt x="609" y="318"/>
                  <a:pt x="608" y="318"/>
                  <a:pt x="608" y="318"/>
                </a:cubicBezTo>
                <a:cubicBezTo>
                  <a:pt x="608" y="318"/>
                  <a:pt x="608" y="318"/>
                  <a:pt x="608" y="318"/>
                </a:cubicBezTo>
                <a:cubicBezTo>
                  <a:pt x="608" y="318"/>
                  <a:pt x="608" y="318"/>
                  <a:pt x="608" y="318"/>
                </a:cubicBezTo>
                <a:cubicBezTo>
                  <a:pt x="608" y="318"/>
                  <a:pt x="608" y="318"/>
                  <a:pt x="608" y="318"/>
                </a:cubicBezTo>
                <a:cubicBezTo>
                  <a:pt x="608" y="318"/>
                  <a:pt x="608" y="318"/>
                  <a:pt x="608" y="318"/>
                </a:cubicBezTo>
                <a:cubicBezTo>
                  <a:pt x="608" y="318"/>
                  <a:pt x="608" y="318"/>
                  <a:pt x="608" y="318"/>
                </a:cubicBezTo>
                <a:cubicBezTo>
                  <a:pt x="607" y="317"/>
                  <a:pt x="607" y="316"/>
                  <a:pt x="606" y="316"/>
                </a:cubicBezTo>
                <a:cubicBezTo>
                  <a:pt x="606" y="316"/>
                  <a:pt x="606" y="316"/>
                  <a:pt x="606" y="316"/>
                </a:cubicBezTo>
                <a:cubicBezTo>
                  <a:pt x="605" y="316"/>
                  <a:pt x="605" y="316"/>
                  <a:pt x="605" y="316"/>
                </a:cubicBezTo>
                <a:cubicBezTo>
                  <a:pt x="605" y="316"/>
                  <a:pt x="605" y="316"/>
                  <a:pt x="605" y="316"/>
                </a:cubicBezTo>
                <a:cubicBezTo>
                  <a:pt x="605" y="316"/>
                  <a:pt x="605" y="316"/>
                  <a:pt x="604" y="316"/>
                </a:cubicBezTo>
                <a:cubicBezTo>
                  <a:pt x="604" y="316"/>
                  <a:pt x="604" y="316"/>
                  <a:pt x="604" y="316"/>
                </a:cubicBezTo>
                <a:cubicBezTo>
                  <a:pt x="604" y="316"/>
                  <a:pt x="604" y="316"/>
                  <a:pt x="604" y="316"/>
                </a:cubicBezTo>
                <a:cubicBezTo>
                  <a:pt x="603" y="316"/>
                  <a:pt x="604" y="316"/>
                  <a:pt x="603" y="317"/>
                </a:cubicBezTo>
                <a:cubicBezTo>
                  <a:pt x="603" y="317"/>
                  <a:pt x="603" y="317"/>
                  <a:pt x="603" y="317"/>
                </a:cubicBezTo>
                <a:cubicBezTo>
                  <a:pt x="603" y="317"/>
                  <a:pt x="603" y="317"/>
                  <a:pt x="603" y="317"/>
                </a:cubicBezTo>
                <a:cubicBezTo>
                  <a:pt x="603" y="317"/>
                  <a:pt x="603" y="317"/>
                  <a:pt x="603" y="317"/>
                </a:cubicBezTo>
                <a:cubicBezTo>
                  <a:pt x="603" y="317"/>
                  <a:pt x="603" y="317"/>
                  <a:pt x="603" y="317"/>
                </a:cubicBezTo>
                <a:cubicBezTo>
                  <a:pt x="603" y="317"/>
                  <a:pt x="603" y="317"/>
                  <a:pt x="603" y="317"/>
                </a:cubicBezTo>
                <a:cubicBezTo>
                  <a:pt x="603" y="317"/>
                  <a:pt x="603" y="317"/>
                  <a:pt x="603" y="317"/>
                </a:cubicBezTo>
                <a:cubicBezTo>
                  <a:pt x="603" y="316"/>
                  <a:pt x="603" y="316"/>
                  <a:pt x="603" y="316"/>
                </a:cubicBezTo>
                <a:cubicBezTo>
                  <a:pt x="603" y="316"/>
                  <a:pt x="603" y="316"/>
                  <a:pt x="603" y="316"/>
                </a:cubicBezTo>
                <a:cubicBezTo>
                  <a:pt x="603" y="316"/>
                  <a:pt x="603" y="316"/>
                  <a:pt x="603" y="316"/>
                </a:cubicBezTo>
                <a:cubicBezTo>
                  <a:pt x="604" y="316"/>
                  <a:pt x="604" y="316"/>
                  <a:pt x="604" y="316"/>
                </a:cubicBezTo>
                <a:cubicBezTo>
                  <a:pt x="604" y="316"/>
                  <a:pt x="604" y="316"/>
                  <a:pt x="604" y="316"/>
                </a:cubicBezTo>
                <a:cubicBezTo>
                  <a:pt x="604" y="316"/>
                  <a:pt x="604" y="316"/>
                  <a:pt x="604" y="316"/>
                </a:cubicBezTo>
                <a:cubicBezTo>
                  <a:pt x="604" y="316"/>
                  <a:pt x="604" y="316"/>
                  <a:pt x="604" y="316"/>
                </a:cubicBezTo>
                <a:cubicBezTo>
                  <a:pt x="604" y="316"/>
                  <a:pt x="604" y="316"/>
                  <a:pt x="604" y="316"/>
                </a:cubicBezTo>
                <a:cubicBezTo>
                  <a:pt x="604" y="316"/>
                  <a:pt x="604" y="316"/>
                  <a:pt x="604" y="316"/>
                </a:cubicBezTo>
                <a:cubicBezTo>
                  <a:pt x="604" y="315"/>
                  <a:pt x="604" y="315"/>
                  <a:pt x="604" y="315"/>
                </a:cubicBezTo>
                <a:cubicBezTo>
                  <a:pt x="605" y="315"/>
                  <a:pt x="605" y="315"/>
                  <a:pt x="605" y="315"/>
                </a:cubicBezTo>
                <a:cubicBezTo>
                  <a:pt x="605" y="315"/>
                  <a:pt x="605" y="315"/>
                  <a:pt x="605" y="315"/>
                </a:cubicBezTo>
                <a:cubicBezTo>
                  <a:pt x="605" y="315"/>
                  <a:pt x="605" y="315"/>
                  <a:pt x="605" y="315"/>
                </a:cubicBezTo>
                <a:cubicBezTo>
                  <a:pt x="605" y="315"/>
                  <a:pt x="605" y="315"/>
                  <a:pt x="605" y="315"/>
                </a:cubicBezTo>
                <a:cubicBezTo>
                  <a:pt x="606" y="315"/>
                  <a:pt x="606" y="315"/>
                  <a:pt x="606" y="315"/>
                </a:cubicBezTo>
                <a:cubicBezTo>
                  <a:pt x="606" y="315"/>
                  <a:pt x="606" y="315"/>
                  <a:pt x="606" y="315"/>
                </a:cubicBezTo>
                <a:cubicBezTo>
                  <a:pt x="607" y="315"/>
                  <a:pt x="607" y="315"/>
                  <a:pt x="607" y="315"/>
                </a:cubicBezTo>
                <a:cubicBezTo>
                  <a:pt x="606" y="315"/>
                  <a:pt x="606" y="315"/>
                  <a:pt x="606" y="315"/>
                </a:cubicBezTo>
                <a:cubicBezTo>
                  <a:pt x="606" y="314"/>
                  <a:pt x="606" y="314"/>
                  <a:pt x="606" y="314"/>
                </a:cubicBezTo>
                <a:cubicBezTo>
                  <a:pt x="605" y="313"/>
                  <a:pt x="605" y="313"/>
                  <a:pt x="605" y="313"/>
                </a:cubicBezTo>
                <a:cubicBezTo>
                  <a:pt x="605" y="313"/>
                  <a:pt x="605" y="313"/>
                  <a:pt x="605" y="313"/>
                </a:cubicBezTo>
                <a:cubicBezTo>
                  <a:pt x="605" y="313"/>
                  <a:pt x="605" y="312"/>
                  <a:pt x="604" y="312"/>
                </a:cubicBezTo>
                <a:cubicBezTo>
                  <a:pt x="604" y="312"/>
                  <a:pt x="604" y="312"/>
                  <a:pt x="604" y="312"/>
                </a:cubicBezTo>
                <a:cubicBezTo>
                  <a:pt x="604" y="312"/>
                  <a:pt x="604" y="312"/>
                  <a:pt x="604" y="312"/>
                </a:cubicBezTo>
                <a:cubicBezTo>
                  <a:pt x="604" y="312"/>
                  <a:pt x="604" y="312"/>
                  <a:pt x="604" y="311"/>
                </a:cubicBezTo>
                <a:cubicBezTo>
                  <a:pt x="604" y="311"/>
                  <a:pt x="604" y="311"/>
                  <a:pt x="604" y="311"/>
                </a:cubicBezTo>
                <a:cubicBezTo>
                  <a:pt x="604" y="311"/>
                  <a:pt x="604" y="311"/>
                  <a:pt x="604" y="311"/>
                </a:cubicBezTo>
                <a:cubicBezTo>
                  <a:pt x="604" y="311"/>
                  <a:pt x="604" y="311"/>
                  <a:pt x="604" y="311"/>
                </a:cubicBezTo>
                <a:cubicBezTo>
                  <a:pt x="604" y="311"/>
                  <a:pt x="604" y="311"/>
                  <a:pt x="604" y="311"/>
                </a:cubicBezTo>
                <a:cubicBezTo>
                  <a:pt x="603" y="311"/>
                  <a:pt x="604" y="311"/>
                  <a:pt x="603" y="311"/>
                </a:cubicBezTo>
                <a:cubicBezTo>
                  <a:pt x="603" y="311"/>
                  <a:pt x="603" y="311"/>
                  <a:pt x="603" y="311"/>
                </a:cubicBezTo>
                <a:cubicBezTo>
                  <a:pt x="603" y="311"/>
                  <a:pt x="603" y="311"/>
                  <a:pt x="603" y="311"/>
                </a:cubicBezTo>
                <a:cubicBezTo>
                  <a:pt x="603" y="310"/>
                  <a:pt x="603" y="310"/>
                  <a:pt x="602" y="310"/>
                </a:cubicBezTo>
                <a:cubicBezTo>
                  <a:pt x="602" y="310"/>
                  <a:pt x="602" y="310"/>
                  <a:pt x="602" y="310"/>
                </a:cubicBezTo>
                <a:cubicBezTo>
                  <a:pt x="602" y="310"/>
                  <a:pt x="602" y="310"/>
                  <a:pt x="602" y="310"/>
                </a:cubicBezTo>
                <a:cubicBezTo>
                  <a:pt x="602" y="310"/>
                  <a:pt x="602" y="310"/>
                  <a:pt x="602" y="310"/>
                </a:cubicBezTo>
                <a:cubicBezTo>
                  <a:pt x="602" y="310"/>
                  <a:pt x="602" y="310"/>
                  <a:pt x="602" y="310"/>
                </a:cubicBezTo>
                <a:cubicBezTo>
                  <a:pt x="602" y="310"/>
                  <a:pt x="602" y="310"/>
                  <a:pt x="602" y="310"/>
                </a:cubicBezTo>
                <a:cubicBezTo>
                  <a:pt x="602" y="310"/>
                  <a:pt x="602" y="310"/>
                  <a:pt x="602" y="310"/>
                </a:cubicBezTo>
                <a:cubicBezTo>
                  <a:pt x="602" y="309"/>
                  <a:pt x="602" y="309"/>
                  <a:pt x="602" y="309"/>
                </a:cubicBezTo>
                <a:cubicBezTo>
                  <a:pt x="601" y="309"/>
                  <a:pt x="601" y="309"/>
                  <a:pt x="601" y="309"/>
                </a:cubicBezTo>
                <a:cubicBezTo>
                  <a:pt x="601" y="308"/>
                  <a:pt x="601" y="308"/>
                  <a:pt x="601" y="308"/>
                </a:cubicBezTo>
                <a:cubicBezTo>
                  <a:pt x="601" y="308"/>
                  <a:pt x="601" y="308"/>
                  <a:pt x="601" y="308"/>
                </a:cubicBezTo>
                <a:cubicBezTo>
                  <a:pt x="601" y="308"/>
                  <a:pt x="601" y="308"/>
                  <a:pt x="601" y="308"/>
                </a:cubicBezTo>
                <a:cubicBezTo>
                  <a:pt x="601" y="308"/>
                  <a:pt x="601" y="308"/>
                  <a:pt x="601" y="308"/>
                </a:cubicBezTo>
                <a:cubicBezTo>
                  <a:pt x="601" y="308"/>
                  <a:pt x="601" y="308"/>
                  <a:pt x="601" y="308"/>
                </a:cubicBezTo>
                <a:cubicBezTo>
                  <a:pt x="601" y="308"/>
                  <a:pt x="601" y="308"/>
                  <a:pt x="601" y="308"/>
                </a:cubicBezTo>
                <a:cubicBezTo>
                  <a:pt x="601" y="308"/>
                  <a:pt x="601" y="308"/>
                  <a:pt x="601" y="308"/>
                </a:cubicBezTo>
                <a:cubicBezTo>
                  <a:pt x="601" y="308"/>
                  <a:pt x="601" y="308"/>
                  <a:pt x="601" y="308"/>
                </a:cubicBezTo>
                <a:cubicBezTo>
                  <a:pt x="601" y="308"/>
                  <a:pt x="601" y="308"/>
                  <a:pt x="601" y="308"/>
                </a:cubicBezTo>
                <a:cubicBezTo>
                  <a:pt x="601" y="308"/>
                  <a:pt x="601" y="308"/>
                  <a:pt x="601" y="308"/>
                </a:cubicBezTo>
                <a:cubicBezTo>
                  <a:pt x="601" y="308"/>
                  <a:pt x="601" y="308"/>
                  <a:pt x="601" y="308"/>
                </a:cubicBezTo>
                <a:cubicBezTo>
                  <a:pt x="601" y="308"/>
                  <a:pt x="601" y="308"/>
                  <a:pt x="601" y="308"/>
                </a:cubicBezTo>
                <a:cubicBezTo>
                  <a:pt x="601" y="308"/>
                  <a:pt x="601" y="308"/>
                  <a:pt x="601" y="308"/>
                </a:cubicBezTo>
                <a:cubicBezTo>
                  <a:pt x="601" y="308"/>
                  <a:pt x="601" y="308"/>
                  <a:pt x="601" y="308"/>
                </a:cubicBezTo>
                <a:cubicBezTo>
                  <a:pt x="601" y="308"/>
                  <a:pt x="601" y="308"/>
                  <a:pt x="601" y="308"/>
                </a:cubicBezTo>
                <a:cubicBezTo>
                  <a:pt x="601" y="307"/>
                  <a:pt x="601" y="307"/>
                  <a:pt x="601" y="307"/>
                </a:cubicBezTo>
                <a:cubicBezTo>
                  <a:pt x="600" y="307"/>
                  <a:pt x="600" y="307"/>
                  <a:pt x="600" y="307"/>
                </a:cubicBezTo>
                <a:cubicBezTo>
                  <a:pt x="600" y="307"/>
                  <a:pt x="600" y="307"/>
                  <a:pt x="600" y="307"/>
                </a:cubicBezTo>
                <a:cubicBezTo>
                  <a:pt x="600" y="307"/>
                  <a:pt x="600" y="307"/>
                  <a:pt x="600" y="307"/>
                </a:cubicBezTo>
                <a:cubicBezTo>
                  <a:pt x="600" y="307"/>
                  <a:pt x="600" y="307"/>
                  <a:pt x="600" y="307"/>
                </a:cubicBezTo>
                <a:cubicBezTo>
                  <a:pt x="599" y="307"/>
                  <a:pt x="599" y="307"/>
                  <a:pt x="599" y="306"/>
                </a:cubicBezTo>
                <a:cubicBezTo>
                  <a:pt x="599" y="306"/>
                  <a:pt x="599" y="306"/>
                  <a:pt x="599" y="306"/>
                </a:cubicBezTo>
                <a:cubicBezTo>
                  <a:pt x="599" y="306"/>
                  <a:pt x="599" y="306"/>
                  <a:pt x="599" y="306"/>
                </a:cubicBezTo>
                <a:cubicBezTo>
                  <a:pt x="599" y="306"/>
                  <a:pt x="599" y="306"/>
                  <a:pt x="599" y="306"/>
                </a:cubicBezTo>
                <a:cubicBezTo>
                  <a:pt x="598" y="306"/>
                  <a:pt x="598" y="306"/>
                  <a:pt x="598" y="306"/>
                </a:cubicBezTo>
                <a:cubicBezTo>
                  <a:pt x="598" y="306"/>
                  <a:pt x="598" y="306"/>
                  <a:pt x="598" y="306"/>
                </a:cubicBezTo>
                <a:cubicBezTo>
                  <a:pt x="599" y="305"/>
                  <a:pt x="599" y="305"/>
                  <a:pt x="599" y="305"/>
                </a:cubicBezTo>
                <a:cubicBezTo>
                  <a:pt x="599" y="303"/>
                  <a:pt x="599" y="303"/>
                  <a:pt x="599" y="303"/>
                </a:cubicBezTo>
                <a:cubicBezTo>
                  <a:pt x="599" y="303"/>
                  <a:pt x="599" y="303"/>
                  <a:pt x="599" y="303"/>
                </a:cubicBezTo>
                <a:cubicBezTo>
                  <a:pt x="600" y="302"/>
                  <a:pt x="600" y="302"/>
                  <a:pt x="600" y="302"/>
                </a:cubicBezTo>
                <a:cubicBezTo>
                  <a:pt x="600" y="302"/>
                  <a:pt x="600" y="302"/>
                  <a:pt x="600" y="302"/>
                </a:cubicBezTo>
                <a:cubicBezTo>
                  <a:pt x="600" y="302"/>
                  <a:pt x="600" y="302"/>
                  <a:pt x="600" y="302"/>
                </a:cubicBezTo>
                <a:cubicBezTo>
                  <a:pt x="600" y="302"/>
                  <a:pt x="600" y="302"/>
                  <a:pt x="600" y="302"/>
                </a:cubicBezTo>
                <a:cubicBezTo>
                  <a:pt x="600" y="302"/>
                  <a:pt x="600" y="302"/>
                  <a:pt x="600" y="302"/>
                </a:cubicBezTo>
                <a:cubicBezTo>
                  <a:pt x="600" y="302"/>
                  <a:pt x="600" y="302"/>
                  <a:pt x="600" y="302"/>
                </a:cubicBezTo>
                <a:cubicBezTo>
                  <a:pt x="600" y="302"/>
                  <a:pt x="600" y="302"/>
                  <a:pt x="600" y="302"/>
                </a:cubicBezTo>
                <a:cubicBezTo>
                  <a:pt x="600" y="302"/>
                  <a:pt x="600" y="302"/>
                  <a:pt x="600" y="302"/>
                </a:cubicBezTo>
                <a:cubicBezTo>
                  <a:pt x="600" y="302"/>
                  <a:pt x="600" y="302"/>
                  <a:pt x="600" y="302"/>
                </a:cubicBezTo>
                <a:cubicBezTo>
                  <a:pt x="600" y="302"/>
                  <a:pt x="600" y="302"/>
                  <a:pt x="600" y="302"/>
                </a:cubicBezTo>
                <a:cubicBezTo>
                  <a:pt x="600" y="302"/>
                  <a:pt x="600" y="302"/>
                  <a:pt x="600" y="302"/>
                </a:cubicBezTo>
                <a:cubicBezTo>
                  <a:pt x="600" y="301"/>
                  <a:pt x="600" y="301"/>
                  <a:pt x="600" y="301"/>
                </a:cubicBezTo>
                <a:cubicBezTo>
                  <a:pt x="600" y="299"/>
                  <a:pt x="600" y="299"/>
                  <a:pt x="600" y="299"/>
                </a:cubicBezTo>
                <a:cubicBezTo>
                  <a:pt x="599" y="293"/>
                  <a:pt x="599" y="293"/>
                  <a:pt x="599" y="293"/>
                </a:cubicBezTo>
                <a:cubicBezTo>
                  <a:pt x="599" y="291"/>
                  <a:pt x="599" y="291"/>
                  <a:pt x="599" y="291"/>
                </a:cubicBezTo>
                <a:cubicBezTo>
                  <a:pt x="598" y="290"/>
                  <a:pt x="598" y="290"/>
                  <a:pt x="598" y="290"/>
                </a:cubicBezTo>
                <a:cubicBezTo>
                  <a:pt x="598" y="290"/>
                  <a:pt x="598" y="290"/>
                  <a:pt x="598" y="290"/>
                </a:cubicBezTo>
                <a:cubicBezTo>
                  <a:pt x="598" y="290"/>
                  <a:pt x="598" y="290"/>
                  <a:pt x="598" y="290"/>
                </a:cubicBezTo>
                <a:cubicBezTo>
                  <a:pt x="598" y="290"/>
                  <a:pt x="598" y="290"/>
                  <a:pt x="598" y="290"/>
                </a:cubicBezTo>
                <a:cubicBezTo>
                  <a:pt x="598" y="290"/>
                  <a:pt x="598" y="290"/>
                  <a:pt x="598" y="290"/>
                </a:cubicBezTo>
                <a:cubicBezTo>
                  <a:pt x="598" y="290"/>
                  <a:pt x="598" y="290"/>
                  <a:pt x="598" y="290"/>
                </a:cubicBezTo>
                <a:cubicBezTo>
                  <a:pt x="598" y="290"/>
                  <a:pt x="598" y="290"/>
                  <a:pt x="598" y="290"/>
                </a:cubicBezTo>
                <a:cubicBezTo>
                  <a:pt x="598" y="290"/>
                  <a:pt x="598" y="290"/>
                  <a:pt x="597" y="289"/>
                </a:cubicBezTo>
                <a:cubicBezTo>
                  <a:pt x="597" y="289"/>
                  <a:pt x="597" y="289"/>
                  <a:pt x="597" y="289"/>
                </a:cubicBezTo>
                <a:cubicBezTo>
                  <a:pt x="597" y="289"/>
                  <a:pt x="597" y="289"/>
                  <a:pt x="597" y="289"/>
                </a:cubicBezTo>
                <a:cubicBezTo>
                  <a:pt x="597" y="289"/>
                  <a:pt x="597" y="289"/>
                  <a:pt x="597" y="289"/>
                </a:cubicBezTo>
                <a:cubicBezTo>
                  <a:pt x="597" y="289"/>
                  <a:pt x="597" y="289"/>
                  <a:pt x="597" y="289"/>
                </a:cubicBezTo>
                <a:cubicBezTo>
                  <a:pt x="597" y="289"/>
                  <a:pt x="597" y="289"/>
                  <a:pt x="597" y="289"/>
                </a:cubicBezTo>
                <a:cubicBezTo>
                  <a:pt x="597" y="289"/>
                  <a:pt x="597" y="289"/>
                  <a:pt x="597" y="289"/>
                </a:cubicBezTo>
                <a:cubicBezTo>
                  <a:pt x="597" y="289"/>
                  <a:pt x="597" y="289"/>
                  <a:pt x="597" y="289"/>
                </a:cubicBezTo>
                <a:cubicBezTo>
                  <a:pt x="597" y="289"/>
                  <a:pt x="597" y="289"/>
                  <a:pt x="597" y="289"/>
                </a:cubicBezTo>
                <a:cubicBezTo>
                  <a:pt x="597" y="289"/>
                  <a:pt x="597" y="289"/>
                  <a:pt x="597" y="289"/>
                </a:cubicBezTo>
                <a:cubicBezTo>
                  <a:pt x="597" y="288"/>
                  <a:pt x="597" y="288"/>
                  <a:pt x="597" y="288"/>
                </a:cubicBezTo>
                <a:cubicBezTo>
                  <a:pt x="598" y="286"/>
                  <a:pt x="598" y="286"/>
                  <a:pt x="598" y="286"/>
                </a:cubicBezTo>
                <a:cubicBezTo>
                  <a:pt x="599" y="282"/>
                  <a:pt x="599" y="282"/>
                  <a:pt x="599" y="282"/>
                </a:cubicBezTo>
                <a:cubicBezTo>
                  <a:pt x="599" y="280"/>
                  <a:pt x="599" y="280"/>
                  <a:pt x="599" y="280"/>
                </a:cubicBezTo>
                <a:cubicBezTo>
                  <a:pt x="599" y="276"/>
                  <a:pt x="599" y="276"/>
                  <a:pt x="599" y="276"/>
                </a:cubicBezTo>
                <a:cubicBezTo>
                  <a:pt x="594" y="276"/>
                  <a:pt x="594" y="276"/>
                  <a:pt x="594" y="276"/>
                </a:cubicBezTo>
                <a:cubicBezTo>
                  <a:pt x="594" y="276"/>
                  <a:pt x="594" y="276"/>
                  <a:pt x="594" y="276"/>
                </a:cubicBezTo>
                <a:cubicBezTo>
                  <a:pt x="593" y="275"/>
                  <a:pt x="593" y="275"/>
                  <a:pt x="593" y="275"/>
                </a:cubicBezTo>
                <a:cubicBezTo>
                  <a:pt x="593" y="275"/>
                  <a:pt x="593" y="275"/>
                  <a:pt x="593" y="275"/>
                </a:cubicBezTo>
                <a:cubicBezTo>
                  <a:pt x="593" y="275"/>
                  <a:pt x="593" y="275"/>
                  <a:pt x="593" y="275"/>
                </a:cubicBezTo>
                <a:cubicBezTo>
                  <a:pt x="592" y="275"/>
                  <a:pt x="592" y="275"/>
                  <a:pt x="592" y="275"/>
                </a:cubicBezTo>
                <a:cubicBezTo>
                  <a:pt x="592" y="275"/>
                  <a:pt x="592" y="275"/>
                  <a:pt x="592" y="275"/>
                </a:cubicBezTo>
                <a:cubicBezTo>
                  <a:pt x="592" y="275"/>
                  <a:pt x="592" y="275"/>
                  <a:pt x="592" y="275"/>
                </a:cubicBezTo>
                <a:cubicBezTo>
                  <a:pt x="592" y="275"/>
                  <a:pt x="592" y="275"/>
                  <a:pt x="592" y="275"/>
                </a:cubicBezTo>
                <a:cubicBezTo>
                  <a:pt x="592" y="276"/>
                  <a:pt x="592" y="276"/>
                  <a:pt x="592" y="276"/>
                </a:cubicBezTo>
                <a:cubicBezTo>
                  <a:pt x="592" y="276"/>
                  <a:pt x="592" y="276"/>
                  <a:pt x="592" y="276"/>
                </a:cubicBezTo>
                <a:cubicBezTo>
                  <a:pt x="592" y="276"/>
                  <a:pt x="592" y="276"/>
                  <a:pt x="592" y="276"/>
                </a:cubicBezTo>
                <a:cubicBezTo>
                  <a:pt x="592" y="276"/>
                  <a:pt x="592" y="276"/>
                  <a:pt x="592" y="276"/>
                </a:cubicBezTo>
                <a:cubicBezTo>
                  <a:pt x="592" y="276"/>
                  <a:pt x="592" y="276"/>
                  <a:pt x="592" y="276"/>
                </a:cubicBezTo>
                <a:cubicBezTo>
                  <a:pt x="592" y="275"/>
                  <a:pt x="592" y="275"/>
                  <a:pt x="592" y="275"/>
                </a:cubicBezTo>
                <a:cubicBezTo>
                  <a:pt x="592" y="275"/>
                  <a:pt x="592" y="275"/>
                  <a:pt x="592" y="275"/>
                </a:cubicBezTo>
                <a:cubicBezTo>
                  <a:pt x="592" y="275"/>
                  <a:pt x="592" y="275"/>
                  <a:pt x="592" y="275"/>
                </a:cubicBezTo>
                <a:cubicBezTo>
                  <a:pt x="592" y="274"/>
                  <a:pt x="592" y="274"/>
                  <a:pt x="592" y="274"/>
                </a:cubicBezTo>
                <a:cubicBezTo>
                  <a:pt x="592" y="274"/>
                  <a:pt x="592" y="274"/>
                  <a:pt x="592" y="274"/>
                </a:cubicBezTo>
                <a:cubicBezTo>
                  <a:pt x="592" y="274"/>
                  <a:pt x="592" y="274"/>
                  <a:pt x="592" y="274"/>
                </a:cubicBezTo>
                <a:cubicBezTo>
                  <a:pt x="592" y="274"/>
                  <a:pt x="592" y="274"/>
                  <a:pt x="592" y="274"/>
                </a:cubicBezTo>
                <a:cubicBezTo>
                  <a:pt x="591" y="274"/>
                  <a:pt x="591" y="274"/>
                  <a:pt x="591" y="274"/>
                </a:cubicBezTo>
                <a:cubicBezTo>
                  <a:pt x="591" y="274"/>
                  <a:pt x="591" y="274"/>
                  <a:pt x="591" y="274"/>
                </a:cubicBezTo>
                <a:cubicBezTo>
                  <a:pt x="589" y="274"/>
                  <a:pt x="589" y="274"/>
                  <a:pt x="589" y="274"/>
                </a:cubicBezTo>
                <a:cubicBezTo>
                  <a:pt x="588" y="274"/>
                  <a:pt x="588" y="274"/>
                  <a:pt x="588" y="274"/>
                </a:cubicBezTo>
                <a:cubicBezTo>
                  <a:pt x="588" y="274"/>
                  <a:pt x="588" y="274"/>
                  <a:pt x="588" y="274"/>
                </a:cubicBezTo>
                <a:cubicBezTo>
                  <a:pt x="588" y="274"/>
                  <a:pt x="588" y="274"/>
                  <a:pt x="588" y="274"/>
                </a:cubicBezTo>
                <a:cubicBezTo>
                  <a:pt x="587" y="274"/>
                  <a:pt x="587" y="274"/>
                  <a:pt x="587" y="274"/>
                </a:cubicBezTo>
                <a:cubicBezTo>
                  <a:pt x="587" y="274"/>
                  <a:pt x="587" y="274"/>
                  <a:pt x="587" y="274"/>
                </a:cubicBezTo>
                <a:cubicBezTo>
                  <a:pt x="587" y="274"/>
                  <a:pt x="587" y="274"/>
                  <a:pt x="587" y="274"/>
                </a:cubicBezTo>
                <a:cubicBezTo>
                  <a:pt x="587" y="274"/>
                  <a:pt x="587" y="274"/>
                  <a:pt x="587" y="274"/>
                </a:cubicBezTo>
                <a:cubicBezTo>
                  <a:pt x="587" y="274"/>
                  <a:pt x="587" y="274"/>
                  <a:pt x="587" y="274"/>
                </a:cubicBezTo>
                <a:cubicBezTo>
                  <a:pt x="586" y="274"/>
                  <a:pt x="586" y="274"/>
                  <a:pt x="586" y="274"/>
                </a:cubicBezTo>
                <a:cubicBezTo>
                  <a:pt x="586" y="274"/>
                  <a:pt x="586" y="274"/>
                  <a:pt x="586" y="274"/>
                </a:cubicBezTo>
                <a:cubicBezTo>
                  <a:pt x="586" y="274"/>
                  <a:pt x="586" y="274"/>
                  <a:pt x="586" y="274"/>
                </a:cubicBezTo>
                <a:cubicBezTo>
                  <a:pt x="586" y="274"/>
                  <a:pt x="586" y="274"/>
                  <a:pt x="586" y="274"/>
                </a:cubicBezTo>
                <a:cubicBezTo>
                  <a:pt x="586" y="274"/>
                  <a:pt x="586" y="274"/>
                  <a:pt x="586" y="274"/>
                </a:cubicBezTo>
                <a:cubicBezTo>
                  <a:pt x="585" y="274"/>
                  <a:pt x="585" y="274"/>
                  <a:pt x="585" y="274"/>
                </a:cubicBezTo>
                <a:cubicBezTo>
                  <a:pt x="585" y="274"/>
                  <a:pt x="585" y="274"/>
                  <a:pt x="585" y="274"/>
                </a:cubicBezTo>
                <a:cubicBezTo>
                  <a:pt x="584" y="274"/>
                  <a:pt x="584" y="274"/>
                  <a:pt x="584" y="274"/>
                </a:cubicBezTo>
                <a:cubicBezTo>
                  <a:pt x="584" y="274"/>
                  <a:pt x="584" y="274"/>
                  <a:pt x="584" y="274"/>
                </a:cubicBezTo>
                <a:cubicBezTo>
                  <a:pt x="584" y="274"/>
                  <a:pt x="584" y="274"/>
                  <a:pt x="584" y="274"/>
                </a:cubicBezTo>
                <a:cubicBezTo>
                  <a:pt x="584" y="274"/>
                  <a:pt x="584" y="274"/>
                  <a:pt x="584" y="274"/>
                </a:cubicBezTo>
                <a:cubicBezTo>
                  <a:pt x="584" y="274"/>
                  <a:pt x="584" y="274"/>
                  <a:pt x="584" y="274"/>
                </a:cubicBezTo>
                <a:cubicBezTo>
                  <a:pt x="584" y="274"/>
                  <a:pt x="584" y="274"/>
                  <a:pt x="584" y="274"/>
                </a:cubicBezTo>
                <a:cubicBezTo>
                  <a:pt x="584" y="274"/>
                  <a:pt x="584" y="274"/>
                  <a:pt x="584" y="274"/>
                </a:cubicBezTo>
                <a:cubicBezTo>
                  <a:pt x="584" y="274"/>
                  <a:pt x="584" y="274"/>
                  <a:pt x="584" y="274"/>
                </a:cubicBezTo>
                <a:cubicBezTo>
                  <a:pt x="584" y="274"/>
                  <a:pt x="584" y="274"/>
                  <a:pt x="584" y="274"/>
                </a:cubicBezTo>
                <a:cubicBezTo>
                  <a:pt x="584" y="274"/>
                  <a:pt x="584" y="274"/>
                  <a:pt x="584" y="274"/>
                </a:cubicBezTo>
                <a:cubicBezTo>
                  <a:pt x="584" y="274"/>
                  <a:pt x="584" y="274"/>
                  <a:pt x="584" y="274"/>
                </a:cubicBezTo>
                <a:cubicBezTo>
                  <a:pt x="584" y="274"/>
                  <a:pt x="584" y="274"/>
                  <a:pt x="584" y="274"/>
                </a:cubicBezTo>
                <a:cubicBezTo>
                  <a:pt x="585" y="274"/>
                  <a:pt x="585" y="274"/>
                  <a:pt x="585" y="274"/>
                </a:cubicBezTo>
                <a:cubicBezTo>
                  <a:pt x="585" y="274"/>
                  <a:pt x="585" y="274"/>
                  <a:pt x="585" y="274"/>
                </a:cubicBezTo>
                <a:cubicBezTo>
                  <a:pt x="585" y="274"/>
                  <a:pt x="585" y="274"/>
                  <a:pt x="585" y="274"/>
                </a:cubicBezTo>
                <a:cubicBezTo>
                  <a:pt x="585" y="275"/>
                  <a:pt x="585" y="275"/>
                  <a:pt x="585" y="275"/>
                </a:cubicBezTo>
                <a:cubicBezTo>
                  <a:pt x="585" y="275"/>
                  <a:pt x="585" y="275"/>
                  <a:pt x="585" y="275"/>
                </a:cubicBezTo>
                <a:cubicBezTo>
                  <a:pt x="585" y="275"/>
                  <a:pt x="585" y="275"/>
                  <a:pt x="585" y="275"/>
                </a:cubicBezTo>
                <a:cubicBezTo>
                  <a:pt x="585" y="275"/>
                  <a:pt x="585" y="275"/>
                  <a:pt x="585" y="275"/>
                </a:cubicBezTo>
                <a:cubicBezTo>
                  <a:pt x="585" y="275"/>
                  <a:pt x="585" y="275"/>
                  <a:pt x="585" y="275"/>
                </a:cubicBezTo>
                <a:cubicBezTo>
                  <a:pt x="585" y="275"/>
                  <a:pt x="585" y="275"/>
                  <a:pt x="585" y="275"/>
                </a:cubicBezTo>
                <a:cubicBezTo>
                  <a:pt x="585" y="275"/>
                  <a:pt x="585" y="275"/>
                  <a:pt x="585" y="275"/>
                </a:cubicBezTo>
                <a:cubicBezTo>
                  <a:pt x="585" y="275"/>
                  <a:pt x="585" y="275"/>
                  <a:pt x="585" y="275"/>
                </a:cubicBezTo>
                <a:cubicBezTo>
                  <a:pt x="585" y="275"/>
                  <a:pt x="585" y="275"/>
                  <a:pt x="585" y="275"/>
                </a:cubicBezTo>
                <a:cubicBezTo>
                  <a:pt x="585" y="275"/>
                  <a:pt x="585" y="275"/>
                  <a:pt x="585" y="275"/>
                </a:cubicBezTo>
                <a:cubicBezTo>
                  <a:pt x="585" y="275"/>
                  <a:pt x="585" y="275"/>
                  <a:pt x="585" y="275"/>
                </a:cubicBezTo>
                <a:cubicBezTo>
                  <a:pt x="585" y="275"/>
                  <a:pt x="585" y="275"/>
                  <a:pt x="585" y="275"/>
                </a:cubicBezTo>
                <a:cubicBezTo>
                  <a:pt x="585" y="275"/>
                  <a:pt x="585" y="275"/>
                  <a:pt x="585" y="275"/>
                </a:cubicBezTo>
                <a:cubicBezTo>
                  <a:pt x="585" y="275"/>
                  <a:pt x="585" y="275"/>
                  <a:pt x="585" y="275"/>
                </a:cubicBezTo>
                <a:cubicBezTo>
                  <a:pt x="585" y="275"/>
                  <a:pt x="585" y="275"/>
                  <a:pt x="585" y="275"/>
                </a:cubicBezTo>
                <a:cubicBezTo>
                  <a:pt x="585" y="275"/>
                  <a:pt x="585" y="275"/>
                  <a:pt x="585" y="275"/>
                </a:cubicBezTo>
                <a:cubicBezTo>
                  <a:pt x="585" y="276"/>
                  <a:pt x="585" y="276"/>
                  <a:pt x="585" y="276"/>
                </a:cubicBezTo>
                <a:cubicBezTo>
                  <a:pt x="585" y="275"/>
                  <a:pt x="585" y="275"/>
                  <a:pt x="585" y="275"/>
                </a:cubicBezTo>
                <a:cubicBezTo>
                  <a:pt x="584" y="275"/>
                  <a:pt x="584" y="275"/>
                  <a:pt x="584" y="275"/>
                </a:cubicBezTo>
                <a:cubicBezTo>
                  <a:pt x="581" y="274"/>
                  <a:pt x="581" y="274"/>
                  <a:pt x="581" y="274"/>
                </a:cubicBezTo>
                <a:cubicBezTo>
                  <a:pt x="580" y="274"/>
                  <a:pt x="580" y="274"/>
                  <a:pt x="580" y="274"/>
                </a:cubicBezTo>
                <a:cubicBezTo>
                  <a:pt x="580" y="274"/>
                  <a:pt x="580" y="274"/>
                  <a:pt x="580" y="274"/>
                </a:cubicBezTo>
                <a:cubicBezTo>
                  <a:pt x="579" y="274"/>
                  <a:pt x="579" y="273"/>
                  <a:pt x="578" y="273"/>
                </a:cubicBezTo>
                <a:cubicBezTo>
                  <a:pt x="578" y="273"/>
                  <a:pt x="578" y="273"/>
                  <a:pt x="578" y="273"/>
                </a:cubicBezTo>
                <a:cubicBezTo>
                  <a:pt x="578" y="273"/>
                  <a:pt x="578" y="273"/>
                  <a:pt x="578" y="273"/>
                </a:cubicBezTo>
                <a:cubicBezTo>
                  <a:pt x="578" y="273"/>
                  <a:pt x="578" y="273"/>
                  <a:pt x="578" y="273"/>
                </a:cubicBezTo>
                <a:cubicBezTo>
                  <a:pt x="578" y="273"/>
                  <a:pt x="578" y="273"/>
                  <a:pt x="578" y="273"/>
                </a:cubicBezTo>
                <a:cubicBezTo>
                  <a:pt x="578" y="273"/>
                  <a:pt x="578" y="273"/>
                  <a:pt x="578" y="273"/>
                </a:cubicBezTo>
                <a:cubicBezTo>
                  <a:pt x="578" y="273"/>
                  <a:pt x="578" y="273"/>
                  <a:pt x="578" y="273"/>
                </a:cubicBezTo>
                <a:cubicBezTo>
                  <a:pt x="577" y="274"/>
                  <a:pt x="577" y="273"/>
                  <a:pt x="576" y="274"/>
                </a:cubicBezTo>
                <a:cubicBezTo>
                  <a:pt x="576" y="274"/>
                  <a:pt x="576" y="274"/>
                  <a:pt x="576" y="274"/>
                </a:cubicBezTo>
                <a:cubicBezTo>
                  <a:pt x="576" y="274"/>
                  <a:pt x="576" y="274"/>
                  <a:pt x="576" y="274"/>
                </a:cubicBezTo>
                <a:cubicBezTo>
                  <a:pt x="576" y="274"/>
                  <a:pt x="576" y="274"/>
                  <a:pt x="576" y="274"/>
                </a:cubicBezTo>
                <a:cubicBezTo>
                  <a:pt x="574" y="274"/>
                  <a:pt x="573" y="274"/>
                  <a:pt x="572" y="274"/>
                </a:cubicBezTo>
                <a:cubicBezTo>
                  <a:pt x="571" y="273"/>
                  <a:pt x="571" y="273"/>
                  <a:pt x="571" y="273"/>
                </a:cubicBezTo>
                <a:cubicBezTo>
                  <a:pt x="571" y="273"/>
                  <a:pt x="571" y="273"/>
                  <a:pt x="571" y="273"/>
                </a:cubicBezTo>
                <a:cubicBezTo>
                  <a:pt x="571" y="273"/>
                  <a:pt x="571" y="273"/>
                  <a:pt x="571" y="273"/>
                </a:cubicBezTo>
                <a:cubicBezTo>
                  <a:pt x="571" y="273"/>
                  <a:pt x="571" y="273"/>
                  <a:pt x="571" y="273"/>
                </a:cubicBezTo>
                <a:cubicBezTo>
                  <a:pt x="570" y="273"/>
                  <a:pt x="569" y="274"/>
                  <a:pt x="568" y="275"/>
                </a:cubicBezTo>
                <a:cubicBezTo>
                  <a:pt x="568" y="275"/>
                  <a:pt x="568" y="275"/>
                  <a:pt x="568" y="275"/>
                </a:cubicBezTo>
                <a:cubicBezTo>
                  <a:pt x="568" y="275"/>
                  <a:pt x="568" y="275"/>
                  <a:pt x="568" y="275"/>
                </a:cubicBezTo>
                <a:cubicBezTo>
                  <a:pt x="568" y="275"/>
                  <a:pt x="568" y="275"/>
                  <a:pt x="568" y="275"/>
                </a:cubicBezTo>
                <a:cubicBezTo>
                  <a:pt x="568" y="275"/>
                  <a:pt x="568" y="275"/>
                  <a:pt x="567" y="276"/>
                </a:cubicBezTo>
                <a:cubicBezTo>
                  <a:pt x="567" y="276"/>
                  <a:pt x="567" y="276"/>
                  <a:pt x="567" y="276"/>
                </a:cubicBezTo>
                <a:cubicBezTo>
                  <a:pt x="567" y="276"/>
                  <a:pt x="567" y="276"/>
                  <a:pt x="567" y="276"/>
                </a:cubicBezTo>
                <a:cubicBezTo>
                  <a:pt x="567" y="277"/>
                  <a:pt x="567" y="277"/>
                  <a:pt x="567" y="277"/>
                </a:cubicBezTo>
                <a:cubicBezTo>
                  <a:pt x="567" y="278"/>
                  <a:pt x="567" y="278"/>
                  <a:pt x="567" y="278"/>
                </a:cubicBezTo>
                <a:cubicBezTo>
                  <a:pt x="567" y="278"/>
                  <a:pt x="567" y="278"/>
                  <a:pt x="567" y="278"/>
                </a:cubicBezTo>
                <a:cubicBezTo>
                  <a:pt x="567" y="278"/>
                  <a:pt x="567" y="278"/>
                  <a:pt x="567" y="278"/>
                </a:cubicBezTo>
                <a:cubicBezTo>
                  <a:pt x="567" y="278"/>
                  <a:pt x="567" y="278"/>
                  <a:pt x="567" y="278"/>
                </a:cubicBezTo>
                <a:cubicBezTo>
                  <a:pt x="566" y="277"/>
                  <a:pt x="566" y="277"/>
                  <a:pt x="566" y="277"/>
                </a:cubicBezTo>
                <a:cubicBezTo>
                  <a:pt x="566" y="277"/>
                  <a:pt x="566" y="277"/>
                  <a:pt x="566" y="277"/>
                </a:cubicBezTo>
                <a:cubicBezTo>
                  <a:pt x="567" y="277"/>
                  <a:pt x="567" y="277"/>
                  <a:pt x="567" y="277"/>
                </a:cubicBezTo>
                <a:cubicBezTo>
                  <a:pt x="567" y="276"/>
                  <a:pt x="567" y="276"/>
                  <a:pt x="567" y="276"/>
                </a:cubicBezTo>
                <a:cubicBezTo>
                  <a:pt x="567" y="276"/>
                  <a:pt x="567" y="276"/>
                  <a:pt x="567" y="276"/>
                </a:cubicBezTo>
                <a:cubicBezTo>
                  <a:pt x="567" y="276"/>
                  <a:pt x="567" y="276"/>
                  <a:pt x="567" y="276"/>
                </a:cubicBezTo>
                <a:cubicBezTo>
                  <a:pt x="567" y="276"/>
                  <a:pt x="567" y="276"/>
                  <a:pt x="567" y="276"/>
                </a:cubicBezTo>
                <a:cubicBezTo>
                  <a:pt x="567" y="276"/>
                  <a:pt x="567" y="276"/>
                  <a:pt x="567" y="276"/>
                </a:cubicBezTo>
                <a:cubicBezTo>
                  <a:pt x="567" y="276"/>
                  <a:pt x="567" y="276"/>
                  <a:pt x="567" y="276"/>
                </a:cubicBezTo>
                <a:cubicBezTo>
                  <a:pt x="567" y="276"/>
                  <a:pt x="567" y="276"/>
                  <a:pt x="567" y="276"/>
                </a:cubicBezTo>
                <a:cubicBezTo>
                  <a:pt x="567" y="276"/>
                  <a:pt x="567" y="276"/>
                  <a:pt x="567" y="276"/>
                </a:cubicBezTo>
                <a:cubicBezTo>
                  <a:pt x="567" y="276"/>
                  <a:pt x="567" y="276"/>
                  <a:pt x="567" y="276"/>
                </a:cubicBezTo>
                <a:cubicBezTo>
                  <a:pt x="567" y="276"/>
                  <a:pt x="567" y="276"/>
                  <a:pt x="567" y="276"/>
                </a:cubicBezTo>
                <a:cubicBezTo>
                  <a:pt x="567" y="276"/>
                  <a:pt x="567" y="276"/>
                  <a:pt x="567" y="276"/>
                </a:cubicBezTo>
                <a:cubicBezTo>
                  <a:pt x="567" y="275"/>
                  <a:pt x="567" y="275"/>
                  <a:pt x="567" y="275"/>
                </a:cubicBezTo>
                <a:cubicBezTo>
                  <a:pt x="567" y="275"/>
                  <a:pt x="567" y="275"/>
                  <a:pt x="567" y="275"/>
                </a:cubicBezTo>
                <a:cubicBezTo>
                  <a:pt x="567" y="275"/>
                  <a:pt x="567" y="275"/>
                  <a:pt x="567" y="275"/>
                </a:cubicBezTo>
                <a:cubicBezTo>
                  <a:pt x="568" y="275"/>
                  <a:pt x="568" y="275"/>
                  <a:pt x="568" y="275"/>
                </a:cubicBezTo>
                <a:cubicBezTo>
                  <a:pt x="568" y="274"/>
                  <a:pt x="568" y="274"/>
                  <a:pt x="568" y="274"/>
                </a:cubicBezTo>
                <a:cubicBezTo>
                  <a:pt x="568" y="274"/>
                  <a:pt x="568" y="274"/>
                  <a:pt x="568" y="274"/>
                </a:cubicBezTo>
                <a:cubicBezTo>
                  <a:pt x="568" y="274"/>
                  <a:pt x="568" y="274"/>
                  <a:pt x="568" y="274"/>
                </a:cubicBezTo>
                <a:cubicBezTo>
                  <a:pt x="568" y="274"/>
                  <a:pt x="568" y="274"/>
                  <a:pt x="568" y="274"/>
                </a:cubicBezTo>
                <a:cubicBezTo>
                  <a:pt x="568" y="274"/>
                  <a:pt x="568" y="274"/>
                  <a:pt x="568" y="274"/>
                </a:cubicBezTo>
                <a:cubicBezTo>
                  <a:pt x="568" y="274"/>
                  <a:pt x="568" y="274"/>
                  <a:pt x="568" y="274"/>
                </a:cubicBezTo>
                <a:cubicBezTo>
                  <a:pt x="568" y="274"/>
                  <a:pt x="568" y="274"/>
                  <a:pt x="568" y="274"/>
                </a:cubicBezTo>
                <a:cubicBezTo>
                  <a:pt x="568" y="274"/>
                  <a:pt x="568" y="274"/>
                  <a:pt x="568" y="274"/>
                </a:cubicBezTo>
                <a:cubicBezTo>
                  <a:pt x="568" y="274"/>
                  <a:pt x="568" y="274"/>
                  <a:pt x="568" y="274"/>
                </a:cubicBezTo>
                <a:cubicBezTo>
                  <a:pt x="568" y="274"/>
                  <a:pt x="568" y="274"/>
                  <a:pt x="568" y="274"/>
                </a:cubicBezTo>
                <a:cubicBezTo>
                  <a:pt x="569" y="274"/>
                  <a:pt x="569" y="274"/>
                  <a:pt x="569" y="274"/>
                </a:cubicBezTo>
                <a:cubicBezTo>
                  <a:pt x="569" y="274"/>
                  <a:pt x="569" y="274"/>
                  <a:pt x="569" y="274"/>
                </a:cubicBezTo>
                <a:cubicBezTo>
                  <a:pt x="569" y="274"/>
                  <a:pt x="569" y="274"/>
                  <a:pt x="569" y="274"/>
                </a:cubicBezTo>
                <a:cubicBezTo>
                  <a:pt x="569" y="274"/>
                  <a:pt x="569" y="274"/>
                  <a:pt x="569" y="274"/>
                </a:cubicBezTo>
                <a:cubicBezTo>
                  <a:pt x="569" y="274"/>
                  <a:pt x="569" y="274"/>
                  <a:pt x="569" y="274"/>
                </a:cubicBezTo>
                <a:cubicBezTo>
                  <a:pt x="569" y="274"/>
                  <a:pt x="569" y="274"/>
                  <a:pt x="569" y="274"/>
                </a:cubicBezTo>
                <a:cubicBezTo>
                  <a:pt x="569" y="274"/>
                  <a:pt x="569" y="274"/>
                  <a:pt x="569" y="274"/>
                </a:cubicBezTo>
                <a:cubicBezTo>
                  <a:pt x="569" y="274"/>
                  <a:pt x="569" y="274"/>
                  <a:pt x="569" y="274"/>
                </a:cubicBezTo>
                <a:cubicBezTo>
                  <a:pt x="569" y="273"/>
                  <a:pt x="570" y="273"/>
                  <a:pt x="569" y="273"/>
                </a:cubicBezTo>
                <a:cubicBezTo>
                  <a:pt x="569" y="273"/>
                  <a:pt x="569" y="273"/>
                  <a:pt x="569" y="273"/>
                </a:cubicBezTo>
                <a:cubicBezTo>
                  <a:pt x="569" y="273"/>
                  <a:pt x="569" y="273"/>
                  <a:pt x="569" y="273"/>
                </a:cubicBezTo>
                <a:cubicBezTo>
                  <a:pt x="569" y="273"/>
                  <a:pt x="569" y="273"/>
                  <a:pt x="569" y="273"/>
                </a:cubicBezTo>
                <a:cubicBezTo>
                  <a:pt x="569" y="273"/>
                  <a:pt x="569" y="273"/>
                  <a:pt x="569" y="273"/>
                </a:cubicBezTo>
                <a:cubicBezTo>
                  <a:pt x="569" y="273"/>
                  <a:pt x="569" y="273"/>
                  <a:pt x="569" y="273"/>
                </a:cubicBezTo>
                <a:cubicBezTo>
                  <a:pt x="553" y="265"/>
                  <a:pt x="553" y="265"/>
                  <a:pt x="553" y="265"/>
                </a:cubicBezTo>
                <a:cubicBezTo>
                  <a:pt x="552" y="265"/>
                  <a:pt x="551" y="264"/>
                  <a:pt x="551" y="265"/>
                </a:cubicBezTo>
                <a:cubicBezTo>
                  <a:pt x="551" y="265"/>
                  <a:pt x="551" y="265"/>
                  <a:pt x="551" y="265"/>
                </a:cubicBezTo>
                <a:cubicBezTo>
                  <a:pt x="551" y="265"/>
                  <a:pt x="551" y="265"/>
                  <a:pt x="551" y="265"/>
                </a:cubicBezTo>
                <a:cubicBezTo>
                  <a:pt x="551" y="265"/>
                  <a:pt x="551" y="265"/>
                  <a:pt x="551" y="265"/>
                </a:cubicBezTo>
                <a:cubicBezTo>
                  <a:pt x="551" y="265"/>
                  <a:pt x="551" y="265"/>
                  <a:pt x="551" y="265"/>
                </a:cubicBezTo>
                <a:cubicBezTo>
                  <a:pt x="550" y="264"/>
                  <a:pt x="550" y="264"/>
                  <a:pt x="550" y="264"/>
                </a:cubicBezTo>
                <a:cubicBezTo>
                  <a:pt x="550" y="264"/>
                  <a:pt x="550" y="264"/>
                  <a:pt x="550" y="264"/>
                </a:cubicBezTo>
                <a:cubicBezTo>
                  <a:pt x="550" y="264"/>
                  <a:pt x="550" y="264"/>
                  <a:pt x="550" y="264"/>
                </a:cubicBezTo>
                <a:cubicBezTo>
                  <a:pt x="550" y="264"/>
                  <a:pt x="550" y="264"/>
                  <a:pt x="550" y="264"/>
                </a:cubicBezTo>
                <a:cubicBezTo>
                  <a:pt x="550" y="264"/>
                  <a:pt x="550" y="264"/>
                  <a:pt x="550" y="264"/>
                </a:cubicBezTo>
                <a:cubicBezTo>
                  <a:pt x="550" y="264"/>
                  <a:pt x="550" y="264"/>
                  <a:pt x="550" y="264"/>
                </a:cubicBezTo>
                <a:cubicBezTo>
                  <a:pt x="550" y="264"/>
                  <a:pt x="550" y="264"/>
                  <a:pt x="550" y="264"/>
                </a:cubicBezTo>
                <a:cubicBezTo>
                  <a:pt x="549" y="264"/>
                  <a:pt x="549" y="264"/>
                  <a:pt x="549" y="264"/>
                </a:cubicBezTo>
                <a:cubicBezTo>
                  <a:pt x="549" y="264"/>
                  <a:pt x="549" y="264"/>
                  <a:pt x="549" y="264"/>
                </a:cubicBezTo>
                <a:cubicBezTo>
                  <a:pt x="549" y="264"/>
                  <a:pt x="549" y="264"/>
                  <a:pt x="549" y="264"/>
                </a:cubicBezTo>
                <a:cubicBezTo>
                  <a:pt x="549" y="264"/>
                  <a:pt x="549" y="264"/>
                  <a:pt x="549" y="264"/>
                </a:cubicBezTo>
                <a:cubicBezTo>
                  <a:pt x="549" y="264"/>
                  <a:pt x="549" y="264"/>
                  <a:pt x="549" y="264"/>
                </a:cubicBezTo>
                <a:cubicBezTo>
                  <a:pt x="549" y="264"/>
                  <a:pt x="549" y="264"/>
                  <a:pt x="549" y="264"/>
                </a:cubicBezTo>
                <a:cubicBezTo>
                  <a:pt x="549" y="264"/>
                  <a:pt x="548" y="264"/>
                  <a:pt x="548" y="264"/>
                </a:cubicBezTo>
                <a:cubicBezTo>
                  <a:pt x="548" y="264"/>
                  <a:pt x="548" y="264"/>
                  <a:pt x="548" y="264"/>
                </a:cubicBezTo>
                <a:cubicBezTo>
                  <a:pt x="548" y="264"/>
                  <a:pt x="548" y="264"/>
                  <a:pt x="548" y="264"/>
                </a:cubicBezTo>
                <a:cubicBezTo>
                  <a:pt x="547" y="264"/>
                  <a:pt x="547" y="264"/>
                  <a:pt x="546" y="264"/>
                </a:cubicBezTo>
                <a:cubicBezTo>
                  <a:pt x="546" y="264"/>
                  <a:pt x="546" y="264"/>
                  <a:pt x="546" y="264"/>
                </a:cubicBezTo>
                <a:cubicBezTo>
                  <a:pt x="545" y="263"/>
                  <a:pt x="545" y="263"/>
                  <a:pt x="545" y="263"/>
                </a:cubicBezTo>
                <a:cubicBezTo>
                  <a:pt x="544" y="263"/>
                  <a:pt x="544" y="263"/>
                  <a:pt x="544" y="263"/>
                </a:cubicBezTo>
                <a:cubicBezTo>
                  <a:pt x="544" y="263"/>
                  <a:pt x="544" y="263"/>
                  <a:pt x="544" y="263"/>
                </a:cubicBezTo>
                <a:cubicBezTo>
                  <a:pt x="544" y="263"/>
                  <a:pt x="544" y="263"/>
                  <a:pt x="544" y="263"/>
                </a:cubicBezTo>
                <a:cubicBezTo>
                  <a:pt x="544" y="263"/>
                  <a:pt x="544" y="263"/>
                  <a:pt x="544" y="263"/>
                </a:cubicBezTo>
                <a:cubicBezTo>
                  <a:pt x="544" y="263"/>
                  <a:pt x="544" y="263"/>
                  <a:pt x="544" y="263"/>
                </a:cubicBezTo>
                <a:cubicBezTo>
                  <a:pt x="544" y="263"/>
                  <a:pt x="544" y="263"/>
                  <a:pt x="544" y="263"/>
                </a:cubicBezTo>
                <a:cubicBezTo>
                  <a:pt x="544" y="263"/>
                  <a:pt x="544" y="263"/>
                  <a:pt x="544" y="263"/>
                </a:cubicBezTo>
                <a:cubicBezTo>
                  <a:pt x="544" y="263"/>
                  <a:pt x="544" y="263"/>
                  <a:pt x="544" y="263"/>
                </a:cubicBezTo>
                <a:cubicBezTo>
                  <a:pt x="544" y="263"/>
                  <a:pt x="544" y="263"/>
                  <a:pt x="544" y="263"/>
                </a:cubicBezTo>
                <a:cubicBezTo>
                  <a:pt x="544" y="263"/>
                  <a:pt x="544" y="263"/>
                  <a:pt x="544" y="263"/>
                </a:cubicBezTo>
                <a:cubicBezTo>
                  <a:pt x="544" y="262"/>
                  <a:pt x="544" y="262"/>
                  <a:pt x="544" y="262"/>
                </a:cubicBezTo>
                <a:cubicBezTo>
                  <a:pt x="543" y="260"/>
                  <a:pt x="543" y="261"/>
                  <a:pt x="542" y="259"/>
                </a:cubicBezTo>
                <a:cubicBezTo>
                  <a:pt x="542" y="259"/>
                  <a:pt x="542" y="259"/>
                  <a:pt x="542" y="259"/>
                </a:cubicBezTo>
                <a:cubicBezTo>
                  <a:pt x="542" y="259"/>
                  <a:pt x="542" y="259"/>
                  <a:pt x="542" y="259"/>
                </a:cubicBezTo>
                <a:cubicBezTo>
                  <a:pt x="542" y="259"/>
                  <a:pt x="542" y="259"/>
                  <a:pt x="542" y="259"/>
                </a:cubicBezTo>
                <a:cubicBezTo>
                  <a:pt x="542" y="259"/>
                  <a:pt x="542" y="259"/>
                  <a:pt x="542" y="259"/>
                </a:cubicBezTo>
                <a:cubicBezTo>
                  <a:pt x="541" y="258"/>
                  <a:pt x="541" y="258"/>
                  <a:pt x="541" y="258"/>
                </a:cubicBezTo>
                <a:cubicBezTo>
                  <a:pt x="541" y="258"/>
                  <a:pt x="541" y="258"/>
                  <a:pt x="541" y="258"/>
                </a:cubicBezTo>
                <a:cubicBezTo>
                  <a:pt x="541" y="258"/>
                  <a:pt x="541" y="258"/>
                  <a:pt x="541" y="258"/>
                </a:cubicBezTo>
                <a:cubicBezTo>
                  <a:pt x="541" y="258"/>
                  <a:pt x="541" y="258"/>
                  <a:pt x="541" y="258"/>
                </a:cubicBezTo>
                <a:cubicBezTo>
                  <a:pt x="541" y="257"/>
                  <a:pt x="541" y="257"/>
                  <a:pt x="541" y="257"/>
                </a:cubicBezTo>
                <a:cubicBezTo>
                  <a:pt x="541" y="257"/>
                  <a:pt x="541" y="257"/>
                  <a:pt x="541" y="257"/>
                </a:cubicBezTo>
                <a:cubicBezTo>
                  <a:pt x="541" y="257"/>
                  <a:pt x="541" y="257"/>
                  <a:pt x="541" y="257"/>
                </a:cubicBezTo>
                <a:cubicBezTo>
                  <a:pt x="541" y="257"/>
                  <a:pt x="541" y="257"/>
                  <a:pt x="541" y="257"/>
                </a:cubicBezTo>
                <a:cubicBezTo>
                  <a:pt x="540" y="257"/>
                  <a:pt x="540" y="257"/>
                  <a:pt x="540" y="257"/>
                </a:cubicBezTo>
                <a:cubicBezTo>
                  <a:pt x="540" y="257"/>
                  <a:pt x="540" y="257"/>
                  <a:pt x="540" y="257"/>
                </a:cubicBezTo>
                <a:cubicBezTo>
                  <a:pt x="540" y="257"/>
                  <a:pt x="540" y="257"/>
                  <a:pt x="540" y="257"/>
                </a:cubicBezTo>
                <a:cubicBezTo>
                  <a:pt x="540" y="257"/>
                  <a:pt x="540" y="257"/>
                  <a:pt x="540" y="257"/>
                </a:cubicBezTo>
                <a:cubicBezTo>
                  <a:pt x="540" y="257"/>
                  <a:pt x="540" y="257"/>
                  <a:pt x="540" y="257"/>
                </a:cubicBezTo>
                <a:cubicBezTo>
                  <a:pt x="540" y="257"/>
                  <a:pt x="540" y="257"/>
                  <a:pt x="540" y="257"/>
                </a:cubicBezTo>
                <a:cubicBezTo>
                  <a:pt x="530" y="251"/>
                  <a:pt x="530" y="251"/>
                  <a:pt x="530" y="251"/>
                </a:cubicBezTo>
                <a:cubicBezTo>
                  <a:pt x="529" y="251"/>
                  <a:pt x="529" y="251"/>
                  <a:pt x="529" y="251"/>
                </a:cubicBezTo>
                <a:cubicBezTo>
                  <a:pt x="526" y="250"/>
                  <a:pt x="523" y="249"/>
                  <a:pt x="520" y="248"/>
                </a:cubicBezTo>
                <a:cubicBezTo>
                  <a:pt x="520" y="249"/>
                  <a:pt x="520" y="249"/>
                  <a:pt x="520" y="249"/>
                </a:cubicBezTo>
                <a:cubicBezTo>
                  <a:pt x="520" y="248"/>
                  <a:pt x="519" y="248"/>
                  <a:pt x="518" y="248"/>
                </a:cubicBezTo>
                <a:cubicBezTo>
                  <a:pt x="515" y="247"/>
                  <a:pt x="511" y="244"/>
                  <a:pt x="508" y="245"/>
                </a:cubicBezTo>
                <a:cubicBezTo>
                  <a:pt x="507" y="246"/>
                  <a:pt x="506" y="246"/>
                  <a:pt x="504" y="246"/>
                </a:cubicBezTo>
                <a:cubicBezTo>
                  <a:pt x="501" y="247"/>
                  <a:pt x="498" y="249"/>
                  <a:pt x="494" y="250"/>
                </a:cubicBezTo>
                <a:cubicBezTo>
                  <a:pt x="495" y="249"/>
                  <a:pt x="496" y="249"/>
                  <a:pt x="496" y="248"/>
                </a:cubicBezTo>
                <a:cubicBezTo>
                  <a:pt x="494" y="248"/>
                  <a:pt x="492" y="249"/>
                  <a:pt x="490" y="250"/>
                </a:cubicBezTo>
                <a:cubicBezTo>
                  <a:pt x="493" y="249"/>
                  <a:pt x="495" y="246"/>
                  <a:pt x="495" y="243"/>
                </a:cubicBezTo>
                <a:cubicBezTo>
                  <a:pt x="494" y="242"/>
                  <a:pt x="494" y="240"/>
                  <a:pt x="493" y="239"/>
                </a:cubicBezTo>
                <a:cubicBezTo>
                  <a:pt x="493" y="239"/>
                  <a:pt x="492" y="238"/>
                  <a:pt x="492" y="238"/>
                </a:cubicBezTo>
                <a:cubicBezTo>
                  <a:pt x="492" y="237"/>
                  <a:pt x="491" y="237"/>
                  <a:pt x="491" y="237"/>
                </a:cubicBezTo>
                <a:cubicBezTo>
                  <a:pt x="491" y="236"/>
                  <a:pt x="492" y="236"/>
                  <a:pt x="491" y="236"/>
                </a:cubicBezTo>
                <a:cubicBezTo>
                  <a:pt x="491" y="235"/>
                  <a:pt x="491" y="233"/>
                  <a:pt x="491" y="232"/>
                </a:cubicBezTo>
                <a:cubicBezTo>
                  <a:pt x="490" y="231"/>
                  <a:pt x="489" y="230"/>
                  <a:pt x="489" y="229"/>
                </a:cubicBezTo>
                <a:cubicBezTo>
                  <a:pt x="488" y="228"/>
                  <a:pt x="488" y="227"/>
                  <a:pt x="488" y="225"/>
                </a:cubicBezTo>
                <a:cubicBezTo>
                  <a:pt x="488" y="225"/>
                  <a:pt x="487" y="224"/>
                  <a:pt x="487" y="223"/>
                </a:cubicBezTo>
                <a:cubicBezTo>
                  <a:pt x="486" y="222"/>
                  <a:pt x="487" y="223"/>
                  <a:pt x="486" y="223"/>
                </a:cubicBezTo>
                <a:cubicBezTo>
                  <a:pt x="485" y="223"/>
                  <a:pt x="483" y="222"/>
                  <a:pt x="482" y="222"/>
                </a:cubicBezTo>
                <a:cubicBezTo>
                  <a:pt x="481" y="222"/>
                  <a:pt x="479" y="223"/>
                  <a:pt x="477" y="223"/>
                </a:cubicBezTo>
                <a:cubicBezTo>
                  <a:pt x="477" y="223"/>
                  <a:pt x="477" y="224"/>
                  <a:pt x="477" y="224"/>
                </a:cubicBezTo>
                <a:cubicBezTo>
                  <a:pt x="476" y="225"/>
                  <a:pt x="476" y="225"/>
                  <a:pt x="476" y="226"/>
                </a:cubicBezTo>
                <a:cubicBezTo>
                  <a:pt x="476" y="228"/>
                  <a:pt x="476" y="229"/>
                  <a:pt x="475" y="231"/>
                </a:cubicBezTo>
                <a:cubicBezTo>
                  <a:pt x="475" y="229"/>
                  <a:pt x="476" y="228"/>
                  <a:pt x="476" y="227"/>
                </a:cubicBezTo>
                <a:cubicBezTo>
                  <a:pt x="476" y="226"/>
                  <a:pt x="476" y="226"/>
                  <a:pt x="476" y="225"/>
                </a:cubicBezTo>
                <a:cubicBezTo>
                  <a:pt x="476" y="224"/>
                  <a:pt x="477" y="224"/>
                  <a:pt x="477" y="223"/>
                </a:cubicBezTo>
                <a:cubicBezTo>
                  <a:pt x="477" y="222"/>
                  <a:pt x="476" y="223"/>
                  <a:pt x="476" y="222"/>
                </a:cubicBezTo>
                <a:cubicBezTo>
                  <a:pt x="475" y="222"/>
                  <a:pt x="473" y="222"/>
                  <a:pt x="472" y="222"/>
                </a:cubicBezTo>
                <a:cubicBezTo>
                  <a:pt x="472" y="222"/>
                  <a:pt x="468" y="219"/>
                  <a:pt x="469" y="218"/>
                </a:cubicBezTo>
                <a:cubicBezTo>
                  <a:pt x="469" y="218"/>
                  <a:pt x="470" y="218"/>
                  <a:pt x="471" y="218"/>
                </a:cubicBezTo>
                <a:cubicBezTo>
                  <a:pt x="471" y="217"/>
                  <a:pt x="471" y="216"/>
                  <a:pt x="471" y="216"/>
                </a:cubicBezTo>
                <a:cubicBezTo>
                  <a:pt x="471" y="215"/>
                  <a:pt x="471" y="214"/>
                  <a:pt x="471" y="213"/>
                </a:cubicBezTo>
                <a:cubicBezTo>
                  <a:pt x="471" y="212"/>
                  <a:pt x="471" y="211"/>
                  <a:pt x="471" y="210"/>
                </a:cubicBezTo>
                <a:cubicBezTo>
                  <a:pt x="471" y="209"/>
                  <a:pt x="471" y="209"/>
                  <a:pt x="471" y="208"/>
                </a:cubicBezTo>
                <a:cubicBezTo>
                  <a:pt x="471" y="207"/>
                  <a:pt x="471" y="205"/>
                  <a:pt x="471" y="204"/>
                </a:cubicBezTo>
                <a:cubicBezTo>
                  <a:pt x="470" y="204"/>
                  <a:pt x="470" y="204"/>
                  <a:pt x="470" y="204"/>
                </a:cubicBezTo>
                <a:cubicBezTo>
                  <a:pt x="471" y="204"/>
                  <a:pt x="472" y="199"/>
                  <a:pt x="472" y="198"/>
                </a:cubicBezTo>
                <a:cubicBezTo>
                  <a:pt x="473" y="197"/>
                  <a:pt x="472" y="196"/>
                  <a:pt x="471" y="196"/>
                </a:cubicBezTo>
                <a:cubicBezTo>
                  <a:pt x="471" y="195"/>
                  <a:pt x="472" y="196"/>
                  <a:pt x="472" y="196"/>
                </a:cubicBezTo>
                <a:cubicBezTo>
                  <a:pt x="474" y="195"/>
                  <a:pt x="474" y="193"/>
                  <a:pt x="475" y="191"/>
                </a:cubicBezTo>
                <a:cubicBezTo>
                  <a:pt x="475" y="191"/>
                  <a:pt x="476" y="190"/>
                  <a:pt x="476" y="190"/>
                </a:cubicBezTo>
                <a:cubicBezTo>
                  <a:pt x="477" y="188"/>
                  <a:pt x="478" y="188"/>
                  <a:pt x="479" y="187"/>
                </a:cubicBezTo>
                <a:cubicBezTo>
                  <a:pt x="479" y="187"/>
                  <a:pt x="479" y="187"/>
                  <a:pt x="478" y="187"/>
                </a:cubicBezTo>
                <a:cubicBezTo>
                  <a:pt x="478" y="185"/>
                  <a:pt x="479" y="185"/>
                  <a:pt x="478" y="184"/>
                </a:cubicBezTo>
                <a:cubicBezTo>
                  <a:pt x="478" y="184"/>
                  <a:pt x="479" y="184"/>
                  <a:pt x="479" y="184"/>
                </a:cubicBezTo>
                <a:cubicBezTo>
                  <a:pt x="480" y="183"/>
                  <a:pt x="481" y="183"/>
                  <a:pt x="480" y="183"/>
                </a:cubicBezTo>
                <a:cubicBezTo>
                  <a:pt x="480" y="182"/>
                  <a:pt x="479" y="182"/>
                  <a:pt x="479" y="181"/>
                </a:cubicBezTo>
                <a:cubicBezTo>
                  <a:pt x="479" y="181"/>
                  <a:pt x="480" y="180"/>
                  <a:pt x="480" y="180"/>
                </a:cubicBezTo>
                <a:cubicBezTo>
                  <a:pt x="481" y="179"/>
                  <a:pt x="481" y="180"/>
                  <a:pt x="481" y="180"/>
                </a:cubicBezTo>
                <a:cubicBezTo>
                  <a:pt x="481" y="180"/>
                  <a:pt x="482" y="179"/>
                  <a:pt x="482" y="179"/>
                </a:cubicBezTo>
                <a:cubicBezTo>
                  <a:pt x="483" y="178"/>
                  <a:pt x="485" y="178"/>
                  <a:pt x="486" y="177"/>
                </a:cubicBezTo>
                <a:cubicBezTo>
                  <a:pt x="485" y="177"/>
                  <a:pt x="485" y="177"/>
                  <a:pt x="484" y="177"/>
                </a:cubicBezTo>
                <a:cubicBezTo>
                  <a:pt x="485" y="177"/>
                  <a:pt x="486" y="177"/>
                  <a:pt x="487" y="176"/>
                </a:cubicBezTo>
                <a:cubicBezTo>
                  <a:pt x="487" y="176"/>
                  <a:pt x="485" y="177"/>
                  <a:pt x="485" y="176"/>
                </a:cubicBezTo>
                <a:cubicBezTo>
                  <a:pt x="485" y="176"/>
                  <a:pt x="484" y="176"/>
                  <a:pt x="484" y="175"/>
                </a:cubicBezTo>
                <a:cubicBezTo>
                  <a:pt x="484" y="175"/>
                  <a:pt x="484" y="175"/>
                  <a:pt x="484" y="175"/>
                </a:cubicBezTo>
                <a:cubicBezTo>
                  <a:pt x="484" y="174"/>
                  <a:pt x="483" y="174"/>
                  <a:pt x="483" y="174"/>
                </a:cubicBezTo>
                <a:cubicBezTo>
                  <a:pt x="484" y="174"/>
                  <a:pt x="485" y="174"/>
                  <a:pt x="486" y="175"/>
                </a:cubicBezTo>
                <a:cubicBezTo>
                  <a:pt x="486" y="174"/>
                  <a:pt x="485" y="174"/>
                  <a:pt x="485" y="174"/>
                </a:cubicBezTo>
                <a:cubicBezTo>
                  <a:pt x="486" y="174"/>
                  <a:pt x="486" y="174"/>
                  <a:pt x="487" y="174"/>
                </a:cubicBezTo>
                <a:cubicBezTo>
                  <a:pt x="486" y="173"/>
                  <a:pt x="485" y="173"/>
                  <a:pt x="485" y="172"/>
                </a:cubicBezTo>
                <a:cubicBezTo>
                  <a:pt x="486" y="172"/>
                  <a:pt x="486" y="172"/>
                  <a:pt x="487" y="173"/>
                </a:cubicBezTo>
                <a:cubicBezTo>
                  <a:pt x="487" y="172"/>
                  <a:pt x="489" y="172"/>
                  <a:pt x="490" y="171"/>
                </a:cubicBezTo>
                <a:cubicBezTo>
                  <a:pt x="488" y="171"/>
                  <a:pt x="487" y="170"/>
                  <a:pt x="489" y="170"/>
                </a:cubicBezTo>
                <a:cubicBezTo>
                  <a:pt x="490" y="170"/>
                  <a:pt x="492" y="170"/>
                  <a:pt x="491" y="169"/>
                </a:cubicBezTo>
                <a:cubicBezTo>
                  <a:pt x="490" y="168"/>
                  <a:pt x="488" y="168"/>
                  <a:pt x="487" y="167"/>
                </a:cubicBezTo>
                <a:cubicBezTo>
                  <a:pt x="488" y="168"/>
                  <a:pt x="490" y="168"/>
                  <a:pt x="491" y="168"/>
                </a:cubicBezTo>
                <a:cubicBezTo>
                  <a:pt x="492" y="169"/>
                  <a:pt x="493" y="171"/>
                  <a:pt x="494" y="170"/>
                </a:cubicBezTo>
                <a:cubicBezTo>
                  <a:pt x="493" y="170"/>
                  <a:pt x="493" y="169"/>
                  <a:pt x="493" y="168"/>
                </a:cubicBezTo>
                <a:cubicBezTo>
                  <a:pt x="493" y="167"/>
                  <a:pt x="490" y="167"/>
                  <a:pt x="492" y="166"/>
                </a:cubicBezTo>
                <a:cubicBezTo>
                  <a:pt x="493" y="165"/>
                  <a:pt x="494" y="166"/>
                  <a:pt x="494" y="165"/>
                </a:cubicBezTo>
                <a:cubicBezTo>
                  <a:pt x="493" y="165"/>
                  <a:pt x="493" y="164"/>
                  <a:pt x="493" y="163"/>
                </a:cubicBezTo>
                <a:cubicBezTo>
                  <a:pt x="493" y="163"/>
                  <a:pt x="494" y="164"/>
                  <a:pt x="494" y="164"/>
                </a:cubicBezTo>
                <a:cubicBezTo>
                  <a:pt x="495" y="163"/>
                  <a:pt x="494" y="164"/>
                  <a:pt x="495" y="164"/>
                </a:cubicBezTo>
                <a:cubicBezTo>
                  <a:pt x="496" y="165"/>
                  <a:pt x="496" y="163"/>
                  <a:pt x="497" y="163"/>
                </a:cubicBezTo>
                <a:cubicBezTo>
                  <a:pt x="497" y="163"/>
                  <a:pt x="497" y="164"/>
                  <a:pt x="498" y="164"/>
                </a:cubicBezTo>
                <a:cubicBezTo>
                  <a:pt x="498" y="164"/>
                  <a:pt x="500" y="164"/>
                  <a:pt x="500" y="163"/>
                </a:cubicBezTo>
                <a:cubicBezTo>
                  <a:pt x="500" y="162"/>
                  <a:pt x="499" y="163"/>
                  <a:pt x="498" y="163"/>
                </a:cubicBezTo>
                <a:cubicBezTo>
                  <a:pt x="497" y="162"/>
                  <a:pt x="493" y="160"/>
                  <a:pt x="496" y="160"/>
                </a:cubicBezTo>
                <a:cubicBezTo>
                  <a:pt x="497" y="160"/>
                  <a:pt x="498" y="159"/>
                  <a:pt x="499" y="159"/>
                </a:cubicBezTo>
                <a:cubicBezTo>
                  <a:pt x="500" y="160"/>
                  <a:pt x="501" y="160"/>
                  <a:pt x="502" y="160"/>
                </a:cubicBezTo>
                <a:cubicBezTo>
                  <a:pt x="503" y="160"/>
                  <a:pt x="505" y="161"/>
                  <a:pt x="506" y="160"/>
                </a:cubicBezTo>
                <a:cubicBezTo>
                  <a:pt x="507" y="159"/>
                  <a:pt x="507" y="159"/>
                  <a:pt x="508" y="158"/>
                </a:cubicBezTo>
                <a:cubicBezTo>
                  <a:pt x="509" y="158"/>
                  <a:pt x="509" y="158"/>
                  <a:pt x="510" y="158"/>
                </a:cubicBezTo>
                <a:cubicBezTo>
                  <a:pt x="511" y="157"/>
                  <a:pt x="513" y="157"/>
                  <a:pt x="513" y="156"/>
                </a:cubicBezTo>
                <a:cubicBezTo>
                  <a:pt x="513" y="155"/>
                  <a:pt x="513" y="154"/>
                  <a:pt x="513" y="153"/>
                </a:cubicBezTo>
                <a:cubicBezTo>
                  <a:pt x="512" y="152"/>
                  <a:pt x="513" y="152"/>
                  <a:pt x="512" y="151"/>
                </a:cubicBezTo>
                <a:cubicBezTo>
                  <a:pt x="511" y="151"/>
                  <a:pt x="511" y="151"/>
                  <a:pt x="510" y="150"/>
                </a:cubicBezTo>
                <a:cubicBezTo>
                  <a:pt x="510" y="150"/>
                  <a:pt x="511" y="151"/>
                  <a:pt x="511" y="151"/>
                </a:cubicBezTo>
                <a:cubicBezTo>
                  <a:pt x="510" y="150"/>
                  <a:pt x="509" y="149"/>
                  <a:pt x="507" y="149"/>
                </a:cubicBezTo>
                <a:cubicBezTo>
                  <a:pt x="506" y="149"/>
                  <a:pt x="506" y="149"/>
                  <a:pt x="506" y="149"/>
                </a:cubicBezTo>
                <a:cubicBezTo>
                  <a:pt x="506" y="149"/>
                  <a:pt x="505" y="148"/>
                  <a:pt x="505" y="148"/>
                </a:cubicBezTo>
                <a:cubicBezTo>
                  <a:pt x="504" y="148"/>
                  <a:pt x="504" y="148"/>
                  <a:pt x="504" y="148"/>
                </a:cubicBezTo>
                <a:cubicBezTo>
                  <a:pt x="503" y="147"/>
                  <a:pt x="503" y="147"/>
                  <a:pt x="503" y="147"/>
                </a:cubicBezTo>
                <a:cubicBezTo>
                  <a:pt x="502" y="145"/>
                  <a:pt x="500" y="146"/>
                  <a:pt x="499" y="147"/>
                </a:cubicBezTo>
                <a:cubicBezTo>
                  <a:pt x="498" y="147"/>
                  <a:pt x="498" y="147"/>
                  <a:pt x="498" y="147"/>
                </a:cubicBezTo>
                <a:cubicBezTo>
                  <a:pt x="497" y="148"/>
                  <a:pt x="497" y="148"/>
                  <a:pt x="496" y="148"/>
                </a:cubicBezTo>
                <a:cubicBezTo>
                  <a:pt x="497" y="148"/>
                  <a:pt x="495" y="148"/>
                  <a:pt x="495" y="148"/>
                </a:cubicBezTo>
                <a:cubicBezTo>
                  <a:pt x="495" y="148"/>
                  <a:pt x="494" y="148"/>
                  <a:pt x="494" y="148"/>
                </a:cubicBezTo>
                <a:cubicBezTo>
                  <a:pt x="494" y="148"/>
                  <a:pt x="495" y="148"/>
                  <a:pt x="495" y="147"/>
                </a:cubicBezTo>
                <a:cubicBezTo>
                  <a:pt x="496" y="146"/>
                  <a:pt x="497" y="147"/>
                  <a:pt x="498" y="146"/>
                </a:cubicBezTo>
                <a:cubicBezTo>
                  <a:pt x="497" y="145"/>
                  <a:pt x="497" y="145"/>
                  <a:pt x="496" y="145"/>
                </a:cubicBezTo>
                <a:cubicBezTo>
                  <a:pt x="495" y="145"/>
                  <a:pt x="495" y="145"/>
                  <a:pt x="495" y="145"/>
                </a:cubicBezTo>
                <a:cubicBezTo>
                  <a:pt x="495" y="145"/>
                  <a:pt x="495" y="144"/>
                  <a:pt x="495" y="144"/>
                </a:cubicBezTo>
                <a:cubicBezTo>
                  <a:pt x="494" y="144"/>
                  <a:pt x="494" y="145"/>
                  <a:pt x="493" y="144"/>
                </a:cubicBezTo>
                <a:cubicBezTo>
                  <a:pt x="492" y="144"/>
                  <a:pt x="491" y="144"/>
                  <a:pt x="490" y="144"/>
                </a:cubicBezTo>
                <a:cubicBezTo>
                  <a:pt x="489" y="143"/>
                  <a:pt x="488" y="142"/>
                  <a:pt x="486" y="142"/>
                </a:cubicBezTo>
                <a:cubicBezTo>
                  <a:pt x="483" y="141"/>
                  <a:pt x="485" y="143"/>
                  <a:pt x="487" y="144"/>
                </a:cubicBezTo>
                <a:cubicBezTo>
                  <a:pt x="486" y="144"/>
                  <a:pt x="485" y="144"/>
                  <a:pt x="484" y="144"/>
                </a:cubicBezTo>
                <a:cubicBezTo>
                  <a:pt x="483" y="143"/>
                  <a:pt x="482" y="142"/>
                  <a:pt x="481" y="141"/>
                </a:cubicBezTo>
                <a:cubicBezTo>
                  <a:pt x="482" y="141"/>
                  <a:pt x="483" y="141"/>
                  <a:pt x="483" y="141"/>
                </a:cubicBezTo>
                <a:cubicBezTo>
                  <a:pt x="484" y="141"/>
                  <a:pt x="483" y="140"/>
                  <a:pt x="483" y="140"/>
                </a:cubicBezTo>
                <a:cubicBezTo>
                  <a:pt x="482" y="139"/>
                  <a:pt x="482" y="139"/>
                  <a:pt x="481" y="138"/>
                </a:cubicBezTo>
                <a:cubicBezTo>
                  <a:pt x="481" y="138"/>
                  <a:pt x="482" y="138"/>
                  <a:pt x="482" y="138"/>
                </a:cubicBezTo>
                <a:cubicBezTo>
                  <a:pt x="482" y="138"/>
                  <a:pt x="483" y="138"/>
                  <a:pt x="483" y="138"/>
                </a:cubicBezTo>
                <a:cubicBezTo>
                  <a:pt x="483" y="138"/>
                  <a:pt x="482" y="139"/>
                  <a:pt x="483" y="139"/>
                </a:cubicBezTo>
                <a:cubicBezTo>
                  <a:pt x="483" y="139"/>
                  <a:pt x="484" y="140"/>
                  <a:pt x="484" y="141"/>
                </a:cubicBezTo>
                <a:cubicBezTo>
                  <a:pt x="486" y="141"/>
                  <a:pt x="488" y="142"/>
                  <a:pt x="489" y="142"/>
                </a:cubicBezTo>
                <a:cubicBezTo>
                  <a:pt x="489" y="142"/>
                  <a:pt x="490" y="142"/>
                  <a:pt x="490" y="143"/>
                </a:cubicBezTo>
                <a:cubicBezTo>
                  <a:pt x="491" y="143"/>
                  <a:pt x="491" y="143"/>
                  <a:pt x="492" y="143"/>
                </a:cubicBezTo>
                <a:cubicBezTo>
                  <a:pt x="492" y="143"/>
                  <a:pt x="492" y="143"/>
                  <a:pt x="493" y="144"/>
                </a:cubicBezTo>
                <a:cubicBezTo>
                  <a:pt x="493" y="144"/>
                  <a:pt x="494" y="143"/>
                  <a:pt x="494" y="144"/>
                </a:cubicBezTo>
                <a:cubicBezTo>
                  <a:pt x="494" y="144"/>
                  <a:pt x="495" y="144"/>
                  <a:pt x="495" y="144"/>
                </a:cubicBezTo>
                <a:cubicBezTo>
                  <a:pt x="496" y="145"/>
                  <a:pt x="496" y="144"/>
                  <a:pt x="497" y="145"/>
                </a:cubicBezTo>
                <a:cubicBezTo>
                  <a:pt x="498" y="145"/>
                  <a:pt x="498" y="145"/>
                  <a:pt x="499" y="144"/>
                </a:cubicBezTo>
                <a:cubicBezTo>
                  <a:pt x="499" y="145"/>
                  <a:pt x="500" y="145"/>
                  <a:pt x="501" y="145"/>
                </a:cubicBezTo>
                <a:cubicBezTo>
                  <a:pt x="502" y="145"/>
                  <a:pt x="502" y="145"/>
                  <a:pt x="503" y="145"/>
                </a:cubicBezTo>
                <a:cubicBezTo>
                  <a:pt x="503" y="145"/>
                  <a:pt x="502" y="145"/>
                  <a:pt x="503" y="145"/>
                </a:cubicBezTo>
                <a:cubicBezTo>
                  <a:pt x="503" y="146"/>
                  <a:pt x="503" y="145"/>
                  <a:pt x="503" y="146"/>
                </a:cubicBezTo>
                <a:cubicBezTo>
                  <a:pt x="504" y="146"/>
                  <a:pt x="504" y="145"/>
                  <a:pt x="505" y="146"/>
                </a:cubicBezTo>
                <a:cubicBezTo>
                  <a:pt x="505" y="146"/>
                  <a:pt x="505" y="146"/>
                  <a:pt x="506" y="146"/>
                </a:cubicBezTo>
                <a:cubicBezTo>
                  <a:pt x="506" y="147"/>
                  <a:pt x="508" y="147"/>
                  <a:pt x="508" y="147"/>
                </a:cubicBezTo>
                <a:cubicBezTo>
                  <a:pt x="509" y="147"/>
                  <a:pt x="510" y="148"/>
                  <a:pt x="511" y="148"/>
                </a:cubicBezTo>
                <a:cubicBezTo>
                  <a:pt x="511" y="148"/>
                  <a:pt x="514" y="148"/>
                  <a:pt x="514" y="147"/>
                </a:cubicBezTo>
                <a:cubicBezTo>
                  <a:pt x="514" y="146"/>
                  <a:pt x="512" y="146"/>
                  <a:pt x="513" y="146"/>
                </a:cubicBezTo>
                <a:cubicBezTo>
                  <a:pt x="514" y="145"/>
                  <a:pt x="514" y="146"/>
                  <a:pt x="514" y="146"/>
                </a:cubicBezTo>
                <a:cubicBezTo>
                  <a:pt x="515" y="147"/>
                  <a:pt x="515" y="147"/>
                  <a:pt x="517" y="146"/>
                </a:cubicBezTo>
                <a:cubicBezTo>
                  <a:pt x="517" y="146"/>
                  <a:pt x="520" y="145"/>
                  <a:pt x="520" y="144"/>
                </a:cubicBezTo>
                <a:cubicBezTo>
                  <a:pt x="520" y="144"/>
                  <a:pt x="519" y="144"/>
                  <a:pt x="519" y="143"/>
                </a:cubicBezTo>
                <a:cubicBezTo>
                  <a:pt x="519" y="143"/>
                  <a:pt x="519" y="142"/>
                  <a:pt x="519" y="142"/>
                </a:cubicBezTo>
                <a:cubicBezTo>
                  <a:pt x="518" y="142"/>
                  <a:pt x="517" y="141"/>
                  <a:pt x="517" y="141"/>
                </a:cubicBezTo>
                <a:cubicBezTo>
                  <a:pt x="518" y="141"/>
                  <a:pt x="518" y="141"/>
                  <a:pt x="519" y="141"/>
                </a:cubicBezTo>
                <a:cubicBezTo>
                  <a:pt x="519" y="142"/>
                  <a:pt x="520" y="141"/>
                  <a:pt x="520" y="141"/>
                </a:cubicBezTo>
                <a:cubicBezTo>
                  <a:pt x="520" y="141"/>
                  <a:pt x="521" y="143"/>
                  <a:pt x="522" y="142"/>
                </a:cubicBezTo>
                <a:cubicBezTo>
                  <a:pt x="522" y="141"/>
                  <a:pt x="521" y="140"/>
                  <a:pt x="520" y="140"/>
                </a:cubicBezTo>
                <a:cubicBezTo>
                  <a:pt x="520" y="139"/>
                  <a:pt x="520" y="139"/>
                  <a:pt x="520" y="138"/>
                </a:cubicBezTo>
                <a:cubicBezTo>
                  <a:pt x="520" y="138"/>
                  <a:pt x="521" y="138"/>
                  <a:pt x="522" y="137"/>
                </a:cubicBezTo>
                <a:cubicBezTo>
                  <a:pt x="523" y="137"/>
                  <a:pt x="522" y="138"/>
                  <a:pt x="522" y="138"/>
                </a:cubicBezTo>
                <a:cubicBezTo>
                  <a:pt x="523" y="139"/>
                  <a:pt x="524" y="141"/>
                  <a:pt x="525" y="142"/>
                </a:cubicBezTo>
                <a:cubicBezTo>
                  <a:pt x="525" y="142"/>
                  <a:pt x="525" y="141"/>
                  <a:pt x="524" y="141"/>
                </a:cubicBezTo>
                <a:cubicBezTo>
                  <a:pt x="527" y="141"/>
                  <a:pt x="530" y="141"/>
                  <a:pt x="533" y="141"/>
                </a:cubicBezTo>
                <a:cubicBezTo>
                  <a:pt x="534" y="141"/>
                  <a:pt x="536" y="140"/>
                  <a:pt x="537" y="139"/>
                </a:cubicBezTo>
                <a:cubicBezTo>
                  <a:pt x="538" y="139"/>
                  <a:pt x="540" y="138"/>
                  <a:pt x="540" y="138"/>
                </a:cubicBezTo>
                <a:cubicBezTo>
                  <a:pt x="540" y="137"/>
                  <a:pt x="540" y="137"/>
                  <a:pt x="540" y="137"/>
                </a:cubicBezTo>
                <a:cubicBezTo>
                  <a:pt x="540" y="137"/>
                  <a:pt x="540" y="136"/>
                  <a:pt x="541" y="136"/>
                </a:cubicBezTo>
                <a:cubicBezTo>
                  <a:pt x="541" y="135"/>
                  <a:pt x="541" y="135"/>
                  <a:pt x="542" y="134"/>
                </a:cubicBezTo>
                <a:cubicBezTo>
                  <a:pt x="543" y="132"/>
                  <a:pt x="545" y="131"/>
                  <a:pt x="547" y="129"/>
                </a:cubicBezTo>
                <a:cubicBezTo>
                  <a:pt x="548" y="128"/>
                  <a:pt x="548" y="127"/>
                  <a:pt x="549" y="126"/>
                </a:cubicBezTo>
                <a:cubicBezTo>
                  <a:pt x="549" y="125"/>
                  <a:pt x="551" y="123"/>
                  <a:pt x="551" y="122"/>
                </a:cubicBezTo>
                <a:cubicBezTo>
                  <a:pt x="551" y="121"/>
                  <a:pt x="549" y="120"/>
                  <a:pt x="548" y="120"/>
                </a:cubicBezTo>
                <a:cubicBezTo>
                  <a:pt x="547" y="120"/>
                  <a:pt x="546" y="120"/>
                  <a:pt x="545" y="120"/>
                </a:cubicBezTo>
                <a:cubicBezTo>
                  <a:pt x="545" y="120"/>
                  <a:pt x="544" y="120"/>
                  <a:pt x="544" y="120"/>
                </a:cubicBezTo>
                <a:cubicBezTo>
                  <a:pt x="543" y="120"/>
                  <a:pt x="543" y="120"/>
                  <a:pt x="543" y="120"/>
                </a:cubicBezTo>
                <a:cubicBezTo>
                  <a:pt x="542" y="120"/>
                  <a:pt x="541" y="120"/>
                  <a:pt x="540" y="120"/>
                </a:cubicBezTo>
                <a:cubicBezTo>
                  <a:pt x="539" y="120"/>
                  <a:pt x="538" y="120"/>
                  <a:pt x="537" y="120"/>
                </a:cubicBezTo>
                <a:cubicBezTo>
                  <a:pt x="535" y="120"/>
                  <a:pt x="533" y="119"/>
                  <a:pt x="531" y="119"/>
                </a:cubicBezTo>
                <a:cubicBezTo>
                  <a:pt x="530" y="119"/>
                  <a:pt x="529" y="119"/>
                  <a:pt x="529" y="118"/>
                </a:cubicBezTo>
                <a:cubicBezTo>
                  <a:pt x="528" y="118"/>
                  <a:pt x="528" y="117"/>
                  <a:pt x="528" y="117"/>
                </a:cubicBezTo>
                <a:cubicBezTo>
                  <a:pt x="527" y="117"/>
                  <a:pt x="527" y="117"/>
                  <a:pt x="526" y="116"/>
                </a:cubicBezTo>
                <a:cubicBezTo>
                  <a:pt x="526" y="116"/>
                  <a:pt x="525" y="115"/>
                  <a:pt x="525" y="114"/>
                </a:cubicBezTo>
                <a:cubicBezTo>
                  <a:pt x="524" y="114"/>
                  <a:pt x="524" y="114"/>
                  <a:pt x="523" y="113"/>
                </a:cubicBezTo>
                <a:cubicBezTo>
                  <a:pt x="523" y="113"/>
                  <a:pt x="522" y="112"/>
                  <a:pt x="521" y="112"/>
                </a:cubicBezTo>
                <a:cubicBezTo>
                  <a:pt x="520" y="112"/>
                  <a:pt x="520" y="111"/>
                  <a:pt x="520" y="111"/>
                </a:cubicBezTo>
                <a:cubicBezTo>
                  <a:pt x="520" y="111"/>
                  <a:pt x="520" y="111"/>
                  <a:pt x="520" y="111"/>
                </a:cubicBezTo>
                <a:cubicBezTo>
                  <a:pt x="520" y="111"/>
                  <a:pt x="520" y="111"/>
                  <a:pt x="519" y="111"/>
                </a:cubicBezTo>
                <a:cubicBezTo>
                  <a:pt x="518" y="111"/>
                  <a:pt x="516" y="111"/>
                  <a:pt x="515" y="110"/>
                </a:cubicBezTo>
                <a:cubicBezTo>
                  <a:pt x="511" y="110"/>
                  <a:pt x="508" y="109"/>
                  <a:pt x="504" y="109"/>
                </a:cubicBezTo>
                <a:cubicBezTo>
                  <a:pt x="504" y="109"/>
                  <a:pt x="504" y="109"/>
                  <a:pt x="504" y="109"/>
                </a:cubicBezTo>
                <a:cubicBezTo>
                  <a:pt x="506" y="109"/>
                  <a:pt x="507" y="108"/>
                  <a:pt x="508" y="109"/>
                </a:cubicBezTo>
                <a:cubicBezTo>
                  <a:pt x="509" y="109"/>
                  <a:pt x="511" y="109"/>
                  <a:pt x="512" y="109"/>
                </a:cubicBezTo>
                <a:cubicBezTo>
                  <a:pt x="512" y="109"/>
                  <a:pt x="513" y="109"/>
                  <a:pt x="514" y="109"/>
                </a:cubicBezTo>
                <a:cubicBezTo>
                  <a:pt x="515" y="109"/>
                  <a:pt x="515" y="110"/>
                  <a:pt x="515" y="110"/>
                </a:cubicBezTo>
                <a:cubicBezTo>
                  <a:pt x="517" y="110"/>
                  <a:pt x="518" y="109"/>
                  <a:pt x="520" y="110"/>
                </a:cubicBezTo>
                <a:cubicBezTo>
                  <a:pt x="521" y="110"/>
                  <a:pt x="521" y="109"/>
                  <a:pt x="522" y="109"/>
                </a:cubicBezTo>
                <a:cubicBezTo>
                  <a:pt x="524" y="109"/>
                  <a:pt x="526" y="110"/>
                  <a:pt x="527" y="111"/>
                </a:cubicBezTo>
                <a:cubicBezTo>
                  <a:pt x="530" y="112"/>
                  <a:pt x="534" y="112"/>
                  <a:pt x="536" y="114"/>
                </a:cubicBezTo>
                <a:cubicBezTo>
                  <a:pt x="535" y="114"/>
                  <a:pt x="534" y="114"/>
                  <a:pt x="533" y="114"/>
                </a:cubicBezTo>
                <a:cubicBezTo>
                  <a:pt x="535" y="115"/>
                  <a:pt x="537" y="117"/>
                  <a:pt x="540" y="118"/>
                </a:cubicBezTo>
                <a:cubicBezTo>
                  <a:pt x="541" y="120"/>
                  <a:pt x="544" y="119"/>
                  <a:pt x="546" y="119"/>
                </a:cubicBezTo>
                <a:cubicBezTo>
                  <a:pt x="547" y="119"/>
                  <a:pt x="549" y="118"/>
                  <a:pt x="550" y="118"/>
                </a:cubicBezTo>
                <a:cubicBezTo>
                  <a:pt x="550" y="117"/>
                  <a:pt x="549" y="117"/>
                  <a:pt x="549" y="117"/>
                </a:cubicBezTo>
                <a:cubicBezTo>
                  <a:pt x="550" y="116"/>
                  <a:pt x="550" y="116"/>
                  <a:pt x="550" y="116"/>
                </a:cubicBezTo>
                <a:cubicBezTo>
                  <a:pt x="551" y="115"/>
                  <a:pt x="552" y="115"/>
                  <a:pt x="553" y="114"/>
                </a:cubicBezTo>
                <a:cubicBezTo>
                  <a:pt x="554" y="114"/>
                  <a:pt x="556" y="113"/>
                  <a:pt x="556" y="112"/>
                </a:cubicBezTo>
                <a:cubicBezTo>
                  <a:pt x="556" y="111"/>
                  <a:pt x="555" y="111"/>
                  <a:pt x="556" y="110"/>
                </a:cubicBezTo>
                <a:cubicBezTo>
                  <a:pt x="557" y="109"/>
                  <a:pt x="558" y="109"/>
                  <a:pt x="559" y="108"/>
                </a:cubicBezTo>
                <a:cubicBezTo>
                  <a:pt x="560" y="108"/>
                  <a:pt x="560" y="108"/>
                  <a:pt x="561" y="107"/>
                </a:cubicBezTo>
                <a:cubicBezTo>
                  <a:pt x="561" y="106"/>
                  <a:pt x="560" y="106"/>
                  <a:pt x="560" y="106"/>
                </a:cubicBezTo>
                <a:cubicBezTo>
                  <a:pt x="561" y="105"/>
                  <a:pt x="562" y="105"/>
                  <a:pt x="562" y="105"/>
                </a:cubicBezTo>
                <a:cubicBezTo>
                  <a:pt x="561" y="104"/>
                  <a:pt x="556" y="103"/>
                  <a:pt x="555" y="103"/>
                </a:cubicBezTo>
                <a:cubicBezTo>
                  <a:pt x="555" y="103"/>
                  <a:pt x="553" y="102"/>
                  <a:pt x="553" y="101"/>
                </a:cubicBezTo>
                <a:cubicBezTo>
                  <a:pt x="553" y="101"/>
                  <a:pt x="554" y="101"/>
                  <a:pt x="554" y="100"/>
                </a:cubicBezTo>
                <a:cubicBezTo>
                  <a:pt x="555" y="99"/>
                  <a:pt x="554" y="99"/>
                  <a:pt x="555" y="98"/>
                </a:cubicBezTo>
                <a:cubicBezTo>
                  <a:pt x="556" y="97"/>
                  <a:pt x="557" y="96"/>
                  <a:pt x="558" y="96"/>
                </a:cubicBezTo>
                <a:cubicBezTo>
                  <a:pt x="559" y="96"/>
                  <a:pt x="560" y="97"/>
                  <a:pt x="561" y="98"/>
                </a:cubicBezTo>
                <a:cubicBezTo>
                  <a:pt x="562" y="98"/>
                  <a:pt x="563" y="98"/>
                  <a:pt x="565" y="98"/>
                </a:cubicBezTo>
                <a:cubicBezTo>
                  <a:pt x="566" y="98"/>
                  <a:pt x="567" y="99"/>
                  <a:pt x="567" y="100"/>
                </a:cubicBezTo>
                <a:cubicBezTo>
                  <a:pt x="567" y="100"/>
                  <a:pt x="568" y="102"/>
                  <a:pt x="568" y="102"/>
                </a:cubicBezTo>
                <a:cubicBezTo>
                  <a:pt x="568" y="102"/>
                  <a:pt x="569" y="102"/>
                  <a:pt x="569" y="102"/>
                </a:cubicBezTo>
                <a:cubicBezTo>
                  <a:pt x="569" y="103"/>
                  <a:pt x="569" y="103"/>
                  <a:pt x="569" y="103"/>
                </a:cubicBezTo>
                <a:cubicBezTo>
                  <a:pt x="569" y="105"/>
                  <a:pt x="569" y="106"/>
                  <a:pt x="571" y="107"/>
                </a:cubicBezTo>
                <a:cubicBezTo>
                  <a:pt x="572" y="108"/>
                  <a:pt x="572" y="108"/>
                  <a:pt x="572" y="109"/>
                </a:cubicBezTo>
                <a:cubicBezTo>
                  <a:pt x="573" y="109"/>
                  <a:pt x="573" y="110"/>
                  <a:pt x="574" y="110"/>
                </a:cubicBezTo>
                <a:cubicBezTo>
                  <a:pt x="577" y="110"/>
                  <a:pt x="574" y="105"/>
                  <a:pt x="572" y="103"/>
                </a:cubicBezTo>
                <a:cubicBezTo>
                  <a:pt x="574" y="104"/>
                  <a:pt x="576" y="105"/>
                  <a:pt x="577" y="105"/>
                </a:cubicBezTo>
                <a:cubicBezTo>
                  <a:pt x="577" y="103"/>
                  <a:pt x="574" y="103"/>
                  <a:pt x="576" y="101"/>
                </a:cubicBezTo>
                <a:cubicBezTo>
                  <a:pt x="576" y="101"/>
                  <a:pt x="576" y="102"/>
                  <a:pt x="577" y="102"/>
                </a:cubicBezTo>
                <a:cubicBezTo>
                  <a:pt x="577" y="102"/>
                  <a:pt x="577" y="102"/>
                  <a:pt x="577" y="102"/>
                </a:cubicBezTo>
                <a:cubicBezTo>
                  <a:pt x="577" y="102"/>
                  <a:pt x="577" y="102"/>
                  <a:pt x="577" y="102"/>
                </a:cubicBezTo>
                <a:cubicBezTo>
                  <a:pt x="578" y="103"/>
                  <a:pt x="580" y="104"/>
                  <a:pt x="580" y="105"/>
                </a:cubicBezTo>
                <a:cubicBezTo>
                  <a:pt x="580" y="106"/>
                  <a:pt x="579" y="106"/>
                  <a:pt x="580" y="106"/>
                </a:cubicBezTo>
                <a:cubicBezTo>
                  <a:pt x="581" y="107"/>
                  <a:pt x="581" y="106"/>
                  <a:pt x="582" y="106"/>
                </a:cubicBezTo>
                <a:cubicBezTo>
                  <a:pt x="582" y="106"/>
                  <a:pt x="583" y="106"/>
                  <a:pt x="583" y="106"/>
                </a:cubicBezTo>
                <a:cubicBezTo>
                  <a:pt x="583" y="106"/>
                  <a:pt x="584" y="106"/>
                  <a:pt x="584" y="106"/>
                </a:cubicBezTo>
                <a:cubicBezTo>
                  <a:pt x="584" y="106"/>
                  <a:pt x="582" y="108"/>
                  <a:pt x="582" y="108"/>
                </a:cubicBezTo>
                <a:cubicBezTo>
                  <a:pt x="583" y="108"/>
                  <a:pt x="584" y="108"/>
                  <a:pt x="584" y="108"/>
                </a:cubicBezTo>
                <a:cubicBezTo>
                  <a:pt x="585" y="108"/>
                  <a:pt x="585" y="107"/>
                  <a:pt x="585" y="107"/>
                </a:cubicBezTo>
                <a:cubicBezTo>
                  <a:pt x="585" y="107"/>
                  <a:pt x="585" y="108"/>
                  <a:pt x="586" y="108"/>
                </a:cubicBezTo>
                <a:cubicBezTo>
                  <a:pt x="586" y="108"/>
                  <a:pt x="587" y="109"/>
                  <a:pt x="587" y="109"/>
                </a:cubicBezTo>
                <a:cubicBezTo>
                  <a:pt x="588" y="109"/>
                  <a:pt x="589" y="108"/>
                  <a:pt x="589" y="107"/>
                </a:cubicBezTo>
                <a:cubicBezTo>
                  <a:pt x="588" y="107"/>
                  <a:pt x="587" y="107"/>
                  <a:pt x="586" y="107"/>
                </a:cubicBezTo>
                <a:cubicBezTo>
                  <a:pt x="585" y="107"/>
                  <a:pt x="585" y="107"/>
                  <a:pt x="584" y="106"/>
                </a:cubicBezTo>
                <a:cubicBezTo>
                  <a:pt x="583" y="105"/>
                  <a:pt x="584" y="106"/>
                  <a:pt x="584" y="104"/>
                </a:cubicBezTo>
                <a:cubicBezTo>
                  <a:pt x="584" y="104"/>
                  <a:pt x="584" y="104"/>
                  <a:pt x="584" y="104"/>
                </a:cubicBezTo>
                <a:cubicBezTo>
                  <a:pt x="584" y="104"/>
                  <a:pt x="584" y="103"/>
                  <a:pt x="583" y="103"/>
                </a:cubicBezTo>
                <a:cubicBezTo>
                  <a:pt x="583" y="103"/>
                  <a:pt x="582" y="102"/>
                  <a:pt x="582" y="102"/>
                </a:cubicBezTo>
                <a:cubicBezTo>
                  <a:pt x="582" y="101"/>
                  <a:pt x="582" y="101"/>
                  <a:pt x="582" y="100"/>
                </a:cubicBezTo>
                <a:cubicBezTo>
                  <a:pt x="581" y="99"/>
                  <a:pt x="580" y="99"/>
                  <a:pt x="579" y="98"/>
                </a:cubicBezTo>
                <a:cubicBezTo>
                  <a:pt x="579" y="97"/>
                  <a:pt x="579" y="98"/>
                  <a:pt x="579" y="97"/>
                </a:cubicBezTo>
                <a:cubicBezTo>
                  <a:pt x="579" y="97"/>
                  <a:pt x="580" y="97"/>
                  <a:pt x="579" y="96"/>
                </a:cubicBezTo>
                <a:cubicBezTo>
                  <a:pt x="579" y="95"/>
                  <a:pt x="577" y="97"/>
                  <a:pt x="577" y="96"/>
                </a:cubicBezTo>
                <a:cubicBezTo>
                  <a:pt x="576" y="95"/>
                  <a:pt x="577" y="95"/>
                  <a:pt x="578" y="95"/>
                </a:cubicBezTo>
                <a:cubicBezTo>
                  <a:pt x="577" y="94"/>
                  <a:pt x="576" y="94"/>
                  <a:pt x="575" y="94"/>
                </a:cubicBezTo>
                <a:cubicBezTo>
                  <a:pt x="576" y="93"/>
                  <a:pt x="575" y="93"/>
                  <a:pt x="575" y="93"/>
                </a:cubicBezTo>
                <a:cubicBezTo>
                  <a:pt x="574" y="93"/>
                  <a:pt x="575" y="92"/>
                  <a:pt x="575" y="92"/>
                </a:cubicBezTo>
                <a:cubicBezTo>
                  <a:pt x="574" y="92"/>
                  <a:pt x="572" y="92"/>
                  <a:pt x="571" y="93"/>
                </a:cubicBezTo>
                <a:cubicBezTo>
                  <a:pt x="571" y="93"/>
                  <a:pt x="571" y="93"/>
                  <a:pt x="571" y="94"/>
                </a:cubicBezTo>
                <a:cubicBezTo>
                  <a:pt x="571" y="93"/>
                  <a:pt x="571" y="93"/>
                  <a:pt x="571" y="93"/>
                </a:cubicBezTo>
                <a:cubicBezTo>
                  <a:pt x="570" y="93"/>
                  <a:pt x="570" y="93"/>
                  <a:pt x="569" y="93"/>
                </a:cubicBezTo>
                <a:cubicBezTo>
                  <a:pt x="570" y="93"/>
                  <a:pt x="571" y="93"/>
                  <a:pt x="571" y="92"/>
                </a:cubicBezTo>
                <a:cubicBezTo>
                  <a:pt x="571" y="92"/>
                  <a:pt x="571" y="92"/>
                  <a:pt x="571" y="93"/>
                </a:cubicBezTo>
                <a:cubicBezTo>
                  <a:pt x="571" y="92"/>
                  <a:pt x="572" y="92"/>
                  <a:pt x="573" y="92"/>
                </a:cubicBezTo>
                <a:cubicBezTo>
                  <a:pt x="573" y="91"/>
                  <a:pt x="574" y="91"/>
                  <a:pt x="574" y="91"/>
                </a:cubicBezTo>
                <a:cubicBezTo>
                  <a:pt x="573" y="91"/>
                  <a:pt x="572" y="90"/>
                  <a:pt x="572" y="90"/>
                </a:cubicBezTo>
                <a:cubicBezTo>
                  <a:pt x="573" y="90"/>
                  <a:pt x="575" y="91"/>
                  <a:pt x="576" y="91"/>
                </a:cubicBezTo>
                <a:cubicBezTo>
                  <a:pt x="576" y="91"/>
                  <a:pt x="575" y="91"/>
                  <a:pt x="575" y="91"/>
                </a:cubicBezTo>
                <a:cubicBezTo>
                  <a:pt x="576" y="92"/>
                  <a:pt x="576" y="92"/>
                  <a:pt x="577" y="92"/>
                </a:cubicBezTo>
                <a:cubicBezTo>
                  <a:pt x="577" y="92"/>
                  <a:pt x="577" y="93"/>
                  <a:pt x="578" y="93"/>
                </a:cubicBezTo>
                <a:cubicBezTo>
                  <a:pt x="576" y="94"/>
                  <a:pt x="577" y="94"/>
                  <a:pt x="577" y="94"/>
                </a:cubicBezTo>
                <a:cubicBezTo>
                  <a:pt x="578" y="95"/>
                  <a:pt x="579" y="95"/>
                  <a:pt x="580" y="96"/>
                </a:cubicBezTo>
                <a:cubicBezTo>
                  <a:pt x="580" y="95"/>
                  <a:pt x="581" y="93"/>
                  <a:pt x="582" y="93"/>
                </a:cubicBezTo>
                <a:cubicBezTo>
                  <a:pt x="583" y="94"/>
                  <a:pt x="581" y="95"/>
                  <a:pt x="582" y="96"/>
                </a:cubicBezTo>
                <a:cubicBezTo>
                  <a:pt x="580" y="96"/>
                  <a:pt x="582" y="98"/>
                  <a:pt x="582" y="98"/>
                </a:cubicBezTo>
                <a:cubicBezTo>
                  <a:pt x="583" y="98"/>
                  <a:pt x="584" y="98"/>
                  <a:pt x="584" y="99"/>
                </a:cubicBezTo>
                <a:cubicBezTo>
                  <a:pt x="585" y="99"/>
                  <a:pt x="585" y="100"/>
                  <a:pt x="585" y="101"/>
                </a:cubicBezTo>
                <a:cubicBezTo>
                  <a:pt x="586" y="101"/>
                  <a:pt x="587" y="102"/>
                  <a:pt x="589" y="101"/>
                </a:cubicBezTo>
                <a:cubicBezTo>
                  <a:pt x="590" y="100"/>
                  <a:pt x="590" y="100"/>
                  <a:pt x="592" y="99"/>
                </a:cubicBezTo>
                <a:cubicBezTo>
                  <a:pt x="593" y="99"/>
                  <a:pt x="594" y="99"/>
                  <a:pt x="595" y="98"/>
                </a:cubicBezTo>
                <a:cubicBezTo>
                  <a:pt x="595" y="98"/>
                  <a:pt x="595" y="98"/>
                  <a:pt x="596" y="97"/>
                </a:cubicBezTo>
                <a:cubicBezTo>
                  <a:pt x="597" y="96"/>
                  <a:pt x="598" y="96"/>
                  <a:pt x="600" y="95"/>
                </a:cubicBezTo>
                <a:cubicBezTo>
                  <a:pt x="599" y="95"/>
                  <a:pt x="600" y="94"/>
                  <a:pt x="600" y="93"/>
                </a:cubicBezTo>
                <a:cubicBezTo>
                  <a:pt x="601" y="93"/>
                  <a:pt x="601" y="93"/>
                  <a:pt x="602" y="92"/>
                </a:cubicBezTo>
                <a:cubicBezTo>
                  <a:pt x="603" y="92"/>
                  <a:pt x="605" y="92"/>
                  <a:pt x="606" y="91"/>
                </a:cubicBezTo>
                <a:cubicBezTo>
                  <a:pt x="607" y="90"/>
                  <a:pt x="607" y="89"/>
                  <a:pt x="608" y="87"/>
                </a:cubicBezTo>
                <a:cubicBezTo>
                  <a:pt x="608" y="86"/>
                  <a:pt x="608" y="85"/>
                  <a:pt x="609" y="84"/>
                </a:cubicBezTo>
                <a:cubicBezTo>
                  <a:pt x="609" y="83"/>
                  <a:pt x="609" y="82"/>
                  <a:pt x="608" y="81"/>
                </a:cubicBezTo>
                <a:cubicBezTo>
                  <a:pt x="607" y="80"/>
                  <a:pt x="605" y="79"/>
                  <a:pt x="603" y="77"/>
                </a:cubicBezTo>
                <a:cubicBezTo>
                  <a:pt x="603" y="77"/>
                  <a:pt x="603" y="77"/>
                  <a:pt x="603" y="77"/>
                </a:cubicBezTo>
                <a:cubicBezTo>
                  <a:pt x="603" y="77"/>
                  <a:pt x="603" y="77"/>
                  <a:pt x="603" y="77"/>
                </a:cubicBezTo>
                <a:cubicBezTo>
                  <a:pt x="602" y="76"/>
                  <a:pt x="602" y="76"/>
                  <a:pt x="602" y="76"/>
                </a:cubicBezTo>
                <a:cubicBezTo>
                  <a:pt x="601" y="75"/>
                  <a:pt x="600" y="75"/>
                  <a:pt x="600" y="74"/>
                </a:cubicBezTo>
                <a:cubicBezTo>
                  <a:pt x="599" y="72"/>
                  <a:pt x="601" y="72"/>
                  <a:pt x="601" y="70"/>
                </a:cubicBezTo>
                <a:cubicBezTo>
                  <a:pt x="601" y="71"/>
                  <a:pt x="598" y="72"/>
                  <a:pt x="598" y="70"/>
                </a:cubicBezTo>
                <a:cubicBezTo>
                  <a:pt x="598" y="69"/>
                  <a:pt x="599" y="69"/>
                  <a:pt x="598" y="68"/>
                </a:cubicBezTo>
                <a:cubicBezTo>
                  <a:pt x="598" y="68"/>
                  <a:pt x="597" y="69"/>
                  <a:pt x="597" y="68"/>
                </a:cubicBezTo>
                <a:cubicBezTo>
                  <a:pt x="597" y="67"/>
                  <a:pt x="598" y="68"/>
                  <a:pt x="597" y="67"/>
                </a:cubicBezTo>
                <a:cubicBezTo>
                  <a:pt x="597" y="66"/>
                  <a:pt x="594" y="67"/>
                  <a:pt x="595" y="65"/>
                </a:cubicBezTo>
                <a:cubicBezTo>
                  <a:pt x="596" y="64"/>
                  <a:pt x="595" y="64"/>
                  <a:pt x="596" y="64"/>
                </a:cubicBezTo>
                <a:cubicBezTo>
                  <a:pt x="597" y="64"/>
                  <a:pt x="598" y="64"/>
                  <a:pt x="599" y="64"/>
                </a:cubicBezTo>
                <a:cubicBezTo>
                  <a:pt x="599" y="64"/>
                  <a:pt x="600" y="64"/>
                  <a:pt x="600" y="64"/>
                </a:cubicBezTo>
                <a:cubicBezTo>
                  <a:pt x="602" y="65"/>
                  <a:pt x="603" y="64"/>
                  <a:pt x="604" y="64"/>
                </a:cubicBezTo>
                <a:cubicBezTo>
                  <a:pt x="606" y="64"/>
                  <a:pt x="609" y="63"/>
                  <a:pt x="609" y="61"/>
                </a:cubicBezTo>
                <a:cubicBezTo>
                  <a:pt x="609" y="60"/>
                  <a:pt x="609" y="58"/>
                  <a:pt x="608" y="58"/>
                </a:cubicBezTo>
                <a:cubicBezTo>
                  <a:pt x="607" y="58"/>
                  <a:pt x="605" y="60"/>
                  <a:pt x="606" y="57"/>
                </a:cubicBezTo>
                <a:cubicBezTo>
                  <a:pt x="607" y="56"/>
                  <a:pt x="609" y="54"/>
                  <a:pt x="608" y="53"/>
                </a:cubicBezTo>
                <a:cubicBezTo>
                  <a:pt x="608" y="52"/>
                  <a:pt x="607" y="52"/>
                  <a:pt x="605" y="51"/>
                </a:cubicBezTo>
                <a:cubicBezTo>
                  <a:pt x="604" y="51"/>
                  <a:pt x="603" y="50"/>
                  <a:pt x="602" y="51"/>
                </a:cubicBezTo>
                <a:cubicBezTo>
                  <a:pt x="600" y="51"/>
                  <a:pt x="600" y="52"/>
                  <a:pt x="600" y="50"/>
                </a:cubicBezTo>
                <a:cubicBezTo>
                  <a:pt x="599" y="49"/>
                  <a:pt x="599" y="48"/>
                  <a:pt x="597" y="48"/>
                </a:cubicBezTo>
                <a:cubicBezTo>
                  <a:pt x="595" y="47"/>
                  <a:pt x="592" y="47"/>
                  <a:pt x="590" y="46"/>
                </a:cubicBezTo>
                <a:cubicBezTo>
                  <a:pt x="589" y="46"/>
                  <a:pt x="589" y="46"/>
                  <a:pt x="589" y="46"/>
                </a:cubicBezTo>
                <a:cubicBezTo>
                  <a:pt x="591" y="46"/>
                  <a:pt x="594" y="47"/>
                  <a:pt x="596" y="46"/>
                </a:cubicBezTo>
                <a:cubicBezTo>
                  <a:pt x="596" y="46"/>
                  <a:pt x="595" y="45"/>
                  <a:pt x="595" y="44"/>
                </a:cubicBezTo>
                <a:cubicBezTo>
                  <a:pt x="595" y="44"/>
                  <a:pt x="598" y="44"/>
                  <a:pt x="599" y="44"/>
                </a:cubicBezTo>
                <a:cubicBezTo>
                  <a:pt x="598" y="44"/>
                  <a:pt x="597" y="44"/>
                  <a:pt x="597" y="44"/>
                </a:cubicBezTo>
                <a:cubicBezTo>
                  <a:pt x="596" y="44"/>
                  <a:pt x="596" y="43"/>
                  <a:pt x="595" y="43"/>
                </a:cubicBezTo>
                <a:cubicBezTo>
                  <a:pt x="595" y="43"/>
                  <a:pt x="594" y="43"/>
                  <a:pt x="593" y="43"/>
                </a:cubicBezTo>
                <a:cubicBezTo>
                  <a:pt x="593" y="43"/>
                  <a:pt x="592" y="43"/>
                  <a:pt x="592" y="43"/>
                </a:cubicBezTo>
                <a:cubicBezTo>
                  <a:pt x="590" y="43"/>
                  <a:pt x="589" y="43"/>
                  <a:pt x="588" y="43"/>
                </a:cubicBezTo>
                <a:cubicBezTo>
                  <a:pt x="588" y="43"/>
                  <a:pt x="587" y="43"/>
                  <a:pt x="587" y="43"/>
                </a:cubicBezTo>
                <a:cubicBezTo>
                  <a:pt x="586" y="43"/>
                  <a:pt x="585" y="43"/>
                  <a:pt x="585" y="43"/>
                </a:cubicBezTo>
                <a:cubicBezTo>
                  <a:pt x="582" y="43"/>
                  <a:pt x="580" y="41"/>
                  <a:pt x="578" y="40"/>
                </a:cubicBezTo>
                <a:cubicBezTo>
                  <a:pt x="577" y="40"/>
                  <a:pt x="576" y="40"/>
                  <a:pt x="574" y="40"/>
                </a:cubicBezTo>
                <a:cubicBezTo>
                  <a:pt x="574" y="40"/>
                  <a:pt x="572" y="40"/>
                  <a:pt x="571" y="41"/>
                </a:cubicBezTo>
                <a:cubicBezTo>
                  <a:pt x="571" y="41"/>
                  <a:pt x="571" y="41"/>
                  <a:pt x="571" y="42"/>
                </a:cubicBezTo>
                <a:cubicBezTo>
                  <a:pt x="571" y="41"/>
                  <a:pt x="571" y="41"/>
                  <a:pt x="571" y="41"/>
                </a:cubicBezTo>
                <a:cubicBezTo>
                  <a:pt x="569" y="43"/>
                  <a:pt x="567" y="39"/>
                  <a:pt x="565" y="40"/>
                </a:cubicBezTo>
                <a:cubicBezTo>
                  <a:pt x="564" y="41"/>
                  <a:pt x="566" y="41"/>
                  <a:pt x="566" y="41"/>
                </a:cubicBezTo>
                <a:cubicBezTo>
                  <a:pt x="568" y="42"/>
                  <a:pt x="566" y="42"/>
                  <a:pt x="565" y="42"/>
                </a:cubicBezTo>
                <a:cubicBezTo>
                  <a:pt x="567" y="42"/>
                  <a:pt x="565" y="43"/>
                  <a:pt x="565" y="44"/>
                </a:cubicBezTo>
                <a:cubicBezTo>
                  <a:pt x="565" y="44"/>
                  <a:pt x="566" y="44"/>
                  <a:pt x="566" y="45"/>
                </a:cubicBezTo>
                <a:cubicBezTo>
                  <a:pt x="566" y="45"/>
                  <a:pt x="564" y="49"/>
                  <a:pt x="566" y="47"/>
                </a:cubicBezTo>
                <a:cubicBezTo>
                  <a:pt x="565" y="49"/>
                  <a:pt x="566" y="49"/>
                  <a:pt x="566" y="50"/>
                </a:cubicBezTo>
                <a:cubicBezTo>
                  <a:pt x="565" y="50"/>
                  <a:pt x="567" y="52"/>
                  <a:pt x="567" y="52"/>
                </a:cubicBezTo>
                <a:cubicBezTo>
                  <a:pt x="567" y="52"/>
                  <a:pt x="568" y="52"/>
                  <a:pt x="568" y="52"/>
                </a:cubicBezTo>
                <a:cubicBezTo>
                  <a:pt x="567" y="53"/>
                  <a:pt x="568" y="53"/>
                  <a:pt x="568" y="53"/>
                </a:cubicBezTo>
                <a:cubicBezTo>
                  <a:pt x="569" y="53"/>
                  <a:pt x="569" y="52"/>
                  <a:pt x="570" y="53"/>
                </a:cubicBezTo>
                <a:cubicBezTo>
                  <a:pt x="569" y="54"/>
                  <a:pt x="570" y="53"/>
                  <a:pt x="571" y="53"/>
                </a:cubicBezTo>
                <a:cubicBezTo>
                  <a:pt x="571" y="53"/>
                  <a:pt x="571" y="53"/>
                  <a:pt x="571" y="54"/>
                </a:cubicBezTo>
                <a:cubicBezTo>
                  <a:pt x="571" y="54"/>
                  <a:pt x="571" y="54"/>
                  <a:pt x="571" y="54"/>
                </a:cubicBezTo>
                <a:cubicBezTo>
                  <a:pt x="572" y="54"/>
                  <a:pt x="572" y="54"/>
                  <a:pt x="573" y="54"/>
                </a:cubicBezTo>
                <a:cubicBezTo>
                  <a:pt x="573" y="54"/>
                  <a:pt x="573" y="55"/>
                  <a:pt x="573" y="55"/>
                </a:cubicBezTo>
                <a:cubicBezTo>
                  <a:pt x="574" y="55"/>
                  <a:pt x="575" y="55"/>
                  <a:pt x="575" y="55"/>
                </a:cubicBezTo>
                <a:cubicBezTo>
                  <a:pt x="574" y="56"/>
                  <a:pt x="572" y="55"/>
                  <a:pt x="571" y="56"/>
                </a:cubicBezTo>
                <a:cubicBezTo>
                  <a:pt x="571" y="56"/>
                  <a:pt x="572" y="56"/>
                  <a:pt x="573" y="57"/>
                </a:cubicBezTo>
                <a:cubicBezTo>
                  <a:pt x="572" y="57"/>
                  <a:pt x="571" y="57"/>
                  <a:pt x="571" y="57"/>
                </a:cubicBezTo>
                <a:cubicBezTo>
                  <a:pt x="571" y="57"/>
                  <a:pt x="571" y="57"/>
                  <a:pt x="571" y="57"/>
                </a:cubicBezTo>
                <a:cubicBezTo>
                  <a:pt x="571" y="57"/>
                  <a:pt x="570" y="56"/>
                  <a:pt x="570" y="56"/>
                </a:cubicBezTo>
                <a:cubicBezTo>
                  <a:pt x="570" y="57"/>
                  <a:pt x="569" y="57"/>
                  <a:pt x="569" y="57"/>
                </a:cubicBezTo>
                <a:cubicBezTo>
                  <a:pt x="569" y="57"/>
                  <a:pt x="569" y="58"/>
                  <a:pt x="569" y="58"/>
                </a:cubicBezTo>
                <a:cubicBezTo>
                  <a:pt x="569" y="59"/>
                  <a:pt x="570" y="59"/>
                  <a:pt x="571" y="59"/>
                </a:cubicBezTo>
                <a:cubicBezTo>
                  <a:pt x="571" y="59"/>
                  <a:pt x="571" y="59"/>
                  <a:pt x="571" y="59"/>
                </a:cubicBezTo>
                <a:cubicBezTo>
                  <a:pt x="572" y="59"/>
                  <a:pt x="574" y="60"/>
                  <a:pt x="572" y="60"/>
                </a:cubicBezTo>
                <a:cubicBezTo>
                  <a:pt x="571" y="60"/>
                  <a:pt x="571" y="59"/>
                  <a:pt x="571" y="60"/>
                </a:cubicBezTo>
                <a:cubicBezTo>
                  <a:pt x="571" y="60"/>
                  <a:pt x="571" y="60"/>
                  <a:pt x="571" y="60"/>
                </a:cubicBezTo>
                <a:cubicBezTo>
                  <a:pt x="570" y="60"/>
                  <a:pt x="570" y="60"/>
                  <a:pt x="569" y="60"/>
                </a:cubicBezTo>
                <a:cubicBezTo>
                  <a:pt x="569" y="60"/>
                  <a:pt x="569" y="60"/>
                  <a:pt x="569" y="60"/>
                </a:cubicBezTo>
                <a:cubicBezTo>
                  <a:pt x="568" y="60"/>
                  <a:pt x="569" y="61"/>
                  <a:pt x="568" y="61"/>
                </a:cubicBezTo>
                <a:cubicBezTo>
                  <a:pt x="568" y="61"/>
                  <a:pt x="567" y="60"/>
                  <a:pt x="567" y="60"/>
                </a:cubicBezTo>
                <a:cubicBezTo>
                  <a:pt x="566" y="60"/>
                  <a:pt x="566" y="60"/>
                  <a:pt x="566" y="60"/>
                </a:cubicBezTo>
                <a:cubicBezTo>
                  <a:pt x="564" y="60"/>
                  <a:pt x="564" y="60"/>
                  <a:pt x="564" y="61"/>
                </a:cubicBezTo>
                <a:cubicBezTo>
                  <a:pt x="563" y="62"/>
                  <a:pt x="563" y="62"/>
                  <a:pt x="563" y="63"/>
                </a:cubicBezTo>
                <a:cubicBezTo>
                  <a:pt x="563" y="65"/>
                  <a:pt x="564" y="65"/>
                  <a:pt x="563" y="67"/>
                </a:cubicBezTo>
                <a:cubicBezTo>
                  <a:pt x="563" y="67"/>
                  <a:pt x="562" y="67"/>
                  <a:pt x="562" y="68"/>
                </a:cubicBezTo>
                <a:cubicBezTo>
                  <a:pt x="562" y="69"/>
                  <a:pt x="562" y="69"/>
                  <a:pt x="562" y="70"/>
                </a:cubicBezTo>
                <a:cubicBezTo>
                  <a:pt x="562" y="71"/>
                  <a:pt x="562" y="72"/>
                  <a:pt x="561" y="73"/>
                </a:cubicBezTo>
                <a:cubicBezTo>
                  <a:pt x="561" y="73"/>
                  <a:pt x="560" y="74"/>
                  <a:pt x="559" y="73"/>
                </a:cubicBezTo>
                <a:cubicBezTo>
                  <a:pt x="559" y="75"/>
                  <a:pt x="556" y="76"/>
                  <a:pt x="556" y="78"/>
                </a:cubicBezTo>
                <a:cubicBezTo>
                  <a:pt x="555" y="79"/>
                  <a:pt x="556" y="81"/>
                  <a:pt x="556" y="83"/>
                </a:cubicBezTo>
                <a:cubicBezTo>
                  <a:pt x="556" y="83"/>
                  <a:pt x="556" y="84"/>
                  <a:pt x="555" y="85"/>
                </a:cubicBezTo>
                <a:cubicBezTo>
                  <a:pt x="555" y="85"/>
                  <a:pt x="554" y="84"/>
                  <a:pt x="554" y="84"/>
                </a:cubicBezTo>
                <a:cubicBezTo>
                  <a:pt x="554" y="85"/>
                  <a:pt x="553" y="83"/>
                  <a:pt x="552" y="84"/>
                </a:cubicBezTo>
                <a:cubicBezTo>
                  <a:pt x="551" y="84"/>
                  <a:pt x="550" y="84"/>
                  <a:pt x="550" y="85"/>
                </a:cubicBezTo>
                <a:cubicBezTo>
                  <a:pt x="549" y="85"/>
                  <a:pt x="550" y="86"/>
                  <a:pt x="550" y="86"/>
                </a:cubicBezTo>
                <a:cubicBezTo>
                  <a:pt x="550" y="86"/>
                  <a:pt x="550" y="87"/>
                  <a:pt x="549" y="87"/>
                </a:cubicBezTo>
                <a:cubicBezTo>
                  <a:pt x="549" y="86"/>
                  <a:pt x="548" y="87"/>
                  <a:pt x="548" y="88"/>
                </a:cubicBezTo>
                <a:cubicBezTo>
                  <a:pt x="547" y="89"/>
                  <a:pt x="547" y="89"/>
                  <a:pt x="547" y="88"/>
                </a:cubicBezTo>
                <a:cubicBezTo>
                  <a:pt x="547" y="87"/>
                  <a:pt x="546" y="86"/>
                  <a:pt x="546" y="86"/>
                </a:cubicBezTo>
                <a:cubicBezTo>
                  <a:pt x="546" y="86"/>
                  <a:pt x="546" y="86"/>
                  <a:pt x="546" y="86"/>
                </a:cubicBezTo>
                <a:cubicBezTo>
                  <a:pt x="546" y="86"/>
                  <a:pt x="546" y="85"/>
                  <a:pt x="546" y="85"/>
                </a:cubicBezTo>
                <a:cubicBezTo>
                  <a:pt x="545" y="84"/>
                  <a:pt x="544" y="84"/>
                  <a:pt x="544" y="83"/>
                </a:cubicBezTo>
                <a:cubicBezTo>
                  <a:pt x="543" y="82"/>
                  <a:pt x="542" y="82"/>
                  <a:pt x="542" y="81"/>
                </a:cubicBezTo>
                <a:cubicBezTo>
                  <a:pt x="541" y="80"/>
                  <a:pt x="540" y="80"/>
                  <a:pt x="539" y="80"/>
                </a:cubicBezTo>
                <a:cubicBezTo>
                  <a:pt x="538" y="79"/>
                  <a:pt x="538" y="78"/>
                  <a:pt x="538" y="78"/>
                </a:cubicBezTo>
                <a:cubicBezTo>
                  <a:pt x="537" y="77"/>
                  <a:pt x="537" y="76"/>
                  <a:pt x="537" y="75"/>
                </a:cubicBezTo>
                <a:cubicBezTo>
                  <a:pt x="536" y="74"/>
                  <a:pt x="537" y="74"/>
                  <a:pt x="537" y="72"/>
                </a:cubicBezTo>
                <a:cubicBezTo>
                  <a:pt x="537" y="71"/>
                  <a:pt x="537" y="70"/>
                  <a:pt x="536" y="69"/>
                </a:cubicBezTo>
                <a:cubicBezTo>
                  <a:pt x="536" y="68"/>
                  <a:pt x="536" y="68"/>
                  <a:pt x="537" y="68"/>
                </a:cubicBezTo>
                <a:cubicBezTo>
                  <a:pt x="537" y="68"/>
                  <a:pt x="538" y="67"/>
                  <a:pt x="538" y="67"/>
                </a:cubicBezTo>
                <a:cubicBezTo>
                  <a:pt x="539" y="67"/>
                  <a:pt x="538" y="68"/>
                  <a:pt x="538" y="69"/>
                </a:cubicBezTo>
                <a:cubicBezTo>
                  <a:pt x="538" y="69"/>
                  <a:pt x="540" y="69"/>
                  <a:pt x="540" y="69"/>
                </a:cubicBezTo>
                <a:cubicBezTo>
                  <a:pt x="542" y="68"/>
                  <a:pt x="542" y="67"/>
                  <a:pt x="542" y="65"/>
                </a:cubicBezTo>
                <a:cubicBezTo>
                  <a:pt x="541" y="65"/>
                  <a:pt x="541" y="64"/>
                  <a:pt x="541" y="63"/>
                </a:cubicBezTo>
                <a:cubicBezTo>
                  <a:pt x="541" y="62"/>
                  <a:pt x="541" y="61"/>
                  <a:pt x="540" y="60"/>
                </a:cubicBezTo>
                <a:cubicBezTo>
                  <a:pt x="539" y="57"/>
                  <a:pt x="535" y="56"/>
                  <a:pt x="532" y="54"/>
                </a:cubicBezTo>
                <a:cubicBezTo>
                  <a:pt x="531" y="52"/>
                  <a:pt x="530" y="50"/>
                  <a:pt x="528" y="51"/>
                </a:cubicBezTo>
                <a:cubicBezTo>
                  <a:pt x="526" y="51"/>
                  <a:pt x="526" y="52"/>
                  <a:pt x="525" y="53"/>
                </a:cubicBezTo>
                <a:cubicBezTo>
                  <a:pt x="525" y="54"/>
                  <a:pt x="524" y="54"/>
                  <a:pt x="523" y="55"/>
                </a:cubicBezTo>
                <a:cubicBezTo>
                  <a:pt x="523" y="56"/>
                  <a:pt x="523" y="61"/>
                  <a:pt x="522" y="62"/>
                </a:cubicBezTo>
                <a:cubicBezTo>
                  <a:pt x="522" y="62"/>
                  <a:pt x="522" y="61"/>
                  <a:pt x="522" y="61"/>
                </a:cubicBezTo>
                <a:cubicBezTo>
                  <a:pt x="520" y="61"/>
                  <a:pt x="521" y="64"/>
                  <a:pt x="521" y="64"/>
                </a:cubicBezTo>
                <a:cubicBezTo>
                  <a:pt x="521" y="65"/>
                  <a:pt x="521" y="65"/>
                  <a:pt x="521" y="66"/>
                </a:cubicBezTo>
                <a:cubicBezTo>
                  <a:pt x="521" y="66"/>
                  <a:pt x="521" y="65"/>
                  <a:pt x="521" y="65"/>
                </a:cubicBezTo>
                <a:cubicBezTo>
                  <a:pt x="520" y="66"/>
                  <a:pt x="520" y="67"/>
                  <a:pt x="520" y="68"/>
                </a:cubicBezTo>
                <a:cubicBezTo>
                  <a:pt x="520" y="67"/>
                  <a:pt x="520" y="67"/>
                  <a:pt x="520" y="67"/>
                </a:cubicBezTo>
                <a:cubicBezTo>
                  <a:pt x="519" y="67"/>
                  <a:pt x="518" y="69"/>
                  <a:pt x="517" y="69"/>
                </a:cubicBezTo>
                <a:cubicBezTo>
                  <a:pt x="517" y="69"/>
                  <a:pt x="517" y="68"/>
                  <a:pt x="516" y="68"/>
                </a:cubicBezTo>
                <a:cubicBezTo>
                  <a:pt x="516" y="67"/>
                  <a:pt x="514" y="67"/>
                  <a:pt x="514" y="66"/>
                </a:cubicBezTo>
                <a:cubicBezTo>
                  <a:pt x="513" y="65"/>
                  <a:pt x="514" y="65"/>
                  <a:pt x="514" y="64"/>
                </a:cubicBezTo>
                <a:cubicBezTo>
                  <a:pt x="515" y="64"/>
                  <a:pt x="514" y="63"/>
                  <a:pt x="514" y="62"/>
                </a:cubicBezTo>
                <a:cubicBezTo>
                  <a:pt x="514" y="62"/>
                  <a:pt x="515" y="62"/>
                  <a:pt x="515" y="61"/>
                </a:cubicBezTo>
                <a:cubicBezTo>
                  <a:pt x="515" y="61"/>
                  <a:pt x="514" y="60"/>
                  <a:pt x="514" y="60"/>
                </a:cubicBezTo>
                <a:cubicBezTo>
                  <a:pt x="515" y="59"/>
                  <a:pt x="515" y="59"/>
                  <a:pt x="514" y="59"/>
                </a:cubicBezTo>
                <a:cubicBezTo>
                  <a:pt x="514" y="59"/>
                  <a:pt x="515" y="58"/>
                  <a:pt x="515" y="58"/>
                </a:cubicBezTo>
                <a:cubicBezTo>
                  <a:pt x="514" y="56"/>
                  <a:pt x="513" y="54"/>
                  <a:pt x="511" y="53"/>
                </a:cubicBezTo>
                <a:cubicBezTo>
                  <a:pt x="509" y="52"/>
                  <a:pt x="507" y="51"/>
                  <a:pt x="505" y="49"/>
                </a:cubicBezTo>
                <a:cubicBezTo>
                  <a:pt x="507" y="50"/>
                  <a:pt x="508" y="51"/>
                  <a:pt x="510" y="49"/>
                </a:cubicBezTo>
                <a:cubicBezTo>
                  <a:pt x="510" y="49"/>
                  <a:pt x="508" y="50"/>
                  <a:pt x="508" y="51"/>
                </a:cubicBezTo>
                <a:cubicBezTo>
                  <a:pt x="509" y="51"/>
                  <a:pt x="509" y="50"/>
                  <a:pt x="510" y="50"/>
                </a:cubicBezTo>
                <a:cubicBezTo>
                  <a:pt x="510" y="50"/>
                  <a:pt x="510" y="52"/>
                  <a:pt x="511" y="51"/>
                </a:cubicBezTo>
                <a:cubicBezTo>
                  <a:pt x="511" y="51"/>
                  <a:pt x="511" y="50"/>
                  <a:pt x="512" y="49"/>
                </a:cubicBezTo>
                <a:cubicBezTo>
                  <a:pt x="512" y="48"/>
                  <a:pt x="512" y="49"/>
                  <a:pt x="512" y="48"/>
                </a:cubicBezTo>
                <a:cubicBezTo>
                  <a:pt x="513" y="47"/>
                  <a:pt x="513" y="48"/>
                  <a:pt x="514" y="48"/>
                </a:cubicBezTo>
                <a:cubicBezTo>
                  <a:pt x="514" y="48"/>
                  <a:pt x="515" y="48"/>
                  <a:pt x="516" y="47"/>
                </a:cubicBezTo>
                <a:cubicBezTo>
                  <a:pt x="515" y="47"/>
                  <a:pt x="514" y="46"/>
                  <a:pt x="513" y="46"/>
                </a:cubicBezTo>
                <a:cubicBezTo>
                  <a:pt x="511" y="45"/>
                  <a:pt x="513" y="48"/>
                  <a:pt x="511" y="46"/>
                </a:cubicBezTo>
                <a:cubicBezTo>
                  <a:pt x="510" y="46"/>
                  <a:pt x="510" y="46"/>
                  <a:pt x="509" y="46"/>
                </a:cubicBezTo>
                <a:cubicBezTo>
                  <a:pt x="508" y="46"/>
                  <a:pt x="508" y="46"/>
                  <a:pt x="507" y="46"/>
                </a:cubicBezTo>
                <a:cubicBezTo>
                  <a:pt x="507" y="45"/>
                  <a:pt x="506" y="46"/>
                  <a:pt x="506" y="46"/>
                </a:cubicBezTo>
                <a:cubicBezTo>
                  <a:pt x="505" y="46"/>
                  <a:pt x="504" y="46"/>
                  <a:pt x="504" y="46"/>
                </a:cubicBezTo>
                <a:cubicBezTo>
                  <a:pt x="504" y="46"/>
                  <a:pt x="505" y="46"/>
                  <a:pt x="506" y="46"/>
                </a:cubicBezTo>
                <a:cubicBezTo>
                  <a:pt x="507" y="45"/>
                  <a:pt x="507" y="44"/>
                  <a:pt x="508" y="44"/>
                </a:cubicBezTo>
                <a:cubicBezTo>
                  <a:pt x="508" y="44"/>
                  <a:pt x="506" y="44"/>
                  <a:pt x="505" y="44"/>
                </a:cubicBezTo>
                <a:cubicBezTo>
                  <a:pt x="504" y="44"/>
                  <a:pt x="504" y="44"/>
                  <a:pt x="503" y="45"/>
                </a:cubicBezTo>
                <a:cubicBezTo>
                  <a:pt x="503" y="45"/>
                  <a:pt x="502" y="46"/>
                  <a:pt x="501" y="46"/>
                </a:cubicBezTo>
                <a:cubicBezTo>
                  <a:pt x="499" y="45"/>
                  <a:pt x="497" y="44"/>
                  <a:pt x="494" y="43"/>
                </a:cubicBezTo>
                <a:cubicBezTo>
                  <a:pt x="493" y="43"/>
                  <a:pt x="491" y="43"/>
                  <a:pt x="490" y="43"/>
                </a:cubicBezTo>
                <a:cubicBezTo>
                  <a:pt x="490" y="43"/>
                  <a:pt x="491" y="43"/>
                  <a:pt x="491" y="43"/>
                </a:cubicBezTo>
                <a:cubicBezTo>
                  <a:pt x="492" y="42"/>
                  <a:pt x="493" y="41"/>
                  <a:pt x="494" y="41"/>
                </a:cubicBezTo>
                <a:cubicBezTo>
                  <a:pt x="494" y="41"/>
                  <a:pt x="493" y="41"/>
                  <a:pt x="493" y="41"/>
                </a:cubicBezTo>
                <a:cubicBezTo>
                  <a:pt x="494" y="41"/>
                  <a:pt x="500" y="37"/>
                  <a:pt x="500" y="37"/>
                </a:cubicBezTo>
                <a:cubicBezTo>
                  <a:pt x="499" y="34"/>
                  <a:pt x="494" y="37"/>
                  <a:pt x="493" y="36"/>
                </a:cubicBezTo>
                <a:cubicBezTo>
                  <a:pt x="493" y="36"/>
                  <a:pt x="494" y="36"/>
                  <a:pt x="494" y="36"/>
                </a:cubicBezTo>
                <a:cubicBezTo>
                  <a:pt x="494" y="35"/>
                  <a:pt x="495" y="35"/>
                  <a:pt x="494" y="35"/>
                </a:cubicBezTo>
                <a:cubicBezTo>
                  <a:pt x="494" y="35"/>
                  <a:pt x="494" y="34"/>
                  <a:pt x="494" y="34"/>
                </a:cubicBezTo>
                <a:cubicBezTo>
                  <a:pt x="495" y="34"/>
                  <a:pt x="497" y="34"/>
                  <a:pt x="496" y="33"/>
                </a:cubicBezTo>
                <a:cubicBezTo>
                  <a:pt x="497" y="32"/>
                  <a:pt x="496" y="34"/>
                  <a:pt x="497" y="34"/>
                </a:cubicBezTo>
                <a:cubicBezTo>
                  <a:pt x="497" y="34"/>
                  <a:pt x="499" y="35"/>
                  <a:pt x="499" y="35"/>
                </a:cubicBezTo>
                <a:cubicBezTo>
                  <a:pt x="500" y="35"/>
                  <a:pt x="504" y="35"/>
                  <a:pt x="504" y="35"/>
                </a:cubicBezTo>
                <a:cubicBezTo>
                  <a:pt x="504" y="34"/>
                  <a:pt x="503" y="33"/>
                  <a:pt x="502" y="34"/>
                </a:cubicBezTo>
                <a:cubicBezTo>
                  <a:pt x="502" y="33"/>
                  <a:pt x="502" y="33"/>
                  <a:pt x="502" y="32"/>
                </a:cubicBezTo>
                <a:cubicBezTo>
                  <a:pt x="502" y="31"/>
                  <a:pt x="502" y="31"/>
                  <a:pt x="501" y="31"/>
                </a:cubicBezTo>
                <a:cubicBezTo>
                  <a:pt x="501" y="31"/>
                  <a:pt x="501" y="31"/>
                  <a:pt x="501" y="31"/>
                </a:cubicBezTo>
                <a:cubicBezTo>
                  <a:pt x="501" y="31"/>
                  <a:pt x="501" y="31"/>
                  <a:pt x="501" y="32"/>
                </a:cubicBezTo>
                <a:cubicBezTo>
                  <a:pt x="500" y="32"/>
                  <a:pt x="500" y="32"/>
                  <a:pt x="500" y="33"/>
                </a:cubicBezTo>
                <a:cubicBezTo>
                  <a:pt x="500" y="32"/>
                  <a:pt x="500" y="31"/>
                  <a:pt x="499" y="30"/>
                </a:cubicBezTo>
                <a:cubicBezTo>
                  <a:pt x="499" y="30"/>
                  <a:pt x="498" y="30"/>
                  <a:pt x="498" y="29"/>
                </a:cubicBezTo>
                <a:cubicBezTo>
                  <a:pt x="498" y="29"/>
                  <a:pt x="497" y="25"/>
                  <a:pt x="496" y="27"/>
                </a:cubicBezTo>
                <a:cubicBezTo>
                  <a:pt x="496" y="25"/>
                  <a:pt x="494" y="26"/>
                  <a:pt x="493" y="25"/>
                </a:cubicBezTo>
                <a:cubicBezTo>
                  <a:pt x="492" y="24"/>
                  <a:pt x="492" y="23"/>
                  <a:pt x="491" y="23"/>
                </a:cubicBezTo>
                <a:cubicBezTo>
                  <a:pt x="490" y="22"/>
                  <a:pt x="489" y="22"/>
                  <a:pt x="489" y="21"/>
                </a:cubicBezTo>
                <a:cubicBezTo>
                  <a:pt x="489" y="21"/>
                  <a:pt x="489" y="22"/>
                  <a:pt x="489" y="22"/>
                </a:cubicBezTo>
                <a:cubicBezTo>
                  <a:pt x="489" y="20"/>
                  <a:pt x="489" y="17"/>
                  <a:pt x="489" y="15"/>
                </a:cubicBezTo>
                <a:cubicBezTo>
                  <a:pt x="489" y="14"/>
                  <a:pt x="489" y="13"/>
                  <a:pt x="489" y="12"/>
                </a:cubicBezTo>
                <a:cubicBezTo>
                  <a:pt x="489" y="12"/>
                  <a:pt x="488" y="11"/>
                  <a:pt x="487" y="11"/>
                </a:cubicBezTo>
                <a:cubicBezTo>
                  <a:pt x="486" y="9"/>
                  <a:pt x="484" y="9"/>
                  <a:pt x="482" y="8"/>
                </a:cubicBezTo>
                <a:cubicBezTo>
                  <a:pt x="481" y="7"/>
                  <a:pt x="481" y="7"/>
                  <a:pt x="481" y="6"/>
                </a:cubicBezTo>
                <a:cubicBezTo>
                  <a:pt x="481" y="6"/>
                  <a:pt x="482" y="5"/>
                  <a:pt x="481" y="4"/>
                </a:cubicBezTo>
                <a:cubicBezTo>
                  <a:pt x="481" y="4"/>
                  <a:pt x="480" y="5"/>
                  <a:pt x="480" y="5"/>
                </a:cubicBezTo>
                <a:cubicBezTo>
                  <a:pt x="479" y="5"/>
                  <a:pt x="479" y="4"/>
                  <a:pt x="479" y="4"/>
                </a:cubicBezTo>
                <a:cubicBezTo>
                  <a:pt x="478" y="4"/>
                  <a:pt x="478" y="5"/>
                  <a:pt x="478" y="5"/>
                </a:cubicBezTo>
                <a:cubicBezTo>
                  <a:pt x="477" y="5"/>
                  <a:pt x="477" y="4"/>
                  <a:pt x="477" y="4"/>
                </a:cubicBezTo>
                <a:cubicBezTo>
                  <a:pt x="476" y="4"/>
                  <a:pt x="476" y="5"/>
                  <a:pt x="476" y="5"/>
                </a:cubicBezTo>
                <a:cubicBezTo>
                  <a:pt x="476" y="6"/>
                  <a:pt x="475" y="6"/>
                  <a:pt x="475" y="6"/>
                </a:cubicBezTo>
                <a:cubicBezTo>
                  <a:pt x="475" y="6"/>
                  <a:pt x="475" y="5"/>
                  <a:pt x="475" y="4"/>
                </a:cubicBezTo>
                <a:cubicBezTo>
                  <a:pt x="475" y="3"/>
                  <a:pt x="475" y="4"/>
                  <a:pt x="474" y="4"/>
                </a:cubicBezTo>
                <a:cubicBezTo>
                  <a:pt x="474" y="4"/>
                  <a:pt x="474" y="4"/>
                  <a:pt x="474" y="4"/>
                </a:cubicBezTo>
                <a:cubicBezTo>
                  <a:pt x="473" y="4"/>
                  <a:pt x="473" y="5"/>
                  <a:pt x="472" y="5"/>
                </a:cubicBezTo>
                <a:cubicBezTo>
                  <a:pt x="472" y="3"/>
                  <a:pt x="473" y="4"/>
                  <a:pt x="473" y="3"/>
                </a:cubicBezTo>
                <a:cubicBezTo>
                  <a:pt x="473" y="3"/>
                  <a:pt x="474" y="3"/>
                  <a:pt x="474" y="3"/>
                </a:cubicBezTo>
                <a:cubicBezTo>
                  <a:pt x="474" y="3"/>
                  <a:pt x="474" y="2"/>
                  <a:pt x="474" y="2"/>
                </a:cubicBezTo>
                <a:cubicBezTo>
                  <a:pt x="475" y="1"/>
                  <a:pt x="474" y="1"/>
                  <a:pt x="474" y="1"/>
                </a:cubicBezTo>
                <a:cubicBezTo>
                  <a:pt x="473" y="0"/>
                  <a:pt x="470" y="0"/>
                  <a:pt x="469" y="1"/>
                </a:cubicBezTo>
                <a:cubicBezTo>
                  <a:pt x="468" y="1"/>
                  <a:pt x="467" y="1"/>
                  <a:pt x="466" y="2"/>
                </a:cubicBezTo>
                <a:cubicBezTo>
                  <a:pt x="466" y="2"/>
                  <a:pt x="466" y="3"/>
                  <a:pt x="467" y="3"/>
                </a:cubicBezTo>
                <a:cubicBezTo>
                  <a:pt x="467" y="3"/>
                  <a:pt x="469" y="3"/>
                  <a:pt x="469" y="3"/>
                </a:cubicBezTo>
                <a:cubicBezTo>
                  <a:pt x="471" y="3"/>
                  <a:pt x="471" y="3"/>
                  <a:pt x="473" y="3"/>
                </a:cubicBezTo>
                <a:cubicBezTo>
                  <a:pt x="471" y="4"/>
                  <a:pt x="468" y="3"/>
                  <a:pt x="466" y="3"/>
                </a:cubicBezTo>
                <a:cubicBezTo>
                  <a:pt x="466" y="4"/>
                  <a:pt x="466" y="5"/>
                  <a:pt x="466" y="5"/>
                </a:cubicBezTo>
                <a:cubicBezTo>
                  <a:pt x="465" y="6"/>
                  <a:pt x="464" y="6"/>
                  <a:pt x="463" y="6"/>
                </a:cubicBezTo>
                <a:cubicBezTo>
                  <a:pt x="462" y="6"/>
                  <a:pt x="461" y="7"/>
                  <a:pt x="460" y="7"/>
                </a:cubicBezTo>
                <a:cubicBezTo>
                  <a:pt x="460" y="7"/>
                  <a:pt x="459" y="8"/>
                  <a:pt x="459" y="9"/>
                </a:cubicBezTo>
                <a:cubicBezTo>
                  <a:pt x="459" y="9"/>
                  <a:pt x="461" y="10"/>
                  <a:pt x="461" y="10"/>
                </a:cubicBezTo>
                <a:cubicBezTo>
                  <a:pt x="462" y="10"/>
                  <a:pt x="463" y="10"/>
                  <a:pt x="465" y="10"/>
                </a:cubicBezTo>
                <a:cubicBezTo>
                  <a:pt x="463" y="10"/>
                  <a:pt x="463" y="11"/>
                  <a:pt x="464" y="12"/>
                </a:cubicBezTo>
                <a:cubicBezTo>
                  <a:pt x="464" y="12"/>
                  <a:pt x="463" y="12"/>
                  <a:pt x="463" y="12"/>
                </a:cubicBezTo>
                <a:cubicBezTo>
                  <a:pt x="463" y="13"/>
                  <a:pt x="463" y="13"/>
                  <a:pt x="463" y="14"/>
                </a:cubicBezTo>
                <a:cubicBezTo>
                  <a:pt x="462" y="14"/>
                  <a:pt x="459" y="12"/>
                  <a:pt x="458" y="12"/>
                </a:cubicBezTo>
                <a:cubicBezTo>
                  <a:pt x="456" y="11"/>
                  <a:pt x="457" y="12"/>
                  <a:pt x="456" y="13"/>
                </a:cubicBezTo>
                <a:cubicBezTo>
                  <a:pt x="455" y="13"/>
                  <a:pt x="454" y="13"/>
                  <a:pt x="453" y="14"/>
                </a:cubicBezTo>
                <a:cubicBezTo>
                  <a:pt x="454" y="14"/>
                  <a:pt x="454" y="14"/>
                  <a:pt x="454" y="15"/>
                </a:cubicBezTo>
                <a:cubicBezTo>
                  <a:pt x="454" y="15"/>
                  <a:pt x="454" y="16"/>
                  <a:pt x="454" y="16"/>
                </a:cubicBezTo>
                <a:cubicBezTo>
                  <a:pt x="454" y="16"/>
                  <a:pt x="453" y="16"/>
                  <a:pt x="453" y="16"/>
                </a:cubicBezTo>
                <a:cubicBezTo>
                  <a:pt x="453" y="17"/>
                  <a:pt x="453" y="17"/>
                  <a:pt x="453" y="17"/>
                </a:cubicBezTo>
                <a:cubicBezTo>
                  <a:pt x="454" y="17"/>
                  <a:pt x="454" y="17"/>
                  <a:pt x="455" y="17"/>
                </a:cubicBezTo>
                <a:cubicBezTo>
                  <a:pt x="455" y="18"/>
                  <a:pt x="454" y="18"/>
                  <a:pt x="453" y="18"/>
                </a:cubicBezTo>
                <a:cubicBezTo>
                  <a:pt x="453" y="19"/>
                  <a:pt x="453" y="20"/>
                  <a:pt x="453" y="20"/>
                </a:cubicBezTo>
                <a:cubicBezTo>
                  <a:pt x="453" y="21"/>
                  <a:pt x="452" y="21"/>
                  <a:pt x="452" y="22"/>
                </a:cubicBezTo>
                <a:cubicBezTo>
                  <a:pt x="452" y="23"/>
                  <a:pt x="453" y="23"/>
                  <a:pt x="454" y="24"/>
                </a:cubicBezTo>
                <a:cubicBezTo>
                  <a:pt x="455" y="25"/>
                  <a:pt x="455" y="26"/>
                  <a:pt x="456" y="26"/>
                </a:cubicBezTo>
                <a:cubicBezTo>
                  <a:pt x="457" y="26"/>
                  <a:pt x="458" y="25"/>
                  <a:pt x="460" y="24"/>
                </a:cubicBezTo>
                <a:cubicBezTo>
                  <a:pt x="458" y="25"/>
                  <a:pt x="457" y="26"/>
                  <a:pt x="456" y="27"/>
                </a:cubicBezTo>
                <a:cubicBezTo>
                  <a:pt x="455" y="28"/>
                  <a:pt x="455" y="29"/>
                  <a:pt x="455" y="29"/>
                </a:cubicBezTo>
                <a:cubicBezTo>
                  <a:pt x="454" y="30"/>
                  <a:pt x="453" y="31"/>
                  <a:pt x="453" y="32"/>
                </a:cubicBezTo>
                <a:cubicBezTo>
                  <a:pt x="452" y="33"/>
                  <a:pt x="453" y="34"/>
                  <a:pt x="453" y="34"/>
                </a:cubicBezTo>
                <a:cubicBezTo>
                  <a:pt x="453" y="35"/>
                  <a:pt x="453" y="36"/>
                  <a:pt x="454" y="37"/>
                </a:cubicBezTo>
                <a:cubicBezTo>
                  <a:pt x="455" y="37"/>
                  <a:pt x="455" y="37"/>
                  <a:pt x="455" y="38"/>
                </a:cubicBezTo>
                <a:cubicBezTo>
                  <a:pt x="456" y="38"/>
                  <a:pt x="456" y="38"/>
                  <a:pt x="457" y="38"/>
                </a:cubicBezTo>
                <a:cubicBezTo>
                  <a:pt x="457" y="39"/>
                  <a:pt x="457" y="38"/>
                  <a:pt x="457" y="39"/>
                </a:cubicBezTo>
                <a:cubicBezTo>
                  <a:pt x="457" y="39"/>
                  <a:pt x="457" y="39"/>
                  <a:pt x="457" y="40"/>
                </a:cubicBezTo>
                <a:cubicBezTo>
                  <a:pt x="457" y="40"/>
                  <a:pt x="457" y="40"/>
                  <a:pt x="457" y="40"/>
                </a:cubicBezTo>
                <a:cubicBezTo>
                  <a:pt x="457" y="40"/>
                  <a:pt x="457" y="40"/>
                  <a:pt x="457" y="40"/>
                </a:cubicBezTo>
                <a:cubicBezTo>
                  <a:pt x="458" y="40"/>
                  <a:pt x="458" y="41"/>
                  <a:pt x="458" y="41"/>
                </a:cubicBezTo>
                <a:cubicBezTo>
                  <a:pt x="458" y="41"/>
                  <a:pt x="458" y="41"/>
                  <a:pt x="459" y="41"/>
                </a:cubicBezTo>
                <a:cubicBezTo>
                  <a:pt x="458" y="42"/>
                  <a:pt x="458" y="43"/>
                  <a:pt x="458" y="43"/>
                </a:cubicBezTo>
                <a:cubicBezTo>
                  <a:pt x="459" y="43"/>
                  <a:pt x="459" y="43"/>
                  <a:pt x="459" y="43"/>
                </a:cubicBezTo>
                <a:cubicBezTo>
                  <a:pt x="459" y="42"/>
                  <a:pt x="460" y="42"/>
                  <a:pt x="460" y="41"/>
                </a:cubicBezTo>
                <a:cubicBezTo>
                  <a:pt x="460" y="41"/>
                  <a:pt x="460" y="41"/>
                  <a:pt x="460" y="42"/>
                </a:cubicBezTo>
                <a:cubicBezTo>
                  <a:pt x="461" y="41"/>
                  <a:pt x="461" y="41"/>
                  <a:pt x="461" y="41"/>
                </a:cubicBezTo>
                <a:cubicBezTo>
                  <a:pt x="462" y="42"/>
                  <a:pt x="462" y="42"/>
                  <a:pt x="462" y="43"/>
                </a:cubicBezTo>
                <a:cubicBezTo>
                  <a:pt x="462" y="43"/>
                  <a:pt x="461" y="43"/>
                  <a:pt x="461" y="44"/>
                </a:cubicBezTo>
                <a:cubicBezTo>
                  <a:pt x="461" y="44"/>
                  <a:pt x="461" y="44"/>
                  <a:pt x="461" y="44"/>
                </a:cubicBezTo>
                <a:cubicBezTo>
                  <a:pt x="461" y="44"/>
                  <a:pt x="461" y="44"/>
                  <a:pt x="461" y="44"/>
                </a:cubicBezTo>
                <a:cubicBezTo>
                  <a:pt x="461" y="44"/>
                  <a:pt x="461" y="44"/>
                  <a:pt x="461" y="44"/>
                </a:cubicBezTo>
                <a:cubicBezTo>
                  <a:pt x="461" y="44"/>
                  <a:pt x="462" y="45"/>
                  <a:pt x="462" y="44"/>
                </a:cubicBezTo>
                <a:cubicBezTo>
                  <a:pt x="463" y="44"/>
                  <a:pt x="464" y="44"/>
                  <a:pt x="464" y="43"/>
                </a:cubicBezTo>
                <a:cubicBezTo>
                  <a:pt x="465" y="43"/>
                  <a:pt x="465" y="43"/>
                  <a:pt x="465" y="44"/>
                </a:cubicBezTo>
                <a:cubicBezTo>
                  <a:pt x="467" y="44"/>
                  <a:pt x="467" y="44"/>
                  <a:pt x="468" y="44"/>
                </a:cubicBezTo>
                <a:cubicBezTo>
                  <a:pt x="469" y="44"/>
                  <a:pt x="471" y="43"/>
                  <a:pt x="472" y="43"/>
                </a:cubicBezTo>
                <a:cubicBezTo>
                  <a:pt x="472" y="44"/>
                  <a:pt x="474" y="47"/>
                  <a:pt x="475" y="47"/>
                </a:cubicBezTo>
                <a:cubicBezTo>
                  <a:pt x="477" y="48"/>
                  <a:pt x="480" y="47"/>
                  <a:pt x="482" y="46"/>
                </a:cubicBezTo>
                <a:cubicBezTo>
                  <a:pt x="483" y="46"/>
                  <a:pt x="483" y="46"/>
                  <a:pt x="483" y="45"/>
                </a:cubicBezTo>
                <a:cubicBezTo>
                  <a:pt x="483" y="46"/>
                  <a:pt x="483" y="46"/>
                  <a:pt x="483" y="46"/>
                </a:cubicBezTo>
                <a:cubicBezTo>
                  <a:pt x="485" y="47"/>
                  <a:pt x="484" y="48"/>
                  <a:pt x="483" y="49"/>
                </a:cubicBezTo>
                <a:cubicBezTo>
                  <a:pt x="484" y="49"/>
                  <a:pt x="485" y="49"/>
                  <a:pt x="486" y="49"/>
                </a:cubicBezTo>
                <a:cubicBezTo>
                  <a:pt x="486" y="49"/>
                  <a:pt x="485" y="49"/>
                  <a:pt x="484" y="50"/>
                </a:cubicBezTo>
                <a:cubicBezTo>
                  <a:pt x="483" y="51"/>
                  <a:pt x="482" y="52"/>
                  <a:pt x="480" y="53"/>
                </a:cubicBezTo>
                <a:cubicBezTo>
                  <a:pt x="481" y="51"/>
                  <a:pt x="477" y="49"/>
                  <a:pt x="476" y="50"/>
                </a:cubicBezTo>
                <a:cubicBezTo>
                  <a:pt x="476" y="50"/>
                  <a:pt x="476" y="51"/>
                  <a:pt x="476" y="51"/>
                </a:cubicBezTo>
                <a:cubicBezTo>
                  <a:pt x="476" y="52"/>
                  <a:pt x="475" y="53"/>
                  <a:pt x="476" y="53"/>
                </a:cubicBezTo>
                <a:cubicBezTo>
                  <a:pt x="475" y="54"/>
                  <a:pt x="473" y="55"/>
                  <a:pt x="473" y="57"/>
                </a:cubicBezTo>
                <a:cubicBezTo>
                  <a:pt x="473" y="57"/>
                  <a:pt x="472" y="59"/>
                  <a:pt x="472" y="60"/>
                </a:cubicBezTo>
                <a:cubicBezTo>
                  <a:pt x="473" y="60"/>
                  <a:pt x="473" y="60"/>
                  <a:pt x="474" y="60"/>
                </a:cubicBezTo>
                <a:cubicBezTo>
                  <a:pt x="474" y="61"/>
                  <a:pt x="475" y="60"/>
                  <a:pt x="476" y="60"/>
                </a:cubicBezTo>
                <a:cubicBezTo>
                  <a:pt x="478" y="60"/>
                  <a:pt x="479" y="59"/>
                  <a:pt x="481" y="58"/>
                </a:cubicBezTo>
                <a:cubicBezTo>
                  <a:pt x="480" y="58"/>
                  <a:pt x="478" y="59"/>
                  <a:pt x="478" y="57"/>
                </a:cubicBezTo>
                <a:cubicBezTo>
                  <a:pt x="478" y="57"/>
                  <a:pt x="479" y="57"/>
                  <a:pt x="479" y="56"/>
                </a:cubicBezTo>
                <a:cubicBezTo>
                  <a:pt x="479" y="56"/>
                  <a:pt x="479" y="55"/>
                  <a:pt x="480" y="55"/>
                </a:cubicBezTo>
                <a:cubicBezTo>
                  <a:pt x="480" y="55"/>
                  <a:pt x="480" y="55"/>
                  <a:pt x="480" y="56"/>
                </a:cubicBezTo>
                <a:cubicBezTo>
                  <a:pt x="480" y="57"/>
                  <a:pt x="481" y="56"/>
                  <a:pt x="481" y="56"/>
                </a:cubicBezTo>
                <a:cubicBezTo>
                  <a:pt x="482" y="57"/>
                  <a:pt x="481" y="61"/>
                  <a:pt x="481" y="62"/>
                </a:cubicBezTo>
                <a:cubicBezTo>
                  <a:pt x="482" y="62"/>
                  <a:pt x="484" y="62"/>
                  <a:pt x="485" y="62"/>
                </a:cubicBezTo>
                <a:cubicBezTo>
                  <a:pt x="483" y="63"/>
                  <a:pt x="482" y="64"/>
                  <a:pt x="481" y="65"/>
                </a:cubicBezTo>
                <a:cubicBezTo>
                  <a:pt x="479" y="66"/>
                  <a:pt x="478" y="67"/>
                  <a:pt x="477" y="68"/>
                </a:cubicBezTo>
                <a:cubicBezTo>
                  <a:pt x="476" y="69"/>
                  <a:pt x="475" y="69"/>
                  <a:pt x="475" y="70"/>
                </a:cubicBezTo>
                <a:cubicBezTo>
                  <a:pt x="473" y="71"/>
                  <a:pt x="472" y="73"/>
                  <a:pt x="470" y="73"/>
                </a:cubicBezTo>
                <a:cubicBezTo>
                  <a:pt x="469" y="73"/>
                  <a:pt x="468" y="72"/>
                  <a:pt x="468" y="72"/>
                </a:cubicBezTo>
                <a:cubicBezTo>
                  <a:pt x="467" y="72"/>
                  <a:pt x="467" y="72"/>
                  <a:pt x="466" y="73"/>
                </a:cubicBezTo>
                <a:cubicBezTo>
                  <a:pt x="466" y="72"/>
                  <a:pt x="466" y="72"/>
                  <a:pt x="465" y="72"/>
                </a:cubicBezTo>
                <a:cubicBezTo>
                  <a:pt x="464" y="72"/>
                  <a:pt x="464" y="73"/>
                  <a:pt x="463" y="74"/>
                </a:cubicBezTo>
                <a:cubicBezTo>
                  <a:pt x="463" y="75"/>
                  <a:pt x="461" y="77"/>
                  <a:pt x="461" y="78"/>
                </a:cubicBezTo>
                <a:cubicBezTo>
                  <a:pt x="462" y="79"/>
                  <a:pt x="462" y="78"/>
                  <a:pt x="462" y="79"/>
                </a:cubicBezTo>
                <a:cubicBezTo>
                  <a:pt x="463" y="79"/>
                  <a:pt x="464" y="80"/>
                  <a:pt x="464" y="80"/>
                </a:cubicBezTo>
                <a:cubicBezTo>
                  <a:pt x="465" y="81"/>
                  <a:pt x="465" y="82"/>
                  <a:pt x="465" y="83"/>
                </a:cubicBezTo>
                <a:cubicBezTo>
                  <a:pt x="465" y="84"/>
                  <a:pt x="466" y="85"/>
                  <a:pt x="466" y="86"/>
                </a:cubicBezTo>
                <a:cubicBezTo>
                  <a:pt x="466" y="88"/>
                  <a:pt x="465" y="88"/>
                  <a:pt x="465" y="90"/>
                </a:cubicBezTo>
                <a:cubicBezTo>
                  <a:pt x="466" y="90"/>
                  <a:pt x="466" y="92"/>
                  <a:pt x="466" y="92"/>
                </a:cubicBezTo>
                <a:cubicBezTo>
                  <a:pt x="465" y="93"/>
                  <a:pt x="465" y="92"/>
                  <a:pt x="464" y="92"/>
                </a:cubicBezTo>
                <a:cubicBezTo>
                  <a:pt x="463" y="92"/>
                  <a:pt x="462" y="92"/>
                  <a:pt x="461" y="92"/>
                </a:cubicBezTo>
                <a:cubicBezTo>
                  <a:pt x="460" y="92"/>
                  <a:pt x="459" y="91"/>
                  <a:pt x="457" y="92"/>
                </a:cubicBezTo>
                <a:cubicBezTo>
                  <a:pt x="459" y="93"/>
                  <a:pt x="462" y="96"/>
                  <a:pt x="460" y="98"/>
                </a:cubicBezTo>
                <a:cubicBezTo>
                  <a:pt x="460" y="97"/>
                  <a:pt x="460" y="95"/>
                  <a:pt x="460" y="95"/>
                </a:cubicBezTo>
                <a:cubicBezTo>
                  <a:pt x="459" y="94"/>
                  <a:pt x="458" y="94"/>
                  <a:pt x="458" y="94"/>
                </a:cubicBezTo>
                <a:cubicBezTo>
                  <a:pt x="457" y="93"/>
                  <a:pt x="457" y="93"/>
                  <a:pt x="456" y="92"/>
                </a:cubicBezTo>
                <a:cubicBezTo>
                  <a:pt x="456" y="92"/>
                  <a:pt x="455" y="91"/>
                  <a:pt x="455" y="91"/>
                </a:cubicBezTo>
                <a:cubicBezTo>
                  <a:pt x="454" y="90"/>
                  <a:pt x="453" y="89"/>
                  <a:pt x="455" y="89"/>
                </a:cubicBezTo>
                <a:cubicBezTo>
                  <a:pt x="456" y="89"/>
                  <a:pt x="455" y="90"/>
                  <a:pt x="455" y="91"/>
                </a:cubicBezTo>
                <a:cubicBezTo>
                  <a:pt x="456" y="91"/>
                  <a:pt x="457" y="91"/>
                  <a:pt x="457" y="91"/>
                </a:cubicBezTo>
                <a:cubicBezTo>
                  <a:pt x="458" y="91"/>
                  <a:pt x="458" y="90"/>
                  <a:pt x="459" y="90"/>
                </a:cubicBezTo>
                <a:cubicBezTo>
                  <a:pt x="458" y="91"/>
                  <a:pt x="459" y="92"/>
                  <a:pt x="461" y="91"/>
                </a:cubicBezTo>
                <a:cubicBezTo>
                  <a:pt x="461" y="91"/>
                  <a:pt x="461" y="91"/>
                  <a:pt x="462" y="91"/>
                </a:cubicBezTo>
                <a:cubicBezTo>
                  <a:pt x="462" y="91"/>
                  <a:pt x="462" y="91"/>
                  <a:pt x="462" y="92"/>
                </a:cubicBezTo>
                <a:cubicBezTo>
                  <a:pt x="463" y="92"/>
                  <a:pt x="465" y="92"/>
                  <a:pt x="465" y="91"/>
                </a:cubicBezTo>
                <a:cubicBezTo>
                  <a:pt x="465" y="90"/>
                  <a:pt x="465" y="90"/>
                  <a:pt x="465" y="90"/>
                </a:cubicBezTo>
                <a:cubicBezTo>
                  <a:pt x="465" y="89"/>
                  <a:pt x="465" y="89"/>
                  <a:pt x="464" y="88"/>
                </a:cubicBezTo>
                <a:cubicBezTo>
                  <a:pt x="464" y="89"/>
                  <a:pt x="463" y="88"/>
                  <a:pt x="464" y="88"/>
                </a:cubicBezTo>
                <a:cubicBezTo>
                  <a:pt x="463" y="88"/>
                  <a:pt x="464" y="87"/>
                  <a:pt x="463" y="87"/>
                </a:cubicBezTo>
                <a:cubicBezTo>
                  <a:pt x="463" y="87"/>
                  <a:pt x="461" y="88"/>
                  <a:pt x="460" y="88"/>
                </a:cubicBezTo>
                <a:cubicBezTo>
                  <a:pt x="460" y="87"/>
                  <a:pt x="461" y="87"/>
                  <a:pt x="462" y="86"/>
                </a:cubicBezTo>
                <a:cubicBezTo>
                  <a:pt x="463" y="85"/>
                  <a:pt x="463" y="84"/>
                  <a:pt x="462" y="84"/>
                </a:cubicBezTo>
                <a:cubicBezTo>
                  <a:pt x="461" y="85"/>
                  <a:pt x="462" y="84"/>
                  <a:pt x="461" y="84"/>
                </a:cubicBezTo>
                <a:cubicBezTo>
                  <a:pt x="460" y="84"/>
                  <a:pt x="458" y="86"/>
                  <a:pt x="457" y="87"/>
                </a:cubicBezTo>
                <a:cubicBezTo>
                  <a:pt x="457" y="86"/>
                  <a:pt x="455" y="87"/>
                  <a:pt x="456" y="85"/>
                </a:cubicBezTo>
                <a:cubicBezTo>
                  <a:pt x="456" y="85"/>
                  <a:pt x="457" y="84"/>
                  <a:pt x="457" y="83"/>
                </a:cubicBezTo>
                <a:cubicBezTo>
                  <a:pt x="456" y="84"/>
                  <a:pt x="455" y="83"/>
                  <a:pt x="455" y="83"/>
                </a:cubicBezTo>
                <a:cubicBezTo>
                  <a:pt x="453" y="82"/>
                  <a:pt x="454" y="82"/>
                  <a:pt x="454" y="81"/>
                </a:cubicBezTo>
                <a:cubicBezTo>
                  <a:pt x="455" y="81"/>
                  <a:pt x="455" y="80"/>
                  <a:pt x="455" y="79"/>
                </a:cubicBezTo>
                <a:cubicBezTo>
                  <a:pt x="456" y="79"/>
                  <a:pt x="456" y="80"/>
                  <a:pt x="457" y="79"/>
                </a:cubicBezTo>
                <a:cubicBezTo>
                  <a:pt x="457" y="79"/>
                  <a:pt x="456" y="79"/>
                  <a:pt x="456" y="79"/>
                </a:cubicBezTo>
                <a:cubicBezTo>
                  <a:pt x="456" y="78"/>
                  <a:pt x="456" y="78"/>
                  <a:pt x="456" y="78"/>
                </a:cubicBezTo>
                <a:cubicBezTo>
                  <a:pt x="456" y="77"/>
                  <a:pt x="456" y="76"/>
                  <a:pt x="457" y="75"/>
                </a:cubicBezTo>
                <a:cubicBezTo>
                  <a:pt x="457" y="74"/>
                  <a:pt x="457" y="73"/>
                  <a:pt x="458" y="72"/>
                </a:cubicBezTo>
                <a:cubicBezTo>
                  <a:pt x="458" y="72"/>
                  <a:pt x="458" y="72"/>
                  <a:pt x="458" y="72"/>
                </a:cubicBezTo>
                <a:cubicBezTo>
                  <a:pt x="458" y="71"/>
                  <a:pt x="458" y="71"/>
                  <a:pt x="458" y="71"/>
                </a:cubicBezTo>
                <a:cubicBezTo>
                  <a:pt x="458" y="71"/>
                  <a:pt x="458" y="70"/>
                  <a:pt x="458" y="70"/>
                </a:cubicBezTo>
                <a:cubicBezTo>
                  <a:pt x="458" y="70"/>
                  <a:pt x="458" y="70"/>
                  <a:pt x="458" y="69"/>
                </a:cubicBezTo>
                <a:cubicBezTo>
                  <a:pt x="458" y="70"/>
                  <a:pt x="457" y="70"/>
                  <a:pt x="456" y="70"/>
                </a:cubicBezTo>
                <a:cubicBezTo>
                  <a:pt x="455" y="71"/>
                  <a:pt x="454" y="72"/>
                  <a:pt x="454" y="72"/>
                </a:cubicBezTo>
                <a:cubicBezTo>
                  <a:pt x="453" y="73"/>
                  <a:pt x="451" y="73"/>
                  <a:pt x="450" y="73"/>
                </a:cubicBezTo>
                <a:cubicBezTo>
                  <a:pt x="449" y="72"/>
                  <a:pt x="451" y="72"/>
                  <a:pt x="452" y="71"/>
                </a:cubicBezTo>
                <a:cubicBezTo>
                  <a:pt x="452" y="71"/>
                  <a:pt x="452" y="70"/>
                  <a:pt x="453" y="70"/>
                </a:cubicBezTo>
                <a:cubicBezTo>
                  <a:pt x="452" y="70"/>
                  <a:pt x="451" y="69"/>
                  <a:pt x="452" y="69"/>
                </a:cubicBezTo>
                <a:cubicBezTo>
                  <a:pt x="451" y="68"/>
                  <a:pt x="451" y="69"/>
                  <a:pt x="450" y="69"/>
                </a:cubicBezTo>
                <a:cubicBezTo>
                  <a:pt x="449" y="69"/>
                  <a:pt x="448" y="69"/>
                  <a:pt x="447" y="69"/>
                </a:cubicBezTo>
                <a:cubicBezTo>
                  <a:pt x="448" y="68"/>
                  <a:pt x="448" y="68"/>
                  <a:pt x="448" y="67"/>
                </a:cubicBezTo>
                <a:cubicBezTo>
                  <a:pt x="448" y="67"/>
                  <a:pt x="446" y="67"/>
                  <a:pt x="447" y="67"/>
                </a:cubicBezTo>
                <a:cubicBezTo>
                  <a:pt x="447" y="66"/>
                  <a:pt x="446" y="66"/>
                  <a:pt x="446" y="66"/>
                </a:cubicBezTo>
                <a:cubicBezTo>
                  <a:pt x="445" y="65"/>
                  <a:pt x="444" y="66"/>
                  <a:pt x="442" y="66"/>
                </a:cubicBezTo>
                <a:cubicBezTo>
                  <a:pt x="442" y="66"/>
                  <a:pt x="442" y="65"/>
                  <a:pt x="441" y="65"/>
                </a:cubicBezTo>
                <a:cubicBezTo>
                  <a:pt x="441" y="65"/>
                  <a:pt x="440" y="64"/>
                  <a:pt x="439" y="64"/>
                </a:cubicBezTo>
                <a:cubicBezTo>
                  <a:pt x="435" y="63"/>
                  <a:pt x="442" y="67"/>
                  <a:pt x="439" y="67"/>
                </a:cubicBezTo>
                <a:cubicBezTo>
                  <a:pt x="438" y="67"/>
                  <a:pt x="437" y="68"/>
                  <a:pt x="435" y="68"/>
                </a:cubicBezTo>
                <a:cubicBezTo>
                  <a:pt x="434" y="67"/>
                  <a:pt x="432" y="67"/>
                  <a:pt x="431" y="67"/>
                </a:cubicBezTo>
                <a:cubicBezTo>
                  <a:pt x="431" y="67"/>
                  <a:pt x="431" y="68"/>
                  <a:pt x="432" y="68"/>
                </a:cubicBezTo>
                <a:cubicBezTo>
                  <a:pt x="432" y="68"/>
                  <a:pt x="432" y="68"/>
                  <a:pt x="432" y="69"/>
                </a:cubicBezTo>
                <a:cubicBezTo>
                  <a:pt x="432" y="69"/>
                  <a:pt x="432" y="69"/>
                  <a:pt x="433" y="69"/>
                </a:cubicBezTo>
                <a:cubicBezTo>
                  <a:pt x="433" y="70"/>
                  <a:pt x="434" y="70"/>
                  <a:pt x="434" y="71"/>
                </a:cubicBezTo>
                <a:cubicBezTo>
                  <a:pt x="434" y="73"/>
                  <a:pt x="433" y="71"/>
                  <a:pt x="432" y="71"/>
                </a:cubicBezTo>
                <a:cubicBezTo>
                  <a:pt x="433" y="71"/>
                  <a:pt x="433" y="72"/>
                  <a:pt x="434" y="73"/>
                </a:cubicBezTo>
                <a:cubicBezTo>
                  <a:pt x="434" y="73"/>
                  <a:pt x="435" y="74"/>
                  <a:pt x="435" y="74"/>
                </a:cubicBezTo>
                <a:cubicBezTo>
                  <a:pt x="436" y="75"/>
                  <a:pt x="437" y="76"/>
                  <a:pt x="438" y="74"/>
                </a:cubicBezTo>
                <a:cubicBezTo>
                  <a:pt x="438" y="74"/>
                  <a:pt x="441" y="73"/>
                  <a:pt x="441" y="73"/>
                </a:cubicBezTo>
                <a:cubicBezTo>
                  <a:pt x="441" y="73"/>
                  <a:pt x="443" y="74"/>
                  <a:pt x="443" y="74"/>
                </a:cubicBezTo>
                <a:cubicBezTo>
                  <a:pt x="443" y="74"/>
                  <a:pt x="444" y="75"/>
                  <a:pt x="444" y="75"/>
                </a:cubicBezTo>
                <a:cubicBezTo>
                  <a:pt x="445" y="75"/>
                  <a:pt x="445" y="74"/>
                  <a:pt x="446" y="75"/>
                </a:cubicBezTo>
                <a:cubicBezTo>
                  <a:pt x="446" y="75"/>
                  <a:pt x="447" y="77"/>
                  <a:pt x="447" y="77"/>
                </a:cubicBezTo>
                <a:cubicBezTo>
                  <a:pt x="447" y="77"/>
                  <a:pt x="446" y="77"/>
                  <a:pt x="446" y="78"/>
                </a:cubicBezTo>
                <a:cubicBezTo>
                  <a:pt x="446" y="79"/>
                  <a:pt x="447" y="79"/>
                  <a:pt x="446" y="80"/>
                </a:cubicBezTo>
                <a:cubicBezTo>
                  <a:pt x="446" y="80"/>
                  <a:pt x="444" y="80"/>
                  <a:pt x="443" y="80"/>
                </a:cubicBezTo>
                <a:cubicBezTo>
                  <a:pt x="442" y="80"/>
                  <a:pt x="442" y="80"/>
                  <a:pt x="442" y="80"/>
                </a:cubicBezTo>
                <a:cubicBezTo>
                  <a:pt x="441" y="79"/>
                  <a:pt x="440" y="79"/>
                  <a:pt x="439" y="79"/>
                </a:cubicBezTo>
                <a:cubicBezTo>
                  <a:pt x="438" y="78"/>
                  <a:pt x="437" y="77"/>
                  <a:pt x="436" y="76"/>
                </a:cubicBezTo>
                <a:cubicBezTo>
                  <a:pt x="435" y="75"/>
                  <a:pt x="434" y="73"/>
                  <a:pt x="433" y="73"/>
                </a:cubicBezTo>
                <a:cubicBezTo>
                  <a:pt x="431" y="72"/>
                  <a:pt x="430" y="72"/>
                  <a:pt x="430" y="73"/>
                </a:cubicBezTo>
                <a:cubicBezTo>
                  <a:pt x="430" y="74"/>
                  <a:pt x="431" y="75"/>
                  <a:pt x="432" y="75"/>
                </a:cubicBezTo>
                <a:cubicBezTo>
                  <a:pt x="431" y="76"/>
                  <a:pt x="430" y="77"/>
                  <a:pt x="429" y="78"/>
                </a:cubicBezTo>
                <a:cubicBezTo>
                  <a:pt x="428" y="78"/>
                  <a:pt x="428" y="78"/>
                  <a:pt x="427" y="78"/>
                </a:cubicBezTo>
                <a:cubicBezTo>
                  <a:pt x="426" y="78"/>
                  <a:pt x="425" y="78"/>
                  <a:pt x="424" y="77"/>
                </a:cubicBezTo>
                <a:cubicBezTo>
                  <a:pt x="422" y="77"/>
                  <a:pt x="420" y="77"/>
                  <a:pt x="418" y="76"/>
                </a:cubicBezTo>
                <a:cubicBezTo>
                  <a:pt x="417" y="76"/>
                  <a:pt x="416" y="76"/>
                  <a:pt x="416" y="76"/>
                </a:cubicBezTo>
                <a:cubicBezTo>
                  <a:pt x="413" y="76"/>
                  <a:pt x="410" y="77"/>
                  <a:pt x="408" y="78"/>
                </a:cubicBezTo>
                <a:cubicBezTo>
                  <a:pt x="406" y="78"/>
                  <a:pt x="403" y="79"/>
                  <a:pt x="401" y="79"/>
                </a:cubicBezTo>
                <a:cubicBezTo>
                  <a:pt x="400" y="78"/>
                  <a:pt x="397" y="78"/>
                  <a:pt x="397" y="79"/>
                </a:cubicBezTo>
                <a:cubicBezTo>
                  <a:pt x="397" y="79"/>
                  <a:pt x="397" y="79"/>
                  <a:pt x="397" y="79"/>
                </a:cubicBezTo>
                <a:cubicBezTo>
                  <a:pt x="395" y="79"/>
                  <a:pt x="395" y="78"/>
                  <a:pt x="393" y="77"/>
                </a:cubicBezTo>
                <a:cubicBezTo>
                  <a:pt x="391" y="77"/>
                  <a:pt x="390" y="77"/>
                  <a:pt x="388" y="76"/>
                </a:cubicBezTo>
                <a:cubicBezTo>
                  <a:pt x="388" y="76"/>
                  <a:pt x="388" y="75"/>
                  <a:pt x="387" y="75"/>
                </a:cubicBezTo>
                <a:cubicBezTo>
                  <a:pt x="387" y="75"/>
                  <a:pt x="386" y="74"/>
                  <a:pt x="386" y="74"/>
                </a:cubicBezTo>
                <a:cubicBezTo>
                  <a:pt x="385" y="74"/>
                  <a:pt x="383" y="73"/>
                  <a:pt x="383" y="73"/>
                </a:cubicBezTo>
                <a:cubicBezTo>
                  <a:pt x="381" y="72"/>
                  <a:pt x="378" y="73"/>
                  <a:pt x="375" y="73"/>
                </a:cubicBezTo>
                <a:cubicBezTo>
                  <a:pt x="375" y="73"/>
                  <a:pt x="374" y="73"/>
                  <a:pt x="373" y="73"/>
                </a:cubicBezTo>
                <a:cubicBezTo>
                  <a:pt x="372" y="73"/>
                  <a:pt x="372" y="73"/>
                  <a:pt x="372" y="73"/>
                </a:cubicBezTo>
                <a:cubicBezTo>
                  <a:pt x="371" y="73"/>
                  <a:pt x="372" y="72"/>
                  <a:pt x="371" y="72"/>
                </a:cubicBezTo>
                <a:cubicBezTo>
                  <a:pt x="371" y="72"/>
                  <a:pt x="371" y="72"/>
                  <a:pt x="371" y="71"/>
                </a:cubicBezTo>
                <a:cubicBezTo>
                  <a:pt x="370" y="71"/>
                  <a:pt x="370" y="71"/>
                  <a:pt x="370" y="71"/>
                </a:cubicBezTo>
                <a:cubicBezTo>
                  <a:pt x="370" y="71"/>
                  <a:pt x="370" y="70"/>
                  <a:pt x="370" y="70"/>
                </a:cubicBezTo>
                <a:cubicBezTo>
                  <a:pt x="370" y="69"/>
                  <a:pt x="371" y="69"/>
                  <a:pt x="369" y="69"/>
                </a:cubicBezTo>
                <a:cubicBezTo>
                  <a:pt x="368" y="69"/>
                  <a:pt x="367" y="70"/>
                  <a:pt x="367" y="69"/>
                </a:cubicBezTo>
                <a:cubicBezTo>
                  <a:pt x="366" y="69"/>
                  <a:pt x="365" y="68"/>
                  <a:pt x="364" y="68"/>
                </a:cubicBezTo>
                <a:cubicBezTo>
                  <a:pt x="364" y="67"/>
                  <a:pt x="363" y="67"/>
                  <a:pt x="363" y="67"/>
                </a:cubicBezTo>
                <a:cubicBezTo>
                  <a:pt x="363" y="67"/>
                  <a:pt x="363" y="66"/>
                  <a:pt x="363" y="66"/>
                </a:cubicBezTo>
                <a:cubicBezTo>
                  <a:pt x="363" y="66"/>
                  <a:pt x="362" y="66"/>
                  <a:pt x="362" y="66"/>
                </a:cubicBezTo>
                <a:cubicBezTo>
                  <a:pt x="359" y="65"/>
                  <a:pt x="363" y="65"/>
                  <a:pt x="363" y="65"/>
                </a:cubicBezTo>
                <a:cubicBezTo>
                  <a:pt x="363" y="65"/>
                  <a:pt x="362" y="63"/>
                  <a:pt x="362" y="63"/>
                </a:cubicBezTo>
                <a:cubicBezTo>
                  <a:pt x="362" y="63"/>
                  <a:pt x="361" y="62"/>
                  <a:pt x="361" y="62"/>
                </a:cubicBezTo>
                <a:cubicBezTo>
                  <a:pt x="361" y="61"/>
                  <a:pt x="362" y="61"/>
                  <a:pt x="362" y="61"/>
                </a:cubicBezTo>
                <a:cubicBezTo>
                  <a:pt x="361" y="60"/>
                  <a:pt x="360" y="59"/>
                  <a:pt x="360" y="59"/>
                </a:cubicBezTo>
                <a:cubicBezTo>
                  <a:pt x="358" y="58"/>
                  <a:pt x="356" y="57"/>
                  <a:pt x="354" y="57"/>
                </a:cubicBezTo>
                <a:cubicBezTo>
                  <a:pt x="354" y="57"/>
                  <a:pt x="352" y="58"/>
                  <a:pt x="351" y="58"/>
                </a:cubicBezTo>
                <a:cubicBezTo>
                  <a:pt x="349" y="59"/>
                  <a:pt x="347" y="59"/>
                  <a:pt x="344" y="60"/>
                </a:cubicBezTo>
                <a:cubicBezTo>
                  <a:pt x="341" y="61"/>
                  <a:pt x="338" y="61"/>
                  <a:pt x="334" y="62"/>
                </a:cubicBezTo>
                <a:cubicBezTo>
                  <a:pt x="333" y="62"/>
                  <a:pt x="332" y="63"/>
                  <a:pt x="331" y="64"/>
                </a:cubicBezTo>
                <a:cubicBezTo>
                  <a:pt x="331" y="64"/>
                  <a:pt x="331" y="65"/>
                  <a:pt x="330" y="66"/>
                </a:cubicBezTo>
                <a:cubicBezTo>
                  <a:pt x="329" y="67"/>
                  <a:pt x="329" y="67"/>
                  <a:pt x="328" y="68"/>
                </a:cubicBezTo>
                <a:cubicBezTo>
                  <a:pt x="326" y="71"/>
                  <a:pt x="333" y="66"/>
                  <a:pt x="331" y="69"/>
                </a:cubicBezTo>
                <a:cubicBezTo>
                  <a:pt x="334" y="69"/>
                  <a:pt x="337" y="70"/>
                  <a:pt x="340" y="70"/>
                </a:cubicBezTo>
                <a:cubicBezTo>
                  <a:pt x="339" y="69"/>
                  <a:pt x="338" y="70"/>
                  <a:pt x="338" y="68"/>
                </a:cubicBezTo>
                <a:cubicBezTo>
                  <a:pt x="338" y="67"/>
                  <a:pt x="340" y="67"/>
                  <a:pt x="341" y="67"/>
                </a:cubicBezTo>
                <a:cubicBezTo>
                  <a:pt x="341" y="68"/>
                  <a:pt x="342" y="68"/>
                  <a:pt x="343" y="68"/>
                </a:cubicBezTo>
                <a:cubicBezTo>
                  <a:pt x="344" y="69"/>
                  <a:pt x="345" y="68"/>
                  <a:pt x="346" y="67"/>
                </a:cubicBezTo>
                <a:cubicBezTo>
                  <a:pt x="347" y="67"/>
                  <a:pt x="348" y="66"/>
                  <a:pt x="349" y="66"/>
                </a:cubicBezTo>
                <a:cubicBezTo>
                  <a:pt x="349" y="67"/>
                  <a:pt x="350" y="68"/>
                  <a:pt x="351" y="68"/>
                </a:cubicBezTo>
                <a:cubicBezTo>
                  <a:pt x="350" y="67"/>
                  <a:pt x="351" y="67"/>
                  <a:pt x="351" y="66"/>
                </a:cubicBezTo>
                <a:cubicBezTo>
                  <a:pt x="351" y="66"/>
                  <a:pt x="351" y="65"/>
                  <a:pt x="351" y="65"/>
                </a:cubicBezTo>
                <a:cubicBezTo>
                  <a:pt x="351" y="64"/>
                  <a:pt x="352" y="64"/>
                  <a:pt x="352" y="64"/>
                </a:cubicBezTo>
                <a:cubicBezTo>
                  <a:pt x="355" y="63"/>
                  <a:pt x="357" y="62"/>
                  <a:pt x="360" y="62"/>
                </a:cubicBezTo>
                <a:cubicBezTo>
                  <a:pt x="360" y="62"/>
                  <a:pt x="359" y="63"/>
                  <a:pt x="359" y="63"/>
                </a:cubicBezTo>
                <a:cubicBezTo>
                  <a:pt x="359" y="64"/>
                  <a:pt x="359" y="64"/>
                  <a:pt x="359" y="65"/>
                </a:cubicBezTo>
                <a:cubicBezTo>
                  <a:pt x="359" y="66"/>
                  <a:pt x="354" y="66"/>
                  <a:pt x="353" y="67"/>
                </a:cubicBezTo>
                <a:cubicBezTo>
                  <a:pt x="352" y="67"/>
                  <a:pt x="352" y="67"/>
                  <a:pt x="351" y="69"/>
                </a:cubicBezTo>
                <a:cubicBezTo>
                  <a:pt x="351" y="71"/>
                  <a:pt x="351" y="69"/>
                  <a:pt x="350" y="69"/>
                </a:cubicBezTo>
                <a:cubicBezTo>
                  <a:pt x="349" y="69"/>
                  <a:pt x="348" y="69"/>
                  <a:pt x="348" y="70"/>
                </a:cubicBezTo>
                <a:cubicBezTo>
                  <a:pt x="345" y="71"/>
                  <a:pt x="343" y="72"/>
                  <a:pt x="340" y="73"/>
                </a:cubicBezTo>
                <a:cubicBezTo>
                  <a:pt x="337" y="74"/>
                  <a:pt x="338" y="73"/>
                  <a:pt x="337" y="72"/>
                </a:cubicBezTo>
                <a:cubicBezTo>
                  <a:pt x="337" y="72"/>
                  <a:pt x="337" y="72"/>
                  <a:pt x="337" y="73"/>
                </a:cubicBezTo>
                <a:cubicBezTo>
                  <a:pt x="337" y="73"/>
                  <a:pt x="337" y="73"/>
                  <a:pt x="337" y="73"/>
                </a:cubicBezTo>
                <a:cubicBezTo>
                  <a:pt x="337" y="73"/>
                  <a:pt x="337" y="73"/>
                  <a:pt x="337" y="74"/>
                </a:cubicBezTo>
                <a:cubicBezTo>
                  <a:pt x="338" y="74"/>
                  <a:pt x="340" y="74"/>
                  <a:pt x="339" y="75"/>
                </a:cubicBezTo>
                <a:cubicBezTo>
                  <a:pt x="338" y="76"/>
                  <a:pt x="336" y="76"/>
                  <a:pt x="336" y="77"/>
                </a:cubicBezTo>
                <a:cubicBezTo>
                  <a:pt x="335" y="77"/>
                  <a:pt x="335" y="78"/>
                  <a:pt x="335" y="78"/>
                </a:cubicBezTo>
                <a:cubicBezTo>
                  <a:pt x="335" y="78"/>
                  <a:pt x="335" y="78"/>
                  <a:pt x="334" y="78"/>
                </a:cubicBezTo>
                <a:cubicBezTo>
                  <a:pt x="335" y="78"/>
                  <a:pt x="335" y="79"/>
                  <a:pt x="336" y="79"/>
                </a:cubicBezTo>
                <a:cubicBezTo>
                  <a:pt x="336" y="80"/>
                  <a:pt x="336" y="80"/>
                  <a:pt x="336" y="80"/>
                </a:cubicBezTo>
                <a:cubicBezTo>
                  <a:pt x="336" y="80"/>
                  <a:pt x="337" y="80"/>
                  <a:pt x="337" y="79"/>
                </a:cubicBezTo>
                <a:cubicBezTo>
                  <a:pt x="337" y="79"/>
                  <a:pt x="337" y="79"/>
                  <a:pt x="337" y="79"/>
                </a:cubicBezTo>
                <a:cubicBezTo>
                  <a:pt x="338" y="80"/>
                  <a:pt x="338" y="81"/>
                  <a:pt x="339" y="81"/>
                </a:cubicBezTo>
                <a:cubicBezTo>
                  <a:pt x="340" y="82"/>
                  <a:pt x="340" y="82"/>
                  <a:pt x="339" y="83"/>
                </a:cubicBezTo>
                <a:cubicBezTo>
                  <a:pt x="339" y="84"/>
                  <a:pt x="339" y="83"/>
                  <a:pt x="339" y="84"/>
                </a:cubicBezTo>
                <a:cubicBezTo>
                  <a:pt x="339" y="84"/>
                  <a:pt x="340" y="85"/>
                  <a:pt x="340" y="85"/>
                </a:cubicBezTo>
                <a:cubicBezTo>
                  <a:pt x="340" y="86"/>
                  <a:pt x="340" y="86"/>
                  <a:pt x="341" y="87"/>
                </a:cubicBezTo>
                <a:cubicBezTo>
                  <a:pt x="341" y="88"/>
                  <a:pt x="343" y="88"/>
                  <a:pt x="344" y="89"/>
                </a:cubicBezTo>
                <a:cubicBezTo>
                  <a:pt x="344" y="89"/>
                  <a:pt x="342" y="89"/>
                  <a:pt x="342" y="90"/>
                </a:cubicBezTo>
                <a:cubicBezTo>
                  <a:pt x="342" y="90"/>
                  <a:pt x="342" y="90"/>
                  <a:pt x="343" y="91"/>
                </a:cubicBezTo>
                <a:cubicBezTo>
                  <a:pt x="344" y="91"/>
                  <a:pt x="345" y="93"/>
                  <a:pt x="345" y="94"/>
                </a:cubicBezTo>
                <a:cubicBezTo>
                  <a:pt x="344" y="93"/>
                  <a:pt x="343" y="92"/>
                  <a:pt x="341" y="91"/>
                </a:cubicBezTo>
                <a:cubicBezTo>
                  <a:pt x="342" y="92"/>
                  <a:pt x="342" y="93"/>
                  <a:pt x="342" y="94"/>
                </a:cubicBezTo>
                <a:cubicBezTo>
                  <a:pt x="341" y="94"/>
                  <a:pt x="341" y="94"/>
                  <a:pt x="340" y="93"/>
                </a:cubicBezTo>
                <a:cubicBezTo>
                  <a:pt x="340" y="93"/>
                  <a:pt x="341" y="93"/>
                  <a:pt x="340" y="93"/>
                </a:cubicBezTo>
                <a:cubicBezTo>
                  <a:pt x="340" y="92"/>
                  <a:pt x="341" y="92"/>
                  <a:pt x="341" y="91"/>
                </a:cubicBezTo>
                <a:cubicBezTo>
                  <a:pt x="341" y="91"/>
                  <a:pt x="340" y="90"/>
                  <a:pt x="339" y="90"/>
                </a:cubicBezTo>
                <a:cubicBezTo>
                  <a:pt x="340" y="90"/>
                  <a:pt x="338" y="90"/>
                  <a:pt x="338" y="91"/>
                </a:cubicBezTo>
                <a:cubicBezTo>
                  <a:pt x="338" y="92"/>
                  <a:pt x="338" y="92"/>
                  <a:pt x="339" y="93"/>
                </a:cubicBezTo>
                <a:cubicBezTo>
                  <a:pt x="339" y="93"/>
                  <a:pt x="339" y="94"/>
                  <a:pt x="339" y="94"/>
                </a:cubicBezTo>
                <a:cubicBezTo>
                  <a:pt x="338" y="95"/>
                  <a:pt x="338" y="95"/>
                  <a:pt x="339" y="96"/>
                </a:cubicBezTo>
                <a:cubicBezTo>
                  <a:pt x="339" y="96"/>
                  <a:pt x="340" y="96"/>
                  <a:pt x="340" y="97"/>
                </a:cubicBezTo>
                <a:cubicBezTo>
                  <a:pt x="340" y="97"/>
                  <a:pt x="341" y="98"/>
                  <a:pt x="341" y="98"/>
                </a:cubicBezTo>
                <a:cubicBezTo>
                  <a:pt x="342" y="99"/>
                  <a:pt x="343" y="100"/>
                  <a:pt x="343" y="102"/>
                </a:cubicBezTo>
                <a:cubicBezTo>
                  <a:pt x="342" y="101"/>
                  <a:pt x="342" y="100"/>
                  <a:pt x="341" y="99"/>
                </a:cubicBezTo>
                <a:cubicBezTo>
                  <a:pt x="340" y="99"/>
                  <a:pt x="340" y="98"/>
                  <a:pt x="339" y="97"/>
                </a:cubicBezTo>
                <a:cubicBezTo>
                  <a:pt x="338" y="97"/>
                  <a:pt x="339" y="97"/>
                  <a:pt x="338" y="96"/>
                </a:cubicBezTo>
                <a:cubicBezTo>
                  <a:pt x="337" y="96"/>
                  <a:pt x="337" y="96"/>
                  <a:pt x="336" y="95"/>
                </a:cubicBezTo>
                <a:cubicBezTo>
                  <a:pt x="336" y="95"/>
                  <a:pt x="337" y="95"/>
                  <a:pt x="336" y="94"/>
                </a:cubicBezTo>
                <a:cubicBezTo>
                  <a:pt x="335" y="93"/>
                  <a:pt x="334" y="94"/>
                  <a:pt x="333" y="93"/>
                </a:cubicBezTo>
                <a:cubicBezTo>
                  <a:pt x="336" y="93"/>
                  <a:pt x="334" y="92"/>
                  <a:pt x="333" y="91"/>
                </a:cubicBezTo>
                <a:cubicBezTo>
                  <a:pt x="333" y="91"/>
                  <a:pt x="332" y="90"/>
                  <a:pt x="332" y="90"/>
                </a:cubicBezTo>
                <a:cubicBezTo>
                  <a:pt x="331" y="90"/>
                  <a:pt x="331" y="90"/>
                  <a:pt x="330" y="90"/>
                </a:cubicBezTo>
                <a:cubicBezTo>
                  <a:pt x="330" y="89"/>
                  <a:pt x="330" y="88"/>
                  <a:pt x="330" y="88"/>
                </a:cubicBezTo>
                <a:cubicBezTo>
                  <a:pt x="331" y="89"/>
                  <a:pt x="332" y="90"/>
                  <a:pt x="333" y="90"/>
                </a:cubicBezTo>
                <a:cubicBezTo>
                  <a:pt x="334" y="90"/>
                  <a:pt x="335" y="90"/>
                  <a:pt x="336" y="90"/>
                </a:cubicBezTo>
                <a:cubicBezTo>
                  <a:pt x="337" y="90"/>
                  <a:pt x="337" y="90"/>
                  <a:pt x="337" y="89"/>
                </a:cubicBezTo>
                <a:cubicBezTo>
                  <a:pt x="337" y="88"/>
                  <a:pt x="336" y="86"/>
                  <a:pt x="335" y="85"/>
                </a:cubicBezTo>
                <a:cubicBezTo>
                  <a:pt x="334" y="85"/>
                  <a:pt x="331" y="85"/>
                  <a:pt x="331" y="84"/>
                </a:cubicBezTo>
                <a:cubicBezTo>
                  <a:pt x="330" y="83"/>
                  <a:pt x="331" y="82"/>
                  <a:pt x="330" y="82"/>
                </a:cubicBezTo>
                <a:cubicBezTo>
                  <a:pt x="330" y="80"/>
                  <a:pt x="329" y="79"/>
                  <a:pt x="328" y="81"/>
                </a:cubicBezTo>
                <a:cubicBezTo>
                  <a:pt x="328" y="82"/>
                  <a:pt x="328" y="83"/>
                  <a:pt x="327" y="85"/>
                </a:cubicBezTo>
                <a:cubicBezTo>
                  <a:pt x="327" y="83"/>
                  <a:pt x="325" y="84"/>
                  <a:pt x="325" y="83"/>
                </a:cubicBezTo>
                <a:cubicBezTo>
                  <a:pt x="325" y="82"/>
                  <a:pt x="326" y="82"/>
                  <a:pt x="326" y="82"/>
                </a:cubicBezTo>
                <a:cubicBezTo>
                  <a:pt x="326" y="81"/>
                  <a:pt x="326" y="81"/>
                  <a:pt x="326" y="81"/>
                </a:cubicBezTo>
                <a:cubicBezTo>
                  <a:pt x="326" y="80"/>
                  <a:pt x="326" y="79"/>
                  <a:pt x="325" y="78"/>
                </a:cubicBezTo>
                <a:cubicBezTo>
                  <a:pt x="324" y="78"/>
                  <a:pt x="322" y="79"/>
                  <a:pt x="321" y="79"/>
                </a:cubicBezTo>
                <a:cubicBezTo>
                  <a:pt x="320" y="79"/>
                  <a:pt x="319" y="79"/>
                  <a:pt x="318" y="78"/>
                </a:cubicBezTo>
                <a:cubicBezTo>
                  <a:pt x="319" y="78"/>
                  <a:pt x="319" y="78"/>
                  <a:pt x="319" y="78"/>
                </a:cubicBezTo>
                <a:cubicBezTo>
                  <a:pt x="318" y="77"/>
                  <a:pt x="319" y="77"/>
                  <a:pt x="318" y="76"/>
                </a:cubicBezTo>
                <a:cubicBezTo>
                  <a:pt x="317" y="76"/>
                  <a:pt x="314" y="76"/>
                  <a:pt x="313" y="76"/>
                </a:cubicBezTo>
                <a:cubicBezTo>
                  <a:pt x="305" y="77"/>
                  <a:pt x="297" y="78"/>
                  <a:pt x="289" y="79"/>
                </a:cubicBezTo>
                <a:cubicBezTo>
                  <a:pt x="285" y="79"/>
                  <a:pt x="281" y="79"/>
                  <a:pt x="276" y="79"/>
                </a:cubicBezTo>
                <a:cubicBezTo>
                  <a:pt x="273" y="79"/>
                  <a:pt x="271" y="77"/>
                  <a:pt x="268" y="77"/>
                </a:cubicBezTo>
                <a:cubicBezTo>
                  <a:pt x="266" y="77"/>
                  <a:pt x="264" y="77"/>
                  <a:pt x="262" y="76"/>
                </a:cubicBezTo>
                <a:cubicBezTo>
                  <a:pt x="262" y="76"/>
                  <a:pt x="262" y="76"/>
                  <a:pt x="261" y="76"/>
                </a:cubicBezTo>
                <a:cubicBezTo>
                  <a:pt x="261" y="75"/>
                  <a:pt x="260" y="76"/>
                  <a:pt x="259" y="75"/>
                </a:cubicBezTo>
                <a:cubicBezTo>
                  <a:pt x="258" y="74"/>
                  <a:pt x="260" y="74"/>
                  <a:pt x="261" y="74"/>
                </a:cubicBezTo>
                <a:cubicBezTo>
                  <a:pt x="262" y="74"/>
                  <a:pt x="262" y="74"/>
                  <a:pt x="263" y="73"/>
                </a:cubicBezTo>
                <a:cubicBezTo>
                  <a:pt x="262" y="73"/>
                  <a:pt x="261" y="72"/>
                  <a:pt x="262" y="71"/>
                </a:cubicBezTo>
                <a:cubicBezTo>
                  <a:pt x="263" y="71"/>
                  <a:pt x="264" y="71"/>
                  <a:pt x="265" y="71"/>
                </a:cubicBezTo>
                <a:cubicBezTo>
                  <a:pt x="266" y="71"/>
                  <a:pt x="266" y="70"/>
                  <a:pt x="267" y="70"/>
                </a:cubicBezTo>
                <a:cubicBezTo>
                  <a:pt x="267" y="70"/>
                  <a:pt x="266" y="70"/>
                  <a:pt x="266" y="69"/>
                </a:cubicBezTo>
                <a:cubicBezTo>
                  <a:pt x="268" y="69"/>
                  <a:pt x="271" y="69"/>
                  <a:pt x="273" y="69"/>
                </a:cubicBezTo>
                <a:cubicBezTo>
                  <a:pt x="275" y="69"/>
                  <a:pt x="274" y="69"/>
                  <a:pt x="274" y="67"/>
                </a:cubicBezTo>
                <a:cubicBezTo>
                  <a:pt x="274" y="67"/>
                  <a:pt x="275" y="67"/>
                  <a:pt x="275" y="67"/>
                </a:cubicBezTo>
                <a:cubicBezTo>
                  <a:pt x="275" y="66"/>
                  <a:pt x="274" y="67"/>
                  <a:pt x="273" y="66"/>
                </a:cubicBezTo>
                <a:cubicBezTo>
                  <a:pt x="273" y="66"/>
                  <a:pt x="274" y="65"/>
                  <a:pt x="274" y="65"/>
                </a:cubicBezTo>
                <a:cubicBezTo>
                  <a:pt x="274" y="64"/>
                  <a:pt x="273" y="64"/>
                  <a:pt x="273" y="64"/>
                </a:cubicBezTo>
                <a:cubicBezTo>
                  <a:pt x="272" y="64"/>
                  <a:pt x="273" y="64"/>
                  <a:pt x="272" y="63"/>
                </a:cubicBezTo>
                <a:cubicBezTo>
                  <a:pt x="272" y="63"/>
                  <a:pt x="271" y="63"/>
                  <a:pt x="270" y="62"/>
                </a:cubicBezTo>
                <a:cubicBezTo>
                  <a:pt x="270" y="62"/>
                  <a:pt x="270" y="61"/>
                  <a:pt x="269" y="61"/>
                </a:cubicBezTo>
                <a:cubicBezTo>
                  <a:pt x="269" y="60"/>
                  <a:pt x="268" y="60"/>
                  <a:pt x="267" y="60"/>
                </a:cubicBezTo>
                <a:cubicBezTo>
                  <a:pt x="267" y="60"/>
                  <a:pt x="267" y="60"/>
                  <a:pt x="266" y="59"/>
                </a:cubicBezTo>
                <a:cubicBezTo>
                  <a:pt x="265" y="58"/>
                  <a:pt x="264" y="59"/>
                  <a:pt x="263" y="58"/>
                </a:cubicBezTo>
                <a:cubicBezTo>
                  <a:pt x="260" y="57"/>
                  <a:pt x="257" y="56"/>
                  <a:pt x="254" y="56"/>
                </a:cubicBezTo>
                <a:cubicBezTo>
                  <a:pt x="254" y="56"/>
                  <a:pt x="250" y="56"/>
                  <a:pt x="251" y="57"/>
                </a:cubicBezTo>
                <a:cubicBezTo>
                  <a:pt x="251" y="57"/>
                  <a:pt x="252" y="57"/>
                  <a:pt x="252" y="57"/>
                </a:cubicBezTo>
                <a:cubicBezTo>
                  <a:pt x="253" y="58"/>
                  <a:pt x="254" y="58"/>
                  <a:pt x="254" y="59"/>
                </a:cubicBezTo>
                <a:cubicBezTo>
                  <a:pt x="252" y="58"/>
                  <a:pt x="249" y="58"/>
                  <a:pt x="246" y="58"/>
                </a:cubicBezTo>
                <a:cubicBezTo>
                  <a:pt x="245" y="57"/>
                  <a:pt x="243" y="58"/>
                  <a:pt x="241" y="57"/>
                </a:cubicBezTo>
                <a:cubicBezTo>
                  <a:pt x="240" y="57"/>
                  <a:pt x="239" y="56"/>
                  <a:pt x="238" y="56"/>
                </a:cubicBezTo>
                <a:cubicBezTo>
                  <a:pt x="236" y="56"/>
                  <a:pt x="234" y="55"/>
                  <a:pt x="232" y="54"/>
                </a:cubicBezTo>
                <a:cubicBezTo>
                  <a:pt x="231" y="54"/>
                  <a:pt x="230" y="54"/>
                  <a:pt x="229" y="53"/>
                </a:cubicBezTo>
                <a:cubicBezTo>
                  <a:pt x="228" y="53"/>
                  <a:pt x="227" y="52"/>
                  <a:pt x="227" y="52"/>
                </a:cubicBezTo>
                <a:cubicBezTo>
                  <a:pt x="225" y="51"/>
                  <a:pt x="223" y="51"/>
                  <a:pt x="222" y="51"/>
                </a:cubicBezTo>
                <a:cubicBezTo>
                  <a:pt x="219" y="50"/>
                  <a:pt x="216" y="50"/>
                  <a:pt x="213" y="49"/>
                </a:cubicBezTo>
                <a:cubicBezTo>
                  <a:pt x="213" y="49"/>
                  <a:pt x="213" y="50"/>
                  <a:pt x="213" y="50"/>
                </a:cubicBezTo>
                <a:cubicBezTo>
                  <a:pt x="214" y="51"/>
                  <a:pt x="213" y="53"/>
                  <a:pt x="213" y="53"/>
                </a:cubicBezTo>
                <a:cubicBezTo>
                  <a:pt x="213" y="52"/>
                  <a:pt x="213" y="51"/>
                  <a:pt x="213" y="50"/>
                </a:cubicBezTo>
                <a:cubicBezTo>
                  <a:pt x="213" y="49"/>
                  <a:pt x="213" y="49"/>
                  <a:pt x="213" y="49"/>
                </a:cubicBezTo>
                <a:cubicBezTo>
                  <a:pt x="210" y="48"/>
                  <a:pt x="208" y="46"/>
                  <a:pt x="205" y="45"/>
                </a:cubicBezTo>
                <a:cubicBezTo>
                  <a:pt x="202" y="44"/>
                  <a:pt x="199" y="42"/>
                  <a:pt x="197" y="41"/>
                </a:cubicBezTo>
                <a:cubicBezTo>
                  <a:pt x="195" y="41"/>
                  <a:pt x="193" y="41"/>
                  <a:pt x="191" y="41"/>
                </a:cubicBezTo>
                <a:cubicBezTo>
                  <a:pt x="189" y="41"/>
                  <a:pt x="185" y="40"/>
                  <a:pt x="182" y="41"/>
                </a:cubicBezTo>
                <a:cubicBezTo>
                  <a:pt x="182" y="41"/>
                  <a:pt x="181" y="42"/>
                  <a:pt x="181" y="42"/>
                </a:cubicBezTo>
                <a:cubicBezTo>
                  <a:pt x="181" y="42"/>
                  <a:pt x="181" y="42"/>
                  <a:pt x="181" y="43"/>
                </a:cubicBezTo>
                <a:cubicBezTo>
                  <a:pt x="181" y="43"/>
                  <a:pt x="181" y="43"/>
                  <a:pt x="181" y="44"/>
                </a:cubicBezTo>
                <a:cubicBezTo>
                  <a:pt x="181" y="44"/>
                  <a:pt x="181" y="44"/>
                  <a:pt x="181" y="44"/>
                </a:cubicBezTo>
                <a:cubicBezTo>
                  <a:pt x="181" y="45"/>
                  <a:pt x="181" y="45"/>
                  <a:pt x="181" y="45"/>
                </a:cubicBezTo>
                <a:cubicBezTo>
                  <a:pt x="181" y="47"/>
                  <a:pt x="179" y="47"/>
                  <a:pt x="177" y="47"/>
                </a:cubicBezTo>
                <a:cubicBezTo>
                  <a:pt x="175" y="48"/>
                  <a:pt x="171" y="50"/>
                  <a:pt x="168" y="49"/>
                </a:cubicBezTo>
                <a:cubicBezTo>
                  <a:pt x="168" y="49"/>
                  <a:pt x="167" y="49"/>
                  <a:pt x="167" y="48"/>
                </a:cubicBezTo>
                <a:cubicBezTo>
                  <a:pt x="167" y="48"/>
                  <a:pt x="168" y="48"/>
                  <a:pt x="168" y="48"/>
                </a:cubicBezTo>
                <a:cubicBezTo>
                  <a:pt x="168" y="48"/>
                  <a:pt x="168" y="47"/>
                  <a:pt x="168" y="48"/>
                </a:cubicBezTo>
                <a:cubicBezTo>
                  <a:pt x="168" y="47"/>
                  <a:pt x="168" y="47"/>
                  <a:pt x="169" y="47"/>
                </a:cubicBezTo>
                <a:cubicBezTo>
                  <a:pt x="169" y="46"/>
                  <a:pt x="170" y="46"/>
                  <a:pt x="170" y="46"/>
                </a:cubicBezTo>
                <a:cubicBezTo>
                  <a:pt x="171" y="45"/>
                  <a:pt x="170" y="44"/>
                  <a:pt x="171" y="44"/>
                </a:cubicBezTo>
                <a:cubicBezTo>
                  <a:pt x="170" y="43"/>
                  <a:pt x="168" y="43"/>
                  <a:pt x="167" y="42"/>
                </a:cubicBezTo>
                <a:cubicBezTo>
                  <a:pt x="167" y="41"/>
                  <a:pt x="168" y="41"/>
                  <a:pt x="168" y="40"/>
                </a:cubicBezTo>
                <a:cubicBezTo>
                  <a:pt x="167" y="39"/>
                  <a:pt x="168" y="39"/>
                  <a:pt x="168" y="37"/>
                </a:cubicBezTo>
                <a:cubicBezTo>
                  <a:pt x="168" y="36"/>
                  <a:pt x="169" y="35"/>
                  <a:pt x="168" y="35"/>
                </a:cubicBezTo>
                <a:cubicBezTo>
                  <a:pt x="167" y="34"/>
                  <a:pt x="166" y="35"/>
                  <a:pt x="166" y="34"/>
                </a:cubicBezTo>
                <a:cubicBezTo>
                  <a:pt x="166" y="34"/>
                  <a:pt x="166" y="34"/>
                  <a:pt x="167" y="34"/>
                </a:cubicBezTo>
                <a:cubicBezTo>
                  <a:pt x="166" y="34"/>
                  <a:pt x="165" y="34"/>
                  <a:pt x="165" y="34"/>
                </a:cubicBezTo>
                <a:cubicBezTo>
                  <a:pt x="164" y="34"/>
                  <a:pt x="165" y="34"/>
                  <a:pt x="165" y="35"/>
                </a:cubicBezTo>
                <a:cubicBezTo>
                  <a:pt x="165" y="35"/>
                  <a:pt x="165" y="35"/>
                  <a:pt x="165" y="35"/>
                </a:cubicBezTo>
                <a:cubicBezTo>
                  <a:pt x="166" y="36"/>
                  <a:pt x="166" y="35"/>
                  <a:pt x="167" y="35"/>
                </a:cubicBezTo>
                <a:cubicBezTo>
                  <a:pt x="165" y="36"/>
                  <a:pt x="163" y="36"/>
                  <a:pt x="162" y="37"/>
                </a:cubicBezTo>
                <a:cubicBezTo>
                  <a:pt x="161" y="37"/>
                  <a:pt x="160" y="37"/>
                  <a:pt x="160" y="38"/>
                </a:cubicBezTo>
                <a:cubicBezTo>
                  <a:pt x="160" y="38"/>
                  <a:pt x="160" y="39"/>
                  <a:pt x="160" y="39"/>
                </a:cubicBezTo>
                <a:cubicBezTo>
                  <a:pt x="160" y="39"/>
                  <a:pt x="162" y="38"/>
                  <a:pt x="162" y="38"/>
                </a:cubicBezTo>
                <a:cubicBezTo>
                  <a:pt x="162" y="37"/>
                  <a:pt x="163" y="37"/>
                  <a:pt x="164" y="37"/>
                </a:cubicBezTo>
                <a:cubicBezTo>
                  <a:pt x="163" y="38"/>
                  <a:pt x="158" y="41"/>
                  <a:pt x="160" y="42"/>
                </a:cubicBezTo>
                <a:cubicBezTo>
                  <a:pt x="160" y="42"/>
                  <a:pt x="162" y="42"/>
                  <a:pt x="162" y="42"/>
                </a:cubicBezTo>
                <a:cubicBezTo>
                  <a:pt x="163" y="42"/>
                  <a:pt x="163" y="43"/>
                  <a:pt x="163" y="44"/>
                </a:cubicBezTo>
                <a:cubicBezTo>
                  <a:pt x="163" y="42"/>
                  <a:pt x="158" y="43"/>
                  <a:pt x="158" y="44"/>
                </a:cubicBezTo>
                <a:cubicBezTo>
                  <a:pt x="158" y="45"/>
                  <a:pt x="160" y="45"/>
                  <a:pt x="159" y="45"/>
                </a:cubicBezTo>
                <a:cubicBezTo>
                  <a:pt x="159" y="46"/>
                  <a:pt x="160" y="46"/>
                  <a:pt x="161" y="47"/>
                </a:cubicBezTo>
                <a:cubicBezTo>
                  <a:pt x="159" y="46"/>
                  <a:pt x="156" y="46"/>
                  <a:pt x="156" y="48"/>
                </a:cubicBezTo>
                <a:cubicBezTo>
                  <a:pt x="157" y="48"/>
                  <a:pt x="158" y="47"/>
                  <a:pt x="159" y="47"/>
                </a:cubicBezTo>
                <a:cubicBezTo>
                  <a:pt x="161" y="47"/>
                  <a:pt x="159" y="50"/>
                  <a:pt x="157" y="50"/>
                </a:cubicBezTo>
                <a:cubicBezTo>
                  <a:pt x="155" y="49"/>
                  <a:pt x="153" y="48"/>
                  <a:pt x="150" y="47"/>
                </a:cubicBezTo>
                <a:cubicBezTo>
                  <a:pt x="148" y="45"/>
                  <a:pt x="144" y="42"/>
                  <a:pt x="144" y="39"/>
                </a:cubicBezTo>
                <a:cubicBezTo>
                  <a:pt x="144" y="39"/>
                  <a:pt x="144" y="39"/>
                  <a:pt x="144" y="38"/>
                </a:cubicBezTo>
                <a:cubicBezTo>
                  <a:pt x="144" y="38"/>
                  <a:pt x="143" y="38"/>
                  <a:pt x="143" y="37"/>
                </a:cubicBezTo>
                <a:cubicBezTo>
                  <a:pt x="142" y="37"/>
                  <a:pt x="142" y="36"/>
                  <a:pt x="141" y="35"/>
                </a:cubicBezTo>
                <a:cubicBezTo>
                  <a:pt x="139" y="31"/>
                  <a:pt x="135" y="29"/>
                  <a:pt x="131" y="27"/>
                </a:cubicBezTo>
                <a:cubicBezTo>
                  <a:pt x="131" y="27"/>
                  <a:pt x="129" y="30"/>
                  <a:pt x="130" y="31"/>
                </a:cubicBezTo>
                <a:cubicBezTo>
                  <a:pt x="130" y="31"/>
                  <a:pt x="132" y="30"/>
                  <a:pt x="132" y="30"/>
                </a:cubicBezTo>
                <a:cubicBezTo>
                  <a:pt x="132" y="32"/>
                  <a:pt x="130" y="32"/>
                  <a:pt x="132" y="32"/>
                </a:cubicBezTo>
                <a:cubicBezTo>
                  <a:pt x="133" y="33"/>
                  <a:pt x="135" y="33"/>
                  <a:pt x="136" y="33"/>
                </a:cubicBezTo>
                <a:cubicBezTo>
                  <a:pt x="135" y="33"/>
                  <a:pt x="134" y="34"/>
                  <a:pt x="133" y="34"/>
                </a:cubicBezTo>
                <a:cubicBezTo>
                  <a:pt x="132" y="34"/>
                  <a:pt x="131" y="34"/>
                  <a:pt x="130" y="34"/>
                </a:cubicBezTo>
                <a:cubicBezTo>
                  <a:pt x="129" y="34"/>
                  <a:pt x="128" y="35"/>
                  <a:pt x="128" y="36"/>
                </a:cubicBezTo>
                <a:cubicBezTo>
                  <a:pt x="128" y="38"/>
                  <a:pt x="128" y="38"/>
                  <a:pt x="127" y="39"/>
                </a:cubicBezTo>
                <a:cubicBezTo>
                  <a:pt x="125" y="40"/>
                  <a:pt x="124" y="41"/>
                  <a:pt x="123" y="42"/>
                </a:cubicBezTo>
                <a:cubicBezTo>
                  <a:pt x="122" y="43"/>
                  <a:pt x="122" y="43"/>
                  <a:pt x="121" y="43"/>
                </a:cubicBezTo>
                <a:cubicBezTo>
                  <a:pt x="121" y="43"/>
                  <a:pt x="120" y="43"/>
                  <a:pt x="120" y="43"/>
                </a:cubicBezTo>
                <a:cubicBezTo>
                  <a:pt x="120" y="43"/>
                  <a:pt x="120" y="41"/>
                  <a:pt x="120" y="40"/>
                </a:cubicBezTo>
                <a:cubicBezTo>
                  <a:pt x="120" y="40"/>
                  <a:pt x="121" y="40"/>
                  <a:pt x="122" y="40"/>
                </a:cubicBezTo>
                <a:cubicBezTo>
                  <a:pt x="122" y="40"/>
                  <a:pt x="122" y="39"/>
                  <a:pt x="122" y="39"/>
                </a:cubicBezTo>
                <a:cubicBezTo>
                  <a:pt x="121" y="39"/>
                  <a:pt x="121" y="40"/>
                  <a:pt x="120" y="40"/>
                </a:cubicBezTo>
                <a:cubicBezTo>
                  <a:pt x="119" y="40"/>
                  <a:pt x="118" y="40"/>
                  <a:pt x="118" y="40"/>
                </a:cubicBezTo>
                <a:cubicBezTo>
                  <a:pt x="116" y="41"/>
                  <a:pt x="115" y="41"/>
                  <a:pt x="114" y="41"/>
                </a:cubicBezTo>
                <a:cubicBezTo>
                  <a:pt x="112" y="42"/>
                  <a:pt x="110" y="42"/>
                  <a:pt x="108" y="43"/>
                </a:cubicBezTo>
                <a:cubicBezTo>
                  <a:pt x="107" y="43"/>
                  <a:pt x="107" y="44"/>
                  <a:pt x="106" y="45"/>
                </a:cubicBezTo>
                <a:cubicBezTo>
                  <a:pt x="106" y="46"/>
                  <a:pt x="104" y="46"/>
                  <a:pt x="104" y="47"/>
                </a:cubicBezTo>
                <a:cubicBezTo>
                  <a:pt x="104" y="47"/>
                  <a:pt x="104" y="47"/>
                  <a:pt x="104" y="47"/>
                </a:cubicBezTo>
                <a:cubicBezTo>
                  <a:pt x="103" y="48"/>
                  <a:pt x="102" y="49"/>
                  <a:pt x="102" y="50"/>
                </a:cubicBezTo>
                <a:cubicBezTo>
                  <a:pt x="101" y="51"/>
                  <a:pt x="102" y="53"/>
                  <a:pt x="101" y="53"/>
                </a:cubicBezTo>
                <a:cubicBezTo>
                  <a:pt x="100" y="53"/>
                  <a:pt x="102" y="50"/>
                  <a:pt x="102" y="50"/>
                </a:cubicBezTo>
                <a:cubicBezTo>
                  <a:pt x="100" y="50"/>
                  <a:pt x="100" y="50"/>
                  <a:pt x="101" y="49"/>
                </a:cubicBezTo>
                <a:cubicBezTo>
                  <a:pt x="101" y="48"/>
                  <a:pt x="102" y="47"/>
                  <a:pt x="101" y="46"/>
                </a:cubicBezTo>
                <a:cubicBezTo>
                  <a:pt x="101" y="47"/>
                  <a:pt x="100" y="49"/>
                  <a:pt x="100" y="50"/>
                </a:cubicBezTo>
                <a:cubicBezTo>
                  <a:pt x="101" y="48"/>
                  <a:pt x="101" y="46"/>
                  <a:pt x="99" y="45"/>
                </a:cubicBezTo>
                <a:cubicBezTo>
                  <a:pt x="99" y="45"/>
                  <a:pt x="100" y="45"/>
                  <a:pt x="100" y="46"/>
                </a:cubicBezTo>
                <a:cubicBezTo>
                  <a:pt x="100" y="47"/>
                  <a:pt x="100" y="48"/>
                  <a:pt x="99" y="49"/>
                </a:cubicBezTo>
                <a:cubicBezTo>
                  <a:pt x="100" y="48"/>
                  <a:pt x="100" y="46"/>
                  <a:pt x="98" y="45"/>
                </a:cubicBezTo>
                <a:cubicBezTo>
                  <a:pt x="99" y="47"/>
                  <a:pt x="99" y="47"/>
                  <a:pt x="98" y="48"/>
                </a:cubicBezTo>
                <a:cubicBezTo>
                  <a:pt x="97" y="49"/>
                  <a:pt x="96" y="49"/>
                  <a:pt x="96" y="50"/>
                </a:cubicBezTo>
                <a:cubicBezTo>
                  <a:pt x="96" y="50"/>
                  <a:pt x="96" y="48"/>
                  <a:pt x="96" y="48"/>
                </a:cubicBezTo>
                <a:cubicBezTo>
                  <a:pt x="96" y="47"/>
                  <a:pt x="92" y="48"/>
                  <a:pt x="91" y="48"/>
                </a:cubicBezTo>
                <a:cubicBezTo>
                  <a:pt x="94" y="48"/>
                  <a:pt x="90" y="52"/>
                  <a:pt x="89" y="52"/>
                </a:cubicBezTo>
                <a:cubicBezTo>
                  <a:pt x="87" y="54"/>
                  <a:pt x="84" y="54"/>
                  <a:pt x="82" y="55"/>
                </a:cubicBezTo>
                <a:cubicBezTo>
                  <a:pt x="82" y="55"/>
                  <a:pt x="82" y="55"/>
                  <a:pt x="82" y="55"/>
                </a:cubicBezTo>
                <a:cubicBezTo>
                  <a:pt x="82" y="56"/>
                  <a:pt x="82" y="56"/>
                  <a:pt x="82" y="56"/>
                </a:cubicBezTo>
                <a:cubicBezTo>
                  <a:pt x="83" y="57"/>
                  <a:pt x="82" y="57"/>
                  <a:pt x="82" y="57"/>
                </a:cubicBezTo>
                <a:cubicBezTo>
                  <a:pt x="82" y="58"/>
                  <a:pt x="83" y="57"/>
                  <a:pt x="83" y="58"/>
                </a:cubicBezTo>
                <a:cubicBezTo>
                  <a:pt x="83" y="58"/>
                  <a:pt x="87" y="56"/>
                  <a:pt x="86" y="59"/>
                </a:cubicBezTo>
                <a:cubicBezTo>
                  <a:pt x="85" y="59"/>
                  <a:pt x="84" y="59"/>
                  <a:pt x="83" y="59"/>
                </a:cubicBezTo>
                <a:cubicBezTo>
                  <a:pt x="83" y="59"/>
                  <a:pt x="82" y="59"/>
                  <a:pt x="82" y="59"/>
                </a:cubicBezTo>
                <a:cubicBezTo>
                  <a:pt x="81" y="59"/>
                  <a:pt x="81" y="59"/>
                  <a:pt x="80" y="59"/>
                </a:cubicBezTo>
                <a:cubicBezTo>
                  <a:pt x="79" y="59"/>
                  <a:pt x="78" y="58"/>
                  <a:pt x="77" y="58"/>
                </a:cubicBezTo>
                <a:cubicBezTo>
                  <a:pt x="77" y="59"/>
                  <a:pt x="77" y="59"/>
                  <a:pt x="78" y="59"/>
                </a:cubicBezTo>
                <a:cubicBezTo>
                  <a:pt x="77" y="60"/>
                  <a:pt x="80" y="61"/>
                  <a:pt x="81" y="61"/>
                </a:cubicBezTo>
                <a:cubicBezTo>
                  <a:pt x="80" y="61"/>
                  <a:pt x="75" y="60"/>
                  <a:pt x="76" y="59"/>
                </a:cubicBezTo>
                <a:cubicBezTo>
                  <a:pt x="76" y="58"/>
                  <a:pt x="77" y="58"/>
                  <a:pt x="77" y="57"/>
                </a:cubicBezTo>
                <a:cubicBezTo>
                  <a:pt x="78" y="57"/>
                  <a:pt x="78" y="56"/>
                  <a:pt x="79" y="55"/>
                </a:cubicBezTo>
                <a:cubicBezTo>
                  <a:pt x="79" y="54"/>
                  <a:pt x="81" y="54"/>
                  <a:pt x="82" y="56"/>
                </a:cubicBezTo>
                <a:cubicBezTo>
                  <a:pt x="81" y="55"/>
                  <a:pt x="81" y="54"/>
                  <a:pt x="82" y="54"/>
                </a:cubicBezTo>
                <a:cubicBezTo>
                  <a:pt x="82" y="54"/>
                  <a:pt x="82" y="54"/>
                  <a:pt x="82" y="54"/>
                </a:cubicBezTo>
                <a:cubicBezTo>
                  <a:pt x="82" y="52"/>
                  <a:pt x="83" y="51"/>
                  <a:pt x="84" y="51"/>
                </a:cubicBezTo>
                <a:cubicBezTo>
                  <a:pt x="86" y="50"/>
                  <a:pt x="85" y="51"/>
                  <a:pt x="86" y="53"/>
                </a:cubicBezTo>
                <a:cubicBezTo>
                  <a:pt x="86" y="52"/>
                  <a:pt x="86" y="52"/>
                  <a:pt x="87" y="51"/>
                </a:cubicBezTo>
                <a:cubicBezTo>
                  <a:pt x="88" y="51"/>
                  <a:pt x="87" y="51"/>
                  <a:pt x="88" y="50"/>
                </a:cubicBezTo>
                <a:cubicBezTo>
                  <a:pt x="88" y="50"/>
                  <a:pt x="89" y="49"/>
                  <a:pt x="90" y="49"/>
                </a:cubicBezTo>
                <a:cubicBezTo>
                  <a:pt x="90" y="48"/>
                  <a:pt x="90" y="47"/>
                  <a:pt x="91" y="46"/>
                </a:cubicBezTo>
                <a:cubicBezTo>
                  <a:pt x="93" y="45"/>
                  <a:pt x="96" y="45"/>
                  <a:pt x="98" y="45"/>
                </a:cubicBezTo>
                <a:cubicBezTo>
                  <a:pt x="99" y="44"/>
                  <a:pt x="100" y="44"/>
                  <a:pt x="101" y="45"/>
                </a:cubicBezTo>
                <a:cubicBezTo>
                  <a:pt x="102" y="46"/>
                  <a:pt x="103" y="44"/>
                  <a:pt x="104" y="43"/>
                </a:cubicBezTo>
                <a:cubicBezTo>
                  <a:pt x="105" y="43"/>
                  <a:pt x="105" y="42"/>
                  <a:pt x="107" y="41"/>
                </a:cubicBezTo>
                <a:cubicBezTo>
                  <a:pt x="108" y="40"/>
                  <a:pt x="110" y="40"/>
                  <a:pt x="111" y="39"/>
                </a:cubicBezTo>
                <a:cubicBezTo>
                  <a:pt x="113" y="39"/>
                  <a:pt x="114" y="38"/>
                  <a:pt x="116" y="37"/>
                </a:cubicBezTo>
                <a:cubicBezTo>
                  <a:pt x="116" y="37"/>
                  <a:pt x="117" y="36"/>
                  <a:pt x="117" y="36"/>
                </a:cubicBezTo>
                <a:cubicBezTo>
                  <a:pt x="117" y="36"/>
                  <a:pt x="116" y="36"/>
                  <a:pt x="117" y="35"/>
                </a:cubicBezTo>
                <a:cubicBezTo>
                  <a:pt x="116" y="35"/>
                  <a:pt x="116" y="35"/>
                  <a:pt x="115" y="35"/>
                </a:cubicBezTo>
                <a:cubicBezTo>
                  <a:pt x="115" y="34"/>
                  <a:pt x="115" y="34"/>
                  <a:pt x="115" y="33"/>
                </a:cubicBezTo>
                <a:cubicBezTo>
                  <a:pt x="114" y="32"/>
                  <a:pt x="112" y="36"/>
                  <a:pt x="111" y="36"/>
                </a:cubicBezTo>
                <a:cubicBezTo>
                  <a:pt x="111" y="36"/>
                  <a:pt x="111" y="36"/>
                  <a:pt x="112" y="36"/>
                </a:cubicBezTo>
                <a:cubicBezTo>
                  <a:pt x="111" y="36"/>
                  <a:pt x="110" y="36"/>
                  <a:pt x="109" y="36"/>
                </a:cubicBezTo>
                <a:cubicBezTo>
                  <a:pt x="109" y="36"/>
                  <a:pt x="107" y="36"/>
                  <a:pt x="106" y="36"/>
                </a:cubicBezTo>
                <a:cubicBezTo>
                  <a:pt x="104" y="36"/>
                  <a:pt x="102" y="35"/>
                  <a:pt x="101" y="37"/>
                </a:cubicBezTo>
                <a:cubicBezTo>
                  <a:pt x="101" y="37"/>
                  <a:pt x="101" y="37"/>
                  <a:pt x="101" y="37"/>
                </a:cubicBezTo>
                <a:cubicBezTo>
                  <a:pt x="100" y="38"/>
                  <a:pt x="100" y="40"/>
                  <a:pt x="99" y="41"/>
                </a:cubicBezTo>
                <a:cubicBezTo>
                  <a:pt x="99" y="36"/>
                  <a:pt x="93" y="41"/>
                  <a:pt x="91" y="42"/>
                </a:cubicBezTo>
                <a:cubicBezTo>
                  <a:pt x="90" y="43"/>
                  <a:pt x="89" y="43"/>
                  <a:pt x="87" y="43"/>
                </a:cubicBezTo>
                <a:cubicBezTo>
                  <a:pt x="85" y="42"/>
                  <a:pt x="85" y="42"/>
                  <a:pt x="86" y="44"/>
                </a:cubicBezTo>
                <a:cubicBezTo>
                  <a:pt x="84" y="44"/>
                  <a:pt x="83" y="44"/>
                  <a:pt x="81" y="44"/>
                </a:cubicBezTo>
                <a:cubicBezTo>
                  <a:pt x="78" y="46"/>
                  <a:pt x="75" y="47"/>
                  <a:pt x="72" y="49"/>
                </a:cubicBezTo>
                <a:cubicBezTo>
                  <a:pt x="71" y="50"/>
                  <a:pt x="69" y="50"/>
                  <a:pt x="68" y="52"/>
                </a:cubicBezTo>
                <a:cubicBezTo>
                  <a:pt x="68" y="52"/>
                  <a:pt x="67" y="52"/>
                  <a:pt x="67" y="52"/>
                </a:cubicBezTo>
                <a:cubicBezTo>
                  <a:pt x="67" y="52"/>
                  <a:pt x="67" y="52"/>
                  <a:pt x="67" y="52"/>
                </a:cubicBezTo>
                <a:cubicBezTo>
                  <a:pt x="67" y="53"/>
                  <a:pt x="66" y="53"/>
                  <a:pt x="66" y="53"/>
                </a:cubicBezTo>
                <a:cubicBezTo>
                  <a:pt x="66" y="53"/>
                  <a:pt x="66" y="53"/>
                  <a:pt x="66" y="53"/>
                </a:cubicBezTo>
                <a:cubicBezTo>
                  <a:pt x="65" y="53"/>
                  <a:pt x="65" y="53"/>
                  <a:pt x="65" y="52"/>
                </a:cubicBezTo>
                <a:cubicBezTo>
                  <a:pt x="65" y="52"/>
                  <a:pt x="65" y="52"/>
                  <a:pt x="64" y="52"/>
                </a:cubicBezTo>
                <a:cubicBezTo>
                  <a:pt x="64" y="52"/>
                  <a:pt x="64" y="52"/>
                  <a:pt x="64" y="52"/>
                </a:cubicBezTo>
                <a:cubicBezTo>
                  <a:pt x="64" y="51"/>
                  <a:pt x="63" y="51"/>
                  <a:pt x="63" y="50"/>
                </a:cubicBezTo>
                <a:cubicBezTo>
                  <a:pt x="63" y="50"/>
                  <a:pt x="63" y="50"/>
                  <a:pt x="63" y="50"/>
                </a:cubicBezTo>
                <a:cubicBezTo>
                  <a:pt x="63" y="50"/>
                  <a:pt x="63" y="50"/>
                  <a:pt x="64" y="49"/>
                </a:cubicBezTo>
                <a:cubicBezTo>
                  <a:pt x="64" y="49"/>
                  <a:pt x="64" y="48"/>
                  <a:pt x="64" y="48"/>
                </a:cubicBezTo>
                <a:cubicBezTo>
                  <a:pt x="65" y="48"/>
                  <a:pt x="65" y="48"/>
                  <a:pt x="65" y="48"/>
                </a:cubicBezTo>
                <a:cubicBezTo>
                  <a:pt x="66" y="48"/>
                  <a:pt x="66" y="48"/>
                  <a:pt x="67" y="47"/>
                </a:cubicBezTo>
                <a:cubicBezTo>
                  <a:pt x="67" y="47"/>
                  <a:pt x="67" y="47"/>
                  <a:pt x="67" y="46"/>
                </a:cubicBezTo>
                <a:cubicBezTo>
                  <a:pt x="67" y="46"/>
                  <a:pt x="67" y="46"/>
                  <a:pt x="67" y="46"/>
                </a:cubicBezTo>
                <a:cubicBezTo>
                  <a:pt x="67" y="46"/>
                  <a:pt x="68" y="46"/>
                  <a:pt x="68" y="46"/>
                </a:cubicBezTo>
                <a:cubicBezTo>
                  <a:pt x="68" y="46"/>
                  <a:pt x="68" y="45"/>
                  <a:pt x="68" y="45"/>
                </a:cubicBezTo>
                <a:cubicBezTo>
                  <a:pt x="68" y="45"/>
                  <a:pt x="69" y="45"/>
                  <a:pt x="69" y="45"/>
                </a:cubicBezTo>
                <a:cubicBezTo>
                  <a:pt x="69" y="45"/>
                  <a:pt x="69" y="45"/>
                  <a:pt x="69" y="45"/>
                </a:cubicBezTo>
                <a:cubicBezTo>
                  <a:pt x="69" y="44"/>
                  <a:pt x="70" y="44"/>
                  <a:pt x="70" y="44"/>
                </a:cubicBezTo>
                <a:cubicBezTo>
                  <a:pt x="70" y="43"/>
                  <a:pt x="70" y="43"/>
                  <a:pt x="71" y="43"/>
                </a:cubicBezTo>
                <a:cubicBezTo>
                  <a:pt x="71" y="43"/>
                  <a:pt x="71" y="42"/>
                  <a:pt x="72" y="42"/>
                </a:cubicBezTo>
                <a:cubicBezTo>
                  <a:pt x="72" y="41"/>
                  <a:pt x="73" y="40"/>
                  <a:pt x="72" y="40"/>
                </a:cubicBezTo>
                <a:cubicBezTo>
                  <a:pt x="72" y="40"/>
                  <a:pt x="72" y="40"/>
                  <a:pt x="72" y="40"/>
                </a:cubicBezTo>
                <a:cubicBezTo>
                  <a:pt x="72" y="40"/>
                  <a:pt x="72" y="40"/>
                  <a:pt x="72" y="40"/>
                </a:cubicBezTo>
                <a:cubicBezTo>
                  <a:pt x="71" y="41"/>
                  <a:pt x="71" y="41"/>
                  <a:pt x="71" y="41"/>
                </a:cubicBezTo>
                <a:cubicBezTo>
                  <a:pt x="70" y="41"/>
                  <a:pt x="70" y="41"/>
                  <a:pt x="70" y="41"/>
                </a:cubicBezTo>
                <a:cubicBezTo>
                  <a:pt x="70" y="41"/>
                  <a:pt x="70" y="41"/>
                  <a:pt x="70" y="41"/>
                </a:cubicBezTo>
                <a:cubicBezTo>
                  <a:pt x="70" y="41"/>
                  <a:pt x="70" y="41"/>
                  <a:pt x="70" y="41"/>
                </a:cubicBezTo>
                <a:cubicBezTo>
                  <a:pt x="70" y="40"/>
                  <a:pt x="70" y="40"/>
                  <a:pt x="70" y="40"/>
                </a:cubicBezTo>
                <a:cubicBezTo>
                  <a:pt x="70" y="40"/>
                  <a:pt x="69" y="40"/>
                  <a:pt x="69" y="40"/>
                </a:cubicBezTo>
                <a:cubicBezTo>
                  <a:pt x="69" y="40"/>
                  <a:pt x="69" y="40"/>
                  <a:pt x="69" y="40"/>
                </a:cubicBezTo>
                <a:cubicBezTo>
                  <a:pt x="69" y="40"/>
                  <a:pt x="69" y="40"/>
                  <a:pt x="69" y="40"/>
                </a:cubicBezTo>
                <a:cubicBezTo>
                  <a:pt x="69" y="40"/>
                  <a:pt x="69" y="39"/>
                  <a:pt x="68" y="38"/>
                </a:cubicBezTo>
                <a:cubicBezTo>
                  <a:pt x="68" y="38"/>
                  <a:pt x="68" y="38"/>
                  <a:pt x="67" y="38"/>
                </a:cubicBezTo>
                <a:cubicBezTo>
                  <a:pt x="67" y="37"/>
                  <a:pt x="66" y="37"/>
                  <a:pt x="66" y="37"/>
                </a:cubicBezTo>
                <a:cubicBezTo>
                  <a:pt x="66" y="37"/>
                  <a:pt x="66" y="37"/>
                  <a:pt x="66" y="38"/>
                </a:cubicBezTo>
                <a:cubicBezTo>
                  <a:pt x="66" y="38"/>
                  <a:pt x="66" y="38"/>
                  <a:pt x="66" y="38"/>
                </a:cubicBezTo>
                <a:cubicBezTo>
                  <a:pt x="66" y="39"/>
                  <a:pt x="66" y="40"/>
                  <a:pt x="66" y="41"/>
                </a:cubicBezTo>
                <a:cubicBezTo>
                  <a:pt x="66" y="42"/>
                  <a:pt x="65" y="42"/>
                  <a:pt x="64" y="42"/>
                </a:cubicBezTo>
                <a:cubicBezTo>
                  <a:pt x="63" y="42"/>
                  <a:pt x="62" y="41"/>
                  <a:pt x="62" y="41"/>
                </a:cubicBezTo>
                <a:cubicBezTo>
                  <a:pt x="62" y="41"/>
                  <a:pt x="61" y="41"/>
                  <a:pt x="61" y="41"/>
                </a:cubicBezTo>
                <a:cubicBezTo>
                  <a:pt x="60" y="41"/>
                  <a:pt x="60" y="42"/>
                  <a:pt x="60" y="41"/>
                </a:cubicBezTo>
                <a:cubicBezTo>
                  <a:pt x="60" y="41"/>
                  <a:pt x="59" y="41"/>
                  <a:pt x="59" y="41"/>
                </a:cubicBezTo>
                <a:cubicBezTo>
                  <a:pt x="58" y="42"/>
                  <a:pt x="57" y="42"/>
                  <a:pt x="57" y="43"/>
                </a:cubicBezTo>
                <a:cubicBezTo>
                  <a:pt x="57" y="44"/>
                  <a:pt x="58" y="45"/>
                  <a:pt x="58" y="45"/>
                </a:cubicBezTo>
                <a:cubicBezTo>
                  <a:pt x="56" y="45"/>
                  <a:pt x="54" y="43"/>
                  <a:pt x="54" y="46"/>
                </a:cubicBezTo>
                <a:cubicBezTo>
                  <a:pt x="53" y="45"/>
                  <a:pt x="52" y="45"/>
                  <a:pt x="51" y="45"/>
                </a:cubicBezTo>
                <a:cubicBezTo>
                  <a:pt x="52" y="47"/>
                  <a:pt x="54" y="47"/>
                  <a:pt x="56" y="48"/>
                </a:cubicBezTo>
                <a:cubicBezTo>
                  <a:pt x="55" y="48"/>
                  <a:pt x="54" y="48"/>
                  <a:pt x="53" y="47"/>
                </a:cubicBezTo>
                <a:cubicBezTo>
                  <a:pt x="53" y="47"/>
                  <a:pt x="53" y="47"/>
                  <a:pt x="53" y="47"/>
                </a:cubicBezTo>
                <a:cubicBezTo>
                  <a:pt x="53" y="47"/>
                  <a:pt x="53" y="47"/>
                  <a:pt x="53" y="47"/>
                </a:cubicBezTo>
                <a:cubicBezTo>
                  <a:pt x="53" y="47"/>
                  <a:pt x="53" y="47"/>
                  <a:pt x="53" y="47"/>
                </a:cubicBezTo>
                <a:cubicBezTo>
                  <a:pt x="53" y="47"/>
                  <a:pt x="53" y="47"/>
                  <a:pt x="53" y="47"/>
                </a:cubicBezTo>
                <a:cubicBezTo>
                  <a:pt x="52" y="47"/>
                  <a:pt x="51" y="46"/>
                  <a:pt x="51" y="46"/>
                </a:cubicBezTo>
                <a:cubicBezTo>
                  <a:pt x="51" y="46"/>
                  <a:pt x="51" y="46"/>
                  <a:pt x="51" y="46"/>
                </a:cubicBezTo>
                <a:cubicBezTo>
                  <a:pt x="50" y="46"/>
                  <a:pt x="50" y="46"/>
                  <a:pt x="50" y="47"/>
                </a:cubicBezTo>
                <a:cubicBezTo>
                  <a:pt x="50" y="47"/>
                  <a:pt x="50" y="47"/>
                  <a:pt x="50" y="48"/>
                </a:cubicBezTo>
                <a:cubicBezTo>
                  <a:pt x="50" y="48"/>
                  <a:pt x="50" y="48"/>
                  <a:pt x="50" y="48"/>
                </a:cubicBezTo>
                <a:cubicBezTo>
                  <a:pt x="50" y="48"/>
                  <a:pt x="50" y="48"/>
                  <a:pt x="50" y="48"/>
                </a:cubicBezTo>
                <a:cubicBezTo>
                  <a:pt x="51" y="48"/>
                  <a:pt x="51" y="48"/>
                  <a:pt x="51" y="49"/>
                </a:cubicBezTo>
                <a:cubicBezTo>
                  <a:pt x="52" y="49"/>
                  <a:pt x="52" y="49"/>
                  <a:pt x="52" y="49"/>
                </a:cubicBezTo>
                <a:cubicBezTo>
                  <a:pt x="52" y="49"/>
                  <a:pt x="53" y="49"/>
                  <a:pt x="53" y="50"/>
                </a:cubicBezTo>
                <a:cubicBezTo>
                  <a:pt x="54" y="50"/>
                  <a:pt x="54" y="50"/>
                  <a:pt x="55" y="50"/>
                </a:cubicBezTo>
                <a:cubicBezTo>
                  <a:pt x="53" y="50"/>
                  <a:pt x="51" y="50"/>
                  <a:pt x="50" y="51"/>
                </a:cubicBezTo>
                <a:cubicBezTo>
                  <a:pt x="50" y="51"/>
                  <a:pt x="51" y="52"/>
                  <a:pt x="51" y="52"/>
                </a:cubicBezTo>
                <a:cubicBezTo>
                  <a:pt x="52" y="52"/>
                  <a:pt x="52" y="52"/>
                  <a:pt x="52" y="52"/>
                </a:cubicBezTo>
                <a:cubicBezTo>
                  <a:pt x="53" y="52"/>
                  <a:pt x="53" y="52"/>
                  <a:pt x="54" y="52"/>
                </a:cubicBezTo>
                <a:cubicBezTo>
                  <a:pt x="54" y="52"/>
                  <a:pt x="54" y="52"/>
                  <a:pt x="55" y="52"/>
                </a:cubicBezTo>
                <a:cubicBezTo>
                  <a:pt x="55" y="52"/>
                  <a:pt x="55" y="52"/>
                  <a:pt x="55" y="52"/>
                </a:cubicBezTo>
                <a:cubicBezTo>
                  <a:pt x="55" y="51"/>
                  <a:pt x="54" y="51"/>
                  <a:pt x="55" y="51"/>
                </a:cubicBezTo>
                <a:cubicBezTo>
                  <a:pt x="55" y="51"/>
                  <a:pt x="55" y="51"/>
                  <a:pt x="55" y="51"/>
                </a:cubicBezTo>
                <a:cubicBezTo>
                  <a:pt x="55" y="51"/>
                  <a:pt x="56" y="51"/>
                  <a:pt x="56" y="51"/>
                </a:cubicBezTo>
                <a:cubicBezTo>
                  <a:pt x="56" y="51"/>
                  <a:pt x="57" y="51"/>
                  <a:pt x="57" y="51"/>
                </a:cubicBezTo>
                <a:cubicBezTo>
                  <a:pt x="58" y="51"/>
                  <a:pt x="59" y="52"/>
                  <a:pt x="60" y="52"/>
                </a:cubicBezTo>
                <a:cubicBezTo>
                  <a:pt x="60" y="52"/>
                  <a:pt x="60" y="52"/>
                  <a:pt x="60" y="52"/>
                </a:cubicBezTo>
                <a:cubicBezTo>
                  <a:pt x="60" y="52"/>
                  <a:pt x="61" y="51"/>
                  <a:pt x="61" y="51"/>
                </a:cubicBezTo>
                <a:cubicBezTo>
                  <a:pt x="61" y="51"/>
                  <a:pt x="61" y="51"/>
                  <a:pt x="61" y="51"/>
                </a:cubicBezTo>
                <a:cubicBezTo>
                  <a:pt x="62" y="50"/>
                  <a:pt x="62" y="50"/>
                  <a:pt x="62" y="51"/>
                </a:cubicBezTo>
                <a:cubicBezTo>
                  <a:pt x="62" y="51"/>
                  <a:pt x="63" y="51"/>
                  <a:pt x="63" y="51"/>
                </a:cubicBezTo>
                <a:cubicBezTo>
                  <a:pt x="63" y="51"/>
                  <a:pt x="63" y="51"/>
                  <a:pt x="63" y="51"/>
                </a:cubicBezTo>
                <a:cubicBezTo>
                  <a:pt x="64" y="52"/>
                  <a:pt x="64" y="53"/>
                  <a:pt x="65" y="54"/>
                </a:cubicBezTo>
                <a:cubicBezTo>
                  <a:pt x="64" y="55"/>
                  <a:pt x="64" y="56"/>
                  <a:pt x="65" y="57"/>
                </a:cubicBezTo>
                <a:cubicBezTo>
                  <a:pt x="65" y="58"/>
                  <a:pt x="66" y="59"/>
                  <a:pt x="66" y="59"/>
                </a:cubicBezTo>
                <a:cubicBezTo>
                  <a:pt x="67" y="60"/>
                  <a:pt x="68" y="60"/>
                  <a:pt x="68" y="61"/>
                </a:cubicBezTo>
                <a:cubicBezTo>
                  <a:pt x="66" y="61"/>
                  <a:pt x="66" y="61"/>
                  <a:pt x="65" y="59"/>
                </a:cubicBezTo>
                <a:cubicBezTo>
                  <a:pt x="64" y="59"/>
                  <a:pt x="64" y="58"/>
                  <a:pt x="63" y="57"/>
                </a:cubicBezTo>
                <a:cubicBezTo>
                  <a:pt x="62" y="57"/>
                  <a:pt x="62" y="57"/>
                  <a:pt x="61" y="57"/>
                </a:cubicBezTo>
                <a:cubicBezTo>
                  <a:pt x="61" y="57"/>
                  <a:pt x="61" y="57"/>
                  <a:pt x="61" y="57"/>
                </a:cubicBezTo>
                <a:cubicBezTo>
                  <a:pt x="60" y="57"/>
                  <a:pt x="60" y="57"/>
                  <a:pt x="60" y="57"/>
                </a:cubicBezTo>
                <a:cubicBezTo>
                  <a:pt x="60" y="57"/>
                  <a:pt x="59" y="57"/>
                  <a:pt x="59" y="57"/>
                </a:cubicBezTo>
                <a:cubicBezTo>
                  <a:pt x="58" y="58"/>
                  <a:pt x="56" y="59"/>
                  <a:pt x="55" y="59"/>
                </a:cubicBezTo>
                <a:cubicBezTo>
                  <a:pt x="56" y="60"/>
                  <a:pt x="57" y="61"/>
                  <a:pt x="58" y="62"/>
                </a:cubicBezTo>
                <a:cubicBezTo>
                  <a:pt x="57" y="62"/>
                  <a:pt x="54" y="60"/>
                  <a:pt x="52" y="60"/>
                </a:cubicBezTo>
                <a:cubicBezTo>
                  <a:pt x="50" y="59"/>
                  <a:pt x="48" y="58"/>
                  <a:pt x="45" y="57"/>
                </a:cubicBezTo>
                <a:cubicBezTo>
                  <a:pt x="45" y="57"/>
                  <a:pt x="45" y="58"/>
                  <a:pt x="45" y="58"/>
                </a:cubicBezTo>
                <a:cubicBezTo>
                  <a:pt x="45" y="57"/>
                  <a:pt x="45" y="57"/>
                  <a:pt x="44" y="57"/>
                </a:cubicBezTo>
                <a:cubicBezTo>
                  <a:pt x="37" y="54"/>
                  <a:pt x="30" y="52"/>
                  <a:pt x="23" y="49"/>
                </a:cubicBezTo>
                <a:cubicBezTo>
                  <a:pt x="22" y="49"/>
                  <a:pt x="20" y="49"/>
                  <a:pt x="19" y="48"/>
                </a:cubicBezTo>
                <a:cubicBezTo>
                  <a:pt x="18" y="47"/>
                  <a:pt x="18" y="46"/>
                  <a:pt x="17" y="46"/>
                </a:cubicBezTo>
                <a:cubicBezTo>
                  <a:pt x="11" y="46"/>
                  <a:pt x="6" y="45"/>
                  <a:pt x="0" y="44"/>
                </a:cubicBezTo>
                <a:cubicBezTo>
                  <a:pt x="0" y="62"/>
                  <a:pt x="0" y="62"/>
                  <a:pt x="0" y="62"/>
                </a:cubicBezTo>
                <a:cubicBezTo>
                  <a:pt x="0" y="77"/>
                  <a:pt x="0" y="93"/>
                  <a:pt x="0" y="105"/>
                </a:cubicBezTo>
                <a:cubicBezTo>
                  <a:pt x="0" y="105"/>
                  <a:pt x="0" y="105"/>
                  <a:pt x="0" y="105"/>
                </a:cubicBezTo>
                <a:cubicBezTo>
                  <a:pt x="0" y="116"/>
                  <a:pt x="0" y="127"/>
                  <a:pt x="0" y="137"/>
                </a:cubicBezTo>
                <a:cubicBezTo>
                  <a:pt x="0" y="166"/>
                  <a:pt x="0" y="166"/>
                  <a:pt x="0" y="166"/>
                </a:cubicBezTo>
                <a:cubicBezTo>
                  <a:pt x="0" y="170"/>
                  <a:pt x="0" y="175"/>
                  <a:pt x="0" y="179"/>
                </a:cubicBezTo>
                <a:cubicBezTo>
                  <a:pt x="0" y="183"/>
                  <a:pt x="0" y="186"/>
                  <a:pt x="0" y="189"/>
                </a:cubicBezTo>
                <a:cubicBezTo>
                  <a:pt x="0" y="195"/>
                  <a:pt x="0" y="195"/>
                  <a:pt x="0" y="195"/>
                </a:cubicBezTo>
                <a:cubicBezTo>
                  <a:pt x="0" y="196"/>
                  <a:pt x="0" y="197"/>
                  <a:pt x="0" y="198"/>
                </a:cubicBezTo>
                <a:cubicBezTo>
                  <a:pt x="0" y="198"/>
                  <a:pt x="0" y="198"/>
                  <a:pt x="0" y="198"/>
                </a:cubicBezTo>
                <a:cubicBezTo>
                  <a:pt x="9" y="200"/>
                  <a:pt x="9" y="200"/>
                  <a:pt x="9" y="200"/>
                </a:cubicBezTo>
                <a:cubicBezTo>
                  <a:pt x="9" y="200"/>
                  <a:pt x="9" y="199"/>
                  <a:pt x="10" y="199"/>
                </a:cubicBezTo>
                <a:cubicBezTo>
                  <a:pt x="10" y="198"/>
                  <a:pt x="11" y="198"/>
                  <a:pt x="12" y="198"/>
                </a:cubicBezTo>
                <a:cubicBezTo>
                  <a:pt x="13" y="197"/>
                  <a:pt x="14" y="197"/>
                  <a:pt x="15" y="197"/>
                </a:cubicBezTo>
                <a:cubicBezTo>
                  <a:pt x="15" y="197"/>
                  <a:pt x="15" y="197"/>
                  <a:pt x="15" y="197"/>
                </a:cubicBezTo>
                <a:cubicBezTo>
                  <a:pt x="15" y="197"/>
                  <a:pt x="15" y="197"/>
                  <a:pt x="15" y="197"/>
                </a:cubicBezTo>
                <a:cubicBezTo>
                  <a:pt x="17" y="197"/>
                  <a:pt x="18" y="197"/>
                  <a:pt x="19" y="198"/>
                </a:cubicBezTo>
                <a:cubicBezTo>
                  <a:pt x="20" y="199"/>
                  <a:pt x="19" y="200"/>
                  <a:pt x="19" y="202"/>
                </a:cubicBezTo>
                <a:cubicBezTo>
                  <a:pt x="19" y="202"/>
                  <a:pt x="19" y="202"/>
                  <a:pt x="19" y="203"/>
                </a:cubicBezTo>
                <a:cubicBezTo>
                  <a:pt x="19" y="203"/>
                  <a:pt x="19" y="203"/>
                  <a:pt x="19" y="203"/>
                </a:cubicBezTo>
                <a:cubicBezTo>
                  <a:pt x="21" y="204"/>
                  <a:pt x="22" y="205"/>
                  <a:pt x="24" y="206"/>
                </a:cubicBezTo>
                <a:cubicBezTo>
                  <a:pt x="30" y="211"/>
                  <a:pt x="30" y="211"/>
                  <a:pt x="30" y="211"/>
                </a:cubicBezTo>
                <a:cubicBezTo>
                  <a:pt x="30" y="211"/>
                  <a:pt x="30" y="212"/>
                  <a:pt x="31" y="212"/>
                </a:cubicBezTo>
                <a:cubicBezTo>
                  <a:pt x="32" y="212"/>
                  <a:pt x="33" y="213"/>
                  <a:pt x="34" y="214"/>
                </a:cubicBezTo>
                <a:cubicBezTo>
                  <a:pt x="35" y="215"/>
                  <a:pt x="35" y="216"/>
                  <a:pt x="35" y="217"/>
                </a:cubicBezTo>
                <a:cubicBezTo>
                  <a:pt x="36" y="218"/>
                  <a:pt x="36" y="218"/>
                  <a:pt x="36" y="218"/>
                </a:cubicBezTo>
                <a:cubicBezTo>
                  <a:pt x="36" y="218"/>
                  <a:pt x="36" y="218"/>
                  <a:pt x="36" y="218"/>
                </a:cubicBezTo>
                <a:cubicBezTo>
                  <a:pt x="37" y="218"/>
                  <a:pt x="38" y="217"/>
                  <a:pt x="39" y="217"/>
                </a:cubicBezTo>
                <a:cubicBezTo>
                  <a:pt x="39" y="216"/>
                  <a:pt x="39" y="216"/>
                  <a:pt x="39" y="216"/>
                </a:cubicBezTo>
                <a:cubicBezTo>
                  <a:pt x="40" y="216"/>
                  <a:pt x="40" y="216"/>
                  <a:pt x="41" y="215"/>
                </a:cubicBezTo>
                <a:cubicBezTo>
                  <a:pt x="41" y="215"/>
                  <a:pt x="41" y="215"/>
                  <a:pt x="41" y="215"/>
                </a:cubicBezTo>
                <a:cubicBezTo>
                  <a:pt x="41" y="215"/>
                  <a:pt x="42" y="215"/>
                  <a:pt x="42" y="215"/>
                </a:cubicBezTo>
                <a:cubicBezTo>
                  <a:pt x="43" y="215"/>
                  <a:pt x="43" y="215"/>
                  <a:pt x="43" y="215"/>
                </a:cubicBezTo>
                <a:cubicBezTo>
                  <a:pt x="43" y="215"/>
                  <a:pt x="43" y="215"/>
                  <a:pt x="43" y="215"/>
                </a:cubicBezTo>
                <a:cubicBezTo>
                  <a:pt x="43" y="215"/>
                  <a:pt x="43" y="215"/>
                  <a:pt x="43" y="215"/>
                </a:cubicBezTo>
                <a:cubicBezTo>
                  <a:pt x="44" y="215"/>
                  <a:pt x="44" y="214"/>
                  <a:pt x="44" y="214"/>
                </a:cubicBezTo>
                <a:cubicBezTo>
                  <a:pt x="44" y="214"/>
                  <a:pt x="44" y="214"/>
                  <a:pt x="44" y="214"/>
                </a:cubicBezTo>
                <a:cubicBezTo>
                  <a:pt x="44" y="214"/>
                  <a:pt x="44" y="214"/>
                  <a:pt x="44" y="214"/>
                </a:cubicBezTo>
                <a:cubicBezTo>
                  <a:pt x="44" y="213"/>
                  <a:pt x="44" y="213"/>
                  <a:pt x="44" y="213"/>
                </a:cubicBezTo>
                <a:cubicBezTo>
                  <a:pt x="44" y="212"/>
                  <a:pt x="44" y="211"/>
                  <a:pt x="45" y="211"/>
                </a:cubicBezTo>
                <a:cubicBezTo>
                  <a:pt x="44" y="210"/>
                  <a:pt x="44" y="210"/>
                  <a:pt x="44" y="210"/>
                </a:cubicBezTo>
                <a:cubicBezTo>
                  <a:pt x="46" y="209"/>
                  <a:pt x="46" y="209"/>
                  <a:pt x="46" y="209"/>
                </a:cubicBezTo>
                <a:cubicBezTo>
                  <a:pt x="47" y="208"/>
                  <a:pt x="48" y="208"/>
                  <a:pt x="48" y="208"/>
                </a:cubicBezTo>
                <a:cubicBezTo>
                  <a:pt x="49" y="208"/>
                  <a:pt x="49" y="208"/>
                  <a:pt x="49" y="208"/>
                </a:cubicBezTo>
                <a:cubicBezTo>
                  <a:pt x="50" y="208"/>
                  <a:pt x="50" y="208"/>
                  <a:pt x="50" y="208"/>
                </a:cubicBezTo>
                <a:cubicBezTo>
                  <a:pt x="51" y="207"/>
                  <a:pt x="51" y="207"/>
                  <a:pt x="51" y="207"/>
                </a:cubicBezTo>
                <a:cubicBezTo>
                  <a:pt x="52" y="207"/>
                  <a:pt x="52" y="207"/>
                  <a:pt x="52" y="207"/>
                </a:cubicBezTo>
                <a:cubicBezTo>
                  <a:pt x="52" y="207"/>
                  <a:pt x="52" y="207"/>
                  <a:pt x="53" y="207"/>
                </a:cubicBezTo>
                <a:cubicBezTo>
                  <a:pt x="53" y="206"/>
                  <a:pt x="54" y="206"/>
                  <a:pt x="55" y="206"/>
                </a:cubicBezTo>
                <a:cubicBezTo>
                  <a:pt x="56" y="206"/>
                  <a:pt x="57" y="207"/>
                  <a:pt x="58" y="208"/>
                </a:cubicBezTo>
                <a:cubicBezTo>
                  <a:pt x="59" y="210"/>
                  <a:pt x="60" y="211"/>
                  <a:pt x="61" y="213"/>
                </a:cubicBezTo>
                <a:cubicBezTo>
                  <a:pt x="61" y="214"/>
                  <a:pt x="62" y="214"/>
                  <a:pt x="62" y="214"/>
                </a:cubicBezTo>
                <a:cubicBezTo>
                  <a:pt x="63" y="214"/>
                  <a:pt x="63" y="215"/>
                  <a:pt x="64" y="215"/>
                </a:cubicBezTo>
                <a:cubicBezTo>
                  <a:pt x="64" y="215"/>
                  <a:pt x="64" y="215"/>
                  <a:pt x="64" y="215"/>
                </a:cubicBezTo>
                <a:cubicBezTo>
                  <a:pt x="66" y="216"/>
                  <a:pt x="67" y="217"/>
                  <a:pt x="68" y="218"/>
                </a:cubicBezTo>
                <a:cubicBezTo>
                  <a:pt x="69" y="220"/>
                  <a:pt x="70" y="221"/>
                  <a:pt x="72" y="223"/>
                </a:cubicBezTo>
                <a:cubicBezTo>
                  <a:pt x="77" y="227"/>
                  <a:pt x="77" y="227"/>
                  <a:pt x="77" y="227"/>
                </a:cubicBezTo>
                <a:cubicBezTo>
                  <a:pt x="78" y="227"/>
                  <a:pt x="78" y="228"/>
                  <a:pt x="79" y="229"/>
                </a:cubicBezTo>
                <a:cubicBezTo>
                  <a:pt x="79" y="230"/>
                  <a:pt x="79" y="230"/>
                  <a:pt x="79" y="230"/>
                </a:cubicBezTo>
                <a:cubicBezTo>
                  <a:pt x="79" y="230"/>
                  <a:pt x="80" y="231"/>
                  <a:pt x="80" y="232"/>
                </a:cubicBezTo>
                <a:cubicBezTo>
                  <a:pt x="81" y="233"/>
                  <a:pt x="81" y="234"/>
                  <a:pt x="82" y="234"/>
                </a:cubicBezTo>
                <a:cubicBezTo>
                  <a:pt x="83" y="235"/>
                  <a:pt x="83" y="236"/>
                  <a:pt x="84" y="237"/>
                </a:cubicBezTo>
                <a:cubicBezTo>
                  <a:pt x="84" y="238"/>
                  <a:pt x="84" y="238"/>
                  <a:pt x="84" y="238"/>
                </a:cubicBezTo>
                <a:cubicBezTo>
                  <a:pt x="86" y="240"/>
                  <a:pt x="87" y="241"/>
                  <a:pt x="88" y="243"/>
                </a:cubicBezTo>
                <a:cubicBezTo>
                  <a:pt x="88" y="243"/>
                  <a:pt x="89" y="244"/>
                  <a:pt x="89" y="245"/>
                </a:cubicBezTo>
                <a:cubicBezTo>
                  <a:pt x="89" y="245"/>
                  <a:pt x="90" y="245"/>
                  <a:pt x="89" y="246"/>
                </a:cubicBezTo>
                <a:cubicBezTo>
                  <a:pt x="89" y="246"/>
                  <a:pt x="89" y="247"/>
                  <a:pt x="89" y="247"/>
                </a:cubicBezTo>
                <a:cubicBezTo>
                  <a:pt x="89" y="247"/>
                  <a:pt x="89" y="247"/>
                  <a:pt x="89" y="247"/>
                </a:cubicBezTo>
                <a:cubicBezTo>
                  <a:pt x="89" y="247"/>
                  <a:pt x="89" y="247"/>
                  <a:pt x="89" y="247"/>
                </a:cubicBezTo>
                <a:cubicBezTo>
                  <a:pt x="89" y="247"/>
                  <a:pt x="89" y="247"/>
                  <a:pt x="89" y="248"/>
                </a:cubicBezTo>
                <a:cubicBezTo>
                  <a:pt x="89" y="248"/>
                  <a:pt x="90" y="248"/>
                  <a:pt x="90" y="249"/>
                </a:cubicBezTo>
                <a:cubicBezTo>
                  <a:pt x="90" y="249"/>
                  <a:pt x="90" y="249"/>
                  <a:pt x="90" y="249"/>
                </a:cubicBezTo>
                <a:cubicBezTo>
                  <a:pt x="90" y="249"/>
                  <a:pt x="90" y="249"/>
                  <a:pt x="91" y="250"/>
                </a:cubicBezTo>
                <a:cubicBezTo>
                  <a:pt x="91" y="250"/>
                  <a:pt x="92" y="251"/>
                  <a:pt x="92" y="252"/>
                </a:cubicBezTo>
                <a:cubicBezTo>
                  <a:pt x="92" y="252"/>
                  <a:pt x="92" y="252"/>
                  <a:pt x="92" y="252"/>
                </a:cubicBezTo>
                <a:cubicBezTo>
                  <a:pt x="93" y="252"/>
                  <a:pt x="93" y="252"/>
                  <a:pt x="93" y="253"/>
                </a:cubicBezTo>
                <a:cubicBezTo>
                  <a:pt x="93" y="253"/>
                  <a:pt x="93" y="253"/>
                  <a:pt x="93" y="253"/>
                </a:cubicBezTo>
                <a:cubicBezTo>
                  <a:pt x="94" y="253"/>
                  <a:pt x="94" y="253"/>
                  <a:pt x="94" y="253"/>
                </a:cubicBezTo>
                <a:cubicBezTo>
                  <a:pt x="95" y="254"/>
                  <a:pt x="96" y="254"/>
                  <a:pt x="97" y="254"/>
                </a:cubicBezTo>
                <a:cubicBezTo>
                  <a:pt x="97" y="254"/>
                  <a:pt x="97" y="254"/>
                  <a:pt x="97" y="254"/>
                </a:cubicBezTo>
                <a:cubicBezTo>
                  <a:pt x="98" y="255"/>
                  <a:pt x="98" y="255"/>
                  <a:pt x="99" y="255"/>
                </a:cubicBezTo>
                <a:cubicBezTo>
                  <a:pt x="100" y="256"/>
                  <a:pt x="100" y="256"/>
                  <a:pt x="101" y="256"/>
                </a:cubicBezTo>
                <a:cubicBezTo>
                  <a:pt x="101" y="257"/>
                  <a:pt x="101" y="257"/>
                  <a:pt x="101" y="257"/>
                </a:cubicBezTo>
                <a:cubicBezTo>
                  <a:pt x="101" y="256"/>
                  <a:pt x="101" y="256"/>
                  <a:pt x="101" y="256"/>
                </a:cubicBezTo>
                <a:cubicBezTo>
                  <a:pt x="102" y="256"/>
                  <a:pt x="103" y="257"/>
                  <a:pt x="104" y="257"/>
                </a:cubicBezTo>
                <a:cubicBezTo>
                  <a:pt x="104" y="257"/>
                  <a:pt x="104" y="257"/>
                  <a:pt x="104" y="257"/>
                </a:cubicBezTo>
                <a:cubicBezTo>
                  <a:pt x="105" y="257"/>
                  <a:pt x="105" y="257"/>
                  <a:pt x="105" y="257"/>
                </a:cubicBezTo>
                <a:cubicBezTo>
                  <a:pt x="108" y="259"/>
                  <a:pt x="110" y="260"/>
                  <a:pt x="111" y="262"/>
                </a:cubicBezTo>
                <a:cubicBezTo>
                  <a:pt x="112" y="263"/>
                  <a:pt x="112" y="264"/>
                  <a:pt x="112" y="265"/>
                </a:cubicBezTo>
                <a:cubicBezTo>
                  <a:pt x="112" y="266"/>
                  <a:pt x="111" y="267"/>
                  <a:pt x="111" y="267"/>
                </a:cubicBezTo>
                <a:cubicBezTo>
                  <a:pt x="111" y="268"/>
                  <a:pt x="111" y="268"/>
                  <a:pt x="111" y="268"/>
                </a:cubicBezTo>
                <a:cubicBezTo>
                  <a:pt x="112" y="268"/>
                  <a:pt x="111" y="269"/>
                  <a:pt x="111" y="269"/>
                </a:cubicBezTo>
                <a:cubicBezTo>
                  <a:pt x="111" y="269"/>
                  <a:pt x="111" y="269"/>
                  <a:pt x="111" y="269"/>
                </a:cubicBezTo>
                <a:cubicBezTo>
                  <a:pt x="111" y="270"/>
                  <a:pt x="112" y="270"/>
                  <a:pt x="112" y="270"/>
                </a:cubicBezTo>
                <a:cubicBezTo>
                  <a:pt x="112" y="271"/>
                  <a:pt x="113" y="273"/>
                  <a:pt x="113" y="273"/>
                </a:cubicBezTo>
                <a:cubicBezTo>
                  <a:pt x="113" y="273"/>
                  <a:pt x="113" y="273"/>
                  <a:pt x="113" y="273"/>
                </a:cubicBezTo>
                <a:cubicBezTo>
                  <a:pt x="113" y="272"/>
                  <a:pt x="113" y="270"/>
                  <a:pt x="113" y="269"/>
                </a:cubicBezTo>
                <a:cubicBezTo>
                  <a:pt x="113" y="269"/>
                  <a:pt x="113" y="269"/>
                  <a:pt x="113" y="269"/>
                </a:cubicBezTo>
                <a:cubicBezTo>
                  <a:pt x="114" y="270"/>
                  <a:pt x="115" y="271"/>
                  <a:pt x="115" y="271"/>
                </a:cubicBezTo>
                <a:cubicBezTo>
                  <a:pt x="116" y="271"/>
                  <a:pt x="116" y="271"/>
                  <a:pt x="116" y="271"/>
                </a:cubicBezTo>
                <a:cubicBezTo>
                  <a:pt x="116" y="271"/>
                  <a:pt x="116" y="271"/>
                  <a:pt x="116" y="271"/>
                </a:cubicBezTo>
                <a:cubicBezTo>
                  <a:pt x="116" y="271"/>
                  <a:pt x="116" y="271"/>
                  <a:pt x="116" y="271"/>
                </a:cubicBezTo>
                <a:cubicBezTo>
                  <a:pt x="115" y="271"/>
                  <a:pt x="115" y="271"/>
                  <a:pt x="114" y="272"/>
                </a:cubicBezTo>
                <a:cubicBezTo>
                  <a:pt x="114" y="273"/>
                  <a:pt x="113" y="274"/>
                  <a:pt x="113" y="275"/>
                </a:cubicBezTo>
                <a:cubicBezTo>
                  <a:pt x="113" y="275"/>
                  <a:pt x="113" y="275"/>
                  <a:pt x="113" y="275"/>
                </a:cubicBezTo>
                <a:cubicBezTo>
                  <a:pt x="112" y="275"/>
                  <a:pt x="112" y="275"/>
                  <a:pt x="112" y="275"/>
                </a:cubicBezTo>
                <a:cubicBezTo>
                  <a:pt x="112" y="275"/>
                  <a:pt x="112" y="275"/>
                  <a:pt x="112" y="276"/>
                </a:cubicBezTo>
                <a:cubicBezTo>
                  <a:pt x="112" y="276"/>
                  <a:pt x="112" y="277"/>
                  <a:pt x="111" y="277"/>
                </a:cubicBezTo>
                <a:cubicBezTo>
                  <a:pt x="111" y="277"/>
                  <a:pt x="111" y="277"/>
                  <a:pt x="111" y="277"/>
                </a:cubicBezTo>
                <a:cubicBezTo>
                  <a:pt x="111" y="277"/>
                  <a:pt x="111" y="277"/>
                  <a:pt x="111" y="277"/>
                </a:cubicBezTo>
                <a:cubicBezTo>
                  <a:pt x="111" y="277"/>
                  <a:pt x="111" y="277"/>
                  <a:pt x="111" y="277"/>
                </a:cubicBezTo>
                <a:cubicBezTo>
                  <a:pt x="111" y="277"/>
                  <a:pt x="111" y="277"/>
                  <a:pt x="111" y="277"/>
                </a:cubicBezTo>
                <a:cubicBezTo>
                  <a:pt x="111" y="277"/>
                  <a:pt x="111" y="277"/>
                  <a:pt x="112" y="277"/>
                </a:cubicBezTo>
                <a:cubicBezTo>
                  <a:pt x="112" y="277"/>
                  <a:pt x="112" y="277"/>
                  <a:pt x="112" y="277"/>
                </a:cubicBezTo>
                <a:cubicBezTo>
                  <a:pt x="112" y="277"/>
                  <a:pt x="112" y="277"/>
                  <a:pt x="113" y="278"/>
                </a:cubicBezTo>
                <a:cubicBezTo>
                  <a:pt x="113" y="278"/>
                  <a:pt x="114" y="278"/>
                  <a:pt x="114" y="278"/>
                </a:cubicBezTo>
                <a:cubicBezTo>
                  <a:pt x="114" y="278"/>
                  <a:pt x="115" y="278"/>
                  <a:pt x="115" y="278"/>
                </a:cubicBezTo>
                <a:cubicBezTo>
                  <a:pt x="114" y="278"/>
                  <a:pt x="113" y="278"/>
                  <a:pt x="113" y="278"/>
                </a:cubicBezTo>
                <a:cubicBezTo>
                  <a:pt x="112" y="278"/>
                  <a:pt x="112" y="278"/>
                  <a:pt x="112" y="278"/>
                </a:cubicBezTo>
                <a:cubicBezTo>
                  <a:pt x="111" y="279"/>
                  <a:pt x="111" y="278"/>
                  <a:pt x="111" y="278"/>
                </a:cubicBezTo>
                <a:cubicBezTo>
                  <a:pt x="111" y="278"/>
                  <a:pt x="111" y="278"/>
                  <a:pt x="111" y="278"/>
                </a:cubicBezTo>
                <a:cubicBezTo>
                  <a:pt x="111" y="278"/>
                  <a:pt x="111" y="278"/>
                  <a:pt x="111" y="278"/>
                </a:cubicBezTo>
                <a:cubicBezTo>
                  <a:pt x="111" y="278"/>
                  <a:pt x="110" y="278"/>
                  <a:pt x="110" y="279"/>
                </a:cubicBezTo>
                <a:cubicBezTo>
                  <a:pt x="110" y="279"/>
                  <a:pt x="110" y="279"/>
                  <a:pt x="109" y="280"/>
                </a:cubicBezTo>
                <a:cubicBezTo>
                  <a:pt x="110" y="279"/>
                  <a:pt x="110" y="279"/>
                  <a:pt x="110" y="279"/>
                </a:cubicBezTo>
                <a:cubicBezTo>
                  <a:pt x="110" y="280"/>
                  <a:pt x="109" y="280"/>
                  <a:pt x="109" y="281"/>
                </a:cubicBezTo>
                <a:cubicBezTo>
                  <a:pt x="109" y="282"/>
                  <a:pt x="111" y="282"/>
                  <a:pt x="112" y="283"/>
                </a:cubicBezTo>
                <a:cubicBezTo>
                  <a:pt x="112" y="283"/>
                  <a:pt x="112" y="283"/>
                  <a:pt x="111" y="283"/>
                </a:cubicBezTo>
                <a:cubicBezTo>
                  <a:pt x="111" y="283"/>
                  <a:pt x="111" y="283"/>
                  <a:pt x="111" y="283"/>
                </a:cubicBezTo>
                <a:cubicBezTo>
                  <a:pt x="111" y="283"/>
                  <a:pt x="110" y="282"/>
                  <a:pt x="110" y="282"/>
                </a:cubicBezTo>
                <a:cubicBezTo>
                  <a:pt x="109" y="282"/>
                  <a:pt x="109" y="282"/>
                  <a:pt x="109" y="282"/>
                </a:cubicBezTo>
                <a:cubicBezTo>
                  <a:pt x="109" y="282"/>
                  <a:pt x="109" y="282"/>
                  <a:pt x="109" y="282"/>
                </a:cubicBezTo>
                <a:cubicBezTo>
                  <a:pt x="108" y="282"/>
                  <a:pt x="108" y="282"/>
                  <a:pt x="108" y="282"/>
                </a:cubicBezTo>
                <a:cubicBezTo>
                  <a:pt x="108" y="282"/>
                  <a:pt x="108" y="282"/>
                  <a:pt x="108" y="282"/>
                </a:cubicBezTo>
                <a:cubicBezTo>
                  <a:pt x="108" y="282"/>
                  <a:pt x="108" y="282"/>
                  <a:pt x="108" y="282"/>
                </a:cubicBezTo>
                <a:cubicBezTo>
                  <a:pt x="108" y="282"/>
                  <a:pt x="108" y="282"/>
                  <a:pt x="108" y="282"/>
                </a:cubicBezTo>
                <a:cubicBezTo>
                  <a:pt x="108" y="282"/>
                  <a:pt x="108" y="282"/>
                  <a:pt x="108" y="282"/>
                </a:cubicBezTo>
                <a:cubicBezTo>
                  <a:pt x="107" y="282"/>
                  <a:pt x="107" y="282"/>
                  <a:pt x="107" y="283"/>
                </a:cubicBezTo>
                <a:cubicBezTo>
                  <a:pt x="108" y="283"/>
                  <a:pt x="110" y="284"/>
                  <a:pt x="111" y="284"/>
                </a:cubicBezTo>
                <a:cubicBezTo>
                  <a:pt x="111" y="284"/>
                  <a:pt x="111" y="284"/>
                  <a:pt x="111" y="284"/>
                </a:cubicBezTo>
                <a:cubicBezTo>
                  <a:pt x="111" y="284"/>
                  <a:pt x="111" y="284"/>
                  <a:pt x="111" y="284"/>
                </a:cubicBezTo>
                <a:cubicBezTo>
                  <a:pt x="111" y="284"/>
                  <a:pt x="111" y="284"/>
                  <a:pt x="111" y="284"/>
                </a:cubicBezTo>
                <a:cubicBezTo>
                  <a:pt x="111" y="284"/>
                  <a:pt x="111" y="284"/>
                  <a:pt x="111" y="284"/>
                </a:cubicBezTo>
                <a:cubicBezTo>
                  <a:pt x="110" y="285"/>
                  <a:pt x="110" y="286"/>
                  <a:pt x="111" y="287"/>
                </a:cubicBezTo>
                <a:cubicBezTo>
                  <a:pt x="110" y="287"/>
                  <a:pt x="109" y="285"/>
                  <a:pt x="108" y="285"/>
                </a:cubicBezTo>
                <a:cubicBezTo>
                  <a:pt x="108" y="284"/>
                  <a:pt x="108" y="284"/>
                  <a:pt x="108" y="284"/>
                </a:cubicBezTo>
                <a:cubicBezTo>
                  <a:pt x="108" y="284"/>
                  <a:pt x="108" y="284"/>
                  <a:pt x="108" y="284"/>
                </a:cubicBezTo>
                <a:cubicBezTo>
                  <a:pt x="107" y="283"/>
                  <a:pt x="107" y="283"/>
                  <a:pt x="107" y="283"/>
                </a:cubicBezTo>
                <a:cubicBezTo>
                  <a:pt x="107" y="283"/>
                  <a:pt x="107" y="283"/>
                  <a:pt x="107" y="283"/>
                </a:cubicBezTo>
                <a:cubicBezTo>
                  <a:pt x="107" y="283"/>
                  <a:pt x="107" y="283"/>
                  <a:pt x="107" y="284"/>
                </a:cubicBezTo>
                <a:cubicBezTo>
                  <a:pt x="107" y="284"/>
                  <a:pt x="107" y="284"/>
                  <a:pt x="107" y="285"/>
                </a:cubicBezTo>
                <a:cubicBezTo>
                  <a:pt x="107" y="285"/>
                  <a:pt x="107" y="285"/>
                  <a:pt x="107" y="285"/>
                </a:cubicBezTo>
                <a:cubicBezTo>
                  <a:pt x="107" y="285"/>
                  <a:pt x="107" y="285"/>
                  <a:pt x="107" y="285"/>
                </a:cubicBezTo>
                <a:cubicBezTo>
                  <a:pt x="105" y="285"/>
                  <a:pt x="104" y="286"/>
                  <a:pt x="104" y="287"/>
                </a:cubicBezTo>
                <a:cubicBezTo>
                  <a:pt x="104" y="288"/>
                  <a:pt x="106" y="288"/>
                  <a:pt x="107" y="288"/>
                </a:cubicBezTo>
                <a:cubicBezTo>
                  <a:pt x="108" y="288"/>
                  <a:pt x="108" y="288"/>
                  <a:pt x="108" y="288"/>
                </a:cubicBezTo>
                <a:cubicBezTo>
                  <a:pt x="108" y="287"/>
                  <a:pt x="108" y="287"/>
                  <a:pt x="109" y="287"/>
                </a:cubicBezTo>
                <a:cubicBezTo>
                  <a:pt x="108" y="287"/>
                  <a:pt x="108" y="288"/>
                  <a:pt x="108" y="288"/>
                </a:cubicBezTo>
                <a:cubicBezTo>
                  <a:pt x="108" y="288"/>
                  <a:pt x="108" y="288"/>
                  <a:pt x="108" y="288"/>
                </a:cubicBezTo>
                <a:cubicBezTo>
                  <a:pt x="108" y="288"/>
                  <a:pt x="108" y="288"/>
                  <a:pt x="108" y="288"/>
                </a:cubicBezTo>
                <a:cubicBezTo>
                  <a:pt x="108" y="288"/>
                  <a:pt x="108" y="288"/>
                  <a:pt x="108" y="288"/>
                </a:cubicBezTo>
                <a:cubicBezTo>
                  <a:pt x="108" y="288"/>
                  <a:pt x="108" y="288"/>
                  <a:pt x="108" y="288"/>
                </a:cubicBezTo>
                <a:cubicBezTo>
                  <a:pt x="108" y="288"/>
                  <a:pt x="108" y="288"/>
                  <a:pt x="108" y="288"/>
                </a:cubicBezTo>
                <a:cubicBezTo>
                  <a:pt x="108" y="288"/>
                  <a:pt x="108" y="288"/>
                  <a:pt x="108" y="288"/>
                </a:cubicBezTo>
                <a:cubicBezTo>
                  <a:pt x="108" y="289"/>
                  <a:pt x="108" y="289"/>
                  <a:pt x="109" y="289"/>
                </a:cubicBezTo>
                <a:cubicBezTo>
                  <a:pt x="109" y="289"/>
                  <a:pt x="109" y="289"/>
                  <a:pt x="109" y="289"/>
                </a:cubicBezTo>
                <a:cubicBezTo>
                  <a:pt x="109" y="289"/>
                  <a:pt x="109" y="290"/>
                  <a:pt x="109" y="290"/>
                </a:cubicBezTo>
                <a:cubicBezTo>
                  <a:pt x="109" y="290"/>
                  <a:pt x="110" y="290"/>
                  <a:pt x="110" y="290"/>
                </a:cubicBezTo>
                <a:cubicBezTo>
                  <a:pt x="110" y="290"/>
                  <a:pt x="110" y="291"/>
                  <a:pt x="110" y="291"/>
                </a:cubicBezTo>
                <a:cubicBezTo>
                  <a:pt x="110" y="291"/>
                  <a:pt x="110" y="291"/>
                  <a:pt x="110" y="291"/>
                </a:cubicBezTo>
                <a:cubicBezTo>
                  <a:pt x="110" y="291"/>
                  <a:pt x="110" y="291"/>
                  <a:pt x="110" y="291"/>
                </a:cubicBezTo>
                <a:cubicBezTo>
                  <a:pt x="110" y="291"/>
                  <a:pt x="110" y="291"/>
                  <a:pt x="110" y="291"/>
                </a:cubicBezTo>
                <a:cubicBezTo>
                  <a:pt x="110" y="291"/>
                  <a:pt x="110" y="291"/>
                  <a:pt x="110" y="291"/>
                </a:cubicBezTo>
                <a:cubicBezTo>
                  <a:pt x="110" y="292"/>
                  <a:pt x="110" y="292"/>
                  <a:pt x="110" y="292"/>
                </a:cubicBezTo>
                <a:cubicBezTo>
                  <a:pt x="110" y="292"/>
                  <a:pt x="110" y="292"/>
                  <a:pt x="110" y="292"/>
                </a:cubicBezTo>
                <a:cubicBezTo>
                  <a:pt x="110" y="292"/>
                  <a:pt x="110" y="292"/>
                  <a:pt x="110" y="292"/>
                </a:cubicBezTo>
                <a:cubicBezTo>
                  <a:pt x="110" y="292"/>
                  <a:pt x="110" y="293"/>
                  <a:pt x="111" y="293"/>
                </a:cubicBezTo>
                <a:cubicBezTo>
                  <a:pt x="111" y="293"/>
                  <a:pt x="111" y="293"/>
                  <a:pt x="111" y="293"/>
                </a:cubicBezTo>
                <a:cubicBezTo>
                  <a:pt x="111" y="293"/>
                  <a:pt x="111" y="294"/>
                  <a:pt x="111" y="294"/>
                </a:cubicBezTo>
                <a:cubicBezTo>
                  <a:pt x="111" y="294"/>
                  <a:pt x="111" y="294"/>
                  <a:pt x="112" y="294"/>
                </a:cubicBezTo>
                <a:cubicBezTo>
                  <a:pt x="112" y="294"/>
                  <a:pt x="112" y="294"/>
                  <a:pt x="112" y="294"/>
                </a:cubicBezTo>
                <a:cubicBezTo>
                  <a:pt x="113" y="295"/>
                  <a:pt x="114" y="296"/>
                  <a:pt x="115" y="297"/>
                </a:cubicBezTo>
                <a:cubicBezTo>
                  <a:pt x="115" y="297"/>
                  <a:pt x="115" y="297"/>
                  <a:pt x="116" y="297"/>
                </a:cubicBezTo>
                <a:cubicBezTo>
                  <a:pt x="116" y="297"/>
                  <a:pt x="116" y="297"/>
                  <a:pt x="116" y="297"/>
                </a:cubicBezTo>
                <a:cubicBezTo>
                  <a:pt x="117" y="298"/>
                  <a:pt x="118" y="299"/>
                  <a:pt x="119" y="299"/>
                </a:cubicBezTo>
                <a:cubicBezTo>
                  <a:pt x="119" y="299"/>
                  <a:pt x="119" y="299"/>
                  <a:pt x="119" y="299"/>
                </a:cubicBezTo>
                <a:cubicBezTo>
                  <a:pt x="119" y="298"/>
                  <a:pt x="119" y="297"/>
                  <a:pt x="120" y="296"/>
                </a:cubicBezTo>
                <a:cubicBezTo>
                  <a:pt x="120" y="295"/>
                  <a:pt x="121" y="295"/>
                  <a:pt x="121" y="295"/>
                </a:cubicBezTo>
                <a:cubicBezTo>
                  <a:pt x="121" y="295"/>
                  <a:pt x="121" y="295"/>
                  <a:pt x="121" y="295"/>
                </a:cubicBezTo>
                <a:cubicBezTo>
                  <a:pt x="121" y="295"/>
                  <a:pt x="121" y="295"/>
                  <a:pt x="121" y="295"/>
                </a:cubicBezTo>
                <a:cubicBezTo>
                  <a:pt x="121" y="295"/>
                  <a:pt x="121" y="295"/>
                  <a:pt x="121" y="295"/>
                </a:cubicBezTo>
                <a:cubicBezTo>
                  <a:pt x="121" y="295"/>
                  <a:pt x="121" y="295"/>
                  <a:pt x="121" y="294"/>
                </a:cubicBezTo>
                <a:cubicBezTo>
                  <a:pt x="121" y="294"/>
                  <a:pt x="121" y="294"/>
                  <a:pt x="121" y="294"/>
                </a:cubicBezTo>
                <a:cubicBezTo>
                  <a:pt x="122" y="295"/>
                  <a:pt x="122" y="294"/>
                  <a:pt x="122" y="294"/>
                </a:cubicBezTo>
                <a:cubicBezTo>
                  <a:pt x="122" y="294"/>
                  <a:pt x="122" y="294"/>
                  <a:pt x="122" y="294"/>
                </a:cubicBezTo>
                <a:cubicBezTo>
                  <a:pt x="122" y="293"/>
                  <a:pt x="121" y="293"/>
                  <a:pt x="121" y="293"/>
                </a:cubicBezTo>
                <a:cubicBezTo>
                  <a:pt x="122" y="293"/>
                  <a:pt x="122" y="293"/>
                  <a:pt x="122" y="294"/>
                </a:cubicBezTo>
                <a:cubicBezTo>
                  <a:pt x="122" y="294"/>
                  <a:pt x="122" y="294"/>
                  <a:pt x="122" y="294"/>
                </a:cubicBezTo>
                <a:cubicBezTo>
                  <a:pt x="122" y="294"/>
                  <a:pt x="123" y="294"/>
                  <a:pt x="123" y="294"/>
                </a:cubicBezTo>
                <a:cubicBezTo>
                  <a:pt x="123" y="294"/>
                  <a:pt x="124" y="293"/>
                  <a:pt x="124" y="293"/>
                </a:cubicBezTo>
                <a:cubicBezTo>
                  <a:pt x="124" y="292"/>
                  <a:pt x="124" y="291"/>
                  <a:pt x="125" y="291"/>
                </a:cubicBezTo>
                <a:cubicBezTo>
                  <a:pt x="125" y="292"/>
                  <a:pt x="125" y="293"/>
                  <a:pt x="124" y="293"/>
                </a:cubicBezTo>
                <a:cubicBezTo>
                  <a:pt x="125" y="293"/>
                  <a:pt x="125" y="293"/>
                  <a:pt x="126" y="294"/>
                </a:cubicBezTo>
                <a:cubicBezTo>
                  <a:pt x="125" y="293"/>
                  <a:pt x="124" y="294"/>
                  <a:pt x="123" y="295"/>
                </a:cubicBezTo>
                <a:cubicBezTo>
                  <a:pt x="123" y="295"/>
                  <a:pt x="123" y="295"/>
                  <a:pt x="123" y="295"/>
                </a:cubicBezTo>
                <a:cubicBezTo>
                  <a:pt x="123" y="295"/>
                  <a:pt x="124" y="296"/>
                  <a:pt x="124" y="296"/>
                </a:cubicBezTo>
                <a:cubicBezTo>
                  <a:pt x="124" y="296"/>
                  <a:pt x="123" y="296"/>
                  <a:pt x="123" y="296"/>
                </a:cubicBezTo>
                <a:cubicBezTo>
                  <a:pt x="123" y="297"/>
                  <a:pt x="123" y="297"/>
                  <a:pt x="123" y="297"/>
                </a:cubicBezTo>
                <a:cubicBezTo>
                  <a:pt x="123" y="297"/>
                  <a:pt x="123" y="296"/>
                  <a:pt x="122" y="296"/>
                </a:cubicBezTo>
                <a:cubicBezTo>
                  <a:pt x="122" y="296"/>
                  <a:pt x="121" y="296"/>
                  <a:pt x="121" y="296"/>
                </a:cubicBezTo>
                <a:cubicBezTo>
                  <a:pt x="121" y="296"/>
                  <a:pt x="121" y="296"/>
                  <a:pt x="121" y="296"/>
                </a:cubicBezTo>
                <a:cubicBezTo>
                  <a:pt x="121" y="296"/>
                  <a:pt x="121" y="296"/>
                  <a:pt x="121" y="296"/>
                </a:cubicBezTo>
                <a:cubicBezTo>
                  <a:pt x="121" y="296"/>
                  <a:pt x="120" y="296"/>
                  <a:pt x="120" y="296"/>
                </a:cubicBezTo>
                <a:cubicBezTo>
                  <a:pt x="120" y="296"/>
                  <a:pt x="120" y="296"/>
                  <a:pt x="121" y="296"/>
                </a:cubicBezTo>
                <a:cubicBezTo>
                  <a:pt x="120" y="297"/>
                  <a:pt x="120" y="297"/>
                  <a:pt x="120" y="298"/>
                </a:cubicBezTo>
                <a:cubicBezTo>
                  <a:pt x="120" y="298"/>
                  <a:pt x="121" y="298"/>
                  <a:pt x="121" y="298"/>
                </a:cubicBezTo>
                <a:cubicBezTo>
                  <a:pt x="121" y="298"/>
                  <a:pt x="120" y="298"/>
                  <a:pt x="120" y="299"/>
                </a:cubicBezTo>
                <a:cubicBezTo>
                  <a:pt x="120" y="299"/>
                  <a:pt x="120" y="299"/>
                  <a:pt x="120" y="299"/>
                </a:cubicBezTo>
                <a:cubicBezTo>
                  <a:pt x="120" y="299"/>
                  <a:pt x="120" y="299"/>
                  <a:pt x="120" y="299"/>
                </a:cubicBezTo>
                <a:cubicBezTo>
                  <a:pt x="120" y="300"/>
                  <a:pt x="120" y="300"/>
                  <a:pt x="120" y="300"/>
                </a:cubicBezTo>
                <a:cubicBezTo>
                  <a:pt x="120" y="300"/>
                  <a:pt x="120" y="300"/>
                  <a:pt x="120" y="300"/>
                </a:cubicBezTo>
                <a:cubicBezTo>
                  <a:pt x="119" y="301"/>
                  <a:pt x="119" y="301"/>
                  <a:pt x="120" y="301"/>
                </a:cubicBezTo>
                <a:cubicBezTo>
                  <a:pt x="120" y="301"/>
                  <a:pt x="120" y="301"/>
                  <a:pt x="120" y="301"/>
                </a:cubicBezTo>
                <a:cubicBezTo>
                  <a:pt x="120" y="301"/>
                  <a:pt x="120" y="301"/>
                  <a:pt x="120" y="301"/>
                </a:cubicBezTo>
                <a:cubicBezTo>
                  <a:pt x="121" y="301"/>
                  <a:pt x="121" y="301"/>
                  <a:pt x="121" y="301"/>
                </a:cubicBezTo>
                <a:cubicBezTo>
                  <a:pt x="121" y="301"/>
                  <a:pt x="121" y="301"/>
                  <a:pt x="121" y="301"/>
                </a:cubicBezTo>
                <a:cubicBezTo>
                  <a:pt x="122" y="301"/>
                  <a:pt x="122" y="300"/>
                  <a:pt x="122" y="300"/>
                </a:cubicBezTo>
                <a:cubicBezTo>
                  <a:pt x="122" y="300"/>
                  <a:pt x="122" y="300"/>
                  <a:pt x="122" y="300"/>
                </a:cubicBezTo>
                <a:cubicBezTo>
                  <a:pt x="122" y="300"/>
                  <a:pt x="122" y="301"/>
                  <a:pt x="122" y="301"/>
                </a:cubicBezTo>
                <a:cubicBezTo>
                  <a:pt x="121" y="301"/>
                  <a:pt x="121" y="301"/>
                  <a:pt x="120" y="302"/>
                </a:cubicBezTo>
                <a:cubicBezTo>
                  <a:pt x="120" y="302"/>
                  <a:pt x="120" y="302"/>
                  <a:pt x="120" y="302"/>
                </a:cubicBezTo>
                <a:cubicBezTo>
                  <a:pt x="120" y="302"/>
                  <a:pt x="120" y="302"/>
                  <a:pt x="120" y="302"/>
                </a:cubicBezTo>
                <a:cubicBezTo>
                  <a:pt x="120" y="302"/>
                  <a:pt x="120" y="302"/>
                  <a:pt x="120" y="302"/>
                </a:cubicBezTo>
                <a:cubicBezTo>
                  <a:pt x="120" y="302"/>
                  <a:pt x="120" y="303"/>
                  <a:pt x="120" y="303"/>
                </a:cubicBezTo>
                <a:cubicBezTo>
                  <a:pt x="120" y="303"/>
                  <a:pt x="120" y="303"/>
                  <a:pt x="121" y="304"/>
                </a:cubicBezTo>
                <a:cubicBezTo>
                  <a:pt x="121" y="304"/>
                  <a:pt x="121" y="304"/>
                  <a:pt x="121" y="304"/>
                </a:cubicBezTo>
                <a:cubicBezTo>
                  <a:pt x="121" y="304"/>
                  <a:pt x="122" y="305"/>
                  <a:pt x="122" y="305"/>
                </a:cubicBezTo>
                <a:cubicBezTo>
                  <a:pt x="123" y="305"/>
                  <a:pt x="123" y="305"/>
                  <a:pt x="123" y="305"/>
                </a:cubicBezTo>
                <a:cubicBezTo>
                  <a:pt x="123" y="305"/>
                  <a:pt x="124" y="305"/>
                  <a:pt x="124" y="305"/>
                </a:cubicBezTo>
                <a:cubicBezTo>
                  <a:pt x="124" y="305"/>
                  <a:pt x="124" y="304"/>
                  <a:pt x="124" y="304"/>
                </a:cubicBezTo>
                <a:cubicBezTo>
                  <a:pt x="124" y="304"/>
                  <a:pt x="124" y="304"/>
                  <a:pt x="124" y="304"/>
                </a:cubicBezTo>
                <a:cubicBezTo>
                  <a:pt x="124" y="304"/>
                  <a:pt x="124" y="304"/>
                  <a:pt x="124" y="304"/>
                </a:cubicBezTo>
                <a:cubicBezTo>
                  <a:pt x="124" y="304"/>
                  <a:pt x="124" y="304"/>
                  <a:pt x="125" y="304"/>
                </a:cubicBezTo>
                <a:cubicBezTo>
                  <a:pt x="125" y="305"/>
                  <a:pt x="125" y="305"/>
                  <a:pt x="125" y="305"/>
                </a:cubicBezTo>
                <a:cubicBezTo>
                  <a:pt x="125" y="305"/>
                  <a:pt x="125" y="306"/>
                  <a:pt x="124" y="306"/>
                </a:cubicBezTo>
                <a:cubicBezTo>
                  <a:pt x="124" y="306"/>
                  <a:pt x="124" y="306"/>
                  <a:pt x="124" y="306"/>
                </a:cubicBezTo>
                <a:cubicBezTo>
                  <a:pt x="124" y="306"/>
                  <a:pt x="124" y="306"/>
                  <a:pt x="124" y="306"/>
                </a:cubicBezTo>
                <a:cubicBezTo>
                  <a:pt x="124" y="306"/>
                  <a:pt x="124" y="306"/>
                  <a:pt x="124" y="306"/>
                </a:cubicBezTo>
                <a:cubicBezTo>
                  <a:pt x="124" y="306"/>
                  <a:pt x="124" y="307"/>
                  <a:pt x="124" y="307"/>
                </a:cubicBezTo>
                <a:cubicBezTo>
                  <a:pt x="124" y="307"/>
                  <a:pt x="124" y="307"/>
                  <a:pt x="124" y="307"/>
                </a:cubicBezTo>
                <a:cubicBezTo>
                  <a:pt x="124" y="307"/>
                  <a:pt x="123" y="306"/>
                  <a:pt x="123" y="306"/>
                </a:cubicBezTo>
                <a:cubicBezTo>
                  <a:pt x="123" y="306"/>
                  <a:pt x="123" y="306"/>
                  <a:pt x="123" y="306"/>
                </a:cubicBezTo>
                <a:cubicBezTo>
                  <a:pt x="123" y="306"/>
                  <a:pt x="123" y="306"/>
                  <a:pt x="123" y="306"/>
                </a:cubicBezTo>
                <a:cubicBezTo>
                  <a:pt x="124" y="307"/>
                  <a:pt x="125" y="307"/>
                  <a:pt x="125" y="307"/>
                </a:cubicBezTo>
                <a:cubicBezTo>
                  <a:pt x="125" y="307"/>
                  <a:pt x="125" y="307"/>
                  <a:pt x="125" y="307"/>
                </a:cubicBezTo>
                <a:cubicBezTo>
                  <a:pt x="126" y="308"/>
                  <a:pt x="126" y="308"/>
                  <a:pt x="126" y="308"/>
                </a:cubicBezTo>
                <a:cubicBezTo>
                  <a:pt x="126" y="308"/>
                  <a:pt x="126" y="308"/>
                  <a:pt x="126" y="308"/>
                </a:cubicBezTo>
                <a:cubicBezTo>
                  <a:pt x="126" y="308"/>
                  <a:pt x="126" y="308"/>
                  <a:pt x="126" y="308"/>
                </a:cubicBezTo>
                <a:cubicBezTo>
                  <a:pt x="126" y="308"/>
                  <a:pt x="126" y="308"/>
                  <a:pt x="126" y="308"/>
                </a:cubicBezTo>
                <a:cubicBezTo>
                  <a:pt x="126" y="308"/>
                  <a:pt x="126" y="308"/>
                  <a:pt x="126" y="308"/>
                </a:cubicBezTo>
                <a:cubicBezTo>
                  <a:pt x="126" y="308"/>
                  <a:pt x="126" y="308"/>
                  <a:pt x="126" y="308"/>
                </a:cubicBezTo>
                <a:cubicBezTo>
                  <a:pt x="126" y="307"/>
                  <a:pt x="126" y="307"/>
                  <a:pt x="126" y="307"/>
                </a:cubicBezTo>
                <a:cubicBezTo>
                  <a:pt x="126" y="307"/>
                  <a:pt x="126" y="307"/>
                  <a:pt x="126" y="307"/>
                </a:cubicBezTo>
                <a:cubicBezTo>
                  <a:pt x="126" y="307"/>
                  <a:pt x="126" y="307"/>
                  <a:pt x="126" y="307"/>
                </a:cubicBezTo>
                <a:cubicBezTo>
                  <a:pt x="127" y="307"/>
                  <a:pt x="127" y="308"/>
                  <a:pt x="127" y="308"/>
                </a:cubicBezTo>
                <a:cubicBezTo>
                  <a:pt x="127" y="308"/>
                  <a:pt x="127" y="308"/>
                  <a:pt x="127" y="308"/>
                </a:cubicBezTo>
                <a:cubicBezTo>
                  <a:pt x="127" y="308"/>
                  <a:pt x="127" y="308"/>
                  <a:pt x="127" y="308"/>
                </a:cubicBezTo>
                <a:cubicBezTo>
                  <a:pt x="127" y="308"/>
                  <a:pt x="127" y="308"/>
                  <a:pt x="127" y="308"/>
                </a:cubicBezTo>
                <a:cubicBezTo>
                  <a:pt x="127" y="308"/>
                  <a:pt x="127" y="308"/>
                  <a:pt x="127" y="308"/>
                </a:cubicBezTo>
                <a:cubicBezTo>
                  <a:pt x="127" y="308"/>
                  <a:pt x="127" y="308"/>
                  <a:pt x="127" y="308"/>
                </a:cubicBezTo>
                <a:cubicBezTo>
                  <a:pt x="127" y="308"/>
                  <a:pt x="127" y="308"/>
                  <a:pt x="127" y="308"/>
                </a:cubicBezTo>
                <a:cubicBezTo>
                  <a:pt x="127" y="309"/>
                  <a:pt x="127" y="309"/>
                  <a:pt x="127" y="309"/>
                </a:cubicBezTo>
                <a:cubicBezTo>
                  <a:pt x="127" y="309"/>
                  <a:pt x="128" y="308"/>
                  <a:pt x="128" y="308"/>
                </a:cubicBezTo>
                <a:cubicBezTo>
                  <a:pt x="128" y="308"/>
                  <a:pt x="129" y="308"/>
                  <a:pt x="129" y="308"/>
                </a:cubicBezTo>
                <a:cubicBezTo>
                  <a:pt x="129" y="308"/>
                  <a:pt x="129" y="308"/>
                  <a:pt x="129" y="308"/>
                </a:cubicBezTo>
                <a:cubicBezTo>
                  <a:pt x="129" y="308"/>
                  <a:pt x="129" y="308"/>
                  <a:pt x="129" y="308"/>
                </a:cubicBezTo>
                <a:cubicBezTo>
                  <a:pt x="129" y="308"/>
                  <a:pt x="129" y="308"/>
                  <a:pt x="129" y="308"/>
                </a:cubicBezTo>
                <a:cubicBezTo>
                  <a:pt x="129" y="308"/>
                  <a:pt x="130" y="308"/>
                  <a:pt x="130" y="308"/>
                </a:cubicBezTo>
                <a:cubicBezTo>
                  <a:pt x="130" y="308"/>
                  <a:pt x="130" y="307"/>
                  <a:pt x="130" y="307"/>
                </a:cubicBezTo>
                <a:cubicBezTo>
                  <a:pt x="130" y="307"/>
                  <a:pt x="130" y="307"/>
                  <a:pt x="130" y="307"/>
                </a:cubicBezTo>
                <a:cubicBezTo>
                  <a:pt x="130" y="307"/>
                  <a:pt x="131" y="307"/>
                  <a:pt x="131" y="307"/>
                </a:cubicBezTo>
                <a:cubicBezTo>
                  <a:pt x="130" y="307"/>
                  <a:pt x="130" y="307"/>
                  <a:pt x="130" y="308"/>
                </a:cubicBezTo>
                <a:cubicBezTo>
                  <a:pt x="130" y="308"/>
                  <a:pt x="130" y="309"/>
                  <a:pt x="130" y="309"/>
                </a:cubicBezTo>
                <a:cubicBezTo>
                  <a:pt x="130" y="310"/>
                  <a:pt x="129" y="311"/>
                  <a:pt x="129" y="311"/>
                </a:cubicBezTo>
                <a:cubicBezTo>
                  <a:pt x="129" y="311"/>
                  <a:pt x="129" y="311"/>
                  <a:pt x="129" y="311"/>
                </a:cubicBezTo>
                <a:cubicBezTo>
                  <a:pt x="129" y="311"/>
                  <a:pt x="129" y="312"/>
                  <a:pt x="129" y="312"/>
                </a:cubicBezTo>
                <a:cubicBezTo>
                  <a:pt x="129" y="312"/>
                  <a:pt x="129" y="313"/>
                  <a:pt x="129" y="313"/>
                </a:cubicBezTo>
                <a:cubicBezTo>
                  <a:pt x="129" y="313"/>
                  <a:pt x="129" y="313"/>
                  <a:pt x="129" y="313"/>
                </a:cubicBezTo>
                <a:cubicBezTo>
                  <a:pt x="129" y="313"/>
                  <a:pt x="129" y="313"/>
                  <a:pt x="129" y="313"/>
                </a:cubicBezTo>
                <a:cubicBezTo>
                  <a:pt x="129" y="313"/>
                  <a:pt x="129" y="313"/>
                  <a:pt x="129" y="313"/>
                </a:cubicBezTo>
                <a:cubicBezTo>
                  <a:pt x="129" y="313"/>
                  <a:pt x="129" y="313"/>
                  <a:pt x="129" y="313"/>
                </a:cubicBezTo>
                <a:cubicBezTo>
                  <a:pt x="129" y="313"/>
                  <a:pt x="129" y="313"/>
                  <a:pt x="129" y="314"/>
                </a:cubicBezTo>
                <a:cubicBezTo>
                  <a:pt x="129" y="314"/>
                  <a:pt x="128" y="314"/>
                  <a:pt x="128" y="314"/>
                </a:cubicBezTo>
                <a:cubicBezTo>
                  <a:pt x="128" y="314"/>
                  <a:pt x="128" y="315"/>
                  <a:pt x="128" y="315"/>
                </a:cubicBezTo>
                <a:cubicBezTo>
                  <a:pt x="128" y="315"/>
                  <a:pt x="128" y="315"/>
                  <a:pt x="128" y="315"/>
                </a:cubicBezTo>
                <a:cubicBezTo>
                  <a:pt x="128" y="315"/>
                  <a:pt x="128" y="315"/>
                  <a:pt x="128" y="315"/>
                </a:cubicBezTo>
                <a:cubicBezTo>
                  <a:pt x="128" y="315"/>
                  <a:pt x="128" y="315"/>
                  <a:pt x="128" y="315"/>
                </a:cubicBezTo>
                <a:cubicBezTo>
                  <a:pt x="128" y="315"/>
                  <a:pt x="128" y="315"/>
                  <a:pt x="128" y="315"/>
                </a:cubicBezTo>
                <a:cubicBezTo>
                  <a:pt x="128" y="315"/>
                  <a:pt x="129" y="315"/>
                  <a:pt x="129" y="314"/>
                </a:cubicBezTo>
                <a:cubicBezTo>
                  <a:pt x="129" y="315"/>
                  <a:pt x="129" y="315"/>
                  <a:pt x="129" y="315"/>
                </a:cubicBezTo>
                <a:cubicBezTo>
                  <a:pt x="129" y="315"/>
                  <a:pt x="129" y="315"/>
                  <a:pt x="129" y="315"/>
                </a:cubicBezTo>
                <a:cubicBezTo>
                  <a:pt x="129" y="315"/>
                  <a:pt x="129" y="315"/>
                  <a:pt x="129" y="315"/>
                </a:cubicBezTo>
                <a:cubicBezTo>
                  <a:pt x="129" y="316"/>
                  <a:pt x="130" y="316"/>
                  <a:pt x="130" y="316"/>
                </a:cubicBezTo>
                <a:cubicBezTo>
                  <a:pt x="130" y="317"/>
                  <a:pt x="130" y="317"/>
                  <a:pt x="130" y="317"/>
                </a:cubicBezTo>
                <a:cubicBezTo>
                  <a:pt x="130" y="317"/>
                  <a:pt x="130" y="317"/>
                  <a:pt x="130" y="317"/>
                </a:cubicBezTo>
                <a:cubicBezTo>
                  <a:pt x="131" y="318"/>
                  <a:pt x="131" y="317"/>
                  <a:pt x="131" y="317"/>
                </a:cubicBezTo>
                <a:cubicBezTo>
                  <a:pt x="132" y="316"/>
                  <a:pt x="132" y="315"/>
                  <a:pt x="132" y="314"/>
                </a:cubicBezTo>
                <a:cubicBezTo>
                  <a:pt x="132" y="314"/>
                  <a:pt x="132" y="314"/>
                  <a:pt x="132" y="314"/>
                </a:cubicBezTo>
                <a:cubicBezTo>
                  <a:pt x="133" y="314"/>
                  <a:pt x="132" y="314"/>
                  <a:pt x="132" y="313"/>
                </a:cubicBezTo>
                <a:cubicBezTo>
                  <a:pt x="132" y="313"/>
                  <a:pt x="132" y="313"/>
                  <a:pt x="133" y="312"/>
                </a:cubicBezTo>
                <a:cubicBezTo>
                  <a:pt x="133" y="312"/>
                  <a:pt x="133" y="313"/>
                  <a:pt x="133" y="313"/>
                </a:cubicBezTo>
                <a:cubicBezTo>
                  <a:pt x="133" y="313"/>
                  <a:pt x="133" y="313"/>
                  <a:pt x="133" y="313"/>
                </a:cubicBezTo>
                <a:cubicBezTo>
                  <a:pt x="133" y="314"/>
                  <a:pt x="133" y="314"/>
                  <a:pt x="133" y="314"/>
                </a:cubicBezTo>
                <a:cubicBezTo>
                  <a:pt x="133" y="314"/>
                  <a:pt x="133" y="314"/>
                  <a:pt x="133" y="314"/>
                </a:cubicBezTo>
                <a:cubicBezTo>
                  <a:pt x="133" y="314"/>
                  <a:pt x="132" y="315"/>
                  <a:pt x="132" y="315"/>
                </a:cubicBezTo>
                <a:cubicBezTo>
                  <a:pt x="132" y="315"/>
                  <a:pt x="133" y="316"/>
                  <a:pt x="133" y="316"/>
                </a:cubicBezTo>
                <a:cubicBezTo>
                  <a:pt x="134" y="315"/>
                  <a:pt x="133" y="314"/>
                  <a:pt x="135" y="315"/>
                </a:cubicBezTo>
                <a:cubicBezTo>
                  <a:pt x="136" y="315"/>
                  <a:pt x="136" y="315"/>
                  <a:pt x="136" y="315"/>
                </a:cubicBezTo>
                <a:cubicBezTo>
                  <a:pt x="136" y="315"/>
                  <a:pt x="136" y="315"/>
                  <a:pt x="136" y="315"/>
                </a:cubicBezTo>
                <a:cubicBezTo>
                  <a:pt x="137" y="314"/>
                  <a:pt x="137" y="314"/>
                  <a:pt x="138" y="313"/>
                </a:cubicBezTo>
                <a:cubicBezTo>
                  <a:pt x="138" y="313"/>
                  <a:pt x="138" y="313"/>
                  <a:pt x="138" y="313"/>
                </a:cubicBezTo>
                <a:cubicBezTo>
                  <a:pt x="138" y="313"/>
                  <a:pt x="139" y="313"/>
                  <a:pt x="139" y="313"/>
                </a:cubicBezTo>
                <a:cubicBezTo>
                  <a:pt x="139" y="313"/>
                  <a:pt x="139" y="312"/>
                  <a:pt x="139" y="312"/>
                </a:cubicBezTo>
                <a:cubicBezTo>
                  <a:pt x="140" y="311"/>
                  <a:pt x="141" y="311"/>
                  <a:pt x="141" y="310"/>
                </a:cubicBezTo>
                <a:cubicBezTo>
                  <a:pt x="142" y="310"/>
                  <a:pt x="142" y="310"/>
                  <a:pt x="142" y="310"/>
                </a:cubicBezTo>
                <a:cubicBezTo>
                  <a:pt x="142" y="310"/>
                  <a:pt x="142" y="310"/>
                  <a:pt x="142" y="310"/>
                </a:cubicBezTo>
                <a:cubicBezTo>
                  <a:pt x="142" y="310"/>
                  <a:pt x="142" y="310"/>
                  <a:pt x="142" y="310"/>
                </a:cubicBezTo>
                <a:cubicBezTo>
                  <a:pt x="142" y="310"/>
                  <a:pt x="142" y="310"/>
                  <a:pt x="142" y="310"/>
                </a:cubicBezTo>
                <a:cubicBezTo>
                  <a:pt x="142" y="309"/>
                  <a:pt x="141" y="308"/>
                  <a:pt x="141" y="307"/>
                </a:cubicBezTo>
                <a:cubicBezTo>
                  <a:pt x="141" y="307"/>
                  <a:pt x="141" y="307"/>
                  <a:pt x="142" y="308"/>
                </a:cubicBezTo>
                <a:cubicBezTo>
                  <a:pt x="142" y="308"/>
                  <a:pt x="142" y="308"/>
                  <a:pt x="142" y="308"/>
                </a:cubicBezTo>
                <a:cubicBezTo>
                  <a:pt x="142" y="308"/>
                  <a:pt x="142" y="309"/>
                  <a:pt x="142" y="310"/>
                </a:cubicBezTo>
                <a:cubicBezTo>
                  <a:pt x="142" y="311"/>
                  <a:pt x="142" y="310"/>
                  <a:pt x="141" y="311"/>
                </a:cubicBezTo>
                <a:cubicBezTo>
                  <a:pt x="141" y="311"/>
                  <a:pt x="140" y="311"/>
                  <a:pt x="139" y="312"/>
                </a:cubicBezTo>
                <a:cubicBezTo>
                  <a:pt x="139" y="312"/>
                  <a:pt x="139" y="312"/>
                  <a:pt x="139" y="313"/>
                </a:cubicBezTo>
                <a:cubicBezTo>
                  <a:pt x="139" y="314"/>
                  <a:pt x="141" y="315"/>
                  <a:pt x="142" y="315"/>
                </a:cubicBezTo>
                <a:cubicBezTo>
                  <a:pt x="142" y="315"/>
                  <a:pt x="143" y="314"/>
                  <a:pt x="144" y="314"/>
                </a:cubicBezTo>
                <a:cubicBezTo>
                  <a:pt x="144" y="314"/>
                  <a:pt x="144" y="314"/>
                  <a:pt x="144" y="314"/>
                </a:cubicBezTo>
                <a:cubicBezTo>
                  <a:pt x="144" y="314"/>
                  <a:pt x="143" y="314"/>
                  <a:pt x="143" y="314"/>
                </a:cubicBezTo>
                <a:cubicBezTo>
                  <a:pt x="143" y="314"/>
                  <a:pt x="143" y="315"/>
                  <a:pt x="143" y="315"/>
                </a:cubicBezTo>
                <a:cubicBezTo>
                  <a:pt x="143" y="315"/>
                  <a:pt x="142" y="315"/>
                  <a:pt x="142" y="315"/>
                </a:cubicBezTo>
                <a:cubicBezTo>
                  <a:pt x="142" y="316"/>
                  <a:pt x="143" y="316"/>
                  <a:pt x="143" y="317"/>
                </a:cubicBezTo>
                <a:cubicBezTo>
                  <a:pt x="143" y="317"/>
                  <a:pt x="143" y="317"/>
                  <a:pt x="143" y="317"/>
                </a:cubicBezTo>
                <a:cubicBezTo>
                  <a:pt x="142" y="316"/>
                  <a:pt x="142" y="315"/>
                  <a:pt x="141" y="315"/>
                </a:cubicBezTo>
                <a:cubicBezTo>
                  <a:pt x="140" y="315"/>
                  <a:pt x="139" y="316"/>
                  <a:pt x="139" y="316"/>
                </a:cubicBezTo>
                <a:cubicBezTo>
                  <a:pt x="138" y="316"/>
                  <a:pt x="138" y="316"/>
                  <a:pt x="137" y="317"/>
                </a:cubicBezTo>
                <a:cubicBezTo>
                  <a:pt x="137" y="317"/>
                  <a:pt x="137" y="317"/>
                  <a:pt x="137" y="317"/>
                </a:cubicBezTo>
                <a:cubicBezTo>
                  <a:pt x="137" y="317"/>
                  <a:pt x="137" y="317"/>
                  <a:pt x="137" y="317"/>
                </a:cubicBezTo>
                <a:cubicBezTo>
                  <a:pt x="137" y="317"/>
                  <a:pt x="137" y="317"/>
                  <a:pt x="138" y="318"/>
                </a:cubicBezTo>
                <a:cubicBezTo>
                  <a:pt x="138" y="318"/>
                  <a:pt x="138" y="318"/>
                  <a:pt x="137" y="318"/>
                </a:cubicBezTo>
                <a:cubicBezTo>
                  <a:pt x="137" y="318"/>
                  <a:pt x="136" y="318"/>
                  <a:pt x="135" y="319"/>
                </a:cubicBezTo>
                <a:cubicBezTo>
                  <a:pt x="136" y="318"/>
                  <a:pt x="138" y="317"/>
                  <a:pt x="136" y="318"/>
                </a:cubicBezTo>
                <a:cubicBezTo>
                  <a:pt x="135" y="318"/>
                  <a:pt x="135" y="319"/>
                  <a:pt x="135" y="319"/>
                </a:cubicBezTo>
                <a:cubicBezTo>
                  <a:pt x="134" y="320"/>
                  <a:pt x="135" y="320"/>
                  <a:pt x="134" y="320"/>
                </a:cubicBezTo>
                <a:cubicBezTo>
                  <a:pt x="133" y="320"/>
                  <a:pt x="133" y="321"/>
                  <a:pt x="133" y="322"/>
                </a:cubicBezTo>
                <a:cubicBezTo>
                  <a:pt x="133" y="323"/>
                  <a:pt x="133" y="325"/>
                  <a:pt x="134" y="326"/>
                </a:cubicBezTo>
                <a:cubicBezTo>
                  <a:pt x="134" y="326"/>
                  <a:pt x="134" y="326"/>
                  <a:pt x="134" y="326"/>
                </a:cubicBezTo>
                <a:cubicBezTo>
                  <a:pt x="135" y="326"/>
                  <a:pt x="136" y="326"/>
                  <a:pt x="136" y="326"/>
                </a:cubicBezTo>
                <a:cubicBezTo>
                  <a:pt x="136" y="326"/>
                  <a:pt x="136" y="326"/>
                  <a:pt x="136" y="326"/>
                </a:cubicBezTo>
                <a:cubicBezTo>
                  <a:pt x="136" y="325"/>
                  <a:pt x="136" y="325"/>
                  <a:pt x="136" y="325"/>
                </a:cubicBezTo>
                <a:cubicBezTo>
                  <a:pt x="136" y="325"/>
                  <a:pt x="136" y="325"/>
                  <a:pt x="136" y="325"/>
                </a:cubicBezTo>
                <a:cubicBezTo>
                  <a:pt x="136" y="325"/>
                  <a:pt x="136" y="325"/>
                  <a:pt x="136" y="325"/>
                </a:cubicBezTo>
                <a:cubicBezTo>
                  <a:pt x="136" y="324"/>
                  <a:pt x="137" y="324"/>
                  <a:pt x="137" y="324"/>
                </a:cubicBezTo>
                <a:cubicBezTo>
                  <a:pt x="137" y="324"/>
                  <a:pt x="137" y="323"/>
                  <a:pt x="137" y="323"/>
                </a:cubicBezTo>
                <a:cubicBezTo>
                  <a:pt x="137" y="322"/>
                  <a:pt x="138" y="322"/>
                  <a:pt x="138" y="322"/>
                </a:cubicBezTo>
                <a:cubicBezTo>
                  <a:pt x="138" y="322"/>
                  <a:pt x="138" y="321"/>
                  <a:pt x="138" y="321"/>
                </a:cubicBezTo>
                <a:cubicBezTo>
                  <a:pt x="138" y="322"/>
                  <a:pt x="137" y="323"/>
                  <a:pt x="137" y="324"/>
                </a:cubicBezTo>
                <a:cubicBezTo>
                  <a:pt x="138" y="324"/>
                  <a:pt x="138" y="324"/>
                  <a:pt x="138" y="324"/>
                </a:cubicBezTo>
                <a:cubicBezTo>
                  <a:pt x="139" y="324"/>
                  <a:pt x="139" y="324"/>
                  <a:pt x="139" y="324"/>
                </a:cubicBezTo>
                <a:cubicBezTo>
                  <a:pt x="140" y="324"/>
                  <a:pt x="140" y="324"/>
                  <a:pt x="140" y="324"/>
                </a:cubicBezTo>
                <a:cubicBezTo>
                  <a:pt x="140" y="324"/>
                  <a:pt x="141" y="324"/>
                  <a:pt x="141" y="324"/>
                </a:cubicBezTo>
                <a:cubicBezTo>
                  <a:pt x="141" y="324"/>
                  <a:pt x="142" y="324"/>
                  <a:pt x="142" y="324"/>
                </a:cubicBezTo>
                <a:cubicBezTo>
                  <a:pt x="142" y="324"/>
                  <a:pt x="143" y="324"/>
                  <a:pt x="144" y="324"/>
                </a:cubicBezTo>
                <a:cubicBezTo>
                  <a:pt x="145" y="324"/>
                  <a:pt x="145" y="324"/>
                  <a:pt x="145" y="323"/>
                </a:cubicBezTo>
                <a:cubicBezTo>
                  <a:pt x="145" y="324"/>
                  <a:pt x="144" y="324"/>
                  <a:pt x="143" y="324"/>
                </a:cubicBezTo>
                <a:cubicBezTo>
                  <a:pt x="142" y="324"/>
                  <a:pt x="141" y="324"/>
                  <a:pt x="141" y="324"/>
                </a:cubicBezTo>
                <a:cubicBezTo>
                  <a:pt x="140" y="324"/>
                  <a:pt x="139" y="324"/>
                  <a:pt x="137" y="324"/>
                </a:cubicBezTo>
                <a:cubicBezTo>
                  <a:pt x="137" y="324"/>
                  <a:pt x="137" y="324"/>
                  <a:pt x="137" y="324"/>
                </a:cubicBezTo>
                <a:cubicBezTo>
                  <a:pt x="137" y="325"/>
                  <a:pt x="137" y="325"/>
                  <a:pt x="137" y="325"/>
                </a:cubicBezTo>
                <a:cubicBezTo>
                  <a:pt x="136" y="326"/>
                  <a:pt x="136" y="326"/>
                  <a:pt x="135" y="327"/>
                </a:cubicBezTo>
                <a:cubicBezTo>
                  <a:pt x="135" y="327"/>
                  <a:pt x="135" y="327"/>
                  <a:pt x="134" y="328"/>
                </a:cubicBezTo>
                <a:cubicBezTo>
                  <a:pt x="134" y="328"/>
                  <a:pt x="134" y="328"/>
                  <a:pt x="134" y="328"/>
                </a:cubicBezTo>
                <a:cubicBezTo>
                  <a:pt x="134" y="328"/>
                  <a:pt x="134" y="328"/>
                  <a:pt x="134" y="328"/>
                </a:cubicBezTo>
                <a:cubicBezTo>
                  <a:pt x="134" y="328"/>
                  <a:pt x="134" y="328"/>
                  <a:pt x="134" y="328"/>
                </a:cubicBezTo>
                <a:cubicBezTo>
                  <a:pt x="135" y="329"/>
                  <a:pt x="136" y="328"/>
                  <a:pt x="136" y="328"/>
                </a:cubicBezTo>
                <a:cubicBezTo>
                  <a:pt x="136" y="328"/>
                  <a:pt x="137" y="328"/>
                  <a:pt x="137" y="328"/>
                </a:cubicBezTo>
                <a:cubicBezTo>
                  <a:pt x="137" y="328"/>
                  <a:pt x="137" y="328"/>
                  <a:pt x="137" y="328"/>
                </a:cubicBezTo>
                <a:cubicBezTo>
                  <a:pt x="138" y="328"/>
                  <a:pt x="138" y="329"/>
                  <a:pt x="138" y="329"/>
                </a:cubicBezTo>
                <a:cubicBezTo>
                  <a:pt x="139" y="329"/>
                  <a:pt x="139" y="329"/>
                  <a:pt x="140" y="328"/>
                </a:cubicBezTo>
                <a:cubicBezTo>
                  <a:pt x="140" y="328"/>
                  <a:pt x="140" y="328"/>
                  <a:pt x="140" y="328"/>
                </a:cubicBezTo>
                <a:cubicBezTo>
                  <a:pt x="140" y="328"/>
                  <a:pt x="140" y="328"/>
                  <a:pt x="140" y="328"/>
                </a:cubicBezTo>
                <a:cubicBezTo>
                  <a:pt x="140" y="328"/>
                  <a:pt x="140" y="328"/>
                  <a:pt x="140" y="328"/>
                </a:cubicBezTo>
                <a:cubicBezTo>
                  <a:pt x="140" y="329"/>
                  <a:pt x="140" y="329"/>
                  <a:pt x="140" y="329"/>
                </a:cubicBezTo>
                <a:cubicBezTo>
                  <a:pt x="140" y="329"/>
                  <a:pt x="140" y="329"/>
                  <a:pt x="140" y="329"/>
                </a:cubicBezTo>
                <a:cubicBezTo>
                  <a:pt x="140" y="329"/>
                  <a:pt x="139" y="329"/>
                  <a:pt x="139" y="329"/>
                </a:cubicBezTo>
                <a:cubicBezTo>
                  <a:pt x="138" y="329"/>
                  <a:pt x="137" y="329"/>
                  <a:pt x="136" y="329"/>
                </a:cubicBezTo>
                <a:cubicBezTo>
                  <a:pt x="136" y="329"/>
                  <a:pt x="136" y="329"/>
                  <a:pt x="136" y="329"/>
                </a:cubicBezTo>
                <a:cubicBezTo>
                  <a:pt x="135" y="329"/>
                  <a:pt x="135" y="329"/>
                  <a:pt x="134" y="329"/>
                </a:cubicBezTo>
                <a:cubicBezTo>
                  <a:pt x="134" y="329"/>
                  <a:pt x="134" y="329"/>
                  <a:pt x="134" y="330"/>
                </a:cubicBezTo>
                <a:cubicBezTo>
                  <a:pt x="133" y="329"/>
                  <a:pt x="133" y="329"/>
                  <a:pt x="132" y="329"/>
                </a:cubicBezTo>
                <a:cubicBezTo>
                  <a:pt x="131" y="329"/>
                  <a:pt x="128" y="330"/>
                  <a:pt x="127" y="330"/>
                </a:cubicBezTo>
                <a:cubicBezTo>
                  <a:pt x="128" y="331"/>
                  <a:pt x="129" y="333"/>
                  <a:pt x="130" y="334"/>
                </a:cubicBezTo>
                <a:cubicBezTo>
                  <a:pt x="131" y="335"/>
                  <a:pt x="132" y="334"/>
                  <a:pt x="133" y="334"/>
                </a:cubicBezTo>
                <a:cubicBezTo>
                  <a:pt x="134" y="334"/>
                  <a:pt x="137" y="334"/>
                  <a:pt x="135" y="333"/>
                </a:cubicBezTo>
                <a:cubicBezTo>
                  <a:pt x="136" y="333"/>
                  <a:pt x="136" y="333"/>
                  <a:pt x="137" y="333"/>
                </a:cubicBezTo>
                <a:cubicBezTo>
                  <a:pt x="137" y="333"/>
                  <a:pt x="137" y="333"/>
                  <a:pt x="137" y="333"/>
                </a:cubicBezTo>
                <a:cubicBezTo>
                  <a:pt x="136" y="334"/>
                  <a:pt x="136" y="333"/>
                  <a:pt x="136" y="334"/>
                </a:cubicBezTo>
                <a:cubicBezTo>
                  <a:pt x="136" y="335"/>
                  <a:pt x="137" y="335"/>
                  <a:pt x="137" y="336"/>
                </a:cubicBezTo>
                <a:cubicBezTo>
                  <a:pt x="136" y="335"/>
                  <a:pt x="135" y="334"/>
                  <a:pt x="134" y="334"/>
                </a:cubicBezTo>
                <a:cubicBezTo>
                  <a:pt x="133" y="335"/>
                  <a:pt x="133" y="335"/>
                  <a:pt x="132" y="335"/>
                </a:cubicBezTo>
                <a:cubicBezTo>
                  <a:pt x="131" y="336"/>
                  <a:pt x="132" y="337"/>
                  <a:pt x="133" y="338"/>
                </a:cubicBezTo>
                <a:cubicBezTo>
                  <a:pt x="134" y="338"/>
                  <a:pt x="133" y="339"/>
                  <a:pt x="132" y="339"/>
                </a:cubicBezTo>
                <a:cubicBezTo>
                  <a:pt x="133" y="339"/>
                  <a:pt x="134" y="339"/>
                  <a:pt x="135" y="338"/>
                </a:cubicBezTo>
                <a:cubicBezTo>
                  <a:pt x="135" y="338"/>
                  <a:pt x="137" y="339"/>
                  <a:pt x="137" y="338"/>
                </a:cubicBezTo>
                <a:cubicBezTo>
                  <a:pt x="137" y="339"/>
                  <a:pt x="137" y="340"/>
                  <a:pt x="137" y="340"/>
                </a:cubicBezTo>
                <a:cubicBezTo>
                  <a:pt x="138" y="340"/>
                  <a:pt x="139" y="339"/>
                  <a:pt x="139" y="339"/>
                </a:cubicBezTo>
                <a:cubicBezTo>
                  <a:pt x="139" y="339"/>
                  <a:pt x="140" y="340"/>
                  <a:pt x="140" y="339"/>
                </a:cubicBezTo>
                <a:cubicBezTo>
                  <a:pt x="140" y="340"/>
                  <a:pt x="139" y="341"/>
                  <a:pt x="140" y="342"/>
                </a:cubicBezTo>
                <a:cubicBezTo>
                  <a:pt x="140" y="343"/>
                  <a:pt x="143" y="343"/>
                  <a:pt x="143" y="341"/>
                </a:cubicBezTo>
                <a:cubicBezTo>
                  <a:pt x="143" y="341"/>
                  <a:pt x="143" y="342"/>
                  <a:pt x="144" y="342"/>
                </a:cubicBezTo>
                <a:cubicBezTo>
                  <a:pt x="144" y="342"/>
                  <a:pt x="143" y="341"/>
                  <a:pt x="143" y="341"/>
                </a:cubicBezTo>
                <a:cubicBezTo>
                  <a:pt x="145" y="342"/>
                  <a:pt x="145" y="343"/>
                  <a:pt x="146" y="344"/>
                </a:cubicBezTo>
                <a:cubicBezTo>
                  <a:pt x="146" y="345"/>
                  <a:pt x="147" y="344"/>
                  <a:pt x="147" y="344"/>
                </a:cubicBezTo>
                <a:cubicBezTo>
                  <a:pt x="147" y="344"/>
                  <a:pt x="148" y="343"/>
                  <a:pt x="148" y="344"/>
                </a:cubicBezTo>
                <a:cubicBezTo>
                  <a:pt x="147" y="345"/>
                  <a:pt x="147" y="345"/>
                  <a:pt x="148" y="345"/>
                </a:cubicBezTo>
                <a:cubicBezTo>
                  <a:pt x="149" y="345"/>
                  <a:pt x="150" y="345"/>
                  <a:pt x="151" y="345"/>
                </a:cubicBezTo>
                <a:cubicBezTo>
                  <a:pt x="150" y="346"/>
                  <a:pt x="147" y="345"/>
                  <a:pt x="146" y="346"/>
                </a:cubicBezTo>
                <a:cubicBezTo>
                  <a:pt x="146" y="347"/>
                  <a:pt x="146" y="349"/>
                  <a:pt x="146" y="349"/>
                </a:cubicBezTo>
                <a:cubicBezTo>
                  <a:pt x="148" y="348"/>
                  <a:pt x="147" y="348"/>
                  <a:pt x="149" y="348"/>
                </a:cubicBezTo>
                <a:cubicBezTo>
                  <a:pt x="149" y="348"/>
                  <a:pt x="152" y="349"/>
                  <a:pt x="153" y="348"/>
                </a:cubicBezTo>
                <a:cubicBezTo>
                  <a:pt x="153" y="349"/>
                  <a:pt x="152" y="351"/>
                  <a:pt x="152" y="351"/>
                </a:cubicBezTo>
                <a:cubicBezTo>
                  <a:pt x="152" y="352"/>
                  <a:pt x="154" y="350"/>
                  <a:pt x="154" y="349"/>
                </a:cubicBezTo>
                <a:cubicBezTo>
                  <a:pt x="154" y="350"/>
                  <a:pt x="154" y="351"/>
                  <a:pt x="154" y="351"/>
                </a:cubicBezTo>
                <a:cubicBezTo>
                  <a:pt x="154" y="351"/>
                  <a:pt x="154" y="352"/>
                  <a:pt x="154" y="352"/>
                </a:cubicBezTo>
                <a:cubicBezTo>
                  <a:pt x="155" y="352"/>
                  <a:pt x="155" y="352"/>
                  <a:pt x="156" y="351"/>
                </a:cubicBezTo>
                <a:cubicBezTo>
                  <a:pt x="155" y="352"/>
                  <a:pt x="155" y="352"/>
                  <a:pt x="154" y="353"/>
                </a:cubicBezTo>
                <a:cubicBezTo>
                  <a:pt x="154" y="353"/>
                  <a:pt x="153" y="352"/>
                  <a:pt x="153" y="353"/>
                </a:cubicBezTo>
                <a:cubicBezTo>
                  <a:pt x="154" y="354"/>
                  <a:pt x="158" y="354"/>
                  <a:pt x="159" y="354"/>
                </a:cubicBezTo>
                <a:cubicBezTo>
                  <a:pt x="159" y="354"/>
                  <a:pt x="160" y="354"/>
                  <a:pt x="161" y="354"/>
                </a:cubicBezTo>
                <a:cubicBezTo>
                  <a:pt x="163" y="355"/>
                  <a:pt x="164" y="353"/>
                  <a:pt x="164" y="351"/>
                </a:cubicBezTo>
                <a:cubicBezTo>
                  <a:pt x="164" y="352"/>
                  <a:pt x="164" y="353"/>
                  <a:pt x="163" y="354"/>
                </a:cubicBezTo>
                <a:cubicBezTo>
                  <a:pt x="163" y="355"/>
                  <a:pt x="162" y="355"/>
                  <a:pt x="161" y="356"/>
                </a:cubicBezTo>
                <a:cubicBezTo>
                  <a:pt x="161" y="357"/>
                  <a:pt x="160" y="357"/>
                  <a:pt x="161" y="358"/>
                </a:cubicBezTo>
                <a:cubicBezTo>
                  <a:pt x="165" y="359"/>
                  <a:pt x="168" y="360"/>
                  <a:pt x="171" y="361"/>
                </a:cubicBezTo>
                <a:cubicBezTo>
                  <a:pt x="173" y="362"/>
                  <a:pt x="174" y="362"/>
                  <a:pt x="176" y="363"/>
                </a:cubicBezTo>
                <a:cubicBezTo>
                  <a:pt x="177" y="363"/>
                  <a:pt x="177" y="363"/>
                  <a:pt x="177" y="363"/>
                </a:cubicBezTo>
                <a:cubicBezTo>
                  <a:pt x="177" y="363"/>
                  <a:pt x="177" y="363"/>
                  <a:pt x="177" y="363"/>
                </a:cubicBezTo>
                <a:cubicBezTo>
                  <a:pt x="178" y="363"/>
                  <a:pt x="178" y="363"/>
                  <a:pt x="178" y="363"/>
                </a:cubicBezTo>
                <a:cubicBezTo>
                  <a:pt x="179" y="363"/>
                  <a:pt x="178" y="362"/>
                  <a:pt x="178" y="362"/>
                </a:cubicBezTo>
                <a:cubicBezTo>
                  <a:pt x="178" y="361"/>
                  <a:pt x="178" y="361"/>
                  <a:pt x="178" y="361"/>
                </a:cubicBezTo>
                <a:cubicBezTo>
                  <a:pt x="178" y="361"/>
                  <a:pt x="179" y="362"/>
                  <a:pt x="179" y="362"/>
                </a:cubicBezTo>
                <a:cubicBezTo>
                  <a:pt x="180" y="362"/>
                  <a:pt x="179" y="361"/>
                  <a:pt x="179" y="360"/>
                </a:cubicBezTo>
                <a:cubicBezTo>
                  <a:pt x="178" y="358"/>
                  <a:pt x="179" y="359"/>
                  <a:pt x="177" y="359"/>
                </a:cubicBezTo>
                <a:cubicBezTo>
                  <a:pt x="177" y="358"/>
                  <a:pt x="176" y="358"/>
                  <a:pt x="176" y="357"/>
                </a:cubicBezTo>
                <a:cubicBezTo>
                  <a:pt x="176" y="357"/>
                  <a:pt x="177" y="357"/>
                  <a:pt x="177" y="356"/>
                </a:cubicBezTo>
                <a:cubicBezTo>
                  <a:pt x="176" y="355"/>
                  <a:pt x="174" y="355"/>
                  <a:pt x="174" y="354"/>
                </a:cubicBezTo>
                <a:cubicBezTo>
                  <a:pt x="174" y="354"/>
                  <a:pt x="175" y="354"/>
                  <a:pt x="174" y="353"/>
                </a:cubicBezTo>
                <a:cubicBezTo>
                  <a:pt x="174" y="352"/>
                  <a:pt x="173" y="352"/>
                  <a:pt x="173" y="352"/>
                </a:cubicBezTo>
                <a:cubicBezTo>
                  <a:pt x="172" y="351"/>
                  <a:pt x="173" y="351"/>
                  <a:pt x="172" y="351"/>
                </a:cubicBezTo>
                <a:cubicBezTo>
                  <a:pt x="172" y="351"/>
                  <a:pt x="171" y="351"/>
                  <a:pt x="171" y="351"/>
                </a:cubicBezTo>
                <a:cubicBezTo>
                  <a:pt x="171" y="350"/>
                  <a:pt x="169" y="349"/>
                  <a:pt x="168" y="349"/>
                </a:cubicBezTo>
                <a:cubicBezTo>
                  <a:pt x="167" y="349"/>
                  <a:pt x="166" y="349"/>
                  <a:pt x="165" y="348"/>
                </a:cubicBezTo>
                <a:cubicBezTo>
                  <a:pt x="165" y="348"/>
                  <a:pt x="164" y="348"/>
                  <a:pt x="164" y="347"/>
                </a:cubicBezTo>
                <a:cubicBezTo>
                  <a:pt x="164" y="347"/>
                  <a:pt x="163" y="346"/>
                  <a:pt x="163" y="346"/>
                </a:cubicBezTo>
                <a:cubicBezTo>
                  <a:pt x="163" y="346"/>
                  <a:pt x="162" y="345"/>
                  <a:pt x="162" y="345"/>
                </a:cubicBezTo>
                <a:cubicBezTo>
                  <a:pt x="162" y="345"/>
                  <a:pt x="163" y="345"/>
                  <a:pt x="163" y="344"/>
                </a:cubicBezTo>
                <a:cubicBezTo>
                  <a:pt x="163" y="344"/>
                  <a:pt x="162" y="343"/>
                  <a:pt x="162" y="343"/>
                </a:cubicBezTo>
                <a:cubicBezTo>
                  <a:pt x="161" y="342"/>
                  <a:pt x="160" y="341"/>
                  <a:pt x="160" y="340"/>
                </a:cubicBezTo>
                <a:cubicBezTo>
                  <a:pt x="159" y="340"/>
                  <a:pt x="159" y="340"/>
                  <a:pt x="159" y="339"/>
                </a:cubicBezTo>
                <a:cubicBezTo>
                  <a:pt x="159" y="339"/>
                  <a:pt x="160" y="340"/>
                  <a:pt x="160" y="340"/>
                </a:cubicBezTo>
                <a:cubicBezTo>
                  <a:pt x="160" y="340"/>
                  <a:pt x="160" y="340"/>
                  <a:pt x="160" y="340"/>
                </a:cubicBezTo>
                <a:cubicBezTo>
                  <a:pt x="160" y="340"/>
                  <a:pt x="160" y="341"/>
                  <a:pt x="161" y="341"/>
                </a:cubicBezTo>
                <a:cubicBezTo>
                  <a:pt x="161" y="341"/>
                  <a:pt x="160" y="340"/>
                  <a:pt x="160" y="340"/>
                </a:cubicBezTo>
                <a:cubicBezTo>
                  <a:pt x="161" y="340"/>
                  <a:pt x="161" y="340"/>
                  <a:pt x="161" y="340"/>
                </a:cubicBezTo>
                <a:cubicBezTo>
                  <a:pt x="161" y="340"/>
                  <a:pt x="161" y="340"/>
                  <a:pt x="162" y="339"/>
                </a:cubicBezTo>
                <a:cubicBezTo>
                  <a:pt x="162" y="339"/>
                  <a:pt x="162" y="339"/>
                  <a:pt x="162" y="339"/>
                </a:cubicBezTo>
                <a:cubicBezTo>
                  <a:pt x="162" y="339"/>
                  <a:pt x="162" y="339"/>
                  <a:pt x="162" y="340"/>
                </a:cubicBezTo>
                <a:cubicBezTo>
                  <a:pt x="162" y="340"/>
                  <a:pt x="162" y="340"/>
                  <a:pt x="162" y="340"/>
                </a:cubicBezTo>
                <a:cubicBezTo>
                  <a:pt x="162" y="340"/>
                  <a:pt x="162" y="340"/>
                  <a:pt x="162" y="340"/>
                </a:cubicBezTo>
                <a:cubicBezTo>
                  <a:pt x="162" y="340"/>
                  <a:pt x="162" y="340"/>
                  <a:pt x="162" y="340"/>
                </a:cubicBezTo>
                <a:cubicBezTo>
                  <a:pt x="161" y="341"/>
                  <a:pt x="161" y="341"/>
                  <a:pt x="161" y="342"/>
                </a:cubicBezTo>
                <a:cubicBezTo>
                  <a:pt x="162" y="342"/>
                  <a:pt x="162" y="341"/>
                  <a:pt x="162" y="341"/>
                </a:cubicBezTo>
                <a:cubicBezTo>
                  <a:pt x="163" y="341"/>
                  <a:pt x="164" y="342"/>
                  <a:pt x="165" y="342"/>
                </a:cubicBezTo>
                <a:cubicBezTo>
                  <a:pt x="165" y="341"/>
                  <a:pt x="165" y="341"/>
                  <a:pt x="166" y="341"/>
                </a:cubicBezTo>
                <a:cubicBezTo>
                  <a:pt x="166" y="340"/>
                  <a:pt x="167" y="341"/>
                  <a:pt x="167" y="340"/>
                </a:cubicBezTo>
                <a:cubicBezTo>
                  <a:pt x="168" y="340"/>
                  <a:pt x="168" y="340"/>
                  <a:pt x="169" y="340"/>
                </a:cubicBezTo>
                <a:cubicBezTo>
                  <a:pt x="168" y="340"/>
                  <a:pt x="168" y="340"/>
                  <a:pt x="167" y="341"/>
                </a:cubicBezTo>
                <a:cubicBezTo>
                  <a:pt x="166" y="341"/>
                  <a:pt x="165" y="341"/>
                  <a:pt x="165" y="342"/>
                </a:cubicBezTo>
                <a:cubicBezTo>
                  <a:pt x="165" y="342"/>
                  <a:pt x="165" y="342"/>
                  <a:pt x="165" y="342"/>
                </a:cubicBezTo>
                <a:cubicBezTo>
                  <a:pt x="166" y="343"/>
                  <a:pt x="166" y="343"/>
                  <a:pt x="166" y="344"/>
                </a:cubicBezTo>
                <a:cubicBezTo>
                  <a:pt x="166" y="344"/>
                  <a:pt x="166" y="344"/>
                  <a:pt x="166" y="344"/>
                </a:cubicBezTo>
                <a:cubicBezTo>
                  <a:pt x="166" y="344"/>
                  <a:pt x="166" y="344"/>
                  <a:pt x="166" y="344"/>
                </a:cubicBezTo>
                <a:cubicBezTo>
                  <a:pt x="166" y="344"/>
                  <a:pt x="166" y="344"/>
                  <a:pt x="166" y="345"/>
                </a:cubicBezTo>
                <a:cubicBezTo>
                  <a:pt x="166" y="345"/>
                  <a:pt x="166" y="345"/>
                  <a:pt x="166" y="345"/>
                </a:cubicBezTo>
                <a:cubicBezTo>
                  <a:pt x="165" y="345"/>
                  <a:pt x="165" y="346"/>
                  <a:pt x="165" y="346"/>
                </a:cubicBezTo>
                <a:cubicBezTo>
                  <a:pt x="165" y="346"/>
                  <a:pt x="164" y="346"/>
                  <a:pt x="164" y="345"/>
                </a:cubicBezTo>
                <a:cubicBezTo>
                  <a:pt x="164" y="346"/>
                  <a:pt x="164" y="346"/>
                  <a:pt x="164" y="346"/>
                </a:cubicBezTo>
                <a:cubicBezTo>
                  <a:pt x="165" y="347"/>
                  <a:pt x="167" y="348"/>
                  <a:pt x="169" y="349"/>
                </a:cubicBezTo>
                <a:cubicBezTo>
                  <a:pt x="169" y="349"/>
                  <a:pt x="169" y="349"/>
                  <a:pt x="170" y="349"/>
                </a:cubicBezTo>
                <a:cubicBezTo>
                  <a:pt x="170" y="349"/>
                  <a:pt x="170" y="349"/>
                  <a:pt x="170" y="349"/>
                </a:cubicBezTo>
                <a:cubicBezTo>
                  <a:pt x="170" y="349"/>
                  <a:pt x="171" y="349"/>
                  <a:pt x="171" y="349"/>
                </a:cubicBezTo>
                <a:cubicBezTo>
                  <a:pt x="171" y="349"/>
                  <a:pt x="171" y="349"/>
                  <a:pt x="171" y="349"/>
                </a:cubicBezTo>
                <a:cubicBezTo>
                  <a:pt x="171" y="349"/>
                  <a:pt x="172" y="349"/>
                  <a:pt x="172" y="349"/>
                </a:cubicBezTo>
                <a:cubicBezTo>
                  <a:pt x="172" y="349"/>
                  <a:pt x="172" y="349"/>
                  <a:pt x="172" y="348"/>
                </a:cubicBezTo>
                <a:cubicBezTo>
                  <a:pt x="172" y="348"/>
                  <a:pt x="172" y="348"/>
                  <a:pt x="172" y="348"/>
                </a:cubicBezTo>
                <a:cubicBezTo>
                  <a:pt x="172" y="348"/>
                  <a:pt x="172" y="348"/>
                  <a:pt x="172" y="348"/>
                </a:cubicBezTo>
                <a:cubicBezTo>
                  <a:pt x="172" y="348"/>
                  <a:pt x="172" y="348"/>
                  <a:pt x="172" y="347"/>
                </a:cubicBezTo>
                <a:cubicBezTo>
                  <a:pt x="172" y="348"/>
                  <a:pt x="173" y="348"/>
                  <a:pt x="173" y="348"/>
                </a:cubicBezTo>
                <a:cubicBezTo>
                  <a:pt x="173" y="348"/>
                  <a:pt x="173" y="348"/>
                  <a:pt x="173" y="348"/>
                </a:cubicBezTo>
                <a:cubicBezTo>
                  <a:pt x="172" y="347"/>
                  <a:pt x="172" y="347"/>
                  <a:pt x="172" y="347"/>
                </a:cubicBezTo>
                <a:cubicBezTo>
                  <a:pt x="172" y="346"/>
                  <a:pt x="173" y="346"/>
                  <a:pt x="173" y="346"/>
                </a:cubicBezTo>
                <a:cubicBezTo>
                  <a:pt x="173" y="346"/>
                  <a:pt x="173" y="346"/>
                  <a:pt x="173" y="346"/>
                </a:cubicBezTo>
                <a:cubicBezTo>
                  <a:pt x="174" y="346"/>
                  <a:pt x="174" y="346"/>
                  <a:pt x="174" y="346"/>
                </a:cubicBezTo>
                <a:cubicBezTo>
                  <a:pt x="174" y="346"/>
                  <a:pt x="174" y="345"/>
                  <a:pt x="174" y="345"/>
                </a:cubicBezTo>
                <a:cubicBezTo>
                  <a:pt x="174" y="345"/>
                  <a:pt x="174" y="345"/>
                  <a:pt x="174" y="345"/>
                </a:cubicBezTo>
                <a:cubicBezTo>
                  <a:pt x="174" y="345"/>
                  <a:pt x="174" y="345"/>
                  <a:pt x="174" y="345"/>
                </a:cubicBezTo>
                <a:cubicBezTo>
                  <a:pt x="174" y="345"/>
                  <a:pt x="174" y="345"/>
                  <a:pt x="174" y="345"/>
                </a:cubicBezTo>
                <a:cubicBezTo>
                  <a:pt x="174" y="345"/>
                  <a:pt x="174" y="345"/>
                  <a:pt x="174" y="345"/>
                </a:cubicBezTo>
                <a:cubicBezTo>
                  <a:pt x="173" y="344"/>
                  <a:pt x="173" y="344"/>
                  <a:pt x="173" y="343"/>
                </a:cubicBezTo>
                <a:cubicBezTo>
                  <a:pt x="173" y="344"/>
                  <a:pt x="174" y="344"/>
                  <a:pt x="174" y="344"/>
                </a:cubicBezTo>
                <a:cubicBezTo>
                  <a:pt x="174" y="344"/>
                  <a:pt x="174" y="344"/>
                  <a:pt x="174" y="344"/>
                </a:cubicBezTo>
                <a:cubicBezTo>
                  <a:pt x="174" y="344"/>
                  <a:pt x="174" y="344"/>
                  <a:pt x="174" y="344"/>
                </a:cubicBezTo>
                <a:cubicBezTo>
                  <a:pt x="174" y="345"/>
                  <a:pt x="174" y="345"/>
                  <a:pt x="174" y="345"/>
                </a:cubicBezTo>
                <a:cubicBezTo>
                  <a:pt x="174" y="345"/>
                  <a:pt x="174" y="345"/>
                  <a:pt x="174" y="345"/>
                </a:cubicBezTo>
                <a:cubicBezTo>
                  <a:pt x="174" y="345"/>
                  <a:pt x="174" y="345"/>
                  <a:pt x="174" y="345"/>
                </a:cubicBezTo>
                <a:cubicBezTo>
                  <a:pt x="174" y="345"/>
                  <a:pt x="174" y="346"/>
                  <a:pt x="173" y="346"/>
                </a:cubicBezTo>
                <a:cubicBezTo>
                  <a:pt x="173" y="346"/>
                  <a:pt x="173" y="346"/>
                  <a:pt x="173" y="346"/>
                </a:cubicBezTo>
                <a:cubicBezTo>
                  <a:pt x="173" y="346"/>
                  <a:pt x="173" y="346"/>
                  <a:pt x="173" y="346"/>
                </a:cubicBezTo>
                <a:cubicBezTo>
                  <a:pt x="173" y="347"/>
                  <a:pt x="173" y="348"/>
                  <a:pt x="173" y="349"/>
                </a:cubicBezTo>
                <a:cubicBezTo>
                  <a:pt x="174" y="349"/>
                  <a:pt x="173" y="349"/>
                  <a:pt x="173" y="349"/>
                </a:cubicBezTo>
                <a:cubicBezTo>
                  <a:pt x="173" y="349"/>
                  <a:pt x="173" y="349"/>
                  <a:pt x="173" y="349"/>
                </a:cubicBezTo>
                <a:cubicBezTo>
                  <a:pt x="173" y="349"/>
                  <a:pt x="173" y="349"/>
                  <a:pt x="173" y="349"/>
                </a:cubicBezTo>
                <a:cubicBezTo>
                  <a:pt x="173" y="350"/>
                  <a:pt x="175" y="350"/>
                  <a:pt x="175" y="351"/>
                </a:cubicBezTo>
                <a:cubicBezTo>
                  <a:pt x="176" y="351"/>
                  <a:pt x="177" y="351"/>
                  <a:pt x="177" y="350"/>
                </a:cubicBezTo>
                <a:cubicBezTo>
                  <a:pt x="177" y="350"/>
                  <a:pt x="177" y="351"/>
                  <a:pt x="177" y="351"/>
                </a:cubicBezTo>
                <a:cubicBezTo>
                  <a:pt x="177" y="351"/>
                  <a:pt x="176" y="351"/>
                  <a:pt x="176" y="351"/>
                </a:cubicBezTo>
                <a:cubicBezTo>
                  <a:pt x="176" y="351"/>
                  <a:pt x="176" y="351"/>
                  <a:pt x="175" y="351"/>
                </a:cubicBezTo>
                <a:cubicBezTo>
                  <a:pt x="175" y="352"/>
                  <a:pt x="175" y="352"/>
                  <a:pt x="175" y="353"/>
                </a:cubicBezTo>
                <a:cubicBezTo>
                  <a:pt x="175" y="353"/>
                  <a:pt x="176" y="353"/>
                  <a:pt x="176" y="354"/>
                </a:cubicBezTo>
                <a:cubicBezTo>
                  <a:pt x="177" y="354"/>
                  <a:pt x="177" y="354"/>
                  <a:pt x="178" y="354"/>
                </a:cubicBezTo>
                <a:cubicBezTo>
                  <a:pt x="178" y="354"/>
                  <a:pt x="178" y="354"/>
                  <a:pt x="178" y="354"/>
                </a:cubicBezTo>
                <a:cubicBezTo>
                  <a:pt x="178" y="354"/>
                  <a:pt x="178" y="354"/>
                  <a:pt x="178" y="354"/>
                </a:cubicBezTo>
                <a:cubicBezTo>
                  <a:pt x="178" y="354"/>
                  <a:pt x="178" y="354"/>
                  <a:pt x="178" y="354"/>
                </a:cubicBezTo>
                <a:cubicBezTo>
                  <a:pt x="178" y="354"/>
                  <a:pt x="178" y="354"/>
                  <a:pt x="178" y="354"/>
                </a:cubicBezTo>
                <a:cubicBezTo>
                  <a:pt x="178" y="354"/>
                  <a:pt x="178" y="354"/>
                  <a:pt x="178" y="353"/>
                </a:cubicBezTo>
                <a:cubicBezTo>
                  <a:pt x="178" y="353"/>
                  <a:pt x="178" y="353"/>
                  <a:pt x="178" y="353"/>
                </a:cubicBezTo>
                <a:cubicBezTo>
                  <a:pt x="178" y="353"/>
                  <a:pt x="178" y="353"/>
                  <a:pt x="178" y="353"/>
                </a:cubicBezTo>
                <a:cubicBezTo>
                  <a:pt x="178" y="353"/>
                  <a:pt x="178" y="353"/>
                  <a:pt x="178" y="352"/>
                </a:cubicBezTo>
                <a:cubicBezTo>
                  <a:pt x="178" y="352"/>
                  <a:pt x="178" y="352"/>
                  <a:pt x="179" y="352"/>
                </a:cubicBezTo>
                <a:cubicBezTo>
                  <a:pt x="179" y="352"/>
                  <a:pt x="180" y="352"/>
                  <a:pt x="180" y="352"/>
                </a:cubicBezTo>
                <a:cubicBezTo>
                  <a:pt x="180" y="351"/>
                  <a:pt x="180" y="351"/>
                  <a:pt x="180" y="351"/>
                </a:cubicBezTo>
                <a:cubicBezTo>
                  <a:pt x="180" y="351"/>
                  <a:pt x="180" y="351"/>
                  <a:pt x="180" y="351"/>
                </a:cubicBezTo>
                <a:cubicBezTo>
                  <a:pt x="180" y="351"/>
                  <a:pt x="180" y="351"/>
                  <a:pt x="180" y="351"/>
                </a:cubicBezTo>
                <a:cubicBezTo>
                  <a:pt x="180" y="351"/>
                  <a:pt x="180" y="351"/>
                  <a:pt x="180" y="351"/>
                </a:cubicBezTo>
                <a:cubicBezTo>
                  <a:pt x="181" y="350"/>
                  <a:pt x="181" y="350"/>
                  <a:pt x="181" y="350"/>
                </a:cubicBezTo>
                <a:cubicBezTo>
                  <a:pt x="181" y="351"/>
                  <a:pt x="180" y="353"/>
                  <a:pt x="180" y="354"/>
                </a:cubicBezTo>
                <a:cubicBezTo>
                  <a:pt x="180" y="354"/>
                  <a:pt x="181" y="353"/>
                  <a:pt x="181" y="353"/>
                </a:cubicBezTo>
                <a:cubicBezTo>
                  <a:pt x="182" y="353"/>
                  <a:pt x="183" y="354"/>
                  <a:pt x="183" y="354"/>
                </a:cubicBezTo>
                <a:cubicBezTo>
                  <a:pt x="183" y="354"/>
                  <a:pt x="184" y="354"/>
                  <a:pt x="184" y="354"/>
                </a:cubicBezTo>
                <a:cubicBezTo>
                  <a:pt x="184" y="354"/>
                  <a:pt x="184" y="354"/>
                  <a:pt x="184" y="354"/>
                </a:cubicBezTo>
                <a:cubicBezTo>
                  <a:pt x="184" y="354"/>
                  <a:pt x="184" y="354"/>
                  <a:pt x="184" y="354"/>
                </a:cubicBezTo>
                <a:cubicBezTo>
                  <a:pt x="184" y="354"/>
                  <a:pt x="184" y="354"/>
                  <a:pt x="184" y="354"/>
                </a:cubicBezTo>
                <a:cubicBezTo>
                  <a:pt x="184" y="354"/>
                  <a:pt x="184" y="354"/>
                  <a:pt x="184" y="354"/>
                </a:cubicBezTo>
                <a:cubicBezTo>
                  <a:pt x="184" y="354"/>
                  <a:pt x="184" y="354"/>
                  <a:pt x="184" y="354"/>
                </a:cubicBezTo>
                <a:cubicBezTo>
                  <a:pt x="184" y="354"/>
                  <a:pt x="184" y="354"/>
                  <a:pt x="184" y="354"/>
                </a:cubicBezTo>
                <a:cubicBezTo>
                  <a:pt x="184" y="354"/>
                  <a:pt x="184" y="355"/>
                  <a:pt x="184" y="355"/>
                </a:cubicBezTo>
                <a:cubicBezTo>
                  <a:pt x="184" y="355"/>
                  <a:pt x="184" y="356"/>
                  <a:pt x="184" y="356"/>
                </a:cubicBezTo>
                <a:cubicBezTo>
                  <a:pt x="184" y="358"/>
                  <a:pt x="183" y="359"/>
                  <a:pt x="182" y="359"/>
                </a:cubicBezTo>
                <a:cubicBezTo>
                  <a:pt x="182" y="359"/>
                  <a:pt x="182" y="359"/>
                  <a:pt x="182" y="360"/>
                </a:cubicBezTo>
                <a:cubicBezTo>
                  <a:pt x="182" y="360"/>
                  <a:pt x="183" y="360"/>
                  <a:pt x="184" y="360"/>
                </a:cubicBezTo>
                <a:cubicBezTo>
                  <a:pt x="184" y="359"/>
                  <a:pt x="184" y="359"/>
                  <a:pt x="184" y="359"/>
                </a:cubicBezTo>
                <a:cubicBezTo>
                  <a:pt x="185" y="359"/>
                  <a:pt x="185" y="359"/>
                  <a:pt x="185" y="359"/>
                </a:cubicBezTo>
                <a:cubicBezTo>
                  <a:pt x="185" y="359"/>
                  <a:pt x="185" y="359"/>
                  <a:pt x="185" y="359"/>
                </a:cubicBezTo>
                <a:cubicBezTo>
                  <a:pt x="213" y="358"/>
                  <a:pt x="213" y="358"/>
                  <a:pt x="213" y="358"/>
                </a:cubicBezTo>
                <a:cubicBezTo>
                  <a:pt x="327" y="358"/>
                  <a:pt x="327" y="358"/>
                  <a:pt x="327" y="358"/>
                </a:cubicBezTo>
                <a:cubicBezTo>
                  <a:pt x="330" y="358"/>
                  <a:pt x="368" y="358"/>
                  <a:pt x="368" y="358"/>
                </a:cubicBezTo>
                <a:cubicBezTo>
                  <a:pt x="369" y="358"/>
                  <a:pt x="371" y="358"/>
                  <a:pt x="372" y="358"/>
                </a:cubicBezTo>
                <a:cubicBezTo>
                  <a:pt x="372" y="358"/>
                  <a:pt x="376" y="358"/>
                  <a:pt x="376" y="358"/>
                </a:cubicBezTo>
                <a:cubicBezTo>
                  <a:pt x="377" y="358"/>
                  <a:pt x="420" y="358"/>
                  <a:pt x="443" y="358"/>
                </a:cubicBezTo>
                <a:cubicBezTo>
                  <a:pt x="461" y="358"/>
                  <a:pt x="461" y="358"/>
                  <a:pt x="461" y="358"/>
                </a:cubicBezTo>
                <a:cubicBezTo>
                  <a:pt x="464" y="359"/>
                  <a:pt x="466" y="359"/>
                  <a:pt x="466" y="359"/>
                </a:cubicBezTo>
                <a:cubicBezTo>
                  <a:pt x="467" y="357"/>
                  <a:pt x="467" y="356"/>
                  <a:pt x="466" y="355"/>
                </a:cubicBezTo>
                <a:cubicBezTo>
                  <a:pt x="465" y="353"/>
                  <a:pt x="465" y="353"/>
                  <a:pt x="465" y="353"/>
                </a:cubicBezTo>
                <a:cubicBezTo>
                  <a:pt x="468" y="353"/>
                  <a:pt x="468" y="353"/>
                  <a:pt x="468" y="353"/>
                </a:cubicBezTo>
                <a:cubicBezTo>
                  <a:pt x="469" y="354"/>
                  <a:pt x="472" y="354"/>
                  <a:pt x="472" y="357"/>
                </a:cubicBezTo>
                <a:cubicBezTo>
                  <a:pt x="472" y="358"/>
                  <a:pt x="474" y="362"/>
                  <a:pt x="474" y="362"/>
                </a:cubicBezTo>
                <a:cubicBezTo>
                  <a:pt x="474" y="362"/>
                  <a:pt x="474" y="362"/>
                  <a:pt x="475" y="362"/>
                </a:cubicBezTo>
                <a:cubicBezTo>
                  <a:pt x="476" y="362"/>
                  <a:pt x="478" y="363"/>
                  <a:pt x="478" y="363"/>
                </a:cubicBezTo>
                <a:cubicBezTo>
                  <a:pt x="479" y="364"/>
                  <a:pt x="483" y="366"/>
                  <a:pt x="484" y="364"/>
                </a:cubicBezTo>
                <a:cubicBezTo>
                  <a:pt x="486" y="363"/>
                  <a:pt x="488" y="363"/>
                  <a:pt x="490" y="364"/>
                </a:cubicBezTo>
                <a:cubicBezTo>
                  <a:pt x="490" y="364"/>
                  <a:pt x="491" y="364"/>
                  <a:pt x="491" y="364"/>
                </a:cubicBezTo>
                <a:cubicBezTo>
                  <a:pt x="493" y="364"/>
                  <a:pt x="496" y="365"/>
                  <a:pt x="496" y="367"/>
                </a:cubicBezTo>
                <a:cubicBezTo>
                  <a:pt x="496" y="367"/>
                  <a:pt x="496" y="367"/>
                  <a:pt x="496" y="367"/>
                </a:cubicBezTo>
                <a:cubicBezTo>
                  <a:pt x="498" y="367"/>
                  <a:pt x="500" y="367"/>
                  <a:pt x="501" y="368"/>
                </a:cubicBezTo>
                <a:cubicBezTo>
                  <a:pt x="501" y="368"/>
                  <a:pt x="501" y="368"/>
                  <a:pt x="502" y="369"/>
                </a:cubicBezTo>
                <a:cubicBezTo>
                  <a:pt x="504" y="371"/>
                  <a:pt x="505" y="372"/>
                  <a:pt x="507" y="370"/>
                </a:cubicBezTo>
                <a:cubicBezTo>
                  <a:pt x="509" y="369"/>
                  <a:pt x="511" y="368"/>
                  <a:pt x="512" y="369"/>
                </a:cubicBezTo>
                <a:cubicBezTo>
                  <a:pt x="513" y="369"/>
                  <a:pt x="513" y="369"/>
                  <a:pt x="513" y="370"/>
                </a:cubicBezTo>
                <a:cubicBezTo>
                  <a:pt x="513" y="370"/>
                  <a:pt x="513" y="370"/>
                  <a:pt x="513" y="370"/>
                </a:cubicBezTo>
                <a:cubicBezTo>
                  <a:pt x="513" y="370"/>
                  <a:pt x="513" y="370"/>
                  <a:pt x="513" y="370"/>
                </a:cubicBezTo>
                <a:cubicBezTo>
                  <a:pt x="514" y="370"/>
                  <a:pt x="519" y="371"/>
                  <a:pt x="520" y="371"/>
                </a:cubicBezTo>
                <a:cubicBezTo>
                  <a:pt x="521" y="371"/>
                  <a:pt x="522" y="371"/>
                  <a:pt x="525" y="372"/>
                </a:cubicBezTo>
                <a:cubicBezTo>
                  <a:pt x="525" y="372"/>
                  <a:pt x="525" y="372"/>
                  <a:pt x="525" y="372"/>
                </a:cubicBezTo>
                <a:cubicBezTo>
                  <a:pt x="525" y="372"/>
                  <a:pt x="525" y="372"/>
                  <a:pt x="525" y="372"/>
                </a:cubicBezTo>
                <a:cubicBezTo>
                  <a:pt x="525" y="372"/>
                  <a:pt x="525" y="372"/>
                  <a:pt x="525" y="372"/>
                </a:cubicBezTo>
                <a:cubicBezTo>
                  <a:pt x="525" y="372"/>
                  <a:pt x="525" y="372"/>
                  <a:pt x="525" y="372"/>
                </a:cubicBezTo>
                <a:cubicBezTo>
                  <a:pt x="525" y="372"/>
                  <a:pt x="525" y="372"/>
                  <a:pt x="525" y="372"/>
                </a:cubicBezTo>
                <a:cubicBezTo>
                  <a:pt x="526" y="372"/>
                  <a:pt x="526" y="372"/>
                  <a:pt x="526" y="372"/>
                </a:cubicBezTo>
                <a:cubicBezTo>
                  <a:pt x="526" y="372"/>
                  <a:pt x="526" y="372"/>
                  <a:pt x="526" y="372"/>
                </a:cubicBezTo>
                <a:cubicBezTo>
                  <a:pt x="526" y="372"/>
                  <a:pt x="526" y="372"/>
                  <a:pt x="526" y="372"/>
                </a:cubicBezTo>
                <a:cubicBezTo>
                  <a:pt x="526" y="372"/>
                  <a:pt x="526" y="372"/>
                  <a:pt x="526" y="372"/>
                </a:cubicBezTo>
                <a:cubicBezTo>
                  <a:pt x="525" y="371"/>
                  <a:pt x="525" y="371"/>
                  <a:pt x="525" y="371"/>
                </a:cubicBezTo>
                <a:cubicBezTo>
                  <a:pt x="525" y="371"/>
                  <a:pt x="525" y="371"/>
                  <a:pt x="525" y="371"/>
                </a:cubicBezTo>
                <a:cubicBezTo>
                  <a:pt x="526" y="371"/>
                  <a:pt x="526" y="371"/>
                  <a:pt x="526" y="371"/>
                </a:cubicBezTo>
                <a:cubicBezTo>
                  <a:pt x="526" y="371"/>
                  <a:pt x="526" y="371"/>
                  <a:pt x="526" y="371"/>
                </a:cubicBezTo>
                <a:cubicBezTo>
                  <a:pt x="526" y="371"/>
                  <a:pt x="526" y="371"/>
                  <a:pt x="526" y="371"/>
                </a:cubicBezTo>
                <a:cubicBezTo>
                  <a:pt x="526" y="371"/>
                  <a:pt x="526" y="371"/>
                  <a:pt x="526" y="371"/>
                </a:cubicBezTo>
                <a:cubicBezTo>
                  <a:pt x="526" y="371"/>
                  <a:pt x="526" y="371"/>
                  <a:pt x="526" y="371"/>
                </a:cubicBezTo>
                <a:cubicBezTo>
                  <a:pt x="526" y="371"/>
                  <a:pt x="526" y="371"/>
                  <a:pt x="526" y="371"/>
                </a:cubicBezTo>
                <a:cubicBezTo>
                  <a:pt x="526" y="371"/>
                  <a:pt x="526" y="371"/>
                  <a:pt x="526" y="371"/>
                </a:cubicBezTo>
                <a:cubicBezTo>
                  <a:pt x="526" y="371"/>
                  <a:pt x="526" y="371"/>
                  <a:pt x="526" y="371"/>
                </a:cubicBezTo>
                <a:cubicBezTo>
                  <a:pt x="526" y="371"/>
                  <a:pt x="526" y="371"/>
                  <a:pt x="526" y="371"/>
                </a:cubicBezTo>
                <a:cubicBezTo>
                  <a:pt x="526" y="371"/>
                  <a:pt x="526" y="371"/>
                  <a:pt x="526" y="371"/>
                </a:cubicBezTo>
                <a:cubicBezTo>
                  <a:pt x="526" y="371"/>
                  <a:pt x="526" y="371"/>
                  <a:pt x="526" y="371"/>
                </a:cubicBezTo>
                <a:cubicBezTo>
                  <a:pt x="526" y="371"/>
                  <a:pt x="526" y="371"/>
                  <a:pt x="526" y="371"/>
                </a:cubicBezTo>
                <a:cubicBezTo>
                  <a:pt x="526" y="371"/>
                  <a:pt x="526" y="371"/>
                  <a:pt x="526" y="371"/>
                </a:cubicBezTo>
                <a:cubicBezTo>
                  <a:pt x="526" y="371"/>
                  <a:pt x="526" y="371"/>
                  <a:pt x="526" y="371"/>
                </a:cubicBezTo>
                <a:cubicBezTo>
                  <a:pt x="526" y="371"/>
                  <a:pt x="526" y="371"/>
                  <a:pt x="526" y="371"/>
                </a:cubicBezTo>
                <a:cubicBezTo>
                  <a:pt x="527" y="371"/>
                  <a:pt x="527" y="371"/>
                  <a:pt x="527" y="371"/>
                </a:cubicBezTo>
                <a:cubicBezTo>
                  <a:pt x="527" y="371"/>
                  <a:pt x="527" y="371"/>
                  <a:pt x="527" y="371"/>
                </a:cubicBezTo>
                <a:cubicBezTo>
                  <a:pt x="527" y="371"/>
                  <a:pt x="527" y="371"/>
                  <a:pt x="527" y="371"/>
                </a:cubicBezTo>
                <a:cubicBezTo>
                  <a:pt x="527" y="371"/>
                  <a:pt x="527" y="371"/>
                  <a:pt x="527" y="371"/>
                </a:cubicBezTo>
                <a:cubicBezTo>
                  <a:pt x="527" y="371"/>
                  <a:pt x="527" y="371"/>
                  <a:pt x="527" y="371"/>
                </a:cubicBezTo>
                <a:cubicBezTo>
                  <a:pt x="527" y="371"/>
                  <a:pt x="527" y="371"/>
                  <a:pt x="527" y="371"/>
                </a:cubicBezTo>
                <a:cubicBezTo>
                  <a:pt x="527" y="370"/>
                  <a:pt x="527" y="370"/>
                  <a:pt x="527" y="370"/>
                </a:cubicBezTo>
                <a:cubicBezTo>
                  <a:pt x="527" y="370"/>
                  <a:pt x="527" y="370"/>
                  <a:pt x="527" y="370"/>
                </a:cubicBezTo>
                <a:cubicBezTo>
                  <a:pt x="527" y="370"/>
                  <a:pt x="527" y="370"/>
                  <a:pt x="527" y="370"/>
                </a:cubicBezTo>
                <a:cubicBezTo>
                  <a:pt x="527" y="370"/>
                  <a:pt x="527" y="370"/>
                  <a:pt x="527" y="370"/>
                </a:cubicBezTo>
                <a:cubicBezTo>
                  <a:pt x="527" y="370"/>
                  <a:pt x="527" y="370"/>
                  <a:pt x="527" y="370"/>
                </a:cubicBezTo>
                <a:cubicBezTo>
                  <a:pt x="527" y="370"/>
                  <a:pt x="527" y="370"/>
                  <a:pt x="527" y="370"/>
                </a:cubicBezTo>
                <a:cubicBezTo>
                  <a:pt x="527" y="370"/>
                  <a:pt x="527" y="370"/>
                  <a:pt x="527" y="370"/>
                </a:cubicBezTo>
                <a:cubicBezTo>
                  <a:pt x="527" y="370"/>
                  <a:pt x="527" y="370"/>
                  <a:pt x="527" y="370"/>
                </a:cubicBezTo>
                <a:cubicBezTo>
                  <a:pt x="527" y="370"/>
                  <a:pt x="527" y="369"/>
                  <a:pt x="527" y="369"/>
                </a:cubicBezTo>
                <a:cubicBezTo>
                  <a:pt x="527" y="369"/>
                  <a:pt x="527" y="369"/>
                  <a:pt x="527" y="369"/>
                </a:cubicBezTo>
                <a:cubicBezTo>
                  <a:pt x="527" y="369"/>
                  <a:pt x="527" y="369"/>
                  <a:pt x="527" y="369"/>
                </a:cubicBezTo>
                <a:cubicBezTo>
                  <a:pt x="527" y="369"/>
                  <a:pt x="527" y="369"/>
                  <a:pt x="527" y="369"/>
                </a:cubicBezTo>
                <a:cubicBezTo>
                  <a:pt x="527" y="369"/>
                  <a:pt x="527" y="369"/>
                  <a:pt x="527" y="369"/>
                </a:cubicBezTo>
                <a:cubicBezTo>
                  <a:pt x="527" y="369"/>
                  <a:pt x="527" y="369"/>
                  <a:pt x="527" y="369"/>
                </a:cubicBezTo>
                <a:cubicBezTo>
                  <a:pt x="527" y="369"/>
                  <a:pt x="527" y="369"/>
                  <a:pt x="527" y="369"/>
                </a:cubicBezTo>
                <a:cubicBezTo>
                  <a:pt x="527" y="369"/>
                  <a:pt x="527" y="369"/>
                  <a:pt x="527" y="369"/>
                </a:cubicBezTo>
                <a:cubicBezTo>
                  <a:pt x="527" y="369"/>
                  <a:pt x="527" y="369"/>
                  <a:pt x="527" y="369"/>
                </a:cubicBezTo>
                <a:cubicBezTo>
                  <a:pt x="527" y="369"/>
                  <a:pt x="527" y="369"/>
                  <a:pt x="527" y="369"/>
                </a:cubicBezTo>
                <a:cubicBezTo>
                  <a:pt x="528" y="369"/>
                  <a:pt x="528" y="369"/>
                  <a:pt x="528" y="369"/>
                </a:cubicBezTo>
                <a:cubicBezTo>
                  <a:pt x="528" y="369"/>
                  <a:pt x="528" y="369"/>
                  <a:pt x="528" y="369"/>
                </a:cubicBezTo>
                <a:cubicBezTo>
                  <a:pt x="528" y="368"/>
                  <a:pt x="528" y="368"/>
                  <a:pt x="528" y="368"/>
                </a:cubicBezTo>
                <a:cubicBezTo>
                  <a:pt x="528" y="368"/>
                  <a:pt x="528" y="368"/>
                  <a:pt x="528" y="368"/>
                </a:cubicBezTo>
                <a:cubicBezTo>
                  <a:pt x="528" y="368"/>
                  <a:pt x="528" y="368"/>
                  <a:pt x="528" y="368"/>
                </a:cubicBezTo>
                <a:cubicBezTo>
                  <a:pt x="528" y="368"/>
                  <a:pt x="528" y="368"/>
                  <a:pt x="528" y="368"/>
                </a:cubicBezTo>
                <a:cubicBezTo>
                  <a:pt x="528" y="368"/>
                  <a:pt x="528" y="368"/>
                  <a:pt x="528" y="368"/>
                </a:cubicBezTo>
                <a:cubicBezTo>
                  <a:pt x="528" y="368"/>
                  <a:pt x="528" y="368"/>
                  <a:pt x="528" y="368"/>
                </a:cubicBezTo>
                <a:cubicBezTo>
                  <a:pt x="528" y="368"/>
                  <a:pt x="528" y="368"/>
                  <a:pt x="528" y="368"/>
                </a:cubicBezTo>
                <a:cubicBezTo>
                  <a:pt x="528" y="368"/>
                  <a:pt x="527" y="368"/>
                  <a:pt x="527" y="367"/>
                </a:cubicBezTo>
                <a:cubicBezTo>
                  <a:pt x="528" y="367"/>
                  <a:pt x="528" y="367"/>
                  <a:pt x="528" y="367"/>
                </a:cubicBezTo>
                <a:cubicBezTo>
                  <a:pt x="528" y="367"/>
                  <a:pt x="528" y="367"/>
                  <a:pt x="528" y="367"/>
                </a:cubicBezTo>
                <a:cubicBezTo>
                  <a:pt x="528" y="367"/>
                  <a:pt x="528" y="367"/>
                  <a:pt x="528" y="367"/>
                </a:cubicBezTo>
                <a:cubicBezTo>
                  <a:pt x="528" y="367"/>
                  <a:pt x="528" y="367"/>
                  <a:pt x="528" y="367"/>
                </a:cubicBezTo>
                <a:cubicBezTo>
                  <a:pt x="528" y="367"/>
                  <a:pt x="528" y="367"/>
                  <a:pt x="528" y="367"/>
                </a:cubicBezTo>
                <a:cubicBezTo>
                  <a:pt x="528" y="367"/>
                  <a:pt x="528" y="367"/>
                  <a:pt x="528" y="367"/>
                </a:cubicBezTo>
                <a:cubicBezTo>
                  <a:pt x="528" y="367"/>
                  <a:pt x="528" y="367"/>
                  <a:pt x="528" y="367"/>
                </a:cubicBezTo>
                <a:cubicBezTo>
                  <a:pt x="528" y="367"/>
                  <a:pt x="528" y="367"/>
                  <a:pt x="528" y="367"/>
                </a:cubicBezTo>
                <a:cubicBezTo>
                  <a:pt x="528" y="367"/>
                  <a:pt x="528" y="367"/>
                  <a:pt x="528" y="367"/>
                </a:cubicBezTo>
                <a:cubicBezTo>
                  <a:pt x="528" y="367"/>
                  <a:pt x="528" y="367"/>
                  <a:pt x="528" y="367"/>
                </a:cubicBezTo>
                <a:cubicBezTo>
                  <a:pt x="528" y="367"/>
                  <a:pt x="528" y="367"/>
                  <a:pt x="528" y="367"/>
                </a:cubicBezTo>
                <a:cubicBezTo>
                  <a:pt x="528" y="367"/>
                  <a:pt x="528" y="367"/>
                  <a:pt x="528" y="367"/>
                </a:cubicBezTo>
                <a:cubicBezTo>
                  <a:pt x="528" y="367"/>
                  <a:pt x="528" y="367"/>
                  <a:pt x="528" y="367"/>
                </a:cubicBezTo>
                <a:cubicBezTo>
                  <a:pt x="528" y="367"/>
                  <a:pt x="528" y="367"/>
                  <a:pt x="528" y="367"/>
                </a:cubicBezTo>
                <a:cubicBezTo>
                  <a:pt x="528" y="367"/>
                  <a:pt x="528" y="367"/>
                  <a:pt x="528" y="367"/>
                </a:cubicBezTo>
                <a:cubicBezTo>
                  <a:pt x="528" y="367"/>
                  <a:pt x="528" y="367"/>
                  <a:pt x="528" y="367"/>
                </a:cubicBezTo>
                <a:cubicBezTo>
                  <a:pt x="528" y="367"/>
                  <a:pt x="528" y="367"/>
                  <a:pt x="528" y="367"/>
                </a:cubicBezTo>
                <a:cubicBezTo>
                  <a:pt x="528" y="367"/>
                  <a:pt x="528" y="367"/>
                  <a:pt x="528" y="367"/>
                </a:cubicBezTo>
                <a:cubicBezTo>
                  <a:pt x="528" y="366"/>
                  <a:pt x="528" y="366"/>
                  <a:pt x="528" y="366"/>
                </a:cubicBezTo>
                <a:cubicBezTo>
                  <a:pt x="529" y="366"/>
                  <a:pt x="529" y="366"/>
                  <a:pt x="529" y="366"/>
                </a:cubicBezTo>
                <a:cubicBezTo>
                  <a:pt x="529" y="366"/>
                  <a:pt x="529" y="366"/>
                  <a:pt x="529" y="366"/>
                </a:cubicBezTo>
                <a:cubicBezTo>
                  <a:pt x="529" y="366"/>
                  <a:pt x="529" y="366"/>
                  <a:pt x="529" y="366"/>
                </a:cubicBezTo>
                <a:cubicBezTo>
                  <a:pt x="529" y="366"/>
                  <a:pt x="529" y="366"/>
                  <a:pt x="530" y="366"/>
                </a:cubicBezTo>
                <a:cubicBezTo>
                  <a:pt x="530" y="366"/>
                  <a:pt x="530" y="366"/>
                  <a:pt x="530" y="366"/>
                </a:cubicBezTo>
                <a:cubicBezTo>
                  <a:pt x="530" y="366"/>
                  <a:pt x="530" y="366"/>
                  <a:pt x="530" y="366"/>
                </a:cubicBezTo>
                <a:cubicBezTo>
                  <a:pt x="530" y="366"/>
                  <a:pt x="530" y="366"/>
                  <a:pt x="530" y="366"/>
                </a:cubicBezTo>
                <a:cubicBezTo>
                  <a:pt x="530" y="366"/>
                  <a:pt x="530" y="366"/>
                  <a:pt x="530" y="366"/>
                </a:cubicBezTo>
                <a:cubicBezTo>
                  <a:pt x="530" y="366"/>
                  <a:pt x="530" y="366"/>
                  <a:pt x="530" y="366"/>
                </a:cubicBezTo>
                <a:cubicBezTo>
                  <a:pt x="530" y="366"/>
                  <a:pt x="530" y="366"/>
                  <a:pt x="530" y="366"/>
                </a:cubicBezTo>
                <a:cubicBezTo>
                  <a:pt x="530" y="366"/>
                  <a:pt x="530" y="366"/>
                  <a:pt x="530" y="366"/>
                </a:cubicBezTo>
                <a:cubicBezTo>
                  <a:pt x="530" y="366"/>
                  <a:pt x="530" y="366"/>
                  <a:pt x="530" y="366"/>
                </a:cubicBezTo>
                <a:cubicBezTo>
                  <a:pt x="530" y="366"/>
                  <a:pt x="530" y="366"/>
                  <a:pt x="530" y="366"/>
                </a:cubicBezTo>
                <a:cubicBezTo>
                  <a:pt x="531" y="366"/>
                  <a:pt x="531" y="366"/>
                  <a:pt x="531" y="366"/>
                </a:cubicBezTo>
                <a:cubicBezTo>
                  <a:pt x="531" y="366"/>
                  <a:pt x="531" y="366"/>
                  <a:pt x="531" y="366"/>
                </a:cubicBezTo>
                <a:cubicBezTo>
                  <a:pt x="531" y="366"/>
                  <a:pt x="531" y="366"/>
                  <a:pt x="531" y="366"/>
                </a:cubicBezTo>
                <a:cubicBezTo>
                  <a:pt x="531" y="366"/>
                  <a:pt x="531" y="366"/>
                  <a:pt x="531" y="366"/>
                </a:cubicBezTo>
                <a:cubicBezTo>
                  <a:pt x="531" y="365"/>
                  <a:pt x="531" y="365"/>
                  <a:pt x="531" y="365"/>
                </a:cubicBezTo>
                <a:cubicBezTo>
                  <a:pt x="531" y="365"/>
                  <a:pt x="531" y="365"/>
                  <a:pt x="531" y="365"/>
                </a:cubicBezTo>
                <a:cubicBezTo>
                  <a:pt x="531" y="365"/>
                  <a:pt x="531" y="365"/>
                  <a:pt x="531" y="365"/>
                </a:cubicBezTo>
                <a:cubicBezTo>
                  <a:pt x="531" y="365"/>
                  <a:pt x="531" y="365"/>
                  <a:pt x="531" y="365"/>
                </a:cubicBezTo>
                <a:cubicBezTo>
                  <a:pt x="531" y="365"/>
                  <a:pt x="531" y="365"/>
                  <a:pt x="531" y="365"/>
                </a:cubicBezTo>
                <a:cubicBezTo>
                  <a:pt x="531" y="365"/>
                  <a:pt x="531" y="365"/>
                  <a:pt x="531" y="365"/>
                </a:cubicBezTo>
                <a:cubicBezTo>
                  <a:pt x="531" y="365"/>
                  <a:pt x="531" y="365"/>
                  <a:pt x="531" y="365"/>
                </a:cubicBezTo>
                <a:cubicBezTo>
                  <a:pt x="531" y="365"/>
                  <a:pt x="531" y="365"/>
                  <a:pt x="531" y="365"/>
                </a:cubicBezTo>
                <a:cubicBezTo>
                  <a:pt x="531" y="365"/>
                  <a:pt x="531" y="365"/>
                  <a:pt x="531" y="365"/>
                </a:cubicBezTo>
                <a:cubicBezTo>
                  <a:pt x="531" y="365"/>
                  <a:pt x="531" y="365"/>
                  <a:pt x="531" y="365"/>
                </a:cubicBezTo>
                <a:cubicBezTo>
                  <a:pt x="532" y="365"/>
                  <a:pt x="532" y="365"/>
                  <a:pt x="532" y="365"/>
                </a:cubicBezTo>
                <a:cubicBezTo>
                  <a:pt x="532" y="365"/>
                  <a:pt x="532" y="365"/>
                  <a:pt x="532" y="365"/>
                </a:cubicBezTo>
                <a:cubicBezTo>
                  <a:pt x="532" y="365"/>
                  <a:pt x="532" y="365"/>
                  <a:pt x="532" y="365"/>
                </a:cubicBezTo>
                <a:cubicBezTo>
                  <a:pt x="532" y="365"/>
                  <a:pt x="532" y="365"/>
                  <a:pt x="532" y="365"/>
                </a:cubicBezTo>
                <a:cubicBezTo>
                  <a:pt x="532" y="365"/>
                  <a:pt x="532" y="365"/>
                  <a:pt x="532" y="365"/>
                </a:cubicBezTo>
                <a:cubicBezTo>
                  <a:pt x="532" y="365"/>
                  <a:pt x="532" y="365"/>
                  <a:pt x="532" y="365"/>
                </a:cubicBezTo>
                <a:cubicBezTo>
                  <a:pt x="532" y="365"/>
                  <a:pt x="532" y="365"/>
                  <a:pt x="532" y="365"/>
                </a:cubicBezTo>
                <a:cubicBezTo>
                  <a:pt x="532" y="365"/>
                  <a:pt x="532" y="365"/>
                  <a:pt x="532" y="365"/>
                </a:cubicBezTo>
                <a:cubicBezTo>
                  <a:pt x="532" y="365"/>
                  <a:pt x="532" y="365"/>
                  <a:pt x="532" y="365"/>
                </a:cubicBezTo>
                <a:cubicBezTo>
                  <a:pt x="532" y="365"/>
                  <a:pt x="532" y="365"/>
                  <a:pt x="532" y="365"/>
                </a:cubicBezTo>
                <a:cubicBezTo>
                  <a:pt x="532" y="365"/>
                  <a:pt x="532" y="365"/>
                  <a:pt x="532" y="365"/>
                </a:cubicBezTo>
                <a:cubicBezTo>
                  <a:pt x="532" y="365"/>
                  <a:pt x="532" y="365"/>
                  <a:pt x="532" y="365"/>
                </a:cubicBezTo>
                <a:cubicBezTo>
                  <a:pt x="532" y="365"/>
                  <a:pt x="532" y="365"/>
                  <a:pt x="532" y="365"/>
                </a:cubicBezTo>
                <a:cubicBezTo>
                  <a:pt x="532" y="366"/>
                  <a:pt x="532" y="366"/>
                  <a:pt x="532" y="366"/>
                </a:cubicBezTo>
                <a:cubicBezTo>
                  <a:pt x="532" y="366"/>
                  <a:pt x="532" y="366"/>
                  <a:pt x="532" y="367"/>
                </a:cubicBezTo>
                <a:cubicBezTo>
                  <a:pt x="531" y="367"/>
                  <a:pt x="531" y="367"/>
                  <a:pt x="531" y="367"/>
                </a:cubicBezTo>
                <a:cubicBezTo>
                  <a:pt x="531" y="367"/>
                  <a:pt x="531" y="367"/>
                  <a:pt x="531" y="367"/>
                </a:cubicBezTo>
                <a:cubicBezTo>
                  <a:pt x="531" y="367"/>
                  <a:pt x="531" y="367"/>
                  <a:pt x="531" y="367"/>
                </a:cubicBezTo>
                <a:cubicBezTo>
                  <a:pt x="531" y="367"/>
                  <a:pt x="531" y="367"/>
                  <a:pt x="531" y="367"/>
                </a:cubicBezTo>
                <a:cubicBezTo>
                  <a:pt x="531" y="367"/>
                  <a:pt x="531" y="367"/>
                  <a:pt x="531" y="367"/>
                </a:cubicBezTo>
                <a:cubicBezTo>
                  <a:pt x="531" y="367"/>
                  <a:pt x="531" y="367"/>
                  <a:pt x="531" y="367"/>
                </a:cubicBezTo>
                <a:cubicBezTo>
                  <a:pt x="531" y="367"/>
                  <a:pt x="531" y="367"/>
                  <a:pt x="531" y="367"/>
                </a:cubicBezTo>
                <a:cubicBezTo>
                  <a:pt x="531" y="367"/>
                  <a:pt x="531" y="367"/>
                  <a:pt x="531" y="367"/>
                </a:cubicBezTo>
                <a:cubicBezTo>
                  <a:pt x="531" y="367"/>
                  <a:pt x="531" y="367"/>
                  <a:pt x="531" y="367"/>
                </a:cubicBezTo>
                <a:cubicBezTo>
                  <a:pt x="531" y="367"/>
                  <a:pt x="531" y="367"/>
                  <a:pt x="531" y="367"/>
                </a:cubicBezTo>
                <a:cubicBezTo>
                  <a:pt x="531" y="367"/>
                  <a:pt x="531" y="367"/>
                  <a:pt x="531" y="367"/>
                </a:cubicBezTo>
                <a:cubicBezTo>
                  <a:pt x="531" y="367"/>
                  <a:pt x="531" y="367"/>
                  <a:pt x="531" y="367"/>
                </a:cubicBezTo>
                <a:cubicBezTo>
                  <a:pt x="531" y="367"/>
                  <a:pt x="531" y="367"/>
                  <a:pt x="531" y="367"/>
                </a:cubicBezTo>
                <a:cubicBezTo>
                  <a:pt x="531" y="367"/>
                  <a:pt x="531" y="367"/>
                  <a:pt x="531" y="367"/>
                </a:cubicBezTo>
                <a:cubicBezTo>
                  <a:pt x="531" y="368"/>
                  <a:pt x="531" y="368"/>
                  <a:pt x="531" y="368"/>
                </a:cubicBezTo>
                <a:cubicBezTo>
                  <a:pt x="531" y="368"/>
                  <a:pt x="531" y="368"/>
                  <a:pt x="531" y="368"/>
                </a:cubicBezTo>
                <a:cubicBezTo>
                  <a:pt x="531" y="368"/>
                  <a:pt x="531" y="368"/>
                  <a:pt x="531" y="368"/>
                </a:cubicBezTo>
                <a:cubicBezTo>
                  <a:pt x="531" y="368"/>
                  <a:pt x="531" y="368"/>
                  <a:pt x="531" y="368"/>
                </a:cubicBezTo>
                <a:cubicBezTo>
                  <a:pt x="531" y="368"/>
                  <a:pt x="531" y="368"/>
                  <a:pt x="531" y="368"/>
                </a:cubicBezTo>
                <a:cubicBezTo>
                  <a:pt x="531" y="368"/>
                  <a:pt x="531" y="368"/>
                  <a:pt x="531" y="368"/>
                </a:cubicBezTo>
                <a:cubicBezTo>
                  <a:pt x="531" y="368"/>
                  <a:pt x="531" y="368"/>
                  <a:pt x="531" y="368"/>
                </a:cubicBezTo>
                <a:cubicBezTo>
                  <a:pt x="531" y="368"/>
                  <a:pt x="531" y="368"/>
                  <a:pt x="531" y="368"/>
                </a:cubicBezTo>
                <a:cubicBezTo>
                  <a:pt x="531" y="368"/>
                  <a:pt x="531" y="368"/>
                  <a:pt x="531" y="368"/>
                </a:cubicBezTo>
                <a:cubicBezTo>
                  <a:pt x="531" y="368"/>
                  <a:pt x="531" y="368"/>
                  <a:pt x="531" y="368"/>
                </a:cubicBezTo>
                <a:cubicBezTo>
                  <a:pt x="531" y="368"/>
                  <a:pt x="531" y="368"/>
                  <a:pt x="531" y="368"/>
                </a:cubicBezTo>
                <a:cubicBezTo>
                  <a:pt x="531" y="368"/>
                  <a:pt x="531" y="368"/>
                  <a:pt x="531" y="368"/>
                </a:cubicBezTo>
                <a:cubicBezTo>
                  <a:pt x="531" y="368"/>
                  <a:pt x="531" y="368"/>
                  <a:pt x="531" y="368"/>
                </a:cubicBezTo>
                <a:cubicBezTo>
                  <a:pt x="531" y="368"/>
                  <a:pt x="531" y="368"/>
                  <a:pt x="531" y="368"/>
                </a:cubicBezTo>
                <a:cubicBezTo>
                  <a:pt x="532" y="368"/>
                  <a:pt x="532" y="368"/>
                  <a:pt x="532" y="368"/>
                </a:cubicBezTo>
                <a:cubicBezTo>
                  <a:pt x="533" y="368"/>
                  <a:pt x="533" y="368"/>
                  <a:pt x="533" y="367"/>
                </a:cubicBezTo>
                <a:cubicBezTo>
                  <a:pt x="533" y="367"/>
                  <a:pt x="533" y="367"/>
                  <a:pt x="533" y="367"/>
                </a:cubicBezTo>
                <a:cubicBezTo>
                  <a:pt x="533" y="367"/>
                  <a:pt x="533" y="367"/>
                  <a:pt x="533" y="367"/>
                </a:cubicBezTo>
                <a:cubicBezTo>
                  <a:pt x="533" y="366"/>
                  <a:pt x="533" y="366"/>
                  <a:pt x="533" y="366"/>
                </a:cubicBezTo>
                <a:cubicBezTo>
                  <a:pt x="533" y="366"/>
                  <a:pt x="533" y="366"/>
                  <a:pt x="533" y="366"/>
                </a:cubicBezTo>
                <a:cubicBezTo>
                  <a:pt x="533" y="366"/>
                  <a:pt x="533" y="366"/>
                  <a:pt x="533" y="366"/>
                </a:cubicBezTo>
                <a:cubicBezTo>
                  <a:pt x="533" y="366"/>
                  <a:pt x="533" y="366"/>
                  <a:pt x="533" y="366"/>
                </a:cubicBezTo>
                <a:cubicBezTo>
                  <a:pt x="533" y="366"/>
                  <a:pt x="533" y="366"/>
                  <a:pt x="534" y="366"/>
                </a:cubicBezTo>
                <a:cubicBezTo>
                  <a:pt x="534" y="366"/>
                  <a:pt x="534" y="366"/>
                  <a:pt x="534" y="366"/>
                </a:cubicBezTo>
                <a:cubicBezTo>
                  <a:pt x="534" y="366"/>
                  <a:pt x="534" y="366"/>
                  <a:pt x="534" y="366"/>
                </a:cubicBezTo>
                <a:cubicBezTo>
                  <a:pt x="534" y="366"/>
                  <a:pt x="534" y="366"/>
                  <a:pt x="534" y="366"/>
                </a:cubicBezTo>
                <a:cubicBezTo>
                  <a:pt x="534" y="366"/>
                  <a:pt x="534" y="366"/>
                  <a:pt x="534" y="366"/>
                </a:cubicBezTo>
                <a:cubicBezTo>
                  <a:pt x="534" y="366"/>
                  <a:pt x="534" y="366"/>
                  <a:pt x="534" y="366"/>
                </a:cubicBezTo>
                <a:cubicBezTo>
                  <a:pt x="534" y="365"/>
                  <a:pt x="534" y="365"/>
                  <a:pt x="534" y="365"/>
                </a:cubicBezTo>
                <a:cubicBezTo>
                  <a:pt x="534" y="365"/>
                  <a:pt x="534" y="365"/>
                  <a:pt x="534" y="365"/>
                </a:cubicBezTo>
                <a:cubicBezTo>
                  <a:pt x="534" y="365"/>
                  <a:pt x="534" y="365"/>
                  <a:pt x="534" y="365"/>
                </a:cubicBezTo>
                <a:cubicBezTo>
                  <a:pt x="534" y="365"/>
                  <a:pt x="534" y="365"/>
                  <a:pt x="534" y="365"/>
                </a:cubicBezTo>
                <a:cubicBezTo>
                  <a:pt x="534" y="364"/>
                  <a:pt x="534" y="364"/>
                  <a:pt x="534" y="364"/>
                </a:cubicBezTo>
                <a:cubicBezTo>
                  <a:pt x="534" y="364"/>
                  <a:pt x="534" y="364"/>
                  <a:pt x="534" y="364"/>
                </a:cubicBezTo>
                <a:cubicBezTo>
                  <a:pt x="534" y="364"/>
                  <a:pt x="534" y="364"/>
                  <a:pt x="534" y="364"/>
                </a:cubicBezTo>
                <a:cubicBezTo>
                  <a:pt x="534" y="364"/>
                  <a:pt x="534" y="364"/>
                  <a:pt x="534" y="364"/>
                </a:cubicBezTo>
                <a:cubicBezTo>
                  <a:pt x="534" y="364"/>
                  <a:pt x="534" y="364"/>
                  <a:pt x="534" y="364"/>
                </a:cubicBezTo>
                <a:cubicBezTo>
                  <a:pt x="535" y="364"/>
                  <a:pt x="534" y="364"/>
                  <a:pt x="534" y="364"/>
                </a:cubicBezTo>
                <a:cubicBezTo>
                  <a:pt x="534" y="364"/>
                  <a:pt x="534" y="364"/>
                  <a:pt x="534" y="364"/>
                </a:cubicBezTo>
                <a:cubicBezTo>
                  <a:pt x="535" y="364"/>
                  <a:pt x="535" y="364"/>
                  <a:pt x="535" y="364"/>
                </a:cubicBezTo>
                <a:cubicBezTo>
                  <a:pt x="534" y="364"/>
                  <a:pt x="534" y="364"/>
                  <a:pt x="535" y="363"/>
                </a:cubicBezTo>
                <a:cubicBezTo>
                  <a:pt x="535" y="363"/>
                  <a:pt x="535" y="363"/>
                  <a:pt x="535" y="363"/>
                </a:cubicBezTo>
                <a:cubicBezTo>
                  <a:pt x="535" y="363"/>
                  <a:pt x="535" y="363"/>
                  <a:pt x="535" y="363"/>
                </a:cubicBezTo>
                <a:cubicBezTo>
                  <a:pt x="535" y="363"/>
                  <a:pt x="535" y="363"/>
                  <a:pt x="535" y="363"/>
                </a:cubicBezTo>
                <a:cubicBezTo>
                  <a:pt x="535" y="363"/>
                  <a:pt x="535" y="363"/>
                  <a:pt x="535" y="363"/>
                </a:cubicBezTo>
                <a:cubicBezTo>
                  <a:pt x="535" y="363"/>
                  <a:pt x="535" y="363"/>
                  <a:pt x="535" y="363"/>
                </a:cubicBezTo>
                <a:cubicBezTo>
                  <a:pt x="535" y="363"/>
                  <a:pt x="535" y="363"/>
                  <a:pt x="535" y="363"/>
                </a:cubicBezTo>
                <a:cubicBezTo>
                  <a:pt x="535" y="363"/>
                  <a:pt x="535" y="363"/>
                  <a:pt x="535" y="363"/>
                </a:cubicBezTo>
                <a:cubicBezTo>
                  <a:pt x="535" y="363"/>
                  <a:pt x="535" y="363"/>
                  <a:pt x="535" y="363"/>
                </a:cubicBezTo>
                <a:cubicBezTo>
                  <a:pt x="535" y="363"/>
                  <a:pt x="535" y="363"/>
                  <a:pt x="535" y="363"/>
                </a:cubicBezTo>
                <a:cubicBezTo>
                  <a:pt x="534" y="363"/>
                  <a:pt x="534" y="363"/>
                  <a:pt x="534" y="363"/>
                </a:cubicBezTo>
                <a:cubicBezTo>
                  <a:pt x="534" y="363"/>
                  <a:pt x="534" y="363"/>
                  <a:pt x="534" y="363"/>
                </a:cubicBezTo>
                <a:cubicBezTo>
                  <a:pt x="534" y="363"/>
                  <a:pt x="534" y="363"/>
                  <a:pt x="534" y="363"/>
                </a:cubicBezTo>
                <a:cubicBezTo>
                  <a:pt x="534" y="363"/>
                  <a:pt x="534" y="363"/>
                  <a:pt x="534" y="363"/>
                </a:cubicBezTo>
                <a:cubicBezTo>
                  <a:pt x="534" y="363"/>
                  <a:pt x="534" y="363"/>
                  <a:pt x="534" y="363"/>
                </a:cubicBezTo>
                <a:cubicBezTo>
                  <a:pt x="535" y="362"/>
                  <a:pt x="535" y="362"/>
                  <a:pt x="535" y="362"/>
                </a:cubicBezTo>
                <a:cubicBezTo>
                  <a:pt x="535" y="362"/>
                  <a:pt x="535" y="362"/>
                  <a:pt x="535" y="362"/>
                </a:cubicBezTo>
                <a:cubicBezTo>
                  <a:pt x="535" y="362"/>
                  <a:pt x="535" y="362"/>
                  <a:pt x="535" y="362"/>
                </a:cubicBezTo>
                <a:cubicBezTo>
                  <a:pt x="535" y="362"/>
                  <a:pt x="535" y="362"/>
                  <a:pt x="535" y="362"/>
                </a:cubicBezTo>
                <a:cubicBezTo>
                  <a:pt x="535" y="362"/>
                  <a:pt x="535" y="362"/>
                  <a:pt x="535" y="362"/>
                </a:cubicBezTo>
                <a:cubicBezTo>
                  <a:pt x="535" y="362"/>
                  <a:pt x="535" y="362"/>
                  <a:pt x="535" y="362"/>
                </a:cubicBezTo>
                <a:cubicBezTo>
                  <a:pt x="535" y="362"/>
                  <a:pt x="535" y="362"/>
                  <a:pt x="535" y="362"/>
                </a:cubicBezTo>
                <a:cubicBezTo>
                  <a:pt x="535" y="362"/>
                  <a:pt x="535" y="362"/>
                  <a:pt x="535" y="362"/>
                </a:cubicBezTo>
                <a:cubicBezTo>
                  <a:pt x="535" y="362"/>
                  <a:pt x="535" y="362"/>
                  <a:pt x="535" y="362"/>
                </a:cubicBezTo>
                <a:cubicBezTo>
                  <a:pt x="535" y="361"/>
                  <a:pt x="535" y="361"/>
                  <a:pt x="535" y="361"/>
                </a:cubicBezTo>
                <a:cubicBezTo>
                  <a:pt x="535" y="361"/>
                  <a:pt x="535" y="361"/>
                  <a:pt x="535" y="361"/>
                </a:cubicBezTo>
                <a:cubicBezTo>
                  <a:pt x="535" y="361"/>
                  <a:pt x="535" y="361"/>
                  <a:pt x="535" y="361"/>
                </a:cubicBezTo>
                <a:cubicBezTo>
                  <a:pt x="535" y="361"/>
                  <a:pt x="535" y="361"/>
                  <a:pt x="535" y="361"/>
                </a:cubicBezTo>
                <a:cubicBezTo>
                  <a:pt x="536" y="361"/>
                  <a:pt x="536" y="361"/>
                  <a:pt x="536" y="361"/>
                </a:cubicBezTo>
                <a:cubicBezTo>
                  <a:pt x="536" y="361"/>
                  <a:pt x="536" y="361"/>
                  <a:pt x="536" y="361"/>
                </a:cubicBezTo>
                <a:cubicBezTo>
                  <a:pt x="536" y="361"/>
                  <a:pt x="536" y="361"/>
                  <a:pt x="536" y="361"/>
                </a:cubicBezTo>
                <a:cubicBezTo>
                  <a:pt x="536" y="361"/>
                  <a:pt x="536" y="361"/>
                  <a:pt x="536" y="361"/>
                </a:cubicBezTo>
                <a:cubicBezTo>
                  <a:pt x="536" y="362"/>
                  <a:pt x="536" y="362"/>
                  <a:pt x="536" y="362"/>
                </a:cubicBezTo>
                <a:cubicBezTo>
                  <a:pt x="536" y="362"/>
                  <a:pt x="536" y="362"/>
                  <a:pt x="536" y="362"/>
                </a:cubicBezTo>
                <a:cubicBezTo>
                  <a:pt x="536" y="362"/>
                  <a:pt x="536" y="362"/>
                  <a:pt x="536" y="362"/>
                </a:cubicBezTo>
                <a:cubicBezTo>
                  <a:pt x="536" y="362"/>
                  <a:pt x="536" y="362"/>
                  <a:pt x="536" y="362"/>
                </a:cubicBezTo>
                <a:cubicBezTo>
                  <a:pt x="536" y="362"/>
                  <a:pt x="536" y="362"/>
                  <a:pt x="536" y="362"/>
                </a:cubicBezTo>
                <a:cubicBezTo>
                  <a:pt x="537" y="363"/>
                  <a:pt x="537" y="363"/>
                  <a:pt x="537" y="363"/>
                </a:cubicBezTo>
                <a:cubicBezTo>
                  <a:pt x="537" y="363"/>
                  <a:pt x="537" y="363"/>
                  <a:pt x="537" y="363"/>
                </a:cubicBezTo>
                <a:cubicBezTo>
                  <a:pt x="537" y="363"/>
                  <a:pt x="537" y="363"/>
                  <a:pt x="537" y="363"/>
                </a:cubicBezTo>
                <a:cubicBezTo>
                  <a:pt x="537" y="364"/>
                  <a:pt x="537" y="364"/>
                  <a:pt x="537" y="364"/>
                </a:cubicBezTo>
                <a:cubicBezTo>
                  <a:pt x="537" y="364"/>
                  <a:pt x="537" y="364"/>
                  <a:pt x="537" y="364"/>
                </a:cubicBezTo>
                <a:cubicBezTo>
                  <a:pt x="537" y="364"/>
                  <a:pt x="537" y="364"/>
                  <a:pt x="537" y="364"/>
                </a:cubicBezTo>
                <a:cubicBezTo>
                  <a:pt x="536" y="364"/>
                  <a:pt x="536" y="364"/>
                  <a:pt x="536" y="364"/>
                </a:cubicBezTo>
                <a:cubicBezTo>
                  <a:pt x="536" y="364"/>
                  <a:pt x="536" y="364"/>
                  <a:pt x="536" y="364"/>
                </a:cubicBezTo>
                <a:cubicBezTo>
                  <a:pt x="536" y="364"/>
                  <a:pt x="536" y="364"/>
                  <a:pt x="536" y="364"/>
                </a:cubicBezTo>
                <a:cubicBezTo>
                  <a:pt x="536" y="364"/>
                  <a:pt x="536" y="364"/>
                  <a:pt x="536" y="364"/>
                </a:cubicBezTo>
                <a:cubicBezTo>
                  <a:pt x="536" y="364"/>
                  <a:pt x="536" y="364"/>
                  <a:pt x="536" y="364"/>
                </a:cubicBezTo>
                <a:cubicBezTo>
                  <a:pt x="536" y="364"/>
                  <a:pt x="536" y="364"/>
                  <a:pt x="536" y="364"/>
                </a:cubicBezTo>
                <a:cubicBezTo>
                  <a:pt x="536" y="364"/>
                  <a:pt x="536" y="364"/>
                  <a:pt x="536" y="364"/>
                </a:cubicBezTo>
                <a:cubicBezTo>
                  <a:pt x="536" y="364"/>
                  <a:pt x="536" y="364"/>
                  <a:pt x="536" y="364"/>
                </a:cubicBezTo>
                <a:cubicBezTo>
                  <a:pt x="536" y="364"/>
                  <a:pt x="536" y="364"/>
                  <a:pt x="536" y="364"/>
                </a:cubicBezTo>
                <a:cubicBezTo>
                  <a:pt x="536" y="364"/>
                  <a:pt x="536" y="364"/>
                  <a:pt x="536" y="364"/>
                </a:cubicBezTo>
                <a:cubicBezTo>
                  <a:pt x="536" y="364"/>
                  <a:pt x="536" y="364"/>
                  <a:pt x="536" y="364"/>
                </a:cubicBezTo>
                <a:cubicBezTo>
                  <a:pt x="536" y="364"/>
                  <a:pt x="536" y="364"/>
                  <a:pt x="535" y="365"/>
                </a:cubicBezTo>
                <a:cubicBezTo>
                  <a:pt x="535" y="365"/>
                  <a:pt x="535" y="365"/>
                  <a:pt x="535" y="365"/>
                </a:cubicBezTo>
                <a:cubicBezTo>
                  <a:pt x="535" y="365"/>
                  <a:pt x="535" y="365"/>
                  <a:pt x="535" y="365"/>
                </a:cubicBezTo>
                <a:cubicBezTo>
                  <a:pt x="535" y="365"/>
                  <a:pt x="535" y="365"/>
                  <a:pt x="535" y="365"/>
                </a:cubicBezTo>
                <a:cubicBezTo>
                  <a:pt x="535" y="365"/>
                  <a:pt x="535" y="365"/>
                  <a:pt x="535" y="365"/>
                </a:cubicBezTo>
                <a:cubicBezTo>
                  <a:pt x="535" y="365"/>
                  <a:pt x="535" y="365"/>
                  <a:pt x="535" y="365"/>
                </a:cubicBezTo>
                <a:cubicBezTo>
                  <a:pt x="535" y="365"/>
                  <a:pt x="535" y="365"/>
                  <a:pt x="535" y="365"/>
                </a:cubicBezTo>
                <a:cubicBezTo>
                  <a:pt x="535" y="365"/>
                  <a:pt x="535" y="365"/>
                  <a:pt x="535" y="365"/>
                </a:cubicBezTo>
                <a:cubicBezTo>
                  <a:pt x="534" y="365"/>
                  <a:pt x="534" y="366"/>
                  <a:pt x="534" y="366"/>
                </a:cubicBezTo>
                <a:cubicBezTo>
                  <a:pt x="534" y="366"/>
                  <a:pt x="534" y="366"/>
                  <a:pt x="534" y="366"/>
                </a:cubicBezTo>
                <a:cubicBezTo>
                  <a:pt x="534" y="366"/>
                  <a:pt x="534" y="366"/>
                  <a:pt x="534" y="366"/>
                </a:cubicBezTo>
                <a:cubicBezTo>
                  <a:pt x="534" y="366"/>
                  <a:pt x="534" y="366"/>
                  <a:pt x="534" y="366"/>
                </a:cubicBezTo>
                <a:cubicBezTo>
                  <a:pt x="534" y="366"/>
                  <a:pt x="534" y="366"/>
                  <a:pt x="534" y="366"/>
                </a:cubicBezTo>
                <a:cubicBezTo>
                  <a:pt x="534" y="366"/>
                  <a:pt x="534" y="366"/>
                  <a:pt x="534" y="366"/>
                </a:cubicBezTo>
                <a:cubicBezTo>
                  <a:pt x="534" y="366"/>
                  <a:pt x="534" y="366"/>
                  <a:pt x="534" y="366"/>
                </a:cubicBezTo>
                <a:cubicBezTo>
                  <a:pt x="534" y="366"/>
                  <a:pt x="534" y="366"/>
                  <a:pt x="534" y="366"/>
                </a:cubicBezTo>
                <a:cubicBezTo>
                  <a:pt x="534" y="366"/>
                  <a:pt x="534" y="366"/>
                  <a:pt x="534" y="366"/>
                </a:cubicBezTo>
                <a:cubicBezTo>
                  <a:pt x="534" y="366"/>
                  <a:pt x="534" y="366"/>
                  <a:pt x="534" y="366"/>
                </a:cubicBezTo>
                <a:cubicBezTo>
                  <a:pt x="534" y="367"/>
                  <a:pt x="534" y="367"/>
                  <a:pt x="534" y="367"/>
                </a:cubicBezTo>
                <a:cubicBezTo>
                  <a:pt x="534" y="367"/>
                  <a:pt x="534" y="367"/>
                  <a:pt x="534" y="367"/>
                </a:cubicBezTo>
                <a:cubicBezTo>
                  <a:pt x="534" y="367"/>
                  <a:pt x="534" y="367"/>
                  <a:pt x="534" y="367"/>
                </a:cubicBezTo>
                <a:cubicBezTo>
                  <a:pt x="534" y="367"/>
                  <a:pt x="534" y="367"/>
                  <a:pt x="534" y="367"/>
                </a:cubicBezTo>
                <a:cubicBezTo>
                  <a:pt x="534" y="367"/>
                  <a:pt x="534" y="367"/>
                  <a:pt x="534" y="367"/>
                </a:cubicBezTo>
                <a:cubicBezTo>
                  <a:pt x="534" y="367"/>
                  <a:pt x="534" y="367"/>
                  <a:pt x="534" y="367"/>
                </a:cubicBezTo>
                <a:cubicBezTo>
                  <a:pt x="534" y="367"/>
                  <a:pt x="534" y="367"/>
                  <a:pt x="534" y="367"/>
                </a:cubicBezTo>
                <a:cubicBezTo>
                  <a:pt x="534" y="367"/>
                  <a:pt x="534" y="367"/>
                  <a:pt x="534" y="367"/>
                </a:cubicBezTo>
                <a:cubicBezTo>
                  <a:pt x="535" y="367"/>
                  <a:pt x="535" y="367"/>
                  <a:pt x="535" y="367"/>
                </a:cubicBezTo>
                <a:cubicBezTo>
                  <a:pt x="535" y="366"/>
                  <a:pt x="535" y="366"/>
                  <a:pt x="535" y="366"/>
                </a:cubicBezTo>
                <a:cubicBezTo>
                  <a:pt x="535" y="366"/>
                  <a:pt x="535" y="366"/>
                  <a:pt x="535" y="366"/>
                </a:cubicBezTo>
                <a:cubicBezTo>
                  <a:pt x="535" y="366"/>
                  <a:pt x="535" y="366"/>
                  <a:pt x="535" y="366"/>
                </a:cubicBezTo>
                <a:cubicBezTo>
                  <a:pt x="535" y="366"/>
                  <a:pt x="535" y="366"/>
                  <a:pt x="535" y="366"/>
                </a:cubicBezTo>
                <a:cubicBezTo>
                  <a:pt x="536" y="365"/>
                  <a:pt x="536" y="365"/>
                  <a:pt x="536" y="365"/>
                </a:cubicBezTo>
                <a:cubicBezTo>
                  <a:pt x="536" y="365"/>
                  <a:pt x="536" y="365"/>
                  <a:pt x="536" y="365"/>
                </a:cubicBezTo>
                <a:cubicBezTo>
                  <a:pt x="536" y="365"/>
                  <a:pt x="536" y="365"/>
                  <a:pt x="536" y="365"/>
                </a:cubicBezTo>
                <a:cubicBezTo>
                  <a:pt x="536" y="365"/>
                  <a:pt x="536" y="365"/>
                  <a:pt x="536" y="365"/>
                </a:cubicBezTo>
                <a:cubicBezTo>
                  <a:pt x="536" y="365"/>
                  <a:pt x="536" y="365"/>
                  <a:pt x="536" y="365"/>
                </a:cubicBezTo>
                <a:cubicBezTo>
                  <a:pt x="537" y="365"/>
                  <a:pt x="537" y="365"/>
                  <a:pt x="537" y="365"/>
                </a:cubicBezTo>
                <a:cubicBezTo>
                  <a:pt x="537" y="365"/>
                  <a:pt x="537" y="365"/>
                  <a:pt x="537" y="365"/>
                </a:cubicBezTo>
                <a:cubicBezTo>
                  <a:pt x="537" y="365"/>
                  <a:pt x="537" y="365"/>
                  <a:pt x="537" y="365"/>
                </a:cubicBezTo>
                <a:cubicBezTo>
                  <a:pt x="537" y="365"/>
                  <a:pt x="537" y="365"/>
                  <a:pt x="537" y="364"/>
                </a:cubicBezTo>
                <a:cubicBezTo>
                  <a:pt x="537" y="364"/>
                  <a:pt x="537" y="364"/>
                  <a:pt x="537" y="364"/>
                </a:cubicBezTo>
                <a:cubicBezTo>
                  <a:pt x="537" y="364"/>
                  <a:pt x="537" y="364"/>
                  <a:pt x="537" y="364"/>
                </a:cubicBezTo>
                <a:cubicBezTo>
                  <a:pt x="537" y="364"/>
                  <a:pt x="537" y="364"/>
                  <a:pt x="537" y="364"/>
                </a:cubicBezTo>
                <a:cubicBezTo>
                  <a:pt x="537" y="364"/>
                  <a:pt x="537" y="364"/>
                  <a:pt x="537" y="364"/>
                </a:cubicBezTo>
                <a:cubicBezTo>
                  <a:pt x="537" y="364"/>
                  <a:pt x="537" y="364"/>
                  <a:pt x="537" y="364"/>
                </a:cubicBezTo>
                <a:cubicBezTo>
                  <a:pt x="537" y="364"/>
                  <a:pt x="537" y="364"/>
                  <a:pt x="537" y="364"/>
                </a:cubicBezTo>
                <a:cubicBezTo>
                  <a:pt x="538" y="364"/>
                  <a:pt x="538" y="364"/>
                  <a:pt x="538" y="364"/>
                </a:cubicBezTo>
                <a:cubicBezTo>
                  <a:pt x="538" y="364"/>
                  <a:pt x="538" y="365"/>
                  <a:pt x="538" y="364"/>
                </a:cubicBezTo>
                <a:cubicBezTo>
                  <a:pt x="538" y="364"/>
                  <a:pt x="538" y="364"/>
                  <a:pt x="538" y="364"/>
                </a:cubicBezTo>
                <a:cubicBezTo>
                  <a:pt x="538" y="364"/>
                  <a:pt x="538" y="364"/>
                  <a:pt x="538" y="364"/>
                </a:cubicBezTo>
                <a:cubicBezTo>
                  <a:pt x="539" y="364"/>
                  <a:pt x="539" y="364"/>
                  <a:pt x="539" y="363"/>
                </a:cubicBezTo>
                <a:cubicBezTo>
                  <a:pt x="539" y="363"/>
                  <a:pt x="539" y="363"/>
                  <a:pt x="539" y="363"/>
                </a:cubicBezTo>
                <a:cubicBezTo>
                  <a:pt x="539" y="363"/>
                  <a:pt x="539" y="363"/>
                  <a:pt x="539" y="363"/>
                </a:cubicBezTo>
                <a:cubicBezTo>
                  <a:pt x="539" y="363"/>
                  <a:pt x="539" y="363"/>
                  <a:pt x="539" y="363"/>
                </a:cubicBezTo>
                <a:cubicBezTo>
                  <a:pt x="539" y="363"/>
                  <a:pt x="539" y="363"/>
                  <a:pt x="539" y="363"/>
                </a:cubicBezTo>
                <a:cubicBezTo>
                  <a:pt x="539" y="363"/>
                  <a:pt x="539" y="363"/>
                  <a:pt x="539" y="363"/>
                </a:cubicBezTo>
                <a:cubicBezTo>
                  <a:pt x="539" y="362"/>
                  <a:pt x="539" y="362"/>
                  <a:pt x="539" y="362"/>
                </a:cubicBezTo>
                <a:cubicBezTo>
                  <a:pt x="539" y="362"/>
                  <a:pt x="539" y="362"/>
                  <a:pt x="539" y="362"/>
                </a:cubicBezTo>
                <a:cubicBezTo>
                  <a:pt x="539" y="362"/>
                  <a:pt x="539" y="362"/>
                  <a:pt x="539" y="362"/>
                </a:cubicBezTo>
                <a:cubicBezTo>
                  <a:pt x="539" y="362"/>
                  <a:pt x="539" y="362"/>
                  <a:pt x="539" y="362"/>
                </a:cubicBezTo>
                <a:cubicBezTo>
                  <a:pt x="539" y="362"/>
                  <a:pt x="539" y="362"/>
                  <a:pt x="539" y="362"/>
                </a:cubicBezTo>
                <a:cubicBezTo>
                  <a:pt x="539" y="362"/>
                  <a:pt x="539" y="362"/>
                  <a:pt x="539" y="362"/>
                </a:cubicBezTo>
                <a:cubicBezTo>
                  <a:pt x="539" y="362"/>
                  <a:pt x="539" y="362"/>
                  <a:pt x="539" y="362"/>
                </a:cubicBezTo>
                <a:cubicBezTo>
                  <a:pt x="539" y="362"/>
                  <a:pt x="539" y="362"/>
                  <a:pt x="539" y="362"/>
                </a:cubicBezTo>
                <a:cubicBezTo>
                  <a:pt x="538" y="362"/>
                  <a:pt x="538" y="362"/>
                  <a:pt x="538" y="362"/>
                </a:cubicBezTo>
                <a:cubicBezTo>
                  <a:pt x="538" y="362"/>
                  <a:pt x="538" y="362"/>
                  <a:pt x="538" y="362"/>
                </a:cubicBezTo>
                <a:cubicBezTo>
                  <a:pt x="538" y="362"/>
                  <a:pt x="538" y="362"/>
                  <a:pt x="538" y="362"/>
                </a:cubicBezTo>
                <a:cubicBezTo>
                  <a:pt x="538" y="362"/>
                  <a:pt x="538" y="362"/>
                  <a:pt x="538" y="362"/>
                </a:cubicBezTo>
                <a:cubicBezTo>
                  <a:pt x="538" y="361"/>
                  <a:pt x="538" y="361"/>
                  <a:pt x="538" y="361"/>
                </a:cubicBezTo>
                <a:cubicBezTo>
                  <a:pt x="538" y="361"/>
                  <a:pt x="538" y="361"/>
                  <a:pt x="538" y="361"/>
                </a:cubicBezTo>
                <a:cubicBezTo>
                  <a:pt x="538" y="361"/>
                  <a:pt x="538" y="361"/>
                  <a:pt x="538" y="361"/>
                </a:cubicBezTo>
                <a:cubicBezTo>
                  <a:pt x="538" y="361"/>
                  <a:pt x="538" y="361"/>
                  <a:pt x="538" y="361"/>
                </a:cubicBezTo>
                <a:cubicBezTo>
                  <a:pt x="537" y="361"/>
                  <a:pt x="537" y="361"/>
                  <a:pt x="537" y="361"/>
                </a:cubicBezTo>
                <a:cubicBezTo>
                  <a:pt x="537" y="361"/>
                  <a:pt x="537" y="361"/>
                  <a:pt x="537" y="361"/>
                </a:cubicBezTo>
                <a:cubicBezTo>
                  <a:pt x="537" y="361"/>
                  <a:pt x="538" y="361"/>
                  <a:pt x="538" y="361"/>
                </a:cubicBezTo>
                <a:cubicBezTo>
                  <a:pt x="538" y="360"/>
                  <a:pt x="538" y="360"/>
                  <a:pt x="538" y="360"/>
                </a:cubicBezTo>
                <a:cubicBezTo>
                  <a:pt x="538" y="360"/>
                  <a:pt x="538" y="360"/>
                  <a:pt x="538" y="360"/>
                </a:cubicBezTo>
                <a:cubicBezTo>
                  <a:pt x="538" y="360"/>
                  <a:pt x="537" y="360"/>
                  <a:pt x="537" y="360"/>
                </a:cubicBezTo>
                <a:cubicBezTo>
                  <a:pt x="537" y="360"/>
                  <a:pt x="537" y="360"/>
                  <a:pt x="537" y="360"/>
                </a:cubicBezTo>
                <a:cubicBezTo>
                  <a:pt x="537" y="360"/>
                  <a:pt x="537" y="360"/>
                  <a:pt x="537" y="360"/>
                </a:cubicBezTo>
                <a:cubicBezTo>
                  <a:pt x="537" y="360"/>
                  <a:pt x="537" y="360"/>
                  <a:pt x="537" y="360"/>
                </a:cubicBezTo>
                <a:cubicBezTo>
                  <a:pt x="538" y="360"/>
                  <a:pt x="538" y="360"/>
                  <a:pt x="538" y="360"/>
                </a:cubicBezTo>
                <a:cubicBezTo>
                  <a:pt x="538" y="360"/>
                  <a:pt x="538" y="360"/>
                  <a:pt x="538" y="360"/>
                </a:cubicBezTo>
                <a:cubicBezTo>
                  <a:pt x="538" y="360"/>
                  <a:pt x="538" y="360"/>
                  <a:pt x="538" y="360"/>
                </a:cubicBezTo>
                <a:cubicBezTo>
                  <a:pt x="538" y="360"/>
                  <a:pt x="538" y="360"/>
                  <a:pt x="538" y="360"/>
                </a:cubicBezTo>
                <a:cubicBezTo>
                  <a:pt x="539" y="360"/>
                  <a:pt x="539" y="360"/>
                  <a:pt x="539" y="360"/>
                </a:cubicBezTo>
                <a:cubicBezTo>
                  <a:pt x="539" y="360"/>
                  <a:pt x="539" y="360"/>
                  <a:pt x="539" y="360"/>
                </a:cubicBezTo>
                <a:cubicBezTo>
                  <a:pt x="539" y="360"/>
                  <a:pt x="539" y="360"/>
                  <a:pt x="539" y="360"/>
                </a:cubicBezTo>
                <a:cubicBezTo>
                  <a:pt x="539" y="360"/>
                  <a:pt x="539" y="360"/>
                  <a:pt x="539" y="360"/>
                </a:cubicBezTo>
                <a:cubicBezTo>
                  <a:pt x="539" y="360"/>
                  <a:pt x="539" y="360"/>
                  <a:pt x="539" y="360"/>
                </a:cubicBezTo>
                <a:cubicBezTo>
                  <a:pt x="539" y="360"/>
                  <a:pt x="539" y="360"/>
                  <a:pt x="539" y="360"/>
                </a:cubicBezTo>
                <a:cubicBezTo>
                  <a:pt x="539" y="360"/>
                  <a:pt x="539" y="360"/>
                  <a:pt x="539" y="360"/>
                </a:cubicBezTo>
                <a:cubicBezTo>
                  <a:pt x="539" y="360"/>
                  <a:pt x="539" y="360"/>
                  <a:pt x="539" y="360"/>
                </a:cubicBezTo>
                <a:cubicBezTo>
                  <a:pt x="539" y="360"/>
                  <a:pt x="539" y="360"/>
                  <a:pt x="539" y="360"/>
                </a:cubicBezTo>
                <a:cubicBezTo>
                  <a:pt x="539" y="360"/>
                  <a:pt x="539" y="360"/>
                  <a:pt x="539" y="360"/>
                </a:cubicBezTo>
                <a:cubicBezTo>
                  <a:pt x="539" y="360"/>
                  <a:pt x="539" y="360"/>
                  <a:pt x="539" y="360"/>
                </a:cubicBezTo>
                <a:cubicBezTo>
                  <a:pt x="539" y="360"/>
                  <a:pt x="539" y="360"/>
                  <a:pt x="539" y="360"/>
                </a:cubicBezTo>
                <a:cubicBezTo>
                  <a:pt x="539" y="360"/>
                  <a:pt x="539" y="360"/>
                  <a:pt x="539" y="360"/>
                </a:cubicBezTo>
                <a:cubicBezTo>
                  <a:pt x="539" y="360"/>
                  <a:pt x="539" y="360"/>
                  <a:pt x="539" y="360"/>
                </a:cubicBezTo>
                <a:cubicBezTo>
                  <a:pt x="539" y="360"/>
                  <a:pt x="539" y="360"/>
                  <a:pt x="539" y="360"/>
                </a:cubicBezTo>
                <a:cubicBezTo>
                  <a:pt x="539" y="360"/>
                  <a:pt x="539" y="360"/>
                  <a:pt x="539" y="360"/>
                </a:cubicBezTo>
                <a:cubicBezTo>
                  <a:pt x="539" y="359"/>
                  <a:pt x="539" y="359"/>
                  <a:pt x="539" y="359"/>
                </a:cubicBezTo>
                <a:cubicBezTo>
                  <a:pt x="539" y="359"/>
                  <a:pt x="539" y="359"/>
                  <a:pt x="539" y="359"/>
                </a:cubicBezTo>
                <a:cubicBezTo>
                  <a:pt x="540" y="359"/>
                  <a:pt x="540" y="359"/>
                  <a:pt x="540" y="359"/>
                </a:cubicBezTo>
                <a:cubicBezTo>
                  <a:pt x="540" y="359"/>
                  <a:pt x="540" y="359"/>
                  <a:pt x="540" y="359"/>
                </a:cubicBezTo>
                <a:cubicBezTo>
                  <a:pt x="540" y="360"/>
                  <a:pt x="540" y="360"/>
                  <a:pt x="540" y="360"/>
                </a:cubicBezTo>
                <a:cubicBezTo>
                  <a:pt x="542" y="360"/>
                  <a:pt x="542" y="360"/>
                  <a:pt x="542" y="360"/>
                </a:cubicBezTo>
                <a:cubicBezTo>
                  <a:pt x="545" y="361"/>
                  <a:pt x="545" y="361"/>
                  <a:pt x="545" y="361"/>
                </a:cubicBezTo>
                <a:cubicBezTo>
                  <a:pt x="546" y="362"/>
                  <a:pt x="546" y="362"/>
                  <a:pt x="546" y="362"/>
                </a:cubicBezTo>
                <a:cubicBezTo>
                  <a:pt x="547" y="362"/>
                  <a:pt x="547" y="362"/>
                  <a:pt x="548" y="363"/>
                </a:cubicBezTo>
                <a:cubicBezTo>
                  <a:pt x="548" y="363"/>
                  <a:pt x="548" y="363"/>
                  <a:pt x="548" y="363"/>
                </a:cubicBezTo>
                <a:cubicBezTo>
                  <a:pt x="548" y="363"/>
                  <a:pt x="548" y="363"/>
                  <a:pt x="548" y="363"/>
                </a:cubicBezTo>
                <a:cubicBezTo>
                  <a:pt x="548" y="362"/>
                  <a:pt x="548" y="362"/>
                  <a:pt x="549" y="362"/>
                </a:cubicBezTo>
                <a:cubicBezTo>
                  <a:pt x="549" y="363"/>
                  <a:pt x="549" y="363"/>
                  <a:pt x="549" y="363"/>
                </a:cubicBezTo>
                <a:cubicBezTo>
                  <a:pt x="549" y="363"/>
                  <a:pt x="549" y="363"/>
                  <a:pt x="549" y="363"/>
                </a:cubicBezTo>
                <a:cubicBezTo>
                  <a:pt x="549" y="362"/>
                  <a:pt x="549" y="362"/>
                  <a:pt x="549" y="362"/>
                </a:cubicBezTo>
                <a:cubicBezTo>
                  <a:pt x="549" y="362"/>
                  <a:pt x="549" y="362"/>
                  <a:pt x="549" y="362"/>
                </a:cubicBezTo>
                <a:cubicBezTo>
                  <a:pt x="549" y="362"/>
                  <a:pt x="550" y="362"/>
                  <a:pt x="550" y="362"/>
                </a:cubicBezTo>
                <a:cubicBezTo>
                  <a:pt x="550" y="362"/>
                  <a:pt x="550" y="362"/>
                  <a:pt x="550" y="362"/>
                </a:cubicBezTo>
                <a:cubicBezTo>
                  <a:pt x="550" y="362"/>
                  <a:pt x="550" y="362"/>
                  <a:pt x="550" y="362"/>
                </a:cubicBezTo>
                <a:cubicBezTo>
                  <a:pt x="550" y="362"/>
                  <a:pt x="550" y="362"/>
                  <a:pt x="550" y="362"/>
                </a:cubicBezTo>
                <a:cubicBezTo>
                  <a:pt x="550" y="362"/>
                  <a:pt x="550" y="362"/>
                  <a:pt x="550" y="362"/>
                </a:cubicBezTo>
                <a:cubicBezTo>
                  <a:pt x="550" y="362"/>
                  <a:pt x="550" y="362"/>
                  <a:pt x="550" y="362"/>
                </a:cubicBezTo>
                <a:cubicBezTo>
                  <a:pt x="550" y="362"/>
                  <a:pt x="550" y="362"/>
                  <a:pt x="550" y="362"/>
                </a:cubicBezTo>
                <a:cubicBezTo>
                  <a:pt x="550" y="362"/>
                  <a:pt x="550" y="362"/>
                  <a:pt x="550" y="362"/>
                </a:cubicBezTo>
                <a:cubicBezTo>
                  <a:pt x="550" y="362"/>
                  <a:pt x="550" y="362"/>
                  <a:pt x="550" y="362"/>
                </a:cubicBezTo>
                <a:cubicBezTo>
                  <a:pt x="550" y="362"/>
                  <a:pt x="550" y="362"/>
                  <a:pt x="550" y="362"/>
                </a:cubicBezTo>
                <a:cubicBezTo>
                  <a:pt x="551" y="362"/>
                  <a:pt x="551" y="362"/>
                  <a:pt x="551" y="362"/>
                </a:cubicBezTo>
                <a:cubicBezTo>
                  <a:pt x="551" y="362"/>
                  <a:pt x="551" y="362"/>
                  <a:pt x="551" y="362"/>
                </a:cubicBezTo>
                <a:cubicBezTo>
                  <a:pt x="552" y="362"/>
                  <a:pt x="552" y="362"/>
                  <a:pt x="552" y="362"/>
                </a:cubicBezTo>
                <a:cubicBezTo>
                  <a:pt x="552" y="363"/>
                  <a:pt x="552" y="363"/>
                  <a:pt x="552" y="363"/>
                </a:cubicBezTo>
                <a:cubicBezTo>
                  <a:pt x="552" y="363"/>
                  <a:pt x="552" y="363"/>
                  <a:pt x="552" y="363"/>
                </a:cubicBezTo>
                <a:cubicBezTo>
                  <a:pt x="552" y="363"/>
                  <a:pt x="552" y="363"/>
                  <a:pt x="552" y="363"/>
                </a:cubicBezTo>
                <a:cubicBezTo>
                  <a:pt x="552" y="362"/>
                  <a:pt x="552" y="362"/>
                  <a:pt x="552" y="362"/>
                </a:cubicBezTo>
                <a:cubicBezTo>
                  <a:pt x="552" y="362"/>
                  <a:pt x="552" y="362"/>
                  <a:pt x="552" y="362"/>
                </a:cubicBezTo>
                <a:cubicBezTo>
                  <a:pt x="553" y="362"/>
                  <a:pt x="553" y="362"/>
                  <a:pt x="553" y="362"/>
                </a:cubicBezTo>
                <a:cubicBezTo>
                  <a:pt x="553" y="362"/>
                  <a:pt x="553" y="362"/>
                  <a:pt x="553" y="362"/>
                </a:cubicBezTo>
                <a:cubicBezTo>
                  <a:pt x="553" y="362"/>
                  <a:pt x="553" y="362"/>
                  <a:pt x="553" y="362"/>
                </a:cubicBezTo>
                <a:cubicBezTo>
                  <a:pt x="553" y="362"/>
                  <a:pt x="553" y="362"/>
                  <a:pt x="553" y="362"/>
                </a:cubicBezTo>
                <a:cubicBezTo>
                  <a:pt x="553" y="362"/>
                  <a:pt x="553" y="362"/>
                  <a:pt x="553" y="362"/>
                </a:cubicBezTo>
                <a:cubicBezTo>
                  <a:pt x="553" y="362"/>
                  <a:pt x="553" y="362"/>
                  <a:pt x="553" y="362"/>
                </a:cubicBezTo>
                <a:cubicBezTo>
                  <a:pt x="553" y="362"/>
                  <a:pt x="553" y="362"/>
                  <a:pt x="553" y="362"/>
                </a:cubicBezTo>
                <a:cubicBezTo>
                  <a:pt x="553" y="362"/>
                  <a:pt x="553" y="362"/>
                  <a:pt x="553" y="362"/>
                </a:cubicBezTo>
                <a:cubicBezTo>
                  <a:pt x="553" y="362"/>
                  <a:pt x="553" y="362"/>
                  <a:pt x="553" y="362"/>
                </a:cubicBezTo>
                <a:cubicBezTo>
                  <a:pt x="554" y="362"/>
                  <a:pt x="554" y="362"/>
                  <a:pt x="554" y="362"/>
                </a:cubicBezTo>
                <a:cubicBezTo>
                  <a:pt x="554" y="362"/>
                  <a:pt x="554" y="362"/>
                  <a:pt x="554" y="362"/>
                </a:cubicBezTo>
                <a:cubicBezTo>
                  <a:pt x="554" y="362"/>
                  <a:pt x="554" y="362"/>
                  <a:pt x="554" y="362"/>
                </a:cubicBezTo>
                <a:cubicBezTo>
                  <a:pt x="555" y="363"/>
                  <a:pt x="555" y="363"/>
                  <a:pt x="555" y="363"/>
                </a:cubicBezTo>
                <a:cubicBezTo>
                  <a:pt x="555" y="363"/>
                  <a:pt x="555" y="363"/>
                  <a:pt x="555" y="363"/>
                </a:cubicBezTo>
                <a:cubicBezTo>
                  <a:pt x="555" y="363"/>
                  <a:pt x="555" y="363"/>
                  <a:pt x="555" y="363"/>
                </a:cubicBezTo>
                <a:cubicBezTo>
                  <a:pt x="555" y="363"/>
                  <a:pt x="555" y="363"/>
                  <a:pt x="555" y="363"/>
                </a:cubicBezTo>
                <a:cubicBezTo>
                  <a:pt x="555" y="363"/>
                  <a:pt x="555" y="363"/>
                  <a:pt x="555" y="363"/>
                </a:cubicBezTo>
                <a:cubicBezTo>
                  <a:pt x="556" y="363"/>
                  <a:pt x="556" y="363"/>
                  <a:pt x="556" y="363"/>
                </a:cubicBezTo>
                <a:cubicBezTo>
                  <a:pt x="556" y="363"/>
                  <a:pt x="556" y="363"/>
                  <a:pt x="556" y="363"/>
                </a:cubicBezTo>
                <a:cubicBezTo>
                  <a:pt x="556" y="363"/>
                  <a:pt x="556" y="363"/>
                  <a:pt x="556" y="363"/>
                </a:cubicBezTo>
                <a:cubicBezTo>
                  <a:pt x="556" y="363"/>
                  <a:pt x="556" y="363"/>
                  <a:pt x="556" y="363"/>
                </a:cubicBezTo>
                <a:cubicBezTo>
                  <a:pt x="556" y="363"/>
                  <a:pt x="556" y="363"/>
                  <a:pt x="556" y="363"/>
                </a:cubicBezTo>
                <a:cubicBezTo>
                  <a:pt x="556" y="363"/>
                  <a:pt x="556" y="363"/>
                  <a:pt x="556" y="363"/>
                </a:cubicBezTo>
                <a:cubicBezTo>
                  <a:pt x="556" y="363"/>
                  <a:pt x="556" y="363"/>
                  <a:pt x="556" y="363"/>
                </a:cubicBezTo>
                <a:cubicBezTo>
                  <a:pt x="556" y="363"/>
                  <a:pt x="556" y="363"/>
                  <a:pt x="556" y="363"/>
                </a:cubicBezTo>
                <a:cubicBezTo>
                  <a:pt x="557" y="365"/>
                  <a:pt x="557" y="365"/>
                  <a:pt x="557" y="365"/>
                </a:cubicBezTo>
                <a:cubicBezTo>
                  <a:pt x="558" y="365"/>
                  <a:pt x="558" y="365"/>
                  <a:pt x="558" y="365"/>
                </a:cubicBezTo>
                <a:cubicBezTo>
                  <a:pt x="558" y="365"/>
                  <a:pt x="558" y="365"/>
                  <a:pt x="558" y="365"/>
                </a:cubicBezTo>
                <a:cubicBezTo>
                  <a:pt x="558" y="366"/>
                  <a:pt x="558" y="366"/>
                  <a:pt x="558" y="366"/>
                </a:cubicBezTo>
                <a:cubicBezTo>
                  <a:pt x="558" y="366"/>
                  <a:pt x="558" y="366"/>
                  <a:pt x="558" y="366"/>
                </a:cubicBezTo>
                <a:cubicBezTo>
                  <a:pt x="558" y="366"/>
                  <a:pt x="558" y="366"/>
                  <a:pt x="558" y="366"/>
                </a:cubicBezTo>
                <a:cubicBezTo>
                  <a:pt x="558" y="366"/>
                  <a:pt x="558" y="366"/>
                  <a:pt x="558" y="366"/>
                </a:cubicBezTo>
                <a:cubicBezTo>
                  <a:pt x="558" y="366"/>
                  <a:pt x="558" y="366"/>
                  <a:pt x="558" y="366"/>
                </a:cubicBezTo>
                <a:cubicBezTo>
                  <a:pt x="558" y="366"/>
                  <a:pt x="558" y="366"/>
                  <a:pt x="558" y="366"/>
                </a:cubicBezTo>
                <a:cubicBezTo>
                  <a:pt x="558" y="366"/>
                  <a:pt x="558" y="366"/>
                  <a:pt x="558" y="366"/>
                </a:cubicBezTo>
                <a:cubicBezTo>
                  <a:pt x="558" y="366"/>
                  <a:pt x="558" y="366"/>
                  <a:pt x="558" y="366"/>
                </a:cubicBezTo>
                <a:cubicBezTo>
                  <a:pt x="558" y="366"/>
                  <a:pt x="558" y="366"/>
                  <a:pt x="558" y="366"/>
                </a:cubicBezTo>
                <a:cubicBezTo>
                  <a:pt x="558" y="366"/>
                  <a:pt x="558" y="366"/>
                  <a:pt x="558" y="366"/>
                </a:cubicBezTo>
                <a:cubicBezTo>
                  <a:pt x="558" y="366"/>
                  <a:pt x="558" y="366"/>
                  <a:pt x="558" y="366"/>
                </a:cubicBezTo>
                <a:cubicBezTo>
                  <a:pt x="558" y="367"/>
                  <a:pt x="558" y="367"/>
                  <a:pt x="558" y="367"/>
                </a:cubicBezTo>
                <a:cubicBezTo>
                  <a:pt x="558" y="367"/>
                  <a:pt x="558" y="367"/>
                  <a:pt x="558" y="367"/>
                </a:cubicBezTo>
                <a:cubicBezTo>
                  <a:pt x="558" y="367"/>
                  <a:pt x="558" y="367"/>
                  <a:pt x="558" y="367"/>
                </a:cubicBezTo>
                <a:cubicBezTo>
                  <a:pt x="558" y="367"/>
                  <a:pt x="558" y="367"/>
                  <a:pt x="558" y="367"/>
                </a:cubicBezTo>
                <a:cubicBezTo>
                  <a:pt x="558" y="367"/>
                  <a:pt x="558" y="367"/>
                  <a:pt x="558" y="367"/>
                </a:cubicBezTo>
                <a:cubicBezTo>
                  <a:pt x="558" y="367"/>
                  <a:pt x="558" y="367"/>
                  <a:pt x="558" y="367"/>
                </a:cubicBezTo>
                <a:cubicBezTo>
                  <a:pt x="559" y="367"/>
                  <a:pt x="559" y="367"/>
                  <a:pt x="559" y="367"/>
                </a:cubicBezTo>
                <a:cubicBezTo>
                  <a:pt x="559" y="368"/>
                  <a:pt x="559" y="368"/>
                  <a:pt x="559" y="368"/>
                </a:cubicBezTo>
                <a:cubicBezTo>
                  <a:pt x="559" y="368"/>
                  <a:pt x="559" y="368"/>
                  <a:pt x="559" y="368"/>
                </a:cubicBezTo>
                <a:cubicBezTo>
                  <a:pt x="559" y="368"/>
                  <a:pt x="559" y="368"/>
                  <a:pt x="559" y="368"/>
                </a:cubicBezTo>
                <a:cubicBezTo>
                  <a:pt x="559" y="368"/>
                  <a:pt x="559" y="368"/>
                  <a:pt x="559" y="368"/>
                </a:cubicBezTo>
                <a:cubicBezTo>
                  <a:pt x="559" y="368"/>
                  <a:pt x="559" y="368"/>
                  <a:pt x="559" y="368"/>
                </a:cubicBezTo>
                <a:cubicBezTo>
                  <a:pt x="559" y="368"/>
                  <a:pt x="559" y="368"/>
                  <a:pt x="559" y="368"/>
                </a:cubicBezTo>
                <a:cubicBezTo>
                  <a:pt x="559" y="368"/>
                  <a:pt x="559" y="368"/>
                  <a:pt x="559" y="368"/>
                </a:cubicBezTo>
                <a:cubicBezTo>
                  <a:pt x="559" y="368"/>
                  <a:pt x="559" y="368"/>
                  <a:pt x="559" y="368"/>
                </a:cubicBezTo>
                <a:cubicBezTo>
                  <a:pt x="559" y="368"/>
                  <a:pt x="559" y="368"/>
                  <a:pt x="559" y="368"/>
                </a:cubicBezTo>
                <a:cubicBezTo>
                  <a:pt x="559" y="368"/>
                  <a:pt x="559" y="368"/>
                  <a:pt x="559" y="368"/>
                </a:cubicBezTo>
                <a:cubicBezTo>
                  <a:pt x="559" y="368"/>
                  <a:pt x="559" y="368"/>
                  <a:pt x="559" y="368"/>
                </a:cubicBezTo>
                <a:cubicBezTo>
                  <a:pt x="559" y="368"/>
                  <a:pt x="559" y="368"/>
                  <a:pt x="559" y="368"/>
                </a:cubicBezTo>
                <a:cubicBezTo>
                  <a:pt x="559" y="368"/>
                  <a:pt x="559" y="368"/>
                  <a:pt x="559" y="368"/>
                </a:cubicBezTo>
                <a:cubicBezTo>
                  <a:pt x="559" y="368"/>
                  <a:pt x="559" y="368"/>
                  <a:pt x="559" y="368"/>
                </a:cubicBezTo>
                <a:cubicBezTo>
                  <a:pt x="559" y="368"/>
                  <a:pt x="559" y="369"/>
                  <a:pt x="559" y="369"/>
                </a:cubicBezTo>
                <a:cubicBezTo>
                  <a:pt x="559" y="369"/>
                  <a:pt x="559" y="369"/>
                  <a:pt x="559" y="369"/>
                </a:cubicBezTo>
                <a:cubicBezTo>
                  <a:pt x="559" y="369"/>
                  <a:pt x="559" y="369"/>
                  <a:pt x="559" y="369"/>
                </a:cubicBezTo>
                <a:cubicBezTo>
                  <a:pt x="559" y="369"/>
                  <a:pt x="559" y="369"/>
                  <a:pt x="559" y="370"/>
                </a:cubicBezTo>
                <a:cubicBezTo>
                  <a:pt x="559" y="370"/>
                  <a:pt x="559" y="370"/>
                  <a:pt x="559" y="370"/>
                </a:cubicBezTo>
                <a:cubicBezTo>
                  <a:pt x="559" y="370"/>
                  <a:pt x="559" y="370"/>
                  <a:pt x="559" y="370"/>
                </a:cubicBezTo>
                <a:cubicBezTo>
                  <a:pt x="559" y="370"/>
                  <a:pt x="559" y="370"/>
                  <a:pt x="559" y="370"/>
                </a:cubicBezTo>
                <a:cubicBezTo>
                  <a:pt x="559" y="370"/>
                  <a:pt x="559" y="370"/>
                  <a:pt x="559" y="370"/>
                </a:cubicBezTo>
                <a:cubicBezTo>
                  <a:pt x="560" y="370"/>
                  <a:pt x="560" y="370"/>
                  <a:pt x="560" y="370"/>
                </a:cubicBezTo>
                <a:cubicBezTo>
                  <a:pt x="560" y="371"/>
                  <a:pt x="560" y="371"/>
                  <a:pt x="560" y="371"/>
                </a:cubicBezTo>
                <a:cubicBezTo>
                  <a:pt x="560" y="371"/>
                  <a:pt x="560" y="371"/>
                  <a:pt x="560" y="371"/>
                </a:cubicBezTo>
                <a:cubicBezTo>
                  <a:pt x="560" y="371"/>
                  <a:pt x="560" y="371"/>
                  <a:pt x="560" y="371"/>
                </a:cubicBezTo>
                <a:cubicBezTo>
                  <a:pt x="560" y="371"/>
                  <a:pt x="560" y="371"/>
                  <a:pt x="560" y="371"/>
                </a:cubicBezTo>
                <a:cubicBezTo>
                  <a:pt x="560" y="371"/>
                  <a:pt x="560" y="371"/>
                  <a:pt x="560" y="371"/>
                </a:cubicBezTo>
                <a:cubicBezTo>
                  <a:pt x="560" y="371"/>
                  <a:pt x="560" y="371"/>
                  <a:pt x="560" y="371"/>
                </a:cubicBezTo>
                <a:cubicBezTo>
                  <a:pt x="560" y="371"/>
                  <a:pt x="560" y="371"/>
                  <a:pt x="560" y="371"/>
                </a:cubicBezTo>
                <a:cubicBezTo>
                  <a:pt x="560" y="371"/>
                  <a:pt x="560" y="371"/>
                  <a:pt x="560" y="371"/>
                </a:cubicBezTo>
                <a:cubicBezTo>
                  <a:pt x="560" y="371"/>
                  <a:pt x="560" y="371"/>
                  <a:pt x="560" y="371"/>
                </a:cubicBezTo>
                <a:cubicBezTo>
                  <a:pt x="560" y="371"/>
                  <a:pt x="560" y="371"/>
                  <a:pt x="560" y="371"/>
                </a:cubicBezTo>
                <a:cubicBezTo>
                  <a:pt x="561" y="372"/>
                  <a:pt x="561" y="372"/>
                  <a:pt x="561" y="372"/>
                </a:cubicBezTo>
                <a:cubicBezTo>
                  <a:pt x="561" y="372"/>
                  <a:pt x="561" y="372"/>
                  <a:pt x="562" y="373"/>
                </a:cubicBezTo>
                <a:cubicBezTo>
                  <a:pt x="562" y="373"/>
                  <a:pt x="562" y="373"/>
                  <a:pt x="562" y="373"/>
                </a:cubicBezTo>
                <a:cubicBezTo>
                  <a:pt x="562" y="373"/>
                  <a:pt x="562" y="373"/>
                  <a:pt x="562" y="373"/>
                </a:cubicBezTo>
                <a:cubicBezTo>
                  <a:pt x="562" y="373"/>
                  <a:pt x="562" y="373"/>
                  <a:pt x="562" y="373"/>
                </a:cubicBezTo>
                <a:cubicBezTo>
                  <a:pt x="562" y="373"/>
                  <a:pt x="562" y="373"/>
                  <a:pt x="562" y="373"/>
                </a:cubicBezTo>
                <a:cubicBezTo>
                  <a:pt x="563" y="373"/>
                  <a:pt x="563" y="373"/>
                  <a:pt x="563" y="373"/>
                </a:cubicBezTo>
                <a:cubicBezTo>
                  <a:pt x="565" y="373"/>
                  <a:pt x="565" y="373"/>
                  <a:pt x="565" y="373"/>
                </a:cubicBezTo>
                <a:cubicBezTo>
                  <a:pt x="565" y="374"/>
                  <a:pt x="565" y="374"/>
                  <a:pt x="565" y="374"/>
                </a:cubicBezTo>
                <a:cubicBezTo>
                  <a:pt x="566" y="374"/>
                  <a:pt x="566" y="374"/>
                  <a:pt x="566" y="374"/>
                </a:cubicBezTo>
                <a:cubicBezTo>
                  <a:pt x="566" y="374"/>
                  <a:pt x="566" y="374"/>
                  <a:pt x="566" y="374"/>
                </a:cubicBezTo>
                <a:cubicBezTo>
                  <a:pt x="566" y="374"/>
                  <a:pt x="566" y="374"/>
                  <a:pt x="566" y="374"/>
                </a:cubicBezTo>
                <a:cubicBezTo>
                  <a:pt x="566" y="374"/>
                  <a:pt x="566" y="374"/>
                  <a:pt x="566" y="374"/>
                </a:cubicBezTo>
                <a:cubicBezTo>
                  <a:pt x="566" y="374"/>
                  <a:pt x="566" y="374"/>
                  <a:pt x="566" y="374"/>
                </a:cubicBezTo>
                <a:cubicBezTo>
                  <a:pt x="566" y="374"/>
                  <a:pt x="566" y="374"/>
                  <a:pt x="566" y="374"/>
                </a:cubicBezTo>
                <a:cubicBezTo>
                  <a:pt x="567" y="374"/>
                  <a:pt x="567" y="373"/>
                  <a:pt x="568" y="373"/>
                </a:cubicBezTo>
                <a:cubicBezTo>
                  <a:pt x="568" y="373"/>
                  <a:pt x="568" y="373"/>
                  <a:pt x="568" y="373"/>
                </a:cubicBezTo>
                <a:cubicBezTo>
                  <a:pt x="568" y="373"/>
                  <a:pt x="568" y="373"/>
                  <a:pt x="568" y="373"/>
                </a:cubicBezTo>
                <a:cubicBezTo>
                  <a:pt x="568" y="373"/>
                  <a:pt x="568" y="373"/>
                  <a:pt x="568" y="373"/>
                </a:cubicBezTo>
                <a:cubicBezTo>
                  <a:pt x="568" y="373"/>
                  <a:pt x="568" y="373"/>
                  <a:pt x="568" y="373"/>
                </a:cubicBezTo>
                <a:cubicBezTo>
                  <a:pt x="568" y="373"/>
                  <a:pt x="569" y="373"/>
                  <a:pt x="570" y="373"/>
                </a:cubicBezTo>
                <a:cubicBezTo>
                  <a:pt x="570" y="373"/>
                  <a:pt x="570" y="373"/>
                  <a:pt x="570" y="373"/>
                </a:cubicBezTo>
                <a:cubicBezTo>
                  <a:pt x="570" y="373"/>
                  <a:pt x="571" y="373"/>
                  <a:pt x="572" y="373"/>
                </a:cubicBezTo>
                <a:cubicBezTo>
                  <a:pt x="572" y="373"/>
                  <a:pt x="572" y="373"/>
                  <a:pt x="572" y="373"/>
                </a:cubicBezTo>
                <a:cubicBezTo>
                  <a:pt x="572" y="373"/>
                  <a:pt x="572" y="373"/>
                  <a:pt x="572" y="373"/>
                </a:cubicBezTo>
                <a:cubicBezTo>
                  <a:pt x="572" y="373"/>
                  <a:pt x="572" y="373"/>
                  <a:pt x="572" y="373"/>
                </a:cubicBezTo>
                <a:cubicBezTo>
                  <a:pt x="572" y="373"/>
                  <a:pt x="572" y="373"/>
                  <a:pt x="572" y="373"/>
                </a:cubicBezTo>
                <a:cubicBezTo>
                  <a:pt x="572" y="373"/>
                  <a:pt x="572" y="373"/>
                  <a:pt x="572" y="373"/>
                </a:cubicBezTo>
                <a:cubicBezTo>
                  <a:pt x="572" y="374"/>
                  <a:pt x="572" y="374"/>
                  <a:pt x="572" y="374"/>
                </a:cubicBezTo>
                <a:cubicBezTo>
                  <a:pt x="572" y="374"/>
                  <a:pt x="572" y="374"/>
                  <a:pt x="572" y="374"/>
                </a:cubicBezTo>
                <a:cubicBezTo>
                  <a:pt x="572" y="374"/>
                  <a:pt x="572" y="374"/>
                  <a:pt x="572" y="374"/>
                </a:cubicBezTo>
                <a:cubicBezTo>
                  <a:pt x="572" y="374"/>
                  <a:pt x="572" y="374"/>
                  <a:pt x="572" y="374"/>
                </a:cubicBezTo>
                <a:cubicBezTo>
                  <a:pt x="572" y="374"/>
                  <a:pt x="572" y="374"/>
                  <a:pt x="572" y="374"/>
                </a:cubicBezTo>
                <a:cubicBezTo>
                  <a:pt x="571" y="375"/>
                  <a:pt x="571" y="375"/>
                  <a:pt x="571" y="375"/>
                </a:cubicBezTo>
                <a:cubicBezTo>
                  <a:pt x="571" y="375"/>
                  <a:pt x="571" y="375"/>
                  <a:pt x="571" y="375"/>
                </a:cubicBezTo>
                <a:cubicBezTo>
                  <a:pt x="571" y="375"/>
                  <a:pt x="571" y="375"/>
                  <a:pt x="571" y="375"/>
                </a:cubicBezTo>
                <a:cubicBezTo>
                  <a:pt x="571" y="375"/>
                  <a:pt x="571" y="375"/>
                  <a:pt x="571" y="375"/>
                </a:cubicBezTo>
                <a:cubicBezTo>
                  <a:pt x="571" y="375"/>
                  <a:pt x="571" y="375"/>
                  <a:pt x="571" y="375"/>
                </a:cubicBezTo>
                <a:cubicBezTo>
                  <a:pt x="571" y="375"/>
                  <a:pt x="571" y="375"/>
                  <a:pt x="571" y="375"/>
                </a:cubicBezTo>
                <a:cubicBezTo>
                  <a:pt x="571" y="375"/>
                  <a:pt x="571" y="375"/>
                  <a:pt x="571" y="375"/>
                </a:cubicBezTo>
                <a:cubicBezTo>
                  <a:pt x="571" y="375"/>
                  <a:pt x="571" y="375"/>
                  <a:pt x="571" y="375"/>
                </a:cubicBezTo>
                <a:cubicBezTo>
                  <a:pt x="571" y="375"/>
                  <a:pt x="571" y="375"/>
                  <a:pt x="571" y="375"/>
                </a:cubicBezTo>
                <a:cubicBezTo>
                  <a:pt x="572" y="375"/>
                  <a:pt x="572" y="375"/>
                  <a:pt x="572" y="375"/>
                </a:cubicBezTo>
                <a:cubicBezTo>
                  <a:pt x="572" y="375"/>
                  <a:pt x="572" y="375"/>
                  <a:pt x="572" y="375"/>
                </a:cubicBezTo>
                <a:cubicBezTo>
                  <a:pt x="572" y="375"/>
                  <a:pt x="572" y="375"/>
                  <a:pt x="572" y="375"/>
                </a:cubicBezTo>
                <a:cubicBezTo>
                  <a:pt x="572" y="375"/>
                  <a:pt x="572" y="375"/>
                  <a:pt x="572" y="375"/>
                </a:cubicBezTo>
                <a:cubicBezTo>
                  <a:pt x="572" y="375"/>
                  <a:pt x="572" y="375"/>
                  <a:pt x="572" y="375"/>
                </a:cubicBezTo>
                <a:cubicBezTo>
                  <a:pt x="572" y="375"/>
                  <a:pt x="572" y="375"/>
                  <a:pt x="572" y="375"/>
                </a:cubicBezTo>
                <a:cubicBezTo>
                  <a:pt x="572" y="376"/>
                  <a:pt x="572" y="376"/>
                  <a:pt x="572" y="376"/>
                </a:cubicBezTo>
                <a:cubicBezTo>
                  <a:pt x="572" y="376"/>
                  <a:pt x="572" y="376"/>
                  <a:pt x="572" y="376"/>
                </a:cubicBezTo>
                <a:cubicBezTo>
                  <a:pt x="572" y="376"/>
                  <a:pt x="572" y="376"/>
                  <a:pt x="572" y="376"/>
                </a:cubicBezTo>
                <a:cubicBezTo>
                  <a:pt x="571" y="376"/>
                  <a:pt x="571" y="376"/>
                  <a:pt x="571" y="376"/>
                </a:cubicBezTo>
                <a:cubicBezTo>
                  <a:pt x="571" y="376"/>
                  <a:pt x="571" y="376"/>
                  <a:pt x="571" y="376"/>
                </a:cubicBezTo>
                <a:cubicBezTo>
                  <a:pt x="571" y="376"/>
                  <a:pt x="571" y="376"/>
                  <a:pt x="571" y="376"/>
                </a:cubicBezTo>
                <a:cubicBezTo>
                  <a:pt x="571" y="376"/>
                  <a:pt x="571" y="376"/>
                  <a:pt x="571" y="376"/>
                </a:cubicBezTo>
                <a:cubicBezTo>
                  <a:pt x="571" y="376"/>
                  <a:pt x="571" y="376"/>
                  <a:pt x="571" y="376"/>
                </a:cubicBezTo>
                <a:cubicBezTo>
                  <a:pt x="571" y="376"/>
                  <a:pt x="571" y="376"/>
                  <a:pt x="571" y="376"/>
                </a:cubicBezTo>
                <a:cubicBezTo>
                  <a:pt x="571" y="376"/>
                  <a:pt x="571" y="376"/>
                  <a:pt x="571" y="376"/>
                </a:cubicBezTo>
                <a:cubicBezTo>
                  <a:pt x="571" y="376"/>
                  <a:pt x="571" y="376"/>
                  <a:pt x="571" y="376"/>
                </a:cubicBezTo>
                <a:cubicBezTo>
                  <a:pt x="571" y="376"/>
                  <a:pt x="571" y="376"/>
                  <a:pt x="571" y="376"/>
                </a:cubicBezTo>
                <a:cubicBezTo>
                  <a:pt x="571" y="376"/>
                  <a:pt x="571" y="376"/>
                  <a:pt x="571" y="376"/>
                </a:cubicBezTo>
                <a:cubicBezTo>
                  <a:pt x="571" y="376"/>
                  <a:pt x="571" y="376"/>
                  <a:pt x="571" y="376"/>
                </a:cubicBezTo>
                <a:cubicBezTo>
                  <a:pt x="571" y="376"/>
                  <a:pt x="571" y="376"/>
                  <a:pt x="571" y="376"/>
                </a:cubicBezTo>
                <a:cubicBezTo>
                  <a:pt x="571" y="376"/>
                  <a:pt x="571" y="376"/>
                  <a:pt x="571" y="376"/>
                </a:cubicBezTo>
                <a:cubicBezTo>
                  <a:pt x="571" y="377"/>
                  <a:pt x="571" y="377"/>
                  <a:pt x="571" y="377"/>
                </a:cubicBezTo>
                <a:cubicBezTo>
                  <a:pt x="571" y="377"/>
                  <a:pt x="571" y="377"/>
                  <a:pt x="571" y="377"/>
                </a:cubicBezTo>
                <a:cubicBezTo>
                  <a:pt x="571" y="377"/>
                  <a:pt x="571" y="377"/>
                  <a:pt x="571" y="377"/>
                </a:cubicBezTo>
                <a:cubicBezTo>
                  <a:pt x="571" y="377"/>
                  <a:pt x="571" y="377"/>
                  <a:pt x="571" y="377"/>
                </a:cubicBezTo>
                <a:cubicBezTo>
                  <a:pt x="571" y="377"/>
                  <a:pt x="571" y="377"/>
                  <a:pt x="571" y="378"/>
                </a:cubicBezTo>
                <a:cubicBezTo>
                  <a:pt x="571" y="378"/>
                  <a:pt x="571" y="378"/>
                  <a:pt x="571" y="378"/>
                </a:cubicBezTo>
                <a:cubicBezTo>
                  <a:pt x="571" y="378"/>
                  <a:pt x="571" y="378"/>
                  <a:pt x="571" y="378"/>
                </a:cubicBezTo>
                <a:cubicBezTo>
                  <a:pt x="570" y="378"/>
                  <a:pt x="570" y="378"/>
                  <a:pt x="570" y="378"/>
                </a:cubicBezTo>
                <a:cubicBezTo>
                  <a:pt x="570" y="378"/>
                  <a:pt x="570" y="378"/>
                  <a:pt x="570" y="378"/>
                </a:cubicBezTo>
                <a:cubicBezTo>
                  <a:pt x="570" y="378"/>
                  <a:pt x="570" y="378"/>
                  <a:pt x="570" y="378"/>
                </a:cubicBezTo>
                <a:cubicBezTo>
                  <a:pt x="570" y="378"/>
                  <a:pt x="570" y="378"/>
                  <a:pt x="570" y="378"/>
                </a:cubicBezTo>
                <a:cubicBezTo>
                  <a:pt x="571" y="378"/>
                  <a:pt x="571" y="378"/>
                  <a:pt x="571" y="378"/>
                </a:cubicBezTo>
                <a:cubicBezTo>
                  <a:pt x="571" y="378"/>
                  <a:pt x="571" y="378"/>
                  <a:pt x="571" y="378"/>
                </a:cubicBezTo>
                <a:cubicBezTo>
                  <a:pt x="571" y="378"/>
                  <a:pt x="571" y="378"/>
                  <a:pt x="571" y="378"/>
                </a:cubicBezTo>
                <a:cubicBezTo>
                  <a:pt x="571" y="378"/>
                  <a:pt x="571" y="378"/>
                  <a:pt x="571" y="378"/>
                </a:cubicBezTo>
                <a:cubicBezTo>
                  <a:pt x="571" y="378"/>
                  <a:pt x="571" y="378"/>
                  <a:pt x="571" y="378"/>
                </a:cubicBezTo>
                <a:cubicBezTo>
                  <a:pt x="571" y="379"/>
                  <a:pt x="571" y="379"/>
                  <a:pt x="571" y="379"/>
                </a:cubicBezTo>
                <a:cubicBezTo>
                  <a:pt x="571" y="379"/>
                  <a:pt x="571" y="379"/>
                  <a:pt x="571" y="379"/>
                </a:cubicBezTo>
                <a:cubicBezTo>
                  <a:pt x="571" y="379"/>
                  <a:pt x="571" y="379"/>
                  <a:pt x="571" y="379"/>
                </a:cubicBezTo>
                <a:cubicBezTo>
                  <a:pt x="571" y="379"/>
                  <a:pt x="571" y="379"/>
                  <a:pt x="571" y="379"/>
                </a:cubicBezTo>
                <a:cubicBezTo>
                  <a:pt x="571" y="379"/>
                  <a:pt x="571" y="379"/>
                  <a:pt x="571" y="379"/>
                </a:cubicBezTo>
                <a:cubicBezTo>
                  <a:pt x="572" y="379"/>
                  <a:pt x="572" y="379"/>
                  <a:pt x="572" y="379"/>
                </a:cubicBezTo>
                <a:cubicBezTo>
                  <a:pt x="572" y="379"/>
                  <a:pt x="572" y="379"/>
                  <a:pt x="572" y="379"/>
                </a:cubicBezTo>
                <a:cubicBezTo>
                  <a:pt x="573" y="380"/>
                  <a:pt x="573" y="380"/>
                  <a:pt x="573" y="380"/>
                </a:cubicBezTo>
                <a:cubicBezTo>
                  <a:pt x="574" y="381"/>
                  <a:pt x="574" y="381"/>
                  <a:pt x="574" y="381"/>
                </a:cubicBezTo>
                <a:cubicBezTo>
                  <a:pt x="574" y="381"/>
                  <a:pt x="574" y="381"/>
                  <a:pt x="574" y="381"/>
                </a:cubicBezTo>
                <a:cubicBezTo>
                  <a:pt x="574" y="381"/>
                  <a:pt x="574" y="381"/>
                  <a:pt x="574" y="381"/>
                </a:cubicBezTo>
                <a:cubicBezTo>
                  <a:pt x="574" y="381"/>
                  <a:pt x="574" y="381"/>
                  <a:pt x="574" y="381"/>
                </a:cubicBezTo>
                <a:cubicBezTo>
                  <a:pt x="574" y="381"/>
                  <a:pt x="574" y="381"/>
                  <a:pt x="574" y="381"/>
                </a:cubicBezTo>
                <a:cubicBezTo>
                  <a:pt x="575" y="381"/>
                  <a:pt x="575" y="381"/>
                  <a:pt x="575" y="381"/>
                </a:cubicBezTo>
                <a:cubicBezTo>
                  <a:pt x="575" y="381"/>
                  <a:pt x="575" y="381"/>
                  <a:pt x="575" y="381"/>
                </a:cubicBezTo>
                <a:cubicBezTo>
                  <a:pt x="575" y="382"/>
                  <a:pt x="575" y="382"/>
                  <a:pt x="575" y="382"/>
                </a:cubicBezTo>
                <a:cubicBezTo>
                  <a:pt x="575" y="382"/>
                  <a:pt x="575" y="382"/>
                  <a:pt x="575" y="382"/>
                </a:cubicBezTo>
                <a:cubicBezTo>
                  <a:pt x="575" y="382"/>
                  <a:pt x="575" y="382"/>
                  <a:pt x="575" y="382"/>
                </a:cubicBezTo>
                <a:cubicBezTo>
                  <a:pt x="575" y="382"/>
                  <a:pt x="575" y="382"/>
                  <a:pt x="575" y="382"/>
                </a:cubicBezTo>
                <a:cubicBezTo>
                  <a:pt x="575" y="382"/>
                  <a:pt x="575" y="382"/>
                  <a:pt x="575" y="382"/>
                </a:cubicBezTo>
                <a:cubicBezTo>
                  <a:pt x="575" y="382"/>
                  <a:pt x="575" y="382"/>
                  <a:pt x="575" y="382"/>
                </a:cubicBezTo>
                <a:cubicBezTo>
                  <a:pt x="575" y="382"/>
                  <a:pt x="575" y="382"/>
                  <a:pt x="574" y="382"/>
                </a:cubicBezTo>
                <a:cubicBezTo>
                  <a:pt x="574" y="382"/>
                  <a:pt x="574" y="382"/>
                  <a:pt x="574" y="382"/>
                </a:cubicBezTo>
                <a:cubicBezTo>
                  <a:pt x="574" y="382"/>
                  <a:pt x="574" y="382"/>
                  <a:pt x="574" y="382"/>
                </a:cubicBezTo>
                <a:cubicBezTo>
                  <a:pt x="574" y="383"/>
                  <a:pt x="574" y="383"/>
                  <a:pt x="574" y="383"/>
                </a:cubicBezTo>
                <a:cubicBezTo>
                  <a:pt x="574" y="383"/>
                  <a:pt x="574" y="383"/>
                  <a:pt x="574" y="383"/>
                </a:cubicBezTo>
                <a:cubicBezTo>
                  <a:pt x="574" y="383"/>
                  <a:pt x="574" y="383"/>
                  <a:pt x="574" y="383"/>
                </a:cubicBezTo>
                <a:cubicBezTo>
                  <a:pt x="574" y="383"/>
                  <a:pt x="574" y="383"/>
                  <a:pt x="574" y="383"/>
                </a:cubicBezTo>
                <a:cubicBezTo>
                  <a:pt x="574" y="383"/>
                  <a:pt x="574" y="383"/>
                  <a:pt x="574" y="383"/>
                </a:cubicBezTo>
                <a:cubicBezTo>
                  <a:pt x="574" y="383"/>
                  <a:pt x="574" y="383"/>
                  <a:pt x="574" y="383"/>
                </a:cubicBezTo>
                <a:cubicBezTo>
                  <a:pt x="574" y="383"/>
                  <a:pt x="574" y="383"/>
                  <a:pt x="574" y="383"/>
                </a:cubicBezTo>
                <a:cubicBezTo>
                  <a:pt x="574" y="383"/>
                  <a:pt x="574" y="383"/>
                  <a:pt x="574" y="383"/>
                </a:cubicBezTo>
                <a:cubicBezTo>
                  <a:pt x="574" y="383"/>
                  <a:pt x="574" y="383"/>
                  <a:pt x="574" y="383"/>
                </a:cubicBezTo>
                <a:cubicBezTo>
                  <a:pt x="574" y="383"/>
                  <a:pt x="574" y="383"/>
                  <a:pt x="574" y="383"/>
                </a:cubicBezTo>
                <a:cubicBezTo>
                  <a:pt x="574" y="384"/>
                  <a:pt x="574" y="384"/>
                  <a:pt x="574" y="384"/>
                </a:cubicBezTo>
                <a:cubicBezTo>
                  <a:pt x="574" y="384"/>
                  <a:pt x="574" y="384"/>
                  <a:pt x="574" y="384"/>
                </a:cubicBezTo>
                <a:cubicBezTo>
                  <a:pt x="574" y="384"/>
                  <a:pt x="574" y="384"/>
                  <a:pt x="574" y="384"/>
                </a:cubicBezTo>
                <a:cubicBezTo>
                  <a:pt x="574" y="384"/>
                  <a:pt x="574" y="384"/>
                  <a:pt x="574" y="384"/>
                </a:cubicBezTo>
                <a:cubicBezTo>
                  <a:pt x="574" y="384"/>
                  <a:pt x="574" y="384"/>
                  <a:pt x="574" y="384"/>
                </a:cubicBezTo>
                <a:cubicBezTo>
                  <a:pt x="574" y="384"/>
                  <a:pt x="574" y="384"/>
                  <a:pt x="574" y="384"/>
                </a:cubicBezTo>
                <a:cubicBezTo>
                  <a:pt x="574" y="384"/>
                  <a:pt x="574" y="384"/>
                  <a:pt x="574" y="384"/>
                </a:cubicBezTo>
                <a:cubicBezTo>
                  <a:pt x="574" y="384"/>
                  <a:pt x="574" y="384"/>
                  <a:pt x="574" y="384"/>
                </a:cubicBezTo>
                <a:cubicBezTo>
                  <a:pt x="574" y="384"/>
                  <a:pt x="574" y="384"/>
                  <a:pt x="574" y="384"/>
                </a:cubicBezTo>
                <a:cubicBezTo>
                  <a:pt x="574" y="384"/>
                  <a:pt x="574" y="384"/>
                  <a:pt x="573" y="385"/>
                </a:cubicBezTo>
                <a:cubicBezTo>
                  <a:pt x="573" y="385"/>
                  <a:pt x="573" y="385"/>
                  <a:pt x="573" y="385"/>
                </a:cubicBezTo>
                <a:cubicBezTo>
                  <a:pt x="573" y="385"/>
                  <a:pt x="573" y="385"/>
                  <a:pt x="573" y="385"/>
                </a:cubicBezTo>
                <a:cubicBezTo>
                  <a:pt x="573" y="385"/>
                  <a:pt x="573" y="385"/>
                  <a:pt x="573" y="385"/>
                </a:cubicBezTo>
                <a:cubicBezTo>
                  <a:pt x="573" y="385"/>
                  <a:pt x="573" y="385"/>
                  <a:pt x="573" y="385"/>
                </a:cubicBezTo>
                <a:cubicBezTo>
                  <a:pt x="573" y="385"/>
                  <a:pt x="573" y="385"/>
                  <a:pt x="573" y="385"/>
                </a:cubicBezTo>
                <a:cubicBezTo>
                  <a:pt x="573" y="385"/>
                  <a:pt x="573" y="385"/>
                  <a:pt x="573" y="385"/>
                </a:cubicBezTo>
                <a:cubicBezTo>
                  <a:pt x="573" y="385"/>
                  <a:pt x="573" y="385"/>
                  <a:pt x="573" y="385"/>
                </a:cubicBezTo>
                <a:cubicBezTo>
                  <a:pt x="573" y="385"/>
                  <a:pt x="573" y="385"/>
                  <a:pt x="573" y="385"/>
                </a:cubicBezTo>
                <a:cubicBezTo>
                  <a:pt x="573" y="386"/>
                  <a:pt x="573" y="386"/>
                  <a:pt x="573" y="386"/>
                </a:cubicBezTo>
                <a:cubicBezTo>
                  <a:pt x="573" y="386"/>
                  <a:pt x="573" y="386"/>
                  <a:pt x="573" y="386"/>
                </a:cubicBezTo>
                <a:cubicBezTo>
                  <a:pt x="573" y="386"/>
                  <a:pt x="573" y="386"/>
                  <a:pt x="573" y="386"/>
                </a:cubicBezTo>
                <a:cubicBezTo>
                  <a:pt x="573" y="386"/>
                  <a:pt x="573" y="386"/>
                  <a:pt x="573" y="386"/>
                </a:cubicBezTo>
                <a:cubicBezTo>
                  <a:pt x="573" y="386"/>
                  <a:pt x="573" y="386"/>
                  <a:pt x="573" y="386"/>
                </a:cubicBezTo>
                <a:cubicBezTo>
                  <a:pt x="573" y="386"/>
                  <a:pt x="573" y="386"/>
                  <a:pt x="573" y="386"/>
                </a:cubicBezTo>
                <a:cubicBezTo>
                  <a:pt x="573" y="386"/>
                  <a:pt x="573" y="386"/>
                  <a:pt x="573" y="386"/>
                </a:cubicBezTo>
                <a:cubicBezTo>
                  <a:pt x="573" y="386"/>
                  <a:pt x="573" y="386"/>
                  <a:pt x="573" y="386"/>
                </a:cubicBezTo>
                <a:cubicBezTo>
                  <a:pt x="573" y="386"/>
                  <a:pt x="573" y="386"/>
                  <a:pt x="573" y="386"/>
                </a:cubicBezTo>
                <a:cubicBezTo>
                  <a:pt x="574" y="386"/>
                  <a:pt x="574" y="386"/>
                  <a:pt x="574" y="386"/>
                </a:cubicBezTo>
                <a:cubicBezTo>
                  <a:pt x="575" y="387"/>
                  <a:pt x="575" y="387"/>
                  <a:pt x="575" y="387"/>
                </a:cubicBezTo>
                <a:cubicBezTo>
                  <a:pt x="575" y="388"/>
                  <a:pt x="575" y="388"/>
                  <a:pt x="575" y="388"/>
                </a:cubicBezTo>
                <a:cubicBezTo>
                  <a:pt x="575" y="388"/>
                  <a:pt x="575" y="388"/>
                  <a:pt x="575" y="388"/>
                </a:cubicBezTo>
                <a:cubicBezTo>
                  <a:pt x="575" y="388"/>
                  <a:pt x="575" y="388"/>
                  <a:pt x="575" y="388"/>
                </a:cubicBezTo>
                <a:cubicBezTo>
                  <a:pt x="575" y="388"/>
                  <a:pt x="575" y="388"/>
                  <a:pt x="575" y="388"/>
                </a:cubicBezTo>
                <a:cubicBezTo>
                  <a:pt x="575" y="388"/>
                  <a:pt x="575" y="388"/>
                  <a:pt x="575" y="388"/>
                </a:cubicBezTo>
                <a:cubicBezTo>
                  <a:pt x="575" y="388"/>
                  <a:pt x="575" y="388"/>
                  <a:pt x="575" y="388"/>
                </a:cubicBezTo>
                <a:cubicBezTo>
                  <a:pt x="575" y="388"/>
                  <a:pt x="575" y="388"/>
                  <a:pt x="575" y="388"/>
                </a:cubicBezTo>
                <a:cubicBezTo>
                  <a:pt x="575" y="388"/>
                  <a:pt x="575" y="388"/>
                  <a:pt x="575" y="388"/>
                </a:cubicBezTo>
                <a:cubicBezTo>
                  <a:pt x="575" y="388"/>
                  <a:pt x="575" y="388"/>
                  <a:pt x="575" y="388"/>
                </a:cubicBezTo>
                <a:cubicBezTo>
                  <a:pt x="575" y="388"/>
                  <a:pt x="575" y="388"/>
                  <a:pt x="575" y="388"/>
                </a:cubicBezTo>
                <a:cubicBezTo>
                  <a:pt x="575" y="388"/>
                  <a:pt x="575" y="388"/>
                  <a:pt x="575" y="388"/>
                </a:cubicBezTo>
                <a:cubicBezTo>
                  <a:pt x="575" y="388"/>
                  <a:pt x="575" y="389"/>
                  <a:pt x="575" y="389"/>
                </a:cubicBezTo>
                <a:cubicBezTo>
                  <a:pt x="575" y="389"/>
                  <a:pt x="575" y="389"/>
                  <a:pt x="575" y="389"/>
                </a:cubicBezTo>
                <a:cubicBezTo>
                  <a:pt x="575" y="389"/>
                  <a:pt x="575" y="389"/>
                  <a:pt x="575" y="389"/>
                </a:cubicBezTo>
                <a:cubicBezTo>
                  <a:pt x="575" y="389"/>
                  <a:pt x="575" y="389"/>
                  <a:pt x="575" y="389"/>
                </a:cubicBezTo>
                <a:cubicBezTo>
                  <a:pt x="575" y="389"/>
                  <a:pt x="576" y="390"/>
                  <a:pt x="576" y="390"/>
                </a:cubicBezTo>
                <a:cubicBezTo>
                  <a:pt x="576" y="390"/>
                  <a:pt x="576" y="390"/>
                  <a:pt x="576" y="390"/>
                </a:cubicBezTo>
                <a:cubicBezTo>
                  <a:pt x="576" y="390"/>
                  <a:pt x="576" y="390"/>
                  <a:pt x="576" y="390"/>
                </a:cubicBezTo>
                <a:cubicBezTo>
                  <a:pt x="576" y="390"/>
                  <a:pt x="576" y="390"/>
                  <a:pt x="576" y="390"/>
                </a:cubicBezTo>
                <a:cubicBezTo>
                  <a:pt x="576" y="390"/>
                  <a:pt x="576" y="390"/>
                  <a:pt x="576" y="390"/>
                </a:cubicBezTo>
                <a:cubicBezTo>
                  <a:pt x="576" y="390"/>
                  <a:pt x="576" y="390"/>
                  <a:pt x="576" y="390"/>
                </a:cubicBezTo>
                <a:cubicBezTo>
                  <a:pt x="576" y="390"/>
                  <a:pt x="576" y="390"/>
                  <a:pt x="576" y="390"/>
                </a:cubicBezTo>
                <a:cubicBezTo>
                  <a:pt x="576" y="390"/>
                  <a:pt x="576" y="390"/>
                  <a:pt x="576" y="390"/>
                </a:cubicBezTo>
                <a:cubicBezTo>
                  <a:pt x="575" y="390"/>
                  <a:pt x="575" y="391"/>
                  <a:pt x="575" y="391"/>
                </a:cubicBezTo>
                <a:cubicBezTo>
                  <a:pt x="575" y="391"/>
                  <a:pt x="575" y="391"/>
                  <a:pt x="575" y="391"/>
                </a:cubicBezTo>
                <a:cubicBezTo>
                  <a:pt x="575" y="391"/>
                  <a:pt x="575" y="391"/>
                  <a:pt x="575" y="391"/>
                </a:cubicBezTo>
                <a:cubicBezTo>
                  <a:pt x="575" y="391"/>
                  <a:pt x="575" y="391"/>
                  <a:pt x="575" y="392"/>
                </a:cubicBezTo>
                <a:cubicBezTo>
                  <a:pt x="575" y="392"/>
                  <a:pt x="575" y="392"/>
                  <a:pt x="575" y="392"/>
                </a:cubicBezTo>
                <a:cubicBezTo>
                  <a:pt x="575" y="392"/>
                  <a:pt x="575" y="392"/>
                  <a:pt x="575" y="392"/>
                </a:cubicBezTo>
                <a:cubicBezTo>
                  <a:pt x="575" y="392"/>
                  <a:pt x="575" y="392"/>
                  <a:pt x="575" y="392"/>
                </a:cubicBezTo>
                <a:cubicBezTo>
                  <a:pt x="575" y="392"/>
                  <a:pt x="575" y="391"/>
                  <a:pt x="575" y="391"/>
                </a:cubicBezTo>
                <a:cubicBezTo>
                  <a:pt x="575" y="392"/>
                  <a:pt x="575" y="392"/>
                  <a:pt x="576" y="392"/>
                </a:cubicBezTo>
                <a:cubicBezTo>
                  <a:pt x="576" y="392"/>
                  <a:pt x="577" y="392"/>
                  <a:pt x="577" y="392"/>
                </a:cubicBezTo>
                <a:cubicBezTo>
                  <a:pt x="577" y="392"/>
                  <a:pt x="577" y="392"/>
                  <a:pt x="577" y="392"/>
                </a:cubicBezTo>
                <a:cubicBezTo>
                  <a:pt x="578" y="392"/>
                  <a:pt x="578" y="392"/>
                  <a:pt x="579" y="391"/>
                </a:cubicBezTo>
                <a:cubicBezTo>
                  <a:pt x="579" y="391"/>
                  <a:pt x="579" y="391"/>
                  <a:pt x="579" y="391"/>
                </a:cubicBezTo>
                <a:cubicBezTo>
                  <a:pt x="579" y="391"/>
                  <a:pt x="579" y="391"/>
                  <a:pt x="579" y="391"/>
                </a:cubicBezTo>
                <a:cubicBezTo>
                  <a:pt x="579" y="391"/>
                  <a:pt x="579" y="391"/>
                  <a:pt x="579" y="391"/>
                </a:cubicBezTo>
                <a:cubicBezTo>
                  <a:pt x="579" y="391"/>
                  <a:pt x="579" y="391"/>
                  <a:pt x="579" y="391"/>
                </a:cubicBezTo>
                <a:cubicBezTo>
                  <a:pt x="579" y="391"/>
                  <a:pt x="579" y="391"/>
                  <a:pt x="579" y="391"/>
                </a:cubicBezTo>
                <a:cubicBezTo>
                  <a:pt x="579" y="391"/>
                  <a:pt x="579" y="391"/>
                  <a:pt x="579" y="391"/>
                </a:cubicBezTo>
                <a:cubicBezTo>
                  <a:pt x="579" y="391"/>
                  <a:pt x="579" y="391"/>
                  <a:pt x="579" y="391"/>
                </a:cubicBezTo>
                <a:cubicBezTo>
                  <a:pt x="579" y="391"/>
                  <a:pt x="579" y="391"/>
                  <a:pt x="579" y="391"/>
                </a:cubicBezTo>
                <a:cubicBezTo>
                  <a:pt x="579" y="391"/>
                  <a:pt x="579" y="391"/>
                  <a:pt x="579" y="391"/>
                </a:cubicBezTo>
                <a:cubicBezTo>
                  <a:pt x="579" y="391"/>
                  <a:pt x="579" y="391"/>
                  <a:pt x="579" y="391"/>
                </a:cubicBezTo>
                <a:cubicBezTo>
                  <a:pt x="580" y="391"/>
                  <a:pt x="580" y="391"/>
                  <a:pt x="580" y="391"/>
                </a:cubicBezTo>
                <a:cubicBezTo>
                  <a:pt x="580" y="392"/>
                  <a:pt x="580" y="392"/>
                  <a:pt x="580" y="392"/>
                </a:cubicBezTo>
                <a:cubicBezTo>
                  <a:pt x="580" y="392"/>
                  <a:pt x="580" y="392"/>
                  <a:pt x="580" y="392"/>
                </a:cubicBezTo>
                <a:cubicBezTo>
                  <a:pt x="580" y="393"/>
                  <a:pt x="580" y="393"/>
                  <a:pt x="580" y="393"/>
                </a:cubicBezTo>
                <a:cubicBezTo>
                  <a:pt x="580" y="393"/>
                  <a:pt x="580" y="393"/>
                  <a:pt x="580" y="393"/>
                </a:cubicBezTo>
                <a:cubicBezTo>
                  <a:pt x="580" y="393"/>
                  <a:pt x="580" y="393"/>
                  <a:pt x="580" y="393"/>
                </a:cubicBezTo>
                <a:cubicBezTo>
                  <a:pt x="580" y="393"/>
                  <a:pt x="580" y="393"/>
                  <a:pt x="580" y="393"/>
                </a:cubicBezTo>
                <a:cubicBezTo>
                  <a:pt x="580" y="393"/>
                  <a:pt x="580" y="393"/>
                  <a:pt x="580" y="393"/>
                </a:cubicBezTo>
                <a:cubicBezTo>
                  <a:pt x="580" y="393"/>
                  <a:pt x="580" y="394"/>
                  <a:pt x="580" y="394"/>
                </a:cubicBezTo>
                <a:cubicBezTo>
                  <a:pt x="580" y="394"/>
                  <a:pt x="580" y="394"/>
                  <a:pt x="580" y="394"/>
                </a:cubicBezTo>
                <a:cubicBezTo>
                  <a:pt x="580" y="394"/>
                  <a:pt x="580" y="394"/>
                  <a:pt x="580" y="394"/>
                </a:cubicBezTo>
                <a:cubicBezTo>
                  <a:pt x="580" y="394"/>
                  <a:pt x="580" y="394"/>
                  <a:pt x="580" y="394"/>
                </a:cubicBezTo>
                <a:cubicBezTo>
                  <a:pt x="580" y="394"/>
                  <a:pt x="580" y="394"/>
                  <a:pt x="580" y="394"/>
                </a:cubicBezTo>
                <a:cubicBezTo>
                  <a:pt x="580" y="394"/>
                  <a:pt x="580" y="394"/>
                  <a:pt x="580" y="394"/>
                </a:cubicBezTo>
                <a:cubicBezTo>
                  <a:pt x="580" y="394"/>
                  <a:pt x="580" y="394"/>
                  <a:pt x="580" y="394"/>
                </a:cubicBezTo>
                <a:cubicBezTo>
                  <a:pt x="580" y="394"/>
                  <a:pt x="580" y="394"/>
                  <a:pt x="580" y="394"/>
                </a:cubicBezTo>
                <a:cubicBezTo>
                  <a:pt x="581" y="394"/>
                  <a:pt x="581" y="394"/>
                  <a:pt x="581" y="394"/>
                </a:cubicBezTo>
                <a:cubicBezTo>
                  <a:pt x="582" y="395"/>
                  <a:pt x="582" y="395"/>
                  <a:pt x="582" y="395"/>
                </a:cubicBezTo>
                <a:cubicBezTo>
                  <a:pt x="586" y="395"/>
                  <a:pt x="586" y="395"/>
                  <a:pt x="586" y="395"/>
                </a:cubicBezTo>
                <a:cubicBezTo>
                  <a:pt x="587" y="395"/>
                  <a:pt x="587" y="395"/>
                  <a:pt x="587" y="395"/>
                </a:cubicBezTo>
                <a:cubicBezTo>
                  <a:pt x="588" y="396"/>
                  <a:pt x="588" y="396"/>
                  <a:pt x="588" y="396"/>
                </a:cubicBezTo>
                <a:cubicBezTo>
                  <a:pt x="588" y="396"/>
                  <a:pt x="588" y="396"/>
                  <a:pt x="588" y="396"/>
                </a:cubicBezTo>
                <a:cubicBezTo>
                  <a:pt x="588" y="396"/>
                  <a:pt x="588" y="396"/>
                  <a:pt x="588" y="396"/>
                </a:cubicBezTo>
                <a:cubicBezTo>
                  <a:pt x="588" y="396"/>
                  <a:pt x="588" y="396"/>
                  <a:pt x="588" y="396"/>
                </a:cubicBezTo>
                <a:cubicBezTo>
                  <a:pt x="588" y="396"/>
                  <a:pt x="589" y="396"/>
                  <a:pt x="589" y="396"/>
                </a:cubicBezTo>
                <a:cubicBezTo>
                  <a:pt x="589" y="396"/>
                  <a:pt x="589" y="396"/>
                  <a:pt x="589" y="396"/>
                </a:cubicBezTo>
                <a:cubicBezTo>
                  <a:pt x="589" y="396"/>
                  <a:pt x="589" y="396"/>
                  <a:pt x="589" y="396"/>
                </a:cubicBezTo>
                <a:cubicBezTo>
                  <a:pt x="590" y="396"/>
                  <a:pt x="590" y="396"/>
                  <a:pt x="591" y="396"/>
                </a:cubicBezTo>
                <a:cubicBezTo>
                  <a:pt x="591" y="396"/>
                  <a:pt x="591" y="396"/>
                  <a:pt x="591" y="396"/>
                </a:cubicBezTo>
                <a:cubicBezTo>
                  <a:pt x="591" y="396"/>
                  <a:pt x="591" y="396"/>
                  <a:pt x="591" y="396"/>
                </a:cubicBezTo>
                <a:cubicBezTo>
                  <a:pt x="591" y="396"/>
                  <a:pt x="591" y="396"/>
                  <a:pt x="591" y="396"/>
                </a:cubicBezTo>
                <a:cubicBezTo>
                  <a:pt x="591" y="396"/>
                  <a:pt x="591" y="396"/>
                  <a:pt x="591" y="396"/>
                </a:cubicBezTo>
                <a:cubicBezTo>
                  <a:pt x="591" y="396"/>
                  <a:pt x="591" y="396"/>
                  <a:pt x="591" y="396"/>
                </a:cubicBezTo>
                <a:cubicBezTo>
                  <a:pt x="592" y="396"/>
                  <a:pt x="592" y="396"/>
                  <a:pt x="592" y="396"/>
                </a:cubicBezTo>
                <a:cubicBezTo>
                  <a:pt x="592" y="396"/>
                  <a:pt x="592" y="396"/>
                  <a:pt x="592" y="396"/>
                </a:cubicBezTo>
                <a:cubicBezTo>
                  <a:pt x="592" y="396"/>
                  <a:pt x="592" y="396"/>
                  <a:pt x="592" y="396"/>
                </a:cubicBezTo>
                <a:cubicBezTo>
                  <a:pt x="592" y="396"/>
                  <a:pt x="592" y="396"/>
                  <a:pt x="592" y="396"/>
                </a:cubicBezTo>
                <a:cubicBezTo>
                  <a:pt x="592" y="396"/>
                  <a:pt x="592" y="396"/>
                  <a:pt x="592" y="396"/>
                </a:cubicBezTo>
                <a:cubicBezTo>
                  <a:pt x="593" y="396"/>
                  <a:pt x="593" y="396"/>
                  <a:pt x="593" y="396"/>
                </a:cubicBezTo>
                <a:cubicBezTo>
                  <a:pt x="593" y="396"/>
                  <a:pt x="593" y="396"/>
                  <a:pt x="593" y="396"/>
                </a:cubicBezTo>
                <a:cubicBezTo>
                  <a:pt x="593" y="396"/>
                  <a:pt x="593" y="396"/>
                  <a:pt x="593" y="396"/>
                </a:cubicBezTo>
                <a:cubicBezTo>
                  <a:pt x="593" y="396"/>
                  <a:pt x="593" y="396"/>
                  <a:pt x="593" y="396"/>
                </a:cubicBezTo>
                <a:cubicBezTo>
                  <a:pt x="594" y="396"/>
                  <a:pt x="594" y="396"/>
                  <a:pt x="594" y="396"/>
                </a:cubicBezTo>
                <a:cubicBezTo>
                  <a:pt x="594" y="396"/>
                  <a:pt x="594" y="396"/>
                  <a:pt x="594" y="396"/>
                </a:cubicBezTo>
                <a:cubicBezTo>
                  <a:pt x="594" y="396"/>
                  <a:pt x="594" y="396"/>
                  <a:pt x="594" y="396"/>
                </a:cubicBezTo>
                <a:cubicBezTo>
                  <a:pt x="594" y="396"/>
                  <a:pt x="594" y="396"/>
                  <a:pt x="594" y="396"/>
                </a:cubicBezTo>
                <a:cubicBezTo>
                  <a:pt x="594" y="396"/>
                  <a:pt x="594" y="396"/>
                  <a:pt x="594" y="396"/>
                </a:cubicBezTo>
                <a:cubicBezTo>
                  <a:pt x="595" y="396"/>
                  <a:pt x="595" y="396"/>
                  <a:pt x="595" y="396"/>
                </a:cubicBezTo>
                <a:cubicBezTo>
                  <a:pt x="595" y="396"/>
                  <a:pt x="595" y="396"/>
                  <a:pt x="595" y="396"/>
                </a:cubicBezTo>
                <a:cubicBezTo>
                  <a:pt x="595" y="396"/>
                  <a:pt x="595" y="396"/>
                  <a:pt x="595" y="396"/>
                </a:cubicBezTo>
                <a:cubicBezTo>
                  <a:pt x="595" y="396"/>
                  <a:pt x="595" y="396"/>
                  <a:pt x="595" y="396"/>
                </a:cubicBezTo>
                <a:cubicBezTo>
                  <a:pt x="595" y="396"/>
                  <a:pt x="595" y="396"/>
                  <a:pt x="595" y="396"/>
                </a:cubicBezTo>
                <a:cubicBezTo>
                  <a:pt x="595" y="396"/>
                  <a:pt x="595" y="396"/>
                  <a:pt x="595" y="396"/>
                </a:cubicBezTo>
                <a:cubicBezTo>
                  <a:pt x="595" y="396"/>
                  <a:pt x="595" y="396"/>
                  <a:pt x="595" y="396"/>
                </a:cubicBezTo>
                <a:cubicBezTo>
                  <a:pt x="596" y="396"/>
                  <a:pt x="596" y="396"/>
                  <a:pt x="596" y="396"/>
                </a:cubicBezTo>
                <a:cubicBezTo>
                  <a:pt x="596" y="396"/>
                  <a:pt x="596" y="396"/>
                  <a:pt x="596" y="396"/>
                </a:cubicBezTo>
                <a:cubicBezTo>
                  <a:pt x="596" y="396"/>
                  <a:pt x="596" y="396"/>
                  <a:pt x="596" y="396"/>
                </a:cubicBezTo>
                <a:cubicBezTo>
                  <a:pt x="596" y="396"/>
                  <a:pt x="596" y="396"/>
                  <a:pt x="596" y="396"/>
                </a:cubicBezTo>
                <a:cubicBezTo>
                  <a:pt x="596" y="396"/>
                  <a:pt x="596" y="396"/>
                  <a:pt x="596" y="396"/>
                </a:cubicBezTo>
                <a:cubicBezTo>
                  <a:pt x="596" y="396"/>
                  <a:pt x="596" y="396"/>
                  <a:pt x="596" y="396"/>
                </a:cubicBezTo>
                <a:cubicBezTo>
                  <a:pt x="597" y="396"/>
                  <a:pt x="597" y="396"/>
                  <a:pt x="597" y="396"/>
                </a:cubicBezTo>
                <a:cubicBezTo>
                  <a:pt x="597" y="396"/>
                  <a:pt x="597" y="396"/>
                  <a:pt x="597" y="396"/>
                </a:cubicBezTo>
                <a:cubicBezTo>
                  <a:pt x="597" y="396"/>
                  <a:pt x="597" y="396"/>
                  <a:pt x="597" y="396"/>
                </a:cubicBezTo>
                <a:cubicBezTo>
                  <a:pt x="597" y="396"/>
                  <a:pt x="597" y="396"/>
                  <a:pt x="598" y="396"/>
                </a:cubicBezTo>
                <a:cubicBezTo>
                  <a:pt x="598" y="396"/>
                  <a:pt x="598" y="396"/>
                  <a:pt x="598" y="396"/>
                </a:cubicBezTo>
                <a:cubicBezTo>
                  <a:pt x="599" y="396"/>
                  <a:pt x="600" y="397"/>
                  <a:pt x="601" y="397"/>
                </a:cubicBezTo>
                <a:cubicBezTo>
                  <a:pt x="602" y="397"/>
                  <a:pt x="602" y="397"/>
                  <a:pt x="602" y="397"/>
                </a:cubicBezTo>
                <a:cubicBezTo>
                  <a:pt x="602" y="397"/>
                  <a:pt x="602" y="397"/>
                  <a:pt x="602" y="397"/>
                </a:cubicBezTo>
                <a:cubicBezTo>
                  <a:pt x="602" y="397"/>
                  <a:pt x="602" y="397"/>
                  <a:pt x="602" y="397"/>
                </a:cubicBezTo>
                <a:cubicBezTo>
                  <a:pt x="602" y="397"/>
                  <a:pt x="602" y="397"/>
                  <a:pt x="602" y="397"/>
                </a:cubicBezTo>
                <a:cubicBezTo>
                  <a:pt x="602" y="397"/>
                  <a:pt x="602" y="397"/>
                  <a:pt x="603" y="397"/>
                </a:cubicBezTo>
                <a:cubicBezTo>
                  <a:pt x="603" y="397"/>
                  <a:pt x="603" y="397"/>
                  <a:pt x="603" y="397"/>
                </a:cubicBezTo>
                <a:cubicBezTo>
                  <a:pt x="603" y="397"/>
                  <a:pt x="603" y="397"/>
                  <a:pt x="603" y="397"/>
                </a:cubicBezTo>
                <a:cubicBezTo>
                  <a:pt x="603" y="397"/>
                  <a:pt x="603" y="397"/>
                  <a:pt x="603" y="397"/>
                </a:cubicBezTo>
                <a:cubicBezTo>
                  <a:pt x="603" y="397"/>
                  <a:pt x="602" y="398"/>
                  <a:pt x="602" y="398"/>
                </a:cubicBezTo>
                <a:cubicBezTo>
                  <a:pt x="602" y="398"/>
                  <a:pt x="602" y="398"/>
                  <a:pt x="602" y="398"/>
                </a:cubicBezTo>
                <a:cubicBezTo>
                  <a:pt x="602" y="398"/>
                  <a:pt x="603" y="397"/>
                  <a:pt x="603" y="397"/>
                </a:cubicBezTo>
                <a:cubicBezTo>
                  <a:pt x="604" y="397"/>
                  <a:pt x="604" y="397"/>
                  <a:pt x="604" y="397"/>
                </a:cubicBezTo>
                <a:cubicBezTo>
                  <a:pt x="604" y="397"/>
                  <a:pt x="604" y="397"/>
                  <a:pt x="604" y="397"/>
                </a:cubicBezTo>
                <a:cubicBezTo>
                  <a:pt x="604" y="397"/>
                  <a:pt x="604" y="397"/>
                  <a:pt x="604" y="397"/>
                </a:cubicBezTo>
                <a:cubicBezTo>
                  <a:pt x="604" y="397"/>
                  <a:pt x="604" y="397"/>
                  <a:pt x="604" y="397"/>
                </a:cubicBezTo>
                <a:cubicBezTo>
                  <a:pt x="604" y="397"/>
                  <a:pt x="604" y="397"/>
                  <a:pt x="604" y="397"/>
                </a:cubicBezTo>
                <a:cubicBezTo>
                  <a:pt x="604" y="397"/>
                  <a:pt x="604" y="397"/>
                  <a:pt x="604" y="397"/>
                </a:cubicBezTo>
                <a:cubicBezTo>
                  <a:pt x="604" y="397"/>
                  <a:pt x="604" y="397"/>
                  <a:pt x="604" y="397"/>
                </a:cubicBezTo>
                <a:cubicBezTo>
                  <a:pt x="604" y="397"/>
                  <a:pt x="604" y="397"/>
                  <a:pt x="604" y="397"/>
                </a:cubicBezTo>
                <a:cubicBezTo>
                  <a:pt x="604" y="398"/>
                  <a:pt x="604" y="398"/>
                  <a:pt x="604" y="398"/>
                </a:cubicBezTo>
                <a:cubicBezTo>
                  <a:pt x="604" y="398"/>
                  <a:pt x="604" y="398"/>
                  <a:pt x="604" y="398"/>
                </a:cubicBezTo>
                <a:cubicBezTo>
                  <a:pt x="605" y="398"/>
                  <a:pt x="605" y="398"/>
                  <a:pt x="605" y="398"/>
                </a:cubicBezTo>
                <a:cubicBezTo>
                  <a:pt x="605" y="397"/>
                  <a:pt x="605" y="397"/>
                  <a:pt x="605" y="397"/>
                </a:cubicBezTo>
                <a:cubicBezTo>
                  <a:pt x="605" y="397"/>
                  <a:pt x="605" y="397"/>
                  <a:pt x="605" y="397"/>
                </a:cubicBezTo>
                <a:cubicBezTo>
                  <a:pt x="605" y="397"/>
                  <a:pt x="605" y="397"/>
                  <a:pt x="605" y="397"/>
                </a:cubicBezTo>
                <a:cubicBezTo>
                  <a:pt x="605" y="397"/>
                  <a:pt x="605" y="397"/>
                  <a:pt x="605" y="397"/>
                </a:cubicBezTo>
                <a:cubicBezTo>
                  <a:pt x="605" y="398"/>
                  <a:pt x="605" y="398"/>
                  <a:pt x="605" y="398"/>
                </a:cubicBezTo>
                <a:cubicBezTo>
                  <a:pt x="605" y="398"/>
                  <a:pt x="605" y="398"/>
                  <a:pt x="605" y="398"/>
                </a:cubicBezTo>
                <a:cubicBezTo>
                  <a:pt x="605" y="398"/>
                  <a:pt x="605" y="398"/>
                  <a:pt x="605" y="398"/>
                </a:cubicBezTo>
                <a:cubicBezTo>
                  <a:pt x="605" y="398"/>
                  <a:pt x="605" y="398"/>
                  <a:pt x="605" y="398"/>
                </a:cubicBezTo>
                <a:cubicBezTo>
                  <a:pt x="604" y="398"/>
                  <a:pt x="604" y="398"/>
                  <a:pt x="604" y="398"/>
                </a:cubicBezTo>
                <a:cubicBezTo>
                  <a:pt x="604" y="398"/>
                  <a:pt x="604" y="398"/>
                  <a:pt x="604" y="398"/>
                </a:cubicBezTo>
                <a:cubicBezTo>
                  <a:pt x="605" y="398"/>
                  <a:pt x="605" y="398"/>
                  <a:pt x="605" y="398"/>
                </a:cubicBezTo>
                <a:cubicBezTo>
                  <a:pt x="605" y="398"/>
                  <a:pt x="605" y="398"/>
                  <a:pt x="605" y="398"/>
                </a:cubicBezTo>
                <a:cubicBezTo>
                  <a:pt x="606" y="398"/>
                  <a:pt x="606" y="398"/>
                  <a:pt x="606" y="398"/>
                </a:cubicBezTo>
                <a:cubicBezTo>
                  <a:pt x="606" y="398"/>
                  <a:pt x="606" y="398"/>
                  <a:pt x="606" y="398"/>
                </a:cubicBezTo>
                <a:cubicBezTo>
                  <a:pt x="606" y="398"/>
                  <a:pt x="606" y="398"/>
                  <a:pt x="606" y="398"/>
                </a:cubicBezTo>
                <a:cubicBezTo>
                  <a:pt x="606" y="398"/>
                  <a:pt x="606" y="398"/>
                  <a:pt x="606" y="398"/>
                </a:cubicBezTo>
                <a:cubicBezTo>
                  <a:pt x="606" y="398"/>
                  <a:pt x="605" y="399"/>
                  <a:pt x="605" y="399"/>
                </a:cubicBezTo>
                <a:cubicBezTo>
                  <a:pt x="605" y="399"/>
                  <a:pt x="605" y="399"/>
                  <a:pt x="605" y="399"/>
                </a:cubicBezTo>
                <a:cubicBezTo>
                  <a:pt x="605" y="399"/>
                  <a:pt x="605" y="399"/>
                  <a:pt x="605" y="399"/>
                </a:cubicBezTo>
                <a:cubicBezTo>
                  <a:pt x="605" y="399"/>
                  <a:pt x="605" y="399"/>
                  <a:pt x="605" y="399"/>
                </a:cubicBezTo>
                <a:cubicBezTo>
                  <a:pt x="606" y="399"/>
                  <a:pt x="606" y="399"/>
                  <a:pt x="606" y="399"/>
                </a:cubicBezTo>
                <a:cubicBezTo>
                  <a:pt x="606" y="398"/>
                  <a:pt x="606" y="398"/>
                  <a:pt x="606" y="398"/>
                </a:cubicBezTo>
                <a:cubicBezTo>
                  <a:pt x="606" y="398"/>
                  <a:pt x="606" y="398"/>
                  <a:pt x="606" y="398"/>
                </a:cubicBezTo>
                <a:cubicBezTo>
                  <a:pt x="606" y="398"/>
                  <a:pt x="606" y="398"/>
                  <a:pt x="606" y="398"/>
                </a:cubicBezTo>
                <a:cubicBezTo>
                  <a:pt x="606" y="398"/>
                  <a:pt x="606" y="398"/>
                  <a:pt x="606" y="398"/>
                </a:cubicBezTo>
                <a:cubicBezTo>
                  <a:pt x="606" y="398"/>
                  <a:pt x="606" y="398"/>
                  <a:pt x="606" y="398"/>
                </a:cubicBezTo>
                <a:cubicBezTo>
                  <a:pt x="606" y="398"/>
                  <a:pt x="606" y="398"/>
                  <a:pt x="606" y="398"/>
                </a:cubicBezTo>
                <a:cubicBezTo>
                  <a:pt x="606" y="398"/>
                  <a:pt x="606" y="398"/>
                  <a:pt x="606" y="398"/>
                </a:cubicBezTo>
                <a:cubicBezTo>
                  <a:pt x="606" y="398"/>
                  <a:pt x="606" y="398"/>
                  <a:pt x="606" y="398"/>
                </a:cubicBezTo>
                <a:cubicBezTo>
                  <a:pt x="606" y="398"/>
                  <a:pt x="606" y="398"/>
                  <a:pt x="606" y="398"/>
                </a:cubicBezTo>
                <a:cubicBezTo>
                  <a:pt x="607" y="398"/>
                  <a:pt x="607" y="398"/>
                  <a:pt x="607" y="398"/>
                </a:cubicBezTo>
                <a:cubicBezTo>
                  <a:pt x="607" y="398"/>
                  <a:pt x="607" y="398"/>
                  <a:pt x="607" y="398"/>
                </a:cubicBezTo>
                <a:cubicBezTo>
                  <a:pt x="607" y="398"/>
                  <a:pt x="607" y="398"/>
                  <a:pt x="607" y="398"/>
                </a:cubicBezTo>
                <a:cubicBezTo>
                  <a:pt x="607" y="399"/>
                  <a:pt x="608" y="399"/>
                  <a:pt x="608" y="399"/>
                </a:cubicBezTo>
                <a:cubicBezTo>
                  <a:pt x="608" y="399"/>
                  <a:pt x="608" y="399"/>
                  <a:pt x="608" y="399"/>
                </a:cubicBezTo>
                <a:cubicBezTo>
                  <a:pt x="608" y="399"/>
                  <a:pt x="608" y="399"/>
                  <a:pt x="608" y="399"/>
                </a:cubicBezTo>
                <a:cubicBezTo>
                  <a:pt x="609" y="399"/>
                  <a:pt x="609" y="399"/>
                  <a:pt x="609" y="399"/>
                </a:cubicBezTo>
                <a:cubicBezTo>
                  <a:pt x="609" y="399"/>
                  <a:pt x="609" y="399"/>
                  <a:pt x="609" y="399"/>
                </a:cubicBezTo>
                <a:cubicBezTo>
                  <a:pt x="609" y="399"/>
                  <a:pt x="609" y="399"/>
                  <a:pt x="609" y="399"/>
                </a:cubicBezTo>
                <a:cubicBezTo>
                  <a:pt x="609" y="399"/>
                  <a:pt x="609" y="399"/>
                  <a:pt x="609" y="399"/>
                </a:cubicBezTo>
                <a:cubicBezTo>
                  <a:pt x="610" y="399"/>
                  <a:pt x="610" y="399"/>
                  <a:pt x="610" y="399"/>
                </a:cubicBezTo>
                <a:cubicBezTo>
                  <a:pt x="610" y="399"/>
                  <a:pt x="610" y="399"/>
                  <a:pt x="610" y="399"/>
                </a:cubicBezTo>
                <a:cubicBezTo>
                  <a:pt x="610" y="399"/>
                  <a:pt x="610" y="399"/>
                  <a:pt x="610" y="399"/>
                </a:cubicBezTo>
                <a:cubicBezTo>
                  <a:pt x="610" y="399"/>
                  <a:pt x="610" y="399"/>
                  <a:pt x="610" y="399"/>
                </a:cubicBezTo>
                <a:cubicBezTo>
                  <a:pt x="610" y="399"/>
                  <a:pt x="610" y="399"/>
                  <a:pt x="610" y="399"/>
                </a:cubicBezTo>
                <a:cubicBezTo>
                  <a:pt x="610" y="399"/>
                  <a:pt x="610" y="399"/>
                  <a:pt x="610" y="399"/>
                </a:cubicBezTo>
                <a:cubicBezTo>
                  <a:pt x="610" y="399"/>
                  <a:pt x="610" y="399"/>
                  <a:pt x="610" y="399"/>
                </a:cubicBezTo>
                <a:cubicBezTo>
                  <a:pt x="610" y="398"/>
                  <a:pt x="610" y="398"/>
                  <a:pt x="610" y="398"/>
                </a:cubicBezTo>
                <a:cubicBezTo>
                  <a:pt x="610" y="398"/>
                  <a:pt x="610" y="398"/>
                  <a:pt x="610" y="398"/>
                </a:cubicBezTo>
                <a:cubicBezTo>
                  <a:pt x="610" y="398"/>
                  <a:pt x="610" y="398"/>
                  <a:pt x="610" y="398"/>
                </a:cubicBezTo>
                <a:cubicBezTo>
                  <a:pt x="610" y="398"/>
                  <a:pt x="610" y="398"/>
                  <a:pt x="610" y="398"/>
                </a:cubicBezTo>
                <a:cubicBezTo>
                  <a:pt x="610" y="398"/>
                  <a:pt x="610" y="398"/>
                  <a:pt x="610" y="398"/>
                </a:cubicBezTo>
                <a:cubicBezTo>
                  <a:pt x="610" y="398"/>
                  <a:pt x="610" y="398"/>
                  <a:pt x="610" y="398"/>
                </a:cubicBezTo>
                <a:cubicBezTo>
                  <a:pt x="610" y="398"/>
                  <a:pt x="610" y="398"/>
                  <a:pt x="610" y="398"/>
                </a:cubicBezTo>
                <a:cubicBezTo>
                  <a:pt x="610" y="398"/>
                  <a:pt x="610" y="398"/>
                  <a:pt x="610" y="398"/>
                </a:cubicBezTo>
                <a:cubicBezTo>
                  <a:pt x="610" y="398"/>
                  <a:pt x="610" y="398"/>
                  <a:pt x="610" y="398"/>
                </a:cubicBezTo>
                <a:cubicBezTo>
                  <a:pt x="610" y="398"/>
                  <a:pt x="610" y="398"/>
                  <a:pt x="610" y="398"/>
                </a:cubicBezTo>
                <a:cubicBezTo>
                  <a:pt x="610" y="398"/>
                  <a:pt x="610" y="398"/>
                  <a:pt x="610" y="398"/>
                </a:cubicBezTo>
                <a:cubicBezTo>
                  <a:pt x="611" y="398"/>
                  <a:pt x="611" y="398"/>
                  <a:pt x="611" y="398"/>
                </a:cubicBezTo>
                <a:cubicBezTo>
                  <a:pt x="612" y="399"/>
                  <a:pt x="612" y="399"/>
                  <a:pt x="612" y="399"/>
                </a:cubicBezTo>
                <a:cubicBezTo>
                  <a:pt x="612" y="399"/>
                  <a:pt x="612" y="399"/>
                  <a:pt x="612" y="399"/>
                </a:cubicBezTo>
                <a:cubicBezTo>
                  <a:pt x="613" y="399"/>
                  <a:pt x="613" y="399"/>
                  <a:pt x="613" y="399"/>
                </a:cubicBezTo>
                <a:cubicBezTo>
                  <a:pt x="613" y="399"/>
                  <a:pt x="613" y="399"/>
                  <a:pt x="613" y="399"/>
                </a:cubicBezTo>
                <a:cubicBezTo>
                  <a:pt x="613" y="399"/>
                  <a:pt x="613" y="399"/>
                  <a:pt x="613" y="399"/>
                </a:cubicBezTo>
                <a:cubicBezTo>
                  <a:pt x="613" y="399"/>
                  <a:pt x="613" y="399"/>
                  <a:pt x="613" y="399"/>
                </a:cubicBezTo>
                <a:cubicBezTo>
                  <a:pt x="613" y="399"/>
                  <a:pt x="613" y="399"/>
                  <a:pt x="613" y="399"/>
                </a:cubicBezTo>
                <a:cubicBezTo>
                  <a:pt x="614" y="400"/>
                  <a:pt x="614" y="400"/>
                  <a:pt x="614" y="400"/>
                </a:cubicBezTo>
                <a:cubicBezTo>
                  <a:pt x="615" y="401"/>
                  <a:pt x="615" y="401"/>
                  <a:pt x="615" y="401"/>
                </a:cubicBezTo>
                <a:cubicBezTo>
                  <a:pt x="619" y="404"/>
                  <a:pt x="619" y="404"/>
                  <a:pt x="619" y="404"/>
                </a:cubicBezTo>
                <a:cubicBezTo>
                  <a:pt x="620" y="405"/>
                  <a:pt x="620" y="405"/>
                  <a:pt x="620" y="405"/>
                </a:cubicBezTo>
                <a:cubicBezTo>
                  <a:pt x="621" y="406"/>
                  <a:pt x="621" y="406"/>
                  <a:pt x="621" y="406"/>
                </a:cubicBezTo>
                <a:cubicBezTo>
                  <a:pt x="621" y="406"/>
                  <a:pt x="621" y="406"/>
                  <a:pt x="621" y="406"/>
                </a:cubicBezTo>
                <a:cubicBezTo>
                  <a:pt x="621" y="406"/>
                  <a:pt x="621" y="406"/>
                  <a:pt x="621" y="406"/>
                </a:cubicBezTo>
                <a:cubicBezTo>
                  <a:pt x="621" y="406"/>
                  <a:pt x="621" y="406"/>
                  <a:pt x="621" y="406"/>
                </a:cubicBezTo>
                <a:cubicBezTo>
                  <a:pt x="621" y="406"/>
                  <a:pt x="621" y="406"/>
                  <a:pt x="621" y="406"/>
                </a:cubicBezTo>
                <a:cubicBezTo>
                  <a:pt x="621" y="407"/>
                  <a:pt x="621" y="407"/>
                  <a:pt x="621" y="407"/>
                </a:cubicBezTo>
                <a:cubicBezTo>
                  <a:pt x="621" y="408"/>
                  <a:pt x="621" y="408"/>
                  <a:pt x="621" y="408"/>
                </a:cubicBezTo>
                <a:cubicBezTo>
                  <a:pt x="621" y="408"/>
                  <a:pt x="621" y="408"/>
                  <a:pt x="621" y="408"/>
                </a:cubicBezTo>
                <a:cubicBezTo>
                  <a:pt x="622" y="409"/>
                  <a:pt x="622" y="409"/>
                  <a:pt x="622" y="409"/>
                </a:cubicBezTo>
                <a:cubicBezTo>
                  <a:pt x="622" y="410"/>
                  <a:pt x="622" y="410"/>
                  <a:pt x="622" y="410"/>
                </a:cubicBezTo>
                <a:cubicBezTo>
                  <a:pt x="622" y="411"/>
                  <a:pt x="622" y="411"/>
                  <a:pt x="622" y="411"/>
                </a:cubicBezTo>
                <a:cubicBezTo>
                  <a:pt x="624" y="413"/>
                  <a:pt x="624" y="413"/>
                  <a:pt x="624" y="413"/>
                </a:cubicBezTo>
                <a:cubicBezTo>
                  <a:pt x="625" y="414"/>
                  <a:pt x="625" y="414"/>
                  <a:pt x="625" y="414"/>
                </a:cubicBezTo>
                <a:cubicBezTo>
                  <a:pt x="625" y="414"/>
                  <a:pt x="625" y="414"/>
                  <a:pt x="625" y="414"/>
                </a:cubicBezTo>
                <a:cubicBezTo>
                  <a:pt x="625" y="414"/>
                  <a:pt x="625" y="414"/>
                  <a:pt x="625" y="414"/>
                </a:cubicBezTo>
                <a:cubicBezTo>
                  <a:pt x="625" y="414"/>
                  <a:pt x="625" y="414"/>
                  <a:pt x="625" y="414"/>
                </a:cubicBezTo>
                <a:cubicBezTo>
                  <a:pt x="625" y="414"/>
                  <a:pt x="625" y="414"/>
                  <a:pt x="625" y="414"/>
                </a:cubicBezTo>
                <a:cubicBezTo>
                  <a:pt x="625" y="414"/>
                  <a:pt x="624" y="414"/>
                  <a:pt x="624" y="414"/>
                </a:cubicBezTo>
                <a:cubicBezTo>
                  <a:pt x="624" y="414"/>
                  <a:pt x="624" y="414"/>
                  <a:pt x="624" y="414"/>
                </a:cubicBezTo>
                <a:cubicBezTo>
                  <a:pt x="624" y="414"/>
                  <a:pt x="624" y="414"/>
                  <a:pt x="624" y="414"/>
                </a:cubicBezTo>
                <a:cubicBezTo>
                  <a:pt x="624" y="414"/>
                  <a:pt x="624" y="414"/>
                  <a:pt x="624" y="414"/>
                </a:cubicBezTo>
                <a:cubicBezTo>
                  <a:pt x="624" y="414"/>
                  <a:pt x="624" y="414"/>
                  <a:pt x="624" y="414"/>
                </a:cubicBezTo>
                <a:cubicBezTo>
                  <a:pt x="624" y="414"/>
                  <a:pt x="624" y="414"/>
                  <a:pt x="624" y="414"/>
                </a:cubicBezTo>
                <a:cubicBezTo>
                  <a:pt x="624" y="414"/>
                  <a:pt x="624" y="414"/>
                  <a:pt x="624" y="414"/>
                </a:cubicBezTo>
                <a:cubicBezTo>
                  <a:pt x="624" y="414"/>
                  <a:pt x="624" y="414"/>
                  <a:pt x="624" y="414"/>
                </a:cubicBezTo>
                <a:cubicBezTo>
                  <a:pt x="624" y="414"/>
                  <a:pt x="624" y="414"/>
                  <a:pt x="624" y="414"/>
                </a:cubicBezTo>
                <a:cubicBezTo>
                  <a:pt x="624" y="414"/>
                  <a:pt x="624" y="414"/>
                  <a:pt x="624" y="414"/>
                </a:cubicBezTo>
                <a:cubicBezTo>
                  <a:pt x="624" y="414"/>
                  <a:pt x="624" y="414"/>
                  <a:pt x="624" y="414"/>
                </a:cubicBezTo>
                <a:cubicBezTo>
                  <a:pt x="624" y="414"/>
                  <a:pt x="624" y="414"/>
                  <a:pt x="624" y="414"/>
                </a:cubicBezTo>
                <a:cubicBezTo>
                  <a:pt x="624" y="414"/>
                  <a:pt x="624" y="414"/>
                  <a:pt x="624" y="414"/>
                </a:cubicBezTo>
                <a:cubicBezTo>
                  <a:pt x="623" y="414"/>
                  <a:pt x="623" y="414"/>
                  <a:pt x="623" y="414"/>
                </a:cubicBezTo>
                <a:cubicBezTo>
                  <a:pt x="623" y="414"/>
                  <a:pt x="623" y="414"/>
                  <a:pt x="623" y="414"/>
                </a:cubicBezTo>
                <a:cubicBezTo>
                  <a:pt x="623" y="414"/>
                  <a:pt x="623" y="414"/>
                  <a:pt x="623" y="414"/>
                </a:cubicBezTo>
                <a:cubicBezTo>
                  <a:pt x="623" y="414"/>
                  <a:pt x="623" y="414"/>
                  <a:pt x="623" y="414"/>
                </a:cubicBezTo>
                <a:cubicBezTo>
                  <a:pt x="623" y="414"/>
                  <a:pt x="623" y="414"/>
                  <a:pt x="623" y="414"/>
                </a:cubicBezTo>
                <a:cubicBezTo>
                  <a:pt x="623" y="414"/>
                  <a:pt x="623" y="414"/>
                  <a:pt x="623" y="414"/>
                </a:cubicBezTo>
                <a:cubicBezTo>
                  <a:pt x="623" y="414"/>
                  <a:pt x="623" y="414"/>
                  <a:pt x="623" y="414"/>
                </a:cubicBezTo>
                <a:cubicBezTo>
                  <a:pt x="623" y="414"/>
                  <a:pt x="623" y="414"/>
                  <a:pt x="623" y="414"/>
                </a:cubicBezTo>
                <a:cubicBezTo>
                  <a:pt x="623" y="414"/>
                  <a:pt x="623" y="414"/>
                  <a:pt x="623" y="414"/>
                </a:cubicBezTo>
                <a:cubicBezTo>
                  <a:pt x="623" y="413"/>
                  <a:pt x="623" y="413"/>
                  <a:pt x="623" y="413"/>
                </a:cubicBezTo>
                <a:cubicBezTo>
                  <a:pt x="623" y="413"/>
                  <a:pt x="623" y="413"/>
                  <a:pt x="623" y="413"/>
                </a:cubicBezTo>
                <a:cubicBezTo>
                  <a:pt x="623" y="413"/>
                  <a:pt x="623" y="413"/>
                  <a:pt x="623" y="413"/>
                </a:cubicBezTo>
                <a:cubicBezTo>
                  <a:pt x="623" y="413"/>
                  <a:pt x="623" y="413"/>
                  <a:pt x="623" y="413"/>
                </a:cubicBezTo>
                <a:cubicBezTo>
                  <a:pt x="623" y="413"/>
                  <a:pt x="623" y="413"/>
                  <a:pt x="623" y="413"/>
                </a:cubicBezTo>
                <a:cubicBezTo>
                  <a:pt x="623" y="413"/>
                  <a:pt x="623" y="413"/>
                  <a:pt x="623" y="413"/>
                </a:cubicBezTo>
                <a:cubicBezTo>
                  <a:pt x="623" y="413"/>
                  <a:pt x="623" y="413"/>
                  <a:pt x="623" y="413"/>
                </a:cubicBezTo>
                <a:cubicBezTo>
                  <a:pt x="623" y="413"/>
                  <a:pt x="623" y="413"/>
                  <a:pt x="623" y="413"/>
                </a:cubicBezTo>
                <a:cubicBezTo>
                  <a:pt x="623" y="413"/>
                  <a:pt x="623" y="413"/>
                  <a:pt x="623" y="413"/>
                </a:cubicBezTo>
                <a:cubicBezTo>
                  <a:pt x="623" y="413"/>
                  <a:pt x="623" y="413"/>
                  <a:pt x="623" y="413"/>
                </a:cubicBezTo>
                <a:cubicBezTo>
                  <a:pt x="622" y="413"/>
                  <a:pt x="622" y="413"/>
                  <a:pt x="622" y="413"/>
                </a:cubicBezTo>
                <a:cubicBezTo>
                  <a:pt x="622" y="413"/>
                  <a:pt x="622" y="413"/>
                  <a:pt x="622" y="413"/>
                </a:cubicBezTo>
                <a:cubicBezTo>
                  <a:pt x="622" y="413"/>
                  <a:pt x="622" y="413"/>
                  <a:pt x="622" y="413"/>
                </a:cubicBezTo>
                <a:cubicBezTo>
                  <a:pt x="622" y="413"/>
                  <a:pt x="622" y="413"/>
                  <a:pt x="622" y="413"/>
                </a:cubicBezTo>
                <a:cubicBezTo>
                  <a:pt x="622" y="413"/>
                  <a:pt x="622" y="413"/>
                  <a:pt x="622" y="413"/>
                </a:cubicBezTo>
                <a:cubicBezTo>
                  <a:pt x="622" y="413"/>
                  <a:pt x="622" y="413"/>
                  <a:pt x="622" y="413"/>
                </a:cubicBezTo>
                <a:cubicBezTo>
                  <a:pt x="622" y="413"/>
                  <a:pt x="622" y="413"/>
                  <a:pt x="622" y="413"/>
                </a:cubicBezTo>
                <a:cubicBezTo>
                  <a:pt x="621" y="414"/>
                  <a:pt x="621" y="414"/>
                  <a:pt x="621" y="414"/>
                </a:cubicBezTo>
                <a:cubicBezTo>
                  <a:pt x="621" y="414"/>
                  <a:pt x="621" y="414"/>
                  <a:pt x="621" y="414"/>
                </a:cubicBezTo>
                <a:cubicBezTo>
                  <a:pt x="621" y="414"/>
                  <a:pt x="621" y="414"/>
                  <a:pt x="621" y="414"/>
                </a:cubicBezTo>
                <a:cubicBezTo>
                  <a:pt x="621" y="414"/>
                  <a:pt x="621" y="414"/>
                  <a:pt x="621" y="414"/>
                </a:cubicBezTo>
                <a:cubicBezTo>
                  <a:pt x="621" y="414"/>
                  <a:pt x="621" y="414"/>
                  <a:pt x="621" y="414"/>
                </a:cubicBezTo>
                <a:cubicBezTo>
                  <a:pt x="621" y="415"/>
                  <a:pt x="621" y="415"/>
                  <a:pt x="621" y="415"/>
                </a:cubicBezTo>
                <a:cubicBezTo>
                  <a:pt x="622" y="416"/>
                  <a:pt x="622" y="416"/>
                  <a:pt x="622" y="416"/>
                </a:cubicBezTo>
                <a:cubicBezTo>
                  <a:pt x="621" y="418"/>
                  <a:pt x="621" y="418"/>
                  <a:pt x="621" y="418"/>
                </a:cubicBezTo>
                <a:cubicBezTo>
                  <a:pt x="621" y="418"/>
                  <a:pt x="621" y="418"/>
                  <a:pt x="621" y="418"/>
                </a:cubicBezTo>
                <a:cubicBezTo>
                  <a:pt x="621" y="418"/>
                  <a:pt x="621" y="418"/>
                  <a:pt x="621" y="418"/>
                </a:cubicBezTo>
                <a:cubicBezTo>
                  <a:pt x="621" y="418"/>
                  <a:pt x="621" y="418"/>
                  <a:pt x="621" y="418"/>
                </a:cubicBezTo>
                <a:cubicBezTo>
                  <a:pt x="620" y="418"/>
                  <a:pt x="620" y="418"/>
                  <a:pt x="620" y="418"/>
                </a:cubicBezTo>
                <a:cubicBezTo>
                  <a:pt x="619" y="417"/>
                  <a:pt x="618" y="417"/>
                  <a:pt x="617" y="417"/>
                </a:cubicBezTo>
                <a:cubicBezTo>
                  <a:pt x="617" y="417"/>
                  <a:pt x="617" y="417"/>
                  <a:pt x="617" y="417"/>
                </a:cubicBezTo>
                <a:cubicBezTo>
                  <a:pt x="617" y="416"/>
                  <a:pt x="617" y="416"/>
                  <a:pt x="617" y="416"/>
                </a:cubicBezTo>
                <a:cubicBezTo>
                  <a:pt x="617" y="416"/>
                  <a:pt x="617" y="416"/>
                  <a:pt x="617" y="416"/>
                </a:cubicBezTo>
                <a:cubicBezTo>
                  <a:pt x="617" y="416"/>
                  <a:pt x="617" y="416"/>
                  <a:pt x="617" y="416"/>
                </a:cubicBezTo>
                <a:cubicBezTo>
                  <a:pt x="617" y="416"/>
                  <a:pt x="617" y="416"/>
                  <a:pt x="617" y="416"/>
                </a:cubicBezTo>
                <a:cubicBezTo>
                  <a:pt x="617" y="416"/>
                  <a:pt x="617" y="416"/>
                  <a:pt x="617" y="416"/>
                </a:cubicBezTo>
                <a:cubicBezTo>
                  <a:pt x="616" y="416"/>
                  <a:pt x="616" y="416"/>
                  <a:pt x="616" y="416"/>
                </a:cubicBezTo>
                <a:cubicBezTo>
                  <a:pt x="616" y="416"/>
                  <a:pt x="616" y="416"/>
                  <a:pt x="616" y="416"/>
                </a:cubicBezTo>
                <a:cubicBezTo>
                  <a:pt x="615" y="415"/>
                  <a:pt x="615" y="415"/>
                  <a:pt x="615" y="415"/>
                </a:cubicBezTo>
                <a:cubicBezTo>
                  <a:pt x="615" y="415"/>
                  <a:pt x="615" y="415"/>
                  <a:pt x="615" y="415"/>
                </a:cubicBezTo>
                <a:cubicBezTo>
                  <a:pt x="615" y="415"/>
                  <a:pt x="615" y="415"/>
                  <a:pt x="615" y="415"/>
                </a:cubicBezTo>
                <a:cubicBezTo>
                  <a:pt x="614" y="415"/>
                  <a:pt x="614" y="415"/>
                  <a:pt x="614" y="415"/>
                </a:cubicBezTo>
                <a:cubicBezTo>
                  <a:pt x="614" y="415"/>
                  <a:pt x="614" y="415"/>
                  <a:pt x="614" y="415"/>
                </a:cubicBezTo>
                <a:cubicBezTo>
                  <a:pt x="614" y="415"/>
                  <a:pt x="614" y="415"/>
                  <a:pt x="614" y="415"/>
                </a:cubicBezTo>
                <a:cubicBezTo>
                  <a:pt x="614" y="415"/>
                  <a:pt x="614" y="415"/>
                  <a:pt x="614" y="415"/>
                </a:cubicBezTo>
                <a:cubicBezTo>
                  <a:pt x="614" y="415"/>
                  <a:pt x="614" y="415"/>
                  <a:pt x="613" y="415"/>
                </a:cubicBezTo>
                <a:cubicBezTo>
                  <a:pt x="612" y="416"/>
                  <a:pt x="612" y="416"/>
                  <a:pt x="612" y="416"/>
                </a:cubicBezTo>
                <a:cubicBezTo>
                  <a:pt x="612" y="416"/>
                  <a:pt x="612" y="416"/>
                  <a:pt x="612" y="416"/>
                </a:cubicBezTo>
                <a:cubicBezTo>
                  <a:pt x="612" y="416"/>
                  <a:pt x="612" y="416"/>
                  <a:pt x="612" y="416"/>
                </a:cubicBezTo>
                <a:cubicBezTo>
                  <a:pt x="612" y="416"/>
                  <a:pt x="612" y="416"/>
                  <a:pt x="612" y="416"/>
                </a:cubicBezTo>
                <a:cubicBezTo>
                  <a:pt x="612" y="416"/>
                  <a:pt x="612" y="416"/>
                  <a:pt x="612" y="416"/>
                </a:cubicBezTo>
                <a:cubicBezTo>
                  <a:pt x="612" y="415"/>
                  <a:pt x="612" y="415"/>
                  <a:pt x="612" y="415"/>
                </a:cubicBezTo>
                <a:cubicBezTo>
                  <a:pt x="612" y="415"/>
                  <a:pt x="612" y="415"/>
                  <a:pt x="612" y="415"/>
                </a:cubicBezTo>
                <a:cubicBezTo>
                  <a:pt x="612" y="415"/>
                  <a:pt x="612" y="415"/>
                  <a:pt x="612" y="415"/>
                </a:cubicBezTo>
                <a:cubicBezTo>
                  <a:pt x="611" y="415"/>
                  <a:pt x="611" y="415"/>
                  <a:pt x="611" y="415"/>
                </a:cubicBezTo>
                <a:cubicBezTo>
                  <a:pt x="610" y="414"/>
                  <a:pt x="610" y="414"/>
                  <a:pt x="610" y="414"/>
                </a:cubicBezTo>
                <a:cubicBezTo>
                  <a:pt x="610" y="414"/>
                  <a:pt x="610" y="414"/>
                  <a:pt x="610" y="414"/>
                </a:cubicBezTo>
                <a:cubicBezTo>
                  <a:pt x="610" y="414"/>
                  <a:pt x="610" y="414"/>
                  <a:pt x="610" y="414"/>
                </a:cubicBezTo>
                <a:cubicBezTo>
                  <a:pt x="611" y="413"/>
                  <a:pt x="611" y="414"/>
                  <a:pt x="612" y="412"/>
                </a:cubicBezTo>
                <a:cubicBezTo>
                  <a:pt x="612" y="412"/>
                  <a:pt x="612" y="412"/>
                  <a:pt x="612" y="412"/>
                </a:cubicBezTo>
                <a:cubicBezTo>
                  <a:pt x="612" y="412"/>
                  <a:pt x="612" y="412"/>
                  <a:pt x="612" y="412"/>
                </a:cubicBezTo>
                <a:cubicBezTo>
                  <a:pt x="611" y="412"/>
                  <a:pt x="611" y="412"/>
                  <a:pt x="611" y="412"/>
                </a:cubicBezTo>
                <a:cubicBezTo>
                  <a:pt x="610" y="412"/>
                  <a:pt x="610" y="412"/>
                  <a:pt x="610" y="412"/>
                </a:cubicBezTo>
                <a:cubicBezTo>
                  <a:pt x="610" y="412"/>
                  <a:pt x="610" y="412"/>
                  <a:pt x="610" y="412"/>
                </a:cubicBezTo>
                <a:cubicBezTo>
                  <a:pt x="610" y="412"/>
                  <a:pt x="610" y="412"/>
                  <a:pt x="610" y="412"/>
                </a:cubicBezTo>
                <a:cubicBezTo>
                  <a:pt x="610" y="412"/>
                  <a:pt x="610" y="412"/>
                  <a:pt x="610" y="412"/>
                </a:cubicBezTo>
                <a:cubicBezTo>
                  <a:pt x="610" y="412"/>
                  <a:pt x="610" y="412"/>
                  <a:pt x="610" y="412"/>
                </a:cubicBezTo>
                <a:cubicBezTo>
                  <a:pt x="610" y="412"/>
                  <a:pt x="610" y="412"/>
                  <a:pt x="610" y="412"/>
                </a:cubicBezTo>
                <a:cubicBezTo>
                  <a:pt x="610" y="412"/>
                  <a:pt x="610" y="412"/>
                  <a:pt x="610" y="412"/>
                </a:cubicBezTo>
                <a:cubicBezTo>
                  <a:pt x="609" y="411"/>
                  <a:pt x="609" y="411"/>
                  <a:pt x="609" y="411"/>
                </a:cubicBezTo>
                <a:cubicBezTo>
                  <a:pt x="609" y="411"/>
                  <a:pt x="609" y="411"/>
                  <a:pt x="609" y="411"/>
                </a:cubicBezTo>
                <a:cubicBezTo>
                  <a:pt x="609" y="411"/>
                  <a:pt x="609" y="411"/>
                  <a:pt x="609" y="411"/>
                </a:cubicBezTo>
                <a:cubicBezTo>
                  <a:pt x="609" y="411"/>
                  <a:pt x="609" y="411"/>
                  <a:pt x="609" y="411"/>
                </a:cubicBezTo>
                <a:cubicBezTo>
                  <a:pt x="609" y="411"/>
                  <a:pt x="609" y="411"/>
                  <a:pt x="609" y="411"/>
                </a:cubicBezTo>
                <a:cubicBezTo>
                  <a:pt x="609" y="411"/>
                  <a:pt x="609" y="411"/>
                  <a:pt x="609" y="411"/>
                </a:cubicBezTo>
                <a:cubicBezTo>
                  <a:pt x="609" y="411"/>
                  <a:pt x="609" y="411"/>
                  <a:pt x="609" y="411"/>
                </a:cubicBezTo>
                <a:cubicBezTo>
                  <a:pt x="609" y="411"/>
                  <a:pt x="609" y="411"/>
                  <a:pt x="609" y="411"/>
                </a:cubicBezTo>
                <a:cubicBezTo>
                  <a:pt x="609" y="411"/>
                  <a:pt x="609" y="411"/>
                  <a:pt x="609" y="411"/>
                </a:cubicBezTo>
                <a:cubicBezTo>
                  <a:pt x="609" y="411"/>
                  <a:pt x="609" y="411"/>
                  <a:pt x="609" y="410"/>
                </a:cubicBezTo>
                <a:cubicBezTo>
                  <a:pt x="609" y="410"/>
                  <a:pt x="609" y="410"/>
                  <a:pt x="609" y="410"/>
                </a:cubicBezTo>
                <a:cubicBezTo>
                  <a:pt x="609" y="410"/>
                  <a:pt x="609" y="410"/>
                  <a:pt x="609" y="410"/>
                </a:cubicBezTo>
                <a:cubicBezTo>
                  <a:pt x="609" y="410"/>
                  <a:pt x="609" y="410"/>
                  <a:pt x="609" y="410"/>
                </a:cubicBezTo>
                <a:cubicBezTo>
                  <a:pt x="609" y="410"/>
                  <a:pt x="609" y="410"/>
                  <a:pt x="609" y="410"/>
                </a:cubicBezTo>
                <a:cubicBezTo>
                  <a:pt x="609" y="410"/>
                  <a:pt x="609" y="410"/>
                  <a:pt x="609" y="410"/>
                </a:cubicBezTo>
                <a:cubicBezTo>
                  <a:pt x="609" y="410"/>
                  <a:pt x="609" y="410"/>
                  <a:pt x="609" y="410"/>
                </a:cubicBezTo>
                <a:cubicBezTo>
                  <a:pt x="609" y="410"/>
                  <a:pt x="609" y="410"/>
                  <a:pt x="609" y="410"/>
                </a:cubicBezTo>
                <a:cubicBezTo>
                  <a:pt x="608" y="409"/>
                  <a:pt x="608" y="409"/>
                  <a:pt x="608" y="409"/>
                </a:cubicBezTo>
                <a:cubicBezTo>
                  <a:pt x="609" y="408"/>
                  <a:pt x="609" y="408"/>
                  <a:pt x="609" y="408"/>
                </a:cubicBezTo>
                <a:cubicBezTo>
                  <a:pt x="609" y="408"/>
                  <a:pt x="609" y="408"/>
                  <a:pt x="609" y="408"/>
                </a:cubicBezTo>
                <a:cubicBezTo>
                  <a:pt x="609" y="408"/>
                  <a:pt x="609" y="408"/>
                  <a:pt x="609" y="408"/>
                </a:cubicBezTo>
                <a:cubicBezTo>
                  <a:pt x="608" y="408"/>
                  <a:pt x="608" y="408"/>
                  <a:pt x="608" y="408"/>
                </a:cubicBezTo>
                <a:cubicBezTo>
                  <a:pt x="607" y="408"/>
                  <a:pt x="606" y="408"/>
                  <a:pt x="605" y="408"/>
                </a:cubicBezTo>
                <a:cubicBezTo>
                  <a:pt x="604" y="408"/>
                  <a:pt x="604" y="408"/>
                  <a:pt x="604" y="408"/>
                </a:cubicBezTo>
                <a:cubicBezTo>
                  <a:pt x="604" y="408"/>
                  <a:pt x="604" y="408"/>
                  <a:pt x="604" y="408"/>
                </a:cubicBezTo>
                <a:cubicBezTo>
                  <a:pt x="604" y="408"/>
                  <a:pt x="604" y="408"/>
                  <a:pt x="604" y="408"/>
                </a:cubicBezTo>
                <a:cubicBezTo>
                  <a:pt x="604" y="408"/>
                  <a:pt x="604" y="408"/>
                  <a:pt x="604" y="408"/>
                </a:cubicBezTo>
                <a:cubicBezTo>
                  <a:pt x="604" y="408"/>
                  <a:pt x="604" y="408"/>
                  <a:pt x="604" y="408"/>
                </a:cubicBezTo>
                <a:cubicBezTo>
                  <a:pt x="604" y="408"/>
                  <a:pt x="604" y="408"/>
                  <a:pt x="604" y="408"/>
                </a:cubicBezTo>
                <a:cubicBezTo>
                  <a:pt x="604" y="408"/>
                  <a:pt x="604" y="408"/>
                  <a:pt x="604" y="408"/>
                </a:cubicBezTo>
                <a:cubicBezTo>
                  <a:pt x="604" y="408"/>
                  <a:pt x="604" y="408"/>
                  <a:pt x="604" y="408"/>
                </a:cubicBezTo>
                <a:cubicBezTo>
                  <a:pt x="604" y="408"/>
                  <a:pt x="604" y="408"/>
                  <a:pt x="604" y="408"/>
                </a:cubicBezTo>
                <a:cubicBezTo>
                  <a:pt x="604" y="409"/>
                  <a:pt x="604" y="409"/>
                  <a:pt x="604" y="409"/>
                </a:cubicBezTo>
                <a:cubicBezTo>
                  <a:pt x="604" y="409"/>
                  <a:pt x="604" y="409"/>
                  <a:pt x="604" y="409"/>
                </a:cubicBezTo>
                <a:cubicBezTo>
                  <a:pt x="604" y="409"/>
                  <a:pt x="604" y="409"/>
                  <a:pt x="604" y="409"/>
                </a:cubicBezTo>
                <a:cubicBezTo>
                  <a:pt x="605" y="409"/>
                  <a:pt x="605" y="409"/>
                  <a:pt x="605" y="409"/>
                </a:cubicBezTo>
                <a:cubicBezTo>
                  <a:pt x="605" y="409"/>
                  <a:pt x="605" y="409"/>
                  <a:pt x="605" y="409"/>
                </a:cubicBezTo>
                <a:cubicBezTo>
                  <a:pt x="605" y="409"/>
                  <a:pt x="605" y="409"/>
                  <a:pt x="605" y="409"/>
                </a:cubicBezTo>
                <a:cubicBezTo>
                  <a:pt x="605" y="409"/>
                  <a:pt x="605" y="409"/>
                  <a:pt x="605" y="409"/>
                </a:cubicBezTo>
                <a:cubicBezTo>
                  <a:pt x="605" y="409"/>
                  <a:pt x="605" y="409"/>
                  <a:pt x="605" y="409"/>
                </a:cubicBezTo>
                <a:cubicBezTo>
                  <a:pt x="605" y="409"/>
                  <a:pt x="605" y="409"/>
                  <a:pt x="605" y="409"/>
                </a:cubicBezTo>
                <a:cubicBezTo>
                  <a:pt x="605" y="409"/>
                  <a:pt x="605" y="409"/>
                  <a:pt x="605" y="409"/>
                </a:cubicBezTo>
                <a:cubicBezTo>
                  <a:pt x="605" y="409"/>
                  <a:pt x="605" y="409"/>
                  <a:pt x="605" y="409"/>
                </a:cubicBezTo>
                <a:cubicBezTo>
                  <a:pt x="605" y="409"/>
                  <a:pt x="605" y="409"/>
                  <a:pt x="605" y="409"/>
                </a:cubicBezTo>
                <a:cubicBezTo>
                  <a:pt x="605" y="409"/>
                  <a:pt x="605" y="409"/>
                  <a:pt x="605" y="409"/>
                </a:cubicBezTo>
                <a:cubicBezTo>
                  <a:pt x="605" y="409"/>
                  <a:pt x="605" y="409"/>
                  <a:pt x="605" y="409"/>
                </a:cubicBezTo>
                <a:cubicBezTo>
                  <a:pt x="605" y="409"/>
                  <a:pt x="605" y="409"/>
                  <a:pt x="605" y="409"/>
                </a:cubicBezTo>
                <a:cubicBezTo>
                  <a:pt x="605" y="409"/>
                  <a:pt x="605" y="409"/>
                  <a:pt x="605" y="409"/>
                </a:cubicBezTo>
                <a:cubicBezTo>
                  <a:pt x="605" y="409"/>
                  <a:pt x="605" y="409"/>
                  <a:pt x="605" y="409"/>
                </a:cubicBezTo>
                <a:cubicBezTo>
                  <a:pt x="605" y="409"/>
                  <a:pt x="605" y="409"/>
                  <a:pt x="605" y="409"/>
                </a:cubicBezTo>
                <a:cubicBezTo>
                  <a:pt x="606" y="409"/>
                  <a:pt x="606" y="409"/>
                  <a:pt x="606" y="409"/>
                </a:cubicBezTo>
                <a:cubicBezTo>
                  <a:pt x="606" y="409"/>
                  <a:pt x="606" y="409"/>
                  <a:pt x="606" y="409"/>
                </a:cubicBezTo>
                <a:cubicBezTo>
                  <a:pt x="606" y="409"/>
                  <a:pt x="606" y="409"/>
                  <a:pt x="606" y="409"/>
                </a:cubicBezTo>
                <a:cubicBezTo>
                  <a:pt x="606" y="409"/>
                  <a:pt x="606" y="409"/>
                  <a:pt x="606" y="409"/>
                </a:cubicBezTo>
                <a:cubicBezTo>
                  <a:pt x="606" y="409"/>
                  <a:pt x="606" y="409"/>
                  <a:pt x="606" y="409"/>
                </a:cubicBezTo>
                <a:cubicBezTo>
                  <a:pt x="606" y="409"/>
                  <a:pt x="606" y="409"/>
                  <a:pt x="606" y="409"/>
                </a:cubicBezTo>
                <a:cubicBezTo>
                  <a:pt x="606" y="409"/>
                  <a:pt x="606" y="409"/>
                  <a:pt x="606" y="409"/>
                </a:cubicBezTo>
                <a:cubicBezTo>
                  <a:pt x="606" y="409"/>
                  <a:pt x="606" y="409"/>
                  <a:pt x="606" y="409"/>
                </a:cubicBezTo>
                <a:cubicBezTo>
                  <a:pt x="606" y="409"/>
                  <a:pt x="606" y="409"/>
                  <a:pt x="606" y="409"/>
                </a:cubicBezTo>
                <a:cubicBezTo>
                  <a:pt x="606" y="409"/>
                  <a:pt x="606" y="409"/>
                  <a:pt x="606" y="409"/>
                </a:cubicBezTo>
                <a:cubicBezTo>
                  <a:pt x="606" y="409"/>
                  <a:pt x="606" y="409"/>
                  <a:pt x="606" y="409"/>
                </a:cubicBezTo>
                <a:cubicBezTo>
                  <a:pt x="606" y="409"/>
                  <a:pt x="606" y="409"/>
                  <a:pt x="606" y="409"/>
                </a:cubicBezTo>
                <a:cubicBezTo>
                  <a:pt x="606" y="409"/>
                  <a:pt x="606" y="409"/>
                  <a:pt x="606" y="409"/>
                </a:cubicBezTo>
                <a:cubicBezTo>
                  <a:pt x="606" y="409"/>
                  <a:pt x="606" y="409"/>
                  <a:pt x="606" y="409"/>
                </a:cubicBezTo>
                <a:cubicBezTo>
                  <a:pt x="606" y="409"/>
                  <a:pt x="606" y="409"/>
                  <a:pt x="606" y="409"/>
                </a:cubicBezTo>
                <a:cubicBezTo>
                  <a:pt x="606" y="409"/>
                  <a:pt x="606" y="409"/>
                  <a:pt x="606" y="409"/>
                </a:cubicBezTo>
                <a:cubicBezTo>
                  <a:pt x="606" y="410"/>
                  <a:pt x="606" y="410"/>
                  <a:pt x="606" y="410"/>
                </a:cubicBezTo>
                <a:cubicBezTo>
                  <a:pt x="606" y="410"/>
                  <a:pt x="606" y="410"/>
                  <a:pt x="606" y="410"/>
                </a:cubicBezTo>
                <a:cubicBezTo>
                  <a:pt x="606" y="410"/>
                  <a:pt x="606" y="410"/>
                  <a:pt x="606" y="410"/>
                </a:cubicBezTo>
                <a:cubicBezTo>
                  <a:pt x="606" y="410"/>
                  <a:pt x="606" y="410"/>
                  <a:pt x="606" y="410"/>
                </a:cubicBezTo>
                <a:cubicBezTo>
                  <a:pt x="606" y="410"/>
                  <a:pt x="606" y="410"/>
                  <a:pt x="607" y="410"/>
                </a:cubicBezTo>
                <a:cubicBezTo>
                  <a:pt x="607" y="410"/>
                  <a:pt x="607" y="410"/>
                  <a:pt x="607" y="410"/>
                </a:cubicBezTo>
                <a:cubicBezTo>
                  <a:pt x="607" y="410"/>
                  <a:pt x="607" y="410"/>
                  <a:pt x="607" y="410"/>
                </a:cubicBezTo>
                <a:cubicBezTo>
                  <a:pt x="607" y="410"/>
                  <a:pt x="607" y="410"/>
                  <a:pt x="607" y="410"/>
                </a:cubicBezTo>
                <a:cubicBezTo>
                  <a:pt x="607" y="410"/>
                  <a:pt x="607" y="410"/>
                  <a:pt x="607" y="410"/>
                </a:cubicBezTo>
                <a:cubicBezTo>
                  <a:pt x="607" y="410"/>
                  <a:pt x="607" y="410"/>
                  <a:pt x="607" y="410"/>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7" y="411"/>
                  <a:pt x="607" y="411"/>
                  <a:pt x="607" y="411"/>
                </a:cubicBezTo>
                <a:cubicBezTo>
                  <a:pt x="608" y="411"/>
                  <a:pt x="608" y="411"/>
                  <a:pt x="608" y="411"/>
                </a:cubicBezTo>
                <a:cubicBezTo>
                  <a:pt x="608" y="411"/>
                  <a:pt x="608" y="411"/>
                  <a:pt x="608" y="411"/>
                </a:cubicBezTo>
                <a:cubicBezTo>
                  <a:pt x="608" y="411"/>
                  <a:pt x="608" y="411"/>
                  <a:pt x="608" y="411"/>
                </a:cubicBezTo>
                <a:cubicBezTo>
                  <a:pt x="608" y="411"/>
                  <a:pt x="608" y="411"/>
                  <a:pt x="608" y="411"/>
                </a:cubicBezTo>
                <a:cubicBezTo>
                  <a:pt x="608" y="411"/>
                  <a:pt x="608" y="411"/>
                  <a:pt x="608" y="411"/>
                </a:cubicBezTo>
                <a:cubicBezTo>
                  <a:pt x="608" y="411"/>
                  <a:pt x="608" y="411"/>
                  <a:pt x="608" y="411"/>
                </a:cubicBezTo>
                <a:cubicBezTo>
                  <a:pt x="608" y="411"/>
                  <a:pt x="608" y="411"/>
                  <a:pt x="608" y="411"/>
                </a:cubicBezTo>
                <a:cubicBezTo>
                  <a:pt x="608" y="411"/>
                  <a:pt x="608" y="411"/>
                  <a:pt x="608" y="411"/>
                </a:cubicBezTo>
                <a:cubicBezTo>
                  <a:pt x="608" y="411"/>
                  <a:pt x="608" y="411"/>
                  <a:pt x="608" y="411"/>
                </a:cubicBezTo>
                <a:cubicBezTo>
                  <a:pt x="608" y="411"/>
                  <a:pt x="608" y="411"/>
                  <a:pt x="608" y="411"/>
                </a:cubicBezTo>
                <a:cubicBezTo>
                  <a:pt x="608" y="411"/>
                  <a:pt x="608" y="411"/>
                  <a:pt x="608" y="411"/>
                </a:cubicBezTo>
                <a:cubicBezTo>
                  <a:pt x="608" y="412"/>
                  <a:pt x="608" y="412"/>
                  <a:pt x="608" y="412"/>
                </a:cubicBezTo>
                <a:cubicBezTo>
                  <a:pt x="608" y="412"/>
                  <a:pt x="608" y="412"/>
                  <a:pt x="608" y="412"/>
                </a:cubicBezTo>
                <a:cubicBezTo>
                  <a:pt x="608" y="412"/>
                  <a:pt x="608" y="412"/>
                  <a:pt x="608" y="412"/>
                </a:cubicBezTo>
                <a:cubicBezTo>
                  <a:pt x="608" y="412"/>
                  <a:pt x="608" y="412"/>
                  <a:pt x="608" y="412"/>
                </a:cubicBezTo>
                <a:cubicBezTo>
                  <a:pt x="608" y="412"/>
                  <a:pt x="608" y="412"/>
                  <a:pt x="608" y="412"/>
                </a:cubicBezTo>
                <a:cubicBezTo>
                  <a:pt x="608" y="413"/>
                  <a:pt x="608" y="412"/>
                  <a:pt x="608" y="413"/>
                </a:cubicBezTo>
                <a:cubicBezTo>
                  <a:pt x="608" y="413"/>
                  <a:pt x="608" y="413"/>
                  <a:pt x="608" y="413"/>
                </a:cubicBezTo>
                <a:cubicBezTo>
                  <a:pt x="608" y="413"/>
                  <a:pt x="608" y="413"/>
                  <a:pt x="608" y="413"/>
                </a:cubicBezTo>
                <a:cubicBezTo>
                  <a:pt x="608" y="413"/>
                  <a:pt x="608" y="413"/>
                  <a:pt x="608" y="413"/>
                </a:cubicBezTo>
                <a:cubicBezTo>
                  <a:pt x="608" y="413"/>
                  <a:pt x="608" y="413"/>
                  <a:pt x="608" y="413"/>
                </a:cubicBezTo>
                <a:cubicBezTo>
                  <a:pt x="609" y="413"/>
                  <a:pt x="609" y="414"/>
                  <a:pt x="609" y="414"/>
                </a:cubicBezTo>
                <a:cubicBezTo>
                  <a:pt x="609" y="414"/>
                  <a:pt x="609" y="414"/>
                  <a:pt x="609" y="414"/>
                </a:cubicBezTo>
                <a:cubicBezTo>
                  <a:pt x="609" y="414"/>
                  <a:pt x="609" y="414"/>
                  <a:pt x="609" y="414"/>
                </a:cubicBezTo>
                <a:cubicBezTo>
                  <a:pt x="609" y="414"/>
                  <a:pt x="609" y="414"/>
                  <a:pt x="609" y="414"/>
                </a:cubicBezTo>
                <a:cubicBezTo>
                  <a:pt x="609" y="414"/>
                  <a:pt x="609" y="414"/>
                  <a:pt x="609" y="414"/>
                </a:cubicBezTo>
                <a:cubicBezTo>
                  <a:pt x="609" y="414"/>
                  <a:pt x="609" y="414"/>
                  <a:pt x="609" y="414"/>
                </a:cubicBezTo>
                <a:cubicBezTo>
                  <a:pt x="609" y="414"/>
                  <a:pt x="609" y="414"/>
                  <a:pt x="609" y="414"/>
                </a:cubicBezTo>
                <a:cubicBezTo>
                  <a:pt x="609" y="414"/>
                  <a:pt x="609" y="414"/>
                  <a:pt x="609" y="414"/>
                </a:cubicBezTo>
                <a:cubicBezTo>
                  <a:pt x="609" y="414"/>
                  <a:pt x="609" y="414"/>
                  <a:pt x="609" y="414"/>
                </a:cubicBezTo>
                <a:cubicBezTo>
                  <a:pt x="609" y="414"/>
                  <a:pt x="609" y="414"/>
                  <a:pt x="609" y="414"/>
                </a:cubicBezTo>
                <a:cubicBezTo>
                  <a:pt x="609" y="414"/>
                  <a:pt x="609" y="414"/>
                  <a:pt x="609" y="414"/>
                </a:cubicBezTo>
                <a:cubicBezTo>
                  <a:pt x="609" y="415"/>
                  <a:pt x="609" y="415"/>
                  <a:pt x="609" y="415"/>
                </a:cubicBezTo>
                <a:cubicBezTo>
                  <a:pt x="609" y="415"/>
                  <a:pt x="609" y="415"/>
                  <a:pt x="609" y="415"/>
                </a:cubicBezTo>
                <a:cubicBezTo>
                  <a:pt x="609" y="415"/>
                  <a:pt x="609" y="415"/>
                  <a:pt x="609" y="415"/>
                </a:cubicBezTo>
                <a:cubicBezTo>
                  <a:pt x="609" y="415"/>
                  <a:pt x="609" y="415"/>
                  <a:pt x="609" y="415"/>
                </a:cubicBezTo>
                <a:cubicBezTo>
                  <a:pt x="609" y="415"/>
                  <a:pt x="609" y="415"/>
                  <a:pt x="609" y="415"/>
                </a:cubicBezTo>
                <a:cubicBezTo>
                  <a:pt x="609" y="415"/>
                  <a:pt x="609" y="415"/>
                  <a:pt x="609" y="415"/>
                </a:cubicBezTo>
                <a:cubicBezTo>
                  <a:pt x="609" y="415"/>
                  <a:pt x="609" y="415"/>
                  <a:pt x="609" y="415"/>
                </a:cubicBezTo>
                <a:cubicBezTo>
                  <a:pt x="609" y="415"/>
                  <a:pt x="609" y="415"/>
                  <a:pt x="609" y="415"/>
                </a:cubicBezTo>
                <a:cubicBezTo>
                  <a:pt x="609" y="415"/>
                  <a:pt x="609" y="415"/>
                  <a:pt x="609" y="415"/>
                </a:cubicBezTo>
                <a:cubicBezTo>
                  <a:pt x="609" y="416"/>
                  <a:pt x="608" y="416"/>
                  <a:pt x="608" y="417"/>
                </a:cubicBezTo>
                <a:cubicBezTo>
                  <a:pt x="608" y="417"/>
                  <a:pt x="608" y="417"/>
                  <a:pt x="608" y="417"/>
                </a:cubicBezTo>
                <a:cubicBezTo>
                  <a:pt x="608" y="417"/>
                  <a:pt x="608" y="417"/>
                  <a:pt x="608" y="417"/>
                </a:cubicBezTo>
                <a:cubicBezTo>
                  <a:pt x="608" y="417"/>
                  <a:pt x="608" y="417"/>
                  <a:pt x="608" y="417"/>
                </a:cubicBezTo>
                <a:cubicBezTo>
                  <a:pt x="608" y="417"/>
                  <a:pt x="608" y="417"/>
                  <a:pt x="608" y="417"/>
                </a:cubicBezTo>
                <a:cubicBezTo>
                  <a:pt x="608" y="418"/>
                  <a:pt x="608" y="418"/>
                  <a:pt x="608" y="418"/>
                </a:cubicBezTo>
                <a:cubicBezTo>
                  <a:pt x="607" y="418"/>
                  <a:pt x="607" y="418"/>
                  <a:pt x="607" y="418"/>
                </a:cubicBezTo>
                <a:cubicBezTo>
                  <a:pt x="607" y="418"/>
                  <a:pt x="607" y="418"/>
                  <a:pt x="607" y="418"/>
                </a:cubicBezTo>
                <a:cubicBezTo>
                  <a:pt x="607" y="418"/>
                  <a:pt x="607" y="418"/>
                  <a:pt x="607" y="418"/>
                </a:cubicBezTo>
                <a:cubicBezTo>
                  <a:pt x="606" y="419"/>
                  <a:pt x="606" y="419"/>
                  <a:pt x="606" y="419"/>
                </a:cubicBezTo>
                <a:cubicBezTo>
                  <a:pt x="606" y="419"/>
                  <a:pt x="606" y="419"/>
                  <a:pt x="606" y="419"/>
                </a:cubicBezTo>
                <a:cubicBezTo>
                  <a:pt x="606" y="419"/>
                  <a:pt x="606" y="419"/>
                  <a:pt x="606" y="419"/>
                </a:cubicBezTo>
                <a:cubicBezTo>
                  <a:pt x="606" y="419"/>
                  <a:pt x="606" y="419"/>
                  <a:pt x="606" y="419"/>
                </a:cubicBezTo>
                <a:cubicBezTo>
                  <a:pt x="606" y="419"/>
                  <a:pt x="606" y="419"/>
                  <a:pt x="606" y="419"/>
                </a:cubicBezTo>
                <a:cubicBezTo>
                  <a:pt x="606" y="419"/>
                  <a:pt x="606" y="419"/>
                  <a:pt x="606" y="419"/>
                </a:cubicBezTo>
                <a:cubicBezTo>
                  <a:pt x="606" y="419"/>
                  <a:pt x="606" y="419"/>
                  <a:pt x="606" y="419"/>
                </a:cubicBezTo>
                <a:cubicBezTo>
                  <a:pt x="606" y="419"/>
                  <a:pt x="606" y="419"/>
                  <a:pt x="606" y="419"/>
                </a:cubicBezTo>
                <a:cubicBezTo>
                  <a:pt x="606" y="420"/>
                  <a:pt x="606" y="420"/>
                  <a:pt x="606" y="420"/>
                </a:cubicBezTo>
                <a:cubicBezTo>
                  <a:pt x="606" y="420"/>
                  <a:pt x="606" y="420"/>
                  <a:pt x="606" y="420"/>
                </a:cubicBezTo>
                <a:cubicBezTo>
                  <a:pt x="605" y="420"/>
                  <a:pt x="605" y="420"/>
                  <a:pt x="605" y="420"/>
                </a:cubicBezTo>
                <a:cubicBezTo>
                  <a:pt x="605" y="420"/>
                  <a:pt x="605" y="420"/>
                  <a:pt x="605" y="420"/>
                </a:cubicBezTo>
                <a:cubicBezTo>
                  <a:pt x="606" y="420"/>
                  <a:pt x="606" y="420"/>
                  <a:pt x="606" y="420"/>
                </a:cubicBezTo>
                <a:cubicBezTo>
                  <a:pt x="606" y="420"/>
                  <a:pt x="606" y="420"/>
                  <a:pt x="606" y="420"/>
                </a:cubicBezTo>
                <a:cubicBezTo>
                  <a:pt x="606" y="420"/>
                  <a:pt x="606" y="420"/>
                  <a:pt x="606" y="420"/>
                </a:cubicBezTo>
                <a:cubicBezTo>
                  <a:pt x="606" y="420"/>
                  <a:pt x="606" y="420"/>
                  <a:pt x="606" y="420"/>
                </a:cubicBezTo>
                <a:cubicBezTo>
                  <a:pt x="606" y="420"/>
                  <a:pt x="606" y="420"/>
                  <a:pt x="606" y="420"/>
                </a:cubicBezTo>
                <a:cubicBezTo>
                  <a:pt x="606" y="420"/>
                  <a:pt x="606" y="420"/>
                  <a:pt x="606" y="420"/>
                </a:cubicBezTo>
                <a:cubicBezTo>
                  <a:pt x="605" y="420"/>
                  <a:pt x="605" y="421"/>
                  <a:pt x="605" y="421"/>
                </a:cubicBezTo>
                <a:cubicBezTo>
                  <a:pt x="605" y="421"/>
                  <a:pt x="605" y="421"/>
                  <a:pt x="605" y="421"/>
                </a:cubicBezTo>
                <a:cubicBezTo>
                  <a:pt x="605" y="421"/>
                  <a:pt x="605" y="421"/>
                  <a:pt x="605" y="421"/>
                </a:cubicBezTo>
                <a:cubicBezTo>
                  <a:pt x="605" y="422"/>
                  <a:pt x="605" y="422"/>
                  <a:pt x="604" y="422"/>
                </a:cubicBezTo>
                <a:cubicBezTo>
                  <a:pt x="604" y="422"/>
                  <a:pt x="604" y="422"/>
                  <a:pt x="604" y="422"/>
                </a:cubicBezTo>
                <a:cubicBezTo>
                  <a:pt x="604" y="422"/>
                  <a:pt x="604" y="422"/>
                  <a:pt x="604" y="422"/>
                </a:cubicBezTo>
                <a:cubicBezTo>
                  <a:pt x="604" y="423"/>
                  <a:pt x="604" y="423"/>
                  <a:pt x="604" y="423"/>
                </a:cubicBezTo>
                <a:cubicBezTo>
                  <a:pt x="604" y="423"/>
                  <a:pt x="604" y="423"/>
                  <a:pt x="604" y="423"/>
                </a:cubicBezTo>
                <a:cubicBezTo>
                  <a:pt x="604" y="423"/>
                  <a:pt x="604" y="423"/>
                  <a:pt x="604" y="423"/>
                </a:cubicBezTo>
                <a:cubicBezTo>
                  <a:pt x="604" y="423"/>
                  <a:pt x="604" y="423"/>
                  <a:pt x="604" y="423"/>
                </a:cubicBezTo>
                <a:cubicBezTo>
                  <a:pt x="604" y="423"/>
                  <a:pt x="604" y="423"/>
                  <a:pt x="604" y="423"/>
                </a:cubicBezTo>
                <a:cubicBezTo>
                  <a:pt x="604" y="424"/>
                  <a:pt x="604" y="424"/>
                  <a:pt x="604" y="424"/>
                </a:cubicBezTo>
                <a:cubicBezTo>
                  <a:pt x="604" y="424"/>
                  <a:pt x="604" y="424"/>
                  <a:pt x="604" y="424"/>
                </a:cubicBezTo>
                <a:cubicBezTo>
                  <a:pt x="604" y="424"/>
                  <a:pt x="604" y="424"/>
                  <a:pt x="604" y="424"/>
                </a:cubicBezTo>
                <a:cubicBezTo>
                  <a:pt x="604" y="424"/>
                  <a:pt x="604" y="424"/>
                  <a:pt x="604" y="424"/>
                </a:cubicBezTo>
                <a:cubicBezTo>
                  <a:pt x="604" y="424"/>
                  <a:pt x="604" y="424"/>
                  <a:pt x="604" y="424"/>
                </a:cubicBezTo>
                <a:cubicBezTo>
                  <a:pt x="604" y="426"/>
                  <a:pt x="604" y="427"/>
                  <a:pt x="604" y="429"/>
                </a:cubicBezTo>
                <a:cubicBezTo>
                  <a:pt x="604" y="429"/>
                  <a:pt x="604" y="429"/>
                  <a:pt x="604" y="429"/>
                </a:cubicBezTo>
                <a:cubicBezTo>
                  <a:pt x="603" y="430"/>
                  <a:pt x="603" y="430"/>
                  <a:pt x="603" y="430"/>
                </a:cubicBezTo>
                <a:cubicBezTo>
                  <a:pt x="597" y="436"/>
                  <a:pt x="597" y="436"/>
                  <a:pt x="597" y="436"/>
                </a:cubicBezTo>
                <a:cubicBezTo>
                  <a:pt x="597" y="436"/>
                  <a:pt x="597" y="436"/>
                  <a:pt x="597" y="436"/>
                </a:cubicBezTo>
                <a:cubicBezTo>
                  <a:pt x="597" y="437"/>
                  <a:pt x="596" y="438"/>
                  <a:pt x="596" y="439"/>
                </a:cubicBezTo>
                <a:cubicBezTo>
                  <a:pt x="595" y="442"/>
                  <a:pt x="595" y="442"/>
                  <a:pt x="595" y="442"/>
                </a:cubicBezTo>
                <a:cubicBezTo>
                  <a:pt x="595" y="442"/>
                  <a:pt x="595" y="442"/>
                  <a:pt x="595" y="442"/>
                </a:cubicBezTo>
                <a:cubicBezTo>
                  <a:pt x="595" y="442"/>
                  <a:pt x="595" y="442"/>
                  <a:pt x="595" y="442"/>
                </a:cubicBezTo>
                <a:cubicBezTo>
                  <a:pt x="595" y="442"/>
                  <a:pt x="596" y="442"/>
                  <a:pt x="596" y="442"/>
                </a:cubicBezTo>
                <a:cubicBezTo>
                  <a:pt x="597" y="442"/>
                  <a:pt x="597" y="442"/>
                  <a:pt x="597" y="442"/>
                </a:cubicBezTo>
                <a:cubicBezTo>
                  <a:pt x="597" y="443"/>
                  <a:pt x="597" y="443"/>
                  <a:pt x="597" y="443"/>
                </a:cubicBezTo>
                <a:cubicBezTo>
                  <a:pt x="597" y="443"/>
                  <a:pt x="597" y="443"/>
                  <a:pt x="597" y="443"/>
                </a:cubicBezTo>
                <a:cubicBezTo>
                  <a:pt x="597" y="443"/>
                  <a:pt x="597" y="443"/>
                  <a:pt x="597" y="443"/>
                </a:cubicBezTo>
                <a:cubicBezTo>
                  <a:pt x="597" y="443"/>
                  <a:pt x="597" y="443"/>
                  <a:pt x="597" y="443"/>
                </a:cubicBezTo>
                <a:cubicBezTo>
                  <a:pt x="597" y="443"/>
                  <a:pt x="597" y="443"/>
                  <a:pt x="597" y="443"/>
                </a:cubicBezTo>
                <a:cubicBezTo>
                  <a:pt x="597" y="444"/>
                  <a:pt x="597" y="444"/>
                  <a:pt x="597" y="444"/>
                </a:cubicBezTo>
                <a:cubicBezTo>
                  <a:pt x="597" y="444"/>
                  <a:pt x="597" y="444"/>
                  <a:pt x="597" y="444"/>
                </a:cubicBezTo>
                <a:cubicBezTo>
                  <a:pt x="597" y="444"/>
                  <a:pt x="597" y="444"/>
                  <a:pt x="597" y="444"/>
                </a:cubicBezTo>
                <a:cubicBezTo>
                  <a:pt x="597" y="445"/>
                  <a:pt x="597" y="445"/>
                  <a:pt x="597" y="445"/>
                </a:cubicBezTo>
                <a:cubicBezTo>
                  <a:pt x="597" y="445"/>
                  <a:pt x="597" y="445"/>
                  <a:pt x="597" y="445"/>
                </a:cubicBezTo>
                <a:cubicBezTo>
                  <a:pt x="596" y="445"/>
                  <a:pt x="596" y="445"/>
                  <a:pt x="596" y="445"/>
                </a:cubicBezTo>
                <a:cubicBezTo>
                  <a:pt x="596" y="445"/>
                  <a:pt x="596" y="445"/>
                  <a:pt x="596" y="445"/>
                </a:cubicBezTo>
                <a:cubicBezTo>
                  <a:pt x="595" y="445"/>
                  <a:pt x="593" y="444"/>
                  <a:pt x="591" y="445"/>
                </a:cubicBezTo>
                <a:cubicBezTo>
                  <a:pt x="591" y="445"/>
                  <a:pt x="591" y="445"/>
                  <a:pt x="591" y="445"/>
                </a:cubicBezTo>
                <a:cubicBezTo>
                  <a:pt x="590" y="445"/>
                  <a:pt x="590" y="445"/>
                  <a:pt x="590" y="445"/>
                </a:cubicBezTo>
                <a:cubicBezTo>
                  <a:pt x="590" y="445"/>
                  <a:pt x="590" y="446"/>
                  <a:pt x="590" y="446"/>
                </a:cubicBezTo>
                <a:cubicBezTo>
                  <a:pt x="590" y="446"/>
                  <a:pt x="590" y="446"/>
                  <a:pt x="590" y="446"/>
                </a:cubicBezTo>
                <a:cubicBezTo>
                  <a:pt x="590" y="447"/>
                  <a:pt x="590" y="447"/>
                  <a:pt x="590" y="447"/>
                </a:cubicBezTo>
                <a:cubicBezTo>
                  <a:pt x="590" y="447"/>
                  <a:pt x="590" y="447"/>
                  <a:pt x="590" y="447"/>
                </a:cubicBezTo>
                <a:cubicBezTo>
                  <a:pt x="590" y="447"/>
                  <a:pt x="590" y="447"/>
                  <a:pt x="590" y="447"/>
                </a:cubicBezTo>
                <a:cubicBezTo>
                  <a:pt x="590" y="447"/>
                  <a:pt x="590" y="448"/>
                  <a:pt x="590" y="448"/>
                </a:cubicBezTo>
                <a:cubicBezTo>
                  <a:pt x="590" y="448"/>
                  <a:pt x="591" y="448"/>
                  <a:pt x="591" y="448"/>
                </a:cubicBezTo>
                <a:cubicBezTo>
                  <a:pt x="591" y="448"/>
                  <a:pt x="591" y="448"/>
                  <a:pt x="591" y="448"/>
                </a:cubicBezTo>
                <a:cubicBezTo>
                  <a:pt x="591" y="448"/>
                  <a:pt x="591" y="448"/>
                  <a:pt x="591" y="448"/>
                </a:cubicBezTo>
                <a:cubicBezTo>
                  <a:pt x="591" y="448"/>
                  <a:pt x="591" y="448"/>
                  <a:pt x="591" y="448"/>
                </a:cubicBezTo>
                <a:cubicBezTo>
                  <a:pt x="591" y="448"/>
                  <a:pt x="591" y="448"/>
                  <a:pt x="591" y="448"/>
                </a:cubicBezTo>
                <a:cubicBezTo>
                  <a:pt x="593" y="449"/>
                  <a:pt x="594" y="448"/>
                  <a:pt x="595" y="448"/>
                </a:cubicBezTo>
                <a:cubicBezTo>
                  <a:pt x="595" y="448"/>
                  <a:pt x="595" y="448"/>
                  <a:pt x="595" y="448"/>
                </a:cubicBezTo>
                <a:cubicBezTo>
                  <a:pt x="596" y="448"/>
                  <a:pt x="596" y="448"/>
                  <a:pt x="596" y="448"/>
                </a:cubicBezTo>
                <a:cubicBezTo>
                  <a:pt x="596" y="448"/>
                  <a:pt x="596" y="448"/>
                  <a:pt x="596" y="448"/>
                </a:cubicBezTo>
                <a:cubicBezTo>
                  <a:pt x="596" y="449"/>
                  <a:pt x="596" y="449"/>
                  <a:pt x="596" y="449"/>
                </a:cubicBezTo>
                <a:cubicBezTo>
                  <a:pt x="596" y="449"/>
                  <a:pt x="596" y="449"/>
                  <a:pt x="596" y="449"/>
                </a:cubicBezTo>
                <a:cubicBezTo>
                  <a:pt x="596" y="449"/>
                  <a:pt x="596" y="449"/>
                  <a:pt x="596" y="449"/>
                </a:cubicBezTo>
                <a:cubicBezTo>
                  <a:pt x="596" y="449"/>
                  <a:pt x="596" y="449"/>
                  <a:pt x="596" y="449"/>
                </a:cubicBezTo>
                <a:cubicBezTo>
                  <a:pt x="596" y="449"/>
                  <a:pt x="596" y="449"/>
                  <a:pt x="596" y="449"/>
                </a:cubicBezTo>
                <a:cubicBezTo>
                  <a:pt x="596" y="449"/>
                  <a:pt x="596" y="449"/>
                  <a:pt x="596" y="449"/>
                </a:cubicBezTo>
                <a:cubicBezTo>
                  <a:pt x="596" y="448"/>
                  <a:pt x="596" y="448"/>
                  <a:pt x="596" y="448"/>
                </a:cubicBezTo>
                <a:cubicBezTo>
                  <a:pt x="597" y="447"/>
                  <a:pt x="598" y="447"/>
                  <a:pt x="599" y="446"/>
                </a:cubicBezTo>
                <a:cubicBezTo>
                  <a:pt x="599" y="446"/>
                  <a:pt x="599" y="446"/>
                  <a:pt x="600" y="446"/>
                </a:cubicBezTo>
                <a:cubicBezTo>
                  <a:pt x="600" y="446"/>
                  <a:pt x="600" y="446"/>
                  <a:pt x="600" y="446"/>
                </a:cubicBezTo>
                <a:cubicBezTo>
                  <a:pt x="600" y="446"/>
                  <a:pt x="600" y="446"/>
                  <a:pt x="600" y="446"/>
                </a:cubicBezTo>
                <a:cubicBezTo>
                  <a:pt x="600" y="445"/>
                  <a:pt x="600" y="445"/>
                  <a:pt x="600" y="445"/>
                </a:cubicBezTo>
                <a:cubicBezTo>
                  <a:pt x="601" y="445"/>
                  <a:pt x="601" y="445"/>
                  <a:pt x="601" y="445"/>
                </a:cubicBezTo>
                <a:cubicBezTo>
                  <a:pt x="601" y="445"/>
                  <a:pt x="601" y="445"/>
                  <a:pt x="601" y="445"/>
                </a:cubicBezTo>
                <a:cubicBezTo>
                  <a:pt x="602" y="444"/>
                  <a:pt x="603" y="444"/>
                  <a:pt x="604" y="443"/>
                </a:cubicBezTo>
                <a:cubicBezTo>
                  <a:pt x="604" y="443"/>
                  <a:pt x="605" y="442"/>
                  <a:pt x="605" y="442"/>
                </a:cubicBezTo>
                <a:cubicBezTo>
                  <a:pt x="605" y="442"/>
                  <a:pt x="605" y="442"/>
                  <a:pt x="605" y="442"/>
                </a:cubicBezTo>
                <a:cubicBezTo>
                  <a:pt x="606" y="442"/>
                  <a:pt x="606" y="442"/>
                  <a:pt x="606" y="442"/>
                </a:cubicBezTo>
                <a:cubicBezTo>
                  <a:pt x="606" y="441"/>
                  <a:pt x="607" y="441"/>
                  <a:pt x="607" y="441"/>
                </a:cubicBezTo>
                <a:cubicBezTo>
                  <a:pt x="608" y="441"/>
                  <a:pt x="608" y="441"/>
                  <a:pt x="608" y="441"/>
                </a:cubicBezTo>
                <a:cubicBezTo>
                  <a:pt x="608" y="441"/>
                  <a:pt x="608" y="441"/>
                  <a:pt x="608" y="441"/>
                </a:cubicBezTo>
                <a:cubicBezTo>
                  <a:pt x="610" y="440"/>
                  <a:pt x="611" y="440"/>
                  <a:pt x="612" y="441"/>
                </a:cubicBezTo>
                <a:cubicBezTo>
                  <a:pt x="613" y="441"/>
                  <a:pt x="615" y="441"/>
                  <a:pt x="616" y="441"/>
                </a:cubicBezTo>
                <a:cubicBezTo>
                  <a:pt x="616" y="441"/>
                  <a:pt x="616" y="441"/>
                  <a:pt x="616" y="441"/>
                </a:cubicBezTo>
                <a:cubicBezTo>
                  <a:pt x="616" y="441"/>
                  <a:pt x="616" y="441"/>
                  <a:pt x="616" y="441"/>
                </a:cubicBezTo>
                <a:cubicBezTo>
                  <a:pt x="616" y="441"/>
                  <a:pt x="616" y="441"/>
                  <a:pt x="616" y="441"/>
                </a:cubicBezTo>
                <a:cubicBezTo>
                  <a:pt x="616" y="441"/>
                  <a:pt x="616" y="441"/>
                  <a:pt x="616" y="441"/>
                </a:cubicBezTo>
                <a:cubicBezTo>
                  <a:pt x="617" y="441"/>
                  <a:pt x="618" y="441"/>
                  <a:pt x="618" y="441"/>
                </a:cubicBezTo>
                <a:cubicBezTo>
                  <a:pt x="618" y="441"/>
                  <a:pt x="618" y="441"/>
                  <a:pt x="618" y="441"/>
                </a:cubicBezTo>
                <a:cubicBezTo>
                  <a:pt x="618" y="441"/>
                  <a:pt x="618" y="441"/>
                  <a:pt x="618" y="441"/>
                </a:cubicBezTo>
                <a:cubicBezTo>
                  <a:pt x="618" y="441"/>
                  <a:pt x="619" y="441"/>
                  <a:pt x="619" y="442"/>
                </a:cubicBezTo>
                <a:cubicBezTo>
                  <a:pt x="619" y="442"/>
                  <a:pt x="620" y="442"/>
                  <a:pt x="621" y="442"/>
                </a:cubicBezTo>
                <a:cubicBezTo>
                  <a:pt x="620" y="442"/>
                  <a:pt x="620" y="442"/>
                  <a:pt x="620" y="442"/>
                </a:cubicBezTo>
                <a:cubicBezTo>
                  <a:pt x="620" y="441"/>
                  <a:pt x="619" y="441"/>
                  <a:pt x="618" y="441"/>
                </a:cubicBezTo>
                <a:cubicBezTo>
                  <a:pt x="618" y="441"/>
                  <a:pt x="618" y="441"/>
                  <a:pt x="618" y="441"/>
                </a:cubicBezTo>
                <a:cubicBezTo>
                  <a:pt x="618" y="441"/>
                  <a:pt x="618" y="441"/>
                  <a:pt x="618" y="441"/>
                </a:cubicBezTo>
                <a:cubicBezTo>
                  <a:pt x="618" y="441"/>
                  <a:pt x="618" y="441"/>
                  <a:pt x="618" y="441"/>
                </a:cubicBezTo>
                <a:cubicBezTo>
                  <a:pt x="618" y="441"/>
                  <a:pt x="618" y="441"/>
                  <a:pt x="618" y="441"/>
                </a:cubicBezTo>
                <a:cubicBezTo>
                  <a:pt x="618" y="441"/>
                  <a:pt x="618" y="441"/>
                  <a:pt x="618" y="441"/>
                </a:cubicBezTo>
                <a:cubicBezTo>
                  <a:pt x="618" y="441"/>
                  <a:pt x="618" y="441"/>
                  <a:pt x="618" y="441"/>
                </a:cubicBezTo>
                <a:cubicBezTo>
                  <a:pt x="617" y="441"/>
                  <a:pt x="617" y="441"/>
                  <a:pt x="617" y="441"/>
                </a:cubicBezTo>
                <a:cubicBezTo>
                  <a:pt x="617" y="441"/>
                  <a:pt x="617" y="441"/>
                  <a:pt x="617" y="441"/>
                </a:cubicBezTo>
                <a:cubicBezTo>
                  <a:pt x="617" y="441"/>
                  <a:pt x="617" y="441"/>
                  <a:pt x="617" y="441"/>
                </a:cubicBezTo>
                <a:cubicBezTo>
                  <a:pt x="617" y="441"/>
                  <a:pt x="617" y="441"/>
                  <a:pt x="617" y="441"/>
                </a:cubicBezTo>
                <a:cubicBezTo>
                  <a:pt x="618" y="441"/>
                  <a:pt x="618" y="441"/>
                  <a:pt x="618" y="441"/>
                </a:cubicBezTo>
                <a:cubicBezTo>
                  <a:pt x="618" y="440"/>
                  <a:pt x="618" y="440"/>
                  <a:pt x="618" y="440"/>
                </a:cubicBezTo>
                <a:cubicBezTo>
                  <a:pt x="618" y="440"/>
                  <a:pt x="618" y="440"/>
                  <a:pt x="618" y="440"/>
                </a:cubicBezTo>
                <a:cubicBezTo>
                  <a:pt x="619" y="440"/>
                  <a:pt x="619" y="440"/>
                  <a:pt x="620" y="440"/>
                </a:cubicBezTo>
                <a:cubicBezTo>
                  <a:pt x="622" y="438"/>
                  <a:pt x="622" y="438"/>
                  <a:pt x="622" y="438"/>
                </a:cubicBezTo>
                <a:cubicBezTo>
                  <a:pt x="624" y="438"/>
                  <a:pt x="624" y="438"/>
                  <a:pt x="624" y="438"/>
                </a:cubicBezTo>
                <a:cubicBezTo>
                  <a:pt x="627" y="438"/>
                  <a:pt x="629" y="438"/>
                  <a:pt x="632" y="437"/>
                </a:cubicBezTo>
                <a:cubicBezTo>
                  <a:pt x="632" y="436"/>
                  <a:pt x="632" y="436"/>
                  <a:pt x="631" y="435"/>
                </a:cubicBezTo>
                <a:cubicBezTo>
                  <a:pt x="631" y="435"/>
                  <a:pt x="631" y="435"/>
                  <a:pt x="631" y="435"/>
                </a:cubicBezTo>
                <a:cubicBezTo>
                  <a:pt x="631" y="434"/>
                  <a:pt x="631" y="434"/>
                  <a:pt x="631" y="434"/>
                </a:cubicBezTo>
                <a:cubicBezTo>
                  <a:pt x="631" y="434"/>
                  <a:pt x="631" y="434"/>
                  <a:pt x="631" y="434"/>
                </a:cubicBezTo>
                <a:cubicBezTo>
                  <a:pt x="631" y="433"/>
                  <a:pt x="631" y="433"/>
                  <a:pt x="631" y="433"/>
                </a:cubicBezTo>
                <a:cubicBezTo>
                  <a:pt x="627" y="433"/>
                  <a:pt x="627" y="433"/>
                  <a:pt x="627" y="433"/>
                </a:cubicBezTo>
                <a:cubicBezTo>
                  <a:pt x="627" y="434"/>
                  <a:pt x="627" y="434"/>
                  <a:pt x="627" y="434"/>
                </a:cubicBezTo>
                <a:cubicBezTo>
                  <a:pt x="626" y="434"/>
                  <a:pt x="626" y="434"/>
                  <a:pt x="626" y="434"/>
                </a:cubicBezTo>
                <a:cubicBezTo>
                  <a:pt x="626" y="434"/>
                  <a:pt x="626" y="434"/>
                  <a:pt x="626" y="434"/>
                </a:cubicBezTo>
                <a:cubicBezTo>
                  <a:pt x="626" y="433"/>
                  <a:pt x="625" y="433"/>
                  <a:pt x="625" y="433"/>
                </a:cubicBezTo>
                <a:cubicBezTo>
                  <a:pt x="625" y="433"/>
                  <a:pt x="625" y="433"/>
                  <a:pt x="625" y="433"/>
                </a:cubicBezTo>
                <a:cubicBezTo>
                  <a:pt x="625" y="433"/>
                  <a:pt x="625" y="433"/>
                  <a:pt x="625" y="433"/>
                </a:cubicBezTo>
                <a:cubicBezTo>
                  <a:pt x="624" y="433"/>
                  <a:pt x="624" y="433"/>
                  <a:pt x="624" y="432"/>
                </a:cubicBezTo>
                <a:cubicBezTo>
                  <a:pt x="624" y="432"/>
                  <a:pt x="624" y="432"/>
                  <a:pt x="624" y="432"/>
                </a:cubicBezTo>
                <a:cubicBezTo>
                  <a:pt x="624" y="432"/>
                  <a:pt x="624" y="432"/>
                  <a:pt x="624" y="432"/>
                </a:cubicBezTo>
                <a:cubicBezTo>
                  <a:pt x="624" y="432"/>
                  <a:pt x="624" y="432"/>
                  <a:pt x="624" y="432"/>
                </a:cubicBezTo>
                <a:cubicBezTo>
                  <a:pt x="624" y="432"/>
                  <a:pt x="624" y="432"/>
                  <a:pt x="624" y="432"/>
                </a:cubicBezTo>
                <a:cubicBezTo>
                  <a:pt x="624" y="432"/>
                  <a:pt x="624" y="432"/>
                  <a:pt x="624" y="432"/>
                </a:cubicBezTo>
                <a:cubicBezTo>
                  <a:pt x="625" y="431"/>
                  <a:pt x="625" y="431"/>
                  <a:pt x="625" y="431"/>
                </a:cubicBezTo>
                <a:cubicBezTo>
                  <a:pt x="625" y="431"/>
                  <a:pt x="625" y="431"/>
                  <a:pt x="625" y="431"/>
                </a:cubicBezTo>
                <a:cubicBezTo>
                  <a:pt x="625" y="431"/>
                  <a:pt x="625" y="431"/>
                  <a:pt x="625" y="431"/>
                </a:cubicBezTo>
                <a:cubicBezTo>
                  <a:pt x="626" y="430"/>
                  <a:pt x="626" y="430"/>
                  <a:pt x="626" y="430"/>
                </a:cubicBezTo>
                <a:cubicBezTo>
                  <a:pt x="625" y="429"/>
                  <a:pt x="625" y="429"/>
                  <a:pt x="625" y="428"/>
                </a:cubicBezTo>
                <a:cubicBezTo>
                  <a:pt x="625" y="426"/>
                  <a:pt x="626" y="425"/>
                  <a:pt x="628" y="425"/>
                </a:cubicBezTo>
                <a:cubicBezTo>
                  <a:pt x="629" y="425"/>
                  <a:pt x="630" y="426"/>
                  <a:pt x="630" y="427"/>
                </a:cubicBezTo>
                <a:cubicBezTo>
                  <a:pt x="630" y="427"/>
                  <a:pt x="630" y="427"/>
                  <a:pt x="630" y="427"/>
                </a:cubicBezTo>
                <a:cubicBezTo>
                  <a:pt x="630" y="426"/>
                  <a:pt x="630" y="426"/>
                  <a:pt x="630" y="426"/>
                </a:cubicBezTo>
                <a:cubicBezTo>
                  <a:pt x="631" y="426"/>
                  <a:pt x="631" y="426"/>
                  <a:pt x="631" y="426"/>
                </a:cubicBezTo>
                <a:cubicBezTo>
                  <a:pt x="631" y="426"/>
                  <a:pt x="631" y="426"/>
                  <a:pt x="631" y="426"/>
                </a:cubicBezTo>
                <a:cubicBezTo>
                  <a:pt x="631" y="426"/>
                  <a:pt x="631" y="426"/>
                  <a:pt x="631" y="426"/>
                </a:cubicBezTo>
                <a:cubicBezTo>
                  <a:pt x="631" y="426"/>
                  <a:pt x="631" y="426"/>
                  <a:pt x="631" y="426"/>
                </a:cubicBezTo>
                <a:cubicBezTo>
                  <a:pt x="645" y="424"/>
                  <a:pt x="645" y="424"/>
                  <a:pt x="645" y="424"/>
                </a:cubicBezTo>
                <a:cubicBezTo>
                  <a:pt x="645" y="424"/>
                  <a:pt x="645" y="424"/>
                  <a:pt x="645" y="424"/>
                </a:cubicBezTo>
                <a:cubicBezTo>
                  <a:pt x="645" y="424"/>
                  <a:pt x="645" y="424"/>
                  <a:pt x="645" y="424"/>
                </a:cubicBezTo>
                <a:cubicBezTo>
                  <a:pt x="645" y="424"/>
                  <a:pt x="645" y="424"/>
                  <a:pt x="645" y="424"/>
                </a:cubicBezTo>
                <a:cubicBezTo>
                  <a:pt x="645" y="424"/>
                  <a:pt x="645" y="424"/>
                  <a:pt x="645" y="424"/>
                </a:cubicBezTo>
                <a:cubicBezTo>
                  <a:pt x="645" y="424"/>
                  <a:pt x="645" y="424"/>
                  <a:pt x="645" y="424"/>
                </a:cubicBezTo>
                <a:cubicBezTo>
                  <a:pt x="645" y="424"/>
                  <a:pt x="645" y="424"/>
                  <a:pt x="645" y="424"/>
                </a:cubicBezTo>
                <a:cubicBezTo>
                  <a:pt x="645" y="424"/>
                  <a:pt x="645" y="424"/>
                  <a:pt x="645" y="424"/>
                </a:cubicBezTo>
                <a:cubicBezTo>
                  <a:pt x="645" y="424"/>
                  <a:pt x="645" y="424"/>
                  <a:pt x="645" y="424"/>
                </a:cubicBezTo>
                <a:cubicBezTo>
                  <a:pt x="645" y="424"/>
                  <a:pt x="645" y="424"/>
                  <a:pt x="645" y="424"/>
                </a:cubicBezTo>
                <a:cubicBezTo>
                  <a:pt x="645" y="424"/>
                  <a:pt x="645" y="424"/>
                  <a:pt x="645" y="424"/>
                </a:cubicBezTo>
                <a:cubicBezTo>
                  <a:pt x="645" y="424"/>
                  <a:pt x="645" y="424"/>
                  <a:pt x="645" y="424"/>
                </a:cubicBezTo>
                <a:cubicBezTo>
                  <a:pt x="645" y="424"/>
                  <a:pt x="645" y="424"/>
                  <a:pt x="645" y="424"/>
                </a:cubicBezTo>
                <a:cubicBezTo>
                  <a:pt x="645" y="424"/>
                  <a:pt x="645" y="424"/>
                  <a:pt x="645" y="424"/>
                </a:cubicBezTo>
                <a:cubicBezTo>
                  <a:pt x="646" y="424"/>
                  <a:pt x="646" y="424"/>
                  <a:pt x="646" y="424"/>
                </a:cubicBezTo>
                <a:cubicBezTo>
                  <a:pt x="646" y="424"/>
                  <a:pt x="646" y="424"/>
                  <a:pt x="646" y="424"/>
                </a:cubicBezTo>
                <a:cubicBezTo>
                  <a:pt x="646" y="424"/>
                  <a:pt x="646" y="424"/>
                  <a:pt x="646" y="424"/>
                </a:cubicBezTo>
                <a:cubicBezTo>
                  <a:pt x="646" y="424"/>
                  <a:pt x="646" y="424"/>
                  <a:pt x="646" y="424"/>
                </a:cubicBezTo>
                <a:cubicBezTo>
                  <a:pt x="646" y="424"/>
                  <a:pt x="646" y="424"/>
                  <a:pt x="646" y="424"/>
                </a:cubicBezTo>
                <a:cubicBezTo>
                  <a:pt x="646" y="423"/>
                  <a:pt x="646" y="423"/>
                  <a:pt x="646" y="423"/>
                </a:cubicBezTo>
                <a:cubicBezTo>
                  <a:pt x="647" y="423"/>
                  <a:pt x="647" y="423"/>
                  <a:pt x="647" y="423"/>
                </a:cubicBezTo>
                <a:cubicBezTo>
                  <a:pt x="647" y="423"/>
                  <a:pt x="647" y="423"/>
                  <a:pt x="647" y="423"/>
                </a:cubicBezTo>
                <a:cubicBezTo>
                  <a:pt x="646" y="423"/>
                  <a:pt x="646" y="423"/>
                  <a:pt x="646" y="423"/>
                </a:cubicBezTo>
                <a:cubicBezTo>
                  <a:pt x="646" y="423"/>
                  <a:pt x="646" y="423"/>
                  <a:pt x="646" y="423"/>
                </a:cubicBezTo>
                <a:cubicBezTo>
                  <a:pt x="646" y="423"/>
                  <a:pt x="646" y="423"/>
                  <a:pt x="646" y="423"/>
                </a:cubicBezTo>
                <a:cubicBezTo>
                  <a:pt x="646" y="423"/>
                  <a:pt x="646" y="423"/>
                  <a:pt x="646" y="423"/>
                </a:cubicBezTo>
                <a:cubicBezTo>
                  <a:pt x="646" y="422"/>
                  <a:pt x="647" y="422"/>
                  <a:pt x="647" y="422"/>
                </a:cubicBezTo>
                <a:cubicBezTo>
                  <a:pt x="647" y="422"/>
                  <a:pt x="647" y="422"/>
                  <a:pt x="647" y="422"/>
                </a:cubicBezTo>
                <a:cubicBezTo>
                  <a:pt x="647" y="422"/>
                  <a:pt x="647" y="422"/>
                  <a:pt x="647" y="422"/>
                </a:cubicBezTo>
                <a:cubicBezTo>
                  <a:pt x="648" y="422"/>
                  <a:pt x="649" y="422"/>
                  <a:pt x="649" y="422"/>
                </a:cubicBezTo>
                <a:cubicBezTo>
                  <a:pt x="649" y="422"/>
                  <a:pt x="649" y="422"/>
                  <a:pt x="649" y="422"/>
                </a:cubicBezTo>
                <a:cubicBezTo>
                  <a:pt x="649" y="422"/>
                  <a:pt x="649" y="422"/>
                  <a:pt x="649" y="422"/>
                </a:cubicBezTo>
                <a:cubicBezTo>
                  <a:pt x="649" y="422"/>
                  <a:pt x="649" y="422"/>
                  <a:pt x="649" y="422"/>
                </a:cubicBezTo>
                <a:cubicBezTo>
                  <a:pt x="649" y="422"/>
                  <a:pt x="649" y="422"/>
                  <a:pt x="649" y="422"/>
                </a:cubicBezTo>
                <a:cubicBezTo>
                  <a:pt x="649" y="422"/>
                  <a:pt x="649" y="422"/>
                  <a:pt x="649" y="422"/>
                </a:cubicBezTo>
                <a:cubicBezTo>
                  <a:pt x="649" y="422"/>
                  <a:pt x="649" y="422"/>
                  <a:pt x="649" y="422"/>
                </a:cubicBezTo>
                <a:cubicBezTo>
                  <a:pt x="649" y="422"/>
                  <a:pt x="649" y="422"/>
                  <a:pt x="649" y="422"/>
                </a:cubicBezTo>
                <a:cubicBezTo>
                  <a:pt x="649" y="422"/>
                  <a:pt x="649" y="422"/>
                  <a:pt x="649" y="422"/>
                </a:cubicBezTo>
                <a:cubicBezTo>
                  <a:pt x="649" y="422"/>
                  <a:pt x="649" y="422"/>
                  <a:pt x="649" y="422"/>
                </a:cubicBezTo>
                <a:cubicBezTo>
                  <a:pt x="649" y="422"/>
                  <a:pt x="649" y="422"/>
                  <a:pt x="649" y="422"/>
                </a:cubicBezTo>
                <a:cubicBezTo>
                  <a:pt x="649" y="422"/>
                  <a:pt x="649" y="422"/>
                  <a:pt x="649" y="422"/>
                </a:cubicBezTo>
                <a:cubicBezTo>
                  <a:pt x="650" y="422"/>
                  <a:pt x="650" y="422"/>
                  <a:pt x="650" y="422"/>
                </a:cubicBezTo>
                <a:cubicBezTo>
                  <a:pt x="650" y="422"/>
                  <a:pt x="650" y="422"/>
                  <a:pt x="650" y="422"/>
                </a:cubicBezTo>
                <a:cubicBezTo>
                  <a:pt x="650" y="422"/>
                  <a:pt x="650" y="422"/>
                  <a:pt x="650" y="422"/>
                </a:cubicBezTo>
                <a:cubicBezTo>
                  <a:pt x="650" y="422"/>
                  <a:pt x="651" y="422"/>
                  <a:pt x="651" y="422"/>
                </a:cubicBezTo>
                <a:cubicBezTo>
                  <a:pt x="651" y="422"/>
                  <a:pt x="651" y="422"/>
                  <a:pt x="651" y="422"/>
                </a:cubicBezTo>
                <a:cubicBezTo>
                  <a:pt x="651" y="422"/>
                  <a:pt x="651" y="422"/>
                  <a:pt x="651" y="422"/>
                </a:cubicBezTo>
                <a:cubicBezTo>
                  <a:pt x="651" y="422"/>
                  <a:pt x="651" y="422"/>
                  <a:pt x="651" y="422"/>
                </a:cubicBezTo>
                <a:cubicBezTo>
                  <a:pt x="651" y="422"/>
                  <a:pt x="651" y="422"/>
                  <a:pt x="651" y="422"/>
                </a:cubicBezTo>
                <a:cubicBezTo>
                  <a:pt x="651" y="422"/>
                  <a:pt x="651" y="422"/>
                  <a:pt x="651" y="422"/>
                </a:cubicBezTo>
                <a:cubicBezTo>
                  <a:pt x="651" y="422"/>
                  <a:pt x="651" y="422"/>
                  <a:pt x="652" y="421"/>
                </a:cubicBezTo>
                <a:cubicBezTo>
                  <a:pt x="652" y="421"/>
                  <a:pt x="652" y="421"/>
                  <a:pt x="652" y="421"/>
                </a:cubicBezTo>
                <a:cubicBezTo>
                  <a:pt x="652" y="421"/>
                  <a:pt x="652" y="421"/>
                  <a:pt x="652" y="421"/>
                </a:cubicBezTo>
                <a:cubicBezTo>
                  <a:pt x="652" y="422"/>
                  <a:pt x="652" y="422"/>
                  <a:pt x="652" y="422"/>
                </a:cubicBezTo>
                <a:cubicBezTo>
                  <a:pt x="652" y="422"/>
                  <a:pt x="652" y="422"/>
                  <a:pt x="652" y="422"/>
                </a:cubicBezTo>
                <a:cubicBezTo>
                  <a:pt x="652" y="422"/>
                  <a:pt x="652" y="422"/>
                  <a:pt x="652" y="422"/>
                </a:cubicBezTo>
                <a:cubicBezTo>
                  <a:pt x="652" y="422"/>
                  <a:pt x="652" y="422"/>
                  <a:pt x="652" y="422"/>
                </a:cubicBezTo>
                <a:cubicBezTo>
                  <a:pt x="652" y="422"/>
                  <a:pt x="652" y="422"/>
                  <a:pt x="652" y="422"/>
                </a:cubicBezTo>
                <a:cubicBezTo>
                  <a:pt x="652" y="422"/>
                  <a:pt x="652" y="422"/>
                  <a:pt x="652" y="422"/>
                </a:cubicBezTo>
                <a:cubicBezTo>
                  <a:pt x="652" y="422"/>
                  <a:pt x="652" y="422"/>
                  <a:pt x="652" y="422"/>
                </a:cubicBezTo>
                <a:cubicBezTo>
                  <a:pt x="652" y="422"/>
                  <a:pt x="652" y="422"/>
                  <a:pt x="652" y="422"/>
                </a:cubicBezTo>
                <a:cubicBezTo>
                  <a:pt x="652" y="422"/>
                  <a:pt x="652" y="422"/>
                  <a:pt x="652" y="422"/>
                </a:cubicBezTo>
                <a:cubicBezTo>
                  <a:pt x="652" y="422"/>
                  <a:pt x="652" y="422"/>
                  <a:pt x="652" y="422"/>
                </a:cubicBezTo>
                <a:cubicBezTo>
                  <a:pt x="652" y="422"/>
                  <a:pt x="652" y="422"/>
                  <a:pt x="652" y="422"/>
                </a:cubicBezTo>
                <a:cubicBezTo>
                  <a:pt x="652" y="423"/>
                  <a:pt x="652" y="423"/>
                  <a:pt x="652" y="423"/>
                </a:cubicBezTo>
                <a:cubicBezTo>
                  <a:pt x="652" y="423"/>
                  <a:pt x="652" y="423"/>
                  <a:pt x="652" y="423"/>
                </a:cubicBezTo>
                <a:cubicBezTo>
                  <a:pt x="652" y="423"/>
                  <a:pt x="652" y="423"/>
                  <a:pt x="652" y="423"/>
                </a:cubicBezTo>
                <a:cubicBezTo>
                  <a:pt x="652" y="423"/>
                  <a:pt x="652" y="423"/>
                  <a:pt x="652" y="423"/>
                </a:cubicBezTo>
                <a:cubicBezTo>
                  <a:pt x="652" y="423"/>
                  <a:pt x="652" y="423"/>
                  <a:pt x="652" y="423"/>
                </a:cubicBezTo>
                <a:cubicBezTo>
                  <a:pt x="652" y="423"/>
                  <a:pt x="652" y="423"/>
                  <a:pt x="652" y="423"/>
                </a:cubicBezTo>
                <a:cubicBezTo>
                  <a:pt x="652" y="423"/>
                  <a:pt x="652" y="423"/>
                  <a:pt x="652" y="423"/>
                </a:cubicBezTo>
                <a:cubicBezTo>
                  <a:pt x="652" y="423"/>
                  <a:pt x="652" y="423"/>
                  <a:pt x="652" y="423"/>
                </a:cubicBezTo>
                <a:cubicBezTo>
                  <a:pt x="652" y="423"/>
                  <a:pt x="652" y="423"/>
                  <a:pt x="652" y="423"/>
                </a:cubicBezTo>
                <a:cubicBezTo>
                  <a:pt x="652" y="423"/>
                  <a:pt x="652" y="423"/>
                  <a:pt x="652" y="423"/>
                </a:cubicBezTo>
                <a:cubicBezTo>
                  <a:pt x="652" y="423"/>
                  <a:pt x="652" y="423"/>
                  <a:pt x="652" y="423"/>
                </a:cubicBezTo>
                <a:cubicBezTo>
                  <a:pt x="652" y="423"/>
                  <a:pt x="652" y="423"/>
                  <a:pt x="652" y="423"/>
                </a:cubicBezTo>
                <a:cubicBezTo>
                  <a:pt x="652" y="423"/>
                  <a:pt x="652" y="423"/>
                  <a:pt x="652" y="423"/>
                </a:cubicBezTo>
                <a:cubicBezTo>
                  <a:pt x="652" y="423"/>
                  <a:pt x="652" y="423"/>
                  <a:pt x="652" y="423"/>
                </a:cubicBezTo>
                <a:cubicBezTo>
                  <a:pt x="652" y="423"/>
                  <a:pt x="652" y="423"/>
                  <a:pt x="652" y="423"/>
                </a:cubicBezTo>
                <a:cubicBezTo>
                  <a:pt x="653" y="423"/>
                  <a:pt x="653" y="423"/>
                  <a:pt x="653" y="423"/>
                </a:cubicBezTo>
                <a:cubicBezTo>
                  <a:pt x="654" y="422"/>
                  <a:pt x="654" y="422"/>
                  <a:pt x="654" y="422"/>
                </a:cubicBezTo>
                <a:cubicBezTo>
                  <a:pt x="654" y="422"/>
                  <a:pt x="654" y="422"/>
                  <a:pt x="654" y="422"/>
                </a:cubicBezTo>
                <a:cubicBezTo>
                  <a:pt x="654" y="422"/>
                  <a:pt x="654" y="422"/>
                  <a:pt x="654" y="422"/>
                </a:cubicBezTo>
                <a:cubicBezTo>
                  <a:pt x="654" y="422"/>
                  <a:pt x="654" y="422"/>
                  <a:pt x="654" y="422"/>
                </a:cubicBezTo>
                <a:cubicBezTo>
                  <a:pt x="662" y="419"/>
                  <a:pt x="662" y="419"/>
                  <a:pt x="662" y="419"/>
                </a:cubicBezTo>
                <a:cubicBezTo>
                  <a:pt x="662" y="418"/>
                  <a:pt x="662" y="418"/>
                  <a:pt x="662" y="418"/>
                </a:cubicBezTo>
                <a:cubicBezTo>
                  <a:pt x="662" y="418"/>
                  <a:pt x="662" y="418"/>
                  <a:pt x="662" y="418"/>
                </a:cubicBezTo>
                <a:cubicBezTo>
                  <a:pt x="663" y="417"/>
                  <a:pt x="664" y="417"/>
                  <a:pt x="665" y="416"/>
                </a:cubicBezTo>
                <a:cubicBezTo>
                  <a:pt x="665" y="416"/>
                  <a:pt x="666" y="415"/>
                  <a:pt x="667" y="414"/>
                </a:cubicBezTo>
                <a:cubicBezTo>
                  <a:pt x="667" y="414"/>
                  <a:pt x="667" y="414"/>
                  <a:pt x="667" y="414"/>
                </a:cubicBezTo>
                <a:cubicBezTo>
                  <a:pt x="668" y="414"/>
                  <a:pt x="669" y="413"/>
                  <a:pt x="669" y="413"/>
                </a:cubicBezTo>
                <a:cubicBezTo>
                  <a:pt x="671" y="411"/>
                  <a:pt x="674" y="410"/>
                  <a:pt x="678" y="410"/>
                </a:cubicBezTo>
                <a:cubicBezTo>
                  <a:pt x="682" y="410"/>
                  <a:pt x="704" y="410"/>
                  <a:pt x="708" y="410"/>
                </a:cubicBezTo>
                <a:cubicBezTo>
                  <a:pt x="709" y="408"/>
                  <a:pt x="709" y="407"/>
                  <a:pt x="710" y="406"/>
                </a:cubicBezTo>
                <a:cubicBezTo>
                  <a:pt x="711" y="406"/>
                  <a:pt x="713" y="406"/>
                  <a:pt x="714" y="406"/>
                </a:cubicBezTo>
                <a:cubicBezTo>
                  <a:pt x="715" y="407"/>
                  <a:pt x="716" y="407"/>
                  <a:pt x="717" y="405"/>
                </a:cubicBezTo>
                <a:cubicBezTo>
                  <a:pt x="718" y="403"/>
                  <a:pt x="720" y="401"/>
                  <a:pt x="721" y="400"/>
                </a:cubicBezTo>
                <a:cubicBezTo>
                  <a:pt x="721" y="399"/>
                  <a:pt x="721" y="399"/>
                  <a:pt x="721" y="399"/>
                </a:cubicBezTo>
                <a:cubicBezTo>
                  <a:pt x="720" y="398"/>
                  <a:pt x="721" y="397"/>
                  <a:pt x="724" y="391"/>
                </a:cubicBezTo>
                <a:cubicBezTo>
                  <a:pt x="724" y="391"/>
                  <a:pt x="724" y="391"/>
                  <a:pt x="724" y="391"/>
                </a:cubicBezTo>
                <a:cubicBezTo>
                  <a:pt x="726" y="388"/>
                  <a:pt x="730" y="381"/>
                  <a:pt x="730" y="380"/>
                </a:cubicBezTo>
                <a:cubicBezTo>
                  <a:pt x="730" y="380"/>
                  <a:pt x="731" y="379"/>
                  <a:pt x="732" y="379"/>
                </a:cubicBezTo>
                <a:cubicBezTo>
                  <a:pt x="732" y="378"/>
                  <a:pt x="733" y="378"/>
                  <a:pt x="734" y="379"/>
                </a:cubicBezTo>
                <a:cubicBezTo>
                  <a:pt x="736" y="379"/>
                  <a:pt x="735" y="381"/>
                  <a:pt x="735" y="381"/>
                </a:cubicBezTo>
                <a:cubicBezTo>
                  <a:pt x="736" y="382"/>
                  <a:pt x="736" y="382"/>
                  <a:pt x="736" y="382"/>
                </a:cubicBezTo>
                <a:cubicBezTo>
                  <a:pt x="737" y="382"/>
                  <a:pt x="737" y="382"/>
                  <a:pt x="737" y="382"/>
                </a:cubicBezTo>
                <a:cubicBezTo>
                  <a:pt x="737" y="381"/>
                  <a:pt x="737" y="381"/>
                  <a:pt x="737" y="381"/>
                </a:cubicBezTo>
                <a:cubicBezTo>
                  <a:pt x="739" y="380"/>
                  <a:pt x="742" y="379"/>
                  <a:pt x="744" y="380"/>
                </a:cubicBezTo>
                <a:cubicBezTo>
                  <a:pt x="744" y="381"/>
                  <a:pt x="745" y="381"/>
                  <a:pt x="746" y="382"/>
                </a:cubicBezTo>
                <a:cubicBezTo>
                  <a:pt x="746" y="382"/>
                  <a:pt x="746" y="382"/>
                  <a:pt x="746" y="382"/>
                </a:cubicBezTo>
                <a:cubicBezTo>
                  <a:pt x="746" y="382"/>
                  <a:pt x="746" y="382"/>
                  <a:pt x="746" y="383"/>
                </a:cubicBezTo>
                <a:cubicBezTo>
                  <a:pt x="748" y="383"/>
                  <a:pt x="748" y="384"/>
                  <a:pt x="748" y="388"/>
                </a:cubicBezTo>
                <a:cubicBezTo>
                  <a:pt x="748" y="392"/>
                  <a:pt x="748" y="400"/>
                  <a:pt x="748" y="400"/>
                </a:cubicBezTo>
                <a:cubicBezTo>
                  <a:pt x="748" y="400"/>
                  <a:pt x="748" y="400"/>
                  <a:pt x="748" y="400"/>
                </a:cubicBezTo>
                <a:cubicBezTo>
                  <a:pt x="748" y="401"/>
                  <a:pt x="748" y="401"/>
                  <a:pt x="748" y="401"/>
                </a:cubicBezTo>
                <a:cubicBezTo>
                  <a:pt x="748" y="401"/>
                  <a:pt x="748" y="401"/>
                  <a:pt x="748" y="402"/>
                </a:cubicBezTo>
                <a:cubicBezTo>
                  <a:pt x="749" y="402"/>
                  <a:pt x="749" y="402"/>
                  <a:pt x="750" y="402"/>
                </a:cubicBezTo>
                <a:cubicBezTo>
                  <a:pt x="750" y="402"/>
                  <a:pt x="750" y="402"/>
                  <a:pt x="750" y="402"/>
                </a:cubicBezTo>
                <a:cubicBezTo>
                  <a:pt x="751" y="402"/>
                  <a:pt x="751" y="403"/>
                  <a:pt x="752" y="403"/>
                </a:cubicBezTo>
                <a:cubicBezTo>
                  <a:pt x="753" y="404"/>
                  <a:pt x="752" y="405"/>
                  <a:pt x="752" y="407"/>
                </a:cubicBezTo>
                <a:cubicBezTo>
                  <a:pt x="752" y="407"/>
                  <a:pt x="752" y="407"/>
                  <a:pt x="752" y="407"/>
                </a:cubicBezTo>
                <a:cubicBezTo>
                  <a:pt x="752" y="407"/>
                  <a:pt x="752" y="408"/>
                  <a:pt x="752" y="408"/>
                </a:cubicBezTo>
                <a:cubicBezTo>
                  <a:pt x="753" y="408"/>
                  <a:pt x="754" y="408"/>
                  <a:pt x="755" y="409"/>
                </a:cubicBezTo>
                <a:cubicBezTo>
                  <a:pt x="755" y="409"/>
                  <a:pt x="755" y="409"/>
                  <a:pt x="755" y="409"/>
                </a:cubicBezTo>
                <a:cubicBezTo>
                  <a:pt x="755" y="410"/>
                  <a:pt x="755" y="410"/>
                  <a:pt x="755" y="410"/>
                </a:cubicBezTo>
                <a:cubicBezTo>
                  <a:pt x="755" y="410"/>
                  <a:pt x="755" y="410"/>
                  <a:pt x="756" y="410"/>
                </a:cubicBezTo>
                <a:cubicBezTo>
                  <a:pt x="756" y="410"/>
                  <a:pt x="756" y="410"/>
                  <a:pt x="756" y="410"/>
                </a:cubicBezTo>
                <a:cubicBezTo>
                  <a:pt x="756" y="410"/>
                  <a:pt x="756" y="410"/>
                  <a:pt x="756" y="410"/>
                </a:cubicBezTo>
                <a:cubicBezTo>
                  <a:pt x="756" y="410"/>
                  <a:pt x="756" y="410"/>
                  <a:pt x="756" y="410"/>
                </a:cubicBezTo>
                <a:cubicBezTo>
                  <a:pt x="756" y="410"/>
                  <a:pt x="756" y="410"/>
                  <a:pt x="756" y="410"/>
                </a:cubicBezTo>
                <a:cubicBezTo>
                  <a:pt x="756" y="411"/>
                  <a:pt x="760" y="410"/>
                  <a:pt x="760" y="410"/>
                </a:cubicBezTo>
                <a:cubicBezTo>
                  <a:pt x="760" y="410"/>
                  <a:pt x="760" y="410"/>
                  <a:pt x="760" y="410"/>
                </a:cubicBezTo>
                <a:cubicBezTo>
                  <a:pt x="761" y="410"/>
                  <a:pt x="762" y="409"/>
                  <a:pt x="763" y="408"/>
                </a:cubicBezTo>
                <a:cubicBezTo>
                  <a:pt x="763" y="407"/>
                  <a:pt x="763" y="407"/>
                  <a:pt x="763" y="407"/>
                </a:cubicBezTo>
                <a:cubicBezTo>
                  <a:pt x="763" y="406"/>
                  <a:pt x="764" y="406"/>
                  <a:pt x="765" y="405"/>
                </a:cubicBezTo>
                <a:cubicBezTo>
                  <a:pt x="764" y="406"/>
                  <a:pt x="764" y="407"/>
                  <a:pt x="764" y="407"/>
                </a:cubicBezTo>
                <a:cubicBezTo>
                  <a:pt x="764" y="407"/>
                  <a:pt x="765" y="408"/>
                  <a:pt x="765" y="408"/>
                </a:cubicBezTo>
                <a:cubicBezTo>
                  <a:pt x="765" y="408"/>
                  <a:pt x="765" y="409"/>
                  <a:pt x="766" y="409"/>
                </a:cubicBezTo>
                <a:cubicBezTo>
                  <a:pt x="767" y="409"/>
                  <a:pt x="770" y="406"/>
                  <a:pt x="771" y="406"/>
                </a:cubicBezTo>
                <a:cubicBezTo>
                  <a:pt x="774" y="404"/>
                  <a:pt x="776" y="403"/>
                  <a:pt x="779" y="401"/>
                </a:cubicBezTo>
                <a:cubicBezTo>
                  <a:pt x="780" y="400"/>
                  <a:pt x="779" y="400"/>
                  <a:pt x="779" y="400"/>
                </a:cubicBezTo>
                <a:cubicBezTo>
                  <a:pt x="779" y="399"/>
                  <a:pt x="778" y="398"/>
                  <a:pt x="777" y="397"/>
                </a:cubicBezTo>
                <a:cubicBezTo>
                  <a:pt x="778" y="398"/>
                  <a:pt x="781" y="401"/>
                  <a:pt x="780" y="402"/>
                </a:cubicBezTo>
                <a:cubicBezTo>
                  <a:pt x="781" y="401"/>
                  <a:pt x="782" y="401"/>
                  <a:pt x="782" y="401"/>
                </a:cubicBezTo>
                <a:cubicBezTo>
                  <a:pt x="781" y="402"/>
                  <a:pt x="780" y="403"/>
                  <a:pt x="779" y="404"/>
                </a:cubicBezTo>
                <a:cubicBezTo>
                  <a:pt x="779" y="405"/>
                  <a:pt x="777" y="406"/>
                  <a:pt x="777" y="407"/>
                </a:cubicBezTo>
                <a:cubicBezTo>
                  <a:pt x="777" y="408"/>
                  <a:pt x="779" y="406"/>
                  <a:pt x="780" y="406"/>
                </a:cubicBezTo>
                <a:cubicBezTo>
                  <a:pt x="780" y="406"/>
                  <a:pt x="781" y="406"/>
                  <a:pt x="782" y="406"/>
                </a:cubicBezTo>
                <a:cubicBezTo>
                  <a:pt x="782" y="406"/>
                  <a:pt x="783" y="406"/>
                  <a:pt x="784" y="406"/>
                </a:cubicBezTo>
                <a:cubicBezTo>
                  <a:pt x="784" y="406"/>
                  <a:pt x="785" y="406"/>
                  <a:pt x="785" y="406"/>
                </a:cubicBezTo>
                <a:cubicBezTo>
                  <a:pt x="786" y="407"/>
                  <a:pt x="786" y="406"/>
                  <a:pt x="787" y="406"/>
                </a:cubicBezTo>
                <a:cubicBezTo>
                  <a:pt x="788" y="406"/>
                  <a:pt x="790" y="406"/>
                  <a:pt x="791" y="407"/>
                </a:cubicBezTo>
                <a:cubicBezTo>
                  <a:pt x="791" y="407"/>
                  <a:pt x="791" y="407"/>
                  <a:pt x="792" y="407"/>
                </a:cubicBezTo>
                <a:cubicBezTo>
                  <a:pt x="789" y="408"/>
                  <a:pt x="786" y="410"/>
                  <a:pt x="784" y="411"/>
                </a:cubicBezTo>
                <a:cubicBezTo>
                  <a:pt x="783" y="410"/>
                  <a:pt x="783" y="410"/>
                  <a:pt x="782" y="409"/>
                </a:cubicBezTo>
                <a:cubicBezTo>
                  <a:pt x="781" y="409"/>
                  <a:pt x="781" y="410"/>
                  <a:pt x="781" y="409"/>
                </a:cubicBezTo>
                <a:cubicBezTo>
                  <a:pt x="782" y="408"/>
                  <a:pt x="782" y="408"/>
                  <a:pt x="782" y="407"/>
                </a:cubicBezTo>
                <a:cubicBezTo>
                  <a:pt x="781" y="406"/>
                  <a:pt x="779" y="407"/>
                  <a:pt x="779" y="408"/>
                </a:cubicBezTo>
                <a:cubicBezTo>
                  <a:pt x="776" y="410"/>
                  <a:pt x="772" y="412"/>
                  <a:pt x="769" y="414"/>
                </a:cubicBezTo>
                <a:cubicBezTo>
                  <a:pt x="767" y="416"/>
                  <a:pt x="766" y="416"/>
                  <a:pt x="765" y="418"/>
                </a:cubicBezTo>
                <a:cubicBezTo>
                  <a:pt x="764" y="419"/>
                  <a:pt x="764" y="420"/>
                  <a:pt x="763" y="421"/>
                </a:cubicBezTo>
                <a:cubicBezTo>
                  <a:pt x="763" y="421"/>
                  <a:pt x="763" y="422"/>
                  <a:pt x="763" y="423"/>
                </a:cubicBezTo>
                <a:cubicBezTo>
                  <a:pt x="763" y="423"/>
                  <a:pt x="763" y="424"/>
                  <a:pt x="763" y="424"/>
                </a:cubicBezTo>
                <a:cubicBezTo>
                  <a:pt x="763" y="425"/>
                  <a:pt x="763" y="425"/>
                  <a:pt x="763" y="426"/>
                </a:cubicBezTo>
                <a:cubicBezTo>
                  <a:pt x="764" y="427"/>
                  <a:pt x="764" y="427"/>
                  <a:pt x="765" y="427"/>
                </a:cubicBezTo>
                <a:cubicBezTo>
                  <a:pt x="765" y="427"/>
                  <a:pt x="765" y="426"/>
                  <a:pt x="765" y="426"/>
                </a:cubicBezTo>
                <a:cubicBezTo>
                  <a:pt x="767" y="427"/>
                  <a:pt x="766" y="427"/>
                  <a:pt x="767" y="429"/>
                </a:cubicBezTo>
                <a:cubicBezTo>
                  <a:pt x="767" y="429"/>
                  <a:pt x="767" y="430"/>
                  <a:pt x="768" y="430"/>
                </a:cubicBezTo>
                <a:cubicBezTo>
                  <a:pt x="768" y="430"/>
                  <a:pt x="770" y="429"/>
                  <a:pt x="770" y="430"/>
                </a:cubicBezTo>
                <a:cubicBezTo>
                  <a:pt x="770" y="429"/>
                  <a:pt x="771" y="428"/>
                  <a:pt x="772" y="428"/>
                </a:cubicBezTo>
                <a:cubicBezTo>
                  <a:pt x="772" y="427"/>
                  <a:pt x="771" y="426"/>
                  <a:pt x="772" y="428"/>
                </a:cubicBezTo>
                <a:cubicBezTo>
                  <a:pt x="772" y="427"/>
                  <a:pt x="772" y="427"/>
                  <a:pt x="773" y="426"/>
                </a:cubicBezTo>
                <a:cubicBezTo>
                  <a:pt x="773" y="427"/>
                  <a:pt x="773" y="427"/>
                  <a:pt x="774" y="428"/>
                </a:cubicBezTo>
                <a:cubicBezTo>
                  <a:pt x="775" y="426"/>
                  <a:pt x="775" y="426"/>
                  <a:pt x="777" y="425"/>
                </a:cubicBezTo>
                <a:cubicBezTo>
                  <a:pt x="777" y="424"/>
                  <a:pt x="779" y="423"/>
                  <a:pt x="778" y="423"/>
                </a:cubicBezTo>
                <a:cubicBezTo>
                  <a:pt x="778" y="423"/>
                  <a:pt x="779" y="422"/>
                  <a:pt x="779" y="422"/>
                </a:cubicBezTo>
                <a:cubicBezTo>
                  <a:pt x="779" y="422"/>
                  <a:pt x="779" y="422"/>
                  <a:pt x="779" y="422"/>
                </a:cubicBezTo>
                <a:cubicBezTo>
                  <a:pt x="779" y="421"/>
                  <a:pt x="783" y="420"/>
                  <a:pt x="781" y="420"/>
                </a:cubicBezTo>
                <a:cubicBezTo>
                  <a:pt x="781" y="420"/>
                  <a:pt x="782" y="420"/>
                  <a:pt x="782" y="420"/>
                </a:cubicBezTo>
                <a:cubicBezTo>
                  <a:pt x="782" y="420"/>
                  <a:pt x="781" y="419"/>
                  <a:pt x="782" y="419"/>
                </a:cubicBezTo>
                <a:cubicBezTo>
                  <a:pt x="781" y="419"/>
                  <a:pt x="782" y="418"/>
                  <a:pt x="782" y="417"/>
                </a:cubicBezTo>
                <a:cubicBezTo>
                  <a:pt x="783" y="417"/>
                  <a:pt x="784" y="417"/>
                  <a:pt x="784" y="418"/>
                </a:cubicBezTo>
                <a:cubicBezTo>
                  <a:pt x="784" y="417"/>
                  <a:pt x="784" y="416"/>
                  <a:pt x="785" y="416"/>
                </a:cubicBezTo>
                <a:cubicBezTo>
                  <a:pt x="785" y="416"/>
                  <a:pt x="785" y="416"/>
                  <a:pt x="785" y="415"/>
                </a:cubicBezTo>
                <a:cubicBezTo>
                  <a:pt x="786" y="415"/>
                  <a:pt x="786" y="415"/>
                  <a:pt x="786" y="416"/>
                </a:cubicBezTo>
                <a:cubicBezTo>
                  <a:pt x="786" y="417"/>
                  <a:pt x="786" y="418"/>
                  <a:pt x="787" y="417"/>
                </a:cubicBezTo>
                <a:cubicBezTo>
                  <a:pt x="787" y="418"/>
                  <a:pt x="788" y="418"/>
                  <a:pt x="789" y="418"/>
                </a:cubicBezTo>
                <a:cubicBezTo>
                  <a:pt x="790" y="416"/>
                  <a:pt x="790" y="416"/>
                  <a:pt x="789" y="415"/>
                </a:cubicBezTo>
                <a:cubicBezTo>
                  <a:pt x="790" y="415"/>
                  <a:pt x="790" y="416"/>
                  <a:pt x="792" y="416"/>
                </a:cubicBezTo>
                <a:cubicBezTo>
                  <a:pt x="794" y="416"/>
                  <a:pt x="796" y="415"/>
                  <a:pt x="798" y="415"/>
                </a:cubicBezTo>
                <a:cubicBezTo>
                  <a:pt x="804" y="412"/>
                  <a:pt x="810" y="410"/>
                  <a:pt x="816" y="407"/>
                </a:cubicBezTo>
                <a:cubicBezTo>
                  <a:pt x="815" y="406"/>
                  <a:pt x="813" y="405"/>
                  <a:pt x="812" y="404"/>
                </a:cubicBezTo>
                <a:cubicBezTo>
                  <a:pt x="812" y="403"/>
                  <a:pt x="812" y="403"/>
                  <a:pt x="811" y="403"/>
                </a:cubicBezTo>
                <a:cubicBezTo>
                  <a:pt x="810" y="402"/>
                  <a:pt x="808" y="403"/>
                  <a:pt x="807" y="403"/>
                </a:cubicBezTo>
                <a:cubicBezTo>
                  <a:pt x="807" y="402"/>
                  <a:pt x="806" y="401"/>
                  <a:pt x="807" y="400"/>
                </a:cubicBezTo>
                <a:cubicBezTo>
                  <a:pt x="805" y="400"/>
                  <a:pt x="804" y="401"/>
                  <a:pt x="803" y="402"/>
                </a:cubicBezTo>
                <a:cubicBezTo>
                  <a:pt x="803" y="402"/>
                  <a:pt x="801" y="403"/>
                  <a:pt x="801" y="403"/>
                </a:cubicBezTo>
                <a:cubicBezTo>
                  <a:pt x="801" y="404"/>
                  <a:pt x="799" y="404"/>
                  <a:pt x="799" y="403"/>
                </a:cubicBezTo>
                <a:cubicBezTo>
                  <a:pt x="798" y="403"/>
                  <a:pt x="800" y="402"/>
                  <a:pt x="798" y="402"/>
                </a:cubicBezTo>
                <a:cubicBezTo>
                  <a:pt x="798" y="402"/>
                  <a:pt x="798" y="401"/>
                  <a:pt x="799" y="401"/>
                </a:cubicBezTo>
                <a:cubicBezTo>
                  <a:pt x="797" y="401"/>
                  <a:pt x="794" y="401"/>
                  <a:pt x="793" y="402"/>
                </a:cubicBezTo>
                <a:cubicBezTo>
                  <a:pt x="793" y="400"/>
                  <a:pt x="786" y="399"/>
                  <a:pt x="785" y="399"/>
                </a:cubicBezTo>
                <a:cubicBezTo>
                  <a:pt x="785" y="398"/>
                  <a:pt x="787" y="398"/>
                  <a:pt x="788" y="397"/>
                </a:cubicBezTo>
                <a:cubicBezTo>
                  <a:pt x="786" y="397"/>
                  <a:pt x="785" y="397"/>
                  <a:pt x="784" y="396"/>
                </a:cubicBezTo>
                <a:cubicBezTo>
                  <a:pt x="783" y="396"/>
                  <a:pt x="783" y="396"/>
                  <a:pt x="782" y="396"/>
                </a:cubicBezTo>
                <a:cubicBezTo>
                  <a:pt x="781" y="395"/>
                  <a:pt x="780" y="395"/>
                  <a:pt x="780" y="396"/>
                </a:cubicBezTo>
                <a:cubicBezTo>
                  <a:pt x="780" y="394"/>
                  <a:pt x="780" y="394"/>
                  <a:pt x="778" y="394"/>
                </a:cubicBezTo>
                <a:cubicBezTo>
                  <a:pt x="779" y="393"/>
                  <a:pt x="779" y="393"/>
                  <a:pt x="778" y="392"/>
                </a:cubicBezTo>
                <a:cubicBezTo>
                  <a:pt x="778" y="391"/>
                  <a:pt x="778" y="390"/>
                  <a:pt x="778" y="390"/>
                </a:cubicBezTo>
                <a:cubicBezTo>
                  <a:pt x="777" y="388"/>
                  <a:pt x="776" y="388"/>
                  <a:pt x="776" y="386"/>
                </a:cubicBezTo>
                <a:cubicBezTo>
                  <a:pt x="776" y="386"/>
                  <a:pt x="777" y="386"/>
                  <a:pt x="777" y="386"/>
                </a:cubicBezTo>
                <a:cubicBezTo>
                  <a:pt x="777" y="385"/>
                  <a:pt x="777" y="385"/>
                  <a:pt x="777" y="385"/>
                </a:cubicBezTo>
                <a:cubicBezTo>
                  <a:pt x="775" y="384"/>
                  <a:pt x="773" y="385"/>
                  <a:pt x="771" y="385"/>
                </a:cubicBezTo>
                <a:cubicBezTo>
                  <a:pt x="773" y="383"/>
                  <a:pt x="775" y="382"/>
                  <a:pt x="776" y="381"/>
                </a:cubicBezTo>
                <a:cubicBezTo>
                  <a:pt x="776" y="380"/>
                  <a:pt x="776" y="379"/>
                  <a:pt x="776" y="378"/>
                </a:cubicBezTo>
                <a:cubicBezTo>
                  <a:pt x="777" y="377"/>
                  <a:pt x="777" y="377"/>
                  <a:pt x="778" y="376"/>
                </a:cubicBezTo>
                <a:cubicBezTo>
                  <a:pt x="776" y="376"/>
                  <a:pt x="773" y="376"/>
                  <a:pt x="770" y="377"/>
                </a:cubicBezTo>
                <a:cubicBezTo>
                  <a:pt x="770" y="377"/>
                  <a:pt x="769" y="377"/>
                  <a:pt x="769" y="377"/>
                </a:cubicBezTo>
                <a:cubicBezTo>
                  <a:pt x="768" y="377"/>
                  <a:pt x="768" y="375"/>
                  <a:pt x="767" y="375"/>
                </a:cubicBezTo>
                <a:cubicBezTo>
                  <a:pt x="766" y="373"/>
                  <a:pt x="764" y="373"/>
                  <a:pt x="762" y="372"/>
                </a:cubicBezTo>
                <a:cubicBezTo>
                  <a:pt x="763" y="372"/>
                  <a:pt x="763" y="372"/>
                  <a:pt x="763" y="372"/>
                </a:cubicBezTo>
                <a:cubicBezTo>
                  <a:pt x="764" y="371"/>
                  <a:pt x="764" y="371"/>
                  <a:pt x="764" y="371"/>
                </a:cubicBezTo>
                <a:cubicBezTo>
                  <a:pt x="764" y="371"/>
                  <a:pt x="764" y="371"/>
                  <a:pt x="764" y="371"/>
                </a:cubicBezTo>
                <a:cubicBezTo>
                  <a:pt x="764" y="371"/>
                  <a:pt x="764" y="371"/>
                  <a:pt x="764" y="371"/>
                </a:cubicBezTo>
                <a:cubicBezTo>
                  <a:pt x="765" y="371"/>
                  <a:pt x="765" y="371"/>
                  <a:pt x="765" y="371"/>
                </a:cubicBezTo>
                <a:cubicBezTo>
                  <a:pt x="766" y="371"/>
                  <a:pt x="766" y="371"/>
                  <a:pt x="766" y="371"/>
                </a:cubicBezTo>
                <a:cubicBezTo>
                  <a:pt x="766" y="371"/>
                  <a:pt x="766" y="371"/>
                  <a:pt x="766" y="371"/>
                </a:cubicBezTo>
                <a:cubicBezTo>
                  <a:pt x="766" y="371"/>
                  <a:pt x="766" y="371"/>
                  <a:pt x="766" y="371"/>
                </a:cubicBezTo>
                <a:cubicBezTo>
                  <a:pt x="766" y="371"/>
                  <a:pt x="766" y="371"/>
                  <a:pt x="766" y="371"/>
                </a:cubicBezTo>
                <a:cubicBezTo>
                  <a:pt x="766" y="371"/>
                  <a:pt x="766" y="371"/>
                  <a:pt x="766" y="371"/>
                </a:cubicBezTo>
                <a:cubicBezTo>
                  <a:pt x="766" y="371"/>
                  <a:pt x="766" y="371"/>
                  <a:pt x="766" y="371"/>
                </a:cubicBezTo>
                <a:cubicBezTo>
                  <a:pt x="766" y="371"/>
                  <a:pt x="766" y="371"/>
                  <a:pt x="766" y="371"/>
                </a:cubicBezTo>
                <a:cubicBezTo>
                  <a:pt x="766" y="371"/>
                  <a:pt x="766" y="371"/>
                  <a:pt x="766" y="371"/>
                </a:cubicBezTo>
                <a:cubicBezTo>
                  <a:pt x="767" y="371"/>
                  <a:pt x="767" y="371"/>
                  <a:pt x="767" y="371"/>
                </a:cubicBezTo>
                <a:cubicBezTo>
                  <a:pt x="767" y="371"/>
                  <a:pt x="767" y="371"/>
                  <a:pt x="767" y="371"/>
                </a:cubicBezTo>
                <a:cubicBezTo>
                  <a:pt x="767" y="371"/>
                  <a:pt x="767" y="371"/>
                  <a:pt x="767" y="371"/>
                </a:cubicBezTo>
                <a:cubicBezTo>
                  <a:pt x="767" y="371"/>
                  <a:pt x="767" y="371"/>
                  <a:pt x="767" y="371"/>
                </a:cubicBezTo>
                <a:cubicBezTo>
                  <a:pt x="767" y="371"/>
                  <a:pt x="767" y="371"/>
                  <a:pt x="767" y="371"/>
                </a:cubicBezTo>
                <a:cubicBezTo>
                  <a:pt x="767" y="371"/>
                  <a:pt x="767" y="371"/>
                  <a:pt x="767" y="371"/>
                </a:cubicBezTo>
                <a:cubicBezTo>
                  <a:pt x="767" y="371"/>
                  <a:pt x="767" y="371"/>
                  <a:pt x="767" y="371"/>
                </a:cubicBezTo>
                <a:cubicBezTo>
                  <a:pt x="767" y="371"/>
                  <a:pt x="767" y="371"/>
                  <a:pt x="767" y="371"/>
                </a:cubicBezTo>
                <a:cubicBezTo>
                  <a:pt x="767" y="371"/>
                  <a:pt x="767" y="371"/>
                  <a:pt x="767" y="371"/>
                </a:cubicBezTo>
                <a:cubicBezTo>
                  <a:pt x="767" y="371"/>
                  <a:pt x="767" y="371"/>
                  <a:pt x="767" y="371"/>
                </a:cubicBezTo>
                <a:cubicBezTo>
                  <a:pt x="767" y="371"/>
                  <a:pt x="767" y="371"/>
                  <a:pt x="767" y="371"/>
                </a:cubicBezTo>
                <a:cubicBezTo>
                  <a:pt x="767" y="371"/>
                  <a:pt x="767" y="371"/>
                  <a:pt x="767" y="371"/>
                </a:cubicBezTo>
                <a:cubicBezTo>
                  <a:pt x="768" y="371"/>
                  <a:pt x="768" y="371"/>
                  <a:pt x="768" y="371"/>
                </a:cubicBezTo>
                <a:cubicBezTo>
                  <a:pt x="768" y="371"/>
                  <a:pt x="768" y="371"/>
                  <a:pt x="768" y="371"/>
                </a:cubicBezTo>
                <a:cubicBezTo>
                  <a:pt x="768" y="371"/>
                  <a:pt x="768" y="371"/>
                  <a:pt x="768" y="371"/>
                </a:cubicBezTo>
                <a:cubicBezTo>
                  <a:pt x="768" y="371"/>
                  <a:pt x="768" y="371"/>
                  <a:pt x="768" y="371"/>
                </a:cubicBezTo>
                <a:cubicBezTo>
                  <a:pt x="768" y="371"/>
                  <a:pt x="768" y="371"/>
                  <a:pt x="768" y="371"/>
                </a:cubicBezTo>
                <a:cubicBezTo>
                  <a:pt x="768" y="371"/>
                  <a:pt x="768" y="372"/>
                  <a:pt x="769" y="372"/>
                </a:cubicBezTo>
                <a:cubicBezTo>
                  <a:pt x="769" y="372"/>
                  <a:pt x="769" y="372"/>
                  <a:pt x="769" y="372"/>
                </a:cubicBezTo>
                <a:cubicBezTo>
                  <a:pt x="769" y="372"/>
                  <a:pt x="769" y="372"/>
                  <a:pt x="769" y="372"/>
                </a:cubicBezTo>
                <a:cubicBezTo>
                  <a:pt x="769" y="372"/>
                  <a:pt x="769" y="372"/>
                  <a:pt x="769" y="372"/>
                </a:cubicBezTo>
                <a:cubicBezTo>
                  <a:pt x="769" y="372"/>
                  <a:pt x="769" y="372"/>
                  <a:pt x="769" y="372"/>
                </a:cubicBezTo>
                <a:cubicBezTo>
                  <a:pt x="769" y="372"/>
                  <a:pt x="769" y="372"/>
                  <a:pt x="769" y="372"/>
                </a:cubicBezTo>
                <a:cubicBezTo>
                  <a:pt x="769" y="372"/>
                  <a:pt x="769" y="372"/>
                  <a:pt x="769" y="372"/>
                </a:cubicBezTo>
                <a:cubicBezTo>
                  <a:pt x="770" y="372"/>
                  <a:pt x="770" y="372"/>
                  <a:pt x="770" y="372"/>
                </a:cubicBezTo>
                <a:cubicBezTo>
                  <a:pt x="770" y="372"/>
                  <a:pt x="770" y="372"/>
                  <a:pt x="770" y="372"/>
                </a:cubicBezTo>
                <a:cubicBezTo>
                  <a:pt x="770" y="372"/>
                  <a:pt x="770" y="372"/>
                  <a:pt x="770" y="372"/>
                </a:cubicBezTo>
                <a:cubicBezTo>
                  <a:pt x="770" y="372"/>
                  <a:pt x="770" y="372"/>
                  <a:pt x="770" y="372"/>
                </a:cubicBezTo>
                <a:cubicBezTo>
                  <a:pt x="770" y="372"/>
                  <a:pt x="770" y="372"/>
                  <a:pt x="770" y="372"/>
                </a:cubicBezTo>
                <a:cubicBezTo>
                  <a:pt x="770" y="372"/>
                  <a:pt x="770" y="372"/>
                  <a:pt x="770" y="372"/>
                </a:cubicBezTo>
                <a:cubicBezTo>
                  <a:pt x="770" y="372"/>
                  <a:pt x="770" y="372"/>
                  <a:pt x="770" y="372"/>
                </a:cubicBezTo>
                <a:cubicBezTo>
                  <a:pt x="770" y="372"/>
                  <a:pt x="770" y="372"/>
                  <a:pt x="770" y="372"/>
                </a:cubicBezTo>
                <a:cubicBezTo>
                  <a:pt x="770" y="372"/>
                  <a:pt x="770" y="372"/>
                  <a:pt x="770" y="372"/>
                </a:cubicBezTo>
                <a:cubicBezTo>
                  <a:pt x="770" y="372"/>
                  <a:pt x="770" y="372"/>
                  <a:pt x="770" y="372"/>
                </a:cubicBezTo>
                <a:cubicBezTo>
                  <a:pt x="770" y="372"/>
                  <a:pt x="770" y="372"/>
                  <a:pt x="770" y="372"/>
                </a:cubicBezTo>
                <a:cubicBezTo>
                  <a:pt x="770" y="372"/>
                  <a:pt x="770" y="372"/>
                  <a:pt x="770" y="372"/>
                </a:cubicBezTo>
                <a:cubicBezTo>
                  <a:pt x="770" y="373"/>
                  <a:pt x="770" y="373"/>
                  <a:pt x="770" y="373"/>
                </a:cubicBezTo>
                <a:cubicBezTo>
                  <a:pt x="770" y="373"/>
                  <a:pt x="770" y="373"/>
                  <a:pt x="771" y="373"/>
                </a:cubicBezTo>
                <a:cubicBezTo>
                  <a:pt x="771" y="373"/>
                  <a:pt x="771" y="373"/>
                  <a:pt x="771" y="373"/>
                </a:cubicBezTo>
                <a:cubicBezTo>
                  <a:pt x="771" y="373"/>
                  <a:pt x="771" y="373"/>
                  <a:pt x="771" y="373"/>
                </a:cubicBezTo>
                <a:cubicBezTo>
                  <a:pt x="771" y="373"/>
                  <a:pt x="771" y="373"/>
                  <a:pt x="772" y="373"/>
                </a:cubicBezTo>
                <a:cubicBezTo>
                  <a:pt x="772" y="373"/>
                  <a:pt x="772" y="373"/>
                  <a:pt x="772" y="373"/>
                </a:cubicBezTo>
                <a:cubicBezTo>
                  <a:pt x="772" y="373"/>
                  <a:pt x="772" y="373"/>
                  <a:pt x="772" y="373"/>
                </a:cubicBezTo>
                <a:cubicBezTo>
                  <a:pt x="772" y="373"/>
                  <a:pt x="772" y="373"/>
                  <a:pt x="772" y="373"/>
                </a:cubicBezTo>
                <a:cubicBezTo>
                  <a:pt x="772" y="373"/>
                  <a:pt x="772" y="373"/>
                  <a:pt x="772" y="373"/>
                </a:cubicBezTo>
                <a:cubicBezTo>
                  <a:pt x="772" y="373"/>
                  <a:pt x="772" y="373"/>
                  <a:pt x="772" y="373"/>
                </a:cubicBezTo>
                <a:cubicBezTo>
                  <a:pt x="772" y="373"/>
                  <a:pt x="772" y="373"/>
                  <a:pt x="772" y="373"/>
                </a:cubicBezTo>
                <a:cubicBezTo>
                  <a:pt x="773" y="372"/>
                  <a:pt x="773" y="372"/>
                  <a:pt x="773" y="372"/>
                </a:cubicBezTo>
                <a:cubicBezTo>
                  <a:pt x="773" y="372"/>
                  <a:pt x="773" y="372"/>
                  <a:pt x="773" y="372"/>
                </a:cubicBezTo>
                <a:cubicBezTo>
                  <a:pt x="775" y="371"/>
                  <a:pt x="775" y="371"/>
                  <a:pt x="775" y="371"/>
                </a:cubicBezTo>
                <a:cubicBezTo>
                  <a:pt x="776" y="370"/>
                  <a:pt x="776" y="370"/>
                  <a:pt x="776" y="370"/>
                </a:cubicBezTo>
                <a:cubicBezTo>
                  <a:pt x="777" y="370"/>
                  <a:pt x="777" y="370"/>
                  <a:pt x="777" y="370"/>
                </a:cubicBezTo>
                <a:cubicBezTo>
                  <a:pt x="777" y="370"/>
                  <a:pt x="777" y="370"/>
                  <a:pt x="777" y="370"/>
                </a:cubicBezTo>
                <a:cubicBezTo>
                  <a:pt x="778" y="369"/>
                  <a:pt x="778" y="369"/>
                  <a:pt x="778" y="369"/>
                </a:cubicBezTo>
                <a:cubicBezTo>
                  <a:pt x="778" y="369"/>
                  <a:pt x="778" y="369"/>
                  <a:pt x="778" y="369"/>
                </a:cubicBezTo>
                <a:cubicBezTo>
                  <a:pt x="778" y="369"/>
                  <a:pt x="778" y="369"/>
                  <a:pt x="778" y="369"/>
                </a:cubicBezTo>
                <a:cubicBezTo>
                  <a:pt x="778" y="369"/>
                  <a:pt x="778" y="369"/>
                  <a:pt x="778" y="369"/>
                </a:cubicBezTo>
                <a:cubicBezTo>
                  <a:pt x="778" y="369"/>
                  <a:pt x="778" y="369"/>
                  <a:pt x="778" y="369"/>
                </a:cubicBezTo>
                <a:cubicBezTo>
                  <a:pt x="778" y="369"/>
                  <a:pt x="778" y="369"/>
                  <a:pt x="778" y="369"/>
                </a:cubicBezTo>
                <a:cubicBezTo>
                  <a:pt x="778" y="369"/>
                  <a:pt x="778" y="369"/>
                  <a:pt x="778" y="369"/>
                </a:cubicBezTo>
                <a:cubicBezTo>
                  <a:pt x="778" y="369"/>
                  <a:pt x="778" y="369"/>
                  <a:pt x="778" y="369"/>
                </a:cubicBezTo>
                <a:cubicBezTo>
                  <a:pt x="778" y="369"/>
                  <a:pt x="778" y="369"/>
                  <a:pt x="778" y="369"/>
                </a:cubicBezTo>
                <a:cubicBezTo>
                  <a:pt x="778" y="369"/>
                  <a:pt x="778" y="369"/>
                  <a:pt x="778" y="369"/>
                </a:cubicBezTo>
                <a:cubicBezTo>
                  <a:pt x="778" y="369"/>
                  <a:pt x="778" y="369"/>
                  <a:pt x="778" y="369"/>
                </a:cubicBezTo>
                <a:cubicBezTo>
                  <a:pt x="778" y="369"/>
                  <a:pt x="778" y="369"/>
                  <a:pt x="778" y="369"/>
                </a:cubicBezTo>
                <a:cubicBezTo>
                  <a:pt x="778" y="369"/>
                  <a:pt x="778" y="369"/>
                  <a:pt x="778" y="369"/>
                </a:cubicBezTo>
                <a:cubicBezTo>
                  <a:pt x="778" y="369"/>
                  <a:pt x="778" y="369"/>
                  <a:pt x="778" y="369"/>
                </a:cubicBezTo>
                <a:cubicBezTo>
                  <a:pt x="778" y="368"/>
                  <a:pt x="778" y="368"/>
                  <a:pt x="778" y="368"/>
                </a:cubicBezTo>
                <a:cubicBezTo>
                  <a:pt x="778" y="368"/>
                  <a:pt x="778" y="368"/>
                  <a:pt x="778" y="368"/>
                </a:cubicBezTo>
                <a:cubicBezTo>
                  <a:pt x="778" y="368"/>
                  <a:pt x="778" y="368"/>
                  <a:pt x="778" y="368"/>
                </a:cubicBezTo>
                <a:cubicBezTo>
                  <a:pt x="778" y="368"/>
                  <a:pt x="778" y="368"/>
                  <a:pt x="778" y="368"/>
                </a:cubicBezTo>
                <a:cubicBezTo>
                  <a:pt x="778" y="368"/>
                  <a:pt x="778" y="368"/>
                  <a:pt x="778" y="368"/>
                </a:cubicBezTo>
                <a:cubicBezTo>
                  <a:pt x="778" y="368"/>
                  <a:pt x="778" y="368"/>
                  <a:pt x="778" y="368"/>
                </a:cubicBezTo>
                <a:cubicBezTo>
                  <a:pt x="778" y="368"/>
                  <a:pt x="778" y="368"/>
                  <a:pt x="778" y="368"/>
                </a:cubicBezTo>
                <a:cubicBezTo>
                  <a:pt x="779" y="368"/>
                  <a:pt x="779" y="368"/>
                  <a:pt x="779" y="368"/>
                </a:cubicBezTo>
                <a:cubicBezTo>
                  <a:pt x="779" y="368"/>
                  <a:pt x="779" y="368"/>
                  <a:pt x="780" y="368"/>
                </a:cubicBezTo>
                <a:cubicBezTo>
                  <a:pt x="780" y="368"/>
                  <a:pt x="780" y="368"/>
                  <a:pt x="780" y="368"/>
                </a:cubicBezTo>
                <a:cubicBezTo>
                  <a:pt x="780" y="368"/>
                  <a:pt x="780" y="368"/>
                  <a:pt x="780" y="368"/>
                </a:cubicBezTo>
                <a:cubicBezTo>
                  <a:pt x="780" y="367"/>
                  <a:pt x="781" y="367"/>
                  <a:pt x="782" y="367"/>
                </a:cubicBezTo>
                <a:cubicBezTo>
                  <a:pt x="782" y="367"/>
                  <a:pt x="782" y="367"/>
                  <a:pt x="782" y="367"/>
                </a:cubicBezTo>
                <a:cubicBezTo>
                  <a:pt x="782" y="367"/>
                  <a:pt x="782" y="367"/>
                  <a:pt x="782" y="367"/>
                </a:cubicBezTo>
                <a:cubicBezTo>
                  <a:pt x="782" y="367"/>
                  <a:pt x="782" y="367"/>
                  <a:pt x="782" y="367"/>
                </a:cubicBezTo>
                <a:cubicBezTo>
                  <a:pt x="782" y="367"/>
                  <a:pt x="782" y="367"/>
                  <a:pt x="782" y="367"/>
                </a:cubicBezTo>
                <a:cubicBezTo>
                  <a:pt x="782" y="366"/>
                  <a:pt x="782" y="366"/>
                  <a:pt x="782" y="366"/>
                </a:cubicBezTo>
                <a:cubicBezTo>
                  <a:pt x="783" y="366"/>
                  <a:pt x="783" y="366"/>
                  <a:pt x="783" y="366"/>
                </a:cubicBezTo>
                <a:cubicBezTo>
                  <a:pt x="783" y="366"/>
                  <a:pt x="783" y="366"/>
                  <a:pt x="783" y="366"/>
                </a:cubicBezTo>
                <a:cubicBezTo>
                  <a:pt x="783" y="366"/>
                  <a:pt x="783" y="366"/>
                  <a:pt x="783" y="366"/>
                </a:cubicBezTo>
                <a:cubicBezTo>
                  <a:pt x="783" y="366"/>
                  <a:pt x="783" y="366"/>
                  <a:pt x="783" y="366"/>
                </a:cubicBezTo>
                <a:cubicBezTo>
                  <a:pt x="783" y="366"/>
                  <a:pt x="783" y="366"/>
                  <a:pt x="783" y="366"/>
                </a:cubicBezTo>
                <a:cubicBezTo>
                  <a:pt x="783" y="366"/>
                  <a:pt x="783" y="366"/>
                  <a:pt x="783" y="366"/>
                </a:cubicBezTo>
                <a:cubicBezTo>
                  <a:pt x="783" y="366"/>
                  <a:pt x="783" y="366"/>
                  <a:pt x="783" y="366"/>
                </a:cubicBezTo>
                <a:cubicBezTo>
                  <a:pt x="783" y="366"/>
                  <a:pt x="783" y="366"/>
                  <a:pt x="783" y="366"/>
                </a:cubicBezTo>
                <a:cubicBezTo>
                  <a:pt x="783" y="366"/>
                  <a:pt x="783" y="366"/>
                  <a:pt x="783" y="366"/>
                </a:cubicBezTo>
                <a:cubicBezTo>
                  <a:pt x="783" y="366"/>
                  <a:pt x="783" y="366"/>
                  <a:pt x="783" y="366"/>
                </a:cubicBezTo>
                <a:cubicBezTo>
                  <a:pt x="783" y="366"/>
                  <a:pt x="783" y="366"/>
                  <a:pt x="783" y="366"/>
                </a:cubicBezTo>
                <a:cubicBezTo>
                  <a:pt x="783" y="366"/>
                  <a:pt x="783" y="366"/>
                  <a:pt x="783" y="366"/>
                </a:cubicBezTo>
                <a:cubicBezTo>
                  <a:pt x="783" y="366"/>
                  <a:pt x="783" y="366"/>
                  <a:pt x="783" y="366"/>
                </a:cubicBezTo>
                <a:cubicBezTo>
                  <a:pt x="783" y="366"/>
                  <a:pt x="783" y="366"/>
                  <a:pt x="783" y="366"/>
                </a:cubicBezTo>
                <a:cubicBezTo>
                  <a:pt x="783" y="366"/>
                  <a:pt x="783" y="366"/>
                  <a:pt x="783" y="366"/>
                </a:cubicBezTo>
                <a:cubicBezTo>
                  <a:pt x="783" y="365"/>
                  <a:pt x="783" y="365"/>
                  <a:pt x="783" y="365"/>
                </a:cubicBezTo>
                <a:cubicBezTo>
                  <a:pt x="782" y="365"/>
                  <a:pt x="782" y="365"/>
                  <a:pt x="782" y="365"/>
                </a:cubicBezTo>
                <a:cubicBezTo>
                  <a:pt x="782" y="365"/>
                  <a:pt x="782" y="365"/>
                  <a:pt x="782" y="365"/>
                </a:cubicBezTo>
                <a:cubicBezTo>
                  <a:pt x="782" y="365"/>
                  <a:pt x="782" y="365"/>
                  <a:pt x="782" y="365"/>
                </a:cubicBezTo>
                <a:cubicBezTo>
                  <a:pt x="782" y="365"/>
                  <a:pt x="782" y="365"/>
                  <a:pt x="782" y="365"/>
                </a:cubicBezTo>
                <a:cubicBezTo>
                  <a:pt x="782" y="365"/>
                  <a:pt x="782" y="365"/>
                  <a:pt x="782" y="365"/>
                </a:cubicBezTo>
                <a:cubicBezTo>
                  <a:pt x="782" y="365"/>
                  <a:pt x="782" y="365"/>
                  <a:pt x="783" y="364"/>
                </a:cubicBezTo>
                <a:cubicBezTo>
                  <a:pt x="783" y="364"/>
                  <a:pt x="783" y="364"/>
                  <a:pt x="783" y="364"/>
                </a:cubicBezTo>
                <a:cubicBezTo>
                  <a:pt x="783" y="364"/>
                  <a:pt x="783" y="364"/>
                  <a:pt x="783" y="364"/>
                </a:cubicBezTo>
                <a:cubicBezTo>
                  <a:pt x="783" y="364"/>
                  <a:pt x="783" y="364"/>
                  <a:pt x="783" y="364"/>
                </a:cubicBezTo>
                <a:cubicBezTo>
                  <a:pt x="783" y="364"/>
                  <a:pt x="783" y="364"/>
                  <a:pt x="783" y="364"/>
                </a:cubicBezTo>
                <a:cubicBezTo>
                  <a:pt x="783" y="364"/>
                  <a:pt x="783" y="364"/>
                  <a:pt x="783" y="364"/>
                </a:cubicBezTo>
                <a:cubicBezTo>
                  <a:pt x="783" y="364"/>
                  <a:pt x="783" y="364"/>
                  <a:pt x="783" y="364"/>
                </a:cubicBezTo>
                <a:cubicBezTo>
                  <a:pt x="783" y="364"/>
                  <a:pt x="783" y="364"/>
                  <a:pt x="783" y="364"/>
                </a:cubicBezTo>
                <a:cubicBezTo>
                  <a:pt x="783" y="364"/>
                  <a:pt x="783" y="364"/>
                  <a:pt x="783" y="364"/>
                </a:cubicBezTo>
                <a:cubicBezTo>
                  <a:pt x="783" y="363"/>
                  <a:pt x="783" y="363"/>
                  <a:pt x="782" y="363"/>
                </a:cubicBezTo>
                <a:cubicBezTo>
                  <a:pt x="782" y="363"/>
                  <a:pt x="782" y="363"/>
                  <a:pt x="782" y="363"/>
                </a:cubicBezTo>
                <a:cubicBezTo>
                  <a:pt x="782" y="363"/>
                  <a:pt x="782" y="363"/>
                  <a:pt x="782" y="363"/>
                </a:cubicBezTo>
                <a:cubicBezTo>
                  <a:pt x="782" y="363"/>
                  <a:pt x="782" y="363"/>
                  <a:pt x="782" y="363"/>
                </a:cubicBezTo>
                <a:cubicBezTo>
                  <a:pt x="782" y="363"/>
                  <a:pt x="782" y="363"/>
                  <a:pt x="782" y="363"/>
                </a:cubicBezTo>
                <a:cubicBezTo>
                  <a:pt x="782" y="363"/>
                  <a:pt x="782" y="363"/>
                  <a:pt x="782" y="363"/>
                </a:cubicBezTo>
                <a:cubicBezTo>
                  <a:pt x="782" y="363"/>
                  <a:pt x="782" y="363"/>
                  <a:pt x="782" y="363"/>
                </a:cubicBezTo>
                <a:cubicBezTo>
                  <a:pt x="782" y="363"/>
                  <a:pt x="782" y="363"/>
                  <a:pt x="782" y="363"/>
                </a:cubicBezTo>
                <a:cubicBezTo>
                  <a:pt x="781" y="362"/>
                  <a:pt x="781" y="363"/>
                  <a:pt x="781" y="363"/>
                </a:cubicBezTo>
                <a:cubicBezTo>
                  <a:pt x="781" y="363"/>
                  <a:pt x="781" y="363"/>
                  <a:pt x="781" y="363"/>
                </a:cubicBezTo>
                <a:cubicBezTo>
                  <a:pt x="781" y="362"/>
                  <a:pt x="781" y="362"/>
                  <a:pt x="781" y="362"/>
                </a:cubicBezTo>
                <a:cubicBezTo>
                  <a:pt x="781" y="362"/>
                  <a:pt x="781" y="362"/>
                  <a:pt x="781" y="362"/>
                </a:cubicBezTo>
                <a:cubicBezTo>
                  <a:pt x="781" y="362"/>
                  <a:pt x="781" y="362"/>
                  <a:pt x="781" y="362"/>
                </a:cubicBezTo>
                <a:cubicBezTo>
                  <a:pt x="781" y="362"/>
                  <a:pt x="781" y="362"/>
                  <a:pt x="781" y="362"/>
                </a:cubicBezTo>
                <a:cubicBezTo>
                  <a:pt x="781" y="362"/>
                  <a:pt x="781" y="362"/>
                  <a:pt x="781" y="362"/>
                </a:cubicBezTo>
                <a:cubicBezTo>
                  <a:pt x="781" y="362"/>
                  <a:pt x="781" y="362"/>
                  <a:pt x="781" y="362"/>
                </a:cubicBezTo>
                <a:cubicBezTo>
                  <a:pt x="781" y="362"/>
                  <a:pt x="781" y="362"/>
                  <a:pt x="781" y="362"/>
                </a:cubicBezTo>
                <a:cubicBezTo>
                  <a:pt x="780" y="362"/>
                  <a:pt x="780" y="362"/>
                  <a:pt x="780" y="362"/>
                </a:cubicBezTo>
                <a:cubicBezTo>
                  <a:pt x="780" y="362"/>
                  <a:pt x="780" y="362"/>
                  <a:pt x="780" y="362"/>
                </a:cubicBezTo>
                <a:cubicBezTo>
                  <a:pt x="780" y="362"/>
                  <a:pt x="780" y="362"/>
                  <a:pt x="780" y="362"/>
                </a:cubicBezTo>
                <a:cubicBezTo>
                  <a:pt x="780" y="362"/>
                  <a:pt x="780" y="362"/>
                  <a:pt x="780" y="362"/>
                </a:cubicBezTo>
                <a:cubicBezTo>
                  <a:pt x="780" y="362"/>
                  <a:pt x="780" y="362"/>
                  <a:pt x="780" y="361"/>
                </a:cubicBezTo>
                <a:cubicBezTo>
                  <a:pt x="780" y="361"/>
                  <a:pt x="780" y="361"/>
                  <a:pt x="780" y="361"/>
                </a:cubicBezTo>
                <a:cubicBezTo>
                  <a:pt x="780" y="361"/>
                  <a:pt x="780" y="361"/>
                  <a:pt x="780" y="361"/>
                </a:cubicBezTo>
                <a:cubicBezTo>
                  <a:pt x="781" y="362"/>
                  <a:pt x="782" y="362"/>
                  <a:pt x="783" y="363"/>
                </a:cubicBezTo>
                <a:cubicBezTo>
                  <a:pt x="783" y="363"/>
                  <a:pt x="783" y="363"/>
                  <a:pt x="783" y="363"/>
                </a:cubicBezTo>
                <a:cubicBezTo>
                  <a:pt x="783" y="363"/>
                  <a:pt x="783" y="363"/>
                  <a:pt x="783" y="363"/>
                </a:cubicBezTo>
                <a:cubicBezTo>
                  <a:pt x="783" y="362"/>
                  <a:pt x="783" y="362"/>
                  <a:pt x="783" y="362"/>
                </a:cubicBezTo>
                <a:cubicBezTo>
                  <a:pt x="783" y="362"/>
                  <a:pt x="783" y="362"/>
                  <a:pt x="783" y="362"/>
                </a:cubicBezTo>
                <a:cubicBezTo>
                  <a:pt x="783" y="362"/>
                  <a:pt x="783" y="362"/>
                  <a:pt x="783" y="362"/>
                </a:cubicBezTo>
                <a:cubicBezTo>
                  <a:pt x="783" y="361"/>
                  <a:pt x="783" y="361"/>
                  <a:pt x="783" y="361"/>
                </a:cubicBezTo>
                <a:cubicBezTo>
                  <a:pt x="783" y="361"/>
                  <a:pt x="783" y="361"/>
                  <a:pt x="783" y="361"/>
                </a:cubicBezTo>
                <a:cubicBezTo>
                  <a:pt x="783" y="361"/>
                  <a:pt x="783" y="361"/>
                  <a:pt x="783" y="361"/>
                </a:cubicBezTo>
                <a:cubicBezTo>
                  <a:pt x="783" y="361"/>
                  <a:pt x="783" y="361"/>
                  <a:pt x="783" y="361"/>
                </a:cubicBezTo>
                <a:cubicBezTo>
                  <a:pt x="783" y="361"/>
                  <a:pt x="783" y="361"/>
                  <a:pt x="783" y="361"/>
                </a:cubicBezTo>
                <a:cubicBezTo>
                  <a:pt x="782" y="360"/>
                  <a:pt x="782" y="360"/>
                  <a:pt x="782" y="360"/>
                </a:cubicBezTo>
                <a:cubicBezTo>
                  <a:pt x="782" y="360"/>
                  <a:pt x="782" y="360"/>
                  <a:pt x="782" y="360"/>
                </a:cubicBezTo>
                <a:cubicBezTo>
                  <a:pt x="782" y="360"/>
                  <a:pt x="782" y="360"/>
                  <a:pt x="782" y="360"/>
                </a:cubicBezTo>
                <a:cubicBezTo>
                  <a:pt x="782" y="360"/>
                  <a:pt x="782" y="360"/>
                  <a:pt x="782" y="360"/>
                </a:cubicBezTo>
                <a:cubicBezTo>
                  <a:pt x="782" y="360"/>
                  <a:pt x="782" y="360"/>
                  <a:pt x="782" y="360"/>
                </a:cubicBezTo>
                <a:cubicBezTo>
                  <a:pt x="781" y="360"/>
                  <a:pt x="781" y="360"/>
                  <a:pt x="781" y="359"/>
                </a:cubicBezTo>
                <a:cubicBezTo>
                  <a:pt x="781" y="359"/>
                  <a:pt x="781" y="359"/>
                  <a:pt x="781" y="359"/>
                </a:cubicBezTo>
                <a:cubicBezTo>
                  <a:pt x="781" y="359"/>
                  <a:pt x="781" y="359"/>
                  <a:pt x="781" y="359"/>
                </a:cubicBezTo>
                <a:cubicBezTo>
                  <a:pt x="781" y="359"/>
                  <a:pt x="781" y="359"/>
                  <a:pt x="780" y="359"/>
                </a:cubicBezTo>
                <a:cubicBezTo>
                  <a:pt x="780" y="359"/>
                  <a:pt x="780" y="359"/>
                  <a:pt x="780" y="359"/>
                </a:cubicBezTo>
                <a:cubicBezTo>
                  <a:pt x="780" y="359"/>
                  <a:pt x="780" y="359"/>
                  <a:pt x="780" y="359"/>
                </a:cubicBezTo>
                <a:cubicBezTo>
                  <a:pt x="780" y="359"/>
                  <a:pt x="780" y="359"/>
                  <a:pt x="780" y="359"/>
                </a:cubicBezTo>
                <a:cubicBezTo>
                  <a:pt x="780" y="359"/>
                  <a:pt x="780" y="359"/>
                  <a:pt x="780" y="359"/>
                </a:cubicBezTo>
                <a:cubicBezTo>
                  <a:pt x="780" y="359"/>
                  <a:pt x="780" y="359"/>
                  <a:pt x="780" y="359"/>
                </a:cubicBezTo>
                <a:cubicBezTo>
                  <a:pt x="779" y="358"/>
                  <a:pt x="780" y="358"/>
                  <a:pt x="778" y="358"/>
                </a:cubicBezTo>
                <a:cubicBezTo>
                  <a:pt x="778" y="358"/>
                  <a:pt x="778" y="358"/>
                  <a:pt x="778" y="358"/>
                </a:cubicBezTo>
                <a:cubicBezTo>
                  <a:pt x="778" y="358"/>
                  <a:pt x="778" y="358"/>
                  <a:pt x="778" y="358"/>
                </a:cubicBezTo>
                <a:cubicBezTo>
                  <a:pt x="778" y="358"/>
                  <a:pt x="778" y="358"/>
                  <a:pt x="778" y="358"/>
                </a:cubicBezTo>
                <a:cubicBezTo>
                  <a:pt x="777" y="358"/>
                  <a:pt x="777" y="357"/>
                  <a:pt x="777" y="357"/>
                </a:cubicBezTo>
                <a:cubicBezTo>
                  <a:pt x="777" y="357"/>
                  <a:pt x="777" y="357"/>
                  <a:pt x="777" y="357"/>
                </a:cubicBezTo>
                <a:cubicBezTo>
                  <a:pt x="777" y="357"/>
                  <a:pt x="777" y="357"/>
                  <a:pt x="777" y="357"/>
                </a:cubicBezTo>
                <a:cubicBezTo>
                  <a:pt x="776" y="357"/>
                  <a:pt x="776" y="357"/>
                  <a:pt x="776" y="357"/>
                </a:cubicBezTo>
                <a:cubicBezTo>
                  <a:pt x="776" y="357"/>
                  <a:pt x="776" y="357"/>
                  <a:pt x="776" y="357"/>
                </a:cubicBezTo>
                <a:cubicBezTo>
                  <a:pt x="776" y="357"/>
                  <a:pt x="776" y="357"/>
                  <a:pt x="776" y="357"/>
                </a:cubicBezTo>
                <a:cubicBezTo>
                  <a:pt x="775" y="357"/>
                  <a:pt x="775" y="357"/>
                  <a:pt x="775" y="357"/>
                </a:cubicBezTo>
                <a:cubicBezTo>
                  <a:pt x="775" y="357"/>
                  <a:pt x="775" y="357"/>
                  <a:pt x="775" y="357"/>
                </a:cubicBezTo>
                <a:cubicBezTo>
                  <a:pt x="775" y="357"/>
                  <a:pt x="775" y="357"/>
                  <a:pt x="775" y="357"/>
                </a:cubicBezTo>
                <a:cubicBezTo>
                  <a:pt x="775" y="357"/>
                  <a:pt x="775" y="357"/>
                  <a:pt x="775" y="357"/>
                </a:cubicBezTo>
                <a:cubicBezTo>
                  <a:pt x="775" y="357"/>
                  <a:pt x="775" y="357"/>
                  <a:pt x="775" y="357"/>
                </a:cubicBezTo>
                <a:cubicBezTo>
                  <a:pt x="774" y="357"/>
                  <a:pt x="774" y="356"/>
                  <a:pt x="773" y="357"/>
                </a:cubicBezTo>
                <a:cubicBezTo>
                  <a:pt x="773" y="357"/>
                  <a:pt x="773" y="357"/>
                  <a:pt x="773" y="357"/>
                </a:cubicBezTo>
                <a:cubicBezTo>
                  <a:pt x="773" y="356"/>
                  <a:pt x="773" y="356"/>
                  <a:pt x="773" y="356"/>
                </a:cubicBezTo>
                <a:cubicBezTo>
                  <a:pt x="772" y="356"/>
                  <a:pt x="771" y="356"/>
                  <a:pt x="770" y="356"/>
                </a:cubicBezTo>
                <a:cubicBezTo>
                  <a:pt x="770" y="356"/>
                  <a:pt x="770" y="356"/>
                  <a:pt x="770" y="356"/>
                </a:cubicBezTo>
                <a:cubicBezTo>
                  <a:pt x="770" y="356"/>
                  <a:pt x="770" y="356"/>
                  <a:pt x="770" y="356"/>
                </a:cubicBezTo>
                <a:cubicBezTo>
                  <a:pt x="770" y="356"/>
                  <a:pt x="770" y="356"/>
                  <a:pt x="770" y="356"/>
                </a:cubicBezTo>
                <a:cubicBezTo>
                  <a:pt x="769" y="356"/>
                  <a:pt x="768" y="357"/>
                  <a:pt x="766" y="357"/>
                </a:cubicBezTo>
                <a:cubicBezTo>
                  <a:pt x="766" y="357"/>
                  <a:pt x="766" y="357"/>
                  <a:pt x="766" y="357"/>
                </a:cubicBezTo>
                <a:cubicBezTo>
                  <a:pt x="766" y="357"/>
                  <a:pt x="766" y="357"/>
                  <a:pt x="766" y="357"/>
                </a:cubicBezTo>
                <a:cubicBezTo>
                  <a:pt x="765" y="357"/>
                  <a:pt x="765" y="357"/>
                  <a:pt x="764" y="357"/>
                </a:cubicBezTo>
                <a:cubicBezTo>
                  <a:pt x="764" y="357"/>
                  <a:pt x="764" y="357"/>
                  <a:pt x="764" y="357"/>
                </a:cubicBezTo>
                <a:cubicBezTo>
                  <a:pt x="764" y="357"/>
                  <a:pt x="764" y="357"/>
                  <a:pt x="764" y="357"/>
                </a:cubicBezTo>
                <a:cubicBezTo>
                  <a:pt x="764" y="357"/>
                  <a:pt x="764" y="357"/>
                  <a:pt x="764" y="357"/>
                </a:cubicBezTo>
                <a:cubicBezTo>
                  <a:pt x="764" y="357"/>
                  <a:pt x="764" y="357"/>
                  <a:pt x="764" y="357"/>
                </a:cubicBezTo>
                <a:cubicBezTo>
                  <a:pt x="764" y="357"/>
                  <a:pt x="764" y="357"/>
                  <a:pt x="764" y="357"/>
                </a:cubicBezTo>
                <a:cubicBezTo>
                  <a:pt x="763" y="357"/>
                  <a:pt x="763" y="357"/>
                  <a:pt x="763" y="357"/>
                </a:cubicBezTo>
                <a:cubicBezTo>
                  <a:pt x="763" y="357"/>
                  <a:pt x="763" y="357"/>
                  <a:pt x="763" y="357"/>
                </a:cubicBezTo>
                <a:cubicBezTo>
                  <a:pt x="759" y="357"/>
                  <a:pt x="755" y="359"/>
                  <a:pt x="751" y="361"/>
                </a:cubicBezTo>
                <a:cubicBezTo>
                  <a:pt x="751" y="361"/>
                  <a:pt x="751" y="361"/>
                  <a:pt x="751" y="361"/>
                </a:cubicBezTo>
                <a:cubicBezTo>
                  <a:pt x="751" y="361"/>
                  <a:pt x="751" y="361"/>
                  <a:pt x="751" y="361"/>
                </a:cubicBezTo>
                <a:cubicBezTo>
                  <a:pt x="751" y="361"/>
                  <a:pt x="751" y="361"/>
                  <a:pt x="751" y="361"/>
                </a:cubicBezTo>
                <a:cubicBezTo>
                  <a:pt x="751" y="361"/>
                  <a:pt x="751" y="361"/>
                  <a:pt x="751" y="361"/>
                </a:cubicBezTo>
                <a:cubicBezTo>
                  <a:pt x="751" y="361"/>
                  <a:pt x="750" y="361"/>
                  <a:pt x="750" y="361"/>
                </a:cubicBezTo>
                <a:cubicBezTo>
                  <a:pt x="750" y="361"/>
                  <a:pt x="750" y="361"/>
                  <a:pt x="750" y="361"/>
                </a:cubicBezTo>
                <a:cubicBezTo>
                  <a:pt x="750" y="361"/>
                  <a:pt x="750" y="361"/>
                  <a:pt x="750" y="361"/>
                </a:cubicBezTo>
                <a:cubicBezTo>
                  <a:pt x="749" y="361"/>
                  <a:pt x="749" y="362"/>
                  <a:pt x="748" y="362"/>
                </a:cubicBezTo>
                <a:cubicBezTo>
                  <a:pt x="748" y="362"/>
                  <a:pt x="748" y="362"/>
                  <a:pt x="748" y="362"/>
                </a:cubicBezTo>
                <a:cubicBezTo>
                  <a:pt x="748" y="362"/>
                  <a:pt x="748" y="362"/>
                  <a:pt x="748" y="362"/>
                </a:cubicBezTo>
                <a:cubicBezTo>
                  <a:pt x="748" y="362"/>
                  <a:pt x="748" y="362"/>
                  <a:pt x="748" y="362"/>
                </a:cubicBezTo>
                <a:cubicBezTo>
                  <a:pt x="747" y="362"/>
                  <a:pt x="747" y="363"/>
                  <a:pt x="746" y="363"/>
                </a:cubicBezTo>
                <a:cubicBezTo>
                  <a:pt x="746" y="363"/>
                  <a:pt x="746" y="363"/>
                  <a:pt x="746" y="363"/>
                </a:cubicBezTo>
                <a:cubicBezTo>
                  <a:pt x="746" y="363"/>
                  <a:pt x="746" y="363"/>
                  <a:pt x="746" y="363"/>
                </a:cubicBezTo>
                <a:cubicBezTo>
                  <a:pt x="746" y="363"/>
                  <a:pt x="746" y="363"/>
                  <a:pt x="746" y="363"/>
                </a:cubicBezTo>
                <a:cubicBezTo>
                  <a:pt x="746" y="363"/>
                  <a:pt x="746" y="363"/>
                  <a:pt x="746" y="363"/>
                </a:cubicBezTo>
                <a:cubicBezTo>
                  <a:pt x="746" y="363"/>
                  <a:pt x="746" y="363"/>
                  <a:pt x="746" y="363"/>
                </a:cubicBezTo>
                <a:cubicBezTo>
                  <a:pt x="745" y="363"/>
                  <a:pt x="745" y="363"/>
                  <a:pt x="745" y="363"/>
                </a:cubicBezTo>
                <a:cubicBezTo>
                  <a:pt x="744" y="364"/>
                  <a:pt x="744" y="363"/>
                  <a:pt x="743" y="364"/>
                </a:cubicBezTo>
                <a:cubicBezTo>
                  <a:pt x="743" y="364"/>
                  <a:pt x="743" y="364"/>
                  <a:pt x="743" y="364"/>
                </a:cubicBezTo>
                <a:cubicBezTo>
                  <a:pt x="743" y="364"/>
                  <a:pt x="743" y="364"/>
                  <a:pt x="743" y="364"/>
                </a:cubicBezTo>
                <a:cubicBezTo>
                  <a:pt x="743" y="364"/>
                  <a:pt x="743" y="364"/>
                  <a:pt x="743" y="364"/>
                </a:cubicBezTo>
                <a:cubicBezTo>
                  <a:pt x="742" y="364"/>
                  <a:pt x="742" y="365"/>
                  <a:pt x="742" y="365"/>
                </a:cubicBezTo>
                <a:cubicBezTo>
                  <a:pt x="741" y="365"/>
                  <a:pt x="741" y="365"/>
                  <a:pt x="741" y="365"/>
                </a:cubicBezTo>
                <a:cubicBezTo>
                  <a:pt x="740" y="365"/>
                  <a:pt x="740" y="365"/>
                  <a:pt x="740" y="365"/>
                </a:cubicBezTo>
                <a:cubicBezTo>
                  <a:pt x="740" y="365"/>
                  <a:pt x="740" y="365"/>
                  <a:pt x="740" y="365"/>
                </a:cubicBezTo>
                <a:cubicBezTo>
                  <a:pt x="740" y="366"/>
                  <a:pt x="740" y="366"/>
                  <a:pt x="740" y="366"/>
                </a:cubicBezTo>
                <a:cubicBezTo>
                  <a:pt x="740" y="366"/>
                  <a:pt x="740" y="366"/>
                  <a:pt x="740" y="366"/>
                </a:cubicBezTo>
                <a:cubicBezTo>
                  <a:pt x="740" y="366"/>
                  <a:pt x="740" y="366"/>
                  <a:pt x="740" y="366"/>
                </a:cubicBezTo>
                <a:cubicBezTo>
                  <a:pt x="740" y="366"/>
                  <a:pt x="740" y="366"/>
                  <a:pt x="740" y="366"/>
                </a:cubicBezTo>
                <a:cubicBezTo>
                  <a:pt x="739" y="366"/>
                  <a:pt x="739" y="366"/>
                  <a:pt x="739" y="366"/>
                </a:cubicBezTo>
                <a:cubicBezTo>
                  <a:pt x="739" y="366"/>
                  <a:pt x="739" y="366"/>
                  <a:pt x="739" y="366"/>
                </a:cubicBezTo>
                <a:cubicBezTo>
                  <a:pt x="737" y="367"/>
                  <a:pt x="737" y="367"/>
                  <a:pt x="737" y="367"/>
                </a:cubicBezTo>
                <a:cubicBezTo>
                  <a:pt x="736" y="368"/>
                  <a:pt x="736" y="368"/>
                  <a:pt x="736" y="368"/>
                </a:cubicBezTo>
                <a:cubicBezTo>
                  <a:pt x="736" y="368"/>
                  <a:pt x="736" y="368"/>
                  <a:pt x="736" y="368"/>
                </a:cubicBezTo>
                <a:cubicBezTo>
                  <a:pt x="736" y="368"/>
                  <a:pt x="736" y="368"/>
                  <a:pt x="736" y="368"/>
                </a:cubicBezTo>
                <a:cubicBezTo>
                  <a:pt x="736" y="368"/>
                  <a:pt x="736" y="368"/>
                  <a:pt x="736" y="368"/>
                </a:cubicBezTo>
                <a:cubicBezTo>
                  <a:pt x="723" y="380"/>
                  <a:pt x="723" y="380"/>
                  <a:pt x="723" y="380"/>
                </a:cubicBezTo>
                <a:cubicBezTo>
                  <a:pt x="723" y="380"/>
                  <a:pt x="723" y="380"/>
                  <a:pt x="723" y="380"/>
                </a:cubicBezTo>
                <a:cubicBezTo>
                  <a:pt x="723" y="380"/>
                  <a:pt x="723" y="380"/>
                  <a:pt x="723" y="380"/>
                </a:cubicBezTo>
                <a:cubicBezTo>
                  <a:pt x="723" y="380"/>
                  <a:pt x="723" y="380"/>
                  <a:pt x="723" y="380"/>
                </a:cubicBezTo>
                <a:cubicBezTo>
                  <a:pt x="723" y="380"/>
                  <a:pt x="723" y="380"/>
                  <a:pt x="723" y="380"/>
                </a:cubicBezTo>
                <a:cubicBezTo>
                  <a:pt x="723" y="380"/>
                  <a:pt x="723" y="380"/>
                  <a:pt x="723" y="380"/>
                </a:cubicBezTo>
                <a:cubicBezTo>
                  <a:pt x="723" y="380"/>
                  <a:pt x="723" y="380"/>
                  <a:pt x="723" y="380"/>
                </a:cubicBezTo>
                <a:cubicBezTo>
                  <a:pt x="723" y="380"/>
                  <a:pt x="723" y="380"/>
                  <a:pt x="723" y="380"/>
                </a:cubicBezTo>
                <a:cubicBezTo>
                  <a:pt x="723" y="380"/>
                  <a:pt x="723" y="380"/>
                  <a:pt x="723" y="380"/>
                </a:cubicBezTo>
                <a:cubicBezTo>
                  <a:pt x="723" y="381"/>
                  <a:pt x="723" y="381"/>
                  <a:pt x="723" y="381"/>
                </a:cubicBezTo>
                <a:cubicBezTo>
                  <a:pt x="723" y="381"/>
                  <a:pt x="723" y="381"/>
                  <a:pt x="723" y="381"/>
                </a:cubicBezTo>
                <a:cubicBezTo>
                  <a:pt x="723" y="381"/>
                  <a:pt x="723" y="381"/>
                  <a:pt x="723" y="381"/>
                </a:cubicBezTo>
                <a:cubicBezTo>
                  <a:pt x="723" y="381"/>
                  <a:pt x="723" y="381"/>
                  <a:pt x="723" y="381"/>
                </a:cubicBezTo>
                <a:cubicBezTo>
                  <a:pt x="723" y="381"/>
                  <a:pt x="723" y="381"/>
                  <a:pt x="723" y="381"/>
                </a:cubicBezTo>
                <a:cubicBezTo>
                  <a:pt x="723" y="381"/>
                  <a:pt x="723" y="381"/>
                  <a:pt x="723" y="381"/>
                </a:cubicBezTo>
                <a:cubicBezTo>
                  <a:pt x="723" y="381"/>
                  <a:pt x="723" y="381"/>
                  <a:pt x="723" y="381"/>
                </a:cubicBezTo>
                <a:cubicBezTo>
                  <a:pt x="722" y="382"/>
                  <a:pt x="722" y="382"/>
                  <a:pt x="722" y="382"/>
                </a:cubicBezTo>
                <a:cubicBezTo>
                  <a:pt x="722" y="382"/>
                  <a:pt x="722" y="382"/>
                  <a:pt x="722" y="382"/>
                </a:cubicBezTo>
                <a:cubicBezTo>
                  <a:pt x="721" y="383"/>
                  <a:pt x="721" y="383"/>
                  <a:pt x="721" y="383"/>
                </a:cubicBezTo>
                <a:cubicBezTo>
                  <a:pt x="721" y="383"/>
                  <a:pt x="721" y="383"/>
                  <a:pt x="721" y="383"/>
                </a:cubicBezTo>
                <a:cubicBezTo>
                  <a:pt x="721" y="383"/>
                  <a:pt x="721" y="383"/>
                  <a:pt x="721" y="383"/>
                </a:cubicBezTo>
                <a:cubicBezTo>
                  <a:pt x="721" y="383"/>
                  <a:pt x="721" y="383"/>
                  <a:pt x="721" y="383"/>
                </a:cubicBezTo>
                <a:cubicBezTo>
                  <a:pt x="721" y="383"/>
                  <a:pt x="721" y="383"/>
                  <a:pt x="721" y="383"/>
                </a:cubicBezTo>
                <a:cubicBezTo>
                  <a:pt x="720" y="384"/>
                  <a:pt x="720" y="384"/>
                  <a:pt x="719" y="385"/>
                </a:cubicBezTo>
                <a:cubicBezTo>
                  <a:pt x="719" y="385"/>
                  <a:pt x="719" y="385"/>
                  <a:pt x="719" y="385"/>
                </a:cubicBezTo>
                <a:cubicBezTo>
                  <a:pt x="719" y="385"/>
                  <a:pt x="719" y="385"/>
                  <a:pt x="719" y="385"/>
                </a:cubicBezTo>
                <a:cubicBezTo>
                  <a:pt x="718" y="385"/>
                  <a:pt x="718" y="385"/>
                  <a:pt x="718" y="385"/>
                </a:cubicBezTo>
                <a:cubicBezTo>
                  <a:pt x="718" y="386"/>
                  <a:pt x="718" y="386"/>
                  <a:pt x="718" y="386"/>
                </a:cubicBezTo>
                <a:cubicBezTo>
                  <a:pt x="714" y="388"/>
                  <a:pt x="714" y="388"/>
                  <a:pt x="714" y="388"/>
                </a:cubicBezTo>
                <a:cubicBezTo>
                  <a:pt x="714" y="388"/>
                  <a:pt x="712" y="388"/>
                  <a:pt x="712" y="388"/>
                </a:cubicBezTo>
                <a:cubicBezTo>
                  <a:pt x="713" y="387"/>
                  <a:pt x="713" y="387"/>
                  <a:pt x="713" y="387"/>
                </a:cubicBezTo>
                <a:cubicBezTo>
                  <a:pt x="713" y="386"/>
                  <a:pt x="713" y="386"/>
                  <a:pt x="713" y="386"/>
                </a:cubicBezTo>
                <a:cubicBezTo>
                  <a:pt x="714" y="386"/>
                  <a:pt x="714" y="386"/>
                  <a:pt x="714" y="385"/>
                </a:cubicBezTo>
                <a:cubicBezTo>
                  <a:pt x="714" y="385"/>
                  <a:pt x="714" y="385"/>
                  <a:pt x="714" y="385"/>
                </a:cubicBezTo>
                <a:cubicBezTo>
                  <a:pt x="714" y="385"/>
                  <a:pt x="714" y="385"/>
                  <a:pt x="714" y="385"/>
                </a:cubicBezTo>
                <a:cubicBezTo>
                  <a:pt x="715" y="385"/>
                  <a:pt x="716" y="385"/>
                  <a:pt x="717" y="384"/>
                </a:cubicBezTo>
                <a:cubicBezTo>
                  <a:pt x="717" y="383"/>
                  <a:pt x="717" y="383"/>
                  <a:pt x="717" y="383"/>
                </a:cubicBezTo>
                <a:cubicBezTo>
                  <a:pt x="717" y="383"/>
                  <a:pt x="717" y="383"/>
                  <a:pt x="717" y="383"/>
                </a:cubicBezTo>
                <a:cubicBezTo>
                  <a:pt x="717" y="383"/>
                  <a:pt x="717" y="383"/>
                  <a:pt x="717" y="383"/>
                </a:cubicBezTo>
                <a:cubicBezTo>
                  <a:pt x="717" y="383"/>
                  <a:pt x="717" y="383"/>
                  <a:pt x="717" y="383"/>
                </a:cubicBezTo>
                <a:cubicBezTo>
                  <a:pt x="717" y="383"/>
                  <a:pt x="717" y="383"/>
                  <a:pt x="717" y="383"/>
                </a:cubicBezTo>
                <a:cubicBezTo>
                  <a:pt x="717" y="383"/>
                  <a:pt x="717" y="383"/>
                  <a:pt x="718" y="383"/>
                </a:cubicBezTo>
                <a:cubicBezTo>
                  <a:pt x="718" y="383"/>
                  <a:pt x="718" y="383"/>
                  <a:pt x="718" y="383"/>
                </a:cubicBezTo>
                <a:cubicBezTo>
                  <a:pt x="718" y="383"/>
                  <a:pt x="718" y="383"/>
                  <a:pt x="718" y="383"/>
                </a:cubicBezTo>
                <a:cubicBezTo>
                  <a:pt x="718" y="382"/>
                  <a:pt x="718" y="382"/>
                  <a:pt x="718" y="382"/>
                </a:cubicBezTo>
                <a:cubicBezTo>
                  <a:pt x="718" y="382"/>
                  <a:pt x="718" y="382"/>
                  <a:pt x="718" y="382"/>
                </a:cubicBezTo>
                <a:cubicBezTo>
                  <a:pt x="718" y="382"/>
                  <a:pt x="718" y="382"/>
                  <a:pt x="718" y="382"/>
                </a:cubicBezTo>
                <a:cubicBezTo>
                  <a:pt x="718" y="382"/>
                  <a:pt x="718" y="382"/>
                  <a:pt x="718" y="382"/>
                </a:cubicBezTo>
                <a:cubicBezTo>
                  <a:pt x="718" y="381"/>
                  <a:pt x="719" y="381"/>
                  <a:pt x="719" y="380"/>
                </a:cubicBezTo>
                <a:cubicBezTo>
                  <a:pt x="719" y="380"/>
                  <a:pt x="719" y="380"/>
                  <a:pt x="719" y="380"/>
                </a:cubicBezTo>
                <a:cubicBezTo>
                  <a:pt x="719" y="380"/>
                  <a:pt x="719" y="380"/>
                  <a:pt x="719" y="380"/>
                </a:cubicBezTo>
                <a:cubicBezTo>
                  <a:pt x="719" y="380"/>
                  <a:pt x="719" y="380"/>
                  <a:pt x="719" y="380"/>
                </a:cubicBezTo>
                <a:cubicBezTo>
                  <a:pt x="719" y="380"/>
                  <a:pt x="719" y="380"/>
                  <a:pt x="719" y="380"/>
                </a:cubicBezTo>
                <a:cubicBezTo>
                  <a:pt x="720" y="380"/>
                  <a:pt x="720" y="380"/>
                  <a:pt x="720" y="380"/>
                </a:cubicBezTo>
                <a:cubicBezTo>
                  <a:pt x="721" y="379"/>
                  <a:pt x="721" y="379"/>
                  <a:pt x="721" y="379"/>
                </a:cubicBezTo>
                <a:cubicBezTo>
                  <a:pt x="721" y="379"/>
                  <a:pt x="721" y="379"/>
                  <a:pt x="721" y="379"/>
                </a:cubicBezTo>
                <a:cubicBezTo>
                  <a:pt x="722" y="379"/>
                  <a:pt x="722" y="379"/>
                  <a:pt x="722" y="379"/>
                </a:cubicBezTo>
                <a:cubicBezTo>
                  <a:pt x="722" y="379"/>
                  <a:pt x="722" y="379"/>
                  <a:pt x="722" y="379"/>
                </a:cubicBezTo>
                <a:cubicBezTo>
                  <a:pt x="722" y="378"/>
                  <a:pt x="722" y="378"/>
                  <a:pt x="722" y="378"/>
                </a:cubicBezTo>
                <a:cubicBezTo>
                  <a:pt x="722" y="378"/>
                  <a:pt x="722" y="378"/>
                  <a:pt x="722" y="378"/>
                </a:cubicBezTo>
                <a:cubicBezTo>
                  <a:pt x="722" y="378"/>
                  <a:pt x="722" y="378"/>
                  <a:pt x="722" y="378"/>
                </a:cubicBezTo>
                <a:cubicBezTo>
                  <a:pt x="722" y="378"/>
                  <a:pt x="722" y="378"/>
                  <a:pt x="722" y="378"/>
                </a:cubicBezTo>
                <a:cubicBezTo>
                  <a:pt x="722" y="378"/>
                  <a:pt x="722" y="378"/>
                  <a:pt x="722" y="378"/>
                </a:cubicBezTo>
                <a:cubicBezTo>
                  <a:pt x="722" y="377"/>
                  <a:pt x="722" y="377"/>
                  <a:pt x="722" y="377"/>
                </a:cubicBezTo>
                <a:cubicBezTo>
                  <a:pt x="722" y="377"/>
                  <a:pt x="722" y="377"/>
                  <a:pt x="722" y="377"/>
                </a:cubicBezTo>
                <a:cubicBezTo>
                  <a:pt x="723" y="377"/>
                  <a:pt x="723" y="377"/>
                  <a:pt x="723" y="377"/>
                </a:cubicBezTo>
                <a:cubicBezTo>
                  <a:pt x="723" y="377"/>
                  <a:pt x="723" y="377"/>
                  <a:pt x="723" y="377"/>
                </a:cubicBezTo>
                <a:cubicBezTo>
                  <a:pt x="723" y="377"/>
                  <a:pt x="723" y="377"/>
                  <a:pt x="723" y="377"/>
                </a:cubicBezTo>
                <a:cubicBezTo>
                  <a:pt x="723" y="377"/>
                  <a:pt x="723" y="377"/>
                  <a:pt x="723" y="377"/>
                </a:cubicBezTo>
                <a:cubicBezTo>
                  <a:pt x="723" y="377"/>
                  <a:pt x="723" y="377"/>
                  <a:pt x="723" y="377"/>
                </a:cubicBezTo>
                <a:cubicBezTo>
                  <a:pt x="723" y="377"/>
                  <a:pt x="723" y="377"/>
                  <a:pt x="723" y="377"/>
                </a:cubicBezTo>
                <a:cubicBezTo>
                  <a:pt x="723" y="377"/>
                  <a:pt x="723" y="377"/>
                  <a:pt x="723" y="377"/>
                </a:cubicBezTo>
                <a:cubicBezTo>
                  <a:pt x="723" y="377"/>
                  <a:pt x="724" y="377"/>
                  <a:pt x="724" y="376"/>
                </a:cubicBezTo>
                <a:cubicBezTo>
                  <a:pt x="724" y="376"/>
                  <a:pt x="724" y="376"/>
                  <a:pt x="724" y="376"/>
                </a:cubicBezTo>
                <a:cubicBezTo>
                  <a:pt x="724" y="376"/>
                  <a:pt x="724" y="376"/>
                  <a:pt x="724" y="376"/>
                </a:cubicBezTo>
                <a:cubicBezTo>
                  <a:pt x="724" y="376"/>
                  <a:pt x="724" y="376"/>
                  <a:pt x="724" y="376"/>
                </a:cubicBezTo>
                <a:cubicBezTo>
                  <a:pt x="724" y="376"/>
                  <a:pt x="724" y="376"/>
                  <a:pt x="724" y="376"/>
                </a:cubicBezTo>
                <a:cubicBezTo>
                  <a:pt x="724" y="376"/>
                  <a:pt x="724" y="376"/>
                  <a:pt x="724" y="376"/>
                </a:cubicBezTo>
                <a:cubicBezTo>
                  <a:pt x="724" y="376"/>
                  <a:pt x="725" y="376"/>
                  <a:pt x="725" y="375"/>
                </a:cubicBezTo>
                <a:cubicBezTo>
                  <a:pt x="725" y="375"/>
                  <a:pt x="725" y="375"/>
                  <a:pt x="725" y="375"/>
                </a:cubicBezTo>
                <a:cubicBezTo>
                  <a:pt x="725" y="375"/>
                  <a:pt x="725" y="375"/>
                  <a:pt x="725" y="375"/>
                </a:cubicBezTo>
                <a:cubicBezTo>
                  <a:pt x="725" y="375"/>
                  <a:pt x="725" y="375"/>
                  <a:pt x="725" y="374"/>
                </a:cubicBezTo>
                <a:cubicBezTo>
                  <a:pt x="725" y="374"/>
                  <a:pt x="725" y="374"/>
                  <a:pt x="725" y="374"/>
                </a:cubicBezTo>
                <a:cubicBezTo>
                  <a:pt x="725" y="374"/>
                  <a:pt x="725" y="374"/>
                  <a:pt x="725" y="374"/>
                </a:cubicBezTo>
                <a:cubicBezTo>
                  <a:pt x="725" y="374"/>
                  <a:pt x="725" y="374"/>
                  <a:pt x="725" y="374"/>
                </a:cubicBezTo>
                <a:cubicBezTo>
                  <a:pt x="725" y="374"/>
                  <a:pt x="725" y="374"/>
                  <a:pt x="725" y="374"/>
                </a:cubicBezTo>
                <a:cubicBezTo>
                  <a:pt x="725" y="374"/>
                  <a:pt x="725" y="374"/>
                  <a:pt x="725" y="374"/>
                </a:cubicBezTo>
                <a:cubicBezTo>
                  <a:pt x="725" y="374"/>
                  <a:pt x="725" y="374"/>
                  <a:pt x="725" y="374"/>
                </a:cubicBezTo>
                <a:cubicBezTo>
                  <a:pt x="726" y="374"/>
                  <a:pt x="726" y="373"/>
                  <a:pt x="726" y="373"/>
                </a:cubicBezTo>
                <a:cubicBezTo>
                  <a:pt x="726" y="373"/>
                  <a:pt x="726" y="373"/>
                  <a:pt x="726" y="373"/>
                </a:cubicBezTo>
                <a:cubicBezTo>
                  <a:pt x="726" y="373"/>
                  <a:pt x="726" y="373"/>
                  <a:pt x="726" y="373"/>
                </a:cubicBezTo>
                <a:cubicBezTo>
                  <a:pt x="726" y="373"/>
                  <a:pt x="726" y="373"/>
                  <a:pt x="726" y="372"/>
                </a:cubicBezTo>
                <a:cubicBezTo>
                  <a:pt x="726" y="372"/>
                  <a:pt x="726" y="372"/>
                  <a:pt x="726" y="372"/>
                </a:cubicBezTo>
                <a:cubicBezTo>
                  <a:pt x="726" y="372"/>
                  <a:pt x="726" y="372"/>
                  <a:pt x="726" y="372"/>
                </a:cubicBezTo>
                <a:cubicBezTo>
                  <a:pt x="726" y="372"/>
                  <a:pt x="726" y="372"/>
                  <a:pt x="726" y="372"/>
                </a:cubicBezTo>
                <a:cubicBezTo>
                  <a:pt x="726" y="372"/>
                  <a:pt x="727" y="371"/>
                  <a:pt x="727" y="371"/>
                </a:cubicBezTo>
                <a:cubicBezTo>
                  <a:pt x="727" y="371"/>
                  <a:pt x="727" y="371"/>
                  <a:pt x="727" y="371"/>
                </a:cubicBezTo>
                <a:cubicBezTo>
                  <a:pt x="727" y="371"/>
                  <a:pt x="727" y="371"/>
                  <a:pt x="727" y="371"/>
                </a:cubicBezTo>
                <a:cubicBezTo>
                  <a:pt x="726" y="371"/>
                  <a:pt x="726" y="371"/>
                  <a:pt x="726" y="371"/>
                </a:cubicBezTo>
                <a:cubicBezTo>
                  <a:pt x="725" y="371"/>
                  <a:pt x="725" y="371"/>
                  <a:pt x="725" y="371"/>
                </a:cubicBezTo>
                <a:cubicBezTo>
                  <a:pt x="725" y="371"/>
                  <a:pt x="725" y="371"/>
                  <a:pt x="725" y="371"/>
                </a:cubicBezTo>
                <a:cubicBezTo>
                  <a:pt x="725" y="371"/>
                  <a:pt x="725" y="371"/>
                  <a:pt x="725" y="371"/>
                </a:cubicBezTo>
                <a:cubicBezTo>
                  <a:pt x="725" y="371"/>
                  <a:pt x="725" y="371"/>
                  <a:pt x="725" y="371"/>
                </a:cubicBezTo>
                <a:cubicBezTo>
                  <a:pt x="725" y="371"/>
                  <a:pt x="725" y="371"/>
                  <a:pt x="725" y="371"/>
                </a:cubicBezTo>
                <a:cubicBezTo>
                  <a:pt x="725" y="371"/>
                  <a:pt x="725" y="371"/>
                  <a:pt x="725" y="371"/>
                </a:cubicBezTo>
                <a:cubicBezTo>
                  <a:pt x="725" y="370"/>
                  <a:pt x="725" y="370"/>
                  <a:pt x="725" y="370"/>
                </a:cubicBezTo>
                <a:cubicBezTo>
                  <a:pt x="725" y="370"/>
                  <a:pt x="725" y="370"/>
                  <a:pt x="725" y="370"/>
                </a:cubicBezTo>
                <a:cubicBezTo>
                  <a:pt x="725" y="370"/>
                  <a:pt x="725" y="370"/>
                  <a:pt x="725" y="370"/>
                </a:cubicBezTo>
                <a:cubicBezTo>
                  <a:pt x="725" y="370"/>
                  <a:pt x="725" y="370"/>
                  <a:pt x="725" y="370"/>
                </a:cubicBezTo>
                <a:cubicBezTo>
                  <a:pt x="724" y="370"/>
                  <a:pt x="724" y="370"/>
                  <a:pt x="724" y="370"/>
                </a:cubicBezTo>
                <a:cubicBezTo>
                  <a:pt x="724" y="370"/>
                  <a:pt x="724" y="369"/>
                  <a:pt x="723" y="369"/>
                </a:cubicBezTo>
                <a:cubicBezTo>
                  <a:pt x="723" y="369"/>
                  <a:pt x="723" y="369"/>
                  <a:pt x="723" y="369"/>
                </a:cubicBezTo>
                <a:cubicBezTo>
                  <a:pt x="723" y="369"/>
                  <a:pt x="723" y="369"/>
                  <a:pt x="723" y="369"/>
                </a:cubicBezTo>
                <a:cubicBezTo>
                  <a:pt x="723" y="370"/>
                  <a:pt x="723" y="370"/>
                  <a:pt x="723" y="370"/>
                </a:cubicBezTo>
                <a:cubicBezTo>
                  <a:pt x="723" y="370"/>
                  <a:pt x="723" y="370"/>
                  <a:pt x="723" y="370"/>
                </a:cubicBezTo>
                <a:cubicBezTo>
                  <a:pt x="723" y="370"/>
                  <a:pt x="723" y="370"/>
                  <a:pt x="723" y="370"/>
                </a:cubicBezTo>
                <a:cubicBezTo>
                  <a:pt x="723" y="370"/>
                  <a:pt x="723" y="370"/>
                  <a:pt x="723" y="370"/>
                </a:cubicBezTo>
                <a:cubicBezTo>
                  <a:pt x="723" y="370"/>
                  <a:pt x="723" y="370"/>
                  <a:pt x="723" y="370"/>
                </a:cubicBezTo>
                <a:cubicBezTo>
                  <a:pt x="723" y="370"/>
                  <a:pt x="723" y="370"/>
                  <a:pt x="723" y="370"/>
                </a:cubicBezTo>
                <a:cubicBezTo>
                  <a:pt x="722" y="370"/>
                  <a:pt x="722" y="370"/>
                  <a:pt x="722" y="370"/>
                </a:cubicBezTo>
                <a:cubicBezTo>
                  <a:pt x="722" y="370"/>
                  <a:pt x="722" y="370"/>
                  <a:pt x="722" y="370"/>
                </a:cubicBezTo>
                <a:cubicBezTo>
                  <a:pt x="722" y="369"/>
                  <a:pt x="722" y="369"/>
                  <a:pt x="722" y="369"/>
                </a:cubicBezTo>
                <a:cubicBezTo>
                  <a:pt x="722" y="369"/>
                  <a:pt x="722" y="369"/>
                  <a:pt x="722" y="369"/>
                </a:cubicBezTo>
                <a:cubicBezTo>
                  <a:pt x="722" y="369"/>
                  <a:pt x="722" y="369"/>
                  <a:pt x="722" y="369"/>
                </a:cubicBezTo>
                <a:cubicBezTo>
                  <a:pt x="722" y="369"/>
                  <a:pt x="722" y="369"/>
                  <a:pt x="722" y="369"/>
                </a:cubicBezTo>
                <a:cubicBezTo>
                  <a:pt x="722" y="369"/>
                  <a:pt x="722" y="369"/>
                  <a:pt x="722" y="369"/>
                </a:cubicBezTo>
                <a:cubicBezTo>
                  <a:pt x="722" y="369"/>
                  <a:pt x="722" y="369"/>
                  <a:pt x="722" y="369"/>
                </a:cubicBezTo>
                <a:cubicBezTo>
                  <a:pt x="722" y="369"/>
                  <a:pt x="722" y="369"/>
                  <a:pt x="722" y="369"/>
                </a:cubicBezTo>
                <a:cubicBezTo>
                  <a:pt x="722" y="369"/>
                  <a:pt x="721" y="369"/>
                  <a:pt x="721" y="369"/>
                </a:cubicBezTo>
                <a:cubicBezTo>
                  <a:pt x="721" y="369"/>
                  <a:pt x="721" y="369"/>
                  <a:pt x="721" y="369"/>
                </a:cubicBezTo>
                <a:cubicBezTo>
                  <a:pt x="721" y="369"/>
                  <a:pt x="721" y="369"/>
                  <a:pt x="721" y="369"/>
                </a:cubicBezTo>
                <a:cubicBezTo>
                  <a:pt x="721" y="369"/>
                  <a:pt x="721" y="369"/>
                  <a:pt x="721" y="369"/>
                </a:cubicBezTo>
                <a:cubicBezTo>
                  <a:pt x="721" y="369"/>
                  <a:pt x="721" y="369"/>
                  <a:pt x="721" y="369"/>
                </a:cubicBezTo>
                <a:cubicBezTo>
                  <a:pt x="721" y="369"/>
                  <a:pt x="721" y="369"/>
                  <a:pt x="721" y="369"/>
                </a:cubicBezTo>
                <a:cubicBezTo>
                  <a:pt x="721" y="369"/>
                  <a:pt x="721" y="369"/>
                  <a:pt x="721" y="369"/>
                </a:cubicBezTo>
                <a:cubicBezTo>
                  <a:pt x="721" y="369"/>
                  <a:pt x="721" y="369"/>
                  <a:pt x="721" y="369"/>
                </a:cubicBezTo>
                <a:cubicBezTo>
                  <a:pt x="721" y="369"/>
                  <a:pt x="721" y="369"/>
                  <a:pt x="721" y="369"/>
                </a:cubicBezTo>
                <a:cubicBezTo>
                  <a:pt x="721" y="369"/>
                  <a:pt x="721" y="369"/>
                  <a:pt x="721" y="369"/>
                </a:cubicBezTo>
                <a:cubicBezTo>
                  <a:pt x="721" y="369"/>
                  <a:pt x="721" y="369"/>
                  <a:pt x="721" y="369"/>
                </a:cubicBezTo>
                <a:cubicBezTo>
                  <a:pt x="720" y="368"/>
                  <a:pt x="720" y="368"/>
                  <a:pt x="720" y="368"/>
                </a:cubicBezTo>
                <a:cubicBezTo>
                  <a:pt x="720" y="368"/>
                  <a:pt x="720" y="368"/>
                  <a:pt x="720" y="368"/>
                </a:cubicBezTo>
                <a:cubicBezTo>
                  <a:pt x="720" y="368"/>
                  <a:pt x="720" y="368"/>
                  <a:pt x="720" y="368"/>
                </a:cubicBezTo>
                <a:cubicBezTo>
                  <a:pt x="720" y="368"/>
                  <a:pt x="720" y="368"/>
                  <a:pt x="720" y="368"/>
                </a:cubicBezTo>
                <a:cubicBezTo>
                  <a:pt x="720" y="368"/>
                  <a:pt x="720" y="368"/>
                  <a:pt x="720" y="368"/>
                </a:cubicBezTo>
                <a:cubicBezTo>
                  <a:pt x="720" y="368"/>
                  <a:pt x="720" y="368"/>
                  <a:pt x="720" y="368"/>
                </a:cubicBezTo>
                <a:cubicBezTo>
                  <a:pt x="720" y="368"/>
                  <a:pt x="720" y="368"/>
                  <a:pt x="720" y="368"/>
                </a:cubicBezTo>
                <a:cubicBezTo>
                  <a:pt x="720" y="368"/>
                  <a:pt x="720" y="368"/>
                  <a:pt x="720" y="368"/>
                </a:cubicBezTo>
                <a:cubicBezTo>
                  <a:pt x="720" y="368"/>
                  <a:pt x="720" y="368"/>
                  <a:pt x="720" y="368"/>
                </a:cubicBezTo>
                <a:cubicBezTo>
                  <a:pt x="720" y="368"/>
                  <a:pt x="720" y="368"/>
                  <a:pt x="720" y="368"/>
                </a:cubicBezTo>
                <a:cubicBezTo>
                  <a:pt x="719" y="368"/>
                  <a:pt x="719" y="368"/>
                  <a:pt x="719" y="368"/>
                </a:cubicBezTo>
                <a:cubicBezTo>
                  <a:pt x="718" y="368"/>
                  <a:pt x="718" y="368"/>
                  <a:pt x="718" y="368"/>
                </a:cubicBezTo>
                <a:cubicBezTo>
                  <a:pt x="718" y="368"/>
                  <a:pt x="718" y="368"/>
                  <a:pt x="718" y="368"/>
                </a:cubicBezTo>
                <a:cubicBezTo>
                  <a:pt x="718" y="368"/>
                  <a:pt x="718" y="368"/>
                  <a:pt x="718" y="368"/>
                </a:cubicBezTo>
                <a:cubicBezTo>
                  <a:pt x="718" y="368"/>
                  <a:pt x="718" y="368"/>
                  <a:pt x="718" y="368"/>
                </a:cubicBezTo>
                <a:cubicBezTo>
                  <a:pt x="718" y="368"/>
                  <a:pt x="718" y="368"/>
                  <a:pt x="717" y="368"/>
                </a:cubicBezTo>
                <a:cubicBezTo>
                  <a:pt x="717" y="368"/>
                  <a:pt x="717" y="368"/>
                  <a:pt x="717" y="368"/>
                </a:cubicBezTo>
                <a:cubicBezTo>
                  <a:pt x="717" y="368"/>
                  <a:pt x="717" y="368"/>
                  <a:pt x="717" y="368"/>
                </a:cubicBezTo>
                <a:cubicBezTo>
                  <a:pt x="717" y="368"/>
                  <a:pt x="716" y="368"/>
                  <a:pt x="716" y="368"/>
                </a:cubicBezTo>
                <a:cubicBezTo>
                  <a:pt x="716" y="368"/>
                  <a:pt x="716" y="368"/>
                  <a:pt x="716" y="368"/>
                </a:cubicBezTo>
                <a:cubicBezTo>
                  <a:pt x="715" y="368"/>
                  <a:pt x="715" y="368"/>
                  <a:pt x="715" y="368"/>
                </a:cubicBezTo>
                <a:cubicBezTo>
                  <a:pt x="715" y="368"/>
                  <a:pt x="715" y="368"/>
                  <a:pt x="715" y="368"/>
                </a:cubicBezTo>
                <a:cubicBezTo>
                  <a:pt x="715" y="368"/>
                  <a:pt x="715" y="368"/>
                  <a:pt x="715" y="368"/>
                </a:cubicBezTo>
                <a:cubicBezTo>
                  <a:pt x="715" y="368"/>
                  <a:pt x="715" y="368"/>
                  <a:pt x="715" y="368"/>
                </a:cubicBezTo>
                <a:cubicBezTo>
                  <a:pt x="715" y="368"/>
                  <a:pt x="715" y="368"/>
                  <a:pt x="715" y="368"/>
                </a:cubicBezTo>
                <a:cubicBezTo>
                  <a:pt x="715" y="368"/>
                  <a:pt x="715" y="368"/>
                  <a:pt x="715" y="368"/>
                </a:cubicBezTo>
                <a:cubicBezTo>
                  <a:pt x="715" y="368"/>
                  <a:pt x="715" y="368"/>
                  <a:pt x="715" y="368"/>
                </a:cubicBezTo>
                <a:cubicBezTo>
                  <a:pt x="715" y="368"/>
                  <a:pt x="715" y="368"/>
                  <a:pt x="715" y="368"/>
                </a:cubicBezTo>
                <a:cubicBezTo>
                  <a:pt x="715" y="368"/>
                  <a:pt x="715" y="368"/>
                  <a:pt x="715" y="368"/>
                </a:cubicBezTo>
                <a:cubicBezTo>
                  <a:pt x="716" y="368"/>
                  <a:pt x="716" y="368"/>
                  <a:pt x="716" y="368"/>
                </a:cubicBezTo>
                <a:cubicBezTo>
                  <a:pt x="716" y="367"/>
                  <a:pt x="716" y="367"/>
                  <a:pt x="716" y="367"/>
                </a:cubicBezTo>
                <a:cubicBezTo>
                  <a:pt x="716" y="367"/>
                  <a:pt x="716" y="367"/>
                  <a:pt x="716" y="367"/>
                </a:cubicBezTo>
                <a:cubicBezTo>
                  <a:pt x="716" y="367"/>
                  <a:pt x="716" y="367"/>
                  <a:pt x="716" y="367"/>
                </a:cubicBezTo>
                <a:cubicBezTo>
                  <a:pt x="716" y="367"/>
                  <a:pt x="716" y="367"/>
                  <a:pt x="716" y="367"/>
                </a:cubicBezTo>
                <a:cubicBezTo>
                  <a:pt x="715" y="367"/>
                  <a:pt x="715" y="367"/>
                  <a:pt x="715" y="367"/>
                </a:cubicBezTo>
                <a:cubicBezTo>
                  <a:pt x="715" y="367"/>
                  <a:pt x="715" y="367"/>
                  <a:pt x="715" y="367"/>
                </a:cubicBezTo>
                <a:cubicBezTo>
                  <a:pt x="715" y="367"/>
                  <a:pt x="715" y="367"/>
                  <a:pt x="715" y="367"/>
                </a:cubicBezTo>
                <a:cubicBezTo>
                  <a:pt x="714" y="367"/>
                  <a:pt x="714" y="367"/>
                  <a:pt x="714" y="367"/>
                </a:cubicBezTo>
                <a:cubicBezTo>
                  <a:pt x="714" y="367"/>
                  <a:pt x="714" y="367"/>
                  <a:pt x="714" y="367"/>
                </a:cubicBezTo>
                <a:cubicBezTo>
                  <a:pt x="714" y="367"/>
                  <a:pt x="714" y="367"/>
                  <a:pt x="714" y="367"/>
                </a:cubicBezTo>
                <a:cubicBezTo>
                  <a:pt x="714" y="367"/>
                  <a:pt x="714" y="367"/>
                  <a:pt x="714" y="367"/>
                </a:cubicBezTo>
                <a:cubicBezTo>
                  <a:pt x="713" y="367"/>
                  <a:pt x="713" y="367"/>
                  <a:pt x="713" y="367"/>
                </a:cubicBezTo>
                <a:cubicBezTo>
                  <a:pt x="714" y="367"/>
                  <a:pt x="714" y="367"/>
                  <a:pt x="714" y="367"/>
                </a:cubicBezTo>
                <a:cubicBezTo>
                  <a:pt x="714" y="367"/>
                  <a:pt x="714" y="367"/>
                  <a:pt x="714" y="367"/>
                </a:cubicBezTo>
                <a:cubicBezTo>
                  <a:pt x="714" y="367"/>
                  <a:pt x="714" y="367"/>
                  <a:pt x="714" y="367"/>
                </a:cubicBezTo>
                <a:cubicBezTo>
                  <a:pt x="714" y="367"/>
                  <a:pt x="714" y="367"/>
                  <a:pt x="714" y="367"/>
                </a:cubicBezTo>
                <a:cubicBezTo>
                  <a:pt x="714" y="367"/>
                  <a:pt x="714" y="367"/>
                  <a:pt x="714" y="367"/>
                </a:cubicBezTo>
                <a:cubicBezTo>
                  <a:pt x="715" y="367"/>
                  <a:pt x="715" y="367"/>
                  <a:pt x="716" y="367"/>
                </a:cubicBezTo>
                <a:cubicBezTo>
                  <a:pt x="717" y="367"/>
                  <a:pt x="717" y="367"/>
                  <a:pt x="717" y="367"/>
                </a:cubicBezTo>
                <a:cubicBezTo>
                  <a:pt x="717" y="367"/>
                  <a:pt x="717" y="367"/>
                  <a:pt x="717" y="367"/>
                </a:cubicBezTo>
                <a:cubicBezTo>
                  <a:pt x="717" y="368"/>
                  <a:pt x="717" y="368"/>
                  <a:pt x="717" y="368"/>
                </a:cubicBezTo>
                <a:cubicBezTo>
                  <a:pt x="717" y="368"/>
                  <a:pt x="717" y="368"/>
                  <a:pt x="717" y="368"/>
                </a:cubicBezTo>
                <a:cubicBezTo>
                  <a:pt x="717" y="368"/>
                  <a:pt x="717" y="368"/>
                  <a:pt x="717" y="368"/>
                </a:cubicBezTo>
                <a:cubicBezTo>
                  <a:pt x="717" y="368"/>
                  <a:pt x="717" y="368"/>
                  <a:pt x="717" y="368"/>
                </a:cubicBezTo>
                <a:cubicBezTo>
                  <a:pt x="718" y="367"/>
                  <a:pt x="718" y="368"/>
                  <a:pt x="719" y="368"/>
                </a:cubicBezTo>
                <a:cubicBezTo>
                  <a:pt x="719" y="368"/>
                  <a:pt x="719" y="368"/>
                  <a:pt x="719" y="368"/>
                </a:cubicBezTo>
                <a:cubicBezTo>
                  <a:pt x="719" y="368"/>
                  <a:pt x="719" y="368"/>
                  <a:pt x="719" y="368"/>
                </a:cubicBezTo>
                <a:cubicBezTo>
                  <a:pt x="719" y="368"/>
                  <a:pt x="719" y="368"/>
                  <a:pt x="719" y="368"/>
                </a:cubicBezTo>
                <a:cubicBezTo>
                  <a:pt x="719" y="368"/>
                  <a:pt x="719" y="368"/>
                  <a:pt x="719" y="368"/>
                </a:cubicBezTo>
                <a:cubicBezTo>
                  <a:pt x="719" y="368"/>
                  <a:pt x="719" y="368"/>
                  <a:pt x="719" y="368"/>
                </a:cubicBezTo>
                <a:cubicBezTo>
                  <a:pt x="720" y="368"/>
                  <a:pt x="720" y="368"/>
                  <a:pt x="720" y="368"/>
                </a:cubicBezTo>
                <a:cubicBezTo>
                  <a:pt x="720" y="368"/>
                  <a:pt x="720" y="368"/>
                  <a:pt x="720" y="368"/>
                </a:cubicBezTo>
                <a:cubicBezTo>
                  <a:pt x="720" y="368"/>
                  <a:pt x="720" y="368"/>
                  <a:pt x="720" y="368"/>
                </a:cubicBezTo>
                <a:cubicBezTo>
                  <a:pt x="721" y="368"/>
                  <a:pt x="721" y="368"/>
                  <a:pt x="721" y="368"/>
                </a:cubicBezTo>
                <a:cubicBezTo>
                  <a:pt x="721" y="368"/>
                  <a:pt x="721" y="368"/>
                  <a:pt x="721" y="368"/>
                </a:cubicBezTo>
                <a:cubicBezTo>
                  <a:pt x="721" y="368"/>
                  <a:pt x="721" y="368"/>
                  <a:pt x="721" y="368"/>
                </a:cubicBezTo>
                <a:cubicBezTo>
                  <a:pt x="721" y="368"/>
                  <a:pt x="721" y="368"/>
                  <a:pt x="721" y="368"/>
                </a:cubicBezTo>
                <a:cubicBezTo>
                  <a:pt x="722" y="369"/>
                  <a:pt x="721" y="369"/>
                  <a:pt x="722" y="369"/>
                </a:cubicBezTo>
                <a:cubicBezTo>
                  <a:pt x="722" y="369"/>
                  <a:pt x="722" y="369"/>
                  <a:pt x="722" y="369"/>
                </a:cubicBezTo>
                <a:cubicBezTo>
                  <a:pt x="722" y="369"/>
                  <a:pt x="722" y="369"/>
                  <a:pt x="722" y="369"/>
                </a:cubicBezTo>
                <a:cubicBezTo>
                  <a:pt x="722" y="369"/>
                  <a:pt x="722" y="369"/>
                  <a:pt x="722" y="369"/>
                </a:cubicBezTo>
                <a:cubicBezTo>
                  <a:pt x="723" y="369"/>
                  <a:pt x="723" y="369"/>
                  <a:pt x="723" y="369"/>
                </a:cubicBezTo>
                <a:cubicBezTo>
                  <a:pt x="723" y="369"/>
                  <a:pt x="723" y="369"/>
                  <a:pt x="723" y="369"/>
                </a:cubicBezTo>
                <a:cubicBezTo>
                  <a:pt x="723" y="369"/>
                  <a:pt x="723" y="369"/>
                  <a:pt x="723" y="369"/>
                </a:cubicBezTo>
                <a:cubicBezTo>
                  <a:pt x="723" y="369"/>
                  <a:pt x="724" y="369"/>
                  <a:pt x="724" y="369"/>
                </a:cubicBezTo>
                <a:cubicBezTo>
                  <a:pt x="724" y="369"/>
                  <a:pt x="724" y="369"/>
                  <a:pt x="724" y="369"/>
                </a:cubicBezTo>
                <a:cubicBezTo>
                  <a:pt x="724" y="369"/>
                  <a:pt x="724" y="369"/>
                  <a:pt x="724" y="369"/>
                </a:cubicBezTo>
                <a:cubicBezTo>
                  <a:pt x="724" y="369"/>
                  <a:pt x="724" y="369"/>
                  <a:pt x="724" y="369"/>
                </a:cubicBezTo>
                <a:cubicBezTo>
                  <a:pt x="724" y="369"/>
                  <a:pt x="724" y="369"/>
                  <a:pt x="724" y="369"/>
                </a:cubicBezTo>
                <a:cubicBezTo>
                  <a:pt x="725" y="369"/>
                  <a:pt x="725" y="369"/>
                  <a:pt x="725" y="369"/>
                </a:cubicBezTo>
                <a:cubicBezTo>
                  <a:pt x="725" y="369"/>
                  <a:pt x="725" y="369"/>
                  <a:pt x="725" y="369"/>
                </a:cubicBezTo>
                <a:cubicBezTo>
                  <a:pt x="725" y="370"/>
                  <a:pt x="725" y="370"/>
                  <a:pt x="725" y="370"/>
                </a:cubicBezTo>
                <a:cubicBezTo>
                  <a:pt x="725" y="370"/>
                  <a:pt x="725" y="370"/>
                  <a:pt x="725" y="370"/>
                </a:cubicBezTo>
                <a:cubicBezTo>
                  <a:pt x="725" y="370"/>
                  <a:pt x="725" y="370"/>
                  <a:pt x="725" y="370"/>
                </a:cubicBezTo>
                <a:cubicBezTo>
                  <a:pt x="725" y="370"/>
                  <a:pt x="725" y="370"/>
                  <a:pt x="725" y="370"/>
                </a:cubicBezTo>
                <a:cubicBezTo>
                  <a:pt x="725" y="370"/>
                  <a:pt x="725" y="370"/>
                  <a:pt x="725" y="370"/>
                </a:cubicBezTo>
                <a:cubicBezTo>
                  <a:pt x="725" y="370"/>
                  <a:pt x="725" y="370"/>
                  <a:pt x="725" y="370"/>
                </a:cubicBezTo>
                <a:cubicBezTo>
                  <a:pt x="726" y="370"/>
                  <a:pt x="726" y="371"/>
                  <a:pt x="726" y="371"/>
                </a:cubicBezTo>
                <a:cubicBezTo>
                  <a:pt x="726" y="371"/>
                  <a:pt x="726" y="371"/>
                  <a:pt x="726" y="371"/>
                </a:cubicBezTo>
                <a:cubicBezTo>
                  <a:pt x="726" y="371"/>
                  <a:pt x="726" y="371"/>
                  <a:pt x="726" y="371"/>
                </a:cubicBezTo>
                <a:cubicBezTo>
                  <a:pt x="727" y="371"/>
                  <a:pt x="727" y="371"/>
                  <a:pt x="727" y="371"/>
                </a:cubicBezTo>
                <a:cubicBezTo>
                  <a:pt x="727" y="371"/>
                  <a:pt x="727" y="371"/>
                  <a:pt x="727" y="371"/>
                </a:cubicBezTo>
                <a:cubicBezTo>
                  <a:pt x="727" y="371"/>
                  <a:pt x="727" y="371"/>
                  <a:pt x="727" y="371"/>
                </a:cubicBezTo>
                <a:cubicBezTo>
                  <a:pt x="728" y="370"/>
                  <a:pt x="728" y="370"/>
                  <a:pt x="728" y="370"/>
                </a:cubicBezTo>
                <a:cubicBezTo>
                  <a:pt x="729" y="369"/>
                  <a:pt x="729" y="369"/>
                  <a:pt x="729" y="369"/>
                </a:cubicBezTo>
                <a:cubicBezTo>
                  <a:pt x="730" y="369"/>
                  <a:pt x="730" y="369"/>
                  <a:pt x="730" y="369"/>
                </a:cubicBezTo>
                <a:cubicBezTo>
                  <a:pt x="730" y="368"/>
                  <a:pt x="730" y="368"/>
                  <a:pt x="730" y="368"/>
                </a:cubicBezTo>
                <a:cubicBezTo>
                  <a:pt x="730" y="368"/>
                  <a:pt x="730" y="368"/>
                  <a:pt x="730" y="368"/>
                </a:cubicBezTo>
                <a:cubicBezTo>
                  <a:pt x="730" y="368"/>
                  <a:pt x="730" y="368"/>
                  <a:pt x="730" y="368"/>
                </a:cubicBezTo>
                <a:cubicBezTo>
                  <a:pt x="730" y="368"/>
                  <a:pt x="730" y="368"/>
                  <a:pt x="730" y="368"/>
                </a:cubicBezTo>
                <a:cubicBezTo>
                  <a:pt x="730" y="368"/>
                  <a:pt x="730" y="368"/>
                  <a:pt x="730" y="368"/>
                </a:cubicBezTo>
                <a:cubicBezTo>
                  <a:pt x="730" y="368"/>
                  <a:pt x="730" y="368"/>
                  <a:pt x="730" y="368"/>
                </a:cubicBezTo>
                <a:cubicBezTo>
                  <a:pt x="730" y="368"/>
                  <a:pt x="730" y="368"/>
                  <a:pt x="730" y="368"/>
                </a:cubicBezTo>
                <a:cubicBezTo>
                  <a:pt x="730" y="368"/>
                  <a:pt x="730" y="368"/>
                  <a:pt x="730" y="368"/>
                </a:cubicBezTo>
                <a:cubicBezTo>
                  <a:pt x="730" y="368"/>
                  <a:pt x="730" y="368"/>
                  <a:pt x="730" y="368"/>
                </a:cubicBezTo>
                <a:cubicBezTo>
                  <a:pt x="730" y="368"/>
                  <a:pt x="730" y="368"/>
                  <a:pt x="730" y="368"/>
                </a:cubicBezTo>
                <a:cubicBezTo>
                  <a:pt x="730" y="368"/>
                  <a:pt x="730" y="368"/>
                  <a:pt x="730" y="368"/>
                </a:cubicBezTo>
                <a:cubicBezTo>
                  <a:pt x="730" y="368"/>
                  <a:pt x="730" y="368"/>
                  <a:pt x="730" y="368"/>
                </a:cubicBezTo>
                <a:cubicBezTo>
                  <a:pt x="730" y="368"/>
                  <a:pt x="730" y="368"/>
                  <a:pt x="730" y="368"/>
                </a:cubicBezTo>
                <a:cubicBezTo>
                  <a:pt x="730" y="368"/>
                  <a:pt x="730" y="368"/>
                  <a:pt x="730" y="368"/>
                </a:cubicBezTo>
                <a:cubicBezTo>
                  <a:pt x="730" y="368"/>
                  <a:pt x="731" y="367"/>
                  <a:pt x="731" y="367"/>
                </a:cubicBezTo>
                <a:cubicBezTo>
                  <a:pt x="731" y="367"/>
                  <a:pt x="731" y="367"/>
                  <a:pt x="731" y="367"/>
                </a:cubicBezTo>
                <a:cubicBezTo>
                  <a:pt x="731" y="367"/>
                  <a:pt x="731" y="367"/>
                  <a:pt x="731" y="367"/>
                </a:cubicBezTo>
                <a:cubicBezTo>
                  <a:pt x="731" y="367"/>
                  <a:pt x="731" y="367"/>
                  <a:pt x="731" y="367"/>
                </a:cubicBezTo>
                <a:cubicBezTo>
                  <a:pt x="731" y="367"/>
                  <a:pt x="731" y="367"/>
                  <a:pt x="731" y="367"/>
                </a:cubicBezTo>
                <a:cubicBezTo>
                  <a:pt x="731" y="367"/>
                  <a:pt x="731" y="367"/>
                  <a:pt x="731" y="367"/>
                </a:cubicBezTo>
                <a:cubicBezTo>
                  <a:pt x="731" y="367"/>
                  <a:pt x="731" y="367"/>
                  <a:pt x="731" y="367"/>
                </a:cubicBezTo>
                <a:cubicBezTo>
                  <a:pt x="731" y="366"/>
                  <a:pt x="731" y="366"/>
                  <a:pt x="731" y="366"/>
                </a:cubicBezTo>
                <a:cubicBezTo>
                  <a:pt x="731" y="365"/>
                  <a:pt x="731" y="365"/>
                  <a:pt x="731" y="365"/>
                </a:cubicBezTo>
                <a:cubicBezTo>
                  <a:pt x="731" y="365"/>
                  <a:pt x="731" y="365"/>
                  <a:pt x="731" y="365"/>
                </a:cubicBezTo>
                <a:cubicBezTo>
                  <a:pt x="732" y="365"/>
                  <a:pt x="732" y="365"/>
                  <a:pt x="732" y="365"/>
                </a:cubicBezTo>
                <a:cubicBezTo>
                  <a:pt x="732" y="365"/>
                  <a:pt x="732" y="365"/>
                  <a:pt x="732" y="365"/>
                </a:cubicBezTo>
                <a:cubicBezTo>
                  <a:pt x="732" y="365"/>
                  <a:pt x="732" y="365"/>
                  <a:pt x="732" y="365"/>
                </a:cubicBezTo>
                <a:cubicBezTo>
                  <a:pt x="732" y="365"/>
                  <a:pt x="732" y="365"/>
                  <a:pt x="732" y="365"/>
                </a:cubicBezTo>
                <a:cubicBezTo>
                  <a:pt x="732" y="365"/>
                  <a:pt x="732" y="365"/>
                  <a:pt x="732" y="365"/>
                </a:cubicBezTo>
                <a:cubicBezTo>
                  <a:pt x="732" y="365"/>
                  <a:pt x="732" y="365"/>
                  <a:pt x="732" y="365"/>
                </a:cubicBezTo>
                <a:cubicBezTo>
                  <a:pt x="732" y="365"/>
                  <a:pt x="732" y="365"/>
                  <a:pt x="732" y="365"/>
                </a:cubicBezTo>
                <a:cubicBezTo>
                  <a:pt x="733" y="365"/>
                  <a:pt x="733" y="365"/>
                  <a:pt x="733" y="365"/>
                </a:cubicBezTo>
                <a:cubicBezTo>
                  <a:pt x="733" y="364"/>
                  <a:pt x="733" y="364"/>
                  <a:pt x="733" y="364"/>
                </a:cubicBezTo>
                <a:cubicBezTo>
                  <a:pt x="733" y="364"/>
                  <a:pt x="733" y="364"/>
                  <a:pt x="733" y="364"/>
                </a:cubicBezTo>
                <a:cubicBezTo>
                  <a:pt x="733" y="364"/>
                  <a:pt x="733" y="364"/>
                  <a:pt x="733" y="364"/>
                </a:cubicBezTo>
                <a:cubicBezTo>
                  <a:pt x="733" y="364"/>
                  <a:pt x="733" y="364"/>
                  <a:pt x="733" y="364"/>
                </a:cubicBezTo>
                <a:cubicBezTo>
                  <a:pt x="733" y="364"/>
                  <a:pt x="733" y="364"/>
                  <a:pt x="733" y="364"/>
                </a:cubicBezTo>
                <a:cubicBezTo>
                  <a:pt x="733" y="364"/>
                  <a:pt x="733" y="364"/>
                  <a:pt x="733" y="364"/>
                </a:cubicBezTo>
                <a:cubicBezTo>
                  <a:pt x="733" y="364"/>
                  <a:pt x="733" y="364"/>
                  <a:pt x="733" y="364"/>
                </a:cubicBezTo>
                <a:cubicBezTo>
                  <a:pt x="733" y="364"/>
                  <a:pt x="733" y="364"/>
                  <a:pt x="733" y="364"/>
                </a:cubicBezTo>
                <a:cubicBezTo>
                  <a:pt x="733" y="363"/>
                  <a:pt x="733" y="363"/>
                  <a:pt x="733" y="363"/>
                </a:cubicBezTo>
                <a:cubicBezTo>
                  <a:pt x="733" y="363"/>
                  <a:pt x="733" y="363"/>
                  <a:pt x="733" y="363"/>
                </a:cubicBezTo>
                <a:cubicBezTo>
                  <a:pt x="733" y="363"/>
                  <a:pt x="733" y="363"/>
                  <a:pt x="733" y="363"/>
                </a:cubicBezTo>
                <a:cubicBezTo>
                  <a:pt x="734" y="363"/>
                  <a:pt x="733" y="363"/>
                  <a:pt x="734" y="363"/>
                </a:cubicBezTo>
                <a:cubicBezTo>
                  <a:pt x="734" y="363"/>
                  <a:pt x="734" y="363"/>
                  <a:pt x="734" y="363"/>
                </a:cubicBezTo>
                <a:cubicBezTo>
                  <a:pt x="734" y="362"/>
                  <a:pt x="734" y="362"/>
                  <a:pt x="734" y="362"/>
                </a:cubicBezTo>
                <a:cubicBezTo>
                  <a:pt x="734" y="362"/>
                  <a:pt x="734" y="362"/>
                  <a:pt x="734" y="362"/>
                </a:cubicBezTo>
                <a:cubicBezTo>
                  <a:pt x="734" y="362"/>
                  <a:pt x="734" y="362"/>
                  <a:pt x="734" y="362"/>
                </a:cubicBezTo>
                <a:cubicBezTo>
                  <a:pt x="735" y="362"/>
                  <a:pt x="735" y="362"/>
                  <a:pt x="735" y="362"/>
                </a:cubicBezTo>
                <a:cubicBezTo>
                  <a:pt x="735" y="362"/>
                  <a:pt x="735" y="362"/>
                  <a:pt x="735" y="362"/>
                </a:cubicBezTo>
                <a:cubicBezTo>
                  <a:pt x="735" y="362"/>
                  <a:pt x="735" y="362"/>
                  <a:pt x="735" y="362"/>
                </a:cubicBezTo>
                <a:cubicBezTo>
                  <a:pt x="735" y="362"/>
                  <a:pt x="735" y="361"/>
                  <a:pt x="736" y="361"/>
                </a:cubicBezTo>
                <a:cubicBezTo>
                  <a:pt x="736" y="361"/>
                  <a:pt x="736" y="361"/>
                  <a:pt x="736" y="361"/>
                </a:cubicBezTo>
                <a:cubicBezTo>
                  <a:pt x="736" y="361"/>
                  <a:pt x="736" y="361"/>
                  <a:pt x="736" y="361"/>
                </a:cubicBezTo>
                <a:cubicBezTo>
                  <a:pt x="736" y="361"/>
                  <a:pt x="736" y="361"/>
                  <a:pt x="736" y="361"/>
                </a:cubicBezTo>
                <a:cubicBezTo>
                  <a:pt x="736" y="361"/>
                  <a:pt x="736" y="361"/>
                  <a:pt x="736" y="361"/>
                </a:cubicBezTo>
                <a:cubicBezTo>
                  <a:pt x="736" y="361"/>
                  <a:pt x="736" y="361"/>
                  <a:pt x="736" y="361"/>
                </a:cubicBezTo>
                <a:cubicBezTo>
                  <a:pt x="736" y="361"/>
                  <a:pt x="736" y="361"/>
                  <a:pt x="736" y="361"/>
                </a:cubicBezTo>
                <a:cubicBezTo>
                  <a:pt x="736" y="361"/>
                  <a:pt x="736" y="361"/>
                  <a:pt x="736" y="361"/>
                </a:cubicBezTo>
                <a:cubicBezTo>
                  <a:pt x="736" y="361"/>
                  <a:pt x="736" y="361"/>
                  <a:pt x="736" y="361"/>
                </a:cubicBezTo>
                <a:cubicBezTo>
                  <a:pt x="736" y="361"/>
                  <a:pt x="736" y="361"/>
                  <a:pt x="736" y="361"/>
                </a:cubicBezTo>
                <a:cubicBezTo>
                  <a:pt x="737" y="361"/>
                  <a:pt x="737" y="361"/>
                  <a:pt x="737" y="361"/>
                </a:cubicBezTo>
                <a:cubicBezTo>
                  <a:pt x="737" y="360"/>
                  <a:pt x="737" y="360"/>
                  <a:pt x="737" y="360"/>
                </a:cubicBezTo>
                <a:cubicBezTo>
                  <a:pt x="737" y="360"/>
                  <a:pt x="737" y="360"/>
                  <a:pt x="737" y="360"/>
                </a:cubicBezTo>
                <a:cubicBezTo>
                  <a:pt x="737" y="360"/>
                  <a:pt x="737" y="360"/>
                  <a:pt x="737" y="360"/>
                </a:cubicBezTo>
                <a:cubicBezTo>
                  <a:pt x="737" y="360"/>
                  <a:pt x="737" y="360"/>
                  <a:pt x="737" y="360"/>
                </a:cubicBezTo>
                <a:cubicBezTo>
                  <a:pt x="737" y="360"/>
                  <a:pt x="737" y="360"/>
                  <a:pt x="737" y="360"/>
                </a:cubicBezTo>
                <a:cubicBezTo>
                  <a:pt x="738" y="360"/>
                  <a:pt x="738" y="360"/>
                  <a:pt x="738" y="360"/>
                </a:cubicBezTo>
                <a:cubicBezTo>
                  <a:pt x="738" y="360"/>
                  <a:pt x="738" y="360"/>
                  <a:pt x="738" y="360"/>
                </a:cubicBezTo>
                <a:cubicBezTo>
                  <a:pt x="738" y="360"/>
                  <a:pt x="738" y="360"/>
                  <a:pt x="738" y="360"/>
                </a:cubicBezTo>
                <a:cubicBezTo>
                  <a:pt x="738" y="360"/>
                  <a:pt x="738" y="360"/>
                  <a:pt x="738" y="360"/>
                </a:cubicBezTo>
                <a:cubicBezTo>
                  <a:pt x="738" y="360"/>
                  <a:pt x="738" y="360"/>
                  <a:pt x="738" y="360"/>
                </a:cubicBezTo>
                <a:cubicBezTo>
                  <a:pt x="738" y="360"/>
                  <a:pt x="738" y="360"/>
                  <a:pt x="738" y="360"/>
                </a:cubicBezTo>
                <a:cubicBezTo>
                  <a:pt x="738" y="360"/>
                  <a:pt x="738" y="360"/>
                  <a:pt x="738" y="360"/>
                </a:cubicBezTo>
                <a:cubicBezTo>
                  <a:pt x="738" y="359"/>
                  <a:pt x="738" y="359"/>
                  <a:pt x="738" y="359"/>
                </a:cubicBezTo>
                <a:cubicBezTo>
                  <a:pt x="738" y="359"/>
                  <a:pt x="738" y="359"/>
                  <a:pt x="738" y="359"/>
                </a:cubicBezTo>
                <a:cubicBezTo>
                  <a:pt x="739" y="359"/>
                  <a:pt x="739" y="359"/>
                  <a:pt x="739" y="359"/>
                </a:cubicBezTo>
                <a:cubicBezTo>
                  <a:pt x="739" y="359"/>
                  <a:pt x="739" y="359"/>
                  <a:pt x="739" y="359"/>
                </a:cubicBezTo>
                <a:cubicBezTo>
                  <a:pt x="739" y="358"/>
                  <a:pt x="740" y="358"/>
                  <a:pt x="740" y="358"/>
                </a:cubicBezTo>
                <a:cubicBezTo>
                  <a:pt x="740" y="358"/>
                  <a:pt x="740" y="358"/>
                  <a:pt x="740" y="358"/>
                </a:cubicBezTo>
                <a:cubicBezTo>
                  <a:pt x="740" y="358"/>
                  <a:pt x="740" y="358"/>
                  <a:pt x="740" y="358"/>
                </a:cubicBezTo>
                <a:cubicBezTo>
                  <a:pt x="740" y="358"/>
                  <a:pt x="740" y="358"/>
                  <a:pt x="740" y="358"/>
                </a:cubicBezTo>
                <a:cubicBezTo>
                  <a:pt x="740" y="358"/>
                  <a:pt x="740" y="358"/>
                  <a:pt x="740" y="358"/>
                </a:cubicBezTo>
                <a:cubicBezTo>
                  <a:pt x="740" y="358"/>
                  <a:pt x="740" y="358"/>
                  <a:pt x="740" y="358"/>
                </a:cubicBezTo>
                <a:cubicBezTo>
                  <a:pt x="740" y="358"/>
                  <a:pt x="740" y="358"/>
                  <a:pt x="740" y="358"/>
                </a:cubicBezTo>
                <a:cubicBezTo>
                  <a:pt x="740" y="358"/>
                  <a:pt x="740" y="358"/>
                  <a:pt x="740" y="359"/>
                </a:cubicBezTo>
                <a:cubicBezTo>
                  <a:pt x="740" y="359"/>
                  <a:pt x="740" y="359"/>
                  <a:pt x="740" y="359"/>
                </a:cubicBezTo>
                <a:cubicBezTo>
                  <a:pt x="740" y="359"/>
                  <a:pt x="740" y="359"/>
                  <a:pt x="740" y="359"/>
                </a:cubicBezTo>
                <a:cubicBezTo>
                  <a:pt x="740" y="359"/>
                  <a:pt x="740" y="359"/>
                  <a:pt x="740" y="359"/>
                </a:cubicBezTo>
                <a:cubicBezTo>
                  <a:pt x="740" y="359"/>
                  <a:pt x="740" y="359"/>
                  <a:pt x="740" y="359"/>
                </a:cubicBezTo>
                <a:cubicBezTo>
                  <a:pt x="740" y="359"/>
                  <a:pt x="740" y="359"/>
                  <a:pt x="740" y="359"/>
                </a:cubicBezTo>
                <a:cubicBezTo>
                  <a:pt x="740" y="359"/>
                  <a:pt x="740" y="359"/>
                  <a:pt x="740" y="359"/>
                </a:cubicBezTo>
                <a:cubicBezTo>
                  <a:pt x="740" y="358"/>
                  <a:pt x="740" y="358"/>
                  <a:pt x="740" y="358"/>
                </a:cubicBezTo>
                <a:cubicBezTo>
                  <a:pt x="742" y="357"/>
                  <a:pt x="741" y="357"/>
                  <a:pt x="742" y="357"/>
                </a:cubicBezTo>
                <a:cubicBezTo>
                  <a:pt x="743" y="356"/>
                  <a:pt x="743" y="356"/>
                  <a:pt x="743" y="356"/>
                </a:cubicBezTo>
                <a:cubicBezTo>
                  <a:pt x="743" y="356"/>
                  <a:pt x="743" y="356"/>
                  <a:pt x="743" y="356"/>
                </a:cubicBezTo>
                <a:cubicBezTo>
                  <a:pt x="743" y="356"/>
                  <a:pt x="743" y="356"/>
                  <a:pt x="743" y="356"/>
                </a:cubicBezTo>
                <a:cubicBezTo>
                  <a:pt x="744" y="356"/>
                  <a:pt x="744" y="356"/>
                  <a:pt x="744" y="356"/>
                </a:cubicBezTo>
                <a:cubicBezTo>
                  <a:pt x="746" y="355"/>
                  <a:pt x="746" y="355"/>
                  <a:pt x="746" y="355"/>
                </a:cubicBezTo>
                <a:cubicBezTo>
                  <a:pt x="750" y="354"/>
                  <a:pt x="750" y="354"/>
                  <a:pt x="750" y="354"/>
                </a:cubicBezTo>
                <a:cubicBezTo>
                  <a:pt x="751" y="354"/>
                  <a:pt x="751" y="354"/>
                  <a:pt x="751" y="354"/>
                </a:cubicBezTo>
                <a:cubicBezTo>
                  <a:pt x="752" y="353"/>
                  <a:pt x="752" y="353"/>
                  <a:pt x="752" y="353"/>
                </a:cubicBezTo>
                <a:cubicBezTo>
                  <a:pt x="752" y="353"/>
                  <a:pt x="752" y="353"/>
                  <a:pt x="752" y="353"/>
                </a:cubicBezTo>
                <a:cubicBezTo>
                  <a:pt x="752" y="353"/>
                  <a:pt x="752" y="353"/>
                  <a:pt x="752" y="353"/>
                </a:cubicBezTo>
                <a:cubicBezTo>
                  <a:pt x="752" y="353"/>
                  <a:pt x="752" y="353"/>
                  <a:pt x="752" y="353"/>
                </a:cubicBezTo>
                <a:cubicBezTo>
                  <a:pt x="752" y="353"/>
                  <a:pt x="752" y="353"/>
                  <a:pt x="752" y="353"/>
                </a:cubicBezTo>
                <a:cubicBezTo>
                  <a:pt x="752" y="353"/>
                  <a:pt x="752" y="353"/>
                  <a:pt x="752" y="353"/>
                </a:cubicBezTo>
                <a:cubicBezTo>
                  <a:pt x="752" y="353"/>
                  <a:pt x="752" y="353"/>
                  <a:pt x="752" y="353"/>
                </a:cubicBezTo>
                <a:cubicBezTo>
                  <a:pt x="752" y="353"/>
                  <a:pt x="752" y="353"/>
                  <a:pt x="752" y="353"/>
                </a:cubicBezTo>
                <a:cubicBezTo>
                  <a:pt x="752" y="353"/>
                  <a:pt x="752" y="353"/>
                  <a:pt x="752" y="353"/>
                </a:cubicBezTo>
                <a:cubicBezTo>
                  <a:pt x="752" y="353"/>
                  <a:pt x="752" y="353"/>
                  <a:pt x="752" y="353"/>
                </a:cubicBezTo>
                <a:cubicBezTo>
                  <a:pt x="752" y="353"/>
                  <a:pt x="752" y="353"/>
                  <a:pt x="752" y="353"/>
                </a:cubicBezTo>
                <a:cubicBezTo>
                  <a:pt x="752" y="352"/>
                  <a:pt x="752" y="352"/>
                  <a:pt x="752" y="352"/>
                </a:cubicBezTo>
                <a:cubicBezTo>
                  <a:pt x="752" y="352"/>
                  <a:pt x="752" y="352"/>
                  <a:pt x="752" y="352"/>
                </a:cubicBezTo>
                <a:cubicBezTo>
                  <a:pt x="752" y="352"/>
                  <a:pt x="752" y="352"/>
                  <a:pt x="752" y="352"/>
                </a:cubicBezTo>
                <a:cubicBezTo>
                  <a:pt x="752" y="352"/>
                  <a:pt x="752" y="352"/>
                  <a:pt x="752" y="351"/>
                </a:cubicBezTo>
                <a:cubicBezTo>
                  <a:pt x="752" y="351"/>
                  <a:pt x="752" y="351"/>
                  <a:pt x="752" y="351"/>
                </a:cubicBezTo>
                <a:cubicBezTo>
                  <a:pt x="752" y="351"/>
                  <a:pt x="752" y="351"/>
                  <a:pt x="752" y="351"/>
                </a:cubicBezTo>
                <a:cubicBezTo>
                  <a:pt x="753" y="350"/>
                  <a:pt x="753" y="351"/>
                  <a:pt x="753" y="350"/>
                </a:cubicBezTo>
                <a:cubicBezTo>
                  <a:pt x="753" y="350"/>
                  <a:pt x="753" y="350"/>
                  <a:pt x="753" y="350"/>
                </a:cubicBezTo>
                <a:cubicBezTo>
                  <a:pt x="753" y="350"/>
                  <a:pt x="753" y="350"/>
                  <a:pt x="753" y="350"/>
                </a:cubicBezTo>
                <a:cubicBezTo>
                  <a:pt x="753" y="350"/>
                  <a:pt x="753" y="350"/>
                  <a:pt x="753" y="350"/>
                </a:cubicBezTo>
                <a:cubicBezTo>
                  <a:pt x="753" y="350"/>
                  <a:pt x="753" y="350"/>
                  <a:pt x="753" y="350"/>
                </a:cubicBezTo>
                <a:cubicBezTo>
                  <a:pt x="753" y="350"/>
                  <a:pt x="753" y="350"/>
                  <a:pt x="753" y="350"/>
                </a:cubicBezTo>
                <a:cubicBezTo>
                  <a:pt x="753" y="350"/>
                  <a:pt x="753" y="350"/>
                  <a:pt x="753" y="350"/>
                </a:cubicBezTo>
                <a:cubicBezTo>
                  <a:pt x="753" y="349"/>
                  <a:pt x="753" y="349"/>
                  <a:pt x="753" y="349"/>
                </a:cubicBezTo>
                <a:cubicBezTo>
                  <a:pt x="753" y="349"/>
                  <a:pt x="753" y="349"/>
                  <a:pt x="753" y="349"/>
                </a:cubicBezTo>
                <a:cubicBezTo>
                  <a:pt x="753" y="348"/>
                  <a:pt x="753" y="348"/>
                  <a:pt x="753" y="348"/>
                </a:cubicBezTo>
                <a:cubicBezTo>
                  <a:pt x="753" y="348"/>
                  <a:pt x="753" y="348"/>
                  <a:pt x="753" y="348"/>
                </a:cubicBezTo>
                <a:cubicBezTo>
                  <a:pt x="754" y="348"/>
                  <a:pt x="754" y="348"/>
                  <a:pt x="755" y="348"/>
                </a:cubicBezTo>
                <a:cubicBezTo>
                  <a:pt x="755" y="348"/>
                  <a:pt x="755" y="348"/>
                  <a:pt x="755" y="348"/>
                </a:cubicBezTo>
                <a:cubicBezTo>
                  <a:pt x="755" y="348"/>
                  <a:pt x="755" y="348"/>
                  <a:pt x="755" y="348"/>
                </a:cubicBezTo>
                <a:cubicBezTo>
                  <a:pt x="755" y="348"/>
                  <a:pt x="755" y="347"/>
                  <a:pt x="755" y="347"/>
                </a:cubicBezTo>
                <a:cubicBezTo>
                  <a:pt x="755" y="347"/>
                  <a:pt x="755" y="347"/>
                  <a:pt x="755" y="347"/>
                </a:cubicBezTo>
                <a:cubicBezTo>
                  <a:pt x="755" y="347"/>
                  <a:pt x="755" y="347"/>
                  <a:pt x="755" y="347"/>
                </a:cubicBezTo>
                <a:cubicBezTo>
                  <a:pt x="755" y="347"/>
                  <a:pt x="755" y="347"/>
                  <a:pt x="755" y="347"/>
                </a:cubicBezTo>
                <a:cubicBezTo>
                  <a:pt x="755" y="347"/>
                  <a:pt x="755" y="347"/>
                  <a:pt x="755" y="347"/>
                </a:cubicBezTo>
                <a:cubicBezTo>
                  <a:pt x="755" y="347"/>
                  <a:pt x="755" y="347"/>
                  <a:pt x="755" y="347"/>
                </a:cubicBezTo>
                <a:cubicBezTo>
                  <a:pt x="755" y="347"/>
                  <a:pt x="755" y="346"/>
                  <a:pt x="756" y="346"/>
                </a:cubicBezTo>
                <a:cubicBezTo>
                  <a:pt x="756" y="346"/>
                  <a:pt x="756" y="346"/>
                  <a:pt x="756" y="346"/>
                </a:cubicBezTo>
                <a:cubicBezTo>
                  <a:pt x="756" y="346"/>
                  <a:pt x="756" y="346"/>
                  <a:pt x="756" y="346"/>
                </a:cubicBezTo>
                <a:cubicBezTo>
                  <a:pt x="758" y="345"/>
                  <a:pt x="757" y="345"/>
                  <a:pt x="758" y="344"/>
                </a:cubicBezTo>
                <a:cubicBezTo>
                  <a:pt x="758" y="344"/>
                  <a:pt x="758" y="344"/>
                  <a:pt x="758" y="344"/>
                </a:cubicBezTo>
                <a:cubicBezTo>
                  <a:pt x="758" y="344"/>
                  <a:pt x="758" y="344"/>
                  <a:pt x="758" y="344"/>
                </a:cubicBezTo>
                <a:cubicBezTo>
                  <a:pt x="758" y="344"/>
                  <a:pt x="758" y="344"/>
                  <a:pt x="758" y="344"/>
                </a:cubicBezTo>
                <a:cubicBezTo>
                  <a:pt x="758" y="344"/>
                  <a:pt x="758" y="344"/>
                  <a:pt x="758" y="344"/>
                </a:cubicBezTo>
                <a:cubicBezTo>
                  <a:pt x="758" y="344"/>
                  <a:pt x="758" y="344"/>
                  <a:pt x="758" y="344"/>
                </a:cubicBezTo>
                <a:cubicBezTo>
                  <a:pt x="758" y="344"/>
                  <a:pt x="758" y="344"/>
                  <a:pt x="758" y="344"/>
                </a:cubicBezTo>
                <a:cubicBezTo>
                  <a:pt x="758" y="344"/>
                  <a:pt x="758" y="344"/>
                  <a:pt x="758" y="344"/>
                </a:cubicBezTo>
                <a:cubicBezTo>
                  <a:pt x="758" y="344"/>
                  <a:pt x="758" y="344"/>
                  <a:pt x="758" y="344"/>
                </a:cubicBezTo>
                <a:cubicBezTo>
                  <a:pt x="758" y="344"/>
                  <a:pt x="758" y="344"/>
                  <a:pt x="758" y="344"/>
                </a:cubicBezTo>
                <a:cubicBezTo>
                  <a:pt x="759" y="344"/>
                  <a:pt x="759" y="344"/>
                  <a:pt x="759" y="343"/>
                </a:cubicBezTo>
                <a:cubicBezTo>
                  <a:pt x="759" y="343"/>
                  <a:pt x="759" y="343"/>
                  <a:pt x="759" y="343"/>
                </a:cubicBezTo>
                <a:cubicBezTo>
                  <a:pt x="759" y="343"/>
                  <a:pt x="759" y="343"/>
                  <a:pt x="759" y="343"/>
                </a:cubicBezTo>
                <a:cubicBezTo>
                  <a:pt x="760" y="343"/>
                  <a:pt x="760" y="343"/>
                  <a:pt x="760" y="343"/>
                </a:cubicBezTo>
                <a:cubicBezTo>
                  <a:pt x="760" y="343"/>
                  <a:pt x="760" y="343"/>
                  <a:pt x="760" y="343"/>
                </a:cubicBezTo>
                <a:cubicBezTo>
                  <a:pt x="760" y="343"/>
                  <a:pt x="760" y="343"/>
                  <a:pt x="760" y="343"/>
                </a:cubicBezTo>
                <a:cubicBezTo>
                  <a:pt x="760" y="343"/>
                  <a:pt x="760" y="343"/>
                  <a:pt x="760" y="343"/>
                </a:cubicBezTo>
                <a:cubicBezTo>
                  <a:pt x="760" y="343"/>
                  <a:pt x="760" y="343"/>
                  <a:pt x="760" y="343"/>
                </a:cubicBezTo>
                <a:cubicBezTo>
                  <a:pt x="761" y="343"/>
                  <a:pt x="762" y="343"/>
                  <a:pt x="763" y="344"/>
                </a:cubicBezTo>
                <a:cubicBezTo>
                  <a:pt x="763" y="344"/>
                  <a:pt x="763" y="344"/>
                  <a:pt x="763" y="344"/>
                </a:cubicBezTo>
                <a:cubicBezTo>
                  <a:pt x="763" y="344"/>
                  <a:pt x="763" y="344"/>
                  <a:pt x="763" y="344"/>
                </a:cubicBezTo>
                <a:cubicBezTo>
                  <a:pt x="763" y="344"/>
                  <a:pt x="763" y="344"/>
                  <a:pt x="763" y="344"/>
                </a:cubicBezTo>
                <a:cubicBezTo>
                  <a:pt x="764" y="344"/>
                  <a:pt x="764" y="344"/>
                  <a:pt x="764" y="344"/>
                </a:cubicBezTo>
                <a:cubicBezTo>
                  <a:pt x="764" y="344"/>
                  <a:pt x="764" y="344"/>
                  <a:pt x="764" y="344"/>
                </a:cubicBezTo>
                <a:cubicBezTo>
                  <a:pt x="765" y="344"/>
                  <a:pt x="765" y="344"/>
                  <a:pt x="765" y="344"/>
                </a:cubicBezTo>
                <a:cubicBezTo>
                  <a:pt x="766" y="343"/>
                  <a:pt x="766" y="343"/>
                  <a:pt x="766" y="343"/>
                </a:cubicBezTo>
                <a:cubicBezTo>
                  <a:pt x="770" y="343"/>
                  <a:pt x="770" y="343"/>
                  <a:pt x="770" y="343"/>
                </a:cubicBezTo>
                <a:cubicBezTo>
                  <a:pt x="772" y="343"/>
                  <a:pt x="772" y="343"/>
                  <a:pt x="772" y="343"/>
                </a:cubicBezTo>
                <a:cubicBezTo>
                  <a:pt x="773" y="342"/>
                  <a:pt x="773" y="342"/>
                  <a:pt x="773" y="342"/>
                </a:cubicBezTo>
                <a:cubicBezTo>
                  <a:pt x="773" y="342"/>
                  <a:pt x="773" y="342"/>
                  <a:pt x="773" y="342"/>
                </a:cubicBezTo>
                <a:cubicBezTo>
                  <a:pt x="773" y="342"/>
                  <a:pt x="773" y="342"/>
                  <a:pt x="773" y="342"/>
                </a:cubicBezTo>
                <a:cubicBezTo>
                  <a:pt x="774" y="342"/>
                  <a:pt x="774" y="343"/>
                  <a:pt x="775" y="343"/>
                </a:cubicBezTo>
                <a:cubicBezTo>
                  <a:pt x="775" y="343"/>
                  <a:pt x="775" y="343"/>
                  <a:pt x="775" y="343"/>
                </a:cubicBezTo>
                <a:cubicBezTo>
                  <a:pt x="775" y="343"/>
                  <a:pt x="775" y="343"/>
                  <a:pt x="775" y="343"/>
                </a:cubicBezTo>
                <a:cubicBezTo>
                  <a:pt x="775" y="343"/>
                  <a:pt x="775" y="343"/>
                  <a:pt x="775" y="343"/>
                </a:cubicBezTo>
                <a:cubicBezTo>
                  <a:pt x="776" y="343"/>
                  <a:pt x="776" y="343"/>
                  <a:pt x="776" y="343"/>
                </a:cubicBezTo>
                <a:cubicBezTo>
                  <a:pt x="776" y="343"/>
                  <a:pt x="776" y="343"/>
                  <a:pt x="776" y="343"/>
                </a:cubicBezTo>
                <a:cubicBezTo>
                  <a:pt x="776" y="343"/>
                  <a:pt x="776" y="343"/>
                  <a:pt x="776" y="343"/>
                </a:cubicBezTo>
                <a:cubicBezTo>
                  <a:pt x="777" y="343"/>
                  <a:pt x="777" y="343"/>
                  <a:pt x="778" y="343"/>
                </a:cubicBezTo>
                <a:cubicBezTo>
                  <a:pt x="778" y="343"/>
                  <a:pt x="778" y="343"/>
                  <a:pt x="778" y="343"/>
                </a:cubicBezTo>
                <a:cubicBezTo>
                  <a:pt x="778" y="343"/>
                  <a:pt x="778" y="343"/>
                  <a:pt x="778" y="343"/>
                </a:cubicBezTo>
                <a:cubicBezTo>
                  <a:pt x="778" y="343"/>
                  <a:pt x="778" y="343"/>
                  <a:pt x="778" y="343"/>
                </a:cubicBezTo>
                <a:cubicBezTo>
                  <a:pt x="779" y="343"/>
                  <a:pt x="779" y="343"/>
                  <a:pt x="779" y="343"/>
                </a:cubicBezTo>
                <a:cubicBezTo>
                  <a:pt x="779" y="342"/>
                  <a:pt x="779" y="342"/>
                  <a:pt x="779" y="342"/>
                </a:cubicBezTo>
                <a:cubicBezTo>
                  <a:pt x="781" y="342"/>
                  <a:pt x="781" y="342"/>
                  <a:pt x="781" y="342"/>
                </a:cubicBezTo>
                <a:cubicBezTo>
                  <a:pt x="781" y="342"/>
                  <a:pt x="781" y="342"/>
                  <a:pt x="781" y="342"/>
                </a:cubicBezTo>
                <a:cubicBezTo>
                  <a:pt x="781" y="342"/>
                  <a:pt x="781" y="342"/>
                  <a:pt x="781" y="342"/>
                </a:cubicBezTo>
                <a:cubicBezTo>
                  <a:pt x="781" y="342"/>
                  <a:pt x="781" y="342"/>
                  <a:pt x="781" y="342"/>
                </a:cubicBezTo>
                <a:cubicBezTo>
                  <a:pt x="781" y="342"/>
                  <a:pt x="781" y="342"/>
                  <a:pt x="781" y="342"/>
                </a:cubicBezTo>
                <a:cubicBezTo>
                  <a:pt x="782" y="342"/>
                  <a:pt x="782" y="342"/>
                  <a:pt x="782" y="342"/>
                </a:cubicBezTo>
                <a:cubicBezTo>
                  <a:pt x="782" y="342"/>
                  <a:pt x="782" y="342"/>
                  <a:pt x="782" y="342"/>
                </a:cubicBezTo>
                <a:cubicBezTo>
                  <a:pt x="782" y="342"/>
                  <a:pt x="782" y="342"/>
                  <a:pt x="782" y="342"/>
                </a:cubicBezTo>
                <a:cubicBezTo>
                  <a:pt x="782" y="342"/>
                  <a:pt x="782" y="342"/>
                  <a:pt x="782" y="342"/>
                </a:cubicBezTo>
                <a:cubicBezTo>
                  <a:pt x="782" y="343"/>
                  <a:pt x="782" y="343"/>
                  <a:pt x="782" y="343"/>
                </a:cubicBezTo>
                <a:cubicBezTo>
                  <a:pt x="782" y="343"/>
                  <a:pt x="782" y="343"/>
                  <a:pt x="782" y="343"/>
                </a:cubicBezTo>
                <a:cubicBezTo>
                  <a:pt x="782" y="343"/>
                  <a:pt x="781" y="343"/>
                  <a:pt x="780" y="343"/>
                </a:cubicBezTo>
                <a:cubicBezTo>
                  <a:pt x="781" y="343"/>
                  <a:pt x="782" y="344"/>
                  <a:pt x="784" y="344"/>
                </a:cubicBezTo>
                <a:cubicBezTo>
                  <a:pt x="785" y="345"/>
                  <a:pt x="785" y="345"/>
                  <a:pt x="786" y="345"/>
                </a:cubicBezTo>
                <a:cubicBezTo>
                  <a:pt x="787" y="345"/>
                  <a:pt x="788" y="346"/>
                  <a:pt x="788" y="347"/>
                </a:cubicBezTo>
                <a:cubicBezTo>
                  <a:pt x="789" y="347"/>
                  <a:pt x="789" y="348"/>
                  <a:pt x="790" y="349"/>
                </a:cubicBezTo>
                <a:cubicBezTo>
                  <a:pt x="790" y="349"/>
                  <a:pt x="791" y="349"/>
                  <a:pt x="791" y="349"/>
                </a:cubicBezTo>
                <a:cubicBezTo>
                  <a:pt x="792" y="350"/>
                  <a:pt x="793" y="351"/>
                  <a:pt x="794" y="351"/>
                </a:cubicBezTo>
                <a:cubicBezTo>
                  <a:pt x="796" y="352"/>
                  <a:pt x="798" y="352"/>
                  <a:pt x="799" y="352"/>
                </a:cubicBezTo>
                <a:cubicBezTo>
                  <a:pt x="801" y="352"/>
                  <a:pt x="804" y="353"/>
                  <a:pt x="806" y="353"/>
                </a:cubicBezTo>
                <a:cubicBezTo>
                  <a:pt x="806" y="353"/>
                  <a:pt x="806" y="353"/>
                  <a:pt x="806" y="353"/>
                </a:cubicBezTo>
                <a:cubicBezTo>
                  <a:pt x="806" y="353"/>
                  <a:pt x="807" y="353"/>
                  <a:pt x="807" y="353"/>
                </a:cubicBezTo>
                <a:cubicBezTo>
                  <a:pt x="807" y="353"/>
                  <a:pt x="808" y="353"/>
                  <a:pt x="808" y="353"/>
                </a:cubicBezTo>
                <a:cubicBezTo>
                  <a:pt x="808" y="353"/>
                  <a:pt x="808" y="353"/>
                  <a:pt x="808" y="353"/>
                </a:cubicBezTo>
                <a:cubicBezTo>
                  <a:pt x="808" y="353"/>
                  <a:pt x="809" y="352"/>
                  <a:pt x="809" y="352"/>
                </a:cubicBezTo>
                <a:cubicBezTo>
                  <a:pt x="809" y="352"/>
                  <a:pt x="809" y="352"/>
                  <a:pt x="808" y="351"/>
                </a:cubicBezTo>
                <a:cubicBezTo>
                  <a:pt x="808" y="351"/>
                  <a:pt x="807" y="350"/>
                  <a:pt x="807" y="349"/>
                </a:cubicBezTo>
                <a:cubicBezTo>
                  <a:pt x="806" y="349"/>
                  <a:pt x="806" y="349"/>
                  <a:pt x="806" y="349"/>
                </a:cubicBezTo>
                <a:cubicBezTo>
                  <a:pt x="806" y="349"/>
                  <a:pt x="806" y="349"/>
                  <a:pt x="806" y="349"/>
                </a:cubicBezTo>
                <a:cubicBezTo>
                  <a:pt x="805" y="349"/>
                  <a:pt x="804" y="349"/>
                  <a:pt x="804" y="348"/>
                </a:cubicBezTo>
                <a:cubicBezTo>
                  <a:pt x="803" y="348"/>
                  <a:pt x="803" y="348"/>
                  <a:pt x="803" y="348"/>
                </a:cubicBezTo>
                <a:cubicBezTo>
                  <a:pt x="803" y="348"/>
                  <a:pt x="803" y="348"/>
                  <a:pt x="802" y="348"/>
                </a:cubicBezTo>
                <a:cubicBezTo>
                  <a:pt x="802" y="348"/>
                  <a:pt x="802" y="348"/>
                  <a:pt x="802" y="348"/>
                </a:cubicBezTo>
                <a:cubicBezTo>
                  <a:pt x="802" y="347"/>
                  <a:pt x="801" y="347"/>
                  <a:pt x="801" y="347"/>
                </a:cubicBezTo>
                <a:cubicBezTo>
                  <a:pt x="800" y="346"/>
                  <a:pt x="800" y="346"/>
                  <a:pt x="800" y="346"/>
                </a:cubicBezTo>
                <a:cubicBezTo>
                  <a:pt x="799" y="345"/>
                  <a:pt x="797" y="345"/>
                  <a:pt x="796" y="345"/>
                </a:cubicBezTo>
                <a:cubicBezTo>
                  <a:pt x="795" y="344"/>
                  <a:pt x="794" y="344"/>
                  <a:pt x="793" y="343"/>
                </a:cubicBezTo>
                <a:cubicBezTo>
                  <a:pt x="795" y="343"/>
                  <a:pt x="797" y="343"/>
                  <a:pt x="799" y="343"/>
                </a:cubicBezTo>
                <a:cubicBezTo>
                  <a:pt x="799" y="343"/>
                  <a:pt x="800" y="343"/>
                  <a:pt x="801" y="343"/>
                </a:cubicBezTo>
                <a:cubicBezTo>
                  <a:pt x="802" y="343"/>
                  <a:pt x="803" y="343"/>
                  <a:pt x="804" y="343"/>
                </a:cubicBezTo>
                <a:cubicBezTo>
                  <a:pt x="805" y="343"/>
                  <a:pt x="807" y="343"/>
                  <a:pt x="807" y="343"/>
                </a:cubicBezTo>
                <a:cubicBezTo>
                  <a:pt x="808" y="344"/>
                  <a:pt x="807" y="345"/>
                  <a:pt x="809" y="344"/>
                </a:cubicBezTo>
                <a:cubicBezTo>
                  <a:pt x="809" y="344"/>
                  <a:pt x="808" y="345"/>
                  <a:pt x="808" y="345"/>
                </a:cubicBezTo>
                <a:cubicBezTo>
                  <a:pt x="810" y="345"/>
                  <a:pt x="812" y="344"/>
                  <a:pt x="814" y="344"/>
                </a:cubicBezTo>
                <a:cubicBezTo>
                  <a:pt x="815" y="344"/>
                  <a:pt x="817" y="343"/>
                  <a:pt x="818" y="344"/>
                </a:cubicBezTo>
                <a:cubicBezTo>
                  <a:pt x="819" y="344"/>
                  <a:pt x="824" y="342"/>
                  <a:pt x="825" y="343"/>
                </a:cubicBezTo>
                <a:cubicBezTo>
                  <a:pt x="827" y="342"/>
                  <a:pt x="830" y="340"/>
                  <a:pt x="832" y="338"/>
                </a:cubicBezTo>
                <a:cubicBezTo>
                  <a:pt x="832" y="337"/>
                  <a:pt x="835" y="336"/>
                  <a:pt x="835" y="335"/>
                </a:cubicBezTo>
                <a:cubicBezTo>
                  <a:pt x="836" y="338"/>
                  <a:pt x="837" y="335"/>
                  <a:pt x="837" y="334"/>
                </a:cubicBezTo>
                <a:cubicBezTo>
                  <a:pt x="837" y="334"/>
                  <a:pt x="837" y="333"/>
                  <a:pt x="836" y="333"/>
                </a:cubicBezTo>
                <a:cubicBezTo>
                  <a:pt x="837" y="332"/>
                  <a:pt x="839" y="331"/>
                  <a:pt x="840" y="330"/>
                </a:cubicBezTo>
                <a:cubicBezTo>
                  <a:pt x="838" y="329"/>
                  <a:pt x="844" y="328"/>
                  <a:pt x="845" y="328"/>
                </a:cubicBezTo>
                <a:cubicBezTo>
                  <a:pt x="847" y="327"/>
                  <a:pt x="848" y="327"/>
                  <a:pt x="850" y="327"/>
                </a:cubicBezTo>
                <a:cubicBezTo>
                  <a:pt x="852" y="327"/>
                  <a:pt x="854" y="328"/>
                  <a:pt x="856" y="327"/>
                </a:cubicBezTo>
                <a:cubicBezTo>
                  <a:pt x="856" y="327"/>
                  <a:pt x="856" y="327"/>
                  <a:pt x="856" y="327"/>
                </a:cubicBezTo>
                <a:cubicBezTo>
                  <a:pt x="856" y="327"/>
                  <a:pt x="856" y="327"/>
                  <a:pt x="856" y="327"/>
                </a:cubicBezTo>
                <a:cubicBezTo>
                  <a:pt x="857" y="328"/>
                  <a:pt x="858" y="328"/>
                  <a:pt x="856" y="329"/>
                </a:cubicBezTo>
                <a:cubicBezTo>
                  <a:pt x="856" y="330"/>
                  <a:pt x="856" y="330"/>
                  <a:pt x="855" y="331"/>
                </a:cubicBezTo>
                <a:cubicBezTo>
                  <a:pt x="855" y="331"/>
                  <a:pt x="854" y="331"/>
                  <a:pt x="853" y="331"/>
                </a:cubicBezTo>
                <a:cubicBezTo>
                  <a:pt x="853" y="332"/>
                  <a:pt x="854" y="332"/>
                  <a:pt x="855" y="332"/>
                </a:cubicBezTo>
                <a:cubicBezTo>
                  <a:pt x="855" y="332"/>
                  <a:pt x="855" y="332"/>
                  <a:pt x="855" y="332"/>
                </a:cubicBezTo>
                <a:cubicBezTo>
                  <a:pt x="855" y="332"/>
                  <a:pt x="855" y="332"/>
                  <a:pt x="855" y="333"/>
                </a:cubicBezTo>
                <a:cubicBezTo>
                  <a:pt x="854" y="333"/>
                  <a:pt x="854" y="333"/>
                  <a:pt x="853" y="333"/>
                </a:cubicBezTo>
                <a:cubicBezTo>
                  <a:pt x="852" y="334"/>
                  <a:pt x="852" y="335"/>
                  <a:pt x="852" y="335"/>
                </a:cubicBezTo>
                <a:cubicBezTo>
                  <a:pt x="852" y="335"/>
                  <a:pt x="851" y="336"/>
                  <a:pt x="851" y="336"/>
                </a:cubicBezTo>
                <a:cubicBezTo>
                  <a:pt x="851" y="338"/>
                  <a:pt x="850" y="339"/>
                  <a:pt x="849" y="341"/>
                </a:cubicBezTo>
                <a:cubicBezTo>
                  <a:pt x="849" y="342"/>
                  <a:pt x="848" y="343"/>
                  <a:pt x="848" y="344"/>
                </a:cubicBezTo>
                <a:cubicBezTo>
                  <a:pt x="848" y="344"/>
                  <a:pt x="848" y="344"/>
                  <a:pt x="848" y="344"/>
                </a:cubicBezTo>
                <a:cubicBezTo>
                  <a:pt x="847" y="345"/>
                  <a:pt x="847" y="346"/>
                  <a:pt x="847" y="346"/>
                </a:cubicBezTo>
                <a:cubicBezTo>
                  <a:pt x="847" y="347"/>
                  <a:pt x="846" y="347"/>
                  <a:pt x="845" y="348"/>
                </a:cubicBezTo>
                <a:cubicBezTo>
                  <a:pt x="845" y="348"/>
                  <a:pt x="844" y="349"/>
                  <a:pt x="844" y="350"/>
                </a:cubicBezTo>
                <a:cubicBezTo>
                  <a:pt x="844" y="350"/>
                  <a:pt x="844" y="350"/>
                  <a:pt x="845" y="350"/>
                </a:cubicBezTo>
                <a:cubicBezTo>
                  <a:pt x="845" y="351"/>
                  <a:pt x="846" y="351"/>
                  <a:pt x="847" y="351"/>
                </a:cubicBezTo>
                <a:cubicBezTo>
                  <a:pt x="847" y="352"/>
                  <a:pt x="846" y="352"/>
                  <a:pt x="845" y="352"/>
                </a:cubicBezTo>
                <a:cubicBezTo>
                  <a:pt x="845" y="352"/>
                  <a:pt x="845" y="352"/>
                  <a:pt x="845" y="352"/>
                </a:cubicBezTo>
                <a:cubicBezTo>
                  <a:pt x="846" y="352"/>
                  <a:pt x="847" y="352"/>
                  <a:pt x="848" y="352"/>
                </a:cubicBezTo>
                <a:cubicBezTo>
                  <a:pt x="848" y="352"/>
                  <a:pt x="848" y="352"/>
                  <a:pt x="848" y="352"/>
                </a:cubicBezTo>
                <a:cubicBezTo>
                  <a:pt x="848" y="352"/>
                  <a:pt x="847" y="352"/>
                  <a:pt x="847" y="352"/>
                </a:cubicBezTo>
                <a:cubicBezTo>
                  <a:pt x="846" y="352"/>
                  <a:pt x="846" y="352"/>
                  <a:pt x="845" y="352"/>
                </a:cubicBezTo>
                <a:cubicBezTo>
                  <a:pt x="845" y="353"/>
                  <a:pt x="845" y="353"/>
                  <a:pt x="846" y="354"/>
                </a:cubicBezTo>
                <a:cubicBezTo>
                  <a:pt x="846" y="354"/>
                  <a:pt x="847" y="354"/>
                  <a:pt x="847" y="354"/>
                </a:cubicBezTo>
                <a:cubicBezTo>
                  <a:pt x="846" y="355"/>
                  <a:pt x="846" y="354"/>
                  <a:pt x="845" y="354"/>
                </a:cubicBezTo>
                <a:cubicBezTo>
                  <a:pt x="845" y="354"/>
                  <a:pt x="845" y="354"/>
                  <a:pt x="845" y="354"/>
                </a:cubicBezTo>
                <a:cubicBezTo>
                  <a:pt x="844" y="353"/>
                  <a:pt x="844" y="353"/>
                  <a:pt x="843" y="353"/>
                </a:cubicBezTo>
                <a:cubicBezTo>
                  <a:pt x="843" y="353"/>
                  <a:pt x="843" y="354"/>
                  <a:pt x="843" y="353"/>
                </a:cubicBezTo>
                <a:cubicBezTo>
                  <a:pt x="843" y="353"/>
                  <a:pt x="843" y="353"/>
                  <a:pt x="843" y="353"/>
                </a:cubicBezTo>
                <a:cubicBezTo>
                  <a:pt x="843" y="352"/>
                  <a:pt x="843" y="352"/>
                  <a:pt x="842" y="353"/>
                </a:cubicBezTo>
                <a:cubicBezTo>
                  <a:pt x="842" y="353"/>
                  <a:pt x="842" y="353"/>
                  <a:pt x="842" y="354"/>
                </a:cubicBezTo>
                <a:cubicBezTo>
                  <a:pt x="841" y="354"/>
                  <a:pt x="841" y="354"/>
                  <a:pt x="841" y="354"/>
                </a:cubicBezTo>
                <a:cubicBezTo>
                  <a:pt x="841" y="355"/>
                  <a:pt x="841" y="355"/>
                  <a:pt x="841" y="356"/>
                </a:cubicBezTo>
                <a:cubicBezTo>
                  <a:pt x="840" y="357"/>
                  <a:pt x="840" y="357"/>
                  <a:pt x="840" y="357"/>
                </a:cubicBezTo>
                <a:cubicBezTo>
                  <a:pt x="839" y="358"/>
                  <a:pt x="840" y="359"/>
                  <a:pt x="839" y="360"/>
                </a:cubicBezTo>
                <a:cubicBezTo>
                  <a:pt x="838" y="360"/>
                  <a:pt x="838" y="360"/>
                  <a:pt x="838" y="359"/>
                </a:cubicBezTo>
                <a:cubicBezTo>
                  <a:pt x="838" y="360"/>
                  <a:pt x="837" y="360"/>
                  <a:pt x="837" y="359"/>
                </a:cubicBezTo>
                <a:cubicBezTo>
                  <a:pt x="837" y="358"/>
                  <a:pt x="838" y="358"/>
                  <a:pt x="839" y="357"/>
                </a:cubicBezTo>
                <a:cubicBezTo>
                  <a:pt x="838" y="357"/>
                  <a:pt x="838" y="357"/>
                  <a:pt x="838" y="357"/>
                </a:cubicBezTo>
                <a:cubicBezTo>
                  <a:pt x="836" y="358"/>
                  <a:pt x="834" y="360"/>
                  <a:pt x="834" y="361"/>
                </a:cubicBezTo>
                <a:cubicBezTo>
                  <a:pt x="834" y="361"/>
                  <a:pt x="834" y="361"/>
                  <a:pt x="835" y="361"/>
                </a:cubicBezTo>
                <a:cubicBezTo>
                  <a:pt x="836" y="361"/>
                  <a:pt x="837" y="360"/>
                  <a:pt x="839" y="360"/>
                </a:cubicBezTo>
                <a:cubicBezTo>
                  <a:pt x="839" y="360"/>
                  <a:pt x="839" y="360"/>
                  <a:pt x="839" y="360"/>
                </a:cubicBezTo>
                <a:cubicBezTo>
                  <a:pt x="840" y="360"/>
                  <a:pt x="841" y="360"/>
                  <a:pt x="841" y="360"/>
                </a:cubicBezTo>
                <a:cubicBezTo>
                  <a:pt x="842" y="361"/>
                  <a:pt x="842" y="360"/>
                  <a:pt x="843" y="360"/>
                </a:cubicBezTo>
                <a:cubicBezTo>
                  <a:pt x="843" y="360"/>
                  <a:pt x="843" y="360"/>
                  <a:pt x="844" y="360"/>
                </a:cubicBezTo>
                <a:cubicBezTo>
                  <a:pt x="843" y="361"/>
                  <a:pt x="842" y="361"/>
                  <a:pt x="842" y="361"/>
                </a:cubicBezTo>
                <a:cubicBezTo>
                  <a:pt x="841" y="361"/>
                  <a:pt x="841" y="362"/>
                  <a:pt x="840" y="362"/>
                </a:cubicBezTo>
                <a:cubicBezTo>
                  <a:pt x="841" y="362"/>
                  <a:pt x="841" y="362"/>
                  <a:pt x="841" y="362"/>
                </a:cubicBezTo>
                <a:cubicBezTo>
                  <a:pt x="839" y="363"/>
                  <a:pt x="838" y="364"/>
                  <a:pt x="836" y="366"/>
                </a:cubicBezTo>
                <a:cubicBezTo>
                  <a:pt x="835" y="366"/>
                  <a:pt x="834" y="367"/>
                  <a:pt x="833" y="368"/>
                </a:cubicBezTo>
                <a:cubicBezTo>
                  <a:pt x="833" y="368"/>
                  <a:pt x="832" y="368"/>
                  <a:pt x="832" y="369"/>
                </a:cubicBezTo>
                <a:cubicBezTo>
                  <a:pt x="832" y="369"/>
                  <a:pt x="833" y="370"/>
                  <a:pt x="833" y="370"/>
                </a:cubicBezTo>
                <a:cubicBezTo>
                  <a:pt x="833" y="370"/>
                  <a:pt x="833" y="371"/>
                  <a:pt x="833" y="371"/>
                </a:cubicBezTo>
                <a:cubicBezTo>
                  <a:pt x="833" y="371"/>
                  <a:pt x="833" y="371"/>
                  <a:pt x="833" y="372"/>
                </a:cubicBezTo>
                <a:cubicBezTo>
                  <a:pt x="833" y="372"/>
                  <a:pt x="834" y="372"/>
                  <a:pt x="835" y="373"/>
                </a:cubicBezTo>
                <a:cubicBezTo>
                  <a:pt x="836" y="373"/>
                  <a:pt x="838" y="373"/>
                  <a:pt x="839" y="372"/>
                </a:cubicBezTo>
                <a:cubicBezTo>
                  <a:pt x="839" y="372"/>
                  <a:pt x="840" y="372"/>
                  <a:pt x="840" y="372"/>
                </a:cubicBezTo>
                <a:cubicBezTo>
                  <a:pt x="841" y="372"/>
                  <a:pt x="842" y="372"/>
                  <a:pt x="842" y="372"/>
                </a:cubicBezTo>
                <a:cubicBezTo>
                  <a:pt x="843" y="371"/>
                  <a:pt x="843" y="370"/>
                  <a:pt x="844" y="370"/>
                </a:cubicBezTo>
                <a:cubicBezTo>
                  <a:pt x="843" y="371"/>
                  <a:pt x="843" y="371"/>
                  <a:pt x="843" y="372"/>
                </a:cubicBezTo>
                <a:cubicBezTo>
                  <a:pt x="843" y="372"/>
                  <a:pt x="843" y="372"/>
                  <a:pt x="844" y="372"/>
                </a:cubicBezTo>
                <a:cubicBezTo>
                  <a:pt x="845" y="371"/>
                  <a:pt x="846" y="371"/>
                  <a:pt x="847" y="371"/>
                </a:cubicBezTo>
                <a:cubicBezTo>
                  <a:pt x="847" y="371"/>
                  <a:pt x="848" y="371"/>
                  <a:pt x="848" y="371"/>
                </a:cubicBezTo>
                <a:cubicBezTo>
                  <a:pt x="849" y="371"/>
                  <a:pt x="850" y="372"/>
                  <a:pt x="851" y="372"/>
                </a:cubicBezTo>
                <a:cubicBezTo>
                  <a:pt x="852" y="372"/>
                  <a:pt x="852" y="372"/>
                  <a:pt x="852" y="372"/>
                </a:cubicBezTo>
                <a:cubicBezTo>
                  <a:pt x="853" y="372"/>
                  <a:pt x="854" y="372"/>
                  <a:pt x="855" y="372"/>
                </a:cubicBezTo>
                <a:cubicBezTo>
                  <a:pt x="855" y="372"/>
                  <a:pt x="856" y="372"/>
                  <a:pt x="856" y="372"/>
                </a:cubicBezTo>
                <a:cubicBezTo>
                  <a:pt x="857" y="372"/>
                  <a:pt x="857" y="373"/>
                  <a:pt x="858" y="373"/>
                </a:cubicBezTo>
                <a:cubicBezTo>
                  <a:pt x="859" y="373"/>
                  <a:pt x="859" y="373"/>
                  <a:pt x="860" y="373"/>
                </a:cubicBezTo>
                <a:cubicBezTo>
                  <a:pt x="859" y="373"/>
                  <a:pt x="859" y="372"/>
                  <a:pt x="859" y="372"/>
                </a:cubicBezTo>
                <a:cubicBezTo>
                  <a:pt x="860" y="372"/>
                  <a:pt x="862" y="372"/>
                  <a:pt x="863" y="372"/>
                </a:cubicBezTo>
                <a:cubicBezTo>
                  <a:pt x="863" y="372"/>
                  <a:pt x="863" y="372"/>
                  <a:pt x="863" y="372"/>
                </a:cubicBezTo>
                <a:cubicBezTo>
                  <a:pt x="864" y="372"/>
                  <a:pt x="864" y="372"/>
                  <a:pt x="864" y="371"/>
                </a:cubicBezTo>
                <a:cubicBezTo>
                  <a:pt x="864" y="371"/>
                  <a:pt x="864" y="371"/>
                  <a:pt x="864" y="371"/>
                </a:cubicBezTo>
                <a:cubicBezTo>
                  <a:pt x="864" y="371"/>
                  <a:pt x="864" y="371"/>
                  <a:pt x="864" y="371"/>
                </a:cubicBezTo>
                <a:cubicBezTo>
                  <a:pt x="865" y="371"/>
                  <a:pt x="865" y="371"/>
                  <a:pt x="865" y="371"/>
                </a:cubicBezTo>
                <a:cubicBezTo>
                  <a:pt x="866" y="370"/>
                  <a:pt x="866" y="370"/>
                  <a:pt x="865" y="369"/>
                </a:cubicBezTo>
                <a:cubicBezTo>
                  <a:pt x="865" y="369"/>
                  <a:pt x="865" y="369"/>
                  <a:pt x="865" y="369"/>
                </a:cubicBezTo>
                <a:cubicBezTo>
                  <a:pt x="865" y="369"/>
                  <a:pt x="865" y="369"/>
                  <a:pt x="865" y="369"/>
                </a:cubicBezTo>
                <a:cubicBezTo>
                  <a:pt x="866" y="370"/>
                  <a:pt x="867" y="371"/>
                  <a:pt x="868" y="370"/>
                </a:cubicBezTo>
                <a:cubicBezTo>
                  <a:pt x="868" y="370"/>
                  <a:pt x="868" y="370"/>
                  <a:pt x="868" y="370"/>
                </a:cubicBezTo>
                <a:cubicBezTo>
                  <a:pt x="868" y="370"/>
                  <a:pt x="868" y="370"/>
                  <a:pt x="868" y="370"/>
                </a:cubicBezTo>
                <a:cubicBezTo>
                  <a:pt x="868" y="371"/>
                  <a:pt x="868" y="371"/>
                  <a:pt x="868" y="371"/>
                </a:cubicBezTo>
                <a:cubicBezTo>
                  <a:pt x="868" y="371"/>
                  <a:pt x="868" y="372"/>
                  <a:pt x="868" y="372"/>
                </a:cubicBezTo>
                <a:cubicBezTo>
                  <a:pt x="869" y="372"/>
                  <a:pt x="870" y="371"/>
                  <a:pt x="871" y="371"/>
                </a:cubicBezTo>
                <a:cubicBezTo>
                  <a:pt x="870" y="372"/>
                  <a:pt x="869" y="372"/>
                  <a:pt x="868" y="373"/>
                </a:cubicBezTo>
                <a:cubicBezTo>
                  <a:pt x="867" y="373"/>
                  <a:pt x="866" y="373"/>
                  <a:pt x="865" y="373"/>
                </a:cubicBezTo>
                <a:cubicBezTo>
                  <a:pt x="865" y="373"/>
                  <a:pt x="865" y="373"/>
                  <a:pt x="865" y="374"/>
                </a:cubicBezTo>
                <a:cubicBezTo>
                  <a:pt x="865" y="374"/>
                  <a:pt x="865" y="374"/>
                  <a:pt x="865" y="374"/>
                </a:cubicBezTo>
                <a:cubicBezTo>
                  <a:pt x="866" y="374"/>
                  <a:pt x="867" y="374"/>
                  <a:pt x="868" y="373"/>
                </a:cubicBezTo>
                <a:cubicBezTo>
                  <a:pt x="869" y="373"/>
                  <a:pt x="869" y="373"/>
                  <a:pt x="869" y="373"/>
                </a:cubicBezTo>
                <a:cubicBezTo>
                  <a:pt x="869" y="373"/>
                  <a:pt x="869" y="373"/>
                  <a:pt x="868" y="374"/>
                </a:cubicBezTo>
                <a:cubicBezTo>
                  <a:pt x="868" y="374"/>
                  <a:pt x="868" y="374"/>
                  <a:pt x="868" y="374"/>
                </a:cubicBezTo>
                <a:cubicBezTo>
                  <a:pt x="868" y="374"/>
                  <a:pt x="868" y="374"/>
                  <a:pt x="868" y="374"/>
                </a:cubicBezTo>
                <a:cubicBezTo>
                  <a:pt x="868" y="374"/>
                  <a:pt x="868" y="374"/>
                  <a:pt x="869" y="374"/>
                </a:cubicBezTo>
                <a:cubicBezTo>
                  <a:pt x="869" y="374"/>
                  <a:pt x="869" y="374"/>
                  <a:pt x="869" y="374"/>
                </a:cubicBezTo>
                <a:cubicBezTo>
                  <a:pt x="869" y="373"/>
                  <a:pt x="869" y="373"/>
                  <a:pt x="869" y="373"/>
                </a:cubicBezTo>
                <a:cubicBezTo>
                  <a:pt x="869" y="373"/>
                  <a:pt x="869" y="373"/>
                  <a:pt x="869" y="373"/>
                </a:cubicBezTo>
                <a:cubicBezTo>
                  <a:pt x="869" y="374"/>
                  <a:pt x="870" y="374"/>
                  <a:pt x="870" y="374"/>
                </a:cubicBezTo>
                <a:cubicBezTo>
                  <a:pt x="871" y="374"/>
                  <a:pt x="871" y="373"/>
                  <a:pt x="871" y="373"/>
                </a:cubicBezTo>
                <a:cubicBezTo>
                  <a:pt x="871" y="373"/>
                  <a:pt x="871" y="374"/>
                  <a:pt x="872" y="374"/>
                </a:cubicBezTo>
                <a:cubicBezTo>
                  <a:pt x="872" y="374"/>
                  <a:pt x="873" y="374"/>
                  <a:pt x="873" y="374"/>
                </a:cubicBezTo>
                <a:cubicBezTo>
                  <a:pt x="873" y="373"/>
                  <a:pt x="873" y="372"/>
                  <a:pt x="873" y="371"/>
                </a:cubicBezTo>
                <a:cubicBezTo>
                  <a:pt x="873" y="370"/>
                  <a:pt x="874" y="371"/>
                  <a:pt x="874" y="372"/>
                </a:cubicBezTo>
                <a:cubicBezTo>
                  <a:pt x="874" y="371"/>
                  <a:pt x="875" y="372"/>
                  <a:pt x="875" y="372"/>
                </a:cubicBezTo>
                <a:cubicBezTo>
                  <a:pt x="875" y="372"/>
                  <a:pt x="875" y="372"/>
                  <a:pt x="876" y="372"/>
                </a:cubicBezTo>
                <a:cubicBezTo>
                  <a:pt x="876" y="374"/>
                  <a:pt x="877" y="371"/>
                  <a:pt x="878" y="370"/>
                </a:cubicBezTo>
                <a:cubicBezTo>
                  <a:pt x="878" y="371"/>
                  <a:pt x="877" y="372"/>
                  <a:pt x="877" y="372"/>
                </a:cubicBezTo>
                <a:cubicBezTo>
                  <a:pt x="878" y="372"/>
                  <a:pt x="878" y="372"/>
                  <a:pt x="879" y="372"/>
                </a:cubicBezTo>
                <a:cubicBezTo>
                  <a:pt x="879" y="372"/>
                  <a:pt x="880" y="371"/>
                  <a:pt x="880" y="372"/>
                </a:cubicBezTo>
                <a:cubicBezTo>
                  <a:pt x="879" y="372"/>
                  <a:pt x="878" y="373"/>
                  <a:pt x="877" y="373"/>
                </a:cubicBezTo>
                <a:cubicBezTo>
                  <a:pt x="875" y="375"/>
                  <a:pt x="873" y="376"/>
                  <a:pt x="871" y="378"/>
                </a:cubicBezTo>
                <a:cubicBezTo>
                  <a:pt x="870" y="378"/>
                  <a:pt x="869" y="379"/>
                  <a:pt x="869" y="379"/>
                </a:cubicBezTo>
                <a:cubicBezTo>
                  <a:pt x="869" y="379"/>
                  <a:pt x="868" y="380"/>
                  <a:pt x="868" y="380"/>
                </a:cubicBezTo>
                <a:cubicBezTo>
                  <a:pt x="868" y="381"/>
                  <a:pt x="868" y="381"/>
                  <a:pt x="868" y="382"/>
                </a:cubicBezTo>
                <a:cubicBezTo>
                  <a:pt x="868" y="382"/>
                  <a:pt x="868" y="382"/>
                  <a:pt x="868" y="382"/>
                </a:cubicBezTo>
                <a:cubicBezTo>
                  <a:pt x="868" y="382"/>
                  <a:pt x="868" y="382"/>
                  <a:pt x="869" y="382"/>
                </a:cubicBezTo>
                <a:cubicBezTo>
                  <a:pt x="870" y="382"/>
                  <a:pt x="872" y="381"/>
                  <a:pt x="872" y="381"/>
                </a:cubicBezTo>
                <a:cubicBezTo>
                  <a:pt x="873" y="381"/>
                  <a:pt x="872" y="382"/>
                  <a:pt x="873" y="382"/>
                </a:cubicBezTo>
                <a:cubicBezTo>
                  <a:pt x="873" y="382"/>
                  <a:pt x="873" y="381"/>
                  <a:pt x="874" y="381"/>
                </a:cubicBezTo>
                <a:cubicBezTo>
                  <a:pt x="875" y="381"/>
                  <a:pt x="875" y="381"/>
                  <a:pt x="875" y="380"/>
                </a:cubicBezTo>
                <a:cubicBezTo>
                  <a:pt x="875" y="380"/>
                  <a:pt x="875" y="380"/>
                  <a:pt x="876" y="380"/>
                </a:cubicBezTo>
                <a:cubicBezTo>
                  <a:pt x="876" y="380"/>
                  <a:pt x="876" y="379"/>
                  <a:pt x="876" y="379"/>
                </a:cubicBezTo>
                <a:cubicBezTo>
                  <a:pt x="877" y="379"/>
                  <a:pt x="877" y="378"/>
                  <a:pt x="877" y="378"/>
                </a:cubicBezTo>
                <a:cubicBezTo>
                  <a:pt x="877" y="378"/>
                  <a:pt x="877" y="377"/>
                  <a:pt x="877" y="377"/>
                </a:cubicBezTo>
                <a:cubicBezTo>
                  <a:pt x="878" y="376"/>
                  <a:pt x="878" y="375"/>
                  <a:pt x="879" y="375"/>
                </a:cubicBezTo>
                <a:cubicBezTo>
                  <a:pt x="879" y="375"/>
                  <a:pt x="879" y="375"/>
                  <a:pt x="879" y="375"/>
                </a:cubicBezTo>
                <a:cubicBezTo>
                  <a:pt x="879" y="375"/>
                  <a:pt x="879" y="375"/>
                  <a:pt x="879" y="375"/>
                </a:cubicBezTo>
                <a:cubicBezTo>
                  <a:pt x="879" y="375"/>
                  <a:pt x="879" y="375"/>
                  <a:pt x="879" y="375"/>
                </a:cubicBezTo>
                <a:cubicBezTo>
                  <a:pt x="880" y="376"/>
                  <a:pt x="880" y="376"/>
                  <a:pt x="880" y="375"/>
                </a:cubicBezTo>
                <a:cubicBezTo>
                  <a:pt x="880" y="375"/>
                  <a:pt x="880" y="375"/>
                  <a:pt x="880" y="375"/>
                </a:cubicBezTo>
                <a:cubicBezTo>
                  <a:pt x="882" y="375"/>
                  <a:pt x="882" y="373"/>
                  <a:pt x="883" y="372"/>
                </a:cubicBezTo>
                <a:cubicBezTo>
                  <a:pt x="883" y="373"/>
                  <a:pt x="882" y="375"/>
                  <a:pt x="881" y="375"/>
                </a:cubicBezTo>
                <a:cubicBezTo>
                  <a:pt x="882" y="376"/>
                  <a:pt x="883" y="374"/>
                  <a:pt x="883" y="375"/>
                </a:cubicBezTo>
                <a:cubicBezTo>
                  <a:pt x="883" y="374"/>
                  <a:pt x="883" y="373"/>
                  <a:pt x="884" y="372"/>
                </a:cubicBezTo>
                <a:cubicBezTo>
                  <a:pt x="884" y="372"/>
                  <a:pt x="885" y="371"/>
                  <a:pt x="885" y="370"/>
                </a:cubicBezTo>
                <a:cubicBezTo>
                  <a:pt x="885" y="369"/>
                  <a:pt x="885" y="369"/>
                  <a:pt x="886" y="369"/>
                </a:cubicBezTo>
                <a:cubicBezTo>
                  <a:pt x="886" y="369"/>
                  <a:pt x="886" y="369"/>
                  <a:pt x="886" y="369"/>
                </a:cubicBezTo>
                <a:cubicBezTo>
                  <a:pt x="886" y="369"/>
                  <a:pt x="886" y="370"/>
                  <a:pt x="887" y="369"/>
                </a:cubicBezTo>
                <a:cubicBezTo>
                  <a:pt x="887" y="369"/>
                  <a:pt x="887" y="370"/>
                  <a:pt x="887" y="370"/>
                </a:cubicBezTo>
                <a:cubicBezTo>
                  <a:pt x="887" y="370"/>
                  <a:pt x="887" y="370"/>
                  <a:pt x="888" y="371"/>
                </a:cubicBezTo>
                <a:cubicBezTo>
                  <a:pt x="888" y="371"/>
                  <a:pt x="888" y="372"/>
                  <a:pt x="888" y="372"/>
                </a:cubicBezTo>
                <a:cubicBezTo>
                  <a:pt x="888" y="372"/>
                  <a:pt x="888" y="373"/>
                  <a:pt x="889" y="374"/>
                </a:cubicBezTo>
                <a:cubicBezTo>
                  <a:pt x="889" y="374"/>
                  <a:pt x="889" y="375"/>
                  <a:pt x="889" y="375"/>
                </a:cubicBezTo>
                <a:cubicBezTo>
                  <a:pt x="888" y="375"/>
                  <a:pt x="888" y="377"/>
                  <a:pt x="887" y="376"/>
                </a:cubicBezTo>
                <a:cubicBezTo>
                  <a:pt x="887" y="377"/>
                  <a:pt x="886" y="379"/>
                  <a:pt x="886" y="381"/>
                </a:cubicBezTo>
                <a:cubicBezTo>
                  <a:pt x="885" y="382"/>
                  <a:pt x="885" y="382"/>
                  <a:pt x="886" y="383"/>
                </a:cubicBezTo>
                <a:cubicBezTo>
                  <a:pt x="888" y="383"/>
                  <a:pt x="890" y="379"/>
                  <a:pt x="891" y="378"/>
                </a:cubicBezTo>
                <a:cubicBezTo>
                  <a:pt x="891" y="378"/>
                  <a:pt x="891" y="378"/>
                  <a:pt x="891" y="379"/>
                </a:cubicBezTo>
                <a:cubicBezTo>
                  <a:pt x="891" y="378"/>
                  <a:pt x="892" y="378"/>
                  <a:pt x="892" y="378"/>
                </a:cubicBezTo>
                <a:cubicBezTo>
                  <a:pt x="892" y="378"/>
                  <a:pt x="892" y="378"/>
                  <a:pt x="892" y="378"/>
                </a:cubicBezTo>
                <a:cubicBezTo>
                  <a:pt x="892" y="378"/>
                  <a:pt x="892" y="378"/>
                  <a:pt x="892" y="378"/>
                </a:cubicBezTo>
                <a:cubicBezTo>
                  <a:pt x="892" y="379"/>
                  <a:pt x="891" y="379"/>
                  <a:pt x="891" y="380"/>
                </a:cubicBezTo>
                <a:cubicBezTo>
                  <a:pt x="891" y="380"/>
                  <a:pt x="892" y="380"/>
                  <a:pt x="892" y="381"/>
                </a:cubicBezTo>
                <a:cubicBezTo>
                  <a:pt x="892" y="381"/>
                  <a:pt x="891" y="381"/>
                  <a:pt x="891" y="382"/>
                </a:cubicBezTo>
                <a:cubicBezTo>
                  <a:pt x="891" y="382"/>
                  <a:pt x="891" y="382"/>
                  <a:pt x="891" y="383"/>
                </a:cubicBezTo>
                <a:cubicBezTo>
                  <a:pt x="891" y="382"/>
                  <a:pt x="892" y="382"/>
                  <a:pt x="892" y="381"/>
                </a:cubicBezTo>
                <a:cubicBezTo>
                  <a:pt x="892" y="382"/>
                  <a:pt x="892" y="382"/>
                  <a:pt x="892" y="383"/>
                </a:cubicBezTo>
                <a:cubicBezTo>
                  <a:pt x="891" y="384"/>
                  <a:pt x="891" y="385"/>
                  <a:pt x="893" y="385"/>
                </a:cubicBezTo>
                <a:cubicBezTo>
                  <a:pt x="893" y="385"/>
                  <a:pt x="893" y="384"/>
                  <a:pt x="894" y="384"/>
                </a:cubicBezTo>
                <a:cubicBezTo>
                  <a:pt x="894" y="383"/>
                  <a:pt x="894" y="385"/>
                  <a:pt x="895" y="384"/>
                </a:cubicBezTo>
                <a:cubicBezTo>
                  <a:pt x="895" y="384"/>
                  <a:pt x="895" y="384"/>
                  <a:pt x="895" y="384"/>
                </a:cubicBezTo>
                <a:cubicBezTo>
                  <a:pt x="896" y="387"/>
                  <a:pt x="898" y="383"/>
                  <a:pt x="898" y="382"/>
                </a:cubicBezTo>
                <a:cubicBezTo>
                  <a:pt x="899" y="381"/>
                  <a:pt x="899" y="380"/>
                  <a:pt x="899" y="380"/>
                </a:cubicBezTo>
                <a:cubicBezTo>
                  <a:pt x="899" y="378"/>
                  <a:pt x="900" y="377"/>
                  <a:pt x="900" y="376"/>
                </a:cubicBezTo>
                <a:cubicBezTo>
                  <a:pt x="900" y="376"/>
                  <a:pt x="901" y="375"/>
                  <a:pt x="901" y="375"/>
                </a:cubicBezTo>
                <a:cubicBezTo>
                  <a:pt x="901" y="374"/>
                  <a:pt x="901" y="374"/>
                  <a:pt x="901" y="373"/>
                </a:cubicBezTo>
                <a:close/>
                <a:moveTo>
                  <a:pt x="97" y="50"/>
                </a:moveTo>
                <a:cubicBezTo>
                  <a:pt x="97" y="50"/>
                  <a:pt x="98" y="49"/>
                  <a:pt x="99" y="49"/>
                </a:cubicBezTo>
                <a:cubicBezTo>
                  <a:pt x="98" y="49"/>
                  <a:pt x="97" y="50"/>
                  <a:pt x="97" y="50"/>
                </a:cubicBezTo>
                <a:close/>
                <a:moveTo>
                  <a:pt x="108" y="286"/>
                </a:moveTo>
                <a:cubicBezTo>
                  <a:pt x="108" y="286"/>
                  <a:pt x="108" y="286"/>
                  <a:pt x="108" y="286"/>
                </a:cubicBezTo>
                <a:cubicBezTo>
                  <a:pt x="108" y="286"/>
                  <a:pt x="108" y="286"/>
                  <a:pt x="108" y="286"/>
                </a:cubicBezTo>
                <a:cubicBezTo>
                  <a:pt x="109" y="286"/>
                  <a:pt x="109" y="287"/>
                  <a:pt x="109" y="287"/>
                </a:cubicBezTo>
                <a:cubicBezTo>
                  <a:pt x="109" y="287"/>
                  <a:pt x="109" y="286"/>
                  <a:pt x="108" y="286"/>
                </a:cubicBezTo>
                <a:close/>
                <a:moveTo>
                  <a:pt x="121" y="298"/>
                </a:moveTo>
                <a:cubicBezTo>
                  <a:pt x="121" y="298"/>
                  <a:pt x="122" y="298"/>
                  <a:pt x="122" y="298"/>
                </a:cubicBezTo>
                <a:cubicBezTo>
                  <a:pt x="122" y="298"/>
                  <a:pt x="122" y="298"/>
                  <a:pt x="122" y="298"/>
                </a:cubicBezTo>
                <a:cubicBezTo>
                  <a:pt x="122" y="299"/>
                  <a:pt x="122" y="299"/>
                  <a:pt x="122" y="299"/>
                </a:cubicBezTo>
                <a:cubicBezTo>
                  <a:pt x="122" y="299"/>
                  <a:pt x="122" y="299"/>
                  <a:pt x="122" y="299"/>
                </a:cubicBezTo>
                <a:cubicBezTo>
                  <a:pt x="122" y="299"/>
                  <a:pt x="122" y="299"/>
                  <a:pt x="122" y="299"/>
                </a:cubicBezTo>
                <a:cubicBezTo>
                  <a:pt x="122" y="298"/>
                  <a:pt x="121" y="298"/>
                  <a:pt x="121" y="298"/>
                </a:cubicBezTo>
                <a:close/>
                <a:moveTo>
                  <a:pt x="126" y="306"/>
                </a:moveTo>
                <a:cubicBezTo>
                  <a:pt x="126" y="305"/>
                  <a:pt x="126" y="305"/>
                  <a:pt x="126" y="305"/>
                </a:cubicBezTo>
                <a:cubicBezTo>
                  <a:pt x="126" y="305"/>
                  <a:pt x="126" y="305"/>
                  <a:pt x="126" y="305"/>
                </a:cubicBezTo>
                <a:cubicBezTo>
                  <a:pt x="126" y="305"/>
                  <a:pt x="126" y="305"/>
                  <a:pt x="126" y="305"/>
                </a:cubicBezTo>
                <a:cubicBezTo>
                  <a:pt x="126" y="305"/>
                  <a:pt x="126" y="305"/>
                  <a:pt x="125" y="305"/>
                </a:cubicBezTo>
                <a:cubicBezTo>
                  <a:pt x="125" y="305"/>
                  <a:pt x="125" y="305"/>
                  <a:pt x="125" y="305"/>
                </a:cubicBezTo>
                <a:cubicBezTo>
                  <a:pt x="126" y="305"/>
                  <a:pt x="126" y="304"/>
                  <a:pt x="126" y="303"/>
                </a:cubicBezTo>
                <a:cubicBezTo>
                  <a:pt x="126" y="304"/>
                  <a:pt x="126" y="304"/>
                  <a:pt x="126" y="304"/>
                </a:cubicBezTo>
                <a:cubicBezTo>
                  <a:pt x="126" y="304"/>
                  <a:pt x="126" y="304"/>
                  <a:pt x="126" y="304"/>
                </a:cubicBezTo>
                <a:cubicBezTo>
                  <a:pt x="126" y="304"/>
                  <a:pt x="126" y="304"/>
                  <a:pt x="126" y="304"/>
                </a:cubicBezTo>
                <a:cubicBezTo>
                  <a:pt x="126" y="304"/>
                  <a:pt x="126" y="305"/>
                  <a:pt x="126" y="305"/>
                </a:cubicBezTo>
                <a:cubicBezTo>
                  <a:pt x="126" y="306"/>
                  <a:pt x="126" y="306"/>
                  <a:pt x="126" y="306"/>
                </a:cubicBezTo>
                <a:cubicBezTo>
                  <a:pt x="126" y="306"/>
                  <a:pt x="126" y="306"/>
                  <a:pt x="126" y="306"/>
                </a:cubicBezTo>
                <a:cubicBezTo>
                  <a:pt x="126" y="306"/>
                  <a:pt x="126" y="306"/>
                  <a:pt x="126" y="306"/>
                </a:cubicBezTo>
                <a:close/>
                <a:moveTo>
                  <a:pt x="131" y="313"/>
                </a:moveTo>
                <a:cubicBezTo>
                  <a:pt x="131" y="313"/>
                  <a:pt x="131" y="313"/>
                  <a:pt x="131" y="313"/>
                </a:cubicBezTo>
                <a:cubicBezTo>
                  <a:pt x="131" y="313"/>
                  <a:pt x="131" y="313"/>
                  <a:pt x="130" y="313"/>
                </a:cubicBezTo>
                <a:cubicBezTo>
                  <a:pt x="130" y="313"/>
                  <a:pt x="130" y="313"/>
                  <a:pt x="130" y="313"/>
                </a:cubicBezTo>
                <a:cubicBezTo>
                  <a:pt x="130" y="313"/>
                  <a:pt x="130" y="313"/>
                  <a:pt x="130" y="313"/>
                </a:cubicBezTo>
                <a:cubicBezTo>
                  <a:pt x="131" y="312"/>
                  <a:pt x="132" y="312"/>
                  <a:pt x="133" y="311"/>
                </a:cubicBezTo>
                <a:cubicBezTo>
                  <a:pt x="132" y="312"/>
                  <a:pt x="131" y="312"/>
                  <a:pt x="131" y="313"/>
                </a:cubicBezTo>
                <a:close/>
                <a:moveTo>
                  <a:pt x="232" y="109"/>
                </a:moveTo>
                <a:cubicBezTo>
                  <a:pt x="232" y="109"/>
                  <a:pt x="232" y="109"/>
                  <a:pt x="232" y="109"/>
                </a:cubicBezTo>
                <a:cubicBezTo>
                  <a:pt x="231" y="110"/>
                  <a:pt x="231" y="111"/>
                  <a:pt x="232" y="111"/>
                </a:cubicBezTo>
                <a:cubicBezTo>
                  <a:pt x="233" y="111"/>
                  <a:pt x="235" y="110"/>
                  <a:pt x="235" y="110"/>
                </a:cubicBezTo>
                <a:cubicBezTo>
                  <a:pt x="236" y="111"/>
                  <a:pt x="236" y="112"/>
                  <a:pt x="235" y="112"/>
                </a:cubicBezTo>
                <a:cubicBezTo>
                  <a:pt x="235" y="112"/>
                  <a:pt x="234" y="112"/>
                  <a:pt x="234" y="112"/>
                </a:cubicBezTo>
                <a:cubicBezTo>
                  <a:pt x="234" y="112"/>
                  <a:pt x="234" y="113"/>
                  <a:pt x="233" y="113"/>
                </a:cubicBezTo>
                <a:cubicBezTo>
                  <a:pt x="233" y="113"/>
                  <a:pt x="232" y="113"/>
                  <a:pt x="232" y="113"/>
                </a:cubicBezTo>
                <a:cubicBezTo>
                  <a:pt x="232" y="113"/>
                  <a:pt x="231" y="113"/>
                  <a:pt x="231" y="113"/>
                </a:cubicBezTo>
                <a:cubicBezTo>
                  <a:pt x="230" y="113"/>
                  <a:pt x="230" y="113"/>
                  <a:pt x="230" y="113"/>
                </a:cubicBezTo>
                <a:cubicBezTo>
                  <a:pt x="229" y="113"/>
                  <a:pt x="229" y="113"/>
                  <a:pt x="229" y="113"/>
                </a:cubicBezTo>
                <a:cubicBezTo>
                  <a:pt x="228" y="113"/>
                  <a:pt x="229" y="114"/>
                  <a:pt x="228" y="114"/>
                </a:cubicBezTo>
                <a:cubicBezTo>
                  <a:pt x="228" y="114"/>
                  <a:pt x="227" y="114"/>
                  <a:pt x="227" y="114"/>
                </a:cubicBezTo>
                <a:cubicBezTo>
                  <a:pt x="227" y="113"/>
                  <a:pt x="226" y="113"/>
                  <a:pt x="226" y="113"/>
                </a:cubicBezTo>
                <a:cubicBezTo>
                  <a:pt x="226" y="112"/>
                  <a:pt x="225" y="111"/>
                  <a:pt x="224" y="111"/>
                </a:cubicBezTo>
                <a:cubicBezTo>
                  <a:pt x="223" y="111"/>
                  <a:pt x="221" y="111"/>
                  <a:pt x="219" y="111"/>
                </a:cubicBezTo>
                <a:cubicBezTo>
                  <a:pt x="219" y="111"/>
                  <a:pt x="218" y="111"/>
                  <a:pt x="217" y="111"/>
                </a:cubicBezTo>
                <a:cubicBezTo>
                  <a:pt x="215" y="112"/>
                  <a:pt x="216" y="112"/>
                  <a:pt x="217" y="113"/>
                </a:cubicBezTo>
                <a:cubicBezTo>
                  <a:pt x="217" y="113"/>
                  <a:pt x="215" y="113"/>
                  <a:pt x="215" y="113"/>
                </a:cubicBezTo>
                <a:cubicBezTo>
                  <a:pt x="214" y="114"/>
                  <a:pt x="213" y="114"/>
                  <a:pt x="212" y="114"/>
                </a:cubicBezTo>
                <a:cubicBezTo>
                  <a:pt x="213" y="115"/>
                  <a:pt x="214" y="116"/>
                  <a:pt x="215" y="116"/>
                </a:cubicBezTo>
                <a:cubicBezTo>
                  <a:pt x="215" y="116"/>
                  <a:pt x="216" y="116"/>
                  <a:pt x="216" y="117"/>
                </a:cubicBezTo>
                <a:cubicBezTo>
                  <a:pt x="217" y="117"/>
                  <a:pt x="218" y="118"/>
                  <a:pt x="218" y="119"/>
                </a:cubicBezTo>
                <a:cubicBezTo>
                  <a:pt x="217" y="119"/>
                  <a:pt x="216" y="119"/>
                  <a:pt x="216" y="119"/>
                </a:cubicBezTo>
                <a:cubicBezTo>
                  <a:pt x="215" y="119"/>
                  <a:pt x="213" y="119"/>
                  <a:pt x="213" y="120"/>
                </a:cubicBezTo>
                <a:cubicBezTo>
                  <a:pt x="213" y="120"/>
                  <a:pt x="213" y="120"/>
                  <a:pt x="213" y="120"/>
                </a:cubicBezTo>
                <a:cubicBezTo>
                  <a:pt x="211" y="121"/>
                  <a:pt x="209" y="123"/>
                  <a:pt x="207" y="124"/>
                </a:cubicBezTo>
                <a:cubicBezTo>
                  <a:pt x="206" y="125"/>
                  <a:pt x="202" y="128"/>
                  <a:pt x="200" y="128"/>
                </a:cubicBezTo>
                <a:cubicBezTo>
                  <a:pt x="199" y="127"/>
                  <a:pt x="197" y="127"/>
                  <a:pt x="198" y="126"/>
                </a:cubicBezTo>
                <a:cubicBezTo>
                  <a:pt x="198" y="125"/>
                  <a:pt x="199" y="125"/>
                  <a:pt x="200" y="125"/>
                </a:cubicBezTo>
                <a:cubicBezTo>
                  <a:pt x="200" y="124"/>
                  <a:pt x="202" y="125"/>
                  <a:pt x="202" y="124"/>
                </a:cubicBezTo>
                <a:cubicBezTo>
                  <a:pt x="204" y="124"/>
                  <a:pt x="203" y="124"/>
                  <a:pt x="203" y="123"/>
                </a:cubicBezTo>
                <a:cubicBezTo>
                  <a:pt x="203" y="122"/>
                  <a:pt x="205" y="122"/>
                  <a:pt x="205" y="121"/>
                </a:cubicBezTo>
                <a:cubicBezTo>
                  <a:pt x="206" y="121"/>
                  <a:pt x="207" y="121"/>
                  <a:pt x="207" y="120"/>
                </a:cubicBezTo>
                <a:cubicBezTo>
                  <a:pt x="208" y="120"/>
                  <a:pt x="209" y="119"/>
                  <a:pt x="209" y="118"/>
                </a:cubicBezTo>
                <a:cubicBezTo>
                  <a:pt x="210" y="117"/>
                  <a:pt x="209" y="116"/>
                  <a:pt x="209" y="115"/>
                </a:cubicBezTo>
                <a:cubicBezTo>
                  <a:pt x="209" y="114"/>
                  <a:pt x="207" y="114"/>
                  <a:pt x="206" y="114"/>
                </a:cubicBezTo>
                <a:cubicBezTo>
                  <a:pt x="204" y="114"/>
                  <a:pt x="202" y="116"/>
                  <a:pt x="201" y="116"/>
                </a:cubicBezTo>
                <a:cubicBezTo>
                  <a:pt x="200" y="117"/>
                  <a:pt x="199" y="117"/>
                  <a:pt x="198" y="118"/>
                </a:cubicBezTo>
                <a:cubicBezTo>
                  <a:pt x="197" y="118"/>
                  <a:pt x="198" y="118"/>
                  <a:pt x="198" y="119"/>
                </a:cubicBezTo>
                <a:cubicBezTo>
                  <a:pt x="197" y="120"/>
                  <a:pt x="197" y="120"/>
                  <a:pt x="197" y="120"/>
                </a:cubicBezTo>
                <a:cubicBezTo>
                  <a:pt x="197" y="121"/>
                  <a:pt x="197" y="121"/>
                  <a:pt x="197" y="121"/>
                </a:cubicBezTo>
                <a:cubicBezTo>
                  <a:pt x="197" y="123"/>
                  <a:pt x="195" y="123"/>
                  <a:pt x="194" y="124"/>
                </a:cubicBezTo>
                <a:cubicBezTo>
                  <a:pt x="192" y="125"/>
                  <a:pt x="192" y="125"/>
                  <a:pt x="190" y="124"/>
                </a:cubicBezTo>
                <a:cubicBezTo>
                  <a:pt x="189" y="124"/>
                  <a:pt x="188" y="124"/>
                  <a:pt x="187" y="124"/>
                </a:cubicBezTo>
                <a:cubicBezTo>
                  <a:pt x="186" y="124"/>
                  <a:pt x="178" y="123"/>
                  <a:pt x="177" y="122"/>
                </a:cubicBezTo>
                <a:cubicBezTo>
                  <a:pt x="177" y="121"/>
                  <a:pt x="182" y="121"/>
                  <a:pt x="183" y="121"/>
                </a:cubicBezTo>
                <a:cubicBezTo>
                  <a:pt x="183" y="121"/>
                  <a:pt x="184" y="120"/>
                  <a:pt x="185" y="119"/>
                </a:cubicBezTo>
                <a:cubicBezTo>
                  <a:pt x="186" y="118"/>
                  <a:pt x="184" y="118"/>
                  <a:pt x="183" y="116"/>
                </a:cubicBezTo>
                <a:cubicBezTo>
                  <a:pt x="185" y="117"/>
                  <a:pt x="184" y="116"/>
                  <a:pt x="185" y="115"/>
                </a:cubicBezTo>
                <a:cubicBezTo>
                  <a:pt x="186" y="115"/>
                  <a:pt x="187" y="115"/>
                  <a:pt x="188" y="114"/>
                </a:cubicBezTo>
                <a:cubicBezTo>
                  <a:pt x="188" y="114"/>
                  <a:pt x="190" y="114"/>
                  <a:pt x="190" y="113"/>
                </a:cubicBezTo>
                <a:cubicBezTo>
                  <a:pt x="190" y="112"/>
                  <a:pt x="186" y="109"/>
                  <a:pt x="185" y="108"/>
                </a:cubicBezTo>
                <a:cubicBezTo>
                  <a:pt x="187" y="108"/>
                  <a:pt x="189" y="107"/>
                  <a:pt x="191" y="108"/>
                </a:cubicBezTo>
                <a:cubicBezTo>
                  <a:pt x="193" y="108"/>
                  <a:pt x="194" y="109"/>
                  <a:pt x="196" y="109"/>
                </a:cubicBezTo>
                <a:cubicBezTo>
                  <a:pt x="198" y="109"/>
                  <a:pt x="203" y="107"/>
                  <a:pt x="199" y="106"/>
                </a:cubicBezTo>
                <a:cubicBezTo>
                  <a:pt x="196" y="104"/>
                  <a:pt x="193" y="103"/>
                  <a:pt x="189" y="103"/>
                </a:cubicBezTo>
                <a:cubicBezTo>
                  <a:pt x="187" y="103"/>
                  <a:pt x="185" y="103"/>
                  <a:pt x="183" y="103"/>
                </a:cubicBezTo>
                <a:cubicBezTo>
                  <a:pt x="181" y="104"/>
                  <a:pt x="183" y="104"/>
                  <a:pt x="183" y="105"/>
                </a:cubicBezTo>
                <a:cubicBezTo>
                  <a:pt x="183" y="106"/>
                  <a:pt x="180" y="105"/>
                  <a:pt x="179" y="105"/>
                </a:cubicBezTo>
                <a:cubicBezTo>
                  <a:pt x="178" y="105"/>
                  <a:pt x="177" y="105"/>
                  <a:pt x="176" y="105"/>
                </a:cubicBezTo>
                <a:cubicBezTo>
                  <a:pt x="175" y="106"/>
                  <a:pt x="173" y="105"/>
                  <a:pt x="171" y="105"/>
                </a:cubicBezTo>
                <a:cubicBezTo>
                  <a:pt x="170" y="105"/>
                  <a:pt x="169" y="105"/>
                  <a:pt x="168" y="105"/>
                </a:cubicBezTo>
                <a:cubicBezTo>
                  <a:pt x="167" y="105"/>
                  <a:pt x="166" y="105"/>
                  <a:pt x="166" y="105"/>
                </a:cubicBezTo>
                <a:cubicBezTo>
                  <a:pt x="166" y="106"/>
                  <a:pt x="167" y="106"/>
                  <a:pt x="167" y="106"/>
                </a:cubicBezTo>
                <a:cubicBezTo>
                  <a:pt x="166" y="107"/>
                  <a:pt x="166" y="106"/>
                  <a:pt x="165" y="107"/>
                </a:cubicBezTo>
                <a:cubicBezTo>
                  <a:pt x="165" y="107"/>
                  <a:pt x="165" y="107"/>
                  <a:pt x="164" y="108"/>
                </a:cubicBezTo>
                <a:cubicBezTo>
                  <a:pt x="164" y="109"/>
                  <a:pt x="164" y="109"/>
                  <a:pt x="163" y="109"/>
                </a:cubicBezTo>
                <a:cubicBezTo>
                  <a:pt x="163" y="109"/>
                  <a:pt x="163" y="108"/>
                  <a:pt x="163" y="108"/>
                </a:cubicBezTo>
                <a:cubicBezTo>
                  <a:pt x="162" y="107"/>
                  <a:pt x="161" y="106"/>
                  <a:pt x="161" y="105"/>
                </a:cubicBezTo>
                <a:cubicBezTo>
                  <a:pt x="161" y="104"/>
                  <a:pt x="162" y="103"/>
                  <a:pt x="163" y="103"/>
                </a:cubicBezTo>
                <a:cubicBezTo>
                  <a:pt x="163" y="103"/>
                  <a:pt x="163" y="103"/>
                  <a:pt x="164" y="103"/>
                </a:cubicBezTo>
                <a:cubicBezTo>
                  <a:pt x="164" y="103"/>
                  <a:pt x="165" y="103"/>
                  <a:pt x="165" y="103"/>
                </a:cubicBezTo>
                <a:cubicBezTo>
                  <a:pt x="166" y="103"/>
                  <a:pt x="167" y="104"/>
                  <a:pt x="168" y="103"/>
                </a:cubicBezTo>
                <a:cubicBezTo>
                  <a:pt x="169" y="103"/>
                  <a:pt x="169" y="102"/>
                  <a:pt x="170" y="102"/>
                </a:cubicBezTo>
                <a:cubicBezTo>
                  <a:pt x="171" y="101"/>
                  <a:pt x="171" y="103"/>
                  <a:pt x="173" y="102"/>
                </a:cubicBezTo>
                <a:cubicBezTo>
                  <a:pt x="173" y="102"/>
                  <a:pt x="174" y="101"/>
                  <a:pt x="174" y="101"/>
                </a:cubicBezTo>
                <a:cubicBezTo>
                  <a:pt x="175" y="101"/>
                  <a:pt x="176" y="101"/>
                  <a:pt x="177" y="101"/>
                </a:cubicBezTo>
                <a:cubicBezTo>
                  <a:pt x="178" y="100"/>
                  <a:pt x="180" y="100"/>
                  <a:pt x="181" y="99"/>
                </a:cubicBezTo>
                <a:cubicBezTo>
                  <a:pt x="181" y="100"/>
                  <a:pt x="181" y="100"/>
                  <a:pt x="182" y="100"/>
                </a:cubicBezTo>
                <a:cubicBezTo>
                  <a:pt x="183" y="99"/>
                  <a:pt x="183" y="100"/>
                  <a:pt x="183" y="100"/>
                </a:cubicBezTo>
                <a:cubicBezTo>
                  <a:pt x="183" y="99"/>
                  <a:pt x="183" y="99"/>
                  <a:pt x="183" y="98"/>
                </a:cubicBezTo>
                <a:cubicBezTo>
                  <a:pt x="185" y="98"/>
                  <a:pt x="187" y="99"/>
                  <a:pt x="187" y="98"/>
                </a:cubicBezTo>
                <a:cubicBezTo>
                  <a:pt x="188" y="98"/>
                  <a:pt x="188" y="97"/>
                  <a:pt x="188" y="98"/>
                </a:cubicBezTo>
                <a:cubicBezTo>
                  <a:pt x="189" y="98"/>
                  <a:pt x="189" y="98"/>
                  <a:pt x="190" y="98"/>
                </a:cubicBezTo>
                <a:cubicBezTo>
                  <a:pt x="190" y="98"/>
                  <a:pt x="191" y="98"/>
                  <a:pt x="191" y="98"/>
                </a:cubicBezTo>
                <a:cubicBezTo>
                  <a:pt x="191" y="97"/>
                  <a:pt x="192" y="97"/>
                  <a:pt x="192" y="97"/>
                </a:cubicBezTo>
                <a:cubicBezTo>
                  <a:pt x="193" y="97"/>
                  <a:pt x="194" y="96"/>
                  <a:pt x="195" y="96"/>
                </a:cubicBezTo>
                <a:cubicBezTo>
                  <a:pt x="196" y="96"/>
                  <a:pt x="197" y="96"/>
                  <a:pt x="198" y="95"/>
                </a:cubicBezTo>
                <a:cubicBezTo>
                  <a:pt x="198" y="95"/>
                  <a:pt x="198" y="95"/>
                  <a:pt x="198" y="95"/>
                </a:cubicBezTo>
                <a:cubicBezTo>
                  <a:pt x="198" y="95"/>
                  <a:pt x="199" y="95"/>
                  <a:pt x="199" y="95"/>
                </a:cubicBezTo>
                <a:cubicBezTo>
                  <a:pt x="199" y="94"/>
                  <a:pt x="200" y="94"/>
                  <a:pt x="200" y="94"/>
                </a:cubicBezTo>
                <a:cubicBezTo>
                  <a:pt x="201" y="93"/>
                  <a:pt x="201" y="93"/>
                  <a:pt x="203" y="93"/>
                </a:cubicBezTo>
                <a:cubicBezTo>
                  <a:pt x="205" y="93"/>
                  <a:pt x="207" y="92"/>
                  <a:pt x="209" y="92"/>
                </a:cubicBezTo>
                <a:cubicBezTo>
                  <a:pt x="210" y="91"/>
                  <a:pt x="210" y="91"/>
                  <a:pt x="211" y="91"/>
                </a:cubicBezTo>
                <a:cubicBezTo>
                  <a:pt x="213" y="90"/>
                  <a:pt x="213" y="90"/>
                  <a:pt x="213" y="89"/>
                </a:cubicBezTo>
                <a:cubicBezTo>
                  <a:pt x="213" y="89"/>
                  <a:pt x="213" y="90"/>
                  <a:pt x="213" y="90"/>
                </a:cubicBezTo>
                <a:cubicBezTo>
                  <a:pt x="213" y="91"/>
                  <a:pt x="222" y="92"/>
                  <a:pt x="224" y="93"/>
                </a:cubicBezTo>
                <a:cubicBezTo>
                  <a:pt x="223" y="93"/>
                  <a:pt x="221" y="93"/>
                  <a:pt x="220" y="94"/>
                </a:cubicBezTo>
                <a:cubicBezTo>
                  <a:pt x="219" y="94"/>
                  <a:pt x="219" y="95"/>
                  <a:pt x="218" y="95"/>
                </a:cubicBezTo>
                <a:cubicBezTo>
                  <a:pt x="218" y="95"/>
                  <a:pt x="217" y="95"/>
                  <a:pt x="216" y="95"/>
                </a:cubicBezTo>
                <a:cubicBezTo>
                  <a:pt x="216" y="96"/>
                  <a:pt x="215" y="96"/>
                  <a:pt x="214" y="96"/>
                </a:cubicBezTo>
                <a:cubicBezTo>
                  <a:pt x="214" y="96"/>
                  <a:pt x="213" y="97"/>
                  <a:pt x="213" y="97"/>
                </a:cubicBezTo>
                <a:cubicBezTo>
                  <a:pt x="212" y="97"/>
                  <a:pt x="212" y="98"/>
                  <a:pt x="211" y="98"/>
                </a:cubicBezTo>
                <a:cubicBezTo>
                  <a:pt x="210" y="99"/>
                  <a:pt x="208" y="100"/>
                  <a:pt x="211" y="100"/>
                </a:cubicBezTo>
                <a:cubicBezTo>
                  <a:pt x="210" y="100"/>
                  <a:pt x="209" y="101"/>
                  <a:pt x="209" y="101"/>
                </a:cubicBezTo>
                <a:cubicBezTo>
                  <a:pt x="209" y="101"/>
                  <a:pt x="210" y="101"/>
                  <a:pt x="211" y="101"/>
                </a:cubicBezTo>
                <a:cubicBezTo>
                  <a:pt x="212" y="101"/>
                  <a:pt x="212" y="101"/>
                  <a:pt x="213" y="101"/>
                </a:cubicBezTo>
                <a:cubicBezTo>
                  <a:pt x="214" y="102"/>
                  <a:pt x="214" y="102"/>
                  <a:pt x="215" y="102"/>
                </a:cubicBezTo>
                <a:cubicBezTo>
                  <a:pt x="216" y="102"/>
                  <a:pt x="216" y="101"/>
                  <a:pt x="217" y="102"/>
                </a:cubicBezTo>
                <a:cubicBezTo>
                  <a:pt x="217" y="102"/>
                  <a:pt x="216" y="102"/>
                  <a:pt x="216" y="102"/>
                </a:cubicBezTo>
                <a:cubicBezTo>
                  <a:pt x="216" y="103"/>
                  <a:pt x="217" y="103"/>
                  <a:pt x="218" y="102"/>
                </a:cubicBezTo>
                <a:cubicBezTo>
                  <a:pt x="218" y="102"/>
                  <a:pt x="218" y="102"/>
                  <a:pt x="218" y="102"/>
                </a:cubicBezTo>
                <a:cubicBezTo>
                  <a:pt x="220" y="102"/>
                  <a:pt x="223" y="103"/>
                  <a:pt x="225" y="102"/>
                </a:cubicBezTo>
                <a:cubicBezTo>
                  <a:pt x="226" y="102"/>
                  <a:pt x="228" y="102"/>
                  <a:pt x="229" y="102"/>
                </a:cubicBezTo>
                <a:cubicBezTo>
                  <a:pt x="230" y="101"/>
                  <a:pt x="231" y="101"/>
                  <a:pt x="232" y="99"/>
                </a:cubicBezTo>
                <a:cubicBezTo>
                  <a:pt x="232" y="100"/>
                  <a:pt x="231" y="100"/>
                  <a:pt x="231" y="100"/>
                </a:cubicBezTo>
                <a:cubicBezTo>
                  <a:pt x="233" y="98"/>
                  <a:pt x="234" y="97"/>
                  <a:pt x="237" y="96"/>
                </a:cubicBezTo>
                <a:cubicBezTo>
                  <a:pt x="238" y="97"/>
                  <a:pt x="237" y="97"/>
                  <a:pt x="236" y="98"/>
                </a:cubicBezTo>
                <a:cubicBezTo>
                  <a:pt x="236" y="98"/>
                  <a:pt x="236" y="99"/>
                  <a:pt x="236" y="99"/>
                </a:cubicBezTo>
                <a:cubicBezTo>
                  <a:pt x="235" y="100"/>
                  <a:pt x="235" y="100"/>
                  <a:pt x="235" y="101"/>
                </a:cubicBezTo>
                <a:cubicBezTo>
                  <a:pt x="236" y="100"/>
                  <a:pt x="238" y="100"/>
                  <a:pt x="239" y="100"/>
                </a:cubicBezTo>
                <a:cubicBezTo>
                  <a:pt x="238" y="100"/>
                  <a:pt x="238" y="102"/>
                  <a:pt x="237" y="103"/>
                </a:cubicBezTo>
                <a:cubicBezTo>
                  <a:pt x="237" y="104"/>
                  <a:pt x="236" y="105"/>
                  <a:pt x="236" y="106"/>
                </a:cubicBezTo>
                <a:cubicBezTo>
                  <a:pt x="236" y="108"/>
                  <a:pt x="235" y="107"/>
                  <a:pt x="234" y="107"/>
                </a:cubicBezTo>
                <a:cubicBezTo>
                  <a:pt x="233" y="107"/>
                  <a:pt x="232" y="108"/>
                  <a:pt x="232" y="109"/>
                </a:cubicBezTo>
                <a:cubicBezTo>
                  <a:pt x="232" y="109"/>
                  <a:pt x="232" y="109"/>
                  <a:pt x="232" y="109"/>
                </a:cubicBezTo>
                <a:close/>
                <a:moveTo>
                  <a:pt x="323" y="164"/>
                </a:moveTo>
                <a:cubicBezTo>
                  <a:pt x="322" y="162"/>
                  <a:pt x="323" y="162"/>
                  <a:pt x="321" y="161"/>
                </a:cubicBezTo>
                <a:cubicBezTo>
                  <a:pt x="320" y="161"/>
                  <a:pt x="319" y="161"/>
                  <a:pt x="318" y="161"/>
                </a:cubicBezTo>
                <a:cubicBezTo>
                  <a:pt x="317" y="160"/>
                  <a:pt x="315" y="160"/>
                  <a:pt x="313" y="160"/>
                </a:cubicBezTo>
                <a:cubicBezTo>
                  <a:pt x="312" y="160"/>
                  <a:pt x="311" y="160"/>
                  <a:pt x="310" y="160"/>
                </a:cubicBezTo>
                <a:cubicBezTo>
                  <a:pt x="308" y="160"/>
                  <a:pt x="307" y="160"/>
                  <a:pt x="306" y="161"/>
                </a:cubicBezTo>
                <a:cubicBezTo>
                  <a:pt x="303" y="162"/>
                  <a:pt x="299" y="164"/>
                  <a:pt x="298" y="167"/>
                </a:cubicBezTo>
                <a:cubicBezTo>
                  <a:pt x="301" y="166"/>
                  <a:pt x="303" y="163"/>
                  <a:pt x="306" y="163"/>
                </a:cubicBezTo>
                <a:cubicBezTo>
                  <a:pt x="307" y="163"/>
                  <a:pt x="310" y="163"/>
                  <a:pt x="310" y="162"/>
                </a:cubicBezTo>
                <a:cubicBezTo>
                  <a:pt x="311" y="161"/>
                  <a:pt x="310" y="160"/>
                  <a:pt x="311" y="161"/>
                </a:cubicBezTo>
                <a:cubicBezTo>
                  <a:pt x="312" y="161"/>
                  <a:pt x="313" y="161"/>
                  <a:pt x="314" y="161"/>
                </a:cubicBezTo>
                <a:cubicBezTo>
                  <a:pt x="315" y="161"/>
                  <a:pt x="317" y="161"/>
                  <a:pt x="318" y="161"/>
                </a:cubicBezTo>
                <a:cubicBezTo>
                  <a:pt x="316" y="161"/>
                  <a:pt x="314" y="161"/>
                  <a:pt x="312" y="161"/>
                </a:cubicBezTo>
                <a:cubicBezTo>
                  <a:pt x="313" y="163"/>
                  <a:pt x="317" y="161"/>
                  <a:pt x="319" y="162"/>
                </a:cubicBezTo>
                <a:cubicBezTo>
                  <a:pt x="316" y="163"/>
                  <a:pt x="313" y="163"/>
                  <a:pt x="311" y="164"/>
                </a:cubicBezTo>
                <a:cubicBezTo>
                  <a:pt x="310" y="165"/>
                  <a:pt x="309" y="164"/>
                  <a:pt x="308" y="164"/>
                </a:cubicBezTo>
                <a:cubicBezTo>
                  <a:pt x="310" y="166"/>
                  <a:pt x="310" y="164"/>
                  <a:pt x="312" y="164"/>
                </a:cubicBezTo>
                <a:cubicBezTo>
                  <a:pt x="311" y="165"/>
                  <a:pt x="311" y="165"/>
                  <a:pt x="310" y="166"/>
                </a:cubicBezTo>
                <a:cubicBezTo>
                  <a:pt x="311" y="165"/>
                  <a:pt x="311" y="165"/>
                  <a:pt x="312" y="165"/>
                </a:cubicBezTo>
                <a:cubicBezTo>
                  <a:pt x="312" y="165"/>
                  <a:pt x="313" y="165"/>
                  <a:pt x="313" y="165"/>
                </a:cubicBezTo>
                <a:cubicBezTo>
                  <a:pt x="314" y="165"/>
                  <a:pt x="316" y="164"/>
                  <a:pt x="317" y="164"/>
                </a:cubicBezTo>
                <a:cubicBezTo>
                  <a:pt x="314" y="166"/>
                  <a:pt x="312" y="168"/>
                  <a:pt x="309" y="167"/>
                </a:cubicBezTo>
                <a:cubicBezTo>
                  <a:pt x="309" y="167"/>
                  <a:pt x="306" y="166"/>
                  <a:pt x="305" y="167"/>
                </a:cubicBezTo>
                <a:cubicBezTo>
                  <a:pt x="304" y="167"/>
                  <a:pt x="302" y="169"/>
                  <a:pt x="301" y="170"/>
                </a:cubicBezTo>
                <a:cubicBezTo>
                  <a:pt x="300" y="171"/>
                  <a:pt x="299" y="171"/>
                  <a:pt x="298" y="172"/>
                </a:cubicBezTo>
                <a:cubicBezTo>
                  <a:pt x="298" y="172"/>
                  <a:pt x="300" y="171"/>
                  <a:pt x="300" y="172"/>
                </a:cubicBezTo>
                <a:cubicBezTo>
                  <a:pt x="301" y="172"/>
                  <a:pt x="299" y="173"/>
                  <a:pt x="299" y="173"/>
                </a:cubicBezTo>
                <a:cubicBezTo>
                  <a:pt x="298" y="175"/>
                  <a:pt x="295" y="176"/>
                  <a:pt x="293" y="178"/>
                </a:cubicBezTo>
                <a:cubicBezTo>
                  <a:pt x="293" y="178"/>
                  <a:pt x="293" y="179"/>
                  <a:pt x="292" y="180"/>
                </a:cubicBezTo>
                <a:cubicBezTo>
                  <a:pt x="289" y="181"/>
                  <a:pt x="287" y="181"/>
                  <a:pt x="284" y="181"/>
                </a:cubicBezTo>
                <a:cubicBezTo>
                  <a:pt x="282" y="181"/>
                  <a:pt x="281" y="182"/>
                  <a:pt x="280" y="183"/>
                </a:cubicBezTo>
                <a:cubicBezTo>
                  <a:pt x="279" y="183"/>
                  <a:pt x="278" y="184"/>
                  <a:pt x="278" y="185"/>
                </a:cubicBezTo>
                <a:cubicBezTo>
                  <a:pt x="277" y="185"/>
                  <a:pt x="278" y="186"/>
                  <a:pt x="277" y="186"/>
                </a:cubicBezTo>
                <a:cubicBezTo>
                  <a:pt x="279" y="185"/>
                  <a:pt x="278" y="188"/>
                  <a:pt x="277" y="189"/>
                </a:cubicBezTo>
                <a:cubicBezTo>
                  <a:pt x="273" y="189"/>
                  <a:pt x="270" y="190"/>
                  <a:pt x="266" y="190"/>
                </a:cubicBezTo>
                <a:cubicBezTo>
                  <a:pt x="264" y="190"/>
                  <a:pt x="261" y="191"/>
                  <a:pt x="258" y="191"/>
                </a:cubicBezTo>
                <a:cubicBezTo>
                  <a:pt x="256" y="191"/>
                  <a:pt x="255" y="191"/>
                  <a:pt x="253" y="190"/>
                </a:cubicBezTo>
                <a:cubicBezTo>
                  <a:pt x="252" y="190"/>
                  <a:pt x="252" y="190"/>
                  <a:pt x="251" y="190"/>
                </a:cubicBezTo>
                <a:cubicBezTo>
                  <a:pt x="250" y="189"/>
                  <a:pt x="249" y="189"/>
                  <a:pt x="249" y="188"/>
                </a:cubicBezTo>
                <a:cubicBezTo>
                  <a:pt x="247" y="188"/>
                  <a:pt x="244" y="188"/>
                  <a:pt x="242" y="188"/>
                </a:cubicBezTo>
                <a:cubicBezTo>
                  <a:pt x="241" y="187"/>
                  <a:pt x="240" y="186"/>
                  <a:pt x="239" y="186"/>
                </a:cubicBezTo>
                <a:cubicBezTo>
                  <a:pt x="239" y="185"/>
                  <a:pt x="239" y="185"/>
                  <a:pt x="239" y="185"/>
                </a:cubicBezTo>
                <a:cubicBezTo>
                  <a:pt x="238" y="184"/>
                  <a:pt x="237" y="184"/>
                  <a:pt x="237" y="184"/>
                </a:cubicBezTo>
                <a:cubicBezTo>
                  <a:pt x="238" y="184"/>
                  <a:pt x="239" y="184"/>
                  <a:pt x="239" y="184"/>
                </a:cubicBezTo>
                <a:cubicBezTo>
                  <a:pt x="242" y="185"/>
                  <a:pt x="245" y="186"/>
                  <a:pt x="247" y="185"/>
                </a:cubicBezTo>
                <a:cubicBezTo>
                  <a:pt x="244" y="182"/>
                  <a:pt x="250" y="184"/>
                  <a:pt x="251" y="184"/>
                </a:cubicBezTo>
                <a:cubicBezTo>
                  <a:pt x="253" y="185"/>
                  <a:pt x="254" y="185"/>
                  <a:pt x="255" y="185"/>
                </a:cubicBezTo>
                <a:cubicBezTo>
                  <a:pt x="256" y="183"/>
                  <a:pt x="255" y="183"/>
                  <a:pt x="254" y="183"/>
                </a:cubicBezTo>
                <a:cubicBezTo>
                  <a:pt x="254" y="183"/>
                  <a:pt x="254" y="182"/>
                  <a:pt x="255" y="182"/>
                </a:cubicBezTo>
                <a:cubicBezTo>
                  <a:pt x="255" y="182"/>
                  <a:pt x="256" y="182"/>
                  <a:pt x="256" y="182"/>
                </a:cubicBezTo>
                <a:cubicBezTo>
                  <a:pt x="258" y="182"/>
                  <a:pt x="257" y="181"/>
                  <a:pt x="257" y="181"/>
                </a:cubicBezTo>
                <a:cubicBezTo>
                  <a:pt x="257" y="180"/>
                  <a:pt x="257" y="179"/>
                  <a:pt x="258" y="179"/>
                </a:cubicBezTo>
                <a:cubicBezTo>
                  <a:pt x="258" y="178"/>
                  <a:pt x="258" y="178"/>
                  <a:pt x="259" y="178"/>
                </a:cubicBezTo>
                <a:cubicBezTo>
                  <a:pt x="258" y="177"/>
                  <a:pt x="259" y="177"/>
                  <a:pt x="260" y="177"/>
                </a:cubicBezTo>
                <a:cubicBezTo>
                  <a:pt x="261" y="176"/>
                  <a:pt x="262" y="177"/>
                  <a:pt x="263" y="177"/>
                </a:cubicBezTo>
                <a:cubicBezTo>
                  <a:pt x="264" y="177"/>
                  <a:pt x="267" y="176"/>
                  <a:pt x="268" y="176"/>
                </a:cubicBezTo>
                <a:cubicBezTo>
                  <a:pt x="267" y="176"/>
                  <a:pt x="267" y="176"/>
                  <a:pt x="267" y="175"/>
                </a:cubicBezTo>
                <a:cubicBezTo>
                  <a:pt x="268" y="175"/>
                  <a:pt x="268" y="175"/>
                  <a:pt x="268" y="175"/>
                </a:cubicBezTo>
                <a:cubicBezTo>
                  <a:pt x="268" y="174"/>
                  <a:pt x="268" y="174"/>
                  <a:pt x="267" y="174"/>
                </a:cubicBezTo>
                <a:cubicBezTo>
                  <a:pt x="267" y="174"/>
                  <a:pt x="266" y="173"/>
                  <a:pt x="266" y="173"/>
                </a:cubicBezTo>
                <a:cubicBezTo>
                  <a:pt x="266" y="172"/>
                  <a:pt x="265" y="172"/>
                  <a:pt x="264" y="172"/>
                </a:cubicBezTo>
                <a:cubicBezTo>
                  <a:pt x="263" y="171"/>
                  <a:pt x="264" y="171"/>
                  <a:pt x="263" y="170"/>
                </a:cubicBezTo>
                <a:cubicBezTo>
                  <a:pt x="262" y="169"/>
                  <a:pt x="260" y="170"/>
                  <a:pt x="262" y="168"/>
                </a:cubicBezTo>
                <a:cubicBezTo>
                  <a:pt x="261" y="168"/>
                  <a:pt x="261" y="167"/>
                  <a:pt x="261" y="166"/>
                </a:cubicBezTo>
                <a:cubicBezTo>
                  <a:pt x="261" y="166"/>
                  <a:pt x="262" y="165"/>
                  <a:pt x="261" y="165"/>
                </a:cubicBezTo>
                <a:cubicBezTo>
                  <a:pt x="261" y="165"/>
                  <a:pt x="260" y="165"/>
                  <a:pt x="260" y="165"/>
                </a:cubicBezTo>
                <a:cubicBezTo>
                  <a:pt x="259" y="166"/>
                  <a:pt x="258" y="166"/>
                  <a:pt x="257" y="165"/>
                </a:cubicBezTo>
                <a:cubicBezTo>
                  <a:pt x="257" y="165"/>
                  <a:pt x="256" y="164"/>
                  <a:pt x="256" y="164"/>
                </a:cubicBezTo>
                <a:cubicBezTo>
                  <a:pt x="256" y="165"/>
                  <a:pt x="256" y="163"/>
                  <a:pt x="256" y="163"/>
                </a:cubicBezTo>
                <a:cubicBezTo>
                  <a:pt x="256" y="163"/>
                  <a:pt x="254" y="162"/>
                  <a:pt x="254" y="162"/>
                </a:cubicBezTo>
                <a:cubicBezTo>
                  <a:pt x="253" y="161"/>
                  <a:pt x="255" y="161"/>
                  <a:pt x="255" y="161"/>
                </a:cubicBezTo>
                <a:cubicBezTo>
                  <a:pt x="256" y="161"/>
                  <a:pt x="257" y="162"/>
                  <a:pt x="258" y="163"/>
                </a:cubicBezTo>
                <a:cubicBezTo>
                  <a:pt x="259" y="163"/>
                  <a:pt x="260" y="163"/>
                  <a:pt x="261" y="163"/>
                </a:cubicBezTo>
                <a:cubicBezTo>
                  <a:pt x="262" y="164"/>
                  <a:pt x="262" y="164"/>
                  <a:pt x="263" y="165"/>
                </a:cubicBezTo>
                <a:cubicBezTo>
                  <a:pt x="263" y="165"/>
                  <a:pt x="264" y="165"/>
                  <a:pt x="265" y="166"/>
                </a:cubicBezTo>
                <a:cubicBezTo>
                  <a:pt x="267" y="166"/>
                  <a:pt x="267" y="168"/>
                  <a:pt x="269" y="167"/>
                </a:cubicBezTo>
                <a:cubicBezTo>
                  <a:pt x="270" y="167"/>
                  <a:pt x="271" y="166"/>
                  <a:pt x="271" y="166"/>
                </a:cubicBezTo>
                <a:cubicBezTo>
                  <a:pt x="272" y="166"/>
                  <a:pt x="273" y="168"/>
                  <a:pt x="273" y="169"/>
                </a:cubicBezTo>
                <a:cubicBezTo>
                  <a:pt x="273" y="169"/>
                  <a:pt x="274" y="169"/>
                  <a:pt x="274" y="169"/>
                </a:cubicBezTo>
                <a:cubicBezTo>
                  <a:pt x="274" y="169"/>
                  <a:pt x="275" y="169"/>
                  <a:pt x="275" y="169"/>
                </a:cubicBezTo>
                <a:cubicBezTo>
                  <a:pt x="275" y="170"/>
                  <a:pt x="276" y="170"/>
                  <a:pt x="276" y="170"/>
                </a:cubicBezTo>
                <a:cubicBezTo>
                  <a:pt x="276" y="171"/>
                  <a:pt x="277" y="170"/>
                  <a:pt x="277" y="171"/>
                </a:cubicBezTo>
                <a:cubicBezTo>
                  <a:pt x="278" y="171"/>
                  <a:pt x="278" y="171"/>
                  <a:pt x="278" y="172"/>
                </a:cubicBezTo>
                <a:cubicBezTo>
                  <a:pt x="279" y="172"/>
                  <a:pt x="280" y="173"/>
                  <a:pt x="280" y="173"/>
                </a:cubicBezTo>
                <a:cubicBezTo>
                  <a:pt x="280" y="173"/>
                  <a:pt x="280" y="172"/>
                  <a:pt x="281" y="172"/>
                </a:cubicBezTo>
                <a:cubicBezTo>
                  <a:pt x="281" y="173"/>
                  <a:pt x="281" y="173"/>
                  <a:pt x="281" y="173"/>
                </a:cubicBezTo>
                <a:cubicBezTo>
                  <a:pt x="282" y="173"/>
                  <a:pt x="283" y="173"/>
                  <a:pt x="283" y="173"/>
                </a:cubicBezTo>
                <a:cubicBezTo>
                  <a:pt x="284" y="172"/>
                  <a:pt x="284" y="173"/>
                  <a:pt x="284" y="173"/>
                </a:cubicBezTo>
                <a:cubicBezTo>
                  <a:pt x="285" y="173"/>
                  <a:pt x="285" y="172"/>
                  <a:pt x="285" y="172"/>
                </a:cubicBezTo>
                <a:cubicBezTo>
                  <a:pt x="286" y="172"/>
                  <a:pt x="286" y="172"/>
                  <a:pt x="286" y="172"/>
                </a:cubicBezTo>
                <a:cubicBezTo>
                  <a:pt x="287" y="172"/>
                  <a:pt x="287" y="172"/>
                  <a:pt x="288" y="172"/>
                </a:cubicBezTo>
                <a:cubicBezTo>
                  <a:pt x="288" y="172"/>
                  <a:pt x="289" y="172"/>
                  <a:pt x="290" y="172"/>
                </a:cubicBezTo>
                <a:cubicBezTo>
                  <a:pt x="292" y="171"/>
                  <a:pt x="293" y="170"/>
                  <a:pt x="294" y="169"/>
                </a:cubicBezTo>
                <a:cubicBezTo>
                  <a:pt x="295" y="169"/>
                  <a:pt x="295" y="168"/>
                  <a:pt x="296" y="168"/>
                </a:cubicBezTo>
                <a:cubicBezTo>
                  <a:pt x="296" y="167"/>
                  <a:pt x="297" y="167"/>
                  <a:pt x="298" y="167"/>
                </a:cubicBezTo>
                <a:cubicBezTo>
                  <a:pt x="298" y="166"/>
                  <a:pt x="298" y="165"/>
                  <a:pt x="299" y="165"/>
                </a:cubicBezTo>
                <a:cubicBezTo>
                  <a:pt x="299" y="164"/>
                  <a:pt x="300" y="164"/>
                  <a:pt x="300" y="163"/>
                </a:cubicBezTo>
                <a:cubicBezTo>
                  <a:pt x="301" y="160"/>
                  <a:pt x="305" y="159"/>
                  <a:pt x="308" y="158"/>
                </a:cubicBezTo>
                <a:cubicBezTo>
                  <a:pt x="311" y="157"/>
                  <a:pt x="315" y="158"/>
                  <a:pt x="318" y="158"/>
                </a:cubicBezTo>
                <a:cubicBezTo>
                  <a:pt x="319" y="158"/>
                  <a:pt x="319" y="159"/>
                  <a:pt x="320" y="159"/>
                </a:cubicBezTo>
                <a:cubicBezTo>
                  <a:pt x="321" y="159"/>
                  <a:pt x="322" y="159"/>
                  <a:pt x="323" y="159"/>
                </a:cubicBezTo>
                <a:cubicBezTo>
                  <a:pt x="324" y="159"/>
                  <a:pt x="325" y="161"/>
                  <a:pt x="326" y="160"/>
                </a:cubicBezTo>
                <a:cubicBezTo>
                  <a:pt x="325" y="162"/>
                  <a:pt x="324" y="163"/>
                  <a:pt x="323" y="164"/>
                </a:cubicBezTo>
                <a:close/>
                <a:moveTo>
                  <a:pt x="435" y="291"/>
                </a:moveTo>
                <a:cubicBezTo>
                  <a:pt x="436" y="289"/>
                  <a:pt x="437" y="288"/>
                  <a:pt x="438" y="286"/>
                </a:cubicBezTo>
                <a:cubicBezTo>
                  <a:pt x="439" y="286"/>
                  <a:pt x="438" y="287"/>
                  <a:pt x="439" y="287"/>
                </a:cubicBezTo>
                <a:cubicBezTo>
                  <a:pt x="439" y="287"/>
                  <a:pt x="440" y="287"/>
                  <a:pt x="440" y="287"/>
                </a:cubicBezTo>
                <a:cubicBezTo>
                  <a:pt x="439" y="289"/>
                  <a:pt x="437" y="288"/>
                  <a:pt x="436" y="290"/>
                </a:cubicBezTo>
                <a:cubicBezTo>
                  <a:pt x="436" y="290"/>
                  <a:pt x="436" y="291"/>
                  <a:pt x="436" y="291"/>
                </a:cubicBezTo>
                <a:cubicBezTo>
                  <a:pt x="436" y="291"/>
                  <a:pt x="435" y="292"/>
                  <a:pt x="437" y="292"/>
                </a:cubicBezTo>
                <a:cubicBezTo>
                  <a:pt x="437" y="292"/>
                  <a:pt x="437" y="292"/>
                  <a:pt x="438" y="292"/>
                </a:cubicBezTo>
                <a:cubicBezTo>
                  <a:pt x="438" y="292"/>
                  <a:pt x="439" y="291"/>
                  <a:pt x="439" y="291"/>
                </a:cubicBezTo>
                <a:cubicBezTo>
                  <a:pt x="439" y="291"/>
                  <a:pt x="439" y="291"/>
                  <a:pt x="440" y="291"/>
                </a:cubicBezTo>
                <a:cubicBezTo>
                  <a:pt x="440" y="291"/>
                  <a:pt x="440" y="290"/>
                  <a:pt x="440" y="290"/>
                </a:cubicBezTo>
                <a:cubicBezTo>
                  <a:pt x="441" y="290"/>
                  <a:pt x="439" y="292"/>
                  <a:pt x="439" y="292"/>
                </a:cubicBezTo>
                <a:cubicBezTo>
                  <a:pt x="438" y="292"/>
                  <a:pt x="438" y="292"/>
                  <a:pt x="439" y="293"/>
                </a:cubicBezTo>
                <a:cubicBezTo>
                  <a:pt x="439" y="293"/>
                  <a:pt x="438" y="293"/>
                  <a:pt x="438" y="293"/>
                </a:cubicBezTo>
                <a:cubicBezTo>
                  <a:pt x="438" y="294"/>
                  <a:pt x="439" y="294"/>
                  <a:pt x="439" y="294"/>
                </a:cubicBezTo>
                <a:cubicBezTo>
                  <a:pt x="439" y="294"/>
                  <a:pt x="439" y="295"/>
                  <a:pt x="439" y="295"/>
                </a:cubicBezTo>
                <a:cubicBezTo>
                  <a:pt x="438" y="295"/>
                  <a:pt x="438" y="295"/>
                  <a:pt x="437" y="294"/>
                </a:cubicBezTo>
                <a:cubicBezTo>
                  <a:pt x="436" y="293"/>
                  <a:pt x="434" y="293"/>
                  <a:pt x="435" y="291"/>
                </a:cubicBezTo>
                <a:close/>
                <a:moveTo>
                  <a:pt x="454" y="333"/>
                </a:moveTo>
                <a:cubicBezTo>
                  <a:pt x="454" y="333"/>
                  <a:pt x="455" y="334"/>
                  <a:pt x="455" y="334"/>
                </a:cubicBezTo>
                <a:cubicBezTo>
                  <a:pt x="455" y="336"/>
                  <a:pt x="454" y="337"/>
                  <a:pt x="455" y="338"/>
                </a:cubicBezTo>
                <a:cubicBezTo>
                  <a:pt x="454" y="338"/>
                  <a:pt x="453" y="337"/>
                  <a:pt x="453" y="337"/>
                </a:cubicBezTo>
                <a:cubicBezTo>
                  <a:pt x="452" y="337"/>
                  <a:pt x="452" y="338"/>
                  <a:pt x="452" y="338"/>
                </a:cubicBezTo>
                <a:cubicBezTo>
                  <a:pt x="452" y="339"/>
                  <a:pt x="453" y="340"/>
                  <a:pt x="452" y="341"/>
                </a:cubicBezTo>
                <a:cubicBezTo>
                  <a:pt x="452" y="341"/>
                  <a:pt x="451" y="341"/>
                  <a:pt x="450" y="341"/>
                </a:cubicBezTo>
                <a:cubicBezTo>
                  <a:pt x="448" y="341"/>
                  <a:pt x="449" y="337"/>
                  <a:pt x="449" y="335"/>
                </a:cubicBezTo>
                <a:cubicBezTo>
                  <a:pt x="449" y="334"/>
                  <a:pt x="449" y="334"/>
                  <a:pt x="449" y="333"/>
                </a:cubicBezTo>
                <a:cubicBezTo>
                  <a:pt x="449" y="333"/>
                  <a:pt x="449" y="332"/>
                  <a:pt x="449" y="332"/>
                </a:cubicBezTo>
                <a:cubicBezTo>
                  <a:pt x="449" y="332"/>
                  <a:pt x="450" y="332"/>
                  <a:pt x="450" y="331"/>
                </a:cubicBezTo>
                <a:cubicBezTo>
                  <a:pt x="450" y="331"/>
                  <a:pt x="450" y="330"/>
                  <a:pt x="451" y="330"/>
                </a:cubicBezTo>
                <a:cubicBezTo>
                  <a:pt x="451" y="329"/>
                  <a:pt x="452" y="329"/>
                  <a:pt x="452" y="328"/>
                </a:cubicBezTo>
                <a:cubicBezTo>
                  <a:pt x="450" y="327"/>
                  <a:pt x="450" y="330"/>
                  <a:pt x="448" y="330"/>
                </a:cubicBezTo>
                <a:cubicBezTo>
                  <a:pt x="448" y="329"/>
                  <a:pt x="449" y="328"/>
                  <a:pt x="450" y="326"/>
                </a:cubicBezTo>
                <a:cubicBezTo>
                  <a:pt x="450" y="326"/>
                  <a:pt x="451" y="325"/>
                  <a:pt x="451" y="325"/>
                </a:cubicBezTo>
                <a:cubicBezTo>
                  <a:pt x="451" y="324"/>
                  <a:pt x="449" y="323"/>
                  <a:pt x="448" y="324"/>
                </a:cubicBezTo>
                <a:cubicBezTo>
                  <a:pt x="447" y="324"/>
                  <a:pt x="447" y="326"/>
                  <a:pt x="446" y="327"/>
                </a:cubicBezTo>
                <a:cubicBezTo>
                  <a:pt x="444" y="328"/>
                  <a:pt x="446" y="323"/>
                  <a:pt x="446" y="322"/>
                </a:cubicBezTo>
                <a:cubicBezTo>
                  <a:pt x="446" y="321"/>
                  <a:pt x="445" y="318"/>
                  <a:pt x="443" y="319"/>
                </a:cubicBezTo>
                <a:cubicBezTo>
                  <a:pt x="443" y="320"/>
                  <a:pt x="443" y="321"/>
                  <a:pt x="442" y="320"/>
                </a:cubicBezTo>
                <a:cubicBezTo>
                  <a:pt x="442" y="320"/>
                  <a:pt x="443" y="318"/>
                  <a:pt x="443" y="318"/>
                </a:cubicBezTo>
                <a:cubicBezTo>
                  <a:pt x="443" y="318"/>
                  <a:pt x="442" y="318"/>
                  <a:pt x="441" y="318"/>
                </a:cubicBezTo>
                <a:cubicBezTo>
                  <a:pt x="440" y="317"/>
                  <a:pt x="440" y="318"/>
                  <a:pt x="440" y="318"/>
                </a:cubicBezTo>
                <a:cubicBezTo>
                  <a:pt x="440" y="318"/>
                  <a:pt x="440" y="319"/>
                  <a:pt x="440" y="320"/>
                </a:cubicBezTo>
                <a:cubicBezTo>
                  <a:pt x="440" y="320"/>
                  <a:pt x="440" y="320"/>
                  <a:pt x="440" y="321"/>
                </a:cubicBezTo>
                <a:cubicBezTo>
                  <a:pt x="439" y="321"/>
                  <a:pt x="438" y="320"/>
                  <a:pt x="437" y="319"/>
                </a:cubicBezTo>
                <a:cubicBezTo>
                  <a:pt x="436" y="318"/>
                  <a:pt x="436" y="316"/>
                  <a:pt x="434" y="315"/>
                </a:cubicBezTo>
                <a:cubicBezTo>
                  <a:pt x="433" y="314"/>
                  <a:pt x="433" y="313"/>
                  <a:pt x="432" y="312"/>
                </a:cubicBezTo>
                <a:cubicBezTo>
                  <a:pt x="432" y="311"/>
                  <a:pt x="431" y="311"/>
                  <a:pt x="430" y="310"/>
                </a:cubicBezTo>
                <a:cubicBezTo>
                  <a:pt x="429" y="309"/>
                  <a:pt x="430" y="308"/>
                  <a:pt x="430" y="306"/>
                </a:cubicBezTo>
                <a:cubicBezTo>
                  <a:pt x="431" y="305"/>
                  <a:pt x="433" y="306"/>
                  <a:pt x="433" y="305"/>
                </a:cubicBezTo>
                <a:cubicBezTo>
                  <a:pt x="433" y="305"/>
                  <a:pt x="431" y="305"/>
                  <a:pt x="431" y="305"/>
                </a:cubicBezTo>
                <a:cubicBezTo>
                  <a:pt x="430" y="305"/>
                  <a:pt x="430" y="305"/>
                  <a:pt x="429" y="305"/>
                </a:cubicBezTo>
                <a:cubicBezTo>
                  <a:pt x="429" y="305"/>
                  <a:pt x="427" y="305"/>
                  <a:pt x="427" y="305"/>
                </a:cubicBezTo>
                <a:cubicBezTo>
                  <a:pt x="426" y="304"/>
                  <a:pt x="426" y="303"/>
                  <a:pt x="425" y="303"/>
                </a:cubicBezTo>
                <a:cubicBezTo>
                  <a:pt x="425" y="303"/>
                  <a:pt x="425" y="302"/>
                  <a:pt x="425" y="302"/>
                </a:cubicBezTo>
                <a:cubicBezTo>
                  <a:pt x="426" y="300"/>
                  <a:pt x="427" y="296"/>
                  <a:pt x="428" y="294"/>
                </a:cubicBezTo>
                <a:cubicBezTo>
                  <a:pt x="429" y="293"/>
                  <a:pt x="430" y="294"/>
                  <a:pt x="431" y="294"/>
                </a:cubicBezTo>
                <a:cubicBezTo>
                  <a:pt x="433" y="294"/>
                  <a:pt x="434" y="293"/>
                  <a:pt x="436" y="294"/>
                </a:cubicBezTo>
                <a:cubicBezTo>
                  <a:pt x="437" y="294"/>
                  <a:pt x="437" y="295"/>
                  <a:pt x="438" y="295"/>
                </a:cubicBezTo>
                <a:cubicBezTo>
                  <a:pt x="438" y="296"/>
                  <a:pt x="438" y="296"/>
                  <a:pt x="439" y="296"/>
                </a:cubicBezTo>
                <a:cubicBezTo>
                  <a:pt x="440" y="296"/>
                  <a:pt x="439" y="295"/>
                  <a:pt x="440" y="296"/>
                </a:cubicBezTo>
                <a:cubicBezTo>
                  <a:pt x="440" y="296"/>
                  <a:pt x="440" y="297"/>
                  <a:pt x="440" y="297"/>
                </a:cubicBezTo>
                <a:cubicBezTo>
                  <a:pt x="440" y="298"/>
                  <a:pt x="441" y="298"/>
                  <a:pt x="441" y="299"/>
                </a:cubicBezTo>
                <a:cubicBezTo>
                  <a:pt x="442" y="300"/>
                  <a:pt x="442" y="301"/>
                  <a:pt x="443" y="302"/>
                </a:cubicBezTo>
                <a:cubicBezTo>
                  <a:pt x="443" y="303"/>
                  <a:pt x="443" y="303"/>
                  <a:pt x="444" y="304"/>
                </a:cubicBezTo>
                <a:cubicBezTo>
                  <a:pt x="444" y="305"/>
                  <a:pt x="444" y="305"/>
                  <a:pt x="445" y="305"/>
                </a:cubicBezTo>
                <a:cubicBezTo>
                  <a:pt x="444" y="306"/>
                  <a:pt x="444" y="307"/>
                  <a:pt x="444" y="308"/>
                </a:cubicBezTo>
                <a:cubicBezTo>
                  <a:pt x="445" y="308"/>
                  <a:pt x="445" y="309"/>
                  <a:pt x="445" y="309"/>
                </a:cubicBezTo>
                <a:cubicBezTo>
                  <a:pt x="446" y="310"/>
                  <a:pt x="447" y="311"/>
                  <a:pt x="447" y="312"/>
                </a:cubicBezTo>
                <a:cubicBezTo>
                  <a:pt x="447" y="313"/>
                  <a:pt x="448" y="314"/>
                  <a:pt x="448" y="315"/>
                </a:cubicBezTo>
                <a:cubicBezTo>
                  <a:pt x="448" y="316"/>
                  <a:pt x="448" y="318"/>
                  <a:pt x="449" y="319"/>
                </a:cubicBezTo>
                <a:cubicBezTo>
                  <a:pt x="449" y="319"/>
                  <a:pt x="450" y="319"/>
                  <a:pt x="450" y="320"/>
                </a:cubicBezTo>
                <a:cubicBezTo>
                  <a:pt x="450" y="320"/>
                  <a:pt x="449" y="321"/>
                  <a:pt x="449" y="321"/>
                </a:cubicBezTo>
                <a:cubicBezTo>
                  <a:pt x="450" y="321"/>
                  <a:pt x="450" y="321"/>
                  <a:pt x="450" y="321"/>
                </a:cubicBezTo>
                <a:cubicBezTo>
                  <a:pt x="450" y="321"/>
                  <a:pt x="451" y="321"/>
                  <a:pt x="451" y="322"/>
                </a:cubicBezTo>
                <a:cubicBezTo>
                  <a:pt x="451" y="322"/>
                  <a:pt x="451" y="322"/>
                  <a:pt x="451" y="323"/>
                </a:cubicBezTo>
                <a:cubicBezTo>
                  <a:pt x="451" y="324"/>
                  <a:pt x="451" y="324"/>
                  <a:pt x="452" y="325"/>
                </a:cubicBezTo>
                <a:cubicBezTo>
                  <a:pt x="453" y="326"/>
                  <a:pt x="453" y="327"/>
                  <a:pt x="454" y="328"/>
                </a:cubicBezTo>
                <a:cubicBezTo>
                  <a:pt x="454" y="328"/>
                  <a:pt x="456" y="329"/>
                  <a:pt x="456" y="330"/>
                </a:cubicBezTo>
                <a:cubicBezTo>
                  <a:pt x="456" y="330"/>
                  <a:pt x="455" y="331"/>
                  <a:pt x="455" y="331"/>
                </a:cubicBezTo>
                <a:cubicBezTo>
                  <a:pt x="454" y="332"/>
                  <a:pt x="454" y="332"/>
                  <a:pt x="454" y="333"/>
                </a:cubicBezTo>
                <a:close/>
                <a:moveTo>
                  <a:pt x="785" y="343"/>
                </a:moveTo>
                <a:cubicBezTo>
                  <a:pt x="786" y="342"/>
                  <a:pt x="787" y="342"/>
                  <a:pt x="787" y="342"/>
                </a:cubicBezTo>
                <a:cubicBezTo>
                  <a:pt x="787" y="342"/>
                  <a:pt x="787" y="342"/>
                  <a:pt x="787" y="342"/>
                </a:cubicBezTo>
                <a:cubicBezTo>
                  <a:pt x="788" y="342"/>
                  <a:pt x="788" y="342"/>
                  <a:pt x="788" y="342"/>
                </a:cubicBezTo>
                <a:cubicBezTo>
                  <a:pt x="788" y="342"/>
                  <a:pt x="788" y="342"/>
                  <a:pt x="788" y="342"/>
                </a:cubicBezTo>
                <a:cubicBezTo>
                  <a:pt x="788" y="342"/>
                  <a:pt x="788" y="342"/>
                  <a:pt x="788" y="342"/>
                </a:cubicBezTo>
                <a:cubicBezTo>
                  <a:pt x="789" y="342"/>
                  <a:pt x="788" y="343"/>
                  <a:pt x="789" y="343"/>
                </a:cubicBezTo>
                <a:cubicBezTo>
                  <a:pt x="787" y="343"/>
                  <a:pt x="786" y="343"/>
                  <a:pt x="785" y="343"/>
                </a:cubicBezTo>
                <a:close/>
                <a:moveTo>
                  <a:pt x="790" y="343"/>
                </a:moveTo>
                <a:cubicBezTo>
                  <a:pt x="790" y="343"/>
                  <a:pt x="790" y="343"/>
                  <a:pt x="790" y="343"/>
                </a:cubicBezTo>
                <a:cubicBezTo>
                  <a:pt x="790" y="343"/>
                  <a:pt x="790" y="343"/>
                  <a:pt x="790" y="343"/>
                </a:cubicBezTo>
                <a:cubicBezTo>
                  <a:pt x="790" y="343"/>
                  <a:pt x="790" y="343"/>
                  <a:pt x="791" y="343"/>
                </a:cubicBezTo>
                <a:cubicBezTo>
                  <a:pt x="791" y="343"/>
                  <a:pt x="791" y="343"/>
                  <a:pt x="791" y="343"/>
                </a:cubicBezTo>
                <a:cubicBezTo>
                  <a:pt x="791" y="343"/>
                  <a:pt x="791" y="343"/>
                  <a:pt x="791" y="343"/>
                </a:cubicBezTo>
                <a:cubicBezTo>
                  <a:pt x="791" y="343"/>
                  <a:pt x="791" y="343"/>
                  <a:pt x="791" y="343"/>
                </a:cubicBezTo>
                <a:cubicBezTo>
                  <a:pt x="791" y="343"/>
                  <a:pt x="791" y="343"/>
                  <a:pt x="790" y="343"/>
                </a:cubicBezTo>
                <a:close/>
                <a:moveTo>
                  <a:pt x="791" y="343"/>
                </a:moveTo>
                <a:cubicBezTo>
                  <a:pt x="791" y="343"/>
                  <a:pt x="791" y="343"/>
                  <a:pt x="791" y="343"/>
                </a:cubicBezTo>
                <a:cubicBezTo>
                  <a:pt x="791" y="343"/>
                  <a:pt x="791" y="343"/>
                  <a:pt x="791" y="343"/>
                </a:cubicBezTo>
                <a:cubicBezTo>
                  <a:pt x="791" y="343"/>
                  <a:pt x="791" y="343"/>
                  <a:pt x="791" y="343"/>
                </a:cubicBezTo>
                <a:close/>
                <a:moveTo>
                  <a:pt x="857" y="327"/>
                </a:moveTo>
                <a:cubicBezTo>
                  <a:pt x="857" y="327"/>
                  <a:pt x="856" y="327"/>
                  <a:pt x="856" y="327"/>
                </a:cubicBezTo>
                <a:cubicBezTo>
                  <a:pt x="856" y="327"/>
                  <a:pt x="856" y="327"/>
                  <a:pt x="856" y="327"/>
                </a:cubicBezTo>
                <a:cubicBezTo>
                  <a:pt x="857" y="327"/>
                  <a:pt x="857" y="327"/>
                  <a:pt x="858" y="326"/>
                </a:cubicBezTo>
                <a:cubicBezTo>
                  <a:pt x="858" y="327"/>
                  <a:pt x="857" y="327"/>
                  <a:pt x="857" y="327"/>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1" name="Freeform 3008">
            <a:extLst>
              <a:ext uri="{FF2B5EF4-FFF2-40B4-BE49-F238E27FC236}">
                <a16:creationId xmlns:a16="http://schemas.microsoft.com/office/drawing/2014/main" id="{8F1CDE84-044C-4B88-B412-C462BDB30EB1}"/>
              </a:ext>
            </a:extLst>
          </p:cNvPr>
          <p:cNvSpPr>
            <a:spLocks/>
          </p:cNvSpPr>
          <p:nvPr/>
        </p:nvSpPr>
        <p:spPr bwMode="auto">
          <a:xfrm>
            <a:off x="2371669" y="3740777"/>
            <a:ext cx="66901" cy="88446"/>
          </a:xfrm>
          <a:custGeom>
            <a:avLst/>
            <a:gdLst>
              <a:gd name="T0" fmla="*/ 7 w 57"/>
              <a:gd name="T1" fmla="*/ 40 h 63"/>
              <a:gd name="T2" fmla="*/ 10 w 57"/>
              <a:gd name="T3" fmla="*/ 37 h 63"/>
              <a:gd name="T4" fmla="*/ 11 w 57"/>
              <a:gd name="T5" fmla="*/ 37 h 63"/>
              <a:gd name="T6" fmla="*/ 12 w 57"/>
              <a:gd name="T7" fmla="*/ 40 h 63"/>
              <a:gd name="T8" fmla="*/ 8 w 57"/>
              <a:gd name="T9" fmla="*/ 47 h 63"/>
              <a:gd name="T10" fmla="*/ 8 w 57"/>
              <a:gd name="T11" fmla="*/ 48 h 63"/>
              <a:gd name="T12" fmla="*/ 9 w 57"/>
              <a:gd name="T13" fmla="*/ 51 h 63"/>
              <a:gd name="T14" fmla="*/ 9 w 57"/>
              <a:gd name="T15" fmla="*/ 54 h 63"/>
              <a:gd name="T16" fmla="*/ 8 w 57"/>
              <a:gd name="T17" fmla="*/ 54 h 63"/>
              <a:gd name="T18" fmla="*/ 7 w 57"/>
              <a:gd name="T19" fmla="*/ 55 h 63"/>
              <a:gd name="T20" fmla="*/ 6 w 57"/>
              <a:gd name="T21" fmla="*/ 55 h 63"/>
              <a:gd name="T22" fmla="*/ 6 w 57"/>
              <a:gd name="T23" fmla="*/ 57 h 63"/>
              <a:gd name="T24" fmla="*/ 7 w 57"/>
              <a:gd name="T25" fmla="*/ 56 h 63"/>
              <a:gd name="T26" fmla="*/ 9 w 57"/>
              <a:gd name="T27" fmla="*/ 56 h 63"/>
              <a:gd name="T28" fmla="*/ 13 w 57"/>
              <a:gd name="T29" fmla="*/ 58 h 63"/>
              <a:gd name="T30" fmla="*/ 14 w 57"/>
              <a:gd name="T31" fmla="*/ 58 h 63"/>
              <a:gd name="T32" fmla="*/ 16 w 57"/>
              <a:gd name="T33" fmla="*/ 60 h 63"/>
              <a:gd name="T34" fmla="*/ 17 w 57"/>
              <a:gd name="T35" fmla="*/ 62 h 63"/>
              <a:gd name="T36" fmla="*/ 18 w 57"/>
              <a:gd name="T37" fmla="*/ 63 h 63"/>
              <a:gd name="T38" fmla="*/ 19 w 57"/>
              <a:gd name="T39" fmla="*/ 63 h 63"/>
              <a:gd name="T40" fmla="*/ 19 w 57"/>
              <a:gd name="T41" fmla="*/ 63 h 63"/>
              <a:gd name="T42" fmla="*/ 20 w 57"/>
              <a:gd name="T43" fmla="*/ 62 h 63"/>
              <a:gd name="T44" fmla="*/ 25 w 57"/>
              <a:gd name="T45" fmla="*/ 51 h 63"/>
              <a:gd name="T46" fmla="*/ 27 w 57"/>
              <a:gd name="T47" fmla="*/ 48 h 63"/>
              <a:gd name="T48" fmla="*/ 27 w 57"/>
              <a:gd name="T49" fmla="*/ 48 h 63"/>
              <a:gd name="T50" fmla="*/ 29 w 57"/>
              <a:gd name="T51" fmla="*/ 45 h 63"/>
              <a:gd name="T52" fmla="*/ 30 w 57"/>
              <a:gd name="T53" fmla="*/ 44 h 63"/>
              <a:gd name="T54" fmla="*/ 38 w 57"/>
              <a:gd name="T55" fmla="*/ 41 h 63"/>
              <a:gd name="T56" fmla="*/ 49 w 57"/>
              <a:gd name="T57" fmla="*/ 34 h 63"/>
              <a:gd name="T58" fmla="*/ 53 w 57"/>
              <a:gd name="T59" fmla="*/ 29 h 63"/>
              <a:gd name="T60" fmla="*/ 54 w 57"/>
              <a:gd name="T61" fmla="*/ 29 h 63"/>
              <a:gd name="T62" fmla="*/ 55 w 57"/>
              <a:gd name="T63" fmla="*/ 26 h 63"/>
              <a:gd name="T64" fmla="*/ 56 w 57"/>
              <a:gd name="T65" fmla="*/ 25 h 63"/>
              <a:gd name="T66" fmla="*/ 57 w 57"/>
              <a:gd name="T67" fmla="*/ 23 h 63"/>
              <a:gd name="T68" fmla="*/ 57 w 57"/>
              <a:gd name="T69" fmla="*/ 20 h 63"/>
              <a:gd name="T70" fmla="*/ 56 w 57"/>
              <a:gd name="T71" fmla="*/ 18 h 63"/>
              <a:gd name="T72" fmla="*/ 55 w 57"/>
              <a:gd name="T73" fmla="*/ 18 h 63"/>
              <a:gd name="T74" fmla="*/ 55 w 57"/>
              <a:gd name="T75" fmla="*/ 17 h 63"/>
              <a:gd name="T76" fmla="*/ 54 w 57"/>
              <a:gd name="T77" fmla="*/ 16 h 63"/>
              <a:gd name="T78" fmla="*/ 53 w 57"/>
              <a:gd name="T79" fmla="*/ 16 h 63"/>
              <a:gd name="T80" fmla="*/ 53 w 57"/>
              <a:gd name="T81" fmla="*/ 14 h 63"/>
              <a:gd name="T82" fmla="*/ 54 w 57"/>
              <a:gd name="T83" fmla="*/ 14 h 63"/>
              <a:gd name="T84" fmla="*/ 51 w 57"/>
              <a:gd name="T85" fmla="*/ 12 h 63"/>
              <a:gd name="T86" fmla="*/ 49 w 57"/>
              <a:gd name="T87" fmla="*/ 11 h 63"/>
              <a:gd name="T88" fmla="*/ 47 w 57"/>
              <a:gd name="T89" fmla="*/ 11 h 63"/>
              <a:gd name="T90" fmla="*/ 39 w 57"/>
              <a:gd name="T91" fmla="*/ 11 h 63"/>
              <a:gd name="T92" fmla="*/ 38 w 57"/>
              <a:gd name="T93" fmla="*/ 11 h 63"/>
              <a:gd name="T94" fmla="*/ 36 w 57"/>
              <a:gd name="T95" fmla="*/ 10 h 63"/>
              <a:gd name="T96" fmla="*/ 34 w 57"/>
              <a:gd name="T97" fmla="*/ 8 h 63"/>
              <a:gd name="T98" fmla="*/ 34 w 57"/>
              <a:gd name="T99" fmla="*/ 7 h 63"/>
              <a:gd name="T100" fmla="*/ 31 w 57"/>
              <a:gd name="T101" fmla="*/ 6 h 63"/>
              <a:gd name="T102" fmla="*/ 21 w 57"/>
              <a:gd name="T103" fmla="*/ 0 h 63"/>
              <a:gd name="T104" fmla="*/ 20 w 57"/>
              <a:gd name="T105" fmla="*/ 1 h 63"/>
              <a:gd name="T106" fmla="*/ 14 w 57"/>
              <a:gd name="T107" fmla="*/ 5 h 63"/>
              <a:gd name="T108" fmla="*/ 9 w 57"/>
              <a:gd name="T109" fmla="*/ 7 h 63"/>
              <a:gd name="T110" fmla="*/ 10 w 57"/>
              <a:gd name="T111" fmla="*/ 10 h 63"/>
              <a:gd name="T112" fmla="*/ 5 w 57"/>
              <a:gd name="T113" fmla="*/ 18 h 63"/>
              <a:gd name="T114" fmla="*/ 5 w 57"/>
              <a:gd name="T115" fmla="*/ 21 h 63"/>
              <a:gd name="T116" fmla="*/ 1 w 57"/>
              <a:gd name="T117" fmla="*/ 25 h 63"/>
              <a:gd name="T118" fmla="*/ 0 w 57"/>
              <a:gd name="T119" fmla="*/ 36 h 63"/>
              <a:gd name="T120" fmla="*/ 6 w 57"/>
              <a:gd name="T121" fmla="*/ 4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 h="63">
                <a:moveTo>
                  <a:pt x="7" y="41"/>
                </a:moveTo>
                <a:cubicBezTo>
                  <a:pt x="7" y="41"/>
                  <a:pt x="7" y="40"/>
                  <a:pt x="7" y="40"/>
                </a:cubicBezTo>
                <a:cubicBezTo>
                  <a:pt x="7" y="40"/>
                  <a:pt x="7" y="40"/>
                  <a:pt x="8" y="40"/>
                </a:cubicBezTo>
                <a:cubicBezTo>
                  <a:pt x="8" y="39"/>
                  <a:pt x="9" y="38"/>
                  <a:pt x="10" y="37"/>
                </a:cubicBezTo>
                <a:cubicBezTo>
                  <a:pt x="10" y="39"/>
                  <a:pt x="10" y="39"/>
                  <a:pt x="9" y="40"/>
                </a:cubicBezTo>
                <a:cubicBezTo>
                  <a:pt x="11" y="41"/>
                  <a:pt x="11" y="37"/>
                  <a:pt x="11" y="37"/>
                </a:cubicBezTo>
                <a:cubicBezTo>
                  <a:pt x="12" y="37"/>
                  <a:pt x="12" y="38"/>
                  <a:pt x="12" y="39"/>
                </a:cubicBezTo>
                <a:cubicBezTo>
                  <a:pt x="13" y="40"/>
                  <a:pt x="12" y="40"/>
                  <a:pt x="12" y="40"/>
                </a:cubicBezTo>
                <a:cubicBezTo>
                  <a:pt x="12" y="42"/>
                  <a:pt x="11" y="44"/>
                  <a:pt x="10" y="45"/>
                </a:cubicBezTo>
                <a:cubicBezTo>
                  <a:pt x="10" y="47"/>
                  <a:pt x="9" y="47"/>
                  <a:pt x="8" y="47"/>
                </a:cubicBezTo>
                <a:cubicBezTo>
                  <a:pt x="8" y="47"/>
                  <a:pt x="8" y="48"/>
                  <a:pt x="8" y="48"/>
                </a:cubicBezTo>
                <a:cubicBezTo>
                  <a:pt x="8" y="48"/>
                  <a:pt x="8" y="48"/>
                  <a:pt x="8" y="48"/>
                </a:cubicBezTo>
                <a:cubicBezTo>
                  <a:pt x="8" y="49"/>
                  <a:pt x="8" y="50"/>
                  <a:pt x="9" y="51"/>
                </a:cubicBezTo>
                <a:cubicBezTo>
                  <a:pt x="9" y="51"/>
                  <a:pt x="9" y="51"/>
                  <a:pt x="9" y="51"/>
                </a:cubicBezTo>
                <a:cubicBezTo>
                  <a:pt x="9" y="51"/>
                  <a:pt x="9" y="52"/>
                  <a:pt x="9" y="52"/>
                </a:cubicBezTo>
                <a:cubicBezTo>
                  <a:pt x="9" y="52"/>
                  <a:pt x="9" y="53"/>
                  <a:pt x="9" y="54"/>
                </a:cubicBezTo>
                <a:cubicBezTo>
                  <a:pt x="9" y="54"/>
                  <a:pt x="9" y="54"/>
                  <a:pt x="9" y="54"/>
                </a:cubicBezTo>
                <a:cubicBezTo>
                  <a:pt x="8" y="54"/>
                  <a:pt x="8" y="54"/>
                  <a:pt x="8" y="54"/>
                </a:cubicBezTo>
                <a:cubicBezTo>
                  <a:pt x="8" y="55"/>
                  <a:pt x="8" y="55"/>
                  <a:pt x="7" y="55"/>
                </a:cubicBezTo>
                <a:cubicBezTo>
                  <a:pt x="7" y="55"/>
                  <a:pt x="7" y="55"/>
                  <a:pt x="7" y="55"/>
                </a:cubicBezTo>
                <a:cubicBezTo>
                  <a:pt x="7" y="55"/>
                  <a:pt x="7" y="55"/>
                  <a:pt x="6" y="55"/>
                </a:cubicBezTo>
                <a:cubicBezTo>
                  <a:pt x="6" y="55"/>
                  <a:pt x="6" y="55"/>
                  <a:pt x="6" y="55"/>
                </a:cubicBezTo>
                <a:cubicBezTo>
                  <a:pt x="6" y="56"/>
                  <a:pt x="6" y="56"/>
                  <a:pt x="6" y="56"/>
                </a:cubicBezTo>
                <a:cubicBezTo>
                  <a:pt x="6" y="56"/>
                  <a:pt x="6" y="57"/>
                  <a:pt x="6" y="57"/>
                </a:cubicBezTo>
                <a:cubicBezTo>
                  <a:pt x="7" y="57"/>
                  <a:pt x="7" y="57"/>
                  <a:pt x="7" y="57"/>
                </a:cubicBezTo>
                <a:cubicBezTo>
                  <a:pt x="7" y="56"/>
                  <a:pt x="7" y="56"/>
                  <a:pt x="7" y="56"/>
                </a:cubicBezTo>
                <a:cubicBezTo>
                  <a:pt x="8" y="56"/>
                  <a:pt x="8" y="56"/>
                  <a:pt x="8" y="56"/>
                </a:cubicBezTo>
                <a:cubicBezTo>
                  <a:pt x="9" y="56"/>
                  <a:pt x="9" y="56"/>
                  <a:pt x="9" y="56"/>
                </a:cubicBezTo>
                <a:cubicBezTo>
                  <a:pt x="10" y="56"/>
                  <a:pt x="10" y="57"/>
                  <a:pt x="11" y="57"/>
                </a:cubicBezTo>
                <a:cubicBezTo>
                  <a:pt x="12" y="57"/>
                  <a:pt x="12" y="57"/>
                  <a:pt x="13" y="58"/>
                </a:cubicBezTo>
                <a:cubicBezTo>
                  <a:pt x="13" y="57"/>
                  <a:pt x="13" y="57"/>
                  <a:pt x="13" y="57"/>
                </a:cubicBezTo>
                <a:cubicBezTo>
                  <a:pt x="14" y="58"/>
                  <a:pt x="14" y="58"/>
                  <a:pt x="14" y="58"/>
                </a:cubicBezTo>
                <a:cubicBezTo>
                  <a:pt x="14" y="58"/>
                  <a:pt x="14" y="58"/>
                  <a:pt x="14" y="58"/>
                </a:cubicBezTo>
                <a:cubicBezTo>
                  <a:pt x="15" y="59"/>
                  <a:pt x="16" y="60"/>
                  <a:pt x="16" y="60"/>
                </a:cubicBezTo>
                <a:cubicBezTo>
                  <a:pt x="16" y="61"/>
                  <a:pt x="16" y="61"/>
                  <a:pt x="16" y="61"/>
                </a:cubicBezTo>
                <a:cubicBezTo>
                  <a:pt x="16" y="61"/>
                  <a:pt x="17" y="62"/>
                  <a:pt x="17" y="62"/>
                </a:cubicBezTo>
                <a:cubicBezTo>
                  <a:pt x="17" y="62"/>
                  <a:pt x="17" y="62"/>
                  <a:pt x="17" y="62"/>
                </a:cubicBezTo>
                <a:cubicBezTo>
                  <a:pt x="17" y="63"/>
                  <a:pt x="18" y="63"/>
                  <a:pt x="18" y="63"/>
                </a:cubicBezTo>
                <a:cubicBezTo>
                  <a:pt x="19" y="63"/>
                  <a:pt x="19" y="63"/>
                  <a:pt x="19" y="63"/>
                </a:cubicBezTo>
                <a:cubicBezTo>
                  <a:pt x="19" y="63"/>
                  <a:pt x="19" y="63"/>
                  <a:pt x="19" y="63"/>
                </a:cubicBezTo>
                <a:cubicBezTo>
                  <a:pt x="19" y="63"/>
                  <a:pt x="19" y="63"/>
                  <a:pt x="19" y="63"/>
                </a:cubicBezTo>
                <a:cubicBezTo>
                  <a:pt x="19" y="63"/>
                  <a:pt x="19" y="63"/>
                  <a:pt x="19" y="63"/>
                </a:cubicBezTo>
                <a:cubicBezTo>
                  <a:pt x="19" y="63"/>
                  <a:pt x="20" y="62"/>
                  <a:pt x="20" y="62"/>
                </a:cubicBezTo>
                <a:cubicBezTo>
                  <a:pt x="20" y="62"/>
                  <a:pt x="20" y="62"/>
                  <a:pt x="20" y="62"/>
                </a:cubicBezTo>
                <a:cubicBezTo>
                  <a:pt x="21" y="61"/>
                  <a:pt x="22" y="60"/>
                  <a:pt x="22" y="59"/>
                </a:cubicBezTo>
                <a:cubicBezTo>
                  <a:pt x="23" y="57"/>
                  <a:pt x="24" y="54"/>
                  <a:pt x="25" y="51"/>
                </a:cubicBezTo>
                <a:cubicBezTo>
                  <a:pt x="25" y="51"/>
                  <a:pt x="25" y="51"/>
                  <a:pt x="25" y="51"/>
                </a:cubicBezTo>
                <a:cubicBezTo>
                  <a:pt x="25" y="50"/>
                  <a:pt x="25" y="49"/>
                  <a:pt x="27" y="48"/>
                </a:cubicBezTo>
                <a:cubicBezTo>
                  <a:pt x="27" y="48"/>
                  <a:pt x="27" y="48"/>
                  <a:pt x="27" y="48"/>
                </a:cubicBezTo>
                <a:cubicBezTo>
                  <a:pt x="27" y="48"/>
                  <a:pt x="27" y="48"/>
                  <a:pt x="27" y="48"/>
                </a:cubicBezTo>
                <a:cubicBezTo>
                  <a:pt x="28" y="47"/>
                  <a:pt x="28" y="47"/>
                  <a:pt x="28" y="46"/>
                </a:cubicBezTo>
                <a:cubicBezTo>
                  <a:pt x="28" y="46"/>
                  <a:pt x="29" y="46"/>
                  <a:pt x="29" y="45"/>
                </a:cubicBezTo>
                <a:cubicBezTo>
                  <a:pt x="29" y="45"/>
                  <a:pt x="29" y="45"/>
                  <a:pt x="29" y="45"/>
                </a:cubicBezTo>
                <a:cubicBezTo>
                  <a:pt x="29" y="45"/>
                  <a:pt x="29" y="44"/>
                  <a:pt x="30" y="44"/>
                </a:cubicBezTo>
                <a:cubicBezTo>
                  <a:pt x="31" y="43"/>
                  <a:pt x="33" y="42"/>
                  <a:pt x="35" y="41"/>
                </a:cubicBezTo>
                <a:cubicBezTo>
                  <a:pt x="36" y="41"/>
                  <a:pt x="37" y="41"/>
                  <a:pt x="38" y="41"/>
                </a:cubicBezTo>
                <a:cubicBezTo>
                  <a:pt x="40" y="40"/>
                  <a:pt x="42" y="39"/>
                  <a:pt x="44" y="38"/>
                </a:cubicBezTo>
                <a:cubicBezTo>
                  <a:pt x="46" y="37"/>
                  <a:pt x="47" y="35"/>
                  <a:pt x="49" y="34"/>
                </a:cubicBezTo>
                <a:cubicBezTo>
                  <a:pt x="50" y="33"/>
                  <a:pt x="50" y="32"/>
                  <a:pt x="51" y="32"/>
                </a:cubicBezTo>
                <a:cubicBezTo>
                  <a:pt x="52" y="31"/>
                  <a:pt x="53" y="30"/>
                  <a:pt x="53" y="29"/>
                </a:cubicBezTo>
                <a:cubicBezTo>
                  <a:pt x="53" y="29"/>
                  <a:pt x="53" y="29"/>
                  <a:pt x="54" y="29"/>
                </a:cubicBezTo>
                <a:cubicBezTo>
                  <a:pt x="54" y="29"/>
                  <a:pt x="54" y="29"/>
                  <a:pt x="54" y="29"/>
                </a:cubicBezTo>
                <a:cubicBezTo>
                  <a:pt x="54" y="28"/>
                  <a:pt x="55" y="27"/>
                  <a:pt x="55" y="26"/>
                </a:cubicBezTo>
                <a:cubicBezTo>
                  <a:pt x="55" y="26"/>
                  <a:pt x="55" y="26"/>
                  <a:pt x="55" y="26"/>
                </a:cubicBezTo>
                <a:cubicBezTo>
                  <a:pt x="55" y="26"/>
                  <a:pt x="55" y="26"/>
                  <a:pt x="56" y="25"/>
                </a:cubicBezTo>
                <a:cubicBezTo>
                  <a:pt x="56" y="25"/>
                  <a:pt x="56" y="25"/>
                  <a:pt x="56" y="25"/>
                </a:cubicBezTo>
                <a:cubicBezTo>
                  <a:pt x="56" y="25"/>
                  <a:pt x="56" y="24"/>
                  <a:pt x="56" y="24"/>
                </a:cubicBezTo>
                <a:cubicBezTo>
                  <a:pt x="57" y="24"/>
                  <a:pt x="57" y="23"/>
                  <a:pt x="57" y="23"/>
                </a:cubicBezTo>
                <a:cubicBezTo>
                  <a:pt x="57" y="22"/>
                  <a:pt x="57" y="22"/>
                  <a:pt x="57" y="22"/>
                </a:cubicBezTo>
                <a:cubicBezTo>
                  <a:pt x="57" y="21"/>
                  <a:pt x="57" y="21"/>
                  <a:pt x="57" y="20"/>
                </a:cubicBezTo>
                <a:cubicBezTo>
                  <a:pt x="57" y="20"/>
                  <a:pt x="56" y="20"/>
                  <a:pt x="56" y="19"/>
                </a:cubicBezTo>
                <a:cubicBezTo>
                  <a:pt x="56" y="19"/>
                  <a:pt x="56" y="19"/>
                  <a:pt x="56" y="18"/>
                </a:cubicBezTo>
                <a:cubicBezTo>
                  <a:pt x="55" y="18"/>
                  <a:pt x="55" y="18"/>
                  <a:pt x="55" y="18"/>
                </a:cubicBezTo>
                <a:cubicBezTo>
                  <a:pt x="55" y="18"/>
                  <a:pt x="55" y="18"/>
                  <a:pt x="55" y="18"/>
                </a:cubicBezTo>
                <a:cubicBezTo>
                  <a:pt x="55" y="17"/>
                  <a:pt x="55" y="17"/>
                  <a:pt x="55" y="17"/>
                </a:cubicBezTo>
                <a:cubicBezTo>
                  <a:pt x="55" y="17"/>
                  <a:pt x="55" y="17"/>
                  <a:pt x="55" y="17"/>
                </a:cubicBezTo>
                <a:cubicBezTo>
                  <a:pt x="55" y="17"/>
                  <a:pt x="55" y="17"/>
                  <a:pt x="55" y="17"/>
                </a:cubicBezTo>
                <a:cubicBezTo>
                  <a:pt x="55" y="17"/>
                  <a:pt x="55" y="16"/>
                  <a:pt x="54" y="16"/>
                </a:cubicBezTo>
                <a:cubicBezTo>
                  <a:pt x="54" y="16"/>
                  <a:pt x="54" y="16"/>
                  <a:pt x="54" y="16"/>
                </a:cubicBezTo>
                <a:cubicBezTo>
                  <a:pt x="54" y="16"/>
                  <a:pt x="53" y="16"/>
                  <a:pt x="53" y="16"/>
                </a:cubicBezTo>
                <a:cubicBezTo>
                  <a:pt x="53" y="15"/>
                  <a:pt x="53" y="15"/>
                  <a:pt x="53" y="15"/>
                </a:cubicBezTo>
                <a:cubicBezTo>
                  <a:pt x="53" y="14"/>
                  <a:pt x="53" y="14"/>
                  <a:pt x="53" y="14"/>
                </a:cubicBezTo>
                <a:cubicBezTo>
                  <a:pt x="54" y="14"/>
                  <a:pt x="54" y="14"/>
                  <a:pt x="54" y="14"/>
                </a:cubicBezTo>
                <a:cubicBezTo>
                  <a:pt x="54" y="14"/>
                  <a:pt x="54" y="14"/>
                  <a:pt x="54" y="14"/>
                </a:cubicBezTo>
                <a:cubicBezTo>
                  <a:pt x="52" y="12"/>
                  <a:pt x="52" y="12"/>
                  <a:pt x="52" y="12"/>
                </a:cubicBezTo>
                <a:cubicBezTo>
                  <a:pt x="51" y="12"/>
                  <a:pt x="51" y="12"/>
                  <a:pt x="51" y="12"/>
                </a:cubicBezTo>
                <a:cubicBezTo>
                  <a:pt x="50" y="12"/>
                  <a:pt x="50" y="11"/>
                  <a:pt x="49" y="11"/>
                </a:cubicBezTo>
                <a:cubicBezTo>
                  <a:pt x="49" y="11"/>
                  <a:pt x="49" y="11"/>
                  <a:pt x="49" y="11"/>
                </a:cubicBezTo>
                <a:cubicBezTo>
                  <a:pt x="49" y="11"/>
                  <a:pt x="48" y="11"/>
                  <a:pt x="47" y="11"/>
                </a:cubicBezTo>
                <a:cubicBezTo>
                  <a:pt x="47" y="11"/>
                  <a:pt x="47" y="11"/>
                  <a:pt x="47" y="11"/>
                </a:cubicBezTo>
                <a:cubicBezTo>
                  <a:pt x="44" y="12"/>
                  <a:pt x="43" y="12"/>
                  <a:pt x="41" y="11"/>
                </a:cubicBezTo>
                <a:cubicBezTo>
                  <a:pt x="40" y="11"/>
                  <a:pt x="40" y="11"/>
                  <a:pt x="39" y="11"/>
                </a:cubicBezTo>
                <a:cubicBezTo>
                  <a:pt x="39" y="11"/>
                  <a:pt x="39" y="11"/>
                  <a:pt x="39" y="11"/>
                </a:cubicBezTo>
                <a:cubicBezTo>
                  <a:pt x="39" y="11"/>
                  <a:pt x="38" y="11"/>
                  <a:pt x="38" y="11"/>
                </a:cubicBezTo>
                <a:cubicBezTo>
                  <a:pt x="37" y="11"/>
                  <a:pt x="37" y="11"/>
                  <a:pt x="37" y="11"/>
                </a:cubicBezTo>
                <a:cubicBezTo>
                  <a:pt x="36" y="11"/>
                  <a:pt x="36" y="10"/>
                  <a:pt x="36" y="10"/>
                </a:cubicBezTo>
                <a:cubicBezTo>
                  <a:pt x="35" y="10"/>
                  <a:pt x="35" y="10"/>
                  <a:pt x="35" y="10"/>
                </a:cubicBezTo>
                <a:cubicBezTo>
                  <a:pt x="35" y="9"/>
                  <a:pt x="35" y="9"/>
                  <a:pt x="34" y="8"/>
                </a:cubicBezTo>
                <a:cubicBezTo>
                  <a:pt x="34" y="8"/>
                  <a:pt x="34" y="8"/>
                  <a:pt x="34" y="7"/>
                </a:cubicBezTo>
                <a:cubicBezTo>
                  <a:pt x="34" y="7"/>
                  <a:pt x="34" y="7"/>
                  <a:pt x="34" y="7"/>
                </a:cubicBezTo>
                <a:cubicBezTo>
                  <a:pt x="34" y="6"/>
                  <a:pt x="33" y="6"/>
                  <a:pt x="32" y="6"/>
                </a:cubicBezTo>
                <a:cubicBezTo>
                  <a:pt x="32" y="6"/>
                  <a:pt x="31" y="6"/>
                  <a:pt x="31" y="6"/>
                </a:cubicBezTo>
                <a:cubicBezTo>
                  <a:pt x="27" y="4"/>
                  <a:pt x="25" y="2"/>
                  <a:pt x="22" y="0"/>
                </a:cubicBezTo>
                <a:cubicBezTo>
                  <a:pt x="21" y="0"/>
                  <a:pt x="21" y="0"/>
                  <a:pt x="21" y="0"/>
                </a:cubicBezTo>
                <a:cubicBezTo>
                  <a:pt x="21" y="1"/>
                  <a:pt x="21" y="1"/>
                  <a:pt x="20" y="2"/>
                </a:cubicBezTo>
                <a:cubicBezTo>
                  <a:pt x="20" y="2"/>
                  <a:pt x="20" y="2"/>
                  <a:pt x="20" y="1"/>
                </a:cubicBezTo>
                <a:cubicBezTo>
                  <a:pt x="19" y="2"/>
                  <a:pt x="18" y="2"/>
                  <a:pt x="17" y="2"/>
                </a:cubicBezTo>
                <a:cubicBezTo>
                  <a:pt x="16" y="3"/>
                  <a:pt x="13" y="3"/>
                  <a:pt x="14" y="5"/>
                </a:cubicBezTo>
                <a:cubicBezTo>
                  <a:pt x="13" y="4"/>
                  <a:pt x="8" y="4"/>
                  <a:pt x="9" y="6"/>
                </a:cubicBezTo>
                <a:cubicBezTo>
                  <a:pt x="9" y="7"/>
                  <a:pt x="9" y="7"/>
                  <a:pt x="9" y="7"/>
                </a:cubicBezTo>
                <a:cubicBezTo>
                  <a:pt x="10" y="8"/>
                  <a:pt x="9" y="8"/>
                  <a:pt x="9" y="8"/>
                </a:cubicBezTo>
                <a:cubicBezTo>
                  <a:pt x="9" y="9"/>
                  <a:pt x="10" y="10"/>
                  <a:pt x="10" y="10"/>
                </a:cubicBezTo>
                <a:cubicBezTo>
                  <a:pt x="9" y="11"/>
                  <a:pt x="9" y="13"/>
                  <a:pt x="8" y="14"/>
                </a:cubicBezTo>
                <a:cubicBezTo>
                  <a:pt x="7" y="15"/>
                  <a:pt x="5" y="16"/>
                  <a:pt x="5" y="18"/>
                </a:cubicBezTo>
                <a:cubicBezTo>
                  <a:pt x="5" y="19"/>
                  <a:pt x="6" y="20"/>
                  <a:pt x="7" y="20"/>
                </a:cubicBezTo>
                <a:cubicBezTo>
                  <a:pt x="6" y="20"/>
                  <a:pt x="5" y="21"/>
                  <a:pt x="5" y="21"/>
                </a:cubicBezTo>
                <a:cubicBezTo>
                  <a:pt x="4" y="22"/>
                  <a:pt x="4" y="22"/>
                  <a:pt x="3" y="23"/>
                </a:cubicBezTo>
                <a:cubicBezTo>
                  <a:pt x="2" y="23"/>
                  <a:pt x="0" y="23"/>
                  <a:pt x="1" y="25"/>
                </a:cubicBezTo>
                <a:cubicBezTo>
                  <a:pt x="2" y="27"/>
                  <a:pt x="2" y="27"/>
                  <a:pt x="2" y="29"/>
                </a:cubicBezTo>
                <a:cubicBezTo>
                  <a:pt x="1" y="31"/>
                  <a:pt x="3" y="37"/>
                  <a:pt x="0" y="36"/>
                </a:cubicBezTo>
                <a:cubicBezTo>
                  <a:pt x="0" y="37"/>
                  <a:pt x="1" y="37"/>
                  <a:pt x="2" y="38"/>
                </a:cubicBezTo>
                <a:cubicBezTo>
                  <a:pt x="4" y="38"/>
                  <a:pt x="5" y="40"/>
                  <a:pt x="6" y="41"/>
                </a:cubicBezTo>
                <a:cubicBezTo>
                  <a:pt x="7" y="41"/>
                  <a:pt x="7" y="41"/>
                  <a:pt x="7" y="4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2" name="Freeform 3009">
            <a:extLst>
              <a:ext uri="{FF2B5EF4-FFF2-40B4-BE49-F238E27FC236}">
                <a16:creationId xmlns:a16="http://schemas.microsoft.com/office/drawing/2014/main" id="{3AAA1DEF-62D9-427D-AE61-40465AFCF422}"/>
              </a:ext>
            </a:extLst>
          </p:cNvPr>
          <p:cNvSpPr>
            <a:spLocks noEditPoints="1"/>
          </p:cNvSpPr>
          <p:nvPr/>
        </p:nvSpPr>
        <p:spPr bwMode="auto">
          <a:xfrm>
            <a:off x="2465330" y="3581693"/>
            <a:ext cx="157093" cy="164426"/>
          </a:xfrm>
          <a:custGeom>
            <a:avLst/>
            <a:gdLst>
              <a:gd name="T0" fmla="*/ 14 w 134"/>
              <a:gd name="T1" fmla="*/ 31 h 117"/>
              <a:gd name="T2" fmla="*/ 14 w 134"/>
              <a:gd name="T3" fmla="*/ 14 h 117"/>
              <a:gd name="T4" fmla="*/ 10 w 134"/>
              <a:gd name="T5" fmla="*/ 12 h 117"/>
              <a:gd name="T6" fmla="*/ 4 w 134"/>
              <a:gd name="T7" fmla="*/ 18 h 117"/>
              <a:gd name="T8" fmla="*/ 3 w 134"/>
              <a:gd name="T9" fmla="*/ 25 h 117"/>
              <a:gd name="T10" fmla="*/ 3 w 134"/>
              <a:gd name="T11" fmla="*/ 32 h 117"/>
              <a:gd name="T12" fmla="*/ 5 w 134"/>
              <a:gd name="T13" fmla="*/ 33 h 117"/>
              <a:gd name="T14" fmla="*/ 9 w 134"/>
              <a:gd name="T15" fmla="*/ 45 h 117"/>
              <a:gd name="T16" fmla="*/ 11 w 134"/>
              <a:gd name="T17" fmla="*/ 51 h 117"/>
              <a:gd name="T18" fmla="*/ 18 w 134"/>
              <a:gd name="T19" fmla="*/ 53 h 117"/>
              <a:gd name="T20" fmla="*/ 33 w 134"/>
              <a:gd name="T21" fmla="*/ 56 h 117"/>
              <a:gd name="T22" fmla="*/ 38 w 134"/>
              <a:gd name="T23" fmla="*/ 63 h 117"/>
              <a:gd name="T24" fmla="*/ 48 w 134"/>
              <a:gd name="T25" fmla="*/ 61 h 117"/>
              <a:gd name="T26" fmla="*/ 57 w 134"/>
              <a:gd name="T27" fmla="*/ 69 h 117"/>
              <a:gd name="T28" fmla="*/ 55 w 134"/>
              <a:gd name="T29" fmla="*/ 76 h 117"/>
              <a:gd name="T30" fmla="*/ 56 w 134"/>
              <a:gd name="T31" fmla="*/ 84 h 117"/>
              <a:gd name="T32" fmla="*/ 60 w 134"/>
              <a:gd name="T33" fmla="*/ 90 h 117"/>
              <a:gd name="T34" fmla="*/ 58 w 134"/>
              <a:gd name="T35" fmla="*/ 95 h 117"/>
              <a:gd name="T36" fmla="*/ 57 w 134"/>
              <a:gd name="T37" fmla="*/ 97 h 117"/>
              <a:gd name="T38" fmla="*/ 64 w 134"/>
              <a:gd name="T39" fmla="*/ 112 h 117"/>
              <a:gd name="T40" fmla="*/ 66 w 134"/>
              <a:gd name="T41" fmla="*/ 114 h 117"/>
              <a:gd name="T42" fmla="*/ 73 w 134"/>
              <a:gd name="T43" fmla="*/ 116 h 117"/>
              <a:gd name="T44" fmla="*/ 84 w 134"/>
              <a:gd name="T45" fmla="*/ 112 h 117"/>
              <a:gd name="T46" fmla="*/ 91 w 134"/>
              <a:gd name="T47" fmla="*/ 107 h 117"/>
              <a:gd name="T48" fmla="*/ 97 w 134"/>
              <a:gd name="T49" fmla="*/ 103 h 117"/>
              <a:gd name="T50" fmla="*/ 90 w 134"/>
              <a:gd name="T51" fmla="*/ 90 h 117"/>
              <a:gd name="T52" fmla="*/ 85 w 134"/>
              <a:gd name="T53" fmla="*/ 85 h 117"/>
              <a:gd name="T54" fmla="*/ 92 w 134"/>
              <a:gd name="T55" fmla="*/ 84 h 117"/>
              <a:gd name="T56" fmla="*/ 98 w 134"/>
              <a:gd name="T57" fmla="*/ 85 h 117"/>
              <a:gd name="T58" fmla="*/ 104 w 134"/>
              <a:gd name="T59" fmla="*/ 87 h 117"/>
              <a:gd name="T60" fmla="*/ 107 w 134"/>
              <a:gd name="T61" fmla="*/ 83 h 117"/>
              <a:gd name="T62" fmla="*/ 121 w 134"/>
              <a:gd name="T63" fmla="*/ 79 h 117"/>
              <a:gd name="T64" fmla="*/ 124 w 134"/>
              <a:gd name="T65" fmla="*/ 78 h 117"/>
              <a:gd name="T66" fmla="*/ 126 w 134"/>
              <a:gd name="T67" fmla="*/ 75 h 117"/>
              <a:gd name="T68" fmla="*/ 124 w 134"/>
              <a:gd name="T69" fmla="*/ 72 h 117"/>
              <a:gd name="T70" fmla="*/ 121 w 134"/>
              <a:gd name="T71" fmla="*/ 63 h 117"/>
              <a:gd name="T72" fmla="*/ 122 w 134"/>
              <a:gd name="T73" fmla="*/ 57 h 117"/>
              <a:gd name="T74" fmla="*/ 126 w 134"/>
              <a:gd name="T75" fmla="*/ 56 h 117"/>
              <a:gd name="T76" fmla="*/ 129 w 134"/>
              <a:gd name="T77" fmla="*/ 55 h 117"/>
              <a:gd name="T78" fmla="*/ 128 w 134"/>
              <a:gd name="T79" fmla="*/ 54 h 117"/>
              <a:gd name="T80" fmla="*/ 126 w 134"/>
              <a:gd name="T81" fmla="*/ 50 h 117"/>
              <a:gd name="T82" fmla="*/ 132 w 134"/>
              <a:gd name="T83" fmla="*/ 43 h 117"/>
              <a:gd name="T84" fmla="*/ 132 w 134"/>
              <a:gd name="T85" fmla="*/ 38 h 117"/>
              <a:gd name="T86" fmla="*/ 117 w 134"/>
              <a:gd name="T87" fmla="*/ 38 h 117"/>
              <a:gd name="T88" fmla="*/ 126 w 134"/>
              <a:gd name="T89" fmla="*/ 31 h 117"/>
              <a:gd name="T90" fmla="*/ 112 w 134"/>
              <a:gd name="T91" fmla="*/ 25 h 117"/>
              <a:gd name="T92" fmla="*/ 103 w 134"/>
              <a:gd name="T93" fmla="*/ 23 h 117"/>
              <a:gd name="T94" fmla="*/ 105 w 134"/>
              <a:gd name="T95" fmla="*/ 20 h 117"/>
              <a:gd name="T96" fmla="*/ 92 w 134"/>
              <a:gd name="T97" fmla="*/ 17 h 117"/>
              <a:gd name="T98" fmla="*/ 80 w 134"/>
              <a:gd name="T99" fmla="*/ 23 h 117"/>
              <a:gd name="T100" fmla="*/ 61 w 134"/>
              <a:gd name="T101" fmla="*/ 19 h 117"/>
              <a:gd name="T102" fmla="*/ 45 w 134"/>
              <a:gd name="T103" fmla="*/ 10 h 117"/>
              <a:gd name="T104" fmla="*/ 29 w 134"/>
              <a:gd name="T105" fmla="*/ 5 h 117"/>
              <a:gd name="T106" fmla="*/ 32 w 134"/>
              <a:gd name="T107" fmla="*/ 9 h 117"/>
              <a:gd name="T108" fmla="*/ 113 w 134"/>
              <a:gd name="T109" fmla="*/ 2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 h="117">
                <a:moveTo>
                  <a:pt x="17" y="14"/>
                </a:moveTo>
                <a:cubicBezTo>
                  <a:pt x="14" y="16"/>
                  <a:pt x="20" y="24"/>
                  <a:pt x="20" y="26"/>
                </a:cubicBezTo>
                <a:cubicBezTo>
                  <a:pt x="21" y="29"/>
                  <a:pt x="22" y="31"/>
                  <a:pt x="19" y="32"/>
                </a:cubicBezTo>
                <a:cubicBezTo>
                  <a:pt x="19" y="33"/>
                  <a:pt x="17" y="34"/>
                  <a:pt x="16" y="34"/>
                </a:cubicBezTo>
                <a:cubicBezTo>
                  <a:pt x="16" y="34"/>
                  <a:pt x="15" y="34"/>
                  <a:pt x="15" y="34"/>
                </a:cubicBezTo>
                <a:cubicBezTo>
                  <a:pt x="14" y="33"/>
                  <a:pt x="14" y="32"/>
                  <a:pt x="14" y="31"/>
                </a:cubicBezTo>
                <a:cubicBezTo>
                  <a:pt x="14" y="30"/>
                  <a:pt x="14" y="30"/>
                  <a:pt x="13" y="30"/>
                </a:cubicBezTo>
                <a:cubicBezTo>
                  <a:pt x="12" y="29"/>
                  <a:pt x="11" y="27"/>
                  <a:pt x="11" y="27"/>
                </a:cubicBezTo>
                <a:cubicBezTo>
                  <a:pt x="10" y="25"/>
                  <a:pt x="11" y="25"/>
                  <a:pt x="12" y="23"/>
                </a:cubicBezTo>
                <a:cubicBezTo>
                  <a:pt x="12" y="22"/>
                  <a:pt x="14" y="21"/>
                  <a:pt x="14" y="20"/>
                </a:cubicBezTo>
                <a:cubicBezTo>
                  <a:pt x="15" y="18"/>
                  <a:pt x="15" y="18"/>
                  <a:pt x="15" y="16"/>
                </a:cubicBezTo>
                <a:cubicBezTo>
                  <a:pt x="15" y="15"/>
                  <a:pt x="15" y="14"/>
                  <a:pt x="14" y="14"/>
                </a:cubicBezTo>
                <a:cubicBezTo>
                  <a:pt x="14" y="14"/>
                  <a:pt x="15" y="14"/>
                  <a:pt x="15" y="14"/>
                </a:cubicBezTo>
                <a:cubicBezTo>
                  <a:pt x="14" y="13"/>
                  <a:pt x="13" y="12"/>
                  <a:pt x="12" y="10"/>
                </a:cubicBezTo>
                <a:cubicBezTo>
                  <a:pt x="12" y="10"/>
                  <a:pt x="12" y="9"/>
                  <a:pt x="12" y="9"/>
                </a:cubicBezTo>
                <a:cubicBezTo>
                  <a:pt x="12" y="9"/>
                  <a:pt x="12" y="9"/>
                  <a:pt x="11" y="10"/>
                </a:cubicBezTo>
                <a:cubicBezTo>
                  <a:pt x="11" y="10"/>
                  <a:pt x="11" y="11"/>
                  <a:pt x="11" y="11"/>
                </a:cubicBezTo>
                <a:cubicBezTo>
                  <a:pt x="10" y="12"/>
                  <a:pt x="10" y="12"/>
                  <a:pt x="10" y="12"/>
                </a:cubicBezTo>
                <a:cubicBezTo>
                  <a:pt x="9" y="13"/>
                  <a:pt x="9" y="13"/>
                  <a:pt x="8" y="13"/>
                </a:cubicBezTo>
                <a:cubicBezTo>
                  <a:pt x="8" y="13"/>
                  <a:pt x="7" y="14"/>
                  <a:pt x="7" y="14"/>
                </a:cubicBezTo>
                <a:cubicBezTo>
                  <a:pt x="7" y="14"/>
                  <a:pt x="6" y="15"/>
                  <a:pt x="6" y="16"/>
                </a:cubicBezTo>
                <a:cubicBezTo>
                  <a:pt x="5" y="16"/>
                  <a:pt x="5" y="16"/>
                  <a:pt x="5" y="16"/>
                </a:cubicBezTo>
                <a:cubicBezTo>
                  <a:pt x="5" y="17"/>
                  <a:pt x="5" y="17"/>
                  <a:pt x="5" y="18"/>
                </a:cubicBezTo>
                <a:cubicBezTo>
                  <a:pt x="4" y="18"/>
                  <a:pt x="4" y="18"/>
                  <a:pt x="4" y="18"/>
                </a:cubicBezTo>
                <a:cubicBezTo>
                  <a:pt x="4" y="18"/>
                  <a:pt x="4" y="18"/>
                  <a:pt x="4" y="18"/>
                </a:cubicBezTo>
                <a:cubicBezTo>
                  <a:pt x="5" y="18"/>
                  <a:pt x="5" y="18"/>
                  <a:pt x="5" y="18"/>
                </a:cubicBezTo>
                <a:cubicBezTo>
                  <a:pt x="4" y="19"/>
                  <a:pt x="4" y="19"/>
                  <a:pt x="3" y="20"/>
                </a:cubicBezTo>
                <a:cubicBezTo>
                  <a:pt x="3" y="21"/>
                  <a:pt x="3" y="21"/>
                  <a:pt x="3" y="22"/>
                </a:cubicBezTo>
                <a:cubicBezTo>
                  <a:pt x="3" y="23"/>
                  <a:pt x="3" y="23"/>
                  <a:pt x="3" y="23"/>
                </a:cubicBezTo>
                <a:cubicBezTo>
                  <a:pt x="3" y="23"/>
                  <a:pt x="3" y="24"/>
                  <a:pt x="3" y="25"/>
                </a:cubicBezTo>
                <a:cubicBezTo>
                  <a:pt x="3" y="25"/>
                  <a:pt x="2" y="26"/>
                  <a:pt x="2" y="26"/>
                </a:cubicBezTo>
                <a:cubicBezTo>
                  <a:pt x="2" y="27"/>
                  <a:pt x="1" y="29"/>
                  <a:pt x="0" y="30"/>
                </a:cubicBezTo>
                <a:cubicBezTo>
                  <a:pt x="0" y="30"/>
                  <a:pt x="1" y="30"/>
                  <a:pt x="1" y="30"/>
                </a:cubicBezTo>
                <a:cubicBezTo>
                  <a:pt x="2" y="29"/>
                  <a:pt x="2" y="29"/>
                  <a:pt x="2" y="29"/>
                </a:cubicBezTo>
                <a:cubicBezTo>
                  <a:pt x="3" y="31"/>
                  <a:pt x="3" y="31"/>
                  <a:pt x="3" y="31"/>
                </a:cubicBezTo>
                <a:cubicBezTo>
                  <a:pt x="3" y="31"/>
                  <a:pt x="3" y="31"/>
                  <a:pt x="3" y="32"/>
                </a:cubicBezTo>
                <a:cubicBezTo>
                  <a:pt x="3" y="32"/>
                  <a:pt x="3" y="32"/>
                  <a:pt x="3" y="32"/>
                </a:cubicBezTo>
                <a:cubicBezTo>
                  <a:pt x="3" y="32"/>
                  <a:pt x="3" y="32"/>
                  <a:pt x="3" y="32"/>
                </a:cubicBezTo>
                <a:cubicBezTo>
                  <a:pt x="3" y="32"/>
                  <a:pt x="3" y="32"/>
                  <a:pt x="3" y="32"/>
                </a:cubicBezTo>
                <a:cubicBezTo>
                  <a:pt x="3" y="32"/>
                  <a:pt x="3" y="32"/>
                  <a:pt x="3" y="32"/>
                </a:cubicBezTo>
                <a:cubicBezTo>
                  <a:pt x="3" y="32"/>
                  <a:pt x="3" y="32"/>
                  <a:pt x="3" y="32"/>
                </a:cubicBezTo>
                <a:cubicBezTo>
                  <a:pt x="4" y="32"/>
                  <a:pt x="5" y="32"/>
                  <a:pt x="5" y="33"/>
                </a:cubicBezTo>
                <a:cubicBezTo>
                  <a:pt x="5" y="34"/>
                  <a:pt x="6" y="35"/>
                  <a:pt x="6" y="36"/>
                </a:cubicBezTo>
                <a:cubicBezTo>
                  <a:pt x="8" y="39"/>
                  <a:pt x="8" y="39"/>
                  <a:pt x="8" y="39"/>
                </a:cubicBezTo>
                <a:cubicBezTo>
                  <a:pt x="8" y="40"/>
                  <a:pt x="9" y="42"/>
                  <a:pt x="9" y="43"/>
                </a:cubicBezTo>
                <a:cubicBezTo>
                  <a:pt x="9" y="44"/>
                  <a:pt x="9" y="44"/>
                  <a:pt x="9" y="44"/>
                </a:cubicBezTo>
                <a:cubicBezTo>
                  <a:pt x="9" y="44"/>
                  <a:pt x="9" y="44"/>
                  <a:pt x="9" y="44"/>
                </a:cubicBezTo>
                <a:cubicBezTo>
                  <a:pt x="9" y="44"/>
                  <a:pt x="9" y="45"/>
                  <a:pt x="9" y="45"/>
                </a:cubicBezTo>
                <a:cubicBezTo>
                  <a:pt x="8" y="46"/>
                  <a:pt x="8" y="47"/>
                  <a:pt x="8" y="49"/>
                </a:cubicBezTo>
                <a:cubicBezTo>
                  <a:pt x="8" y="49"/>
                  <a:pt x="8" y="49"/>
                  <a:pt x="8" y="49"/>
                </a:cubicBezTo>
                <a:cubicBezTo>
                  <a:pt x="8" y="49"/>
                  <a:pt x="8" y="49"/>
                  <a:pt x="9" y="49"/>
                </a:cubicBezTo>
                <a:cubicBezTo>
                  <a:pt x="9" y="50"/>
                  <a:pt x="11" y="50"/>
                  <a:pt x="11" y="51"/>
                </a:cubicBezTo>
                <a:cubicBezTo>
                  <a:pt x="11" y="51"/>
                  <a:pt x="11" y="51"/>
                  <a:pt x="11" y="51"/>
                </a:cubicBezTo>
                <a:cubicBezTo>
                  <a:pt x="11" y="51"/>
                  <a:pt x="11" y="51"/>
                  <a:pt x="11" y="51"/>
                </a:cubicBezTo>
                <a:cubicBezTo>
                  <a:pt x="11" y="52"/>
                  <a:pt x="12" y="52"/>
                  <a:pt x="12" y="52"/>
                </a:cubicBezTo>
                <a:cubicBezTo>
                  <a:pt x="12" y="53"/>
                  <a:pt x="12" y="53"/>
                  <a:pt x="12" y="53"/>
                </a:cubicBezTo>
                <a:cubicBezTo>
                  <a:pt x="12" y="53"/>
                  <a:pt x="12" y="53"/>
                  <a:pt x="13" y="53"/>
                </a:cubicBezTo>
                <a:cubicBezTo>
                  <a:pt x="14" y="53"/>
                  <a:pt x="15" y="53"/>
                  <a:pt x="17" y="53"/>
                </a:cubicBezTo>
                <a:cubicBezTo>
                  <a:pt x="17" y="53"/>
                  <a:pt x="17" y="53"/>
                  <a:pt x="18" y="53"/>
                </a:cubicBezTo>
                <a:cubicBezTo>
                  <a:pt x="18" y="53"/>
                  <a:pt x="18" y="53"/>
                  <a:pt x="18" y="53"/>
                </a:cubicBezTo>
                <a:cubicBezTo>
                  <a:pt x="19" y="54"/>
                  <a:pt x="20" y="54"/>
                  <a:pt x="21" y="54"/>
                </a:cubicBezTo>
                <a:cubicBezTo>
                  <a:pt x="21" y="54"/>
                  <a:pt x="21" y="54"/>
                  <a:pt x="21" y="54"/>
                </a:cubicBezTo>
                <a:cubicBezTo>
                  <a:pt x="21" y="54"/>
                  <a:pt x="22" y="53"/>
                  <a:pt x="22" y="53"/>
                </a:cubicBezTo>
                <a:cubicBezTo>
                  <a:pt x="23" y="53"/>
                  <a:pt x="24" y="53"/>
                  <a:pt x="25" y="53"/>
                </a:cubicBezTo>
                <a:cubicBezTo>
                  <a:pt x="27" y="53"/>
                  <a:pt x="28" y="53"/>
                  <a:pt x="29" y="53"/>
                </a:cubicBezTo>
                <a:cubicBezTo>
                  <a:pt x="31" y="54"/>
                  <a:pt x="32" y="54"/>
                  <a:pt x="33" y="56"/>
                </a:cubicBezTo>
                <a:cubicBezTo>
                  <a:pt x="33" y="56"/>
                  <a:pt x="34" y="57"/>
                  <a:pt x="34" y="57"/>
                </a:cubicBezTo>
                <a:cubicBezTo>
                  <a:pt x="34" y="58"/>
                  <a:pt x="34" y="58"/>
                  <a:pt x="34" y="58"/>
                </a:cubicBezTo>
                <a:cubicBezTo>
                  <a:pt x="35" y="58"/>
                  <a:pt x="35" y="58"/>
                  <a:pt x="35" y="59"/>
                </a:cubicBezTo>
                <a:cubicBezTo>
                  <a:pt x="37" y="61"/>
                  <a:pt x="38" y="62"/>
                  <a:pt x="38" y="62"/>
                </a:cubicBezTo>
                <a:cubicBezTo>
                  <a:pt x="38" y="63"/>
                  <a:pt x="38" y="63"/>
                  <a:pt x="38" y="63"/>
                </a:cubicBezTo>
                <a:cubicBezTo>
                  <a:pt x="38" y="63"/>
                  <a:pt x="38" y="63"/>
                  <a:pt x="38" y="63"/>
                </a:cubicBezTo>
                <a:cubicBezTo>
                  <a:pt x="39" y="63"/>
                  <a:pt x="40" y="62"/>
                  <a:pt x="41" y="62"/>
                </a:cubicBezTo>
                <a:cubicBezTo>
                  <a:pt x="41" y="62"/>
                  <a:pt x="41" y="62"/>
                  <a:pt x="41" y="62"/>
                </a:cubicBezTo>
                <a:cubicBezTo>
                  <a:pt x="41" y="62"/>
                  <a:pt x="42" y="62"/>
                  <a:pt x="42" y="62"/>
                </a:cubicBezTo>
                <a:cubicBezTo>
                  <a:pt x="43" y="62"/>
                  <a:pt x="44" y="62"/>
                  <a:pt x="45" y="62"/>
                </a:cubicBezTo>
                <a:cubicBezTo>
                  <a:pt x="47" y="62"/>
                  <a:pt x="47" y="62"/>
                  <a:pt x="47" y="62"/>
                </a:cubicBezTo>
                <a:cubicBezTo>
                  <a:pt x="47" y="61"/>
                  <a:pt x="48" y="61"/>
                  <a:pt x="48" y="61"/>
                </a:cubicBezTo>
                <a:cubicBezTo>
                  <a:pt x="49" y="61"/>
                  <a:pt x="49" y="61"/>
                  <a:pt x="49" y="61"/>
                </a:cubicBezTo>
                <a:cubicBezTo>
                  <a:pt x="51" y="61"/>
                  <a:pt x="53" y="61"/>
                  <a:pt x="55" y="61"/>
                </a:cubicBezTo>
                <a:cubicBezTo>
                  <a:pt x="58" y="61"/>
                  <a:pt x="59" y="63"/>
                  <a:pt x="59" y="64"/>
                </a:cubicBezTo>
                <a:cubicBezTo>
                  <a:pt x="60" y="65"/>
                  <a:pt x="59" y="66"/>
                  <a:pt x="59" y="67"/>
                </a:cubicBezTo>
                <a:cubicBezTo>
                  <a:pt x="58" y="68"/>
                  <a:pt x="58" y="68"/>
                  <a:pt x="57" y="69"/>
                </a:cubicBezTo>
                <a:cubicBezTo>
                  <a:pt x="57" y="69"/>
                  <a:pt x="57" y="69"/>
                  <a:pt x="57" y="69"/>
                </a:cubicBezTo>
                <a:cubicBezTo>
                  <a:pt x="57" y="69"/>
                  <a:pt x="57" y="70"/>
                  <a:pt x="57" y="70"/>
                </a:cubicBezTo>
                <a:cubicBezTo>
                  <a:pt x="57" y="70"/>
                  <a:pt x="57" y="70"/>
                  <a:pt x="57" y="70"/>
                </a:cubicBezTo>
                <a:cubicBezTo>
                  <a:pt x="56" y="71"/>
                  <a:pt x="56" y="71"/>
                  <a:pt x="56" y="71"/>
                </a:cubicBezTo>
                <a:cubicBezTo>
                  <a:pt x="56" y="71"/>
                  <a:pt x="55" y="72"/>
                  <a:pt x="55" y="72"/>
                </a:cubicBezTo>
                <a:cubicBezTo>
                  <a:pt x="55" y="73"/>
                  <a:pt x="55" y="73"/>
                  <a:pt x="55" y="73"/>
                </a:cubicBezTo>
                <a:cubicBezTo>
                  <a:pt x="55" y="74"/>
                  <a:pt x="55" y="75"/>
                  <a:pt x="55" y="76"/>
                </a:cubicBezTo>
                <a:cubicBezTo>
                  <a:pt x="55" y="76"/>
                  <a:pt x="55" y="76"/>
                  <a:pt x="55" y="76"/>
                </a:cubicBezTo>
                <a:cubicBezTo>
                  <a:pt x="55" y="77"/>
                  <a:pt x="55" y="78"/>
                  <a:pt x="55" y="79"/>
                </a:cubicBezTo>
                <a:cubicBezTo>
                  <a:pt x="55" y="79"/>
                  <a:pt x="55" y="79"/>
                  <a:pt x="55" y="79"/>
                </a:cubicBezTo>
                <a:cubicBezTo>
                  <a:pt x="55" y="80"/>
                  <a:pt x="55" y="80"/>
                  <a:pt x="55" y="80"/>
                </a:cubicBezTo>
                <a:cubicBezTo>
                  <a:pt x="55" y="80"/>
                  <a:pt x="55" y="80"/>
                  <a:pt x="55" y="81"/>
                </a:cubicBezTo>
                <a:cubicBezTo>
                  <a:pt x="55" y="82"/>
                  <a:pt x="56" y="83"/>
                  <a:pt x="56" y="84"/>
                </a:cubicBezTo>
                <a:cubicBezTo>
                  <a:pt x="57" y="85"/>
                  <a:pt x="57" y="85"/>
                  <a:pt x="57" y="86"/>
                </a:cubicBezTo>
                <a:cubicBezTo>
                  <a:pt x="57" y="86"/>
                  <a:pt x="57" y="87"/>
                  <a:pt x="58" y="87"/>
                </a:cubicBezTo>
                <a:cubicBezTo>
                  <a:pt x="58" y="87"/>
                  <a:pt x="58" y="87"/>
                  <a:pt x="58" y="87"/>
                </a:cubicBezTo>
                <a:cubicBezTo>
                  <a:pt x="58" y="87"/>
                  <a:pt x="58" y="87"/>
                  <a:pt x="58" y="87"/>
                </a:cubicBezTo>
                <a:cubicBezTo>
                  <a:pt x="59" y="88"/>
                  <a:pt x="59" y="89"/>
                  <a:pt x="60" y="90"/>
                </a:cubicBezTo>
                <a:cubicBezTo>
                  <a:pt x="60" y="90"/>
                  <a:pt x="60" y="90"/>
                  <a:pt x="60" y="90"/>
                </a:cubicBezTo>
                <a:cubicBezTo>
                  <a:pt x="60" y="90"/>
                  <a:pt x="61" y="91"/>
                  <a:pt x="61" y="91"/>
                </a:cubicBezTo>
                <a:cubicBezTo>
                  <a:pt x="61" y="91"/>
                  <a:pt x="61" y="92"/>
                  <a:pt x="60" y="92"/>
                </a:cubicBezTo>
                <a:cubicBezTo>
                  <a:pt x="60" y="92"/>
                  <a:pt x="60" y="92"/>
                  <a:pt x="60" y="92"/>
                </a:cubicBezTo>
                <a:cubicBezTo>
                  <a:pt x="60" y="93"/>
                  <a:pt x="59" y="94"/>
                  <a:pt x="59" y="95"/>
                </a:cubicBezTo>
                <a:cubicBezTo>
                  <a:pt x="59" y="95"/>
                  <a:pt x="59" y="95"/>
                  <a:pt x="59" y="95"/>
                </a:cubicBezTo>
                <a:cubicBezTo>
                  <a:pt x="58" y="95"/>
                  <a:pt x="58" y="95"/>
                  <a:pt x="58" y="95"/>
                </a:cubicBezTo>
                <a:cubicBezTo>
                  <a:pt x="58" y="95"/>
                  <a:pt x="58" y="95"/>
                  <a:pt x="58" y="95"/>
                </a:cubicBezTo>
                <a:cubicBezTo>
                  <a:pt x="57" y="95"/>
                  <a:pt x="57" y="95"/>
                  <a:pt x="57" y="95"/>
                </a:cubicBezTo>
                <a:cubicBezTo>
                  <a:pt x="57" y="96"/>
                  <a:pt x="57" y="96"/>
                  <a:pt x="56" y="97"/>
                </a:cubicBezTo>
                <a:cubicBezTo>
                  <a:pt x="56" y="97"/>
                  <a:pt x="56" y="97"/>
                  <a:pt x="56" y="97"/>
                </a:cubicBezTo>
                <a:cubicBezTo>
                  <a:pt x="57" y="97"/>
                  <a:pt x="57" y="97"/>
                  <a:pt x="57" y="97"/>
                </a:cubicBezTo>
                <a:cubicBezTo>
                  <a:pt x="57" y="97"/>
                  <a:pt x="57" y="97"/>
                  <a:pt x="57" y="97"/>
                </a:cubicBezTo>
                <a:cubicBezTo>
                  <a:pt x="58" y="98"/>
                  <a:pt x="58" y="98"/>
                  <a:pt x="58" y="98"/>
                </a:cubicBezTo>
                <a:cubicBezTo>
                  <a:pt x="58" y="98"/>
                  <a:pt x="59" y="99"/>
                  <a:pt x="59" y="99"/>
                </a:cubicBezTo>
                <a:cubicBezTo>
                  <a:pt x="60" y="100"/>
                  <a:pt x="60" y="101"/>
                  <a:pt x="61" y="101"/>
                </a:cubicBezTo>
                <a:cubicBezTo>
                  <a:pt x="62" y="103"/>
                  <a:pt x="63" y="106"/>
                  <a:pt x="64" y="109"/>
                </a:cubicBezTo>
                <a:cubicBezTo>
                  <a:pt x="64" y="109"/>
                  <a:pt x="64" y="110"/>
                  <a:pt x="64" y="110"/>
                </a:cubicBezTo>
                <a:cubicBezTo>
                  <a:pt x="64" y="111"/>
                  <a:pt x="64" y="111"/>
                  <a:pt x="64" y="112"/>
                </a:cubicBezTo>
                <a:cubicBezTo>
                  <a:pt x="64" y="112"/>
                  <a:pt x="64" y="112"/>
                  <a:pt x="64" y="112"/>
                </a:cubicBezTo>
                <a:cubicBezTo>
                  <a:pt x="65" y="112"/>
                  <a:pt x="65" y="112"/>
                  <a:pt x="65" y="113"/>
                </a:cubicBezTo>
                <a:cubicBezTo>
                  <a:pt x="65" y="113"/>
                  <a:pt x="65" y="113"/>
                  <a:pt x="65" y="113"/>
                </a:cubicBezTo>
                <a:cubicBezTo>
                  <a:pt x="65" y="113"/>
                  <a:pt x="65" y="113"/>
                  <a:pt x="66" y="113"/>
                </a:cubicBezTo>
                <a:cubicBezTo>
                  <a:pt x="66" y="114"/>
                  <a:pt x="66" y="114"/>
                  <a:pt x="66" y="114"/>
                </a:cubicBezTo>
                <a:cubicBezTo>
                  <a:pt x="66" y="114"/>
                  <a:pt x="66" y="114"/>
                  <a:pt x="66" y="114"/>
                </a:cubicBezTo>
                <a:cubicBezTo>
                  <a:pt x="67" y="115"/>
                  <a:pt x="67" y="115"/>
                  <a:pt x="67" y="115"/>
                </a:cubicBezTo>
                <a:cubicBezTo>
                  <a:pt x="67" y="115"/>
                  <a:pt x="68" y="115"/>
                  <a:pt x="69" y="116"/>
                </a:cubicBezTo>
                <a:cubicBezTo>
                  <a:pt x="70" y="117"/>
                  <a:pt x="70" y="117"/>
                  <a:pt x="71" y="117"/>
                </a:cubicBezTo>
                <a:cubicBezTo>
                  <a:pt x="71" y="117"/>
                  <a:pt x="71" y="117"/>
                  <a:pt x="71" y="117"/>
                </a:cubicBezTo>
                <a:cubicBezTo>
                  <a:pt x="71" y="117"/>
                  <a:pt x="72" y="117"/>
                  <a:pt x="73" y="117"/>
                </a:cubicBezTo>
                <a:cubicBezTo>
                  <a:pt x="73" y="116"/>
                  <a:pt x="73" y="116"/>
                  <a:pt x="73" y="116"/>
                </a:cubicBezTo>
                <a:cubicBezTo>
                  <a:pt x="75" y="116"/>
                  <a:pt x="76" y="115"/>
                  <a:pt x="77" y="115"/>
                </a:cubicBezTo>
                <a:cubicBezTo>
                  <a:pt x="78" y="115"/>
                  <a:pt x="78" y="116"/>
                  <a:pt x="79" y="116"/>
                </a:cubicBezTo>
                <a:cubicBezTo>
                  <a:pt x="79" y="116"/>
                  <a:pt x="79" y="116"/>
                  <a:pt x="79" y="116"/>
                </a:cubicBezTo>
                <a:cubicBezTo>
                  <a:pt x="79" y="116"/>
                  <a:pt x="80" y="115"/>
                  <a:pt x="80" y="115"/>
                </a:cubicBezTo>
                <a:cubicBezTo>
                  <a:pt x="81" y="113"/>
                  <a:pt x="82" y="113"/>
                  <a:pt x="84" y="112"/>
                </a:cubicBezTo>
                <a:cubicBezTo>
                  <a:pt x="84" y="112"/>
                  <a:pt x="84" y="112"/>
                  <a:pt x="84" y="112"/>
                </a:cubicBezTo>
                <a:cubicBezTo>
                  <a:pt x="85" y="112"/>
                  <a:pt x="86" y="111"/>
                  <a:pt x="87" y="111"/>
                </a:cubicBezTo>
                <a:cubicBezTo>
                  <a:pt x="87" y="111"/>
                  <a:pt x="87" y="111"/>
                  <a:pt x="87" y="111"/>
                </a:cubicBezTo>
                <a:cubicBezTo>
                  <a:pt x="88" y="110"/>
                  <a:pt x="88" y="110"/>
                  <a:pt x="89" y="110"/>
                </a:cubicBezTo>
                <a:cubicBezTo>
                  <a:pt x="90" y="109"/>
                  <a:pt x="90" y="109"/>
                  <a:pt x="90" y="109"/>
                </a:cubicBezTo>
                <a:cubicBezTo>
                  <a:pt x="91" y="109"/>
                  <a:pt x="91" y="108"/>
                  <a:pt x="91" y="107"/>
                </a:cubicBezTo>
                <a:cubicBezTo>
                  <a:pt x="91" y="107"/>
                  <a:pt x="91" y="107"/>
                  <a:pt x="91" y="107"/>
                </a:cubicBezTo>
                <a:cubicBezTo>
                  <a:pt x="91" y="107"/>
                  <a:pt x="91" y="107"/>
                  <a:pt x="91" y="107"/>
                </a:cubicBezTo>
                <a:cubicBezTo>
                  <a:pt x="91" y="106"/>
                  <a:pt x="92" y="105"/>
                  <a:pt x="93" y="105"/>
                </a:cubicBezTo>
                <a:cubicBezTo>
                  <a:pt x="94" y="104"/>
                  <a:pt x="95" y="104"/>
                  <a:pt x="96" y="103"/>
                </a:cubicBezTo>
                <a:cubicBezTo>
                  <a:pt x="97" y="103"/>
                  <a:pt x="97" y="103"/>
                  <a:pt x="97" y="103"/>
                </a:cubicBezTo>
                <a:cubicBezTo>
                  <a:pt x="97" y="103"/>
                  <a:pt x="97" y="103"/>
                  <a:pt x="97" y="103"/>
                </a:cubicBezTo>
                <a:cubicBezTo>
                  <a:pt x="97" y="103"/>
                  <a:pt x="97" y="103"/>
                  <a:pt x="97" y="103"/>
                </a:cubicBezTo>
                <a:cubicBezTo>
                  <a:pt x="93" y="102"/>
                  <a:pt x="92" y="102"/>
                  <a:pt x="92" y="101"/>
                </a:cubicBezTo>
                <a:cubicBezTo>
                  <a:pt x="91" y="100"/>
                  <a:pt x="91" y="100"/>
                  <a:pt x="92" y="99"/>
                </a:cubicBezTo>
                <a:cubicBezTo>
                  <a:pt x="92" y="99"/>
                  <a:pt x="92" y="98"/>
                  <a:pt x="92" y="98"/>
                </a:cubicBezTo>
                <a:cubicBezTo>
                  <a:pt x="92" y="97"/>
                  <a:pt x="91" y="96"/>
                  <a:pt x="91" y="95"/>
                </a:cubicBezTo>
                <a:cubicBezTo>
                  <a:pt x="90" y="94"/>
                  <a:pt x="90" y="93"/>
                  <a:pt x="90" y="91"/>
                </a:cubicBezTo>
                <a:cubicBezTo>
                  <a:pt x="90" y="91"/>
                  <a:pt x="90" y="91"/>
                  <a:pt x="90" y="90"/>
                </a:cubicBezTo>
                <a:cubicBezTo>
                  <a:pt x="90" y="90"/>
                  <a:pt x="90" y="90"/>
                  <a:pt x="90" y="90"/>
                </a:cubicBezTo>
                <a:cubicBezTo>
                  <a:pt x="90" y="90"/>
                  <a:pt x="90" y="90"/>
                  <a:pt x="90" y="90"/>
                </a:cubicBezTo>
                <a:cubicBezTo>
                  <a:pt x="89" y="89"/>
                  <a:pt x="89" y="89"/>
                  <a:pt x="88" y="89"/>
                </a:cubicBezTo>
                <a:cubicBezTo>
                  <a:pt x="88" y="88"/>
                  <a:pt x="88" y="88"/>
                  <a:pt x="87" y="88"/>
                </a:cubicBezTo>
                <a:cubicBezTo>
                  <a:pt x="87" y="87"/>
                  <a:pt x="86" y="87"/>
                  <a:pt x="86" y="86"/>
                </a:cubicBezTo>
                <a:cubicBezTo>
                  <a:pt x="85" y="85"/>
                  <a:pt x="85" y="85"/>
                  <a:pt x="85" y="85"/>
                </a:cubicBezTo>
                <a:cubicBezTo>
                  <a:pt x="85" y="84"/>
                  <a:pt x="85" y="84"/>
                  <a:pt x="85" y="84"/>
                </a:cubicBezTo>
                <a:cubicBezTo>
                  <a:pt x="82" y="83"/>
                  <a:pt x="82" y="83"/>
                  <a:pt x="82" y="83"/>
                </a:cubicBezTo>
                <a:cubicBezTo>
                  <a:pt x="85" y="82"/>
                  <a:pt x="85" y="82"/>
                  <a:pt x="85" y="82"/>
                </a:cubicBezTo>
                <a:cubicBezTo>
                  <a:pt x="85" y="82"/>
                  <a:pt x="85" y="82"/>
                  <a:pt x="86" y="82"/>
                </a:cubicBezTo>
                <a:cubicBezTo>
                  <a:pt x="88" y="81"/>
                  <a:pt x="90" y="83"/>
                  <a:pt x="91" y="84"/>
                </a:cubicBezTo>
                <a:cubicBezTo>
                  <a:pt x="92" y="84"/>
                  <a:pt x="92" y="84"/>
                  <a:pt x="92" y="84"/>
                </a:cubicBezTo>
                <a:cubicBezTo>
                  <a:pt x="92" y="84"/>
                  <a:pt x="93" y="84"/>
                  <a:pt x="93" y="85"/>
                </a:cubicBezTo>
                <a:cubicBezTo>
                  <a:pt x="93" y="85"/>
                  <a:pt x="93" y="85"/>
                  <a:pt x="93" y="85"/>
                </a:cubicBezTo>
                <a:cubicBezTo>
                  <a:pt x="93" y="85"/>
                  <a:pt x="93" y="85"/>
                  <a:pt x="94" y="85"/>
                </a:cubicBezTo>
                <a:cubicBezTo>
                  <a:pt x="94" y="85"/>
                  <a:pt x="94" y="85"/>
                  <a:pt x="94" y="85"/>
                </a:cubicBezTo>
                <a:cubicBezTo>
                  <a:pt x="94" y="85"/>
                  <a:pt x="94" y="85"/>
                  <a:pt x="94" y="85"/>
                </a:cubicBezTo>
                <a:cubicBezTo>
                  <a:pt x="96" y="85"/>
                  <a:pt x="97" y="84"/>
                  <a:pt x="98" y="85"/>
                </a:cubicBezTo>
                <a:cubicBezTo>
                  <a:pt x="98" y="85"/>
                  <a:pt x="98" y="84"/>
                  <a:pt x="99" y="84"/>
                </a:cubicBezTo>
                <a:cubicBezTo>
                  <a:pt x="100" y="84"/>
                  <a:pt x="101" y="85"/>
                  <a:pt x="102" y="85"/>
                </a:cubicBezTo>
                <a:cubicBezTo>
                  <a:pt x="102" y="86"/>
                  <a:pt x="103" y="86"/>
                  <a:pt x="103" y="87"/>
                </a:cubicBezTo>
                <a:cubicBezTo>
                  <a:pt x="103" y="87"/>
                  <a:pt x="103" y="87"/>
                  <a:pt x="103" y="87"/>
                </a:cubicBezTo>
                <a:cubicBezTo>
                  <a:pt x="103" y="87"/>
                  <a:pt x="104" y="88"/>
                  <a:pt x="104" y="88"/>
                </a:cubicBezTo>
                <a:cubicBezTo>
                  <a:pt x="104" y="88"/>
                  <a:pt x="104" y="88"/>
                  <a:pt x="104" y="87"/>
                </a:cubicBezTo>
                <a:cubicBezTo>
                  <a:pt x="104" y="87"/>
                  <a:pt x="104" y="87"/>
                  <a:pt x="104" y="87"/>
                </a:cubicBezTo>
                <a:cubicBezTo>
                  <a:pt x="104" y="87"/>
                  <a:pt x="104" y="87"/>
                  <a:pt x="104" y="87"/>
                </a:cubicBezTo>
                <a:cubicBezTo>
                  <a:pt x="104" y="86"/>
                  <a:pt x="104" y="86"/>
                  <a:pt x="104" y="86"/>
                </a:cubicBezTo>
                <a:cubicBezTo>
                  <a:pt x="104" y="86"/>
                  <a:pt x="104" y="85"/>
                  <a:pt x="104" y="85"/>
                </a:cubicBezTo>
                <a:cubicBezTo>
                  <a:pt x="105" y="84"/>
                  <a:pt x="106" y="83"/>
                  <a:pt x="107" y="83"/>
                </a:cubicBezTo>
                <a:cubicBezTo>
                  <a:pt x="107" y="83"/>
                  <a:pt x="107" y="83"/>
                  <a:pt x="107" y="83"/>
                </a:cubicBezTo>
                <a:cubicBezTo>
                  <a:pt x="107" y="83"/>
                  <a:pt x="108" y="83"/>
                  <a:pt x="108" y="83"/>
                </a:cubicBezTo>
                <a:cubicBezTo>
                  <a:pt x="110" y="82"/>
                  <a:pt x="113" y="82"/>
                  <a:pt x="116" y="82"/>
                </a:cubicBezTo>
                <a:cubicBezTo>
                  <a:pt x="117" y="81"/>
                  <a:pt x="117" y="81"/>
                  <a:pt x="117" y="81"/>
                </a:cubicBezTo>
                <a:cubicBezTo>
                  <a:pt x="118" y="81"/>
                  <a:pt x="118" y="81"/>
                  <a:pt x="119" y="80"/>
                </a:cubicBezTo>
                <a:cubicBezTo>
                  <a:pt x="119" y="80"/>
                  <a:pt x="119" y="80"/>
                  <a:pt x="120" y="80"/>
                </a:cubicBezTo>
                <a:cubicBezTo>
                  <a:pt x="120" y="79"/>
                  <a:pt x="121" y="79"/>
                  <a:pt x="121" y="79"/>
                </a:cubicBezTo>
                <a:cubicBezTo>
                  <a:pt x="121" y="79"/>
                  <a:pt x="122" y="79"/>
                  <a:pt x="122" y="79"/>
                </a:cubicBezTo>
                <a:cubicBezTo>
                  <a:pt x="122" y="79"/>
                  <a:pt x="122" y="79"/>
                  <a:pt x="123" y="79"/>
                </a:cubicBezTo>
                <a:cubicBezTo>
                  <a:pt x="123" y="79"/>
                  <a:pt x="123" y="79"/>
                  <a:pt x="123" y="79"/>
                </a:cubicBezTo>
                <a:cubicBezTo>
                  <a:pt x="123" y="79"/>
                  <a:pt x="123" y="78"/>
                  <a:pt x="123" y="78"/>
                </a:cubicBezTo>
                <a:cubicBezTo>
                  <a:pt x="124" y="78"/>
                  <a:pt x="124" y="78"/>
                  <a:pt x="124" y="78"/>
                </a:cubicBezTo>
                <a:cubicBezTo>
                  <a:pt x="124" y="78"/>
                  <a:pt x="124" y="78"/>
                  <a:pt x="124" y="78"/>
                </a:cubicBezTo>
                <a:cubicBezTo>
                  <a:pt x="124" y="77"/>
                  <a:pt x="125" y="77"/>
                  <a:pt x="126" y="76"/>
                </a:cubicBezTo>
                <a:cubicBezTo>
                  <a:pt x="124" y="75"/>
                  <a:pt x="124" y="75"/>
                  <a:pt x="124" y="75"/>
                </a:cubicBezTo>
                <a:cubicBezTo>
                  <a:pt x="126" y="76"/>
                  <a:pt x="126" y="76"/>
                  <a:pt x="126" y="76"/>
                </a:cubicBezTo>
                <a:cubicBezTo>
                  <a:pt x="126" y="75"/>
                  <a:pt x="126" y="75"/>
                  <a:pt x="126" y="75"/>
                </a:cubicBezTo>
                <a:cubicBezTo>
                  <a:pt x="126" y="75"/>
                  <a:pt x="126" y="75"/>
                  <a:pt x="126" y="75"/>
                </a:cubicBezTo>
                <a:cubicBezTo>
                  <a:pt x="126" y="75"/>
                  <a:pt x="126" y="75"/>
                  <a:pt x="126" y="75"/>
                </a:cubicBezTo>
                <a:cubicBezTo>
                  <a:pt x="126" y="75"/>
                  <a:pt x="126" y="75"/>
                  <a:pt x="126" y="75"/>
                </a:cubicBezTo>
                <a:cubicBezTo>
                  <a:pt x="126" y="75"/>
                  <a:pt x="126" y="75"/>
                  <a:pt x="126" y="74"/>
                </a:cubicBezTo>
                <a:cubicBezTo>
                  <a:pt x="126" y="74"/>
                  <a:pt x="126" y="74"/>
                  <a:pt x="126" y="74"/>
                </a:cubicBezTo>
                <a:cubicBezTo>
                  <a:pt x="126" y="74"/>
                  <a:pt x="126" y="74"/>
                  <a:pt x="126" y="74"/>
                </a:cubicBezTo>
                <a:cubicBezTo>
                  <a:pt x="125" y="73"/>
                  <a:pt x="125" y="73"/>
                  <a:pt x="124" y="72"/>
                </a:cubicBezTo>
                <a:cubicBezTo>
                  <a:pt x="124" y="72"/>
                  <a:pt x="124" y="72"/>
                  <a:pt x="124" y="72"/>
                </a:cubicBezTo>
                <a:cubicBezTo>
                  <a:pt x="124" y="72"/>
                  <a:pt x="124" y="72"/>
                  <a:pt x="123" y="71"/>
                </a:cubicBezTo>
                <a:cubicBezTo>
                  <a:pt x="119" y="67"/>
                  <a:pt x="119" y="67"/>
                  <a:pt x="119" y="67"/>
                </a:cubicBezTo>
                <a:cubicBezTo>
                  <a:pt x="119" y="66"/>
                  <a:pt x="119" y="66"/>
                  <a:pt x="119" y="65"/>
                </a:cubicBezTo>
                <a:cubicBezTo>
                  <a:pt x="119" y="65"/>
                  <a:pt x="119" y="65"/>
                  <a:pt x="119" y="65"/>
                </a:cubicBezTo>
                <a:cubicBezTo>
                  <a:pt x="120" y="64"/>
                  <a:pt x="120" y="64"/>
                  <a:pt x="120" y="63"/>
                </a:cubicBezTo>
                <a:cubicBezTo>
                  <a:pt x="121" y="63"/>
                  <a:pt x="121" y="63"/>
                  <a:pt x="121" y="63"/>
                </a:cubicBezTo>
                <a:cubicBezTo>
                  <a:pt x="121" y="63"/>
                  <a:pt x="121" y="63"/>
                  <a:pt x="121" y="63"/>
                </a:cubicBezTo>
                <a:cubicBezTo>
                  <a:pt x="121" y="62"/>
                  <a:pt x="121" y="62"/>
                  <a:pt x="121" y="62"/>
                </a:cubicBezTo>
                <a:cubicBezTo>
                  <a:pt x="121" y="62"/>
                  <a:pt x="121" y="61"/>
                  <a:pt x="121" y="60"/>
                </a:cubicBezTo>
                <a:cubicBezTo>
                  <a:pt x="121" y="60"/>
                  <a:pt x="121" y="60"/>
                  <a:pt x="121" y="60"/>
                </a:cubicBezTo>
                <a:cubicBezTo>
                  <a:pt x="121" y="60"/>
                  <a:pt x="121" y="60"/>
                  <a:pt x="121" y="60"/>
                </a:cubicBezTo>
                <a:cubicBezTo>
                  <a:pt x="121" y="59"/>
                  <a:pt x="121" y="57"/>
                  <a:pt x="122" y="57"/>
                </a:cubicBezTo>
                <a:cubicBezTo>
                  <a:pt x="122" y="56"/>
                  <a:pt x="122" y="56"/>
                  <a:pt x="122" y="56"/>
                </a:cubicBezTo>
                <a:cubicBezTo>
                  <a:pt x="123" y="56"/>
                  <a:pt x="123" y="56"/>
                  <a:pt x="123" y="56"/>
                </a:cubicBezTo>
                <a:cubicBezTo>
                  <a:pt x="123" y="56"/>
                  <a:pt x="123" y="56"/>
                  <a:pt x="123" y="56"/>
                </a:cubicBezTo>
                <a:cubicBezTo>
                  <a:pt x="123" y="56"/>
                  <a:pt x="123" y="56"/>
                  <a:pt x="123" y="56"/>
                </a:cubicBezTo>
                <a:cubicBezTo>
                  <a:pt x="124" y="56"/>
                  <a:pt x="124" y="56"/>
                  <a:pt x="125" y="56"/>
                </a:cubicBezTo>
                <a:cubicBezTo>
                  <a:pt x="125" y="56"/>
                  <a:pt x="126" y="56"/>
                  <a:pt x="126" y="56"/>
                </a:cubicBezTo>
                <a:cubicBezTo>
                  <a:pt x="126" y="56"/>
                  <a:pt x="126" y="56"/>
                  <a:pt x="126" y="56"/>
                </a:cubicBezTo>
                <a:cubicBezTo>
                  <a:pt x="126" y="56"/>
                  <a:pt x="126" y="56"/>
                  <a:pt x="126" y="56"/>
                </a:cubicBezTo>
                <a:cubicBezTo>
                  <a:pt x="126" y="56"/>
                  <a:pt x="126" y="56"/>
                  <a:pt x="126" y="56"/>
                </a:cubicBezTo>
                <a:cubicBezTo>
                  <a:pt x="127" y="56"/>
                  <a:pt x="127" y="55"/>
                  <a:pt x="128" y="55"/>
                </a:cubicBezTo>
                <a:cubicBezTo>
                  <a:pt x="129" y="55"/>
                  <a:pt x="129" y="55"/>
                  <a:pt x="129" y="55"/>
                </a:cubicBezTo>
                <a:cubicBezTo>
                  <a:pt x="129" y="55"/>
                  <a:pt x="129" y="55"/>
                  <a:pt x="129" y="55"/>
                </a:cubicBezTo>
                <a:cubicBezTo>
                  <a:pt x="129" y="54"/>
                  <a:pt x="129" y="54"/>
                  <a:pt x="129" y="54"/>
                </a:cubicBezTo>
                <a:cubicBezTo>
                  <a:pt x="129" y="54"/>
                  <a:pt x="129" y="54"/>
                  <a:pt x="130" y="54"/>
                </a:cubicBezTo>
                <a:cubicBezTo>
                  <a:pt x="129" y="54"/>
                  <a:pt x="129" y="54"/>
                  <a:pt x="129" y="54"/>
                </a:cubicBezTo>
                <a:cubicBezTo>
                  <a:pt x="129" y="54"/>
                  <a:pt x="129" y="54"/>
                  <a:pt x="129" y="54"/>
                </a:cubicBezTo>
                <a:cubicBezTo>
                  <a:pt x="129" y="54"/>
                  <a:pt x="128" y="54"/>
                  <a:pt x="128" y="54"/>
                </a:cubicBezTo>
                <a:cubicBezTo>
                  <a:pt x="128" y="54"/>
                  <a:pt x="128" y="54"/>
                  <a:pt x="128" y="54"/>
                </a:cubicBezTo>
                <a:cubicBezTo>
                  <a:pt x="127" y="54"/>
                  <a:pt x="127" y="54"/>
                  <a:pt x="127" y="54"/>
                </a:cubicBezTo>
                <a:cubicBezTo>
                  <a:pt x="127" y="53"/>
                  <a:pt x="127" y="53"/>
                  <a:pt x="126" y="53"/>
                </a:cubicBezTo>
                <a:cubicBezTo>
                  <a:pt x="126" y="52"/>
                  <a:pt x="126" y="52"/>
                  <a:pt x="126" y="52"/>
                </a:cubicBezTo>
                <a:cubicBezTo>
                  <a:pt x="126" y="52"/>
                  <a:pt x="126" y="52"/>
                  <a:pt x="126" y="52"/>
                </a:cubicBezTo>
                <a:cubicBezTo>
                  <a:pt x="126" y="52"/>
                  <a:pt x="126" y="51"/>
                  <a:pt x="126" y="51"/>
                </a:cubicBezTo>
                <a:cubicBezTo>
                  <a:pt x="126" y="50"/>
                  <a:pt x="126" y="50"/>
                  <a:pt x="126" y="50"/>
                </a:cubicBezTo>
                <a:cubicBezTo>
                  <a:pt x="126" y="50"/>
                  <a:pt x="126" y="50"/>
                  <a:pt x="126" y="50"/>
                </a:cubicBezTo>
                <a:cubicBezTo>
                  <a:pt x="126" y="49"/>
                  <a:pt x="126" y="48"/>
                  <a:pt x="127" y="48"/>
                </a:cubicBezTo>
                <a:cubicBezTo>
                  <a:pt x="127" y="48"/>
                  <a:pt x="127" y="47"/>
                  <a:pt x="127" y="47"/>
                </a:cubicBezTo>
                <a:cubicBezTo>
                  <a:pt x="127" y="47"/>
                  <a:pt x="128" y="46"/>
                  <a:pt x="128" y="45"/>
                </a:cubicBezTo>
                <a:cubicBezTo>
                  <a:pt x="129" y="45"/>
                  <a:pt x="129" y="45"/>
                  <a:pt x="129" y="45"/>
                </a:cubicBezTo>
                <a:cubicBezTo>
                  <a:pt x="130" y="45"/>
                  <a:pt x="131" y="44"/>
                  <a:pt x="132" y="43"/>
                </a:cubicBezTo>
                <a:cubicBezTo>
                  <a:pt x="132" y="43"/>
                  <a:pt x="133" y="43"/>
                  <a:pt x="133" y="42"/>
                </a:cubicBezTo>
                <a:cubicBezTo>
                  <a:pt x="134" y="42"/>
                  <a:pt x="134" y="42"/>
                  <a:pt x="134" y="41"/>
                </a:cubicBezTo>
                <a:cubicBezTo>
                  <a:pt x="134" y="41"/>
                  <a:pt x="134" y="40"/>
                  <a:pt x="133" y="40"/>
                </a:cubicBezTo>
                <a:cubicBezTo>
                  <a:pt x="133" y="39"/>
                  <a:pt x="133" y="39"/>
                  <a:pt x="133" y="39"/>
                </a:cubicBezTo>
                <a:cubicBezTo>
                  <a:pt x="133" y="39"/>
                  <a:pt x="133" y="39"/>
                  <a:pt x="133" y="39"/>
                </a:cubicBezTo>
                <a:cubicBezTo>
                  <a:pt x="132" y="38"/>
                  <a:pt x="132" y="38"/>
                  <a:pt x="132" y="38"/>
                </a:cubicBezTo>
                <a:cubicBezTo>
                  <a:pt x="133" y="38"/>
                  <a:pt x="133" y="38"/>
                  <a:pt x="133" y="38"/>
                </a:cubicBezTo>
                <a:cubicBezTo>
                  <a:pt x="132" y="38"/>
                  <a:pt x="131" y="38"/>
                  <a:pt x="131" y="38"/>
                </a:cubicBezTo>
                <a:cubicBezTo>
                  <a:pt x="128" y="38"/>
                  <a:pt x="126" y="39"/>
                  <a:pt x="123" y="40"/>
                </a:cubicBezTo>
                <a:cubicBezTo>
                  <a:pt x="123" y="40"/>
                  <a:pt x="124" y="40"/>
                  <a:pt x="124" y="39"/>
                </a:cubicBezTo>
                <a:cubicBezTo>
                  <a:pt x="123" y="40"/>
                  <a:pt x="122" y="40"/>
                  <a:pt x="121" y="40"/>
                </a:cubicBezTo>
                <a:cubicBezTo>
                  <a:pt x="120" y="40"/>
                  <a:pt x="118" y="39"/>
                  <a:pt x="117" y="38"/>
                </a:cubicBezTo>
                <a:cubicBezTo>
                  <a:pt x="117" y="38"/>
                  <a:pt x="118" y="38"/>
                  <a:pt x="119" y="38"/>
                </a:cubicBezTo>
                <a:cubicBezTo>
                  <a:pt x="119" y="38"/>
                  <a:pt x="119" y="38"/>
                  <a:pt x="120" y="38"/>
                </a:cubicBezTo>
                <a:cubicBezTo>
                  <a:pt x="120" y="38"/>
                  <a:pt x="121" y="39"/>
                  <a:pt x="121" y="38"/>
                </a:cubicBezTo>
                <a:cubicBezTo>
                  <a:pt x="122" y="38"/>
                  <a:pt x="123" y="34"/>
                  <a:pt x="124" y="33"/>
                </a:cubicBezTo>
                <a:cubicBezTo>
                  <a:pt x="123" y="33"/>
                  <a:pt x="123" y="34"/>
                  <a:pt x="123" y="34"/>
                </a:cubicBezTo>
                <a:cubicBezTo>
                  <a:pt x="123" y="33"/>
                  <a:pt x="125" y="31"/>
                  <a:pt x="126" y="31"/>
                </a:cubicBezTo>
                <a:cubicBezTo>
                  <a:pt x="124" y="29"/>
                  <a:pt x="121" y="28"/>
                  <a:pt x="119" y="26"/>
                </a:cubicBezTo>
                <a:cubicBezTo>
                  <a:pt x="119" y="26"/>
                  <a:pt x="118" y="25"/>
                  <a:pt x="118" y="25"/>
                </a:cubicBezTo>
                <a:cubicBezTo>
                  <a:pt x="119" y="27"/>
                  <a:pt x="116" y="26"/>
                  <a:pt x="116" y="28"/>
                </a:cubicBezTo>
                <a:cubicBezTo>
                  <a:pt x="115" y="26"/>
                  <a:pt x="114" y="25"/>
                  <a:pt x="112" y="24"/>
                </a:cubicBezTo>
                <a:cubicBezTo>
                  <a:pt x="112" y="24"/>
                  <a:pt x="112" y="25"/>
                  <a:pt x="113" y="25"/>
                </a:cubicBezTo>
                <a:cubicBezTo>
                  <a:pt x="112" y="25"/>
                  <a:pt x="112" y="25"/>
                  <a:pt x="112" y="25"/>
                </a:cubicBezTo>
                <a:cubicBezTo>
                  <a:pt x="112" y="26"/>
                  <a:pt x="112" y="26"/>
                  <a:pt x="112" y="27"/>
                </a:cubicBezTo>
                <a:cubicBezTo>
                  <a:pt x="112" y="26"/>
                  <a:pt x="112" y="25"/>
                  <a:pt x="111" y="24"/>
                </a:cubicBezTo>
                <a:cubicBezTo>
                  <a:pt x="111" y="25"/>
                  <a:pt x="111" y="26"/>
                  <a:pt x="110" y="27"/>
                </a:cubicBezTo>
                <a:cubicBezTo>
                  <a:pt x="110" y="26"/>
                  <a:pt x="109" y="24"/>
                  <a:pt x="109" y="23"/>
                </a:cubicBezTo>
                <a:cubicBezTo>
                  <a:pt x="108" y="22"/>
                  <a:pt x="109" y="21"/>
                  <a:pt x="108" y="22"/>
                </a:cubicBezTo>
                <a:cubicBezTo>
                  <a:pt x="106" y="25"/>
                  <a:pt x="106" y="23"/>
                  <a:pt x="103" y="23"/>
                </a:cubicBezTo>
                <a:cubicBezTo>
                  <a:pt x="104" y="23"/>
                  <a:pt x="104" y="23"/>
                  <a:pt x="105" y="23"/>
                </a:cubicBezTo>
                <a:cubicBezTo>
                  <a:pt x="105" y="23"/>
                  <a:pt x="105" y="23"/>
                  <a:pt x="105" y="23"/>
                </a:cubicBezTo>
                <a:cubicBezTo>
                  <a:pt x="105" y="23"/>
                  <a:pt x="106" y="23"/>
                  <a:pt x="106" y="23"/>
                </a:cubicBezTo>
                <a:cubicBezTo>
                  <a:pt x="106" y="23"/>
                  <a:pt x="107" y="23"/>
                  <a:pt x="107" y="23"/>
                </a:cubicBezTo>
                <a:cubicBezTo>
                  <a:pt x="108" y="22"/>
                  <a:pt x="105" y="20"/>
                  <a:pt x="104" y="20"/>
                </a:cubicBezTo>
                <a:cubicBezTo>
                  <a:pt x="104" y="20"/>
                  <a:pt x="105" y="20"/>
                  <a:pt x="105" y="20"/>
                </a:cubicBezTo>
                <a:cubicBezTo>
                  <a:pt x="105" y="19"/>
                  <a:pt x="104" y="19"/>
                  <a:pt x="104" y="19"/>
                </a:cubicBezTo>
                <a:cubicBezTo>
                  <a:pt x="105" y="17"/>
                  <a:pt x="107" y="19"/>
                  <a:pt x="109" y="18"/>
                </a:cubicBezTo>
                <a:cubicBezTo>
                  <a:pt x="111" y="18"/>
                  <a:pt x="113" y="17"/>
                  <a:pt x="115" y="16"/>
                </a:cubicBezTo>
                <a:cubicBezTo>
                  <a:pt x="111" y="17"/>
                  <a:pt x="106" y="17"/>
                  <a:pt x="102" y="17"/>
                </a:cubicBezTo>
                <a:cubicBezTo>
                  <a:pt x="100" y="17"/>
                  <a:pt x="96" y="18"/>
                  <a:pt x="95" y="17"/>
                </a:cubicBezTo>
                <a:cubicBezTo>
                  <a:pt x="95" y="18"/>
                  <a:pt x="93" y="17"/>
                  <a:pt x="92" y="17"/>
                </a:cubicBezTo>
                <a:cubicBezTo>
                  <a:pt x="92" y="17"/>
                  <a:pt x="91" y="17"/>
                  <a:pt x="91" y="17"/>
                </a:cubicBezTo>
                <a:cubicBezTo>
                  <a:pt x="90" y="17"/>
                  <a:pt x="91" y="18"/>
                  <a:pt x="92" y="18"/>
                </a:cubicBezTo>
                <a:cubicBezTo>
                  <a:pt x="93" y="19"/>
                  <a:pt x="95" y="18"/>
                  <a:pt x="96" y="19"/>
                </a:cubicBezTo>
                <a:cubicBezTo>
                  <a:pt x="93" y="19"/>
                  <a:pt x="91" y="20"/>
                  <a:pt x="88" y="21"/>
                </a:cubicBezTo>
                <a:cubicBezTo>
                  <a:pt x="87" y="22"/>
                  <a:pt x="85" y="22"/>
                  <a:pt x="84" y="23"/>
                </a:cubicBezTo>
                <a:cubicBezTo>
                  <a:pt x="83" y="23"/>
                  <a:pt x="81" y="23"/>
                  <a:pt x="80" y="23"/>
                </a:cubicBezTo>
                <a:cubicBezTo>
                  <a:pt x="78" y="22"/>
                  <a:pt x="76" y="22"/>
                  <a:pt x="75" y="21"/>
                </a:cubicBezTo>
                <a:cubicBezTo>
                  <a:pt x="73" y="21"/>
                  <a:pt x="72" y="19"/>
                  <a:pt x="72" y="18"/>
                </a:cubicBezTo>
                <a:cubicBezTo>
                  <a:pt x="70" y="17"/>
                  <a:pt x="68" y="18"/>
                  <a:pt x="66" y="18"/>
                </a:cubicBezTo>
                <a:cubicBezTo>
                  <a:pt x="66" y="18"/>
                  <a:pt x="66" y="18"/>
                  <a:pt x="66" y="19"/>
                </a:cubicBezTo>
                <a:cubicBezTo>
                  <a:pt x="66" y="20"/>
                  <a:pt x="65" y="22"/>
                  <a:pt x="63" y="22"/>
                </a:cubicBezTo>
                <a:cubicBezTo>
                  <a:pt x="62" y="22"/>
                  <a:pt x="61" y="20"/>
                  <a:pt x="61" y="19"/>
                </a:cubicBezTo>
                <a:cubicBezTo>
                  <a:pt x="61" y="19"/>
                  <a:pt x="61" y="18"/>
                  <a:pt x="61" y="18"/>
                </a:cubicBezTo>
                <a:cubicBezTo>
                  <a:pt x="59" y="18"/>
                  <a:pt x="58" y="18"/>
                  <a:pt x="56" y="19"/>
                </a:cubicBezTo>
                <a:cubicBezTo>
                  <a:pt x="55" y="19"/>
                  <a:pt x="54" y="19"/>
                  <a:pt x="52" y="19"/>
                </a:cubicBezTo>
                <a:cubicBezTo>
                  <a:pt x="50" y="18"/>
                  <a:pt x="50" y="18"/>
                  <a:pt x="49" y="16"/>
                </a:cubicBezTo>
                <a:cubicBezTo>
                  <a:pt x="49" y="15"/>
                  <a:pt x="49" y="13"/>
                  <a:pt x="48" y="12"/>
                </a:cubicBezTo>
                <a:cubicBezTo>
                  <a:pt x="47" y="12"/>
                  <a:pt x="46" y="10"/>
                  <a:pt x="45" y="10"/>
                </a:cubicBezTo>
                <a:cubicBezTo>
                  <a:pt x="43" y="10"/>
                  <a:pt x="41" y="9"/>
                  <a:pt x="39" y="9"/>
                </a:cubicBezTo>
                <a:cubicBezTo>
                  <a:pt x="38" y="9"/>
                  <a:pt x="37" y="9"/>
                  <a:pt x="36" y="8"/>
                </a:cubicBezTo>
                <a:cubicBezTo>
                  <a:pt x="35" y="8"/>
                  <a:pt x="35" y="8"/>
                  <a:pt x="34" y="7"/>
                </a:cubicBezTo>
                <a:cubicBezTo>
                  <a:pt x="34" y="6"/>
                  <a:pt x="34" y="5"/>
                  <a:pt x="34" y="4"/>
                </a:cubicBezTo>
                <a:cubicBezTo>
                  <a:pt x="33" y="1"/>
                  <a:pt x="31" y="0"/>
                  <a:pt x="29" y="3"/>
                </a:cubicBezTo>
                <a:cubicBezTo>
                  <a:pt x="29" y="4"/>
                  <a:pt x="29" y="4"/>
                  <a:pt x="29" y="5"/>
                </a:cubicBezTo>
                <a:cubicBezTo>
                  <a:pt x="30" y="6"/>
                  <a:pt x="30" y="7"/>
                  <a:pt x="31" y="7"/>
                </a:cubicBezTo>
                <a:cubicBezTo>
                  <a:pt x="31" y="7"/>
                  <a:pt x="31" y="7"/>
                  <a:pt x="31" y="7"/>
                </a:cubicBezTo>
                <a:cubicBezTo>
                  <a:pt x="32" y="7"/>
                  <a:pt x="33" y="7"/>
                  <a:pt x="34" y="6"/>
                </a:cubicBezTo>
                <a:cubicBezTo>
                  <a:pt x="34" y="7"/>
                  <a:pt x="34" y="8"/>
                  <a:pt x="35" y="8"/>
                </a:cubicBezTo>
                <a:cubicBezTo>
                  <a:pt x="33" y="8"/>
                  <a:pt x="32" y="9"/>
                  <a:pt x="31" y="8"/>
                </a:cubicBezTo>
                <a:cubicBezTo>
                  <a:pt x="31" y="8"/>
                  <a:pt x="31" y="8"/>
                  <a:pt x="32" y="9"/>
                </a:cubicBezTo>
                <a:cubicBezTo>
                  <a:pt x="31" y="9"/>
                  <a:pt x="30" y="9"/>
                  <a:pt x="30" y="10"/>
                </a:cubicBezTo>
                <a:cubicBezTo>
                  <a:pt x="27" y="10"/>
                  <a:pt x="25" y="11"/>
                  <a:pt x="22" y="12"/>
                </a:cubicBezTo>
                <a:cubicBezTo>
                  <a:pt x="21" y="12"/>
                  <a:pt x="20" y="13"/>
                  <a:pt x="19" y="14"/>
                </a:cubicBezTo>
                <a:cubicBezTo>
                  <a:pt x="18" y="14"/>
                  <a:pt x="18" y="14"/>
                  <a:pt x="17" y="14"/>
                </a:cubicBezTo>
                <a:close/>
                <a:moveTo>
                  <a:pt x="113" y="25"/>
                </a:moveTo>
                <a:cubicBezTo>
                  <a:pt x="113" y="25"/>
                  <a:pt x="113" y="25"/>
                  <a:pt x="113" y="25"/>
                </a:cubicBezTo>
                <a:cubicBezTo>
                  <a:pt x="113" y="25"/>
                  <a:pt x="113" y="25"/>
                  <a:pt x="113" y="25"/>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3" name="Freeform 3010">
            <a:extLst>
              <a:ext uri="{FF2B5EF4-FFF2-40B4-BE49-F238E27FC236}">
                <a16:creationId xmlns:a16="http://schemas.microsoft.com/office/drawing/2014/main" id="{9BC6F787-032F-40B6-97BB-3F3459269725}"/>
              </a:ext>
            </a:extLst>
          </p:cNvPr>
          <p:cNvSpPr>
            <a:spLocks/>
          </p:cNvSpPr>
          <p:nvPr/>
        </p:nvSpPr>
        <p:spPr bwMode="auto">
          <a:xfrm>
            <a:off x="2608051" y="3639272"/>
            <a:ext cx="51538" cy="101505"/>
          </a:xfrm>
          <a:custGeom>
            <a:avLst/>
            <a:gdLst>
              <a:gd name="T0" fmla="*/ 12 w 44"/>
              <a:gd name="T1" fmla="*/ 4 h 72"/>
              <a:gd name="T2" fmla="*/ 7 w 44"/>
              <a:gd name="T3" fmla="*/ 7 h 72"/>
              <a:gd name="T4" fmla="*/ 6 w 44"/>
              <a:gd name="T5" fmla="*/ 9 h 72"/>
              <a:gd name="T6" fmla="*/ 7 w 44"/>
              <a:gd name="T7" fmla="*/ 11 h 72"/>
              <a:gd name="T8" fmla="*/ 10 w 44"/>
              <a:gd name="T9" fmla="*/ 13 h 72"/>
              <a:gd name="T10" fmla="*/ 7 w 44"/>
              <a:gd name="T11" fmla="*/ 16 h 72"/>
              <a:gd name="T12" fmla="*/ 5 w 44"/>
              <a:gd name="T13" fmla="*/ 17 h 72"/>
              <a:gd name="T14" fmla="*/ 3 w 44"/>
              <a:gd name="T15" fmla="*/ 17 h 72"/>
              <a:gd name="T16" fmla="*/ 2 w 44"/>
              <a:gd name="T17" fmla="*/ 19 h 72"/>
              <a:gd name="T18" fmla="*/ 2 w 44"/>
              <a:gd name="T19" fmla="*/ 21 h 72"/>
              <a:gd name="T20" fmla="*/ 0 w 44"/>
              <a:gd name="T21" fmla="*/ 24 h 72"/>
              <a:gd name="T22" fmla="*/ 3 w 44"/>
              <a:gd name="T23" fmla="*/ 29 h 72"/>
              <a:gd name="T24" fmla="*/ 5 w 44"/>
              <a:gd name="T25" fmla="*/ 31 h 72"/>
              <a:gd name="T26" fmla="*/ 6 w 44"/>
              <a:gd name="T27" fmla="*/ 31 h 72"/>
              <a:gd name="T28" fmla="*/ 7 w 44"/>
              <a:gd name="T29" fmla="*/ 31 h 72"/>
              <a:gd name="T30" fmla="*/ 9 w 44"/>
              <a:gd name="T31" fmla="*/ 30 h 72"/>
              <a:gd name="T32" fmla="*/ 9 w 44"/>
              <a:gd name="T33" fmla="*/ 31 h 72"/>
              <a:gd name="T34" fmla="*/ 11 w 44"/>
              <a:gd name="T35" fmla="*/ 31 h 72"/>
              <a:gd name="T36" fmla="*/ 12 w 44"/>
              <a:gd name="T37" fmla="*/ 31 h 72"/>
              <a:gd name="T38" fmla="*/ 16 w 44"/>
              <a:gd name="T39" fmla="*/ 41 h 72"/>
              <a:gd name="T40" fmla="*/ 18 w 44"/>
              <a:gd name="T41" fmla="*/ 44 h 72"/>
              <a:gd name="T42" fmla="*/ 16 w 44"/>
              <a:gd name="T43" fmla="*/ 48 h 72"/>
              <a:gd name="T44" fmla="*/ 14 w 44"/>
              <a:gd name="T45" fmla="*/ 60 h 72"/>
              <a:gd name="T46" fmla="*/ 19 w 44"/>
              <a:gd name="T47" fmla="*/ 69 h 72"/>
              <a:gd name="T48" fmla="*/ 25 w 44"/>
              <a:gd name="T49" fmla="*/ 72 h 72"/>
              <a:gd name="T50" fmla="*/ 25 w 44"/>
              <a:gd name="T51" fmla="*/ 70 h 72"/>
              <a:gd name="T52" fmla="*/ 38 w 44"/>
              <a:gd name="T53" fmla="*/ 65 h 72"/>
              <a:gd name="T54" fmla="*/ 43 w 44"/>
              <a:gd name="T55" fmla="*/ 64 h 72"/>
              <a:gd name="T56" fmla="*/ 44 w 44"/>
              <a:gd name="T57" fmla="*/ 64 h 72"/>
              <a:gd name="T58" fmla="*/ 41 w 44"/>
              <a:gd name="T59" fmla="*/ 59 h 72"/>
              <a:gd name="T60" fmla="*/ 39 w 44"/>
              <a:gd name="T61" fmla="*/ 56 h 72"/>
              <a:gd name="T62" fmla="*/ 38 w 44"/>
              <a:gd name="T63" fmla="*/ 53 h 72"/>
              <a:gd name="T64" fmla="*/ 33 w 44"/>
              <a:gd name="T65" fmla="*/ 48 h 72"/>
              <a:gd name="T66" fmla="*/ 32 w 44"/>
              <a:gd name="T67" fmla="*/ 41 h 72"/>
              <a:gd name="T68" fmla="*/ 32 w 44"/>
              <a:gd name="T69" fmla="*/ 40 h 72"/>
              <a:gd name="T70" fmla="*/ 33 w 44"/>
              <a:gd name="T71" fmla="*/ 36 h 72"/>
              <a:gd name="T72" fmla="*/ 35 w 44"/>
              <a:gd name="T73" fmla="*/ 33 h 72"/>
              <a:gd name="T74" fmla="*/ 39 w 44"/>
              <a:gd name="T75" fmla="*/ 33 h 72"/>
              <a:gd name="T76" fmla="*/ 39 w 44"/>
              <a:gd name="T77" fmla="*/ 30 h 72"/>
              <a:gd name="T78" fmla="*/ 40 w 44"/>
              <a:gd name="T79" fmla="*/ 26 h 72"/>
              <a:gd name="T80" fmla="*/ 40 w 44"/>
              <a:gd name="T81" fmla="*/ 25 h 72"/>
              <a:gd name="T82" fmla="*/ 40 w 44"/>
              <a:gd name="T83" fmla="*/ 22 h 72"/>
              <a:gd name="T84" fmla="*/ 33 w 44"/>
              <a:gd name="T85" fmla="*/ 17 h 72"/>
              <a:gd name="T86" fmla="*/ 28 w 44"/>
              <a:gd name="T87" fmla="*/ 12 h 72"/>
              <a:gd name="T88" fmla="*/ 15 w 44"/>
              <a:gd name="T8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 h="72">
                <a:moveTo>
                  <a:pt x="15" y="2"/>
                </a:moveTo>
                <a:cubicBezTo>
                  <a:pt x="14" y="2"/>
                  <a:pt x="13" y="3"/>
                  <a:pt x="13" y="3"/>
                </a:cubicBezTo>
                <a:cubicBezTo>
                  <a:pt x="12" y="4"/>
                  <a:pt x="12" y="4"/>
                  <a:pt x="12" y="4"/>
                </a:cubicBezTo>
                <a:cubicBezTo>
                  <a:pt x="11" y="5"/>
                  <a:pt x="9" y="6"/>
                  <a:pt x="8" y="6"/>
                </a:cubicBezTo>
                <a:cubicBezTo>
                  <a:pt x="8" y="7"/>
                  <a:pt x="8" y="7"/>
                  <a:pt x="8" y="7"/>
                </a:cubicBezTo>
                <a:cubicBezTo>
                  <a:pt x="7" y="7"/>
                  <a:pt x="7" y="7"/>
                  <a:pt x="7" y="7"/>
                </a:cubicBezTo>
                <a:cubicBezTo>
                  <a:pt x="7" y="8"/>
                  <a:pt x="7" y="8"/>
                  <a:pt x="7" y="8"/>
                </a:cubicBezTo>
                <a:cubicBezTo>
                  <a:pt x="7" y="8"/>
                  <a:pt x="6" y="9"/>
                  <a:pt x="6" y="9"/>
                </a:cubicBezTo>
                <a:cubicBezTo>
                  <a:pt x="6" y="9"/>
                  <a:pt x="6" y="9"/>
                  <a:pt x="6" y="9"/>
                </a:cubicBezTo>
                <a:cubicBezTo>
                  <a:pt x="6" y="10"/>
                  <a:pt x="7" y="10"/>
                  <a:pt x="7" y="10"/>
                </a:cubicBezTo>
                <a:cubicBezTo>
                  <a:pt x="7" y="11"/>
                  <a:pt x="7" y="11"/>
                  <a:pt x="7" y="11"/>
                </a:cubicBezTo>
                <a:cubicBezTo>
                  <a:pt x="7" y="11"/>
                  <a:pt x="7" y="11"/>
                  <a:pt x="7" y="11"/>
                </a:cubicBezTo>
                <a:cubicBezTo>
                  <a:pt x="8" y="11"/>
                  <a:pt x="10" y="11"/>
                  <a:pt x="10" y="12"/>
                </a:cubicBezTo>
                <a:cubicBezTo>
                  <a:pt x="10" y="12"/>
                  <a:pt x="10" y="12"/>
                  <a:pt x="10" y="13"/>
                </a:cubicBezTo>
                <a:cubicBezTo>
                  <a:pt x="10" y="13"/>
                  <a:pt x="10" y="13"/>
                  <a:pt x="10" y="13"/>
                </a:cubicBezTo>
                <a:cubicBezTo>
                  <a:pt x="10" y="14"/>
                  <a:pt x="10" y="14"/>
                  <a:pt x="9" y="15"/>
                </a:cubicBezTo>
                <a:cubicBezTo>
                  <a:pt x="9" y="15"/>
                  <a:pt x="9" y="15"/>
                  <a:pt x="9" y="15"/>
                </a:cubicBezTo>
                <a:cubicBezTo>
                  <a:pt x="8" y="16"/>
                  <a:pt x="8" y="16"/>
                  <a:pt x="7" y="16"/>
                </a:cubicBezTo>
                <a:cubicBezTo>
                  <a:pt x="7" y="16"/>
                  <a:pt x="7" y="16"/>
                  <a:pt x="7" y="16"/>
                </a:cubicBezTo>
                <a:cubicBezTo>
                  <a:pt x="6" y="17"/>
                  <a:pt x="6" y="17"/>
                  <a:pt x="6" y="17"/>
                </a:cubicBezTo>
                <a:cubicBezTo>
                  <a:pt x="5" y="17"/>
                  <a:pt x="5" y="17"/>
                  <a:pt x="5" y="17"/>
                </a:cubicBezTo>
                <a:cubicBezTo>
                  <a:pt x="4" y="17"/>
                  <a:pt x="4" y="17"/>
                  <a:pt x="3" y="17"/>
                </a:cubicBezTo>
                <a:cubicBezTo>
                  <a:pt x="3" y="17"/>
                  <a:pt x="3" y="17"/>
                  <a:pt x="3" y="17"/>
                </a:cubicBezTo>
                <a:cubicBezTo>
                  <a:pt x="3" y="17"/>
                  <a:pt x="3" y="17"/>
                  <a:pt x="3" y="17"/>
                </a:cubicBezTo>
                <a:cubicBezTo>
                  <a:pt x="2" y="18"/>
                  <a:pt x="2" y="18"/>
                  <a:pt x="2" y="18"/>
                </a:cubicBezTo>
                <a:cubicBezTo>
                  <a:pt x="2" y="18"/>
                  <a:pt x="2" y="18"/>
                  <a:pt x="2" y="18"/>
                </a:cubicBezTo>
                <a:cubicBezTo>
                  <a:pt x="2" y="18"/>
                  <a:pt x="2" y="19"/>
                  <a:pt x="2" y="19"/>
                </a:cubicBezTo>
                <a:cubicBezTo>
                  <a:pt x="2" y="19"/>
                  <a:pt x="2" y="19"/>
                  <a:pt x="2" y="19"/>
                </a:cubicBezTo>
                <a:cubicBezTo>
                  <a:pt x="2" y="19"/>
                  <a:pt x="2" y="19"/>
                  <a:pt x="2" y="20"/>
                </a:cubicBezTo>
                <a:cubicBezTo>
                  <a:pt x="2" y="20"/>
                  <a:pt x="2" y="20"/>
                  <a:pt x="2" y="21"/>
                </a:cubicBezTo>
                <a:cubicBezTo>
                  <a:pt x="2" y="21"/>
                  <a:pt x="2" y="21"/>
                  <a:pt x="2" y="21"/>
                </a:cubicBezTo>
                <a:cubicBezTo>
                  <a:pt x="2" y="21"/>
                  <a:pt x="2" y="22"/>
                  <a:pt x="2" y="23"/>
                </a:cubicBezTo>
                <a:cubicBezTo>
                  <a:pt x="1" y="23"/>
                  <a:pt x="1" y="24"/>
                  <a:pt x="0" y="24"/>
                </a:cubicBezTo>
                <a:cubicBezTo>
                  <a:pt x="0" y="25"/>
                  <a:pt x="0" y="25"/>
                  <a:pt x="0" y="25"/>
                </a:cubicBezTo>
                <a:cubicBezTo>
                  <a:pt x="0" y="25"/>
                  <a:pt x="0" y="25"/>
                  <a:pt x="0" y="25"/>
                </a:cubicBezTo>
                <a:cubicBezTo>
                  <a:pt x="3" y="29"/>
                  <a:pt x="3" y="29"/>
                  <a:pt x="3" y="29"/>
                </a:cubicBezTo>
                <a:cubicBezTo>
                  <a:pt x="3" y="29"/>
                  <a:pt x="4" y="29"/>
                  <a:pt x="4" y="29"/>
                </a:cubicBezTo>
                <a:cubicBezTo>
                  <a:pt x="4" y="30"/>
                  <a:pt x="4" y="30"/>
                  <a:pt x="4" y="30"/>
                </a:cubicBezTo>
                <a:cubicBezTo>
                  <a:pt x="4" y="30"/>
                  <a:pt x="5" y="30"/>
                  <a:pt x="5" y="31"/>
                </a:cubicBezTo>
                <a:cubicBezTo>
                  <a:pt x="5" y="31"/>
                  <a:pt x="5" y="31"/>
                  <a:pt x="5" y="31"/>
                </a:cubicBezTo>
                <a:cubicBezTo>
                  <a:pt x="5" y="31"/>
                  <a:pt x="5" y="31"/>
                  <a:pt x="5" y="31"/>
                </a:cubicBezTo>
                <a:cubicBezTo>
                  <a:pt x="6" y="31"/>
                  <a:pt x="6" y="31"/>
                  <a:pt x="6" y="31"/>
                </a:cubicBezTo>
                <a:cubicBezTo>
                  <a:pt x="6" y="31"/>
                  <a:pt x="6" y="31"/>
                  <a:pt x="6" y="31"/>
                </a:cubicBezTo>
                <a:cubicBezTo>
                  <a:pt x="7" y="31"/>
                  <a:pt x="7" y="31"/>
                  <a:pt x="7" y="31"/>
                </a:cubicBezTo>
                <a:cubicBezTo>
                  <a:pt x="7" y="31"/>
                  <a:pt x="7" y="31"/>
                  <a:pt x="7" y="31"/>
                </a:cubicBezTo>
                <a:cubicBezTo>
                  <a:pt x="8" y="31"/>
                  <a:pt x="8" y="31"/>
                  <a:pt x="8" y="31"/>
                </a:cubicBezTo>
                <a:cubicBezTo>
                  <a:pt x="8" y="30"/>
                  <a:pt x="8" y="30"/>
                  <a:pt x="8" y="30"/>
                </a:cubicBezTo>
                <a:cubicBezTo>
                  <a:pt x="9" y="30"/>
                  <a:pt x="9" y="30"/>
                  <a:pt x="9" y="30"/>
                </a:cubicBezTo>
                <a:cubicBezTo>
                  <a:pt x="9" y="30"/>
                  <a:pt x="9" y="30"/>
                  <a:pt x="9" y="30"/>
                </a:cubicBezTo>
                <a:cubicBezTo>
                  <a:pt x="9" y="30"/>
                  <a:pt x="9" y="30"/>
                  <a:pt x="9" y="30"/>
                </a:cubicBezTo>
                <a:cubicBezTo>
                  <a:pt x="9" y="30"/>
                  <a:pt x="9" y="31"/>
                  <a:pt x="9" y="31"/>
                </a:cubicBezTo>
                <a:cubicBezTo>
                  <a:pt x="10" y="31"/>
                  <a:pt x="10" y="31"/>
                  <a:pt x="10" y="31"/>
                </a:cubicBezTo>
                <a:cubicBezTo>
                  <a:pt x="10" y="31"/>
                  <a:pt x="10" y="31"/>
                  <a:pt x="10" y="31"/>
                </a:cubicBezTo>
                <a:cubicBezTo>
                  <a:pt x="10" y="31"/>
                  <a:pt x="10" y="31"/>
                  <a:pt x="11" y="31"/>
                </a:cubicBezTo>
                <a:cubicBezTo>
                  <a:pt x="11" y="31"/>
                  <a:pt x="11" y="31"/>
                  <a:pt x="11" y="31"/>
                </a:cubicBezTo>
                <a:cubicBezTo>
                  <a:pt x="11" y="31"/>
                  <a:pt x="11" y="31"/>
                  <a:pt x="11" y="31"/>
                </a:cubicBezTo>
                <a:cubicBezTo>
                  <a:pt x="11" y="31"/>
                  <a:pt x="12" y="31"/>
                  <a:pt x="12" y="31"/>
                </a:cubicBezTo>
                <a:cubicBezTo>
                  <a:pt x="12" y="31"/>
                  <a:pt x="12" y="32"/>
                  <a:pt x="12" y="32"/>
                </a:cubicBezTo>
                <a:cubicBezTo>
                  <a:pt x="14" y="33"/>
                  <a:pt x="14" y="35"/>
                  <a:pt x="13" y="38"/>
                </a:cubicBezTo>
                <a:cubicBezTo>
                  <a:pt x="14" y="38"/>
                  <a:pt x="16" y="39"/>
                  <a:pt x="16" y="41"/>
                </a:cubicBezTo>
                <a:cubicBezTo>
                  <a:pt x="16" y="41"/>
                  <a:pt x="16" y="41"/>
                  <a:pt x="16" y="41"/>
                </a:cubicBezTo>
                <a:cubicBezTo>
                  <a:pt x="16" y="41"/>
                  <a:pt x="16" y="41"/>
                  <a:pt x="16" y="41"/>
                </a:cubicBezTo>
                <a:cubicBezTo>
                  <a:pt x="16" y="42"/>
                  <a:pt x="16" y="43"/>
                  <a:pt x="18" y="44"/>
                </a:cubicBezTo>
                <a:cubicBezTo>
                  <a:pt x="18" y="45"/>
                  <a:pt x="18" y="45"/>
                  <a:pt x="18" y="45"/>
                </a:cubicBezTo>
                <a:cubicBezTo>
                  <a:pt x="18" y="46"/>
                  <a:pt x="18" y="46"/>
                  <a:pt x="18" y="46"/>
                </a:cubicBezTo>
                <a:cubicBezTo>
                  <a:pt x="18" y="47"/>
                  <a:pt x="17" y="48"/>
                  <a:pt x="16" y="48"/>
                </a:cubicBezTo>
                <a:cubicBezTo>
                  <a:pt x="16" y="49"/>
                  <a:pt x="13" y="57"/>
                  <a:pt x="14" y="59"/>
                </a:cubicBezTo>
                <a:cubicBezTo>
                  <a:pt x="14" y="59"/>
                  <a:pt x="14" y="59"/>
                  <a:pt x="14" y="59"/>
                </a:cubicBezTo>
                <a:cubicBezTo>
                  <a:pt x="14" y="59"/>
                  <a:pt x="14" y="60"/>
                  <a:pt x="14" y="60"/>
                </a:cubicBezTo>
                <a:cubicBezTo>
                  <a:pt x="15" y="61"/>
                  <a:pt x="16" y="62"/>
                  <a:pt x="17" y="65"/>
                </a:cubicBezTo>
                <a:cubicBezTo>
                  <a:pt x="17" y="66"/>
                  <a:pt x="18" y="68"/>
                  <a:pt x="19" y="68"/>
                </a:cubicBezTo>
                <a:cubicBezTo>
                  <a:pt x="19" y="68"/>
                  <a:pt x="19" y="69"/>
                  <a:pt x="19" y="69"/>
                </a:cubicBezTo>
                <a:cubicBezTo>
                  <a:pt x="20" y="69"/>
                  <a:pt x="20" y="70"/>
                  <a:pt x="21" y="70"/>
                </a:cubicBezTo>
                <a:cubicBezTo>
                  <a:pt x="23" y="70"/>
                  <a:pt x="23" y="71"/>
                  <a:pt x="24" y="71"/>
                </a:cubicBezTo>
                <a:cubicBezTo>
                  <a:pt x="24" y="72"/>
                  <a:pt x="24" y="72"/>
                  <a:pt x="25" y="72"/>
                </a:cubicBezTo>
                <a:cubicBezTo>
                  <a:pt x="26" y="72"/>
                  <a:pt x="26" y="71"/>
                  <a:pt x="26" y="71"/>
                </a:cubicBezTo>
                <a:cubicBezTo>
                  <a:pt x="26" y="71"/>
                  <a:pt x="26" y="71"/>
                  <a:pt x="26" y="71"/>
                </a:cubicBezTo>
                <a:cubicBezTo>
                  <a:pt x="25" y="70"/>
                  <a:pt x="25" y="70"/>
                  <a:pt x="25" y="70"/>
                </a:cubicBezTo>
                <a:cubicBezTo>
                  <a:pt x="27" y="69"/>
                  <a:pt x="27" y="69"/>
                  <a:pt x="27" y="69"/>
                </a:cubicBezTo>
                <a:cubicBezTo>
                  <a:pt x="34" y="68"/>
                  <a:pt x="36" y="67"/>
                  <a:pt x="36" y="67"/>
                </a:cubicBezTo>
                <a:cubicBezTo>
                  <a:pt x="36" y="67"/>
                  <a:pt x="37" y="67"/>
                  <a:pt x="38" y="65"/>
                </a:cubicBezTo>
                <a:cubicBezTo>
                  <a:pt x="39" y="64"/>
                  <a:pt x="40" y="63"/>
                  <a:pt x="41" y="63"/>
                </a:cubicBezTo>
                <a:cubicBezTo>
                  <a:pt x="42" y="63"/>
                  <a:pt x="42" y="64"/>
                  <a:pt x="43" y="64"/>
                </a:cubicBezTo>
                <a:cubicBezTo>
                  <a:pt x="43" y="64"/>
                  <a:pt x="43" y="64"/>
                  <a:pt x="43" y="64"/>
                </a:cubicBezTo>
                <a:cubicBezTo>
                  <a:pt x="43" y="64"/>
                  <a:pt x="43" y="64"/>
                  <a:pt x="44" y="64"/>
                </a:cubicBezTo>
                <a:cubicBezTo>
                  <a:pt x="44" y="64"/>
                  <a:pt x="44" y="64"/>
                  <a:pt x="44" y="64"/>
                </a:cubicBezTo>
                <a:cubicBezTo>
                  <a:pt x="44" y="64"/>
                  <a:pt x="44" y="64"/>
                  <a:pt x="44" y="64"/>
                </a:cubicBezTo>
                <a:cubicBezTo>
                  <a:pt x="44" y="64"/>
                  <a:pt x="43" y="63"/>
                  <a:pt x="43" y="63"/>
                </a:cubicBezTo>
                <a:cubicBezTo>
                  <a:pt x="43" y="63"/>
                  <a:pt x="43" y="63"/>
                  <a:pt x="43" y="63"/>
                </a:cubicBezTo>
                <a:cubicBezTo>
                  <a:pt x="42" y="62"/>
                  <a:pt x="41" y="60"/>
                  <a:pt x="41" y="59"/>
                </a:cubicBezTo>
                <a:cubicBezTo>
                  <a:pt x="40" y="58"/>
                  <a:pt x="40" y="58"/>
                  <a:pt x="40" y="58"/>
                </a:cubicBezTo>
                <a:cubicBezTo>
                  <a:pt x="40" y="58"/>
                  <a:pt x="40" y="57"/>
                  <a:pt x="40" y="57"/>
                </a:cubicBezTo>
                <a:cubicBezTo>
                  <a:pt x="39" y="57"/>
                  <a:pt x="39" y="56"/>
                  <a:pt x="39" y="56"/>
                </a:cubicBezTo>
                <a:cubicBezTo>
                  <a:pt x="39" y="56"/>
                  <a:pt x="39" y="56"/>
                  <a:pt x="39" y="55"/>
                </a:cubicBezTo>
                <a:cubicBezTo>
                  <a:pt x="39" y="55"/>
                  <a:pt x="39" y="54"/>
                  <a:pt x="39" y="52"/>
                </a:cubicBezTo>
                <a:cubicBezTo>
                  <a:pt x="38" y="53"/>
                  <a:pt x="38" y="53"/>
                  <a:pt x="38" y="53"/>
                </a:cubicBezTo>
                <a:cubicBezTo>
                  <a:pt x="37" y="53"/>
                  <a:pt x="36" y="52"/>
                  <a:pt x="36" y="52"/>
                </a:cubicBezTo>
                <a:cubicBezTo>
                  <a:pt x="35" y="52"/>
                  <a:pt x="35" y="52"/>
                  <a:pt x="35" y="52"/>
                </a:cubicBezTo>
                <a:cubicBezTo>
                  <a:pt x="34" y="51"/>
                  <a:pt x="34" y="50"/>
                  <a:pt x="33" y="48"/>
                </a:cubicBezTo>
                <a:cubicBezTo>
                  <a:pt x="31" y="46"/>
                  <a:pt x="30" y="44"/>
                  <a:pt x="31" y="42"/>
                </a:cubicBezTo>
                <a:cubicBezTo>
                  <a:pt x="31" y="42"/>
                  <a:pt x="31" y="41"/>
                  <a:pt x="32" y="41"/>
                </a:cubicBezTo>
                <a:cubicBezTo>
                  <a:pt x="32" y="41"/>
                  <a:pt x="32" y="41"/>
                  <a:pt x="32" y="41"/>
                </a:cubicBezTo>
                <a:cubicBezTo>
                  <a:pt x="32" y="41"/>
                  <a:pt x="32" y="41"/>
                  <a:pt x="32" y="41"/>
                </a:cubicBezTo>
                <a:cubicBezTo>
                  <a:pt x="32" y="41"/>
                  <a:pt x="32" y="40"/>
                  <a:pt x="32" y="40"/>
                </a:cubicBezTo>
                <a:cubicBezTo>
                  <a:pt x="32" y="40"/>
                  <a:pt x="32" y="40"/>
                  <a:pt x="32" y="40"/>
                </a:cubicBezTo>
                <a:cubicBezTo>
                  <a:pt x="32" y="39"/>
                  <a:pt x="32" y="39"/>
                  <a:pt x="32" y="38"/>
                </a:cubicBezTo>
                <a:cubicBezTo>
                  <a:pt x="32" y="38"/>
                  <a:pt x="32" y="38"/>
                  <a:pt x="32" y="38"/>
                </a:cubicBezTo>
                <a:cubicBezTo>
                  <a:pt x="33" y="38"/>
                  <a:pt x="33" y="37"/>
                  <a:pt x="33" y="36"/>
                </a:cubicBezTo>
                <a:cubicBezTo>
                  <a:pt x="33" y="36"/>
                  <a:pt x="33" y="36"/>
                  <a:pt x="33" y="36"/>
                </a:cubicBezTo>
                <a:cubicBezTo>
                  <a:pt x="33" y="35"/>
                  <a:pt x="33" y="35"/>
                  <a:pt x="33" y="35"/>
                </a:cubicBezTo>
                <a:cubicBezTo>
                  <a:pt x="33" y="34"/>
                  <a:pt x="34" y="33"/>
                  <a:pt x="35" y="33"/>
                </a:cubicBezTo>
                <a:cubicBezTo>
                  <a:pt x="36" y="33"/>
                  <a:pt x="37" y="33"/>
                  <a:pt x="38" y="33"/>
                </a:cubicBezTo>
                <a:cubicBezTo>
                  <a:pt x="38" y="33"/>
                  <a:pt x="38" y="33"/>
                  <a:pt x="38" y="33"/>
                </a:cubicBezTo>
                <a:cubicBezTo>
                  <a:pt x="38" y="33"/>
                  <a:pt x="38" y="33"/>
                  <a:pt x="39" y="33"/>
                </a:cubicBezTo>
                <a:cubicBezTo>
                  <a:pt x="39" y="33"/>
                  <a:pt x="39" y="33"/>
                  <a:pt x="39" y="32"/>
                </a:cubicBezTo>
                <a:cubicBezTo>
                  <a:pt x="39" y="32"/>
                  <a:pt x="39" y="32"/>
                  <a:pt x="39" y="32"/>
                </a:cubicBezTo>
                <a:cubicBezTo>
                  <a:pt x="39" y="31"/>
                  <a:pt x="39" y="31"/>
                  <a:pt x="39" y="30"/>
                </a:cubicBezTo>
                <a:cubicBezTo>
                  <a:pt x="39" y="30"/>
                  <a:pt x="39" y="30"/>
                  <a:pt x="39" y="30"/>
                </a:cubicBezTo>
                <a:cubicBezTo>
                  <a:pt x="39" y="29"/>
                  <a:pt x="39" y="28"/>
                  <a:pt x="39" y="27"/>
                </a:cubicBezTo>
                <a:cubicBezTo>
                  <a:pt x="40" y="26"/>
                  <a:pt x="40" y="26"/>
                  <a:pt x="40" y="26"/>
                </a:cubicBezTo>
                <a:cubicBezTo>
                  <a:pt x="40" y="25"/>
                  <a:pt x="40" y="25"/>
                  <a:pt x="40" y="25"/>
                </a:cubicBezTo>
                <a:cubicBezTo>
                  <a:pt x="40" y="25"/>
                  <a:pt x="40" y="25"/>
                  <a:pt x="40" y="25"/>
                </a:cubicBezTo>
                <a:cubicBezTo>
                  <a:pt x="40" y="25"/>
                  <a:pt x="40" y="25"/>
                  <a:pt x="40" y="25"/>
                </a:cubicBezTo>
                <a:cubicBezTo>
                  <a:pt x="40" y="24"/>
                  <a:pt x="40" y="24"/>
                  <a:pt x="40" y="24"/>
                </a:cubicBezTo>
                <a:cubicBezTo>
                  <a:pt x="41" y="25"/>
                  <a:pt x="41" y="25"/>
                  <a:pt x="41" y="25"/>
                </a:cubicBezTo>
                <a:cubicBezTo>
                  <a:pt x="41" y="23"/>
                  <a:pt x="40" y="22"/>
                  <a:pt x="40" y="22"/>
                </a:cubicBezTo>
                <a:cubicBezTo>
                  <a:pt x="39" y="21"/>
                  <a:pt x="38" y="21"/>
                  <a:pt x="38" y="21"/>
                </a:cubicBezTo>
                <a:cubicBezTo>
                  <a:pt x="37" y="21"/>
                  <a:pt x="37" y="20"/>
                  <a:pt x="36" y="20"/>
                </a:cubicBezTo>
                <a:cubicBezTo>
                  <a:pt x="35" y="19"/>
                  <a:pt x="35" y="18"/>
                  <a:pt x="33" y="17"/>
                </a:cubicBezTo>
                <a:cubicBezTo>
                  <a:pt x="32" y="16"/>
                  <a:pt x="31" y="16"/>
                  <a:pt x="30" y="15"/>
                </a:cubicBezTo>
                <a:cubicBezTo>
                  <a:pt x="28" y="14"/>
                  <a:pt x="27" y="19"/>
                  <a:pt x="26" y="20"/>
                </a:cubicBezTo>
                <a:cubicBezTo>
                  <a:pt x="25" y="18"/>
                  <a:pt x="28" y="15"/>
                  <a:pt x="28" y="12"/>
                </a:cubicBezTo>
                <a:cubicBezTo>
                  <a:pt x="28" y="10"/>
                  <a:pt x="26" y="8"/>
                  <a:pt x="24" y="6"/>
                </a:cubicBezTo>
                <a:cubicBezTo>
                  <a:pt x="22" y="4"/>
                  <a:pt x="21" y="3"/>
                  <a:pt x="19" y="2"/>
                </a:cubicBezTo>
                <a:cubicBezTo>
                  <a:pt x="18" y="2"/>
                  <a:pt x="16" y="1"/>
                  <a:pt x="15" y="0"/>
                </a:cubicBezTo>
                <a:cubicBezTo>
                  <a:pt x="15" y="1"/>
                  <a:pt x="15" y="1"/>
                  <a:pt x="15" y="2"/>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4" name="Freeform 3011">
            <a:extLst>
              <a:ext uri="{FF2B5EF4-FFF2-40B4-BE49-F238E27FC236}">
                <a16:creationId xmlns:a16="http://schemas.microsoft.com/office/drawing/2014/main" id="{5EED088F-966B-4F98-9EE9-248443F6B4E6}"/>
              </a:ext>
            </a:extLst>
          </p:cNvPr>
          <p:cNvSpPr>
            <a:spLocks/>
          </p:cNvSpPr>
          <p:nvPr/>
        </p:nvSpPr>
        <p:spPr bwMode="auto">
          <a:xfrm>
            <a:off x="2646705" y="3673107"/>
            <a:ext cx="46087" cy="57579"/>
          </a:xfrm>
          <a:custGeom>
            <a:avLst/>
            <a:gdLst>
              <a:gd name="T0" fmla="*/ 10 w 39"/>
              <a:gd name="T1" fmla="*/ 2 h 41"/>
              <a:gd name="T2" fmla="*/ 9 w 39"/>
              <a:gd name="T3" fmla="*/ 3 h 41"/>
              <a:gd name="T4" fmla="*/ 8 w 39"/>
              <a:gd name="T5" fmla="*/ 6 h 41"/>
              <a:gd name="T6" fmla="*/ 8 w 39"/>
              <a:gd name="T7" fmla="*/ 6 h 41"/>
              <a:gd name="T8" fmla="*/ 8 w 39"/>
              <a:gd name="T9" fmla="*/ 9 h 41"/>
              <a:gd name="T10" fmla="*/ 8 w 39"/>
              <a:gd name="T11" fmla="*/ 10 h 41"/>
              <a:gd name="T12" fmla="*/ 6 w 39"/>
              <a:gd name="T13" fmla="*/ 11 h 41"/>
              <a:gd name="T14" fmla="*/ 4 w 39"/>
              <a:gd name="T15" fmla="*/ 11 h 41"/>
              <a:gd name="T16" fmla="*/ 3 w 39"/>
              <a:gd name="T17" fmla="*/ 11 h 41"/>
              <a:gd name="T18" fmla="*/ 2 w 39"/>
              <a:gd name="T19" fmla="*/ 12 h 41"/>
              <a:gd name="T20" fmla="*/ 1 w 39"/>
              <a:gd name="T21" fmla="*/ 16 h 41"/>
              <a:gd name="T22" fmla="*/ 1 w 39"/>
              <a:gd name="T23" fmla="*/ 18 h 41"/>
              <a:gd name="T24" fmla="*/ 1 w 39"/>
              <a:gd name="T25" fmla="*/ 19 h 41"/>
              <a:gd name="T26" fmla="*/ 0 w 39"/>
              <a:gd name="T27" fmla="*/ 19 h 41"/>
              <a:gd name="T28" fmla="*/ 2 w 39"/>
              <a:gd name="T29" fmla="*/ 23 h 41"/>
              <a:gd name="T30" fmla="*/ 5 w 39"/>
              <a:gd name="T31" fmla="*/ 26 h 41"/>
              <a:gd name="T32" fmla="*/ 6 w 39"/>
              <a:gd name="T33" fmla="*/ 26 h 41"/>
              <a:gd name="T34" fmla="*/ 8 w 39"/>
              <a:gd name="T35" fmla="*/ 27 h 41"/>
              <a:gd name="T36" fmla="*/ 9 w 39"/>
              <a:gd name="T37" fmla="*/ 31 h 41"/>
              <a:gd name="T38" fmla="*/ 9 w 39"/>
              <a:gd name="T39" fmla="*/ 33 h 41"/>
              <a:gd name="T40" fmla="*/ 12 w 39"/>
              <a:gd name="T41" fmla="*/ 38 h 41"/>
              <a:gd name="T42" fmla="*/ 13 w 39"/>
              <a:gd name="T43" fmla="*/ 38 h 41"/>
              <a:gd name="T44" fmla="*/ 14 w 39"/>
              <a:gd name="T45" fmla="*/ 37 h 41"/>
              <a:gd name="T46" fmla="*/ 13 w 39"/>
              <a:gd name="T47" fmla="*/ 39 h 41"/>
              <a:gd name="T48" fmla="*/ 15 w 39"/>
              <a:gd name="T49" fmla="*/ 40 h 41"/>
              <a:gd name="T50" fmla="*/ 19 w 39"/>
              <a:gd name="T51" fmla="*/ 41 h 41"/>
              <a:gd name="T52" fmla="*/ 20 w 39"/>
              <a:gd name="T53" fmla="*/ 41 h 41"/>
              <a:gd name="T54" fmla="*/ 18 w 39"/>
              <a:gd name="T55" fmla="*/ 38 h 41"/>
              <a:gd name="T56" fmla="*/ 21 w 39"/>
              <a:gd name="T57" fmla="*/ 35 h 41"/>
              <a:gd name="T58" fmla="*/ 25 w 39"/>
              <a:gd name="T59" fmla="*/ 35 h 41"/>
              <a:gd name="T60" fmla="*/ 29 w 39"/>
              <a:gd name="T61" fmla="*/ 34 h 41"/>
              <a:gd name="T62" fmla="*/ 30 w 39"/>
              <a:gd name="T63" fmla="*/ 34 h 41"/>
              <a:gd name="T64" fmla="*/ 33 w 39"/>
              <a:gd name="T65" fmla="*/ 35 h 41"/>
              <a:gd name="T66" fmla="*/ 33 w 39"/>
              <a:gd name="T67" fmla="*/ 35 h 41"/>
              <a:gd name="T68" fmla="*/ 35 w 39"/>
              <a:gd name="T69" fmla="*/ 35 h 41"/>
              <a:gd name="T70" fmla="*/ 37 w 39"/>
              <a:gd name="T71" fmla="*/ 33 h 41"/>
              <a:gd name="T72" fmla="*/ 37 w 39"/>
              <a:gd name="T73" fmla="*/ 32 h 41"/>
              <a:gd name="T74" fmla="*/ 38 w 39"/>
              <a:gd name="T75" fmla="*/ 29 h 41"/>
              <a:gd name="T76" fmla="*/ 38 w 39"/>
              <a:gd name="T77" fmla="*/ 29 h 41"/>
              <a:gd name="T78" fmla="*/ 39 w 39"/>
              <a:gd name="T79" fmla="*/ 26 h 41"/>
              <a:gd name="T80" fmla="*/ 39 w 39"/>
              <a:gd name="T81" fmla="*/ 25 h 41"/>
              <a:gd name="T82" fmla="*/ 39 w 39"/>
              <a:gd name="T83" fmla="*/ 25 h 41"/>
              <a:gd name="T84" fmla="*/ 38 w 39"/>
              <a:gd name="T85" fmla="*/ 24 h 41"/>
              <a:gd name="T86" fmla="*/ 36 w 39"/>
              <a:gd name="T87" fmla="*/ 19 h 41"/>
              <a:gd name="T88" fmla="*/ 35 w 39"/>
              <a:gd name="T89" fmla="*/ 9 h 41"/>
              <a:gd name="T90" fmla="*/ 37 w 39"/>
              <a:gd name="T91" fmla="*/ 7 h 41"/>
              <a:gd name="T92" fmla="*/ 38 w 39"/>
              <a:gd name="T93" fmla="*/ 3 h 41"/>
              <a:gd name="T94" fmla="*/ 39 w 39"/>
              <a:gd name="T95" fmla="*/ 1 h 41"/>
              <a:gd name="T96" fmla="*/ 32 w 39"/>
              <a:gd name="T97" fmla="*/ 0 h 41"/>
              <a:gd name="T98" fmla="*/ 29 w 39"/>
              <a:gd name="T99" fmla="*/ 2 h 41"/>
              <a:gd name="T100" fmla="*/ 21 w 39"/>
              <a:gd name="T101" fmla="*/ 1 h 41"/>
              <a:gd name="T102" fmla="*/ 13 w 39"/>
              <a:gd name="T103" fmla="*/ 1 h 41"/>
              <a:gd name="T104" fmla="*/ 9 w 39"/>
              <a:gd name="T105" fmla="*/ 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 h="41">
                <a:moveTo>
                  <a:pt x="10" y="1"/>
                </a:moveTo>
                <a:cubicBezTo>
                  <a:pt x="10" y="2"/>
                  <a:pt x="10" y="2"/>
                  <a:pt x="10" y="2"/>
                </a:cubicBezTo>
                <a:cubicBezTo>
                  <a:pt x="10" y="2"/>
                  <a:pt x="9" y="2"/>
                  <a:pt x="9" y="3"/>
                </a:cubicBezTo>
                <a:cubicBezTo>
                  <a:pt x="9" y="3"/>
                  <a:pt x="9" y="3"/>
                  <a:pt x="9" y="3"/>
                </a:cubicBezTo>
                <a:cubicBezTo>
                  <a:pt x="9" y="3"/>
                  <a:pt x="9" y="3"/>
                  <a:pt x="9" y="3"/>
                </a:cubicBezTo>
                <a:cubicBezTo>
                  <a:pt x="9" y="4"/>
                  <a:pt x="8" y="5"/>
                  <a:pt x="8" y="6"/>
                </a:cubicBezTo>
                <a:cubicBezTo>
                  <a:pt x="8" y="6"/>
                  <a:pt x="8" y="6"/>
                  <a:pt x="8" y="6"/>
                </a:cubicBezTo>
                <a:cubicBezTo>
                  <a:pt x="8" y="6"/>
                  <a:pt x="8" y="6"/>
                  <a:pt x="8" y="6"/>
                </a:cubicBezTo>
                <a:cubicBezTo>
                  <a:pt x="9" y="7"/>
                  <a:pt x="8" y="8"/>
                  <a:pt x="8" y="9"/>
                </a:cubicBezTo>
                <a:cubicBezTo>
                  <a:pt x="8" y="9"/>
                  <a:pt x="8" y="9"/>
                  <a:pt x="8" y="9"/>
                </a:cubicBezTo>
                <a:cubicBezTo>
                  <a:pt x="8" y="9"/>
                  <a:pt x="8" y="9"/>
                  <a:pt x="8" y="10"/>
                </a:cubicBezTo>
                <a:cubicBezTo>
                  <a:pt x="8" y="10"/>
                  <a:pt x="8" y="10"/>
                  <a:pt x="8" y="10"/>
                </a:cubicBezTo>
                <a:cubicBezTo>
                  <a:pt x="8" y="11"/>
                  <a:pt x="8" y="11"/>
                  <a:pt x="8" y="11"/>
                </a:cubicBezTo>
                <a:cubicBezTo>
                  <a:pt x="7" y="11"/>
                  <a:pt x="7" y="11"/>
                  <a:pt x="6" y="11"/>
                </a:cubicBezTo>
                <a:cubicBezTo>
                  <a:pt x="6" y="12"/>
                  <a:pt x="6" y="12"/>
                  <a:pt x="5" y="12"/>
                </a:cubicBezTo>
                <a:cubicBezTo>
                  <a:pt x="5" y="12"/>
                  <a:pt x="5" y="11"/>
                  <a:pt x="4" y="11"/>
                </a:cubicBezTo>
                <a:cubicBezTo>
                  <a:pt x="4" y="11"/>
                  <a:pt x="4" y="11"/>
                  <a:pt x="4" y="11"/>
                </a:cubicBezTo>
                <a:cubicBezTo>
                  <a:pt x="3" y="11"/>
                  <a:pt x="3" y="11"/>
                  <a:pt x="3" y="11"/>
                </a:cubicBezTo>
                <a:cubicBezTo>
                  <a:pt x="3" y="11"/>
                  <a:pt x="2" y="12"/>
                  <a:pt x="2" y="12"/>
                </a:cubicBezTo>
                <a:cubicBezTo>
                  <a:pt x="2" y="12"/>
                  <a:pt x="2" y="12"/>
                  <a:pt x="2" y="12"/>
                </a:cubicBezTo>
                <a:cubicBezTo>
                  <a:pt x="2" y="14"/>
                  <a:pt x="2" y="14"/>
                  <a:pt x="2" y="15"/>
                </a:cubicBezTo>
                <a:cubicBezTo>
                  <a:pt x="2" y="16"/>
                  <a:pt x="1" y="16"/>
                  <a:pt x="1" y="16"/>
                </a:cubicBezTo>
                <a:cubicBezTo>
                  <a:pt x="1" y="16"/>
                  <a:pt x="1" y="17"/>
                  <a:pt x="1" y="17"/>
                </a:cubicBezTo>
                <a:cubicBezTo>
                  <a:pt x="1" y="17"/>
                  <a:pt x="1" y="18"/>
                  <a:pt x="1" y="18"/>
                </a:cubicBezTo>
                <a:cubicBezTo>
                  <a:pt x="1" y="18"/>
                  <a:pt x="1" y="18"/>
                  <a:pt x="1" y="18"/>
                </a:cubicBezTo>
                <a:cubicBezTo>
                  <a:pt x="1" y="19"/>
                  <a:pt x="1" y="19"/>
                  <a:pt x="1" y="19"/>
                </a:cubicBezTo>
                <a:cubicBezTo>
                  <a:pt x="1" y="19"/>
                  <a:pt x="0" y="19"/>
                  <a:pt x="0" y="19"/>
                </a:cubicBezTo>
                <a:cubicBezTo>
                  <a:pt x="0" y="19"/>
                  <a:pt x="0" y="19"/>
                  <a:pt x="0" y="19"/>
                </a:cubicBezTo>
                <a:cubicBezTo>
                  <a:pt x="0" y="19"/>
                  <a:pt x="0" y="19"/>
                  <a:pt x="0" y="19"/>
                </a:cubicBezTo>
                <a:cubicBezTo>
                  <a:pt x="0" y="19"/>
                  <a:pt x="0" y="20"/>
                  <a:pt x="2" y="23"/>
                </a:cubicBezTo>
                <a:cubicBezTo>
                  <a:pt x="3" y="24"/>
                  <a:pt x="3" y="25"/>
                  <a:pt x="4" y="26"/>
                </a:cubicBezTo>
                <a:cubicBezTo>
                  <a:pt x="4" y="26"/>
                  <a:pt x="4" y="26"/>
                  <a:pt x="5" y="26"/>
                </a:cubicBezTo>
                <a:cubicBezTo>
                  <a:pt x="5" y="26"/>
                  <a:pt x="5" y="26"/>
                  <a:pt x="5" y="26"/>
                </a:cubicBezTo>
                <a:cubicBezTo>
                  <a:pt x="5" y="26"/>
                  <a:pt x="5" y="26"/>
                  <a:pt x="6" y="26"/>
                </a:cubicBezTo>
                <a:cubicBezTo>
                  <a:pt x="7" y="25"/>
                  <a:pt x="7" y="25"/>
                  <a:pt x="7" y="25"/>
                </a:cubicBezTo>
                <a:cubicBezTo>
                  <a:pt x="8" y="27"/>
                  <a:pt x="8" y="27"/>
                  <a:pt x="8" y="27"/>
                </a:cubicBezTo>
                <a:cubicBezTo>
                  <a:pt x="8" y="28"/>
                  <a:pt x="8" y="29"/>
                  <a:pt x="9" y="31"/>
                </a:cubicBezTo>
                <a:cubicBezTo>
                  <a:pt x="9" y="31"/>
                  <a:pt x="9" y="31"/>
                  <a:pt x="9" y="31"/>
                </a:cubicBezTo>
                <a:cubicBezTo>
                  <a:pt x="9" y="32"/>
                  <a:pt x="9" y="32"/>
                  <a:pt x="9" y="32"/>
                </a:cubicBezTo>
                <a:cubicBezTo>
                  <a:pt x="9" y="32"/>
                  <a:pt x="9" y="32"/>
                  <a:pt x="9" y="33"/>
                </a:cubicBezTo>
                <a:cubicBezTo>
                  <a:pt x="10" y="34"/>
                  <a:pt x="10" y="34"/>
                  <a:pt x="10" y="34"/>
                </a:cubicBezTo>
                <a:cubicBezTo>
                  <a:pt x="11" y="35"/>
                  <a:pt x="11" y="36"/>
                  <a:pt x="12" y="38"/>
                </a:cubicBezTo>
                <a:cubicBezTo>
                  <a:pt x="12" y="38"/>
                  <a:pt x="12" y="38"/>
                  <a:pt x="12" y="38"/>
                </a:cubicBezTo>
                <a:cubicBezTo>
                  <a:pt x="13" y="38"/>
                  <a:pt x="13" y="38"/>
                  <a:pt x="13" y="38"/>
                </a:cubicBezTo>
                <a:cubicBezTo>
                  <a:pt x="13" y="39"/>
                  <a:pt x="13" y="39"/>
                  <a:pt x="13" y="39"/>
                </a:cubicBezTo>
                <a:cubicBezTo>
                  <a:pt x="14" y="37"/>
                  <a:pt x="14" y="37"/>
                  <a:pt x="14" y="37"/>
                </a:cubicBezTo>
                <a:cubicBezTo>
                  <a:pt x="13" y="39"/>
                  <a:pt x="13" y="39"/>
                  <a:pt x="13" y="39"/>
                </a:cubicBezTo>
                <a:cubicBezTo>
                  <a:pt x="13" y="39"/>
                  <a:pt x="13" y="39"/>
                  <a:pt x="13" y="39"/>
                </a:cubicBezTo>
                <a:cubicBezTo>
                  <a:pt x="14" y="40"/>
                  <a:pt x="14" y="40"/>
                  <a:pt x="15" y="40"/>
                </a:cubicBezTo>
                <a:cubicBezTo>
                  <a:pt x="15" y="40"/>
                  <a:pt x="15" y="40"/>
                  <a:pt x="15" y="40"/>
                </a:cubicBezTo>
                <a:cubicBezTo>
                  <a:pt x="16" y="40"/>
                  <a:pt x="17" y="41"/>
                  <a:pt x="18" y="41"/>
                </a:cubicBezTo>
                <a:cubicBezTo>
                  <a:pt x="19" y="41"/>
                  <a:pt x="19" y="41"/>
                  <a:pt x="19" y="41"/>
                </a:cubicBezTo>
                <a:cubicBezTo>
                  <a:pt x="19" y="41"/>
                  <a:pt x="19" y="41"/>
                  <a:pt x="20" y="41"/>
                </a:cubicBezTo>
                <a:cubicBezTo>
                  <a:pt x="20" y="41"/>
                  <a:pt x="20" y="41"/>
                  <a:pt x="20" y="41"/>
                </a:cubicBezTo>
                <a:cubicBezTo>
                  <a:pt x="19" y="41"/>
                  <a:pt x="19" y="40"/>
                  <a:pt x="19" y="40"/>
                </a:cubicBezTo>
                <a:cubicBezTo>
                  <a:pt x="19" y="40"/>
                  <a:pt x="18" y="39"/>
                  <a:pt x="18" y="38"/>
                </a:cubicBezTo>
                <a:cubicBezTo>
                  <a:pt x="18" y="37"/>
                  <a:pt x="18" y="36"/>
                  <a:pt x="19" y="35"/>
                </a:cubicBezTo>
                <a:cubicBezTo>
                  <a:pt x="20" y="34"/>
                  <a:pt x="21" y="34"/>
                  <a:pt x="21" y="35"/>
                </a:cubicBezTo>
                <a:cubicBezTo>
                  <a:pt x="22" y="35"/>
                  <a:pt x="23" y="35"/>
                  <a:pt x="24" y="35"/>
                </a:cubicBezTo>
                <a:cubicBezTo>
                  <a:pt x="24" y="35"/>
                  <a:pt x="25" y="35"/>
                  <a:pt x="25" y="35"/>
                </a:cubicBezTo>
                <a:cubicBezTo>
                  <a:pt x="26" y="35"/>
                  <a:pt x="27" y="35"/>
                  <a:pt x="27" y="35"/>
                </a:cubicBezTo>
                <a:cubicBezTo>
                  <a:pt x="28" y="34"/>
                  <a:pt x="28" y="34"/>
                  <a:pt x="29" y="34"/>
                </a:cubicBezTo>
                <a:cubicBezTo>
                  <a:pt x="30" y="34"/>
                  <a:pt x="30" y="34"/>
                  <a:pt x="30" y="34"/>
                </a:cubicBezTo>
                <a:cubicBezTo>
                  <a:pt x="30" y="34"/>
                  <a:pt x="30" y="34"/>
                  <a:pt x="30" y="34"/>
                </a:cubicBezTo>
                <a:cubicBezTo>
                  <a:pt x="31" y="34"/>
                  <a:pt x="31" y="34"/>
                  <a:pt x="32" y="34"/>
                </a:cubicBezTo>
                <a:cubicBezTo>
                  <a:pt x="32" y="34"/>
                  <a:pt x="32" y="35"/>
                  <a:pt x="33" y="35"/>
                </a:cubicBezTo>
                <a:cubicBezTo>
                  <a:pt x="33" y="35"/>
                  <a:pt x="33" y="35"/>
                  <a:pt x="33" y="35"/>
                </a:cubicBezTo>
                <a:cubicBezTo>
                  <a:pt x="33" y="35"/>
                  <a:pt x="33" y="35"/>
                  <a:pt x="33" y="35"/>
                </a:cubicBezTo>
                <a:cubicBezTo>
                  <a:pt x="34" y="36"/>
                  <a:pt x="34" y="36"/>
                  <a:pt x="34" y="36"/>
                </a:cubicBezTo>
                <a:cubicBezTo>
                  <a:pt x="34" y="36"/>
                  <a:pt x="34" y="36"/>
                  <a:pt x="35" y="35"/>
                </a:cubicBezTo>
                <a:cubicBezTo>
                  <a:pt x="35" y="35"/>
                  <a:pt x="36" y="34"/>
                  <a:pt x="36" y="34"/>
                </a:cubicBezTo>
                <a:cubicBezTo>
                  <a:pt x="36" y="34"/>
                  <a:pt x="36" y="33"/>
                  <a:pt x="37" y="33"/>
                </a:cubicBezTo>
                <a:cubicBezTo>
                  <a:pt x="37" y="33"/>
                  <a:pt x="37" y="33"/>
                  <a:pt x="37" y="32"/>
                </a:cubicBezTo>
                <a:cubicBezTo>
                  <a:pt x="37" y="32"/>
                  <a:pt x="37" y="32"/>
                  <a:pt x="37" y="32"/>
                </a:cubicBezTo>
                <a:cubicBezTo>
                  <a:pt x="38" y="32"/>
                  <a:pt x="38" y="31"/>
                  <a:pt x="38" y="30"/>
                </a:cubicBezTo>
                <a:cubicBezTo>
                  <a:pt x="38" y="30"/>
                  <a:pt x="38" y="30"/>
                  <a:pt x="38" y="29"/>
                </a:cubicBezTo>
                <a:cubicBezTo>
                  <a:pt x="38" y="29"/>
                  <a:pt x="38" y="29"/>
                  <a:pt x="38" y="29"/>
                </a:cubicBezTo>
                <a:cubicBezTo>
                  <a:pt x="38" y="29"/>
                  <a:pt x="38" y="29"/>
                  <a:pt x="38" y="29"/>
                </a:cubicBezTo>
                <a:cubicBezTo>
                  <a:pt x="38" y="29"/>
                  <a:pt x="38" y="29"/>
                  <a:pt x="38" y="29"/>
                </a:cubicBezTo>
                <a:cubicBezTo>
                  <a:pt x="38" y="28"/>
                  <a:pt x="38" y="27"/>
                  <a:pt x="39" y="26"/>
                </a:cubicBezTo>
                <a:cubicBezTo>
                  <a:pt x="39" y="25"/>
                  <a:pt x="39" y="25"/>
                  <a:pt x="39" y="25"/>
                </a:cubicBezTo>
                <a:cubicBezTo>
                  <a:pt x="39" y="25"/>
                  <a:pt x="39" y="25"/>
                  <a:pt x="39" y="25"/>
                </a:cubicBezTo>
                <a:cubicBezTo>
                  <a:pt x="39" y="25"/>
                  <a:pt x="39" y="25"/>
                  <a:pt x="39" y="25"/>
                </a:cubicBezTo>
                <a:cubicBezTo>
                  <a:pt x="39" y="25"/>
                  <a:pt x="39" y="25"/>
                  <a:pt x="39" y="25"/>
                </a:cubicBezTo>
                <a:cubicBezTo>
                  <a:pt x="39" y="24"/>
                  <a:pt x="39" y="24"/>
                  <a:pt x="39" y="24"/>
                </a:cubicBezTo>
                <a:cubicBezTo>
                  <a:pt x="39" y="24"/>
                  <a:pt x="38" y="24"/>
                  <a:pt x="38" y="24"/>
                </a:cubicBezTo>
                <a:cubicBezTo>
                  <a:pt x="38" y="23"/>
                  <a:pt x="38" y="23"/>
                  <a:pt x="38" y="23"/>
                </a:cubicBezTo>
                <a:cubicBezTo>
                  <a:pt x="37" y="21"/>
                  <a:pt x="36" y="20"/>
                  <a:pt x="36" y="19"/>
                </a:cubicBezTo>
                <a:cubicBezTo>
                  <a:pt x="35" y="17"/>
                  <a:pt x="34" y="15"/>
                  <a:pt x="34" y="13"/>
                </a:cubicBezTo>
                <a:cubicBezTo>
                  <a:pt x="34" y="12"/>
                  <a:pt x="34" y="10"/>
                  <a:pt x="35" y="9"/>
                </a:cubicBezTo>
                <a:cubicBezTo>
                  <a:pt x="35" y="8"/>
                  <a:pt x="36" y="8"/>
                  <a:pt x="36" y="7"/>
                </a:cubicBezTo>
                <a:cubicBezTo>
                  <a:pt x="36" y="7"/>
                  <a:pt x="37" y="7"/>
                  <a:pt x="37" y="7"/>
                </a:cubicBezTo>
                <a:cubicBezTo>
                  <a:pt x="37" y="6"/>
                  <a:pt x="38" y="5"/>
                  <a:pt x="38" y="4"/>
                </a:cubicBezTo>
                <a:cubicBezTo>
                  <a:pt x="38" y="3"/>
                  <a:pt x="38" y="3"/>
                  <a:pt x="38" y="3"/>
                </a:cubicBezTo>
                <a:cubicBezTo>
                  <a:pt x="39" y="1"/>
                  <a:pt x="39" y="1"/>
                  <a:pt x="39" y="1"/>
                </a:cubicBezTo>
                <a:cubicBezTo>
                  <a:pt x="39" y="1"/>
                  <a:pt x="39" y="1"/>
                  <a:pt x="39" y="1"/>
                </a:cubicBezTo>
                <a:cubicBezTo>
                  <a:pt x="38" y="1"/>
                  <a:pt x="37" y="1"/>
                  <a:pt x="36" y="1"/>
                </a:cubicBezTo>
                <a:cubicBezTo>
                  <a:pt x="34" y="1"/>
                  <a:pt x="33" y="0"/>
                  <a:pt x="32" y="0"/>
                </a:cubicBezTo>
                <a:cubicBezTo>
                  <a:pt x="32" y="0"/>
                  <a:pt x="29" y="0"/>
                  <a:pt x="28" y="0"/>
                </a:cubicBezTo>
                <a:cubicBezTo>
                  <a:pt x="28" y="0"/>
                  <a:pt x="29" y="2"/>
                  <a:pt x="29" y="2"/>
                </a:cubicBezTo>
                <a:cubicBezTo>
                  <a:pt x="27" y="0"/>
                  <a:pt x="25" y="1"/>
                  <a:pt x="23" y="1"/>
                </a:cubicBezTo>
                <a:cubicBezTo>
                  <a:pt x="22" y="1"/>
                  <a:pt x="21" y="0"/>
                  <a:pt x="21" y="1"/>
                </a:cubicBezTo>
                <a:cubicBezTo>
                  <a:pt x="21" y="1"/>
                  <a:pt x="21" y="2"/>
                  <a:pt x="21" y="3"/>
                </a:cubicBezTo>
                <a:cubicBezTo>
                  <a:pt x="18" y="2"/>
                  <a:pt x="15" y="1"/>
                  <a:pt x="13" y="1"/>
                </a:cubicBezTo>
                <a:cubicBezTo>
                  <a:pt x="12" y="1"/>
                  <a:pt x="10" y="0"/>
                  <a:pt x="9" y="1"/>
                </a:cubicBezTo>
                <a:cubicBezTo>
                  <a:pt x="9" y="1"/>
                  <a:pt x="9" y="1"/>
                  <a:pt x="9" y="1"/>
                </a:cubicBezTo>
                <a:lnTo>
                  <a:pt x="10" y="1"/>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5" name="Freeform 3012">
            <a:extLst>
              <a:ext uri="{FF2B5EF4-FFF2-40B4-BE49-F238E27FC236}">
                <a16:creationId xmlns:a16="http://schemas.microsoft.com/office/drawing/2014/main" id="{E393A2B6-523E-4543-BA88-9BB9077D7FE7}"/>
              </a:ext>
            </a:extLst>
          </p:cNvPr>
          <p:cNvSpPr>
            <a:spLocks/>
          </p:cNvSpPr>
          <p:nvPr/>
        </p:nvSpPr>
        <p:spPr bwMode="auto">
          <a:xfrm>
            <a:off x="2689323" y="3676075"/>
            <a:ext cx="32707" cy="50456"/>
          </a:xfrm>
          <a:custGeom>
            <a:avLst/>
            <a:gdLst>
              <a:gd name="T0" fmla="*/ 4 w 28"/>
              <a:gd name="T1" fmla="*/ 3 h 36"/>
              <a:gd name="T2" fmla="*/ 2 w 28"/>
              <a:gd name="T3" fmla="*/ 7 h 36"/>
              <a:gd name="T4" fmla="*/ 1 w 28"/>
              <a:gd name="T5" fmla="*/ 11 h 36"/>
              <a:gd name="T6" fmla="*/ 4 w 28"/>
              <a:gd name="T7" fmla="*/ 19 h 36"/>
              <a:gd name="T8" fmla="*/ 5 w 28"/>
              <a:gd name="T9" fmla="*/ 21 h 36"/>
              <a:gd name="T10" fmla="*/ 5 w 28"/>
              <a:gd name="T11" fmla="*/ 22 h 36"/>
              <a:gd name="T12" fmla="*/ 5 w 28"/>
              <a:gd name="T13" fmla="*/ 25 h 36"/>
              <a:gd name="T14" fmla="*/ 4 w 28"/>
              <a:gd name="T15" fmla="*/ 28 h 36"/>
              <a:gd name="T16" fmla="*/ 4 w 28"/>
              <a:gd name="T17" fmla="*/ 31 h 36"/>
              <a:gd name="T18" fmla="*/ 3 w 28"/>
              <a:gd name="T19" fmla="*/ 33 h 36"/>
              <a:gd name="T20" fmla="*/ 1 w 28"/>
              <a:gd name="T21" fmla="*/ 35 h 36"/>
              <a:gd name="T22" fmla="*/ 2 w 28"/>
              <a:gd name="T23" fmla="*/ 36 h 36"/>
              <a:gd name="T24" fmla="*/ 3 w 28"/>
              <a:gd name="T25" fmla="*/ 36 h 36"/>
              <a:gd name="T26" fmla="*/ 4 w 28"/>
              <a:gd name="T27" fmla="*/ 36 h 36"/>
              <a:gd name="T28" fmla="*/ 11 w 28"/>
              <a:gd name="T29" fmla="*/ 34 h 36"/>
              <a:gd name="T30" fmla="*/ 11 w 28"/>
              <a:gd name="T31" fmla="*/ 34 h 36"/>
              <a:gd name="T32" fmla="*/ 14 w 28"/>
              <a:gd name="T33" fmla="*/ 36 h 36"/>
              <a:gd name="T34" fmla="*/ 15 w 28"/>
              <a:gd name="T35" fmla="*/ 36 h 36"/>
              <a:gd name="T36" fmla="*/ 16 w 28"/>
              <a:gd name="T37" fmla="*/ 35 h 36"/>
              <a:gd name="T38" fmla="*/ 18 w 28"/>
              <a:gd name="T39" fmla="*/ 33 h 36"/>
              <a:gd name="T40" fmla="*/ 18 w 28"/>
              <a:gd name="T41" fmla="*/ 32 h 36"/>
              <a:gd name="T42" fmla="*/ 17 w 28"/>
              <a:gd name="T43" fmla="*/ 30 h 36"/>
              <a:gd name="T44" fmla="*/ 19 w 28"/>
              <a:gd name="T45" fmla="*/ 30 h 36"/>
              <a:gd name="T46" fmla="*/ 20 w 28"/>
              <a:gd name="T47" fmla="*/ 28 h 36"/>
              <a:gd name="T48" fmla="*/ 21 w 28"/>
              <a:gd name="T49" fmla="*/ 26 h 36"/>
              <a:gd name="T50" fmla="*/ 27 w 28"/>
              <a:gd name="T51" fmla="*/ 18 h 36"/>
              <a:gd name="T52" fmla="*/ 28 w 28"/>
              <a:gd name="T53" fmla="*/ 16 h 36"/>
              <a:gd name="T54" fmla="*/ 26 w 28"/>
              <a:gd name="T55" fmla="*/ 12 h 36"/>
              <a:gd name="T56" fmla="*/ 24 w 28"/>
              <a:gd name="T57" fmla="*/ 15 h 36"/>
              <a:gd name="T58" fmla="*/ 24 w 28"/>
              <a:gd name="T59" fmla="*/ 12 h 36"/>
              <a:gd name="T60" fmla="*/ 21 w 28"/>
              <a:gd name="T61" fmla="*/ 9 h 36"/>
              <a:gd name="T62" fmla="*/ 11 w 28"/>
              <a:gd name="T63" fmla="*/ 3 h 36"/>
              <a:gd name="T64" fmla="*/ 5 w 28"/>
              <a:gd name="T65"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 h="36">
                <a:moveTo>
                  <a:pt x="5" y="2"/>
                </a:moveTo>
                <a:cubicBezTo>
                  <a:pt x="4" y="3"/>
                  <a:pt x="4" y="3"/>
                  <a:pt x="4" y="3"/>
                </a:cubicBezTo>
                <a:cubicBezTo>
                  <a:pt x="4" y="4"/>
                  <a:pt x="4" y="5"/>
                  <a:pt x="3" y="6"/>
                </a:cubicBezTo>
                <a:cubicBezTo>
                  <a:pt x="2" y="7"/>
                  <a:pt x="2" y="7"/>
                  <a:pt x="2" y="7"/>
                </a:cubicBezTo>
                <a:cubicBezTo>
                  <a:pt x="2" y="7"/>
                  <a:pt x="1" y="8"/>
                  <a:pt x="1" y="8"/>
                </a:cubicBezTo>
                <a:cubicBezTo>
                  <a:pt x="1" y="9"/>
                  <a:pt x="1" y="10"/>
                  <a:pt x="1" y="11"/>
                </a:cubicBezTo>
                <a:cubicBezTo>
                  <a:pt x="1" y="13"/>
                  <a:pt x="1" y="14"/>
                  <a:pt x="2" y="16"/>
                </a:cubicBezTo>
                <a:cubicBezTo>
                  <a:pt x="3" y="17"/>
                  <a:pt x="3" y="18"/>
                  <a:pt x="4" y="19"/>
                </a:cubicBezTo>
                <a:cubicBezTo>
                  <a:pt x="4" y="20"/>
                  <a:pt x="4" y="20"/>
                  <a:pt x="4" y="20"/>
                </a:cubicBezTo>
                <a:cubicBezTo>
                  <a:pt x="4" y="21"/>
                  <a:pt x="5" y="21"/>
                  <a:pt x="5" y="21"/>
                </a:cubicBezTo>
                <a:cubicBezTo>
                  <a:pt x="5" y="21"/>
                  <a:pt x="5" y="21"/>
                  <a:pt x="5" y="21"/>
                </a:cubicBezTo>
                <a:cubicBezTo>
                  <a:pt x="5" y="21"/>
                  <a:pt x="5" y="21"/>
                  <a:pt x="5" y="22"/>
                </a:cubicBezTo>
                <a:cubicBezTo>
                  <a:pt x="5" y="22"/>
                  <a:pt x="5" y="22"/>
                  <a:pt x="5" y="23"/>
                </a:cubicBezTo>
                <a:cubicBezTo>
                  <a:pt x="6" y="23"/>
                  <a:pt x="6" y="24"/>
                  <a:pt x="5" y="25"/>
                </a:cubicBezTo>
                <a:cubicBezTo>
                  <a:pt x="5" y="26"/>
                  <a:pt x="4" y="26"/>
                  <a:pt x="4" y="27"/>
                </a:cubicBezTo>
                <a:cubicBezTo>
                  <a:pt x="4" y="28"/>
                  <a:pt x="4" y="28"/>
                  <a:pt x="4" y="28"/>
                </a:cubicBezTo>
                <a:cubicBezTo>
                  <a:pt x="4" y="28"/>
                  <a:pt x="4" y="28"/>
                  <a:pt x="4" y="28"/>
                </a:cubicBezTo>
                <a:cubicBezTo>
                  <a:pt x="4" y="29"/>
                  <a:pt x="4" y="30"/>
                  <a:pt x="4" y="31"/>
                </a:cubicBezTo>
                <a:cubicBezTo>
                  <a:pt x="4" y="31"/>
                  <a:pt x="4" y="31"/>
                  <a:pt x="4" y="31"/>
                </a:cubicBezTo>
                <a:cubicBezTo>
                  <a:pt x="3" y="32"/>
                  <a:pt x="3" y="32"/>
                  <a:pt x="3" y="33"/>
                </a:cubicBezTo>
                <a:cubicBezTo>
                  <a:pt x="2" y="33"/>
                  <a:pt x="2" y="33"/>
                  <a:pt x="2" y="34"/>
                </a:cubicBezTo>
                <a:cubicBezTo>
                  <a:pt x="1" y="34"/>
                  <a:pt x="1" y="35"/>
                  <a:pt x="1" y="35"/>
                </a:cubicBezTo>
                <a:cubicBezTo>
                  <a:pt x="0" y="35"/>
                  <a:pt x="0" y="35"/>
                  <a:pt x="0" y="35"/>
                </a:cubicBezTo>
                <a:cubicBezTo>
                  <a:pt x="1" y="35"/>
                  <a:pt x="2" y="36"/>
                  <a:pt x="2" y="36"/>
                </a:cubicBezTo>
                <a:cubicBezTo>
                  <a:pt x="3" y="36"/>
                  <a:pt x="3" y="36"/>
                  <a:pt x="3" y="36"/>
                </a:cubicBezTo>
                <a:cubicBezTo>
                  <a:pt x="3" y="36"/>
                  <a:pt x="3" y="36"/>
                  <a:pt x="3" y="36"/>
                </a:cubicBezTo>
                <a:cubicBezTo>
                  <a:pt x="3" y="36"/>
                  <a:pt x="3" y="36"/>
                  <a:pt x="3" y="36"/>
                </a:cubicBezTo>
                <a:cubicBezTo>
                  <a:pt x="4" y="36"/>
                  <a:pt x="4" y="36"/>
                  <a:pt x="4" y="36"/>
                </a:cubicBezTo>
                <a:cubicBezTo>
                  <a:pt x="5" y="35"/>
                  <a:pt x="7" y="35"/>
                  <a:pt x="9" y="35"/>
                </a:cubicBezTo>
                <a:cubicBezTo>
                  <a:pt x="9" y="34"/>
                  <a:pt x="10" y="34"/>
                  <a:pt x="11" y="34"/>
                </a:cubicBezTo>
                <a:cubicBezTo>
                  <a:pt x="11" y="34"/>
                  <a:pt x="11" y="34"/>
                  <a:pt x="11" y="34"/>
                </a:cubicBezTo>
                <a:cubicBezTo>
                  <a:pt x="11" y="34"/>
                  <a:pt x="11" y="34"/>
                  <a:pt x="11" y="34"/>
                </a:cubicBezTo>
                <a:cubicBezTo>
                  <a:pt x="12" y="34"/>
                  <a:pt x="13" y="35"/>
                  <a:pt x="13" y="36"/>
                </a:cubicBezTo>
                <a:cubicBezTo>
                  <a:pt x="14" y="36"/>
                  <a:pt x="14" y="36"/>
                  <a:pt x="14" y="36"/>
                </a:cubicBezTo>
                <a:cubicBezTo>
                  <a:pt x="14" y="36"/>
                  <a:pt x="15" y="36"/>
                  <a:pt x="15" y="36"/>
                </a:cubicBezTo>
                <a:cubicBezTo>
                  <a:pt x="15" y="36"/>
                  <a:pt x="15" y="36"/>
                  <a:pt x="15" y="36"/>
                </a:cubicBezTo>
                <a:cubicBezTo>
                  <a:pt x="15" y="36"/>
                  <a:pt x="15" y="35"/>
                  <a:pt x="16" y="35"/>
                </a:cubicBezTo>
                <a:cubicBezTo>
                  <a:pt x="16" y="35"/>
                  <a:pt x="16" y="35"/>
                  <a:pt x="16" y="35"/>
                </a:cubicBezTo>
                <a:cubicBezTo>
                  <a:pt x="16" y="35"/>
                  <a:pt x="17" y="34"/>
                  <a:pt x="17" y="34"/>
                </a:cubicBezTo>
                <a:cubicBezTo>
                  <a:pt x="18" y="33"/>
                  <a:pt x="18" y="33"/>
                  <a:pt x="18" y="33"/>
                </a:cubicBezTo>
                <a:cubicBezTo>
                  <a:pt x="18" y="33"/>
                  <a:pt x="18" y="33"/>
                  <a:pt x="18" y="32"/>
                </a:cubicBezTo>
                <a:cubicBezTo>
                  <a:pt x="18" y="32"/>
                  <a:pt x="18" y="32"/>
                  <a:pt x="18" y="32"/>
                </a:cubicBezTo>
                <a:cubicBezTo>
                  <a:pt x="18" y="32"/>
                  <a:pt x="18" y="31"/>
                  <a:pt x="18" y="31"/>
                </a:cubicBezTo>
                <a:cubicBezTo>
                  <a:pt x="17" y="30"/>
                  <a:pt x="17" y="30"/>
                  <a:pt x="17" y="30"/>
                </a:cubicBezTo>
                <a:cubicBezTo>
                  <a:pt x="19" y="30"/>
                  <a:pt x="19" y="30"/>
                  <a:pt x="19" y="30"/>
                </a:cubicBezTo>
                <a:cubicBezTo>
                  <a:pt x="19" y="30"/>
                  <a:pt x="19" y="30"/>
                  <a:pt x="19" y="30"/>
                </a:cubicBezTo>
                <a:cubicBezTo>
                  <a:pt x="19" y="30"/>
                  <a:pt x="19" y="29"/>
                  <a:pt x="20" y="28"/>
                </a:cubicBezTo>
                <a:cubicBezTo>
                  <a:pt x="20" y="28"/>
                  <a:pt x="20" y="28"/>
                  <a:pt x="20" y="28"/>
                </a:cubicBezTo>
                <a:cubicBezTo>
                  <a:pt x="20" y="28"/>
                  <a:pt x="20" y="27"/>
                  <a:pt x="21" y="26"/>
                </a:cubicBezTo>
                <a:cubicBezTo>
                  <a:pt x="21" y="26"/>
                  <a:pt x="21" y="26"/>
                  <a:pt x="21" y="26"/>
                </a:cubicBezTo>
                <a:cubicBezTo>
                  <a:pt x="22" y="25"/>
                  <a:pt x="23" y="23"/>
                  <a:pt x="24" y="22"/>
                </a:cubicBezTo>
                <a:cubicBezTo>
                  <a:pt x="27" y="18"/>
                  <a:pt x="27" y="18"/>
                  <a:pt x="27" y="18"/>
                </a:cubicBezTo>
                <a:cubicBezTo>
                  <a:pt x="27" y="16"/>
                  <a:pt x="27" y="16"/>
                  <a:pt x="27" y="16"/>
                </a:cubicBezTo>
                <a:cubicBezTo>
                  <a:pt x="28" y="16"/>
                  <a:pt x="28" y="16"/>
                  <a:pt x="28" y="16"/>
                </a:cubicBezTo>
                <a:cubicBezTo>
                  <a:pt x="28" y="15"/>
                  <a:pt x="28" y="14"/>
                  <a:pt x="28" y="14"/>
                </a:cubicBezTo>
                <a:cubicBezTo>
                  <a:pt x="27" y="13"/>
                  <a:pt x="26" y="12"/>
                  <a:pt x="26" y="12"/>
                </a:cubicBezTo>
                <a:cubicBezTo>
                  <a:pt x="25" y="13"/>
                  <a:pt x="26" y="13"/>
                  <a:pt x="25" y="14"/>
                </a:cubicBezTo>
                <a:cubicBezTo>
                  <a:pt x="25" y="14"/>
                  <a:pt x="25" y="15"/>
                  <a:pt x="24" y="15"/>
                </a:cubicBezTo>
                <a:cubicBezTo>
                  <a:pt x="25" y="15"/>
                  <a:pt x="25" y="14"/>
                  <a:pt x="25" y="14"/>
                </a:cubicBezTo>
                <a:cubicBezTo>
                  <a:pt x="25" y="13"/>
                  <a:pt x="25" y="13"/>
                  <a:pt x="24" y="12"/>
                </a:cubicBezTo>
                <a:cubicBezTo>
                  <a:pt x="23" y="10"/>
                  <a:pt x="23" y="10"/>
                  <a:pt x="21" y="11"/>
                </a:cubicBezTo>
                <a:cubicBezTo>
                  <a:pt x="22" y="10"/>
                  <a:pt x="22" y="10"/>
                  <a:pt x="21" y="9"/>
                </a:cubicBezTo>
                <a:cubicBezTo>
                  <a:pt x="21" y="9"/>
                  <a:pt x="21" y="9"/>
                  <a:pt x="21" y="9"/>
                </a:cubicBezTo>
                <a:cubicBezTo>
                  <a:pt x="19" y="6"/>
                  <a:pt x="15" y="4"/>
                  <a:pt x="11" y="3"/>
                </a:cubicBezTo>
                <a:cubicBezTo>
                  <a:pt x="5" y="0"/>
                  <a:pt x="5" y="0"/>
                  <a:pt x="5" y="0"/>
                </a:cubicBezTo>
                <a:lnTo>
                  <a:pt x="5" y="2"/>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6" name="Freeform 3013">
            <a:extLst>
              <a:ext uri="{FF2B5EF4-FFF2-40B4-BE49-F238E27FC236}">
                <a16:creationId xmlns:a16="http://schemas.microsoft.com/office/drawing/2014/main" id="{79A5E5B9-EDEE-4F99-9956-A0537EFAC751}"/>
              </a:ext>
            </a:extLst>
          </p:cNvPr>
          <p:cNvSpPr>
            <a:spLocks/>
          </p:cNvSpPr>
          <p:nvPr/>
        </p:nvSpPr>
        <p:spPr bwMode="auto">
          <a:xfrm>
            <a:off x="2641254" y="4205562"/>
            <a:ext cx="60954" cy="77167"/>
          </a:xfrm>
          <a:custGeom>
            <a:avLst/>
            <a:gdLst>
              <a:gd name="T0" fmla="*/ 51 w 52"/>
              <a:gd name="T1" fmla="*/ 41 h 55"/>
              <a:gd name="T2" fmla="*/ 49 w 52"/>
              <a:gd name="T3" fmla="*/ 40 h 55"/>
              <a:gd name="T4" fmla="*/ 49 w 52"/>
              <a:gd name="T5" fmla="*/ 33 h 55"/>
              <a:gd name="T6" fmla="*/ 52 w 52"/>
              <a:gd name="T7" fmla="*/ 29 h 55"/>
              <a:gd name="T8" fmla="*/ 47 w 52"/>
              <a:gd name="T9" fmla="*/ 24 h 55"/>
              <a:gd name="T10" fmla="*/ 45 w 52"/>
              <a:gd name="T11" fmla="*/ 21 h 55"/>
              <a:gd name="T12" fmla="*/ 43 w 52"/>
              <a:gd name="T13" fmla="*/ 20 h 55"/>
              <a:gd name="T14" fmla="*/ 39 w 52"/>
              <a:gd name="T15" fmla="*/ 17 h 55"/>
              <a:gd name="T16" fmla="*/ 38 w 52"/>
              <a:gd name="T17" fmla="*/ 16 h 55"/>
              <a:gd name="T18" fmla="*/ 32 w 52"/>
              <a:gd name="T19" fmla="*/ 13 h 55"/>
              <a:gd name="T20" fmla="*/ 29 w 52"/>
              <a:gd name="T21" fmla="*/ 10 h 55"/>
              <a:gd name="T22" fmla="*/ 29 w 52"/>
              <a:gd name="T23" fmla="*/ 10 h 55"/>
              <a:gd name="T24" fmla="*/ 29 w 52"/>
              <a:gd name="T25" fmla="*/ 10 h 55"/>
              <a:gd name="T26" fmla="*/ 29 w 52"/>
              <a:gd name="T27" fmla="*/ 10 h 55"/>
              <a:gd name="T28" fmla="*/ 29 w 52"/>
              <a:gd name="T29" fmla="*/ 10 h 55"/>
              <a:gd name="T30" fmla="*/ 28 w 52"/>
              <a:gd name="T31" fmla="*/ 11 h 55"/>
              <a:gd name="T32" fmla="*/ 27 w 52"/>
              <a:gd name="T33" fmla="*/ 11 h 55"/>
              <a:gd name="T34" fmla="*/ 25 w 52"/>
              <a:gd name="T35" fmla="*/ 12 h 55"/>
              <a:gd name="T36" fmla="*/ 24 w 52"/>
              <a:gd name="T37" fmla="*/ 10 h 55"/>
              <a:gd name="T38" fmla="*/ 23 w 52"/>
              <a:gd name="T39" fmla="*/ 7 h 55"/>
              <a:gd name="T40" fmla="*/ 19 w 52"/>
              <a:gd name="T41" fmla="*/ 3 h 55"/>
              <a:gd name="T42" fmla="*/ 15 w 52"/>
              <a:gd name="T43" fmla="*/ 1 h 55"/>
              <a:gd name="T44" fmla="*/ 13 w 52"/>
              <a:gd name="T45" fmla="*/ 2 h 55"/>
              <a:gd name="T46" fmla="*/ 9 w 52"/>
              <a:gd name="T47" fmla="*/ 2 h 55"/>
              <a:gd name="T48" fmla="*/ 8 w 52"/>
              <a:gd name="T49" fmla="*/ 2 h 55"/>
              <a:gd name="T50" fmla="*/ 7 w 52"/>
              <a:gd name="T51" fmla="*/ 5 h 55"/>
              <a:gd name="T52" fmla="*/ 8 w 52"/>
              <a:gd name="T53" fmla="*/ 7 h 55"/>
              <a:gd name="T54" fmla="*/ 7 w 52"/>
              <a:gd name="T55" fmla="*/ 10 h 55"/>
              <a:gd name="T56" fmla="*/ 6 w 52"/>
              <a:gd name="T57" fmla="*/ 14 h 55"/>
              <a:gd name="T58" fmla="*/ 5 w 52"/>
              <a:gd name="T59" fmla="*/ 16 h 55"/>
              <a:gd name="T60" fmla="*/ 4 w 52"/>
              <a:gd name="T61" fmla="*/ 20 h 55"/>
              <a:gd name="T62" fmla="*/ 4 w 52"/>
              <a:gd name="T63" fmla="*/ 20 h 55"/>
              <a:gd name="T64" fmla="*/ 4 w 52"/>
              <a:gd name="T65" fmla="*/ 23 h 55"/>
              <a:gd name="T66" fmla="*/ 4 w 52"/>
              <a:gd name="T67" fmla="*/ 24 h 55"/>
              <a:gd name="T68" fmla="*/ 4 w 52"/>
              <a:gd name="T69" fmla="*/ 28 h 55"/>
              <a:gd name="T70" fmla="*/ 5 w 52"/>
              <a:gd name="T71" fmla="*/ 34 h 55"/>
              <a:gd name="T72" fmla="*/ 3 w 52"/>
              <a:gd name="T73" fmla="*/ 35 h 55"/>
              <a:gd name="T74" fmla="*/ 1 w 52"/>
              <a:gd name="T75" fmla="*/ 41 h 55"/>
              <a:gd name="T76" fmla="*/ 0 w 52"/>
              <a:gd name="T77" fmla="*/ 42 h 55"/>
              <a:gd name="T78" fmla="*/ 4 w 52"/>
              <a:gd name="T79" fmla="*/ 46 h 55"/>
              <a:gd name="T80" fmla="*/ 10 w 52"/>
              <a:gd name="T81" fmla="*/ 49 h 55"/>
              <a:gd name="T82" fmla="*/ 23 w 52"/>
              <a:gd name="T83" fmla="*/ 53 h 55"/>
              <a:gd name="T84" fmla="*/ 31 w 52"/>
              <a:gd name="T85" fmla="*/ 53 h 55"/>
              <a:gd name="T86" fmla="*/ 40 w 52"/>
              <a:gd name="T87" fmla="*/ 53 h 55"/>
              <a:gd name="T88" fmla="*/ 42 w 52"/>
              <a:gd name="T89" fmla="*/ 50 h 55"/>
              <a:gd name="T90" fmla="*/ 48 w 52"/>
              <a:gd name="T91" fmla="*/ 48 h 55"/>
              <a:gd name="T92" fmla="*/ 50 w 52"/>
              <a:gd name="T93" fmla="*/ 4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 h="55">
                <a:moveTo>
                  <a:pt x="51" y="42"/>
                </a:moveTo>
                <a:cubicBezTo>
                  <a:pt x="51" y="41"/>
                  <a:pt x="51" y="41"/>
                  <a:pt x="51" y="41"/>
                </a:cubicBezTo>
                <a:cubicBezTo>
                  <a:pt x="50" y="41"/>
                  <a:pt x="50" y="41"/>
                  <a:pt x="50" y="40"/>
                </a:cubicBezTo>
                <a:cubicBezTo>
                  <a:pt x="50" y="40"/>
                  <a:pt x="49" y="40"/>
                  <a:pt x="49" y="40"/>
                </a:cubicBezTo>
                <a:cubicBezTo>
                  <a:pt x="48" y="39"/>
                  <a:pt x="49" y="34"/>
                  <a:pt x="49" y="33"/>
                </a:cubicBezTo>
                <a:cubicBezTo>
                  <a:pt x="49" y="33"/>
                  <a:pt x="49" y="33"/>
                  <a:pt x="49" y="33"/>
                </a:cubicBezTo>
                <a:cubicBezTo>
                  <a:pt x="50" y="31"/>
                  <a:pt x="51" y="30"/>
                  <a:pt x="51" y="29"/>
                </a:cubicBezTo>
                <a:cubicBezTo>
                  <a:pt x="52" y="29"/>
                  <a:pt x="52" y="29"/>
                  <a:pt x="52" y="29"/>
                </a:cubicBezTo>
                <a:cubicBezTo>
                  <a:pt x="50" y="27"/>
                  <a:pt x="49" y="27"/>
                  <a:pt x="48" y="25"/>
                </a:cubicBezTo>
                <a:cubicBezTo>
                  <a:pt x="47" y="24"/>
                  <a:pt x="47" y="24"/>
                  <a:pt x="47" y="24"/>
                </a:cubicBezTo>
                <a:cubicBezTo>
                  <a:pt x="47" y="23"/>
                  <a:pt x="46" y="23"/>
                  <a:pt x="46" y="22"/>
                </a:cubicBezTo>
                <a:cubicBezTo>
                  <a:pt x="45" y="21"/>
                  <a:pt x="45" y="21"/>
                  <a:pt x="45" y="21"/>
                </a:cubicBezTo>
                <a:cubicBezTo>
                  <a:pt x="45" y="21"/>
                  <a:pt x="44" y="20"/>
                  <a:pt x="44" y="20"/>
                </a:cubicBezTo>
                <a:cubicBezTo>
                  <a:pt x="43" y="20"/>
                  <a:pt x="43" y="20"/>
                  <a:pt x="43" y="20"/>
                </a:cubicBezTo>
                <a:cubicBezTo>
                  <a:pt x="43" y="20"/>
                  <a:pt x="42" y="19"/>
                  <a:pt x="42" y="19"/>
                </a:cubicBezTo>
                <a:cubicBezTo>
                  <a:pt x="41" y="19"/>
                  <a:pt x="40" y="18"/>
                  <a:pt x="39" y="17"/>
                </a:cubicBezTo>
                <a:cubicBezTo>
                  <a:pt x="39" y="17"/>
                  <a:pt x="39" y="17"/>
                  <a:pt x="39" y="17"/>
                </a:cubicBezTo>
                <a:cubicBezTo>
                  <a:pt x="39" y="16"/>
                  <a:pt x="38" y="16"/>
                  <a:pt x="38" y="16"/>
                </a:cubicBezTo>
                <a:cubicBezTo>
                  <a:pt x="38" y="15"/>
                  <a:pt x="37" y="15"/>
                  <a:pt x="36" y="15"/>
                </a:cubicBezTo>
                <a:cubicBezTo>
                  <a:pt x="34" y="14"/>
                  <a:pt x="33" y="14"/>
                  <a:pt x="32" y="13"/>
                </a:cubicBezTo>
                <a:cubicBezTo>
                  <a:pt x="31" y="13"/>
                  <a:pt x="31" y="12"/>
                  <a:pt x="30" y="11"/>
                </a:cubicBezTo>
                <a:cubicBezTo>
                  <a:pt x="30" y="11"/>
                  <a:pt x="30" y="10"/>
                  <a:pt x="29" y="10"/>
                </a:cubicBezTo>
                <a:cubicBezTo>
                  <a:pt x="29" y="10"/>
                  <a:pt x="29" y="10"/>
                  <a:pt x="29" y="10"/>
                </a:cubicBezTo>
                <a:cubicBezTo>
                  <a:pt x="29" y="10"/>
                  <a:pt x="29" y="10"/>
                  <a:pt x="29" y="10"/>
                </a:cubicBezTo>
                <a:cubicBezTo>
                  <a:pt x="29" y="10"/>
                  <a:pt x="29" y="10"/>
                  <a:pt x="29" y="10"/>
                </a:cubicBezTo>
                <a:cubicBezTo>
                  <a:pt x="29" y="10"/>
                  <a:pt x="29" y="10"/>
                  <a:pt x="29" y="10"/>
                </a:cubicBezTo>
                <a:cubicBezTo>
                  <a:pt x="29" y="10"/>
                  <a:pt x="29" y="10"/>
                  <a:pt x="29" y="10"/>
                </a:cubicBezTo>
                <a:cubicBezTo>
                  <a:pt x="29" y="10"/>
                  <a:pt x="29" y="10"/>
                  <a:pt x="29" y="10"/>
                </a:cubicBezTo>
                <a:cubicBezTo>
                  <a:pt x="29" y="10"/>
                  <a:pt x="29" y="10"/>
                  <a:pt x="28" y="10"/>
                </a:cubicBezTo>
                <a:cubicBezTo>
                  <a:pt x="29" y="10"/>
                  <a:pt x="29" y="10"/>
                  <a:pt x="29" y="10"/>
                </a:cubicBezTo>
                <a:cubicBezTo>
                  <a:pt x="28" y="10"/>
                  <a:pt x="28" y="10"/>
                  <a:pt x="28" y="10"/>
                </a:cubicBezTo>
                <a:cubicBezTo>
                  <a:pt x="28" y="11"/>
                  <a:pt x="28" y="11"/>
                  <a:pt x="28" y="11"/>
                </a:cubicBezTo>
                <a:cubicBezTo>
                  <a:pt x="28" y="11"/>
                  <a:pt x="28" y="11"/>
                  <a:pt x="28" y="11"/>
                </a:cubicBezTo>
                <a:cubicBezTo>
                  <a:pt x="27" y="11"/>
                  <a:pt x="27" y="11"/>
                  <a:pt x="27" y="11"/>
                </a:cubicBezTo>
                <a:cubicBezTo>
                  <a:pt x="27" y="11"/>
                  <a:pt x="27" y="11"/>
                  <a:pt x="27" y="11"/>
                </a:cubicBezTo>
                <a:cubicBezTo>
                  <a:pt x="26" y="11"/>
                  <a:pt x="26" y="11"/>
                  <a:pt x="25" y="12"/>
                </a:cubicBezTo>
                <a:cubicBezTo>
                  <a:pt x="23" y="12"/>
                  <a:pt x="23" y="12"/>
                  <a:pt x="23" y="12"/>
                </a:cubicBezTo>
                <a:cubicBezTo>
                  <a:pt x="24" y="10"/>
                  <a:pt x="24" y="10"/>
                  <a:pt x="24" y="10"/>
                </a:cubicBezTo>
                <a:cubicBezTo>
                  <a:pt x="24" y="10"/>
                  <a:pt x="24" y="9"/>
                  <a:pt x="24" y="9"/>
                </a:cubicBezTo>
                <a:cubicBezTo>
                  <a:pt x="24" y="8"/>
                  <a:pt x="24" y="7"/>
                  <a:pt x="23" y="7"/>
                </a:cubicBezTo>
                <a:cubicBezTo>
                  <a:pt x="22" y="5"/>
                  <a:pt x="22" y="5"/>
                  <a:pt x="22" y="5"/>
                </a:cubicBezTo>
                <a:cubicBezTo>
                  <a:pt x="21" y="5"/>
                  <a:pt x="20" y="4"/>
                  <a:pt x="19" y="3"/>
                </a:cubicBezTo>
                <a:cubicBezTo>
                  <a:pt x="18" y="2"/>
                  <a:pt x="18" y="2"/>
                  <a:pt x="17" y="1"/>
                </a:cubicBezTo>
                <a:cubicBezTo>
                  <a:pt x="16" y="1"/>
                  <a:pt x="15" y="0"/>
                  <a:pt x="15" y="1"/>
                </a:cubicBezTo>
                <a:cubicBezTo>
                  <a:pt x="15" y="1"/>
                  <a:pt x="15" y="1"/>
                  <a:pt x="14" y="1"/>
                </a:cubicBezTo>
                <a:cubicBezTo>
                  <a:pt x="14" y="1"/>
                  <a:pt x="14" y="2"/>
                  <a:pt x="13" y="2"/>
                </a:cubicBezTo>
                <a:cubicBezTo>
                  <a:pt x="12" y="3"/>
                  <a:pt x="11" y="2"/>
                  <a:pt x="9" y="2"/>
                </a:cubicBezTo>
                <a:cubicBezTo>
                  <a:pt x="9" y="2"/>
                  <a:pt x="9" y="2"/>
                  <a:pt x="9" y="2"/>
                </a:cubicBezTo>
                <a:cubicBezTo>
                  <a:pt x="9" y="2"/>
                  <a:pt x="9" y="2"/>
                  <a:pt x="9" y="2"/>
                </a:cubicBezTo>
                <a:cubicBezTo>
                  <a:pt x="9" y="2"/>
                  <a:pt x="9" y="2"/>
                  <a:pt x="8" y="2"/>
                </a:cubicBezTo>
                <a:cubicBezTo>
                  <a:pt x="8" y="2"/>
                  <a:pt x="8" y="3"/>
                  <a:pt x="8" y="3"/>
                </a:cubicBezTo>
                <a:cubicBezTo>
                  <a:pt x="7" y="3"/>
                  <a:pt x="7" y="4"/>
                  <a:pt x="7" y="5"/>
                </a:cubicBezTo>
                <a:cubicBezTo>
                  <a:pt x="7" y="5"/>
                  <a:pt x="7" y="5"/>
                  <a:pt x="7" y="5"/>
                </a:cubicBezTo>
                <a:cubicBezTo>
                  <a:pt x="7" y="6"/>
                  <a:pt x="7" y="6"/>
                  <a:pt x="8" y="7"/>
                </a:cubicBezTo>
                <a:cubicBezTo>
                  <a:pt x="8" y="7"/>
                  <a:pt x="8" y="8"/>
                  <a:pt x="8" y="8"/>
                </a:cubicBezTo>
                <a:cubicBezTo>
                  <a:pt x="7" y="9"/>
                  <a:pt x="7" y="9"/>
                  <a:pt x="7" y="10"/>
                </a:cubicBezTo>
                <a:cubicBezTo>
                  <a:pt x="7" y="11"/>
                  <a:pt x="7" y="12"/>
                  <a:pt x="6" y="13"/>
                </a:cubicBezTo>
                <a:cubicBezTo>
                  <a:pt x="6" y="14"/>
                  <a:pt x="6" y="14"/>
                  <a:pt x="6" y="14"/>
                </a:cubicBezTo>
                <a:cubicBezTo>
                  <a:pt x="6" y="14"/>
                  <a:pt x="6" y="14"/>
                  <a:pt x="6" y="14"/>
                </a:cubicBezTo>
                <a:cubicBezTo>
                  <a:pt x="6" y="15"/>
                  <a:pt x="5" y="16"/>
                  <a:pt x="5" y="16"/>
                </a:cubicBezTo>
                <a:cubicBezTo>
                  <a:pt x="6" y="17"/>
                  <a:pt x="6" y="18"/>
                  <a:pt x="5" y="19"/>
                </a:cubicBezTo>
                <a:cubicBezTo>
                  <a:pt x="5" y="19"/>
                  <a:pt x="4" y="20"/>
                  <a:pt x="4" y="20"/>
                </a:cubicBezTo>
                <a:cubicBezTo>
                  <a:pt x="4" y="20"/>
                  <a:pt x="4" y="20"/>
                  <a:pt x="4" y="20"/>
                </a:cubicBezTo>
                <a:cubicBezTo>
                  <a:pt x="4" y="20"/>
                  <a:pt x="4" y="20"/>
                  <a:pt x="4" y="20"/>
                </a:cubicBezTo>
                <a:cubicBezTo>
                  <a:pt x="4" y="21"/>
                  <a:pt x="4" y="21"/>
                  <a:pt x="4" y="21"/>
                </a:cubicBezTo>
                <a:cubicBezTo>
                  <a:pt x="4" y="22"/>
                  <a:pt x="4" y="23"/>
                  <a:pt x="4" y="23"/>
                </a:cubicBezTo>
                <a:cubicBezTo>
                  <a:pt x="4" y="23"/>
                  <a:pt x="4" y="23"/>
                  <a:pt x="4" y="23"/>
                </a:cubicBezTo>
                <a:cubicBezTo>
                  <a:pt x="4" y="24"/>
                  <a:pt x="4" y="24"/>
                  <a:pt x="4" y="24"/>
                </a:cubicBezTo>
                <a:cubicBezTo>
                  <a:pt x="4" y="26"/>
                  <a:pt x="4" y="27"/>
                  <a:pt x="4" y="28"/>
                </a:cubicBezTo>
                <a:cubicBezTo>
                  <a:pt x="4" y="28"/>
                  <a:pt x="4" y="28"/>
                  <a:pt x="4" y="28"/>
                </a:cubicBezTo>
                <a:cubicBezTo>
                  <a:pt x="5" y="29"/>
                  <a:pt x="5" y="29"/>
                  <a:pt x="5" y="29"/>
                </a:cubicBezTo>
                <a:cubicBezTo>
                  <a:pt x="5" y="30"/>
                  <a:pt x="6" y="32"/>
                  <a:pt x="5" y="34"/>
                </a:cubicBezTo>
                <a:cubicBezTo>
                  <a:pt x="4" y="34"/>
                  <a:pt x="4" y="34"/>
                  <a:pt x="3" y="34"/>
                </a:cubicBezTo>
                <a:cubicBezTo>
                  <a:pt x="3" y="34"/>
                  <a:pt x="3" y="35"/>
                  <a:pt x="3" y="35"/>
                </a:cubicBezTo>
                <a:cubicBezTo>
                  <a:pt x="2" y="36"/>
                  <a:pt x="2" y="37"/>
                  <a:pt x="2" y="37"/>
                </a:cubicBezTo>
                <a:cubicBezTo>
                  <a:pt x="2" y="38"/>
                  <a:pt x="1" y="40"/>
                  <a:pt x="1" y="41"/>
                </a:cubicBezTo>
                <a:cubicBezTo>
                  <a:pt x="1" y="42"/>
                  <a:pt x="1" y="42"/>
                  <a:pt x="1" y="42"/>
                </a:cubicBezTo>
                <a:cubicBezTo>
                  <a:pt x="0" y="42"/>
                  <a:pt x="0" y="42"/>
                  <a:pt x="0" y="42"/>
                </a:cubicBezTo>
                <a:cubicBezTo>
                  <a:pt x="0" y="42"/>
                  <a:pt x="0" y="42"/>
                  <a:pt x="0" y="42"/>
                </a:cubicBezTo>
                <a:cubicBezTo>
                  <a:pt x="1" y="43"/>
                  <a:pt x="3" y="45"/>
                  <a:pt x="4" y="46"/>
                </a:cubicBezTo>
                <a:cubicBezTo>
                  <a:pt x="4" y="47"/>
                  <a:pt x="5" y="48"/>
                  <a:pt x="6" y="49"/>
                </a:cubicBezTo>
                <a:cubicBezTo>
                  <a:pt x="6" y="49"/>
                  <a:pt x="9" y="49"/>
                  <a:pt x="10" y="49"/>
                </a:cubicBezTo>
                <a:cubicBezTo>
                  <a:pt x="11" y="49"/>
                  <a:pt x="12" y="48"/>
                  <a:pt x="14" y="49"/>
                </a:cubicBezTo>
                <a:cubicBezTo>
                  <a:pt x="17" y="51"/>
                  <a:pt x="20" y="52"/>
                  <a:pt x="23" y="53"/>
                </a:cubicBezTo>
                <a:cubicBezTo>
                  <a:pt x="25" y="54"/>
                  <a:pt x="25" y="54"/>
                  <a:pt x="27" y="53"/>
                </a:cubicBezTo>
                <a:cubicBezTo>
                  <a:pt x="28" y="53"/>
                  <a:pt x="31" y="52"/>
                  <a:pt x="31" y="53"/>
                </a:cubicBezTo>
                <a:cubicBezTo>
                  <a:pt x="32" y="53"/>
                  <a:pt x="35" y="55"/>
                  <a:pt x="36" y="55"/>
                </a:cubicBezTo>
                <a:cubicBezTo>
                  <a:pt x="37" y="54"/>
                  <a:pt x="39" y="53"/>
                  <a:pt x="40" y="53"/>
                </a:cubicBezTo>
                <a:cubicBezTo>
                  <a:pt x="41" y="52"/>
                  <a:pt x="42" y="52"/>
                  <a:pt x="42" y="51"/>
                </a:cubicBezTo>
                <a:cubicBezTo>
                  <a:pt x="43" y="51"/>
                  <a:pt x="42" y="50"/>
                  <a:pt x="42" y="50"/>
                </a:cubicBezTo>
                <a:cubicBezTo>
                  <a:pt x="42" y="50"/>
                  <a:pt x="43" y="50"/>
                  <a:pt x="44" y="49"/>
                </a:cubicBezTo>
                <a:cubicBezTo>
                  <a:pt x="45" y="49"/>
                  <a:pt x="47" y="49"/>
                  <a:pt x="48" y="48"/>
                </a:cubicBezTo>
                <a:cubicBezTo>
                  <a:pt x="48" y="48"/>
                  <a:pt x="48" y="47"/>
                  <a:pt x="48" y="47"/>
                </a:cubicBezTo>
                <a:cubicBezTo>
                  <a:pt x="48" y="46"/>
                  <a:pt x="50" y="45"/>
                  <a:pt x="50" y="44"/>
                </a:cubicBezTo>
                <a:cubicBezTo>
                  <a:pt x="50" y="44"/>
                  <a:pt x="51" y="43"/>
                  <a:pt x="51" y="42"/>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7" name="Freeform 3014">
            <a:extLst>
              <a:ext uri="{FF2B5EF4-FFF2-40B4-BE49-F238E27FC236}">
                <a16:creationId xmlns:a16="http://schemas.microsoft.com/office/drawing/2014/main" id="{9E27E1FB-E54D-4B43-B9E4-DB8BC303530F}"/>
              </a:ext>
            </a:extLst>
          </p:cNvPr>
          <p:cNvSpPr>
            <a:spLocks/>
          </p:cNvSpPr>
          <p:nvPr/>
        </p:nvSpPr>
        <p:spPr bwMode="auto">
          <a:xfrm>
            <a:off x="2478215" y="4590211"/>
            <a:ext cx="39645" cy="47488"/>
          </a:xfrm>
          <a:custGeom>
            <a:avLst/>
            <a:gdLst>
              <a:gd name="T0" fmla="*/ 34 w 34"/>
              <a:gd name="T1" fmla="*/ 2 h 34"/>
              <a:gd name="T2" fmla="*/ 27 w 34"/>
              <a:gd name="T3" fmla="*/ 0 h 34"/>
              <a:gd name="T4" fmla="*/ 20 w 34"/>
              <a:gd name="T5" fmla="*/ 4 h 34"/>
              <a:gd name="T6" fmla="*/ 18 w 34"/>
              <a:gd name="T7" fmla="*/ 4 h 34"/>
              <a:gd name="T8" fmla="*/ 20 w 34"/>
              <a:gd name="T9" fmla="*/ 6 h 34"/>
              <a:gd name="T10" fmla="*/ 20 w 34"/>
              <a:gd name="T11" fmla="*/ 13 h 34"/>
              <a:gd name="T12" fmla="*/ 28 w 34"/>
              <a:gd name="T13" fmla="*/ 13 h 34"/>
              <a:gd name="T14" fmla="*/ 20 w 34"/>
              <a:gd name="T15" fmla="*/ 17 h 34"/>
              <a:gd name="T16" fmla="*/ 20 w 34"/>
              <a:gd name="T17" fmla="*/ 20 h 34"/>
              <a:gd name="T18" fmla="*/ 26 w 34"/>
              <a:gd name="T19" fmla="*/ 25 h 34"/>
              <a:gd name="T20" fmla="*/ 31 w 34"/>
              <a:gd name="T21" fmla="*/ 27 h 34"/>
              <a:gd name="T22" fmla="*/ 28 w 34"/>
              <a:gd name="T23" fmla="*/ 27 h 34"/>
              <a:gd name="T24" fmla="*/ 26 w 34"/>
              <a:gd name="T25" fmla="*/ 26 h 34"/>
              <a:gd name="T26" fmla="*/ 23 w 34"/>
              <a:gd name="T27" fmla="*/ 26 h 34"/>
              <a:gd name="T28" fmla="*/ 22 w 34"/>
              <a:gd name="T29" fmla="*/ 27 h 34"/>
              <a:gd name="T30" fmla="*/ 20 w 34"/>
              <a:gd name="T31" fmla="*/ 26 h 34"/>
              <a:gd name="T32" fmla="*/ 12 w 34"/>
              <a:gd name="T33" fmla="*/ 23 h 34"/>
              <a:gd name="T34" fmla="*/ 15 w 34"/>
              <a:gd name="T35" fmla="*/ 25 h 34"/>
              <a:gd name="T36" fmla="*/ 19 w 34"/>
              <a:gd name="T37" fmla="*/ 29 h 34"/>
              <a:gd name="T38" fmla="*/ 14 w 34"/>
              <a:gd name="T39" fmla="*/ 29 h 34"/>
              <a:gd name="T40" fmla="*/ 15 w 34"/>
              <a:gd name="T41" fmla="*/ 26 h 34"/>
              <a:gd name="T42" fmla="*/ 5 w 34"/>
              <a:gd name="T43" fmla="*/ 28 h 34"/>
              <a:gd name="T44" fmla="*/ 3 w 34"/>
              <a:gd name="T45" fmla="*/ 28 h 34"/>
              <a:gd name="T46" fmla="*/ 3 w 34"/>
              <a:gd name="T47" fmla="*/ 29 h 34"/>
              <a:gd name="T48" fmla="*/ 0 w 34"/>
              <a:gd name="T49" fmla="*/ 28 h 34"/>
              <a:gd name="T50" fmla="*/ 2 w 34"/>
              <a:gd name="T51" fmla="*/ 30 h 34"/>
              <a:gd name="T52" fmla="*/ 7 w 34"/>
              <a:gd name="T53" fmla="*/ 29 h 34"/>
              <a:gd name="T54" fmla="*/ 8 w 34"/>
              <a:gd name="T55" fmla="*/ 31 h 34"/>
              <a:gd name="T56" fmla="*/ 10 w 34"/>
              <a:gd name="T57" fmla="*/ 32 h 34"/>
              <a:gd name="T58" fmla="*/ 15 w 34"/>
              <a:gd name="T59" fmla="*/ 31 h 34"/>
              <a:gd name="T60" fmla="*/ 12 w 34"/>
              <a:gd name="T61" fmla="*/ 32 h 34"/>
              <a:gd name="T62" fmla="*/ 18 w 34"/>
              <a:gd name="T63" fmla="*/ 31 h 34"/>
              <a:gd name="T64" fmla="*/ 21 w 34"/>
              <a:gd name="T65" fmla="*/ 31 h 34"/>
              <a:gd name="T66" fmla="*/ 24 w 34"/>
              <a:gd name="T67" fmla="*/ 33 h 34"/>
              <a:gd name="T68" fmla="*/ 32 w 34"/>
              <a:gd name="T69" fmla="*/ 32 h 34"/>
              <a:gd name="T70" fmla="*/ 34 w 34"/>
              <a:gd name="T71"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 h="34">
                <a:moveTo>
                  <a:pt x="34" y="33"/>
                </a:moveTo>
                <a:cubicBezTo>
                  <a:pt x="33" y="27"/>
                  <a:pt x="34" y="8"/>
                  <a:pt x="34" y="2"/>
                </a:cubicBezTo>
                <a:cubicBezTo>
                  <a:pt x="33" y="2"/>
                  <a:pt x="32" y="2"/>
                  <a:pt x="31" y="2"/>
                </a:cubicBezTo>
                <a:cubicBezTo>
                  <a:pt x="29" y="2"/>
                  <a:pt x="29" y="1"/>
                  <a:pt x="27" y="0"/>
                </a:cubicBezTo>
                <a:cubicBezTo>
                  <a:pt x="26" y="0"/>
                  <a:pt x="26" y="0"/>
                  <a:pt x="25" y="1"/>
                </a:cubicBezTo>
                <a:cubicBezTo>
                  <a:pt x="23" y="3"/>
                  <a:pt x="22" y="6"/>
                  <a:pt x="20" y="4"/>
                </a:cubicBezTo>
                <a:cubicBezTo>
                  <a:pt x="19" y="3"/>
                  <a:pt x="18" y="3"/>
                  <a:pt x="17" y="4"/>
                </a:cubicBezTo>
                <a:cubicBezTo>
                  <a:pt x="17" y="4"/>
                  <a:pt x="18" y="4"/>
                  <a:pt x="18" y="4"/>
                </a:cubicBezTo>
                <a:cubicBezTo>
                  <a:pt x="18" y="5"/>
                  <a:pt x="18" y="5"/>
                  <a:pt x="18" y="6"/>
                </a:cubicBezTo>
                <a:cubicBezTo>
                  <a:pt x="18" y="6"/>
                  <a:pt x="20" y="5"/>
                  <a:pt x="20" y="6"/>
                </a:cubicBezTo>
                <a:cubicBezTo>
                  <a:pt x="20" y="6"/>
                  <a:pt x="17" y="9"/>
                  <a:pt x="17" y="7"/>
                </a:cubicBezTo>
                <a:cubicBezTo>
                  <a:pt x="15" y="8"/>
                  <a:pt x="17" y="15"/>
                  <a:pt x="20" y="13"/>
                </a:cubicBezTo>
                <a:cubicBezTo>
                  <a:pt x="22" y="12"/>
                  <a:pt x="22" y="12"/>
                  <a:pt x="24" y="12"/>
                </a:cubicBezTo>
                <a:cubicBezTo>
                  <a:pt x="26" y="12"/>
                  <a:pt x="28" y="11"/>
                  <a:pt x="28" y="13"/>
                </a:cubicBezTo>
                <a:cubicBezTo>
                  <a:pt x="27" y="16"/>
                  <a:pt x="24" y="16"/>
                  <a:pt x="22" y="16"/>
                </a:cubicBezTo>
                <a:cubicBezTo>
                  <a:pt x="21" y="16"/>
                  <a:pt x="21" y="17"/>
                  <a:pt x="20" y="17"/>
                </a:cubicBezTo>
                <a:cubicBezTo>
                  <a:pt x="20" y="18"/>
                  <a:pt x="19" y="17"/>
                  <a:pt x="19" y="18"/>
                </a:cubicBezTo>
                <a:cubicBezTo>
                  <a:pt x="19" y="19"/>
                  <a:pt x="19" y="20"/>
                  <a:pt x="20" y="20"/>
                </a:cubicBezTo>
                <a:cubicBezTo>
                  <a:pt x="20" y="22"/>
                  <a:pt x="20" y="22"/>
                  <a:pt x="22" y="23"/>
                </a:cubicBezTo>
                <a:cubicBezTo>
                  <a:pt x="23" y="24"/>
                  <a:pt x="25" y="24"/>
                  <a:pt x="26" y="25"/>
                </a:cubicBezTo>
                <a:cubicBezTo>
                  <a:pt x="27" y="25"/>
                  <a:pt x="28" y="26"/>
                  <a:pt x="30" y="27"/>
                </a:cubicBezTo>
                <a:cubicBezTo>
                  <a:pt x="30" y="27"/>
                  <a:pt x="31" y="27"/>
                  <a:pt x="31" y="27"/>
                </a:cubicBezTo>
                <a:cubicBezTo>
                  <a:pt x="31" y="29"/>
                  <a:pt x="28" y="29"/>
                  <a:pt x="27" y="30"/>
                </a:cubicBezTo>
                <a:cubicBezTo>
                  <a:pt x="27" y="28"/>
                  <a:pt x="29" y="28"/>
                  <a:pt x="28" y="27"/>
                </a:cubicBezTo>
                <a:cubicBezTo>
                  <a:pt x="28" y="27"/>
                  <a:pt x="27" y="27"/>
                  <a:pt x="27" y="26"/>
                </a:cubicBezTo>
                <a:cubicBezTo>
                  <a:pt x="27" y="26"/>
                  <a:pt x="26" y="26"/>
                  <a:pt x="26" y="26"/>
                </a:cubicBezTo>
                <a:cubicBezTo>
                  <a:pt x="25" y="26"/>
                  <a:pt x="26" y="26"/>
                  <a:pt x="26" y="27"/>
                </a:cubicBezTo>
                <a:cubicBezTo>
                  <a:pt x="25" y="28"/>
                  <a:pt x="23" y="23"/>
                  <a:pt x="23" y="26"/>
                </a:cubicBezTo>
                <a:cubicBezTo>
                  <a:pt x="23" y="27"/>
                  <a:pt x="24" y="28"/>
                  <a:pt x="23" y="29"/>
                </a:cubicBezTo>
                <a:cubicBezTo>
                  <a:pt x="23" y="28"/>
                  <a:pt x="22" y="27"/>
                  <a:pt x="22" y="27"/>
                </a:cubicBezTo>
                <a:cubicBezTo>
                  <a:pt x="22" y="26"/>
                  <a:pt x="21" y="25"/>
                  <a:pt x="21" y="25"/>
                </a:cubicBezTo>
                <a:cubicBezTo>
                  <a:pt x="21" y="25"/>
                  <a:pt x="20" y="24"/>
                  <a:pt x="20" y="26"/>
                </a:cubicBezTo>
                <a:cubicBezTo>
                  <a:pt x="20" y="27"/>
                  <a:pt x="19" y="27"/>
                  <a:pt x="18" y="26"/>
                </a:cubicBezTo>
                <a:cubicBezTo>
                  <a:pt x="16" y="25"/>
                  <a:pt x="14" y="24"/>
                  <a:pt x="12" y="23"/>
                </a:cubicBezTo>
                <a:cubicBezTo>
                  <a:pt x="12" y="24"/>
                  <a:pt x="13" y="24"/>
                  <a:pt x="14" y="25"/>
                </a:cubicBezTo>
                <a:cubicBezTo>
                  <a:pt x="14" y="25"/>
                  <a:pt x="14" y="25"/>
                  <a:pt x="15" y="25"/>
                </a:cubicBezTo>
                <a:cubicBezTo>
                  <a:pt x="16" y="25"/>
                  <a:pt x="16" y="26"/>
                  <a:pt x="16" y="27"/>
                </a:cubicBezTo>
                <a:cubicBezTo>
                  <a:pt x="17" y="28"/>
                  <a:pt x="18" y="28"/>
                  <a:pt x="19" y="29"/>
                </a:cubicBezTo>
                <a:cubicBezTo>
                  <a:pt x="18" y="28"/>
                  <a:pt x="16" y="28"/>
                  <a:pt x="15" y="27"/>
                </a:cubicBezTo>
                <a:cubicBezTo>
                  <a:pt x="15" y="27"/>
                  <a:pt x="14" y="29"/>
                  <a:pt x="14" y="29"/>
                </a:cubicBezTo>
                <a:cubicBezTo>
                  <a:pt x="13" y="29"/>
                  <a:pt x="13" y="28"/>
                  <a:pt x="14" y="27"/>
                </a:cubicBezTo>
                <a:cubicBezTo>
                  <a:pt x="14" y="27"/>
                  <a:pt x="14" y="26"/>
                  <a:pt x="15" y="26"/>
                </a:cubicBezTo>
                <a:cubicBezTo>
                  <a:pt x="13" y="26"/>
                  <a:pt x="12" y="27"/>
                  <a:pt x="10" y="27"/>
                </a:cubicBezTo>
                <a:cubicBezTo>
                  <a:pt x="8" y="27"/>
                  <a:pt x="6" y="27"/>
                  <a:pt x="5" y="28"/>
                </a:cubicBezTo>
                <a:cubicBezTo>
                  <a:pt x="5" y="28"/>
                  <a:pt x="5" y="28"/>
                  <a:pt x="6" y="28"/>
                </a:cubicBezTo>
                <a:cubicBezTo>
                  <a:pt x="5" y="28"/>
                  <a:pt x="4" y="28"/>
                  <a:pt x="3" y="28"/>
                </a:cubicBezTo>
                <a:cubicBezTo>
                  <a:pt x="3" y="28"/>
                  <a:pt x="4" y="28"/>
                  <a:pt x="5" y="29"/>
                </a:cubicBezTo>
                <a:cubicBezTo>
                  <a:pt x="4" y="29"/>
                  <a:pt x="4" y="29"/>
                  <a:pt x="3" y="29"/>
                </a:cubicBezTo>
                <a:cubicBezTo>
                  <a:pt x="4" y="29"/>
                  <a:pt x="4" y="29"/>
                  <a:pt x="4" y="29"/>
                </a:cubicBezTo>
                <a:cubicBezTo>
                  <a:pt x="3" y="29"/>
                  <a:pt x="2" y="29"/>
                  <a:pt x="0" y="28"/>
                </a:cubicBezTo>
                <a:cubicBezTo>
                  <a:pt x="0" y="29"/>
                  <a:pt x="1" y="29"/>
                  <a:pt x="1" y="30"/>
                </a:cubicBezTo>
                <a:cubicBezTo>
                  <a:pt x="0" y="30"/>
                  <a:pt x="1" y="30"/>
                  <a:pt x="2" y="30"/>
                </a:cubicBezTo>
                <a:cubicBezTo>
                  <a:pt x="3" y="30"/>
                  <a:pt x="5" y="30"/>
                  <a:pt x="7" y="29"/>
                </a:cubicBezTo>
                <a:cubicBezTo>
                  <a:pt x="7" y="29"/>
                  <a:pt x="7" y="29"/>
                  <a:pt x="7" y="29"/>
                </a:cubicBezTo>
                <a:cubicBezTo>
                  <a:pt x="8" y="29"/>
                  <a:pt x="8" y="30"/>
                  <a:pt x="8" y="30"/>
                </a:cubicBezTo>
                <a:cubicBezTo>
                  <a:pt x="8" y="30"/>
                  <a:pt x="7" y="30"/>
                  <a:pt x="8" y="31"/>
                </a:cubicBezTo>
                <a:cubicBezTo>
                  <a:pt x="9" y="31"/>
                  <a:pt x="9" y="30"/>
                  <a:pt x="10" y="30"/>
                </a:cubicBezTo>
                <a:cubicBezTo>
                  <a:pt x="11" y="30"/>
                  <a:pt x="11" y="31"/>
                  <a:pt x="10" y="32"/>
                </a:cubicBezTo>
                <a:cubicBezTo>
                  <a:pt x="11" y="31"/>
                  <a:pt x="11" y="31"/>
                  <a:pt x="12" y="31"/>
                </a:cubicBezTo>
                <a:cubicBezTo>
                  <a:pt x="12" y="30"/>
                  <a:pt x="14" y="31"/>
                  <a:pt x="15" y="31"/>
                </a:cubicBezTo>
                <a:cubicBezTo>
                  <a:pt x="15" y="30"/>
                  <a:pt x="15" y="30"/>
                  <a:pt x="16" y="30"/>
                </a:cubicBezTo>
                <a:cubicBezTo>
                  <a:pt x="15" y="32"/>
                  <a:pt x="13" y="31"/>
                  <a:pt x="12" y="32"/>
                </a:cubicBezTo>
                <a:cubicBezTo>
                  <a:pt x="12" y="34"/>
                  <a:pt x="15" y="32"/>
                  <a:pt x="16" y="32"/>
                </a:cubicBezTo>
                <a:cubicBezTo>
                  <a:pt x="16" y="32"/>
                  <a:pt x="18" y="32"/>
                  <a:pt x="18" y="31"/>
                </a:cubicBezTo>
                <a:cubicBezTo>
                  <a:pt x="18" y="31"/>
                  <a:pt x="17" y="33"/>
                  <a:pt x="18" y="33"/>
                </a:cubicBezTo>
                <a:cubicBezTo>
                  <a:pt x="19" y="33"/>
                  <a:pt x="21" y="32"/>
                  <a:pt x="21" y="31"/>
                </a:cubicBezTo>
                <a:cubicBezTo>
                  <a:pt x="22" y="33"/>
                  <a:pt x="21" y="32"/>
                  <a:pt x="23" y="31"/>
                </a:cubicBezTo>
                <a:cubicBezTo>
                  <a:pt x="25" y="30"/>
                  <a:pt x="24" y="32"/>
                  <a:pt x="24" y="33"/>
                </a:cubicBezTo>
                <a:cubicBezTo>
                  <a:pt x="25" y="33"/>
                  <a:pt x="27" y="34"/>
                  <a:pt x="28" y="34"/>
                </a:cubicBezTo>
                <a:cubicBezTo>
                  <a:pt x="30" y="34"/>
                  <a:pt x="31" y="34"/>
                  <a:pt x="32" y="32"/>
                </a:cubicBezTo>
                <a:cubicBezTo>
                  <a:pt x="32" y="32"/>
                  <a:pt x="32" y="32"/>
                  <a:pt x="32" y="32"/>
                </a:cubicBezTo>
                <a:cubicBezTo>
                  <a:pt x="32" y="32"/>
                  <a:pt x="33" y="33"/>
                  <a:pt x="34" y="33"/>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8" name="Freeform 3015">
            <a:extLst>
              <a:ext uri="{FF2B5EF4-FFF2-40B4-BE49-F238E27FC236}">
                <a16:creationId xmlns:a16="http://schemas.microsoft.com/office/drawing/2014/main" id="{51B21E27-FF39-45AC-B5BE-64F8B1FF5997}"/>
              </a:ext>
            </a:extLst>
          </p:cNvPr>
          <p:cNvSpPr>
            <a:spLocks/>
          </p:cNvSpPr>
          <p:nvPr/>
        </p:nvSpPr>
        <p:spPr bwMode="auto">
          <a:xfrm>
            <a:off x="2311706" y="3600095"/>
            <a:ext cx="37663" cy="39177"/>
          </a:xfrm>
          <a:custGeom>
            <a:avLst/>
            <a:gdLst>
              <a:gd name="T0" fmla="*/ 24 w 32"/>
              <a:gd name="T1" fmla="*/ 3 h 28"/>
              <a:gd name="T2" fmla="*/ 22 w 32"/>
              <a:gd name="T3" fmla="*/ 4 h 28"/>
              <a:gd name="T4" fmla="*/ 21 w 32"/>
              <a:gd name="T5" fmla="*/ 4 h 28"/>
              <a:gd name="T6" fmla="*/ 20 w 32"/>
              <a:gd name="T7" fmla="*/ 4 h 28"/>
              <a:gd name="T8" fmla="*/ 16 w 32"/>
              <a:gd name="T9" fmla="*/ 3 h 28"/>
              <a:gd name="T10" fmla="*/ 14 w 32"/>
              <a:gd name="T11" fmla="*/ 2 h 28"/>
              <a:gd name="T12" fmla="*/ 14 w 32"/>
              <a:gd name="T13" fmla="*/ 2 h 28"/>
              <a:gd name="T14" fmla="*/ 13 w 32"/>
              <a:gd name="T15" fmla="*/ 2 h 28"/>
              <a:gd name="T16" fmla="*/ 11 w 32"/>
              <a:gd name="T17" fmla="*/ 2 h 28"/>
              <a:gd name="T18" fmla="*/ 5 w 32"/>
              <a:gd name="T19" fmla="*/ 0 h 28"/>
              <a:gd name="T20" fmla="*/ 3 w 32"/>
              <a:gd name="T21" fmla="*/ 1 h 28"/>
              <a:gd name="T22" fmla="*/ 2 w 32"/>
              <a:gd name="T23" fmla="*/ 1 h 28"/>
              <a:gd name="T24" fmla="*/ 0 w 32"/>
              <a:gd name="T25" fmla="*/ 2 h 28"/>
              <a:gd name="T26" fmla="*/ 3 w 32"/>
              <a:gd name="T27" fmla="*/ 5 h 28"/>
              <a:gd name="T28" fmla="*/ 2 w 32"/>
              <a:gd name="T29" fmla="*/ 11 h 28"/>
              <a:gd name="T30" fmla="*/ 8 w 32"/>
              <a:gd name="T31" fmla="*/ 15 h 28"/>
              <a:gd name="T32" fmla="*/ 9 w 32"/>
              <a:gd name="T33" fmla="*/ 15 h 28"/>
              <a:gd name="T34" fmla="*/ 11 w 32"/>
              <a:gd name="T35" fmla="*/ 13 h 28"/>
              <a:gd name="T36" fmla="*/ 7 w 32"/>
              <a:gd name="T37" fmla="*/ 8 h 28"/>
              <a:gd name="T38" fmla="*/ 12 w 32"/>
              <a:gd name="T39" fmla="*/ 11 h 28"/>
              <a:gd name="T40" fmla="*/ 16 w 32"/>
              <a:gd name="T41" fmla="*/ 16 h 28"/>
              <a:gd name="T42" fmla="*/ 18 w 32"/>
              <a:gd name="T43" fmla="*/ 16 h 28"/>
              <a:gd name="T44" fmla="*/ 23 w 32"/>
              <a:gd name="T45" fmla="*/ 20 h 28"/>
              <a:gd name="T46" fmla="*/ 24 w 32"/>
              <a:gd name="T47" fmla="*/ 27 h 28"/>
              <a:gd name="T48" fmla="*/ 25 w 32"/>
              <a:gd name="T49" fmla="*/ 25 h 28"/>
              <a:gd name="T50" fmla="*/ 29 w 32"/>
              <a:gd name="T51" fmla="*/ 27 h 28"/>
              <a:gd name="T52" fmla="*/ 29 w 32"/>
              <a:gd name="T53" fmla="*/ 26 h 28"/>
              <a:gd name="T54" fmla="*/ 30 w 32"/>
              <a:gd name="T55" fmla="*/ 24 h 28"/>
              <a:gd name="T56" fmla="*/ 31 w 32"/>
              <a:gd name="T57" fmla="*/ 22 h 28"/>
              <a:gd name="T58" fmla="*/ 30 w 32"/>
              <a:gd name="T59" fmla="*/ 20 h 28"/>
              <a:gd name="T60" fmla="*/ 30 w 32"/>
              <a:gd name="T61" fmla="*/ 20 h 28"/>
              <a:gd name="T62" fmla="*/ 30 w 32"/>
              <a:gd name="T63" fmla="*/ 16 h 28"/>
              <a:gd name="T64" fmla="*/ 31 w 32"/>
              <a:gd name="T65" fmla="*/ 14 h 28"/>
              <a:gd name="T66" fmla="*/ 32 w 32"/>
              <a:gd name="T67"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28">
                <a:moveTo>
                  <a:pt x="28" y="9"/>
                </a:moveTo>
                <a:cubicBezTo>
                  <a:pt x="26" y="7"/>
                  <a:pt x="25" y="5"/>
                  <a:pt x="24" y="3"/>
                </a:cubicBezTo>
                <a:cubicBezTo>
                  <a:pt x="24" y="3"/>
                  <a:pt x="23" y="4"/>
                  <a:pt x="23" y="4"/>
                </a:cubicBezTo>
                <a:cubicBezTo>
                  <a:pt x="23" y="4"/>
                  <a:pt x="22" y="4"/>
                  <a:pt x="22" y="4"/>
                </a:cubicBezTo>
                <a:cubicBezTo>
                  <a:pt x="22" y="4"/>
                  <a:pt x="22" y="4"/>
                  <a:pt x="22" y="4"/>
                </a:cubicBezTo>
                <a:cubicBezTo>
                  <a:pt x="22" y="4"/>
                  <a:pt x="22" y="4"/>
                  <a:pt x="21" y="4"/>
                </a:cubicBezTo>
                <a:cubicBezTo>
                  <a:pt x="21" y="4"/>
                  <a:pt x="21" y="4"/>
                  <a:pt x="21" y="4"/>
                </a:cubicBezTo>
                <a:cubicBezTo>
                  <a:pt x="20" y="4"/>
                  <a:pt x="20" y="4"/>
                  <a:pt x="20" y="4"/>
                </a:cubicBezTo>
                <a:cubicBezTo>
                  <a:pt x="19" y="4"/>
                  <a:pt x="18" y="4"/>
                  <a:pt x="17" y="3"/>
                </a:cubicBezTo>
                <a:cubicBezTo>
                  <a:pt x="16" y="3"/>
                  <a:pt x="16" y="3"/>
                  <a:pt x="16" y="3"/>
                </a:cubicBezTo>
                <a:cubicBezTo>
                  <a:pt x="16" y="3"/>
                  <a:pt x="16" y="3"/>
                  <a:pt x="16" y="3"/>
                </a:cubicBezTo>
                <a:cubicBezTo>
                  <a:pt x="15" y="2"/>
                  <a:pt x="15" y="2"/>
                  <a:pt x="14" y="2"/>
                </a:cubicBezTo>
                <a:cubicBezTo>
                  <a:pt x="14" y="2"/>
                  <a:pt x="14" y="2"/>
                  <a:pt x="14" y="2"/>
                </a:cubicBezTo>
                <a:cubicBezTo>
                  <a:pt x="14" y="2"/>
                  <a:pt x="14" y="2"/>
                  <a:pt x="14" y="2"/>
                </a:cubicBezTo>
                <a:cubicBezTo>
                  <a:pt x="14" y="2"/>
                  <a:pt x="14" y="2"/>
                  <a:pt x="14" y="2"/>
                </a:cubicBezTo>
                <a:cubicBezTo>
                  <a:pt x="14" y="2"/>
                  <a:pt x="13" y="2"/>
                  <a:pt x="13" y="2"/>
                </a:cubicBezTo>
                <a:cubicBezTo>
                  <a:pt x="12" y="2"/>
                  <a:pt x="12" y="2"/>
                  <a:pt x="11" y="2"/>
                </a:cubicBezTo>
                <a:cubicBezTo>
                  <a:pt x="11" y="2"/>
                  <a:pt x="11" y="2"/>
                  <a:pt x="11" y="2"/>
                </a:cubicBezTo>
                <a:cubicBezTo>
                  <a:pt x="9" y="2"/>
                  <a:pt x="8" y="1"/>
                  <a:pt x="6" y="1"/>
                </a:cubicBezTo>
                <a:cubicBezTo>
                  <a:pt x="6" y="0"/>
                  <a:pt x="5" y="0"/>
                  <a:pt x="5" y="0"/>
                </a:cubicBezTo>
                <a:cubicBezTo>
                  <a:pt x="4" y="0"/>
                  <a:pt x="4" y="0"/>
                  <a:pt x="4" y="0"/>
                </a:cubicBezTo>
                <a:cubicBezTo>
                  <a:pt x="4" y="0"/>
                  <a:pt x="3" y="0"/>
                  <a:pt x="3" y="1"/>
                </a:cubicBezTo>
                <a:cubicBezTo>
                  <a:pt x="2" y="1"/>
                  <a:pt x="2" y="1"/>
                  <a:pt x="2" y="1"/>
                </a:cubicBezTo>
                <a:cubicBezTo>
                  <a:pt x="2" y="1"/>
                  <a:pt x="2" y="1"/>
                  <a:pt x="2" y="1"/>
                </a:cubicBezTo>
                <a:cubicBezTo>
                  <a:pt x="2" y="2"/>
                  <a:pt x="2" y="2"/>
                  <a:pt x="2" y="2"/>
                </a:cubicBezTo>
                <a:cubicBezTo>
                  <a:pt x="1" y="1"/>
                  <a:pt x="1" y="1"/>
                  <a:pt x="0" y="2"/>
                </a:cubicBezTo>
                <a:cubicBezTo>
                  <a:pt x="1" y="2"/>
                  <a:pt x="3" y="2"/>
                  <a:pt x="3" y="3"/>
                </a:cubicBezTo>
                <a:cubicBezTo>
                  <a:pt x="3" y="3"/>
                  <a:pt x="3" y="4"/>
                  <a:pt x="3" y="5"/>
                </a:cubicBezTo>
                <a:cubicBezTo>
                  <a:pt x="3" y="5"/>
                  <a:pt x="1" y="6"/>
                  <a:pt x="1" y="6"/>
                </a:cubicBezTo>
                <a:cubicBezTo>
                  <a:pt x="2" y="7"/>
                  <a:pt x="2" y="9"/>
                  <a:pt x="2" y="11"/>
                </a:cubicBezTo>
                <a:cubicBezTo>
                  <a:pt x="3" y="12"/>
                  <a:pt x="4" y="12"/>
                  <a:pt x="5" y="12"/>
                </a:cubicBezTo>
                <a:cubicBezTo>
                  <a:pt x="6" y="13"/>
                  <a:pt x="7" y="14"/>
                  <a:pt x="8" y="15"/>
                </a:cubicBezTo>
                <a:cubicBezTo>
                  <a:pt x="8" y="15"/>
                  <a:pt x="8" y="15"/>
                  <a:pt x="8" y="15"/>
                </a:cubicBezTo>
                <a:cubicBezTo>
                  <a:pt x="8" y="15"/>
                  <a:pt x="8" y="15"/>
                  <a:pt x="9" y="15"/>
                </a:cubicBezTo>
                <a:cubicBezTo>
                  <a:pt x="9" y="15"/>
                  <a:pt x="10" y="14"/>
                  <a:pt x="10" y="14"/>
                </a:cubicBezTo>
                <a:cubicBezTo>
                  <a:pt x="10" y="14"/>
                  <a:pt x="10" y="13"/>
                  <a:pt x="11" y="13"/>
                </a:cubicBezTo>
                <a:cubicBezTo>
                  <a:pt x="10" y="12"/>
                  <a:pt x="9" y="12"/>
                  <a:pt x="8" y="11"/>
                </a:cubicBezTo>
                <a:cubicBezTo>
                  <a:pt x="8" y="10"/>
                  <a:pt x="7" y="9"/>
                  <a:pt x="7" y="8"/>
                </a:cubicBezTo>
                <a:cubicBezTo>
                  <a:pt x="7" y="9"/>
                  <a:pt x="8" y="9"/>
                  <a:pt x="9" y="9"/>
                </a:cubicBezTo>
                <a:cubicBezTo>
                  <a:pt x="10" y="10"/>
                  <a:pt x="11" y="11"/>
                  <a:pt x="12" y="11"/>
                </a:cubicBezTo>
                <a:cubicBezTo>
                  <a:pt x="13" y="12"/>
                  <a:pt x="13" y="13"/>
                  <a:pt x="13" y="14"/>
                </a:cubicBezTo>
                <a:cubicBezTo>
                  <a:pt x="13" y="15"/>
                  <a:pt x="15" y="16"/>
                  <a:pt x="16" y="16"/>
                </a:cubicBezTo>
                <a:cubicBezTo>
                  <a:pt x="17" y="16"/>
                  <a:pt x="17" y="16"/>
                  <a:pt x="18" y="17"/>
                </a:cubicBezTo>
                <a:cubicBezTo>
                  <a:pt x="18" y="17"/>
                  <a:pt x="18" y="16"/>
                  <a:pt x="18" y="16"/>
                </a:cubicBezTo>
                <a:cubicBezTo>
                  <a:pt x="19" y="17"/>
                  <a:pt x="20" y="18"/>
                  <a:pt x="21" y="19"/>
                </a:cubicBezTo>
                <a:cubicBezTo>
                  <a:pt x="22" y="19"/>
                  <a:pt x="22" y="19"/>
                  <a:pt x="23" y="20"/>
                </a:cubicBezTo>
                <a:cubicBezTo>
                  <a:pt x="23" y="21"/>
                  <a:pt x="24" y="21"/>
                  <a:pt x="24" y="21"/>
                </a:cubicBezTo>
                <a:cubicBezTo>
                  <a:pt x="24" y="24"/>
                  <a:pt x="21" y="25"/>
                  <a:pt x="24" y="27"/>
                </a:cubicBezTo>
                <a:cubicBezTo>
                  <a:pt x="25" y="27"/>
                  <a:pt x="27" y="28"/>
                  <a:pt x="27" y="28"/>
                </a:cubicBezTo>
                <a:cubicBezTo>
                  <a:pt x="27" y="27"/>
                  <a:pt x="26" y="26"/>
                  <a:pt x="25" y="25"/>
                </a:cubicBezTo>
                <a:cubicBezTo>
                  <a:pt x="27" y="24"/>
                  <a:pt x="29" y="24"/>
                  <a:pt x="29" y="26"/>
                </a:cubicBezTo>
                <a:cubicBezTo>
                  <a:pt x="29" y="27"/>
                  <a:pt x="29" y="27"/>
                  <a:pt x="29" y="27"/>
                </a:cubicBezTo>
                <a:cubicBezTo>
                  <a:pt x="29" y="27"/>
                  <a:pt x="29" y="27"/>
                  <a:pt x="29" y="27"/>
                </a:cubicBezTo>
                <a:cubicBezTo>
                  <a:pt x="29" y="26"/>
                  <a:pt x="29" y="26"/>
                  <a:pt x="29" y="26"/>
                </a:cubicBezTo>
                <a:cubicBezTo>
                  <a:pt x="30" y="26"/>
                  <a:pt x="30" y="26"/>
                  <a:pt x="30" y="25"/>
                </a:cubicBezTo>
                <a:cubicBezTo>
                  <a:pt x="30" y="25"/>
                  <a:pt x="30" y="25"/>
                  <a:pt x="30" y="24"/>
                </a:cubicBezTo>
                <a:cubicBezTo>
                  <a:pt x="30" y="23"/>
                  <a:pt x="30" y="23"/>
                  <a:pt x="31" y="22"/>
                </a:cubicBezTo>
                <a:cubicBezTo>
                  <a:pt x="31" y="22"/>
                  <a:pt x="31" y="22"/>
                  <a:pt x="31" y="22"/>
                </a:cubicBezTo>
                <a:cubicBezTo>
                  <a:pt x="30" y="21"/>
                  <a:pt x="30" y="21"/>
                  <a:pt x="30" y="21"/>
                </a:cubicBezTo>
                <a:cubicBezTo>
                  <a:pt x="30" y="20"/>
                  <a:pt x="30" y="20"/>
                  <a:pt x="30" y="20"/>
                </a:cubicBezTo>
                <a:cubicBezTo>
                  <a:pt x="30" y="20"/>
                  <a:pt x="30" y="20"/>
                  <a:pt x="30" y="20"/>
                </a:cubicBezTo>
                <a:cubicBezTo>
                  <a:pt x="30" y="20"/>
                  <a:pt x="30" y="20"/>
                  <a:pt x="30" y="20"/>
                </a:cubicBezTo>
                <a:cubicBezTo>
                  <a:pt x="30" y="19"/>
                  <a:pt x="30" y="19"/>
                  <a:pt x="30" y="19"/>
                </a:cubicBezTo>
                <a:cubicBezTo>
                  <a:pt x="30" y="19"/>
                  <a:pt x="30" y="17"/>
                  <a:pt x="30" y="16"/>
                </a:cubicBezTo>
                <a:cubicBezTo>
                  <a:pt x="30" y="15"/>
                  <a:pt x="30" y="15"/>
                  <a:pt x="31" y="14"/>
                </a:cubicBezTo>
                <a:cubicBezTo>
                  <a:pt x="31" y="14"/>
                  <a:pt x="31" y="14"/>
                  <a:pt x="31" y="14"/>
                </a:cubicBezTo>
                <a:cubicBezTo>
                  <a:pt x="31" y="14"/>
                  <a:pt x="31" y="14"/>
                  <a:pt x="31" y="14"/>
                </a:cubicBezTo>
                <a:cubicBezTo>
                  <a:pt x="32" y="14"/>
                  <a:pt x="32" y="14"/>
                  <a:pt x="32" y="14"/>
                </a:cubicBezTo>
                <a:cubicBezTo>
                  <a:pt x="31" y="12"/>
                  <a:pt x="29" y="11"/>
                  <a:pt x="28" y="9"/>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59" name="Freeform 3016">
            <a:extLst>
              <a:ext uri="{FF2B5EF4-FFF2-40B4-BE49-F238E27FC236}">
                <a16:creationId xmlns:a16="http://schemas.microsoft.com/office/drawing/2014/main" id="{A59C0EA8-2285-4539-8F09-4A8A2AAD3FF7}"/>
              </a:ext>
            </a:extLst>
          </p:cNvPr>
          <p:cNvSpPr>
            <a:spLocks/>
          </p:cNvSpPr>
          <p:nvPr/>
        </p:nvSpPr>
        <p:spPr bwMode="auto">
          <a:xfrm>
            <a:off x="2294362" y="3572196"/>
            <a:ext cx="991" cy="1187"/>
          </a:xfrm>
          <a:custGeom>
            <a:avLst/>
            <a:gdLst>
              <a:gd name="T0" fmla="*/ 1 w 1"/>
              <a:gd name="T1" fmla="*/ 0 h 1"/>
              <a:gd name="T2" fmla="*/ 0 w 1"/>
              <a:gd name="T3" fmla="*/ 0 h 1"/>
              <a:gd name="T4" fmla="*/ 0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0"/>
                  <a:pt x="0" y="0"/>
                </a:cubicBezTo>
                <a:cubicBezTo>
                  <a:pt x="0" y="1"/>
                  <a:pt x="0" y="1"/>
                  <a:pt x="0" y="1"/>
                </a:cubicBezTo>
                <a:lnTo>
                  <a:pt x="1" y="0"/>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0" name="Freeform 3017">
            <a:extLst>
              <a:ext uri="{FF2B5EF4-FFF2-40B4-BE49-F238E27FC236}">
                <a16:creationId xmlns:a16="http://schemas.microsoft.com/office/drawing/2014/main" id="{3B02F2A2-1032-42D2-AD3E-7456F091AD57}"/>
              </a:ext>
            </a:extLst>
          </p:cNvPr>
          <p:cNvSpPr>
            <a:spLocks/>
          </p:cNvSpPr>
          <p:nvPr/>
        </p:nvSpPr>
        <p:spPr bwMode="auto">
          <a:xfrm>
            <a:off x="2290893" y="3545484"/>
            <a:ext cx="53521" cy="57579"/>
          </a:xfrm>
          <a:custGeom>
            <a:avLst/>
            <a:gdLst>
              <a:gd name="T0" fmla="*/ 42 w 46"/>
              <a:gd name="T1" fmla="*/ 1 h 41"/>
              <a:gd name="T2" fmla="*/ 37 w 46"/>
              <a:gd name="T3" fmla="*/ 2 h 41"/>
              <a:gd name="T4" fmla="*/ 36 w 46"/>
              <a:gd name="T5" fmla="*/ 2 h 41"/>
              <a:gd name="T6" fmla="*/ 36 w 46"/>
              <a:gd name="T7" fmla="*/ 3 h 41"/>
              <a:gd name="T8" fmla="*/ 34 w 46"/>
              <a:gd name="T9" fmla="*/ 3 h 41"/>
              <a:gd name="T10" fmla="*/ 31 w 46"/>
              <a:gd name="T11" fmla="*/ 2 h 41"/>
              <a:gd name="T12" fmla="*/ 29 w 46"/>
              <a:gd name="T13" fmla="*/ 1 h 41"/>
              <a:gd name="T14" fmla="*/ 29 w 46"/>
              <a:gd name="T15" fmla="*/ 2 h 41"/>
              <a:gd name="T16" fmla="*/ 27 w 46"/>
              <a:gd name="T17" fmla="*/ 4 h 41"/>
              <a:gd name="T18" fmla="*/ 27 w 46"/>
              <a:gd name="T19" fmla="*/ 6 h 41"/>
              <a:gd name="T20" fmla="*/ 25 w 46"/>
              <a:gd name="T21" fmla="*/ 7 h 41"/>
              <a:gd name="T22" fmla="*/ 22 w 46"/>
              <a:gd name="T23" fmla="*/ 10 h 41"/>
              <a:gd name="T24" fmla="*/ 19 w 46"/>
              <a:gd name="T25" fmla="*/ 11 h 41"/>
              <a:gd name="T26" fmla="*/ 17 w 46"/>
              <a:gd name="T27" fmla="*/ 10 h 41"/>
              <a:gd name="T28" fmla="*/ 15 w 46"/>
              <a:gd name="T29" fmla="*/ 11 h 41"/>
              <a:gd name="T30" fmla="*/ 12 w 46"/>
              <a:gd name="T31" fmla="*/ 12 h 41"/>
              <a:gd name="T32" fmla="*/ 11 w 46"/>
              <a:gd name="T33" fmla="*/ 12 h 41"/>
              <a:gd name="T34" fmla="*/ 11 w 46"/>
              <a:gd name="T35" fmla="*/ 14 h 41"/>
              <a:gd name="T36" fmla="*/ 11 w 46"/>
              <a:gd name="T37" fmla="*/ 17 h 41"/>
              <a:gd name="T38" fmla="*/ 9 w 46"/>
              <a:gd name="T39" fmla="*/ 17 h 41"/>
              <a:gd name="T40" fmla="*/ 9 w 46"/>
              <a:gd name="T41" fmla="*/ 19 h 41"/>
              <a:gd name="T42" fmla="*/ 5 w 46"/>
              <a:gd name="T43" fmla="*/ 20 h 41"/>
              <a:gd name="T44" fmla="*/ 4 w 46"/>
              <a:gd name="T45" fmla="*/ 20 h 41"/>
              <a:gd name="T46" fmla="*/ 3 w 46"/>
              <a:gd name="T47" fmla="*/ 20 h 41"/>
              <a:gd name="T48" fmla="*/ 1 w 46"/>
              <a:gd name="T49" fmla="*/ 18 h 41"/>
              <a:gd name="T50" fmla="*/ 6 w 46"/>
              <a:gd name="T51" fmla="*/ 24 h 41"/>
              <a:gd name="T52" fmla="*/ 11 w 46"/>
              <a:gd name="T53" fmla="*/ 29 h 41"/>
              <a:gd name="T54" fmla="*/ 20 w 46"/>
              <a:gd name="T55" fmla="*/ 37 h 41"/>
              <a:gd name="T56" fmla="*/ 20 w 46"/>
              <a:gd name="T57" fmla="*/ 37 h 41"/>
              <a:gd name="T58" fmla="*/ 22 w 46"/>
              <a:gd name="T59" fmla="*/ 36 h 41"/>
              <a:gd name="T60" fmla="*/ 23 w 46"/>
              <a:gd name="T61" fmla="*/ 37 h 41"/>
              <a:gd name="T62" fmla="*/ 19 w 46"/>
              <a:gd name="T63" fmla="*/ 31 h 41"/>
              <a:gd name="T64" fmla="*/ 30 w 46"/>
              <a:gd name="T65" fmla="*/ 38 h 41"/>
              <a:gd name="T66" fmla="*/ 32 w 46"/>
              <a:gd name="T67" fmla="*/ 38 h 41"/>
              <a:gd name="T68" fmla="*/ 36 w 46"/>
              <a:gd name="T69" fmla="*/ 40 h 41"/>
              <a:gd name="T70" fmla="*/ 39 w 46"/>
              <a:gd name="T71" fmla="*/ 41 h 41"/>
              <a:gd name="T72" fmla="*/ 40 w 46"/>
              <a:gd name="T73" fmla="*/ 41 h 41"/>
              <a:gd name="T74" fmla="*/ 40 w 46"/>
              <a:gd name="T75" fmla="*/ 40 h 41"/>
              <a:gd name="T76" fmla="*/ 41 w 46"/>
              <a:gd name="T77" fmla="*/ 33 h 41"/>
              <a:gd name="T78" fmla="*/ 41 w 46"/>
              <a:gd name="T79" fmla="*/ 29 h 41"/>
              <a:gd name="T80" fmla="*/ 40 w 46"/>
              <a:gd name="T81" fmla="*/ 24 h 41"/>
              <a:gd name="T82" fmla="*/ 42 w 46"/>
              <a:gd name="T83" fmla="*/ 25 h 41"/>
              <a:gd name="T84" fmla="*/ 43 w 46"/>
              <a:gd name="T85" fmla="*/ 22 h 41"/>
              <a:gd name="T86" fmla="*/ 45 w 46"/>
              <a:gd name="T87" fmla="*/ 7 h 41"/>
              <a:gd name="T88" fmla="*/ 44 w 46"/>
              <a:gd name="T89"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 h="41">
                <a:moveTo>
                  <a:pt x="44" y="0"/>
                </a:moveTo>
                <a:cubicBezTo>
                  <a:pt x="44" y="0"/>
                  <a:pt x="43" y="1"/>
                  <a:pt x="42" y="1"/>
                </a:cubicBezTo>
                <a:cubicBezTo>
                  <a:pt x="41" y="1"/>
                  <a:pt x="41" y="1"/>
                  <a:pt x="41" y="1"/>
                </a:cubicBezTo>
                <a:cubicBezTo>
                  <a:pt x="39" y="1"/>
                  <a:pt x="38" y="2"/>
                  <a:pt x="37" y="2"/>
                </a:cubicBezTo>
                <a:cubicBezTo>
                  <a:pt x="37" y="2"/>
                  <a:pt x="37" y="2"/>
                  <a:pt x="37" y="2"/>
                </a:cubicBezTo>
                <a:cubicBezTo>
                  <a:pt x="36" y="2"/>
                  <a:pt x="36" y="2"/>
                  <a:pt x="36" y="2"/>
                </a:cubicBezTo>
                <a:cubicBezTo>
                  <a:pt x="36" y="2"/>
                  <a:pt x="36" y="2"/>
                  <a:pt x="36" y="2"/>
                </a:cubicBezTo>
                <a:cubicBezTo>
                  <a:pt x="36" y="2"/>
                  <a:pt x="36" y="2"/>
                  <a:pt x="36" y="3"/>
                </a:cubicBezTo>
                <a:cubicBezTo>
                  <a:pt x="35" y="3"/>
                  <a:pt x="35" y="3"/>
                  <a:pt x="35" y="3"/>
                </a:cubicBezTo>
                <a:cubicBezTo>
                  <a:pt x="35" y="3"/>
                  <a:pt x="34" y="3"/>
                  <a:pt x="34" y="3"/>
                </a:cubicBezTo>
                <a:cubicBezTo>
                  <a:pt x="34" y="3"/>
                  <a:pt x="34" y="3"/>
                  <a:pt x="34" y="3"/>
                </a:cubicBezTo>
                <a:cubicBezTo>
                  <a:pt x="32" y="3"/>
                  <a:pt x="31" y="2"/>
                  <a:pt x="31" y="2"/>
                </a:cubicBezTo>
                <a:cubicBezTo>
                  <a:pt x="30" y="2"/>
                  <a:pt x="30" y="2"/>
                  <a:pt x="30" y="2"/>
                </a:cubicBezTo>
                <a:cubicBezTo>
                  <a:pt x="30" y="2"/>
                  <a:pt x="30" y="1"/>
                  <a:pt x="29" y="1"/>
                </a:cubicBezTo>
                <a:cubicBezTo>
                  <a:pt x="29" y="1"/>
                  <a:pt x="29" y="1"/>
                  <a:pt x="29" y="1"/>
                </a:cubicBezTo>
                <a:cubicBezTo>
                  <a:pt x="29" y="1"/>
                  <a:pt x="29" y="2"/>
                  <a:pt x="29" y="2"/>
                </a:cubicBezTo>
                <a:cubicBezTo>
                  <a:pt x="29" y="2"/>
                  <a:pt x="29" y="3"/>
                  <a:pt x="28" y="3"/>
                </a:cubicBezTo>
                <a:cubicBezTo>
                  <a:pt x="28" y="3"/>
                  <a:pt x="28" y="3"/>
                  <a:pt x="27" y="4"/>
                </a:cubicBezTo>
                <a:cubicBezTo>
                  <a:pt x="27" y="4"/>
                  <a:pt x="27" y="4"/>
                  <a:pt x="27" y="5"/>
                </a:cubicBezTo>
                <a:cubicBezTo>
                  <a:pt x="27" y="5"/>
                  <a:pt x="27" y="6"/>
                  <a:pt x="27" y="6"/>
                </a:cubicBezTo>
                <a:cubicBezTo>
                  <a:pt x="26" y="6"/>
                  <a:pt x="26" y="7"/>
                  <a:pt x="25" y="7"/>
                </a:cubicBezTo>
                <a:cubicBezTo>
                  <a:pt x="25" y="7"/>
                  <a:pt x="25" y="7"/>
                  <a:pt x="25" y="7"/>
                </a:cubicBezTo>
                <a:cubicBezTo>
                  <a:pt x="24" y="8"/>
                  <a:pt x="24" y="8"/>
                  <a:pt x="23" y="9"/>
                </a:cubicBezTo>
                <a:cubicBezTo>
                  <a:pt x="23" y="9"/>
                  <a:pt x="22" y="9"/>
                  <a:pt x="22" y="10"/>
                </a:cubicBezTo>
                <a:cubicBezTo>
                  <a:pt x="22" y="10"/>
                  <a:pt x="22" y="10"/>
                  <a:pt x="22" y="10"/>
                </a:cubicBezTo>
                <a:cubicBezTo>
                  <a:pt x="22" y="11"/>
                  <a:pt x="21" y="12"/>
                  <a:pt x="19" y="11"/>
                </a:cubicBezTo>
                <a:cubicBezTo>
                  <a:pt x="18" y="11"/>
                  <a:pt x="18" y="10"/>
                  <a:pt x="17" y="10"/>
                </a:cubicBezTo>
                <a:cubicBezTo>
                  <a:pt x="17" y="10"/>
                  <a:pt x="17" y="10"/>
                  <a:pt x="17" y="10"/>
                </a:cubicBezTo>
                <a:cubicBezTo>
                  <a:pt x="17" y="10"/>
                  <a:pt x="17" y="10"/>
                  <a:pt x="17" y="10"/>
                </a:cubicBezTo>
                <a:cubicBezTo>
                  <a:pt x="16" y="10"/>
                  <a:pt x="16" y="11"/>
                  <a:pt x="15" y="11"/>
                </a:cubicBezTo>
                <a:cubicBezTo>
                  <a:pt x="14" y="13"/>
                  <a:pt x="13" y="12"/>
                  <a:pt x="12" y="12"/>
                </a:cubicBezTo>
                <a:cubicBezTo>
                  <a:pt x="12" y="12"/>
                  <a:pt x="12" y="12"/>
                  <a:pt x="12" y="12"/>
                </a:cubicBezTo>
                <a:cubicBezTo>
                  <a:pt x="12" y="12"/>
                  <a:pt x="11" y="12"/>
                  <a:pt x="11" y="12"/>
                </a:cubicBezTo>
                <a:cubicBezTo>
                  <a:pt x="11" y="12"/>
                  <a:pt x="11" y="12"/>
                  <a:pt x="11" y="12"/>
                </a:cubicBezTo>
                <a:cubicBezTo>
                  <a:pt x="11" y="13"/>
                  <a:pt x="11" y="13"/>
                  <a:pt x="11" y="13"/>
                </a:cubicBezTo>
                <a:cubicBezTo>
                  <a:pt x="11" y="14"/>
                  <a:pt x="11" y="14"/>
                  <a:pt x="11" y="14"/>
                </a:cubicBezTo>
                <a:cubicBezTo>
                  <a:pt x="11" y="14"/>
                  <a:pt x="12" y="15"/>
                  <a:pt x="12" y="15"/>
                </a:cubicBezTo>
                <a:cubicBezTo>
                  <a:pt x="12" y="16"/>
                  <a:pt x="11" y="16"/>
                  <a:pt x="11" y="17"/>
                </a:cubicBezTo>
                <a:cubicBezTo>
                  <a:pt x="10" y="17"/>
                  <a:pt x="10" y="17"/>
                  <a:pt x="10" y="17"/>
                </a:cubicBezTo>
                <a:cubicBezTo>
                  <a:pt x="10" y="17"/>
                  <a:pt x="10" y="17"/>
                  <a:pt x="9" y="17"/>
                </a:cubicBezTo>
                <a:cubicBezTo>
                  <a:pt x="9" y="17"/>
                  <a:pt x="9" y="17"/>
                  <a:pt x="9" y="17"/>
                </a:cubicBezTo>
                <a:cubicBezTo>
                  <a:pt x="9" y="18"/>
                  <a:pt x="9" y="18"/>
                  <a:pt x="9" y="19"/>
                </a:cubicBezTo>
                <a:cubicBezTo>
                  <a:pt x="8" y="19"/>
                  <a:pt x="8" y="19"/>
                  <a:pt x="8" y="19"/>
                </a:cubicBezTo>
                <a:cubicBezTo>
                  <a:pt x="7" y="20"/>
                  <a:pt x="7" y="20"/>
                  <a:pt x="5" y="20"/>
                </a:cubicBezTo>
                <a:cubicBezTo>
                  <a:pt x="5" y="20"/>
                  <a:pt x="5" y="20"/>
                  <a:pt x="5" y="20"/>
                </a:cubicBezTo>
                <a:cubicBezTo>
                  <a:pt x="4" y="20"/>
                  <a:pt x="4" y="20"/>
                  <a:pt x="4" y="20"/>
                </a:cubicBezTo>
                <a:cubicBezTo>
                  <a:pt x="4" y="20"/>
                  <a:pt x="4" y="20"/>
                  <a:pt x="4" y="20"/>
                </a:cubicBezTo>
                <a:cubicBezTo>
                  <a:pt x="3" y="20"/>
                  <a:pt x="3" y="20"/>
                  <a:pt x="3" y="20"/>
                </a:cubicBezTo>
                <a:cubicBezTo>
                  <a:pt x="3" y="20"/>
                  <a:pt x="3" y="20"/>
                  <a:pt x="3" y="20"/>
                </a:cubicBezTo>
                <a:cubicBezTo>
                  <a:pt x="2" y="19"/>
                  <a:pt x="2" y="19"/>
                  <a:pt x="1" y="18"/>
                </a:cubicBezTo>
                <a:cubicBezTo>
                  <a:pt x="1" y="19"/>
                  <a:pt x="0" y="19"/>
                  <a:pt x="1" y="20"/>
                </a:cubicBezTo>
                <a:cubicBezTo>
                  <a:pt x="2" y="22"/>
                  <a:pt x="4" y="23"/>
                  <a:pt x="6" y="24"/>
                </a:cubicBezTo>
                <a:cubicBezTo>
                  <a:pt x="7" y="25"/>
                  <a:pt x="8" y="26"/>
                  <a:pt x="9" y="27"/>
                </a:cubicBezTo>
                <a:cubicBezTo>
                  <a:pt x="10" y="27"/>
                  <a:pt x="10" y="28"/>
                  <a:pt x="11" y="29"/>
                </a:cubicBezTo>
                <a:cubicBezTo>
                  <a:pt x="13" y="33"/>
                  <a:pt x="16" y="35"/>
                  <a:pt x="19" y="38"/>
                </a:cubicBezTo>
                <a:cubicBezTo>
                  <a:pt x="20" y="37"/>
                  <a:pt x="20" y="37"/>
                  <a:pt x="20" y="37"/>
                </a:cubicBezTo>
                <a:cubicBezTo>
                  <a:pt x="20" y="37"/>
                  <a:pt x="20" y="37"/>
                  <a:pt x="20" y="37"/>
                </a:cubicBezTo>
                <a:cubicBezTo>
                  <a:pt x="20" y="37"/>
                  <a:pt x="20" y="37"/>
                  <a:pt x="20" y="37"/>
                </a:cubicBezTo>
                <a:cubicBezTo>
                  <a:pt x="21" y="37"/>
                  <a:pt x="21" y="37"/>
                  <a:pt x="21" y="37"/>
                </a:cubicBezTo>
                <a:cubicBezTo>
                  <a:pt x="21" y="36"/>
                  <a:pt x="22" y="36"/>
                  <a:pt x="22" y="36"/>
                </a:cubicBezTo>
                <a:cubicBezTo>
                  <a:pt x="22" y="36"/>
                  <a:pt x="22" y="36"/>
                  <a:pt x="23" y="37"/>
                </a:cubicBezTo>
                <a:cubicBezTo>
                  <a:pt x="23" y="37"/>
                  <a:pt x="23" y="37"/>
                  <a:pt x="23" y="37"/>
                </a:cubicBezTo>
                <a:cubicBezTo>
                  <a:pt x="22" y="36"/>
                  <a:pt x="21" y="36"/>
                  <a:pt x="20" y="35"/>
                </a:cubicBezTo>
                <a:cubicBezTo>
                  <a:pt x="19" y="33"/>
                  <a:pt x="19" y="32"/>
                  <a:pt x="19" y="31"/>
                </a:cubicBezTo>
                <a:cubicBezTo>
                  <a:pt x="18" y="29"/>
                  <a:pt x="19" y="27"/>
                  <a:pt x="21" y="29"/>
                </a:cubicBezTo>
                <a:cubicBezTo>
                  <a:pt x="23" y="29"/>
                  <a:pt x="31" y="36"/>
                  <a:pt x="30" y="38"/>
                </a:cubicBezTo>
                <a:cubicBezTo>
                  <a:pt x="31" y="38"/>
                  <a:pt x="32" y="38"/>
                  <a:pt x="32" y="38"/>
                </a:cubicBezTo>
                <a:cubicBezTo>
                  <a:pt x="32" y="38"/>
                  <a:pt x="32" y="38"/>
                  <a:pt x="32" y="38"/>
                </a:cubicBezTo>
                <a:cubicBezTo>
                  <a:pt x="33" y="38"/>
                  <a:pt x="34" y="39"/>
                  <a:pt x="35" y="40"/>
                </a:cubicBezTo>
                <a:cubicBezTo>
                  <a:pt x="36" y="40"/>
                  <a:pt x="36" y="40"/>
                  <a:pt x="36" y="40"/>
                </a:cubicBezTo>
                <a:cubicBezTo>
                  <a:pt x="37" y="41"/>
                  <a:pt x="37" y="41"/>
                  <a:pt x="38" y="41"/>
                </a:cubicBezTo>
                <a:cubicBezTo>
                  <a:pt x="39" y="41"/>
                  <a:pt x="39" y="41"/>
                  <a:pt x="39" y="41"/>
                </a:cubicBezTo>
                <a:cubicBezTo>
                  <a:pt x="39" y="41"/>
                  <a:pt x="39" y="41"/>
                  <a:pt x="39" y="41"/>
                </a:cubicBezTo>
                <a:cubicBezTo>
                  <a:pt x="39" y="41"/>
                  <a:pt x="40" y="41"/>
                  <a:pt x="40" y="41"/>
                </a:cubicBezTo>
                <a:cubicBezTo>
                  <a:pt x="40" y="41"/>
                  <a:pt x="40" y="41"/>
                  <a:pt x="40" y="41"/>
                </a:cubicBezTo>
                <a:cubicBezTo>
                  <a:pt x="40" y="40"/>
                  <a:pt x="40" y="40"/>
                  <a:pt x="40" y="40"/>
                </a:cubicBezTo>
                <a:cubicBezTo>
                  <a:pt x="40" y="39"/>
                  <a:pt x="39" y="38"/>
                  <a:pt x="39" y="37"/>
                </a:cubicBezTo>
                <a:cubicBezTo>
                  <a:pt x="39" y="36"/>
                  <a:pt x="40" y="34"/>
                  <a:pt x="41" y="33"/>
                </a:cubicBezTo>
                <a:cubicBezTo>
                  <a:pt x="40" y="30"/>
                  <a:pt x="40" y="31"/>
                  <a:pt x="40" y="28"/>
                </a:cubicBezTo>
                <a:cubicBezTo>
                  <a:pt x="41" y="28"/>
                  <a:pt x="41" y="29"/>
                  <a:pt x="41" y="29"/>
                </a:cubicBezTo>
                <a:cubicBezTo>
                  <a:pt x="41" y="28"/>
                  <a:pt x="41" y="26"/>
                  <a:pt x="41" y="24"/>
                </a:cubicBezTo>
                <a:cubicBezTo>
                  <a:pt x="41" y="24"/>
                  <a:pt x="40" y="24"/>
                  <a:pt x="40" y="24"/>
                </a:cubicBezTo>
                <a:cubicBezTo>
                  <a:pt x="40" y="23"/>
                  <a:pt x="42" y="23"/>
                  <a:pt x="42" y="22"/>
                </a:cubicBezTo>
                <a:cubicBezTo>
                  <a:pt x="42" y="23"/>
                  <a:pt x="42" y="24"/>
                  <a:pt x="42" y="25"/>
                </a:cubicBezTo>
                <a:cubicBezTo>
                  <a:pt x="42" y="25"/>
                  <a:pt x="42" y="25"/>
                  <a:pt x="42" y="25"/>
                </a:cubicBezTo>
                <a:cubicBezTo>
                  <a:pt x="44" y="26"/>
                  <a:pt x="43" y="23"/>
                  <a:pt x="43" y="22"/>
                </a:cubicBezTo>
                <a:cubicBezTo>
                  <a:pt x="43" y="19"/>
                  <a:pt x="43" y="16"/>
                  <a:pt x="44" y="13"/>
                </a:cubicBezTo>
                <a:cubicBezTo>
                  <a:pt x="44" y="11"/>
                  <a:pt x="44" y="9"/>
                  <a:pt x="45" y="7"/>
                </a:cubicBezTo>
                <a:cubicBezTo>
                  <a:pt x="45" y="7"/>
                  <a:pt x="46" y="6"/>
                  <a:pt x="46" y="6"/>
                </a:cubicBezTo>
                <a:cubicBezTo>
                  <a:pt x="46" y="5"/>
                  <a:pt x="46" y="1"/>
                  <a:pt x="44"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1" name="Freeform 3018">
            <a:extLst>
              <a:ext uri="{FF2B5EF4-FFF2-40B4-BE49-F238E27FC236}">
                <a16:creationId xmlns:a16="http://schemas.microsoft.com/office/drawing/2014/main" id="{7DA6F658-FFE5-4237-BD82-292C3748759B}"/>
              </a:ext>
            </a:extLst>
          </p:cNvPr>
          <p:cNvSpPr>
            <a:spLocks/>
          </p:cNvSpPr>
          <p:nvPr/>
        </p:nvSpPr>
        <p:spPr bwMode="auto">
          <a:xfrm>
            <a:off x="2266115" y="355795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2" name="Freeform 3019">
            <a:extLst>
              <a:ext uri="{FF2B5EF4-FFF2-40B4-BE49-F238E27FC236}">
                <a16:creationId xmlns:a16="http://schemas.microsoft.com/office/drawing/2014/main" id="{82CF1873-5CD4-4E4D-A619-487893CE7ECE}"/>
              </a:ext>
            </a:extLst>
          </p:cNvPr>
          <p:cNvSpPr>
            <a:spLocks/>
          </p:cNvSpPr>
          <p:nvPr/>
        </p:nvSpPr>
        <p:spPr bwMode="auto">
          <a:xfrm>
            <a:off x="2271070" y="355201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3" name="Freeform 3020">
            <a:extLst>
              <a:ext uri="{FF2B5EF4-FFF2-40B4-BE49-F238E27FC236}">
                <a16:creationId xmlns:a16="http://schemas.microsoft.com/office/drawing/2014/main" id="{CD7770CC-4009-45DF-993D-766DE853F1D8}"/>
              </a:ext>
            </a:extLst>
          </p:cNvPr>
          <p:cNvSpPr>
            <a:spLocks/>
          </p:cNvSpPr>
          <p:nvPr/>
        </p:nvSpPr>
        <p:spPr bwMode="auto">
          <a:xfrm>
            <a:off x="2263637" y="3552014"/>
            <a:ext cx="25769" cy="17214"/>
          </a:xfrm>
          <a:custGeom>
            <a:avLst/>
            <a:gdLst>
              <a:gd name="T0" fmla="*/ 21 w 22"/>
              <a:gd name="T1" fmla="*/ 10 h 12"/>
              <a:gd name="T2" fmla="*/ 21 w 22"/>
              <a:gd name="T3" fmla="*/ 10 h 12"/>
              <a:gd name="T4" fmla="*/ 21 w 22"/>
              <a:gd name="T5" fmla="*/ 9 h 12"/>
              <a:gd name="T6" fmla="*/ 21 w 22"/>
              <a:gd name="T7" fmla="*/ 9 h 12"/>
              <a:gd name="T8" fmla="*/ 21 w 22"/>
              <a:gd name="T9" fmla="*/ 7 h 12"/>
              <a:gd name="T10" fmla="*/ 21 w 22"/>
              <a:gd name="T11" fmla="*/ 7 h 12"/>
              <a:gd name="T12" fmla="*/ 22 w 22"/>
              <a:gd name="T13" fmla="*/ 6 h 12"/>
              <a:gd name="T14" fmla="*/ 22 w 22"/>
              <a:gd name="T15" fmla="*/ 6 h 12"/>
              <a:gd name="T16" fmla="*/ 21 w 22"/>
              <a:gd name="T17" fmla="*/ 6 h 12"/>
              <a:gd name="T18" fmla="*/ 20 w 22"/>
              <a:gd name="T19" fmla="*/ 6 h 12"/>
              <a:gd name="T20" fmla="*/ 20 w 22"/>
              <a:gd name="T21" fmla="*/ 6 h 12"/>
              <a:gd name="T22" fmla="*/ 19 w 22"/>
              <a:gd name="T23" fmla="*/ 5 h 12"/>
              <a:gd name="T24" fmla="*/ 19 w 22"/>
              <a:gd name="T25" fmla="*/ 5 h 12"/>
              <a:gd name="T26" fmla="*/ 18 w 22"/>
              <a:gd name="T27" fmla="*/ 5 h 12"/>
              <a:gd name="T28" fmla="*/ 18 w 22"/>
              <a:gd name="T29" fmla="*/ 5 h 12"/>
              <a:gd name="T30" fmla="*/ 18 w 22"/>
              <a:gd name="T31" fmla="*/ 5 h 12"/>
              <a:gd name="T32" fmla="*/ 17 w 22"/>
              <a:gd name="T33" fmla="*/ 6 h 12"/>
              <a:gd name="T34" fmla="*/ 16 w 22"/>
              <a:gd name="T35" fmla="*/ 6 h 12"/>
              <a:gd name="T36" fmla="*/ 15 w 22"/>
              <a:gd name="T37" fmla="*/ 6 h 12"/>
              <a:gd name="T38" fmla="*/ 13 w 22"/>
              <a:gd name="T39" fmla="*/ 7 h 12"/>
              <a:gd name="T40" fmla="*/ 14 w 22"/>
              <a:gd name="T41" fmla="*/ 5 h 12"/>
              <a:gd name="T42" fmla="*/ 14 w 22"/>
              <a:gd name="T43" fmla="*/ 5 h 12"/>
              <a:gd name="T44" fmla="*/ 13 w 22"/>
              <a:gd name="T45" fmla="*/ 4 h 12"/>
              <a:gd name="T46" fmla="*/ 12 w 22"/>
              <a:gd name="T47" fmla="*/ 4 h 12"/>
              <a:gd name="T48" fmla="*/ 12 w 22"/>
              <a:gd name="T49" fmla="*/ 3 h 12"/>
              <a:gd name="T50" fmla="*/ 11 w 22"/>
              <a:gd name="T51" fmla="*/ 3 h 12"/>
              <a:gd name="T52" fmla="*/ 9 w 22"/>
              <a:gd name="T53" fmla="*/ 5 h 12"/>
              <a:gd name="T54" fmla="*/ 10 w 22"/>
              <a:gd name="T55" fmla="*/ 2 h 12"/>
              <a:gd name="T56" fmla="*/ 9 w 22"/>
              <a:gd name="T57" fmla="*/ 1 h 12"/>
              <a:gd name="T58" fmla="*/ 8 w 22"/>
              <a:gd name="T59" fmla="*/ 1 h 12"/>
              <a:gd name="T60" fmla="*/ 8 w 22"/>
              <a:gd name="T61" fmla="*/ 1 h 12"/>
              <a:gd name="T62" fmla="*/ 7 w 22"/>
              <a:gd name="T63" fmla="*/ 0 h 12"/>
              <a:gd name="T64" fmla="*/ 7 w 22"/>
              <a:gd name="T65" fmla="*/ 0 h 12"/>
              <a:gd name="T66" fmla="*/ 7 w 22"/>
              <a:gd name="T67" fmla="*/ 0 h 12"/>
              <a:gd name="T68" fmla="*/ 6 w 22"/>
              <a:gd name="T69" fmla="*/ 0 h 12"/>
              <a:gd name="T70" fmla="*/ 6 w 22"/>
              <a:gd name="T71" fmla="*/ 1 h 12"/>
              <a:gd name="T72" fmla="*/ 6 w 22"/>
              <a:gd name="T73" fmla="*/ 2 h 12"/>
              <a:gd name="T74" fmla="*/ 4 w 22"/>
              <a:gd name="T75" fmla="*/ 3 h 12"/>
              <a:gd name="T76" fmla="*/ 4 w 22"/>
              <a:gd name="T77" fmla="*/ 3 h 12"/>
              <a:gd name="T78" fmla="*/ 4 w 22"/>
              <a:gd name="T79" fmla="*/ 3 h 12"/>
              <a:gd name="T80" fmla="*/ 4 w 22"/>
              <a:gd name="T81" fmla="*/ 3 h 12"/>
              <a:gd name="T82" fmla="*/ 4 w 22"/>
              <a:gd name="T83" fmla="*/ 6 h 12"/>
              <a:gd name="T84" fmla="*/ 2 w 22"/>
              <a:gd name="T85" fmla="*/ 4 h 12"/>
              <a:gd name="T86" fmla="*/ 2 w 22"/>
              <a:gd name="T87" fmla="*/ 4 h 12"/>
              <a:gd name="T88" fmla="*/ 1 w 22"/>
              <a:gd name="T89" fmla="*/ 5 h 12"/>
              <a:gd name="T90" fmla="*/ 0 w 22"/>
              <a:gd name="T91" fmla="*/ 7 h 12"/>
              <a:gd name="T92" fmla="*/ 0 w 22"/>
              <a:gd name="T93" fmla="*/ 7 h 12"/>
              <a:gd name="T94" fmla="*/ 5 w 22"/>
              <a:gd name="T95" fmla="*/ 9 h 12"/>
              <a:gd name="T96" fmla="*/ 12 w 22"/>
              <a:gd name="T97" fmla="*/ 11 h 12"/>
              <a:gd name="T98" fmla="*/ 19 w 22"/>
              <a:gd name="T99" fmla="*/ 12 h 12"/>
              <a:gd name="T100" fmla="*/ 21 w 22"/>
              <a:gd name="T101" fmla="*/ 12 h 12"/>
              <a:gd name="T102" fmla="*/ 22 w 22"/>
              <a:gd name="T103" fmla="*/ 10 h 12"/>
              <a:gd name="T104" fmla="*/ 21 w 22"/>
              <a:gd name="T105"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 h="12">
                <a:moveTo>
                  <a:pt x="21" y="10"/>
                </a:moveTo>
                <a:cubicBezTo>
                  <a:pt x="21" y="10"/>
                  <a:pt x="21" y="10"/>
                  <a:pt x="21" y="10"/>
                </a:cubicBezTo>
                <a:cubicBezTo>
                  <a:pt x="21" y="10"/>
                  <a:pt x="21" y="9"/>
                  <a:pt x="21" y="9"/>
                </a:cubicBezTo>
                <a:cubicBezTo>
                  <a:pt x="21" y="9"/>
                  <a:pt x="21" y="9"/>
                  <a:pt x="21" y="9"/>
                </a:cubicBezTo>
                <a:cubicBezTo>
                  <a:pt x="21" y="8"/>
                  <a:pt x="21" y="8"/>
                  <a:pt x="21" y="7"/>
                </a:cubicBezTo>
                <a:cubicBezTo>
                  <a:pt x="21" y="7"/>
                  <a:pt x="21" y="7"/>
                  <a:pt x="21" y="7"/>
                </a:cubicBezTo>
                <a:cubicBezTo>
                  <a:pt x="22" y="6"/>
                  <a:pt x="22" y="6"/>
                  <a:pt x="22" y="6"/>
                </a:cubicBezTo>
                <a:cubicBezTo>
                  <a:pt x="22" y="6"/>
                  <a:pt x="22" y="6"/>
                  <a:pt x="22" y="6"/>
                </a:cubicBezTo>
                <a:cubicBezTo>
                  <a:pt x="21" y="6"/>
                  <a:pt x="21" y="6"/>
                  <a:pt x="21" y="6"/>
                </a:cubicBezTo>
                <a:cubicBezTo>
                  <a:pt x="21" y="6"/>
                  <a:pt x="21" y="6"/>
                  <a:pt x="20" y="6"/>
                </a:cubicBezTo>
                <a:cubicBezTo>
                  <a:pt x="20" y="6"/>
                  <a:pt x="20" y="6"/>
                  <a:pt x="20" y="6"/>
                </a:cubicBezTo>
                <a:cubicBezTo>
                  <a:pt x="19" y="5"/>
                  <a:pt x="19" y="5"/>
                  <a:pt x="19" y="5"/>
                </a:cubicBezTo>
                <a:cubicBezTo>
                  <a:pt x="19" y="5"/>
                  <a:pt x="19" y="5"/>
                  <a:pt x="19" y="5"/>
                </a:cubicBezTo>
                <a:cubicBezTo>
                  <a:pt x="19" y="5"/>
                  <a:pt x="19" y="5"/>
                  <a:pt x="18" y="5"/>
                </a:cubicBezTo>
                <a:cubicBezTo>
                  <a:pt x="18" y="5"/>
                  <a:pt x="18" y="5"/>
                  <a:pt x="18" y="5"/>
                </a:cubicBezTo>
                <a:cubicBezTo>
                  <a:pt x="18" y="5"/>
                  <a:pt x="18" y="5"/>
                  <a:pt x="18" y="5"/>
                </a:cubicBezTo>
                <a:cubicBezTo>
                  <a:pt x="18" y="6"/>
                  <a:pt x="17" y="6"/>
                  <a:pt x="17" y="6"/>
                </a:cubicBezTo>
                <a:cubicBezTo>
                  <a:pt x="16" y="6"/>
                  <a:pt x="16" y="6"/>
                  <a:pt x="16" y="6"/>
                </a:cubicBezTo>
                <a:cubicBezTo>
                  <a:pt x="16" y="6"/>
                  <a:pt x="16" y="6"/>
                  <a:pt x="15" y="6"/>
                </a:cubicBezTo>
                <a:cubicBezTo>
                  <a:pt x="13" y="7"/>
                  <a:pt x="13" y="7"/>
                  <a:pt x="13" y="7"/>
                </a:cubicBezTo>
                <a:cubicBezTo>
                  <a:pt x="14" y="5"/>
                  <a:pt x="14" y="5"/>
                  <a:pt x="14" y="5"/>
                </a:cubicBezTo>
                <a:cubicBezTo>
                  <a:pt x="14" y="5"/>
                  <a:pt x="14" y="5"/>
                  <a:pt x="14" y="5"/>
                </a:cubicBezTo>
                <a:cubicBezTo>
                  <a:pt x="13" y="4"/>
                  <a:pt x="13" y="4"/>
                  <a:pt x="13" y="4"/>
                </a:cubicBezTo>
                <a:cubicBezTo>
                  <a:pt x="12" y="4"/>
                  <a:pt x="12" y="4"/>
                  <a:pt x="12" y="4"/>
                </a:cubicBezTo>
                <a:cubicBezTo>
                  <a:pt x="12" y="3"/>
                  <a:pt x="12" y="3"/>
                  <a:pt x="12" y="3"/>
                </a:cubicBezTo>
                <a:cubicBezTo>
                  <a:pt x="11" y="3"/>
                  <a:pt x="11" y="3"/>
                  <a:pt x="11" y="3"/>
                </a:cubicBezTo>
                <a:cubicBezTo>
                  <a:pt x="9" y="5"/>
                  <a:pt x="9" y="5"/>
                  <a:pt x="9" y="5"/>
                </a:cubicBezTo>
                <a:cubicBezTo>
                  <a:pt x="10" y="2"/>
                  <a:pt x="10" y="2"/>
                  <a:pt x="10" y="2"/>
                </a:cubicBezTo>
                <a:cubicBezTo>
                  <a:pt x="10" y="2"/>
                  <a:pt x="10" y="2"/>
                  <a:pt x="9" y="1"/>
                </a:cubicBezTo>
                <a:cubicBezTo>
                  <a:pt x="9" y="1"/>
                  <a:pt x="9" y="1"/>
                  <a:pt x="8" y="1"/>
                </a:cubicBezTo>
                <a:cubicBezTo>
                  <a:pt x="8" y="1"/>
                  <a:pt x="8" y="1"/>
                  <a:pt x="8" y="1"/>
                </a:cubicBezTo>
                <a:cubicBezTo>
                  <a:pt x="8" y="0"/>
                  <a:pt x="7" y="0"/>
                  <a:pt x="7" y="0"/>
                </a:cubicBezTo>
                <a:cubicBezTo>
                  <a:pt x="7" y="0"/>
                  <a:pt x="7" y="0"/>
                  <a:pt x="7" y="0"/>
                </a:cubicBezTo>
                <a:cubicBezTo>
                  <a:pt x="7" y="0"/>
                  <a:pt x="7" y="0"/>
                  <a:pt x="7" y="0"/>
                </a:cubicBezTo>
                <a:cubicBezTo>
                  <a:pt x="6" y="0"/>
                  <a:pt x="6" y="0"/>
                  <a:pt x="6" y="0"/>
                </a:cubicBezTo>
                <a:cubicBezTo>
                  <a:pt x="6" y="1"/>
                  <a:pt x="6" y="1"/>
                  <a:pt x="6" y="1"/>
                </a:cubicBezTo>
                <a:cubicBezTo>
                  <a:pt x="6" y="1"/>
                  <a:pt x="6" y="1"/>
                  <a:pt x="6" y="2"/>
                </a:cubicBezTo>
                <a:cubicBezTo>
                  <a:pt x="5" y="3"/>
                  <a:pt x="4" y="3"/>
                  <a:pt x="4" y="3"/>
                </a:cubicBezTo>
                <a:cubicBezTo>
                  <a:pt x="4" y="3"/>
                  <a:pt x="4" y="3"/>
                  <a:pt x="4" y="3"/>
                </a:cubicBezTo>
                <a:cubicBezTo>
                  <a:pt x="4" y="3"/>
                  <a:pt x="4" y="3"/>
                  <a:pt x="4" y="3"/>
                </a:cubicBezTo>
                <a:cubicBezTo>
                  <a:pt x="4" y="3"/>
                  <a:pt x="4" y="3"/>
                  <a:pt x="4" y="3"/>
                </a:cubicBezTo>
                <a:cubicBezTo>
                  <a:pt x="4" y="6"/>
                  <a:pt x="4" y="6"/>
                  <a:pt x="4" y="6"/>
                </a:cubicBezTo>
                <a:cubicBezTo>
                  <a:pt x="2" y="4"/>
                  <a:pt x="2" y="4"/>
                  <a:pt x="2" y="4"/>
                </a:cubicBezTo>
                <a:cubicBezTo>
                  <a:pt x="2" y="4"/>
                  <a:pt x="2" y="4"/>
                  <a:pt x="2" y="4"/>
                </a:cubicBezTo>
                <a:cubicBezTo>
                  <a:pt x="1" y="4"/>
                  <a:pt x="1" y="5"/>
                  <a:pt x="1" y="5"/>
                </a:cubicBezTo>
                <a:cubicBezTo>
                  <a:pt x="1" y="5"/>
                  <a:pt x="0" y="5"/>
                  <a:pt x="0" y="7"/>
                </a:cubicBezTo>
                <a:cubicBezTo>
                  <a:pt x="0" y="7"/>
                  <a:pt x="0" y="7"/>
                  <a:pt x="0" y="7"/>
                </a:cubicBezTo>
                <a:cubicBezTo>
                  <a:pt x="1" y="8"/>
                  <a:pt x="3" y="8"/>
                  <a:pt x="5" y="9"/>
                </a:cubicBezTo>
                <a:cubicBezTo>
                  <a:pt x="8" y="9"/>
                  <a:pt x="9" y="10"/>
                  <a:pt x="12" y="11"/>
                </a:cubicBezTo>
                <a:cubicBezTo>
                  <a:pt x="14" y="12"/>
                  <a:pt x="17" y="12"/>
                  <a:pt x="19" y="12"/>
                </a:cubicBezTo>
                <a:cubicBezTo>
                  <a:pt x="19" y="12"/>
                  <a:pt x="21" y="12"/>
                  <a:pt x="21" y="12"/>
                </a:cubicBezTo>
                <a:cubicBezTo>
                  <a:pt x="21" y="12"/>
                  <a:pt x="22" y="11"/>
                  <a:pt x="22" y="10"/>
                </a:cubicBezTo>
                <a:lnTo>
                  <a:pt x="21" y="10"/>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4" name="Freeform 3021">
            <a:extLst>
              <a:ext uri="{FF2B5EF4-FFF2-40B4-BE49-F238E27FC236}">
                <a16:creationId xmlns:a16="http://schemas.microsoft.com/office/drawing/2014/main" id="{DEBE945A-9349-40AB-ADC5-CF81F2A0C881}"/>
              </a:ext>
            </a:extLst>
          </p:cNvPr>
          <p:cNvSpPr>
            <a:spLocks/>
          </p:cNvSpPr>
          <p:nvPr/>
        </p:nvSpPr>
        <p:spPr bwMode="auto">
          <a:xfrm>
            <a:off x="2274539" y="3527083"/>
            <a:ext cx="69874" cy="43332"/>
          </a:xfrm>
          <a:custGeom>
            <a:avLst/>
            <a:gdLst>
              <a:gd name="T0" fmla="*/ 56 w 60"/>
              <a:gd name="T1" fmla="*/ 9 h 31"/>
              <a:gd name="T2" fmla="*/ 55 w 60"/>
              <a:gd name="T3" fmla="*/ 9 h 31"/>
              <a:gd name="T4" fmla="*/ 52 w 60"/>
              <a:gd name="T5" fmla="*/ 8 h 31"/>
              <a:gd name="T6" fmla="*/ 52 w 60"/>
              <a:gd name="T7" fmla="*/ 6 h 31"/>
              <a:gd name="T8" fmla="*/ 51 w 60"/>
              <a:gd name="T9" fmla="*/ 4 h 31"/>
              <a:gd name="T10" fmla="*/ 42 w 60"/>
              <a:gd name="T11" fmla="*/ 1 h 31"/>
              <a:gd name="T12" fmla="*/ 34 w 60"/>
              <a:gd name="T13" fmla="*/ 1 h 31"/>
              <a:gd name="T14" fmla="*/ 31 w 60"/>
              <a:gd name="T15" fmla="*/ 2 h 31"/>
              <a:gd name="T16" fmla="*/ 20 w 60"/>
              <a:gd name="T17" fmla="*/ 3 h 31"/>
              <a:gd name="T18" fmla="*/ 10 w 60"/>
              <a:gd name="T19" fmla="*/ 3 h 31"/>
              <a:gd name="T20" fmla="*/ 10 w 60"/>
              <a:gd name="T21" fmla="*/ 4 h 31"/>
              <a:gd name="T22" fmla="*/ 7 w 60"/>
              <a:gd name="T23" fmla="*/ 6 h 31"/>
              <a:gd name="T24" fmla="*/ 4 w 60"/>
              <a:gd name="T25" fmla="*/ 9 h 31"/>
              <a:gd name="T26" fmla="*/ 2 w 60"/>
              <a:gd name="T27" fmla="*/ 10 h 31"/>
              <a:gd name="T28" fmla="*/ 0 w 60"/>
              <a:gd name="T29" fmla="*/ 11 h 31"/>
              <a:gd name="T30" fmla="*/ 0 w 60"/>
              <a:gd name="T31" fmla="*/ 12 h 31"/>
              <a:gd name="T32" fmla="*/ 0 w 60"/>
              <a:gd name="T33" fmla="*/ 13 h 31"/>
              <a:gd name="T34" fmla="*/ 1 w 60"/>
              <a:gd name="T35" fmla="*/ 14 h 31"/>
              <a:gd name="T36" fmla="*/ 0 w 60"/>
              <a:gd name="T37" fmla="*/ 15 h 31"/>
              <a:gd name="T38" fmla="*/ 2 w 60"/>
              <a:gd name="T39" fmla="*/ 18 h 31"/>
              <a:gd name="T40" fmla="*/ 3 w 60"/>
              <a:gd name="T41" fmla="*/ 19 h 31"/>
              <a:gd name="T42" fmla="*/ 5 w 60"/>
              <a:gd name="T43" fmla="*/ 20 h 31"/>
              <a:gd name="T44" fmla="*/ 7 w 60"/>
              <a:gd name="T45" fmla="*/ 21 h 31"/>
              <a:gd name="T46" fmla="*/ 7 w 60"/>
              <a:gd name="T47" fmla="*/ 21 h 31"/>
              <a:gd name="T48" fmla="*/ 8 w 60"/>
              <a:gd name="T49" fmla="*/ 21 h 31"/>
              <a:gd name="T50" fmla="*/ 11 w 60"/>
              <a:gd name="T51" fmla="*/ 21 h 31"/>
              <a:gd name="T52" fmla="*/ 14 w 60"/>
              <a:gd name="T53" fmla="*/ 22 h 31"/>
              <a:gd name="T54" fmla="*/ 15 w 60"/>
              <a:gd name="T55" fmla="*/ 24 h 31"/>
              <a:gd name="T56" fmla="*/ 15 w 60"/>
              <a:gd name="T57" fmla="*/ 26 h 31"/>
              <a:gd name="T58" fmla="*/ 15 w 60"/>
              <a:gd name="T59" fmla="*/ 27 h 31"/>
              <a:gd name="T60" fmla="*/ 15 w 60"/>
              <a:gd name="T61" fmla="*/ 27 h 31"/>
              <a:gd name="T62" fmla="*/ 16 w 60"/>
              <a:gd name="T63" fmla="*/ 29 h 31"/>
              <a:gd name="T64" fmla="*/ 18 w 60"/>
              <a:gd name="T65" fmla="*/ 30 h 31"/>
              <a:gd name="T66" fmla="*/ 19 w 60"/>
              <a:gd name="T67" fmla="*/ 31 h 31"/>
              <a:gd name="T68" fmla="*/ 21 w 60"/>
              <a:gd name="T69" fmla="*/ 30 h 31"/>
              <a:gd name="T70" fmla="*/ 21 w 60"/>
              <a:gd name="T71" fmla="*/ 29 h 31"/>
              <a:gd name="T72" fmla="*/ 23 w 60"/>
              <a:gd name="T73" fmla="*/ 28 h 31"/>
              <a:gd name="T74" fmla="*/ 23 w 60"/>
              <a:gd name="T75" fmla="*/ 27 h 31"/>
              <a:gd name="T76" fmla="*/ 23 w 60"/>
              <a:gd name="T77" fmla="*/ 23 h 31"/>
              <a:gd name="T78" fmla="*/ 27 w 60"/>
              <a:gd name="T79" fmla="*/ 23 h 31"/>
              <a:gd name="T80" fmla="*/ 29 w 60"/>
              <a:gd name="T81" fmla="*/ 21 h 31"/>
              <a:gd name="T82" fmla="*/ 31 w 60"/>
              <a:gd name="T83" fmla="*/ 20 h 31"/>
              <a:gd name="T84" fmla="*/ 32 w 60"/>
              <a:gd name="T85" fmla="*/ 20 h 31"/>
              <a:gd name="T86" fmla="*/ 33 w 60"/>
              <a:gd name="T87" fmla="*/ 21 h 31"/>
              <a:gd name="T88" fmla="*/ 34 w 60"/>
              <a:gd name="T89" fmla="*/ 22 h 31"/>
              <a:gd name="T90" fmla="*/ 34 w 60"/>
              <a:gd name="T91" fmla="*/ 21 h 31"/>
              <a:gd name="T92" fmla="*/ 38 w 60"/>
              <a:gd name="T93" fmla="*/ 18 h 31"/>
              <a:gd name="T94" fmla="*/ 39 w 60"/>
              <a:gd name="T95" fmla="*/ 17 h 31"/>
              <a:gd name="T96" fmla="*/ 39 w 60"/>
              <a:gd name="T97" fmla="*/ 16 h 31"/>
              <a:gd name="T98" fmla="*/ 40 w 60"/>
              <a:gd name="T99" fmla="*/ 14 h 31"/>
              <a:gd name="T100" fmla="*/ 44 w 60"/>
              <a:gd name="T101" fmla="*/ 12 h 31"/>
              <a:gd name="T102" fmla="*/ 44 w 60"/>
              <a:gd name="T103" fmla="*/ 12 h 31"/>
              <a:gd name="T104" fmla="*/ 48 w 60"/>
              <a:gd name="T105" fmla="*/ 14 h 31"/>
              <a:gd name="T106" fmla="*/ 48 w 60"/>
              <a:gd name="T107" fmla="*/ 13 h 31"/>
              <a:gd name="T108" fmla="*/ 48 w 60"/>
              <a:gd name="T109" fmla="*/ 13 h 31"/>
              <a:gd name="T110" fmla="*/ 50 w 60"/>
              <a:gd name="T111" fmla="*/ 13 h 31"/>
              <a:gd name="T112" fmla="*/ 54 w 60"/>
              <a:gd name="T113" fmla="*/ 12 h 31"/>
              <a:gd name="T114" fmla="*/ 60 w 60"/>
              <a:gd name="T115" fmla="*/ 1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 h="31">
                <a:moveTo>
                  <a:pt x="59" y="10"/>
                </a:moveTo>
                <a:cubicBezTo>
                  <a:pt x="58" y="10"/>
                  <a:pt x="57" y="9"/>
                  <a:pt x="56" y="9"/>
                </a:cubicBezTo>
                <a:cubicBezTo>
                  <a:pt x="56" y="9"/>
                  <a:pt x="57" y="9"/>
                  <a:pt x="57" y="8"/>
                </a:cubicBezTo>
                <a:cubicBezTo>
                  <a:pt x="56" y="8"/>
                  <a:pt x="55" y="9"/>
                  <a:pt x="55" y="9"/>
                </a:cubicBezTo>
                <a:cubicBezTo>
                  <a:pt x="54" y="9"/>
                  <a:pt x="54" y="9"/>
                  <a:pt x="53" y="8"/>
                </a:cubicBezTo>
                <a:cubicBezTo>
                  <a:pt x="53" y="8"/>
                  <a:pt x="52" y="9"/>
                  <a:pt x="52" y="8"/>
                </a:cubicBezTo>
                <a:cubicBezTo>
                  <a:pt x="51" y="7"/>
                  <a:pt x="51" y="6"/>
                  <a:pt x="52" y="5"/>
                </a:cubicBezTo>
                <a:cubicBezTo>
                  <a:pt x="52" y="5"/>
                  <a:pt x="52" y="6"/>
                  <a:pt x="52" y="6"/>
                </a:cubicBezTo>
                <a:cubicBezTo>
                  <a:pt x="53" y="6"/>
                  <a:pt x="54" y="7"/>
                  <a:pt x="55" y="7"/>
                </a:cubicBezTo>
                <a:cubicBezTo>
                  <a:pt x="54" y="6"/>
                  <a:pt x="52" y="5"/>
                  <a:pt x="51" y="4"/>
                </a:cubicBezTo>
                <a:cubicBezTo>
                  <a:pt x="50" y="3"/>
                  <a:pt x="49" y="3"/>
                  <a:pt x="47" y="3"/>
                </a:cubicBezTo>
                <a:cubicBezTo>
                  <a:pt x="45" y="3"/>
                  <a:pt x="44" y="2"/>
                  <a:pt x="42" y="1"/>
                </a:cubicBezTo>
                <a:cubicBezTo>
                  <a:pt x="41" y="0"/>
                  <a:pt x="39" y="2"/>
                  <a:pt x="38" y="2"/>
                </a:cubicBezTo>
                <a:cubicBezTo>
                  <a:pt x="37" y="1"/>
                  <a:pt x="35" y="1"/>
                  <a:pt x="34" y="1"/>
                </a:cubicBezTo>
                <a:cubicBezTo>
                  <a:pt x="33" y="1"/>
                  <a:pt x="33" y="0"/>
                  <a:pt x="32" y="0"/>
                </a:cubicBezTo>
                <a:cubicBezTo>
                  <a:pt x="33" y="1"/>
                  <a:pt x="32" y="1"/>
                  <a:pt x="31" y="2"/>
                </a:cubicBezTo>
                <a:cubicBezTo>
                  <a:pt x="30" y="2"/>
                  <a:pt x="28" y="3"/>
                  <a:pt x="26" y="3"/>
                </a:cubicBezTo>
                <a:cubicBezTo>
                  <a:pt x="24" y="3"/>
                  <a:pt x="22" y="3"/>
                  <a:pt x="20" y="3"/>
                </a:cubicBezTo>
                <a:cubicBezTo>
                  <a:pt x="18" y="2"/>
                  <a:pt x="16" y="2"/>
                  <a:pt x="14" y="1"/>
                </a:cubicBezTo>
                <a:cubicBezTo>
                  <a:pt x="13" y="1"/>
                  <a:pt x="11" y="3"/>
                  <a:pt x="10" y="3"/>
                </a:cubicBezTo>
                <a:cubicBezTo>
                  <a:pt x="10" y="4"/>
                  <a:pt x="10" y="4"/>
                  <a:pt x="10" y="4"/>
                </a:cubicBezTo>
                <a:cubicBezTo>
                  <a:pt x="10" y="4"/>
                  <a:pt x="10" y="4"/>
                  <a:pt x="10" y="4"/>
                </a:cubicBezTo>
                <a:cubicBezTo>
                  <a:pt x="9" y="5"/>
                  <a:pt x="8" y="5"/>
                  <a:pt x="8" y="6"/>
                </a:cubicBezTo>
                <a:cubicBezTo>
                  <a:pt x="7" y="6"/>
                  <a:pt x="7" y="6"/>
                  <a:pt x="7" y="6"/>
                </a:cubicBezTo>
                <a:cubicBezTo>
                  <a:pt x="7" y="7"/>
                  <a:pt x="7" y="7"/>
                  <a:pt x="6" y="7"/>
                </a:cubicBezTo>
                <a:cubicBezTo>
                  <a:pt x="6" y="8"/>
                  <a:pt x="5" y="9"/>
                  <a:pt x="4" y="9"/>
                </a:cubicBezTo>
                <a:cubicBezTo>
                  <a:pt x="3" y="10"/>
                  <a:pt x="3" y="10"/>
                  <a:pt x="3" y="10"/>
                </a:cubicBezTo>
                <a:cubicBezTo>
                  <a:pt x="3" y="10"/>
                  <a:pt x="2" y="10"/>
                  <a:pt x="2" y="10"/>
                </a:cubicBezTo>
                <a:cubicBezTo>
                  <a:pt x="1" y="11"/>
                  <a:pt x="1" y="11"/>
                  <a:pt x="1" y="11"/>
                </a:cubicBezTo>
                <a:cubicBezTo>
                  <a:pt x="1" y="11"/>
                  <a:pt x="1" y="11"/>
                  <a:pt x="0" y="11"/>
                </a:cubicBezTo>
                <a:cubicBezTo>
                  <a:pt x="0" y="11"/>
                  <a:pt x="0" y="12"/>
                  <a:pt x="0" y="12"/>
                </a:cubicBezTo>
                <a:cubicBezTo>
                  <a:pt x="0" y="12"/>
                  <a:pt x="0" y="12"/>
                  <a:pt x="0" y="12"/>
                </a:cubicBezTo>
                <a:cubicBezTo>
                  <a:pt x="2" y="11"/>
                  <a:pt x="2" y="11"/>
                  <a:pt x="2" y="11"/>
                </a:cubicBezTo>
                <a:cubicBezTo>
                  <a:pt x="0" y="13"/>
                  <a:pt x="0" y="13"/>
                  <a:pt x="0" y="13"/>
                </a:cubicBezTo>
                <a:cubicBezTo>
                  <a:pt x="0" y="13"/>
                  <a:pt x="0" y="13"/>
                  <a:pt x="0" y="13"/>
                </a:cubicBezTo>
                <a:cubicBezTo>
                  <a:pt x="1" y="14"/>
                  <a:pt x="1" y="14"/>
                  <a:pt x="1" y="14"/>
                </a:cubicBezTo>
                <a:cubicBezTo>
                  <a:pt x="1" y="15"/>
                  <a:pt x="1" y="15"/>
                  <a:pt x="0" y="15"/>
                </a:cubicBezTo>
                <a:cubicBezTo>
                  <a:pt x="0" y="15"/>
                  <a:pt x="0" y="15"/>
                  <a:pt x="0" y="15"/>
                </a:cubicBezTo>
                <a:cubicBezTo>
                  <a:pt x="0" y="16"/>
                  <a:pt x="0" y="16"/>
                  <a:pt x="0" y="16"/>
                </a:cubicBezTo>
                <a:cubicBezTo>
                  <a:pt x="0" y="16"/>
                  <a:pt x="1" y="17"/>
                  <a:pt x="2" y="18"/>
                </a:cubicBezTo>
                <a:cubicBezTo>
                  <a:pt x="2" y="18"/>
                  <a:pt x="3" y="18"/>
                  <a:pt x="3" y="19"/>
                </a:cubicBezTo>
                <a:cubicBezTo>
                  <a:pt x="3" y="19"/>
                  <a:pt x="3" y="19"/>
                  <a:pt x="3" y="19"/>
                </a:cubicBezTo>
                <a:cubicBezTo>
                  <a:pt x="4" y="19"/>
                  <a:pt x="4" y="19"/>
                  <a:pt x="4" y="20"/>
                </a:cubicBezTo>
                <a:cubicBezTo>
                  <a:pt x="4" y="20"/>
                  <a:pt x="5" y="20"/>
                  <a:pt x="5" y="20"/>
                </a:cubicBezTo>
                <a:cubicBezTo>
                  <a:pt x="6" y="20"/>
                  <a:pt x="6" y="20"/>
                  <a:pt x="6" y="21"/>
                </a:cubicBezTo>
                <a:cubicBezTo>
                  <a:pt x="7" y="21"/>
                  <a:pt x="7" y="21"/>
                  <a:pt x="7" y="21"/>
                </a:cubicBezTo>
                <a:cubicBezTo>
                  <a:pt x="7" y="21"/>
                  <a:pt x="7" y="21"/>
                  <a:pt x="7" y="21"/>
                </a:cubicBezTo>
                <a:cubicBezTo>
                  <a:pt x="7" y="21"/>
                  <a:pt x="7" y="21"/>
                  <a:pt x="7" y="21"/>
                </a:cubicBezTo>
                <a:cubicBezTo>
                  <a:pt x="7" y="21"/>
                  <a:pt x="7" y="21"/>
                  <a:pt x="8" y="21"/>
                </a:cubicBezTo>
                <a:cubicBezTo>
                  <a:pt x="8" y="21"/>
                  <a:pt x="8" y="21"/>
                  <a:pt x="8" y="21"/>
                </a:cubicBezTo>
                <a:cubicBezTo>
                  <a:pt x="9" y="20"/>
                  <a:pt x="10" y="20"/>
                  <a:pt x="11" y="21"/>
                </a:cubicBezTo>
                <a:cubicBezTo>
                  <a:pt x="11" y="21"/>
                  <a:pt x="11" y="21"/>
                  <a:pt x="11" y="21"/>
                </a:cubicBezTo>
                <a:cubicBezTo>
                  <a:pt x="11" y="21"/>
                  <a:pt x="12" y="21"/>
                  <a:pt x="12" y="21"/>
                </a:cubicBezTo>
                <a:cubicBezTo>
                  <a:pt x="12" y="21"/>
                  <a:pt x="13" y="21"/>
                  <a:pt x="14" y="22"/>
                </a:cubicBezTo>
                <a:cubicBezTo>
                  <a:pt x="14" y="22"/>
                  <a:pt x="14" y="22"/>
                  <a:pt x="14" y="22"/>
                </a:cubicBezTo>
                <a:cubicBezTo>
                  <a:pt x="15" y="22"/>
                  <a:pt x="15" y="23"/>
                  <a:pt x="15" y="24"/>
                </a:cubicBezTo>
                <a:cubicBezTo>
                  <a:pt x="15" y="24"/>
                  <a:pt x="15" y="25"/>
                  <a:pt x="15" y="25"/>
                </a:cubicBezTo>
                <a:cubicBezTo>
                  <a:pt x="15" y="26"/>
                  <a:pt x="15" y="26"/>
                  <a:pt x="15" y="26"/>
                </a:cubicBezTo>
                <a:cubicBezTo>
                  <a:pt x="15" y="26"/>
                  <a:pt x="15" y="26"/>
                  <a:pt x="15" y="26"/>
                </a:cubicBezTo>
                <a:cubicBezTo>
                  <a:pt x="15" y="26"/>
                  <a:pt x="15" y="26"/>
                  <a:pt x="15" y="27"/>
                </a:cubicBezTo>
                <a:cubicBezTo>
                  <a:pt x="15" y="27"/>
                  <a:pt x="15" y="27"/>
                  <a:pt x="15" y="27"/>
                </a:cubicBezTo>
                <a:cubicBezTo>
                  <a:pt x="15" y="27"/>
                  <a:pt x="15" y="27"/>
                  <a:pt x="15" y="27"/>
                </a:cubicBezTo>
                <a:cubicBezTo>
                  <a:pt x="16" y="27"/>
                  <a:pt x="16" y="27"/>
                  <a:pt x="17" y="28"/>
                </a:cubicBezTo>
                <a:cubicBezTo>
                  <a:pt x="17" y="28"/>
                  <a:pt x="16" y="29"/>
                  <a:pt x="16" y="29"/>
                </a:cubicBezTo>
                <a:cubicBezTo>
                  <a:pt x="16" y="30"/>
                  <a:pt x="18" y="30"/>
                  <a:pt x="18" y="31"/>
                </a:cubicBezTo>
                <a:cubicBezTo>
                  <a:pt x="18" y="30"/>
                  <a:pt x="18" y="30"/>
                  <a:pt x="18" y="30"/>
                </a:cubicBezTo>
                <a:cubicBezTo>
                  <a:pt x="19" y="31"/>
                  <a:pt x="19" y="31"/>
                  <a:pt x="19" y="31"/>
                </a:cubicBezTo>
                <a:cubicBezTo>
                  <a:pt x="19" y="31"/>
                  <a:pt x="19" y="31"/>
                  <a:pt x="19" y="31"/>
                </a:cubicBezTo>
                <a:cubicBezTo>
                  <a:pt x="20" y="31"/>
                  <a:pt x="20" y="30"/>
                  <a:pt x="21" y="30"/>
                </a:cubicBezTo>
                <a:cubicBezTo>
                  <a:pt x="21" y="30"/>
                  <a:pt x="21" y="30"/>
                  <a:pt x="21" y="30"/>
                </a:cubicBezTo>
                <a:cubicBezTo>
                  <a:pt x="21" y="30"/>
                  <a:pt x="21" y="30"/>
                  <a:pt x="21" y="30"/>
                </a:cubicBezTo>
                <a:cubicBezTo>
                  <a:pt x="21" y="29"/>
                  <a:pt x="21" y="29"/>
                  <a:pt x="21" y="29"/>
                </a:cubicBezTo>
                <a:cubicBezTo>
                  <a:pt x="21" y="29"/>
                  <a:pt x="21" y="29"/>
                  <a:pt x="21" y="29"/>
                </a:cubicBezTo>
                <a:cubicBezTo>
                  <a:pt x="22" y="28"/>
                  <a:pt x="22" y="28"/>
                  <a:pt x="23" y="28"/>
                </a:cubicBezTo>
                <a:cubicBezTo>
                  <a:pt x="23" y="28"/>
                  <a:pt x="23" y="28"/>
                  <a:pt x="23" y="28"/>
                </a:cubicBezTo>
                <a:cubicBezTo>
                  <a:pt x="23" y="27"/>
                  <a:pt x="23" y="27"/>
                  <a:pt x="23" y="27"/>
                </a:cubicBezTo>
                <a:cubicBezTo>
                  <a:pt x="23" y="27"/>
                  <a:pt x="23" y="26"/>
                  <a:pt x="22" y="26"/>
                </a:cubicBezTo>
                <a:cubicBezTo>
                  <a:pt x="22" y="25"/>
                  <a:pt x="22" y="24"/>
                  <a:pt x="23" y="23"/>
                </a:cubicBezTo>
                <a:cubicBezTo>
                  <a:pt x="23" y="22"/>
                  <a:pt x="26" y="22"/>
                  <a:pt x="26" y="22"/>
                </a:cubicBezTo>
                <a:cubicBezTo>
                  <a:pt x="26" y="22"/>
                  <a:pt x="27" y="23"/>
                  <a:pt x="27" y="23"/>
                </a:cubicBezTo>
                <a:cubicBezTo>
                  <a:pt x="27" y="23"/>
                  <a:pt x="27" y="23"/>
                  <a:pt x="27" y="23"/>
                </a:cubicBezTo>
                <a:cubicBezTo>
                  <a:pt x="28" y="22"/>
                  <a:pt x="29" y="21"/>
                  <a:pt x="29" y="21"/>
                </a:cubicBezTo>
                <a:cubicBezTo>
                  <a:pt x="30" y="20"/>
                  <a:pt x="30" y="20"/>
                  <a:pt x="30" y="20"/>
                </a:cubicBezTo>
                <a:cubicBezTo>
                  <a:pt x="30" y="20"/>
                  <a:pt x="31" y="20"/>
                  <a:pt x="31" y="20"/>
                </a:cubicBezTo>
                <a:cubicBezTo>
                  <a:pt x="32" y="19"/>
                  <a:pt x="32" y="19"/>
                  <a:pt x="32" y="19"/>
                </a:cubicBezTo>
                <a:cubicBezTo>
                  <a:pt x="32" y="20"/>
                  <a:pt x="32" y="20"/>
                  <a:pt x="32" y="20"/>
                </a:cubicBezTo>
                <a:cubicBezTo>
                  <a:pt x="33" y="20"/>
                  <a:pt x="33" y="20"/>
                  <a:pt x="33" y="21"/>
                </a:cubicBezTo>
                <a:cubicBezTo>
                  <a:pt x="33" y="21"/>
                  <a:pt x="33" y="21"/>
                  <a:pt x="33" y="21"/>
                </a:cubicBezTo>
                <a:cubicBezTo>
                  <a:pt x="33" y="21"/>
                  <a:pt x="34" y="21"/>
                  <a:pt x="34" y="22"/>
                </a:cubicBezTo>
                <a:cubicBezTo>
                  <a:pt x="34" y="22"/>
                  <a:pt x="34" y="22"/>
                  <a:pt x="34" y="22"/>
                </a:cubicBezTo>
                <a:cubicBezTo>
                  <a:pt x="34" y="22"/>
                  <a:pt x="34" y="21"/>
                  <a:pt x="34" y="21"/>
                </a:cubicBezTo>
                <a:cubicBezTo>
                  <a:pt x="34" y="21"/>
                  <a:pt x="34" y="21"/>
                  <a:pt x="34" y="21"/>
                </a:cubicBezTo>
                <a:cubicBezTo>
                  <a:pt x="34" y="21"/>
                  <a:pt x="35" y="20"/>
                  <a:pt x="35" y="20"/>
                </a:cubicBezTo>
                <a:cubicBezTo>
                  <a:pt x="36" y="19"/>
                  <a:pt x="37" y="19"/>
                  <a:pt x="38" y="18"/>
                </a:cubicBezTo>
                <a:cubicBezTo>
                  <a:pt x="38" y="18"/>
                  <a:pt x="39" y="17"/>
                  <a:pt x="39" y="17"/>
                </a:cubicBezTo>
                <a:cubicBezTo>
                  <a:pt x="39" y="17"/>
                  <a:pt x="39" y="17"/>
                  <a:pt x="39" y="17"/>
                </a:cubicBezTo>
                <a:cubicBezTo>
                  <a:pt x="39" y="16"/>
                  <a:pt x="39" y="16"/>
                  <a:pt x="39" y="16"/>
                </a:cubicBezTo>
                <a:cubicBezTo>
                  <a:pt x="39" y="16"/>
                  <a:pt x="39" y="16"/>
                  <a:pt x="39" y="16"/>
                </a:cubicBezTo>
                <a:cubicBezTo>
                  <a:pt x="39" y="16"/>
                  <a:pt x="39" y="16"/>
                  <a:pt x="39" y="16"/>
                </a:cubicBezTo>
                <a:cubicBezTo>
                  <a:pt x="39" y="15"/>
                  <a:pt x="39" y="14"/>
                  <a:pt x="40" y="14"/>
                </a:cubicBezTo>
                <a:cubicBezTo>
                  <a:pt x="41" y="13"/>
                  <a:pt x="42" y="12"/>
                  <a:pt x="43" y="12"/>
                </a:cubicBezTo>
                <a:cubicBezTo>
                  <a:pt x="43" y="12"/>
                  <a:pt x="43" y="12"/>
                  <a:pt x="44" y="12"/>
                </a:cubicBezTo>
                <a:cubicBezTo>
                  <a:pt x="44" y="12"/>
                  <a:pt x="44" y="12"/>
                  <a:pt x="44" y="12"/>
                </a:cubicBezTo>
                <a:cubicBezTo>
                  <a:pt x="44" y="12"/>
                  <a:pt x="44" y="12"/>
                  <a:pt x="44" y="12"/>
                </a:cubicBezTo>
                <a:cubicBezTo>
                  <a:pt x="45" y="12"/>
                  <a:pt x="45" y="12"/>
                  <a:pt x="46" y="13"/>
                </a:cubicBezTo>
                <a:cubicBezTo>
                  <a:pt x="47" y="13"/>
                  <a:pt x="47" y="14"/>
                  <a:pt x="48" y="14"/>
                </a:cubicBezTo>
                <a:cubicBezTo>
                  <a:pt x="48" y="14"/>
                  <a:pt x="48" y="14"/>
                  <a:pt x="48" y="14"/>
                </a:cubicBezTo>
                <a:cubicBezTo>
                  <a:pt x="48" y="13"/>
                  <a:pt x="48" y="13"/>
                  <a:pt x="48" y="13"/>
                </a:cubicBezTo>
                <a:cubicBezTo>
                  <a:pt x="48" y="13"/>
                  <a:pt x="48" y="13"/>
                  <a:pt x="48" y="13"/>
                </a:cubicBezTo>
                <a:cubicBezTo>
                  <a:pt x="48" y="13"/>
                  <a:pt x="48" y="13"/>
                  <a:pt x="48" y="13"/>
                </a:cubicBezTo>
                <a:cubicBezTo>
                  <a:pt x="49" y="13"/>
                  <a:pt x="49" y="13"/>
                  <a:pt x="49" y="13"/>
                </a:cubicBezTo>
                <a:cubicBezTo>
                  <a:pt x="50" y="13"/>
                  <a:pt x="50" y="13"/>
                  <a:pt x="50" y="13"/>
                </a:cubicBezTo>
                <a:cubicBezTo>
                  <a:pt x="50" y="13"/>
                  <a:pt x="50" y="13"/>
                  <a:pt x="50" y="13"/>
                </a:cubicBezTo>
                <a:cubicBezTo>
                  <a:pt x="51" y="12"/>
                  <a:pt x="53" y="12"/>
                  <a:pt x="54" y="12"/>
                </a:cubicBezTo>
                <a:cubicBezTo>
                  <a:pt x="56" y="11"/>
                  <a:pt x="58" y="11"/>
                  <a:pt x="60" y="10"/>
                </a:cubicBezTo>
                <a:cubicBezTo>
                  <a:pt x="60" y="10"/>
                  <a:pt x="60" y="10"/>
                  <a:pt x="60" y="10"/>
                </a:cubicBezTo>
                <a:cubicBezTo>
                  <a:pt x="60" y="10"/>
                  <a:pt x="59" y="10"/>
                  <a:pt x="59" y="1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5" name="Rectangle 3022">
            <a:extLst>
              <a:ext uri="{FF2B5EF4-FFF2-40B4-BE49-F238E27FC236}">
                <a16:creationId xmlns:a16="http://schemas.microsoft.com/office/drawing/2014/main" id="{CD819B04-6C7C-4B36-9738-2B606CB84EC3}"/>
              </a:ext>
            </a:extLst>
          </p:cNvPr>
          <p:cNvSpPr>
            <a:spLocks noChangeArrowheads="1"/>
          </p:cNvSpPr>
          <p:nvPr/>
        </p:nvSpPr>
        <p:spPr bwMode="auto">
          <a:xfrm>
            <a:off x="2272061" y="3542516"/>
            <a:ext cx="496" cy="594"/>
          </a:xfrm>
          <a:prstGeom prst="rect">
            <a:avLst/>
          </a:prstGeom>
          <a:solidFill>
            <a:schemeClr val="tx1">
              <a:lumMod val="40000"/>
              <a:lumOff val="60000"/>
            </a:schemeClr>
          </a:solid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6" name="Freeform 3023">
            <a:extLst>
              <a:ext uri="{FF2B5EF4-FFF2-40B4-BE49-F238E27FC236}">
                <a16:creationId xmlns:a16="http://schemas.microsoft.com/office/drawing/2014/main" id="{749197FA-2E88-49E2-96C5-37D05CE178E7}"/>
              </a:ext>
            </a:extLst>
          </p:cNvPr>
          <p:cNvSpPr>
            <a:spLocks/>
          </p:cNvSpPr>
          <p:nvPr/>
        </p:nvSpPr>
        <p:spPr bwMode="auto">
          <a:xfrm>
            <a:off x="2237868" y="3501558"/>
            <a:ext cx="46087" cy="59360"/>
          </a:xfrm>
          <a:custGeom>
            <a:avLst/>
            <a:gdLst>
              <a:gd name="T0" fmla="*/ 33 w 39"/>
              <a:gd name="T1" fmla="*/ 20 h 42"/>
              <a:gd name="T2" fmla="*/ 34 w 39"/>
              <a:gd name="T3" fmla="*/ 21 h 42"/>
              <a:gd name="T4" fmla="*/ 33 w 39"/>
              <a:gd name="T5" fmla="*/ 21 h 42"/>
              <a:gd name="T6" fmla="*/ 32 w 39"/>
              <a:gd name="T7" fmla="*/ 21 h 42"/>
              <a:gd name="T8" fmla="*/ 32 w 39"/>
              <a:gd name="T9" fmla="*/ 21 h 42"/>
              <a:gd name="T10" fmla="*/ 30 w 39"/>
              <a:gd name="T11" fmla="*/ 21 h 42"/>
              <a:gd name="T12" fmla="*/ 28 w 39"/>
              <a:gd name="T13" fmla="*/ 19 h 42"/>
              <a:gd name="T14" fmla="*/ 29 w 39"/>
              <a:gd name="T15" fmla="*/ 6 h 42"/>
              <a:gd name="T16" fmla="*/ 29 w 39"/>
              <a:gd name="T17" fmla="*/ 2 h 42"/>
              <a:gd name="T18" fmla="*/ 16 w 39"/>
              <a:gd name="T19" fmla="*/ 1 h 42"/>
              <a:gd name="T20" fmla="*/ 15 w 39"/>
              <a:gd name="T21" fmla="*/ 1 h 42"/>
              <a:gd name="T22" fmla="*/ 13 w 39"/>
              <a:gd name="T23" fmla="*/ 4 h 42"/>
              <a:gd name="T24" fmla="*/ 13 w 39"/>
              <a:gd name="T25" fmla="*/ 5 h 42"/>
              <a:gd name="T26" fmla="*/ 11 w 39"/>
              <a:gd name="T27" fmla="*/ 7 h 42"/>
              <a:gd name="T28" fmla="*/ 11 w 39"/>
              <a:gd name="T29" fmla="*/ 7 h 42"/>
              <a:gd name="T30" fmla="*/ 14 w 39"/>
              <a:gd name="T31" fmla="*/ 10 h 42"/>
              <a:gd name="T32" fmla="*/ 17 w 39"/>
              <a:gd name="T33" fmla="*/ 12 h 42"/>
              <a:gd name="T34" fmla="*/ 17 w 39"/>
              <a:gd name="T35" fmla="*/ 13 h 42"/>
              <a:gd name="T36" fmla="*/ 18 w 39"/>
              <a:gd name="T37" fmla="*/ 14 h 42"/>
              <a:gd name="T38" fmla="*/ 19 w 39"/>
              <a:gd name="T39" fmla="*/ 16 h 42"/>
              <a:gd name="T40" fmla="*/ 18 w 39"/>
              <a:gd name="T41" fmla="*/ 18 h 42"/>
              <a:gd name="T42" fmla="*/ 12 w 39"/>
              <a:gd name="T43" fmla="*/ 19 h 42"/>
              <a:gd name="T44" fmla="*/ 7 w 39"/>
              <a:gd name="T45" fmla="*/ 19 h 42"/>
              <a:gd name="T46" fmla="*/ 5 w 39"/>
              <a:gd name="T47" fmla="*/ 20 h 42"/>
              <a:gd name="T48" fmla="*/ 4 w 39"/>
              <a:gd name="T49" fmla="*/ 21 h 42"/>
              <a:gd name="T50" fmla="*/ 1 w 39"/>
              <a:gd name="T51" fmla="*/ 25 h 42"/>
              <a:gd name="T52" fmla="*/ 1 w 39"/>
              <a:gd name="T53" fmla="*/ 26 h 42"/>
              <a:gd name="T54" fmla="*/ 1 w 39"/>
              <a:gd name="T55" fmla="*/ 26 h 42"/>
              <a:gd name="T56" fmla="*/ 1 w 39"/>
              <a:gd name="T57" fmla="*/ 27 h 42"/>
              <a:gd name="T58" fmla="*/ 1 w 39"/>
              <a:gd name="T59" fmla="*/ 29 h 42"/>
              <a:gd name="T60" fmla="*/ 1 w 39"/>
              <a:gd name="T61" fmla="*/ 30 h 42"/>
              <a:gd name="T62" fmla="*/ 1 w 39"/>
              <a:gd name="T63" fmla="*/ 31 h 42"/>
              <a:gd name="T64" fmla="*/ 1 w 39"/>
              <a:gd name="T65" fmla="*/ 32 h 42"/>
              <a:gd name="T66" fmla="*/ 1 w 39"/>
              <a:gd name="T67" fmla="*/ 33 h 42"/>
              <a:gd name="T68" fmla="*/ 0 w 39"/>
              <a:gd name="T69" fmla="*/ 34 h 42"/>
              <a:gd name="T70" fmla="*/ 0 w 39"/>
              <a:gd name="T71" fmla="*/ 35 h 42"/>
              <a:gd name="T72" fmla="*/ 11 w 39"/>
              <a:gd name="T73" fmla="*/ 40 h 42"/>
              <a:gd name="T74" fmla="*/ 19 w 39"/>
              <a:gd name="T75" fmla="*/ 41 h 42"/>
              <a:gd name="T76" fmla="*/ 19 w 39"/>
              <a:gd name="T77" fmla="*/ 41 h 42"/>
              <a:gd name="T78" fmla="*/ 22 w 39"/>
              <a:gd name="T79" fmla="*/ 38 h 42"/>
              <a:gd name="T80" fmla="*/ 25 w 39"/>
              <a:gd name="T81" fmla="*/ 37 h 42"/>
              <a:gd name="T82" fmla="*/ 25 w 39"/>
              <a:gd name="T83" fmla="*/ 35 h 42"/>
              <a:gd name="T84" fmla="*/ 27 w 39"/>
              <a:gd name="T85" fmla="*/ 34 h 42"/>
              <a:gd name="T86" fmla="*/ 28 w 39"/>
              <a:gd name="T87" fmla="*/ 33 h 42"/>
              <a:gd name="T88" fmla="*/ 29 w 39"/>
              <a:gd name="T89" fmla="*/ 32 h 42"/>
              <a:gd name="T90" fmla="*/ 29 w 39"/>
              <a:gd name="T91" fmla="*/ 29 h 42"/>
              <a:gd name="T92" fmla="*/ 29 w 39"/>
              <a:gd name="T93" fmla="*/ 29 h 42"/>
              <a:gd name="T94" fmla="*/ 31 w 39"/>
              <a:gd name="T95" fmla="*/ 26 h 42"/>
              <a:gd name="T96" fmla="*/ 32 w 39"/>
              <a:gd name="T97" fmla="*/ 27 h 42"/>
              <a:gd name="T98" fmla="*/ 32 w 39"/>
              <a:gd name="T99" fmla="*/ 26 h 42"/>
              <a:gd name="T100" fmla="*/ 33 w 39"/>
              <a:gd name="T101" fmla="*/ 25 h 42"/>
              <a:gd name="T102" fmla="*/ 37 w 39"/>
              <a:gd name="T103" fmla="*/ 23 h 42"/>
              <a:gd name="T104" fmla="*/ 39 w 39"/>
              <a:gd name="T105" fmla="*/ 21 h 42"/>
              <a:gd name="T106" fmla="*/ 37 w 39"/>
              <a:gd name="T107"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9" h="42">
                <a:moveTo>
                  <a:pt x="37" y="20"/>
                </a:moveTo>
                <a:cubicBezTo>
                  <a:pt x="35" y="21"/>
                  <a:pt x="35" y="21"/>
                  <a:pt x="33" y="20"/>
                </a:cubicBezTo>
                <a:cubicBezTo>
                  <a:pt x="33" y="20"/>
                  <a:pt x="33" y="20"/>
                  <a:pt x="33" y="20"/>
                </a:cubicBezTo>
                <a:cubicBezTo>
                  <a:pt x="34" y="21"/>
                  <a:pt x="34" y="21"/>
                  <a:pt x="34" y="21"/>
                </a:cubicBezTo>
                <a:cubicBezTo>
                  <a:pt x="33" y="21"/>
                  <a:pt x="33" y="21"/>
                  <a:pt x="33" y="21"/>
                </a:cubicBezTo>
                <a:cubicBezTo>
                  <a:pt x="33" y="21"/>
                  <a:pt x="33" y="21"/>
                  <a:pt x="33" y="21"/>
                </a:cubicBezTo>
                <a:cubicBezTo>
                  <a:pt x="33" y="21"/>
                  <a:pt x="33" y="21"/>
                  <a:pt x="33" y="21"/>
                </a:cubicBezTo>
                <a:cubicBezTo>
                  <a:pt x="32" y="21"/>
                  <a:pt x="32" y="21"/>
                  <a:pt x="32" y="21"/>
                </a:cubicBezTo>
                <a:cubicBezTo>
                  <a:pt x="32" y="21"/>
                  <a:pt x="32" y="21"/>
                  <a:pt x="32" y="21"/>
                </a:cubicBezTo>
                <a:cubicBezTo>
                  <a:pt x="32" y="21"/>
                  <a:pt x="32" y="21"/>
                  <a:pt x="32" y="21"/>
                </a:cubicBezTo>
                <a:cubicBezTo>
                  <a:pt x="31" y="21"/>
                  <a:pt x="31" y="21"/>
                  <a:pt x="31" y="21"/>
                </a:cubicBezTo>
                <a:cubicBezTo>
                  <a:pt x="31" y="21"/>
                  <a:pt x="31" y="21"/>
                  <a:pt x="30" y="21"/>
                </a:cubicBezTo>
                <a:cubicBezTo>
                  <a:pt x="28" y="21"/>
                  <a:pt x="28" y="21"/>
                  <a:pt x="28" y="21"/>
                </a:cubicBezTo>
                <a:cubicBezTo>
                  <a:pt x="28" y="19"/>
                  <a:pt x="28" y="19"/>
                  <a:pt x="28" y="19"/>
                </a:cubicBezTo>
                <a:cubicBezTo>
                  <a:pt x="29" y="14"/>
                  <a:pt x="29" y="10"/>
                  <a:pt x="29" y="6"/>
                </a:cubicBezTo>
                <a:cubicBezTo>
                  <a:pt x="29" y="6"/>
                  <a:pt x="29" y="6"/>
                  <a:pt x="29" y="6"/>
                </a:cubicBezTo>
                <a:cubicBezTo>
                  <a:pt x="29" y="5"/>
                  <a:pt x="29" y="4"/>
                  <a:pt x="29" y="3"/>
                </a:cubicBezTo>
                <a:cubicBezTo>
                  <a:pt x="29" y="2"/>
                  <a:pt x="29" y="2"/>
                  <a:pt x="29" y="2"/>
                </a:cubicBezTo>
                <a:cubicBezTo>
                  <a:pt x="29" y="2"/>
                  <a:pt x="29" y="1"/>
                  <a:pt x="29" y="1"/>
                </a:cubicBezTo>
                <a:cubicBezTo>
                  <a:pt x="16" y="1"/>
                  <a:pt x="16" y="1"/>
                  <a:pt x="16" y="1"/>
                </a:cubicBezTo>
                <a:cubicBezTo>
                  <a:pt x="16" y="1"/>
                  <a:pt x="16" y="1"/>
                  <a:pt x="15" y="1"/>
                </a:cubicBezTo>
                <a:cubicBezTo>
                  <a:pt x="15" y="1"/>
                  <a:pt x="15" y="1"/>
                  <a:pt x="15" y="1"/>
                </a:cubicBezTo>
                <a:cubicBezTo>
                  <a:pt x="14" y="1"/>
                  <a:pt x="13" y="0"/>
                  <a:pt x="13" y="0"/>
                </a:cubicBezTo>
                <a:cubicBezTo>
                  <a:pt x="13" y="1"/>
                  <a:pt x="13" y="3"/>
                  <a:pt x="13" y="4"/>
                </a:cubicBezTo>
                <a:cubicBezTo>
                  <a:pt x="13" y="4"/>
                  <a:pt x="13" y="5"/>
                  <a:pt x="13" y="5"/>
                </a:cubicBezTo>
                <a:cubicBezTo>
                  <a:pt x="13" y="5"/>
                  <a:pt x="13" y="5"/>
                  <a:pt x="13" y="5"/>
                </a:cubicBezTo>
                <a:cubicBezTo>
                  <a:pt x="13" y="6"/>
                  <a:pt x="13" y="6"/>
                  <a:pt x="13" y="6"/>
                </a:cubicBezTo>
                <a:cubicBezTo>
                  <a:pt x="12" y="6"/>
                  <a:pt x="12" y="7"/>
                  <a:pt x="11" y="7"/>
                </a:cubicBezTo>
                <a:cubicBezTo>
                  <a:pt x="10" y="7"/>
                  <a:pt x="10" y="7"/>
                  <a:pt x="10" y="7"/>
                </a:cubicBezTo>
                <a:cubicBezTo>
                  <a:pt x="11" y="7"/>
                  <a:pt x="11" y="7"/>
                  <a:pt x="11" y="7"/>
                </a:cubicBezTo>
                <a:cubicBezTo>
                  <a:pt x="12" y="8"/>
                  <a:pt x="12" y="8"/>
                  <a:pt x="12" y="9"/>
                </a:cubicBezTo>
                <a:cubicBezTo>
                  <a:pt x="13" y="9"/>
                  <a:pt x="13" y="9"/>
                  <a:pt x="14" y="10"/>
                </a:cubicBezTo>
                <a:cubicBezTo>
                  <a:pt x="14" y="10"/>
                  <a:pt x="14" y="10"/>
                  <a:pt x="14" y="10"/>
                </a:cubicBezTo>
                <a:cubicBezTo>
                  <a:pt x="15" y="11"/>
                  <a:pt x="16" y="12"/>
                  <a:pt x="17" y="12"/>
                </a:cubicBezTo>
                <a:cubicBezTo>
                  <a:pt x="17" y="12"/>
                  <a:pt x="17" y="12"/>
                  <a:pt x="17" y="12"/>
                </a:cubicBezTo>
                <a:cubicBezTo>
                  <a:pt x="17" y="13"/>
                  <a:pt x="17" y="13"/>
                  <a:pt x="17" y="13"/>
                </a:cubicBezTo>
                <a:cubicBezTo>
                  <a:pt x="18" y="13"/>
                  <a:pt x="18" y="13"/>
                  <a:pt x="18" y="13"/>
                </a:cubicBezTo>
                <a:cubicBezTo>
                  <a:pt x="18" y="14"/>
                  <a:pt x="18" y="14"/>
                  <a:pt x="18" y="14"/>
                </a:cubicBezTo>
                <a:cubicBezTo>
                  <a:pt x="19" y="14"/>
                  <a:pt x="19" y="15"/>
                  <a:pt x="19" y="16"/>
                </a:cubicBezTo>
                <a:cubicBezTo>
                  <a:pt x="19" y="16"/>
                  <a:pt x="19" y="16"/>
                  <a:pt x="19" y="16"/>
                </a:cubicBezTo>
                <a:cubicBezTo>
                  <a:pt x="19" y="16"/>
                  <a:pt x="19" y="16"/>
                  <a:pt x="19" y="16"/>
                </a:cubicBezTo>
                <a:cubicBezTo>
                  <a:pt x="19" y="17"/>
                  <a:pt x="19" y="17"/>
                  <a:pt x="18" y="18"/>
                </a:cubicBezTo>
                <a:cubicBezTo>
                  <a:pt x="18" y="18"/>
                  <a:pt x="18" y="19"/>
                  <a:pt x="16" y="19"/>
                </a:cubicBezTo>
                <a:cubicBezTo>
                  <a:pt x="12" y="19"/>
                  <a:pt x="12" y="19"/>
                  <a:pt x="12" y="19"/>
                </a:cubicBezTo>
                <a:cubicBezTo>
                  <a:pt x="10" y="19"/>
                  <a:pt x="10" y="19"/>
                  <a:pt x="10" y="19"/>
                </a:cubicBezTo>
                <a:cubicBezTo>
                  <a:pt x="9" y="19"/>
                  <a:pt x="8" y="19"/>
                  <a:pt x="7" y="19"/>
                </a:cubicBezTo>
                <a:cubicBezTo>
                  <a:pt x="6" y="19"/>
                  <a:pt x="6" y="19"/>
                  <a:pt x="5" y="20"/>
                </a:cubicBezTo>
                <a:cubicBezTo>
                  <a:pt x="5" y="20"/>
                  <a:pt x="5" y="20"/>
                  <a:pt x="5" y="20"/>
                </a:cubicBezTo>
                <a:cubicBezTo>
                  <a:pt x="5" y="20"/>
                  <a:pt x="5" y="20"/>
                  <a:pt x="4" y="20"/>
                </a:cubicBezTo>
                <a:cubicBezTo>
                  <a:pt x="4" y="20"/>
                  <a:pt x="4" y="20"/>
                  <a:pt x="4" y="21"/>
                </a:cubicBezTo>
                <a:cubicBezTo>
                  <a:pt x="3" y="21"/>
                  <a:pt x="3" y="21"/>
                  <a:pt x="3" y="21"/>
                </a:cubicBezTo>
                <a:cubicBezTo>
                  <a:pt x="3" y="22"/>
                  <a:pt x="1" y="24"/>
                  <a:pt x="1" y="25"/>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7"/>
                  <a:pt x="1" y="27"/>
                </a:cubicBezTo>
                <a:cubicBezTo>
                  <a:pt x="1" y="27"/>
                  <a:pt x="2" y="28"/>
                  <a:pt x="1" y="29"/>
                </a:cubicBezTo>
                <a:cubicBezTo>
                  <a:pt x="1" y="29"/>
                  <a:pt x="1" y="29"/>
                  <a:pt x="1" y="29"/>
                </a:cubicBezTo>
                <a:cubicBezTo>
                  <a:pt x="1" y="29"/>
                  <a:pt x="1" y="29"/>
                  <a:pt x="1" y="29"/>
                </a:cubicBezTo>
                <a:cubicBezTo>
                  <a:pt x="1" y="30"/>
                  <a:pt x="1" y="30"/>
                  <a:pt x="1" y="30"/>
                </a:cubicBezTo>
                <a:cubicBezTo>
                  <a:pt x="1" y="30"/>
                  <a:pt x="1" y="30"/>
                  <a:pt x="1" y="30"/>
                </a:cubicBezTo>
                <a:cubicBezTo>
                  <a:pt x="1" y="30"/>
                  <a:pt x="1" y="31"/>
                  <a:pt x="1" y="31"/>
                </a:cubicBezTo>
                <a:cubicBezTo>
                  <a:pt x="1" y="31"/>
                  <a:pt x="1" y="31"/>
                  <a:pt x="1" y="31"/>
                </a:cubicBezTo>
                <a:cubicBezTo>
                  <a:pt x="1" y="31"/>
                  <a:pt x="1" y="32"/>
                  <a:pt x="1" y="32"/>
                </a:cubicBezTo>
                <a:cubicBezTo>
                  <a:pt x="1" y="32"/>
                  <a:pt x="1" y="32"/>
                  <a:pt x="1" y="32"/>
                </a:cubicBezTo>
                <a:cubicBezTo>
                  <a:pt x="1" y="32"/>
                  <a:pt x="1" y="33"/>
                  <a:pt x="1" y="33"/>
                </a:cubicBezTo>
                <a:cubicBezTo>
                  <a:pt x="0" y="33"/>
                  <a:pt x="0" y="33"/>
                  <a:pt x="0" y="33"/>
                </a:cubicBezTo>
                <a:cubicBezTo>
                  <a:pt x="0" y="34"/>
                  <a:pt x="0" y="34"/>
                  <a:pt x="0" y="34"/>
                </a:cubicBezTo>
                <a:cubicBezTo>
                  <a:pt x="0" y="35"/>
                  <a:pt x="0" y="35"/>
                  <a:pt x="0" y="35"/>
                </a:cubicBezTo>
                <a:cubicBezTo>
                  <a:pt x="0" y="35"/>
                  <a:pt x="0" y="35"/>
                  <a:pt x="0" y="35"/>
                </a:cubicBezTo>
                <a:cubicBezTo>
                  <a:pt x="1" y="36"/>
                  <a:pt x="2" y="37"/>
                  <a:pt x="3" y="37"/>
                </a:cubicBezTo>
                <a:cubicBezTo>
                  <a:pt x="6" y="39"/>
                  <a:pt x="8" y="40"/>
                  <a:pt x="11" y="40"/>
                </a:cubicBezTo>
                <a:cubicBezTo>
                  <a:pt x="13" y="40"/>
                  <a:pt x="14" y="40"/>
                  <a:pt x="15" y="40"/>
                </a:cubicBezTo>
                <a:cubicBezTo>
                  <a:pt x="17" y="40"/>
                  <a:pt x="18" y="41"/>
                  <a:pt x="19" y="41"/>
                </a:cubicBezTo>
                <a:cubicBezTo>
                  <a:pt x="19" y="41"/>
                  <a:pt x="19" y="42"/>
                  <a:pt x="19" y="42"/>
                </a:cubicBezTo>
                <a:cubicBezTo>
                  <a:pt x="19" y="41"/>
                  <a:pt x="19" y="41"/>
                  <a:pt x="19" y="41"/>
                </a:cubicBezTo>
                <a:cubicBezTo>
                  <a:pt x="20" y="39"/>
                  <a:pt x="20" y="39"/>
                  <a:pt x="21" y="39"/>
                </a:cubicBezTo>
                <a:cubicBezTo>
                  <a:pt x="21" y="39"/>
                  <a:pt x="22" y="38"/>
                  <a:pt x="22" y="38"/>
                </a:cubicBezTo>
                <a:cubicBezTo>
                  <a:pt x="23" y="38"/>
                  <a:pt x="23" y="38"/>
                  <a:pt x="23" y="38"/>
                </a:cubicBezTo>
                <a:cubicBezTo>
                  <a:pt x="24" y="37"/>
                  <a:pt x="24" y="37"/>
                  <a:pt x="25" y="37"/>
                </a:cubicBezTo>
                <a:cubicBezTo>
                  <a:pt x="25" y="37"/>
                  <a:pt x="25" y="37"/>
                  <a:pt x="25" y="37"/>
                </a:cubicBezTo>
                <a:cubicBezTo>
                  <a:pt x="25" y="36"/>
                  <a:pt x="25" y="36"/>
                  <a:pt x="25" y="35"/>
                </a:cubicBezTo>
                <a:cubicBezTo>
                  <a:pt x="25" y="34"/>
                  <a:pt x="26" y="34"/>
                  <a:pt x="27" y="34"/>
                </a:cubicBezTo>
                <a:cubicBezTo>
                  <a:pt x="27" y="34"/>
                  <a:pt x="27" y="34"/>
                  <a:pt x="27" y="34"/>
                </a:cubicBezTo>
                <a:cubicBezTo>
                  <a:pt x="28" y="33"/>
                  <a:pt x="28" y="33"/>
                  <a:pt x="28" y="33"/>
                </a:cubicBezTo>
                <a:cubicBezTo>
                  <a:pt x="28" y="33"/>
                  <a:pt x="28" y="33"/>
                  <a:pt x="28" y="33"/>
                </a:cubicBezTo>
                <a:cubicBezTo>
                  <a:pt x="29" y="33"/>
                  <a:pt x="29" y="32"/>
                  <a:pt x="29" y="32"/>
                </a:cubicBezTo>
                <a:cubicBezTo>
                  <a:pt x="29" y="32"/>
                  <a:pt x="29" y="32"/>
                  <a:pt x="29" y="32"/>
                </a:cubicBezTo>
                <a:cubicBezTo>
                  <a:pt x="29" y="32"/>
                  <a:pt x="29" y="31"/>
                  <a:pt x="29" y="31"/>
                </a:cubicBezTo>
                <a:cubicBezTo>
                  <a:pt x="29" y="30"/>
                  <a:pt x="29" y="30"/>
                  <a:pt x="29" y="29"/>
                </a:cubicBezTo>
                <a:cubicBezTo>
                  <a:pt x="29" y="29"/>
                  <a:pt x="29" y="29"/>
                  <a:pt x="29" y="29"/>
                </a:cubicBezTo>
                <a:cubicBezTo>
                  <a:pt x="29" y="29"/>
                  <a:pt x="29" y="29"/>
                  <a:pt x="29" y="29"/>
                </a:cubicBezTo>
                <a:cubicBezTo>
                  <a:pt x="29" y="29"/>
                  <a:pt x="29" y="29"/>
                  <a:pt x="29" y="28"/>
                </a:cubicBezTo>
                <a:cubicBezTo>
                  <a:pt x="29" y="27"/>
                  <a:pt x="30" y="27"/>
                  <a:pt x="31" y="26"/>
                </a:cubicBezTo>
                <a:cubicBezTo>
                  <a:pt x="32" y="27"/>
                  <a:pt x="32" y="27"/>
                  <a:pt x="32" y="27"/>
                </a:cubicBezTo>
                <a:cubicBezTo>
                  <a:pt x="32" y="27"/>
                  <a:pt x="32" y="27"/>
                  <a:pt x="32" y="27"/>
                </a:cubicBezTo>
                <a:cubicBezTo>
                  <a:pt x="32" y="26"/>
                  <a:pt x="32" y="26"/>
                  <a:pt x="32" y="26"/>
                </a:cubicBezTo>
                <a:cubicBezTo>
                  <a:pt x="32" y="26"/>
                  <a:pt x="32" y="26"/>
                  <a:pt x="32" y="26"/>
                </a:cubicBezTo>
                <a:cubicBezTo>
                  <a:pt x="32" y="26"/>
                  <a:pt x="33" y="26"/>
                  <a:pt x="33" y="25"/>
                </a:cubicBezTo>
                <a:cubicBezTo>
                  <a:pt x="33" y="25"/>
                  <a:pt x="33" y="25"/>
                  <a:pt x="33" y="25"/>
                </a:cubicBezTo>
                <a:cubicBezTo>
                  <a:pt x="34" y="25"/>
                  <a:pt x="35" y="24"/>
                  <a:pt x="36" y="23"/>
                </a:cubicBezTo>
                <a:cubicBezTo>
                  <a:pt x="36" y="23"/>
                  <a:pt x="36" y="23"/>
                  <a:pt x="37" y="23"/>
                </a:cubicBezTo>
                <a:cubicBezTo>
                  <a:pt x="37" y="22"/>
                  <a:pt x="37" y="22"/>
                  <a:pt x="37" y="22"/>
                </a:cubicBezTo>
                <a:cubicBezTo>
                  <a:pt x="37" y="22"/>
                  <a:pt x="38" y="21"/>
                  <a:pt x="39" y="21"/>
                </a:cubicBezTo>
                <a:cubicBezTo>
                  <a:pt x="38" y="20"/>
                  <a:pt x="37" y="19"/>
                  <a:pt x="36" y="19"/>
                </a:cubicBezTo>
                <a:cubicBezTo>
                  <a:pt x="36" y="19"/>
                  <a:pt x="37" y="20"/>
                  <a:pt x="37" y="2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7" name="Freeform 3024">
            <a:extLst>
              <a:ext uri="{FF2B5EF4-FFF2-40B4-BE49-F238E27FC236}">
                <a16:creationId xmlns:a16="http://schemas.microsoft.com/office/drawing/2014/main" id="{ABB52999-F302-42AE-9A29-6B7ECA822FB4}"/>
              </a:ext>
            </a:extLst>
          </p:cNvPr>
          <p:cNvSpPr>
            <a:spLocks/>
          </p:cNvSpPr>
          <p:nvPr/>
        </p:nvSpPr>
        <p:spPr bwMode="auto">
          <a:xfrm>
            <a:off x="2393969" y="3578725"/>
            <a:ext cx="140244" cy="236251"/>
          </a:xfrm>
          <a:custGeom>
            <a:avLst/>
            <a:gdLst>
              <a:gd name="T0" fmla="*/ 115 w 120"/>
              <a:gd name="T1" fmla="*/ 101 h 168"/>
              <a:gd name="T2" fmla="*/ 116 w 120"/>
              <a:gd name="T3" fmla="*/ 94 h 168"/>
              <a:gd name="T4" fmla="*/ 118 w 120"/>
              <a:gd name="T5" fmla="*/ 93 h 168"/>
              <a:gd name="T6" fmla="*/ 114 w 120"/>
              <a:gd name="T7" fmla="*/ 83 h 168"/>
              <a:gd name="T8" fmla="*/ 114 w 120"/>
              <a:gd name="T9" fmla="*/ 78 h 168"/>
              <a:gd name="T10" fmla="*/ 116 w 120"/>
              <a:gd name="T11" fmla="*/ 69 h 168"/>
              <a:gd name="T12" fmla="*/ 107 w 120"/>
              <a:gd name="T13" fmla="*/ 66 h 168"/>
              <a:gd name="T14" fmla="*/ 94 w 120"/>
              <a:gd name="T15" fmla="*/ 61 h 168"/>
              <a:gd name="T16" fmla="*/ 82 w 120"/>
              <a:gd name="T17" fmla="*/ 58 h 168"/>
              <a:gd name="T18" fmla="*/ 70 w 120"/>
              <a:gd name="T19" fmla="*/ 55 h 168"/>
              <a:gd name="T20" fmla="*/ 67 w 120"/>
              <a:gd name="T21" fmla="*/ 46 h 168"/>
              <a:gd name="T22" fmla="*/ 62 w 120"/>
              <a:gd name="T23" fmla="*/ 35 h 168"/>
              <a:gd name="T24" fmla="*/ 58 w 120"/>
              <a:gd name="T25" fmla="*/ 32 h 168"/>
              <a:gd name="T26" fmla="*/ 62 w 120"/>
              <a:gd name="T27" fmla="*/ 21 h 168"/>
              <a:gd name="T28" fmla="*/ 67 w 120"/>
              <a:gd name="T29" fmla="*/ 14 h 168"/>
              <a:gd name="T30" fmla="*/ 75 w 120"/>
              <a:gd name="T31" fmla="*/ 7 h 168"/>
              <a:gd name="T32" fmla="*/ 81 w 120"/>
              <a:gd name="T33" fmla="*/ 6 h 168"/>
              <a:gd name="T34" fmla="*/ 64 w 120"/>
              <a:gd name="T35" fmla="*/ 9 h 168"/>
              <a:gd name="T36" fmla="*/ 46 w 120"/>
              <a:gd name="T37" fmla="*/ 18 h 168"/>
              <a:gd name="T38" fmla="*/ 41 w 120"/>
              <a:gd name="T39" fmla="*/ 17 h 168"/>
              <a:gd name="T40" fmla="*/ 35 w 120"/>
              <a:gd name="T41" fmla="*/ 28 h 168"/>
              <a:gd name="T42" fmla="*/ 23 w 120"/>
              <a:gd name="T43" fmla="*/ 40 h 168"/>
              <a:gd name="T44" fmla="*/ 18 w 120"/>
              <a:gd name="T45" fmla="*/ 41 h 168"/>
              <a:gd name="T46" fmla="*/ 16 w 120"/>
              <a:gd name="T47" fmla="*/ 53 h 168"/>
              <a:gd name="T48" fmla="*/ 13 w 120"/>
              <a:gd name="T49" fmla="*/ 56 h 168"/>
              <a:gd name="T50" fmla="*/ 16 w 120"/>
              <a:gd name="T51" fmla="*/ 72 h 168"/>
              <a:gd name="T52" fmla="*/ 19 w 120"/>
              <a:gd name="T53" fmla="*/ 87 h 168"/>
              <a:gd name="T54" fmla="*/ 5 w 120"/>
              <a:gd name="T55" fmla="*/ 104 h 168"/>
              <a:gd name="T56" fmla="*/ 2 w 120"/>
              <a:gd name="T57" fmla="*/ 112 h 168"/>
              <a:gd name="T58" fmla="*/ 18 w 120"/>
              <a:gd name="T59" fmla="*/ 122 h 168"/>
              <a:gd name="T60" fmla="*/ 27 w 120"/>
              <a:gd name="T61" fmla="*/ 124 h 168"/>
              <a:gd name="T62" fmla="*/ 36 w 120"/>
              <a:gd name="T63" fmla="*/ 127 h 168"/>
              <a:gd name="T64" fmla="*/ 40 w 120"/>
              <a:gd name="T65" fmla="*/ 128 h 168"/>
              <a:gd name="T66" fmla="*/ 43 w 120"/>
              <a:gd name="T67" fmla="*/ 129 h 168"/>
              <a:gd name="T68" fmla="*/ 47 w 120"/>
              <a:gd name="T69" fmla="*/ 129 h 168"/>
              <a:gd name="T70" fmla="*/ 51 w 120"/>
              <a:gd name="T71" fmla="*/ 138 h 168"/>
              <a:gd name="T72" fmla="*/ 55 w 120"/>
              <a:gd name="T73" fmla="*/ 140 h 168"/>
              <a:gd name="T74" fmla="*/ 59 w 120"/>
              <a:gd name="T75" fmla="*/ 146 h 168"/>
              <a:gd name="T76" fmla="*/ 62 w 120"/>
              <a:gd name="T77" fmla="*/ 147 h 168"/>
              <a:gd name="T78" fmla="*/ 63 w 120"/>
              <a:gd name="T79" fmla="*/ 149 h 168"/>
              <a:gd name="T80" fmla="*/ 68 w 120"/>
              <a:gd name="T81" fmla="*/ 152 h 168"/>
              <a:gd name="T82" fmla="*/ 71 w 120"/>
              <a:gd name="T83" fmla="*/ 152 h 168"/>
              <a:gd name="T84" fmla="*/ 72 w 120"/>
              <a:gd name="T85" fmla="*/ 152 h 168"/>
              <a:gd name="T86" fmla="*/ 77 w 120"/>
              <a:gd name="T87" fmla="*/ 151 h 168"/>
              <a:gd name="T88" fmla="*/ 81 w 120"/>
              <a:gd name="T89" fmla="*/ 151 h 168"/>
              <a:gd name="T90" fmla="*/ 89 w 120"/>
              <a:gd name="T91" fmla="*/ 152 h 168"/>
              <a:gd name="T92" fmla="*/ 90 w 120"/>
              <a:gd name="T93" fmla="*/ 163 h 168"/>
              <a:gd name="T94" fmla="*/ 88 w 120"/>
              <a:gd name="T95" fmla="*/ 166 h 168"/>
              <a:gd name="T96" fmla="*/ 94 w 120"/>
              <a:gd name="T97" fmla="*/ 163 h 168"/>
              <a:gd name="T98" fmla="*/ 95 w 120"/>
              <a:gd name="T99" fmla="*/ 156 h 168"/>
              <a:gd name="T100" fmla="*/ 96 w 120"/>
              <a:gd name="T101" fmla="*/ 151 h 168"/>
              <a:gd name="T102" fmla="*/ 97 w 120"/>
              <a:gd name="T103" fmla="*/ 139 h 168"/>
              <a:gd name="T104" fmla="*/ 91 w 120"/>
              <a:gd name="T105" fmla="*/ 123 h 168"/>
              <a:gd name="T106" fmla="*/ 100 w 120"/>
              <a:gd name="T107" fmla="*/ 119 h 168"/>
              <a:gd name="T108" fmla="*/ 93 w 120"/>
              <a:gd name="T109" fmla="*/ 117 h 168"/>
              <a:gd name="T110" fmla="*/ 110 w 120"/>
              <a:gd name="T111" fmla="*/ 107 h 168"/>
              <a:gd name="T112" fmla="*/ 120 w 120"/>
              <a:gd name="T113" fmla="*/ 10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 h="168">
                <a:moveTo>
                  <a:pt x="119" y="104"/>
                </a:moveTo>
                <a:cubicBezTo>
                  <a:pt x="119" y="104"/>
                  <a:pt x="119" y="103"/>
                  <a:pt x="118" y="103"/>
                </a:cubicBezTo>
                <a:cubicBezTo>
                  <a:pt x="118" y="102"/>
                  <a:pt x="118" y="102"/>
                  <a:pt x="117" y="102"/>
                </a:cubicBezTo>
                <a:cubicBezTo>
                  <a:pt x="117" y="101"/>
                  <a:pt x="117" y="101"/>
                  <a:pt x="117" y="101"/>
                </a:cubicBezTo>
                <a:cubicBezTo>
                  <a:pt x="117" y="101"/>
                  <a:pt x="117" y="101"/>
                  <a:pt x="117" y="101"/>
                </a:cubicBezTo>
                <a:cubicBezTo>
                  <a:pt x="116" y="101"/>
                  <a:pt x="116" y="101"/>
                  <a:pt x="115" y="101"/>
                </a:cubicBezTo>
                <a:cubicBezTo>
                  <a:pt x="114" y="101"/>
                  <a:pt x="114" y="100"/>
                  <a:pt x="114" y="99"/>
                </a:cubicBezTo>
                <a:cubicBezTo>
                  <a:pt x="114" y="98"/>
                  <a:pt x="114" y="98"/>
                  <a:pt x="115" y="98"/>
                </a:cubicBezTo>
                <a:cubicBezTo>
                  <a:pt x="115" y="97"/>
                  <a:pt x="116" y="96"/>
                  <a:pt x="117" y="96"/>
                </a:cubicBezTo>
                <a:cubicBezTo>
                  <a:pt x="117" y="95"/>
                  <a:pt x="117" y="95"/>
                  <a:pt x="117" y="95"/>
                </a:cubicBezTo>
                <a:cubicBezTo>
                  <a:pt x="117" y="95"/>
                  <a:pt x="117" y="95"/>
                  <a:pt x="117" y="95"/>
                </a:cubicBezTo>
                <a:cubicBezTo>
                  <a:pt x="116" y="94"/>
                  <a:pt x="116" y="94"/>
                  <a:pt x="116" y="94"/>
                </a:cubicBezTo>
                <a:cubicBezTo>
                  <a:pt x="118" y="95"/>
                  <a:pt x="118" y="95"/>
                  <a:pt x="118" y="95"/>
                </a:cubicBezTo>
                <a:cubicBezTo>
                  <a:pt x="118" y="95"/>
                  <a:pt x="118" y="95"/>
                  <a:pt x="118" y="95"/>
                </a:cubicBezTo>
                <a:cubicBezTo>
                  <a:pt x="118" y="94"/>
                  <a:pt x="119" y="94"/>
                  <a:pt x="119" y="94"/>
                </a:cubicBezTo>
                <a:cubicBezTo>
                  <a:pt x="119" y="94"/>
                  <a:pt x="119" y="94"/>
                  <a:pt x="119" y="94"/>
                </a:cubicBezTo>
                <a:cubicBezTo>
                  <a:pt x="119" y="93"/>
                  <a:pt x="119" y="93"/>
                  <a:pt x="119" y="93"/>
                </a:cubicBezTo>
                <a:cubicBezTo>
                  <a:pt x="118" y="93"/>
                  <a:pt x="118" y="93"/>
                  <a:pt x="118" y="93"/>
                </a:cubicBezTo>
                <a:cubicBezTo>
                  <a:pt x="118" y="92"/>
                  <a:pt x="118" y="92"/>
                  <a:pt x="118" y="92"/>
                </a:cubicBezTo>
                <a:cubicBezTo>
                  <a:pt x="117" y="92"/>
                  <a:pt x="117" y="91"/>
                  <a:pt x="116" y="91"/>
                </a:cubicBezTo>
                <a:cubicBezTo>
                  <a:pt x="116" y="90"/>
                  <a:pt x="116" y="89"/>
                  <a:pt x="116" y="89"/>
                </a:cubicBezTo>
                <a:cubicBezTo>
                  <a:pt x="116" y="89"/>
                  <a:pt x="116" y="89"/>
                  <a:pt x="116" y="89"/>
                </a:cubicBezTo>
                <a:cubicBezTo>
                  <a:pt x="115" y="88"/>
                  <a:pt x="115" y="88"/>
                  <a:pt x="115" y="88"/>
                </a:cubicBezTo>
                <a:cubicBezTo>
                  <a:pt x="114" y="86"/>
                  <a:pt x="114" y="85"/>
                  <a:pt x="114" y="83"/>
                </a:cubicBezTo>
                <a:cubicBezTo>
                  <a:pt x="114" y="83"/>
                  <a:pt x="114" y="83"/>
                  <a:pt x="114" y="82"/>
                </a:cubicBezTo>
                <a:cubicBezTo>
                  <a:pt x="111" y="83"/>
                  <a:pt x="111" y="83"/>
                  <a:pt x="111" y="83"/>
                </a:cubicBezTo>
                <a:cubicBezTo>
                  <a:pt x="114" y="82"/>
                  <a:pt x="114" y="82"/>
                  <a:pt x="114" y="82"/>
                </a:cubicBezTo>
                <a:cubicBezTo>
                  <a:pt x="114" y="81"/>
                  <a:pt x="114" y="81"/>
                  <a:pt x="114" y="81"/>
                </a:cubicBezTo>
                <a:cubicBezTo>
                  <a:pt x="114" y="81"/>
                  <a:pt x="113" y="81"/>
                  <a:pt x="114" y="80"/>
                </a:cubicBezTo>
                <a:cubicBezTo>
                  <a:pt x="114" y="80"/>
                  <a:pt x="114" y="79"/>
                  <a:pt x="114" y="78"/>
                </a:cubicBezTo>
                <a:cubicBezTo>
                  <a:pt x="114" y="77"/>
                  <a:pt x="114" y="76"/>
                  <a:pt x="114" y="75"/>
                </a:cubicBezTo>
                <a:cubicBezTo>
                  <a:pt x="114" y="74"/>
                  <a:pt x="114" y="74"/>
                  <a:pt x="114" y="74"/>
                </a:cubicBezTo>
                <a:cubicBezTo>
                  <a:pt x="114" y="73"/>
                  <a:pt x="115" y="72"/>
                  <a:pt x="115" y="71"/>
                </a:cubicBezTo>
                <a:cubicBezTo>
                  <a:pt x="115" y="71"/>
                  <a:pt x="116" y="71"/>
                  <a:pt x="116" y="70"/>
                </a:cubicBezTo>
                <a:cubicBezTo>
                  <a:pt x="116" y="70"/>
                  <a:pt x="116" y="70"/>
                  <a:pt x="116" y="70"/>
                </a:cubicBezTo>
                <a:cubicBezTo>
                  <a:pt x="116" y="69"/>
                  <a:pt x="116" y="69"/>
                  <a:pt x="116" y="69"/>
                </a:cubicBezTo>
                <a:cubicBezTo>
                  <a:pt x="117" y="69"/>
                  <a:pt x="117" y="68"/>
                  <a:pt x="118" y="68"/>
                </a:cubicBezTo>
                <a:cubicBezTo>
                  <a:pt x="118" y="67"/>
                  <a:pt x="118" y="67"/>
                  <a:pt x="118" y="66"/>
                </a:cubicBezTo>
                <a:cubicBezTo>
                  <a:pt x="118" y="65"/>
                  <a:pt x="116" y="65"/>
                  <a:pt x="115" y="65"/>
                </a:cubicBezTo>
                <a:cubicBezTo>
                  <a:pt x="114" y="65"/>
                  <a:pt x="112" y="65"/>
                  <a:pt x="110" y="66"/>
                </a:cubicBezTo>
                <a:cubicBezTo>
                  <a:pt x="109" y="66"/>
                  <a:pt x="109" y="66"/>
                  <a:pt x="108" y="66"/>
                </a:cubicBezTo>
                <a:cubicBezTo>
                  <a:pt x="107" y="66"/>
                  <a:pt x="107" y="66"/>
                  <a:pt x="107" y="66"/>
                </a:cubicBezTo>
                <a:cubicBezTo>
                  <a:pt x="106" y="66"/>
                  <a:pt x="104" y="66"/>
                  <a:pt x="103" y="67"/>
                </a:cubicBezTo>
                <a:cubicBezTo>
                  <a:pt x="103" y="67"/>
                  <a:pt x="103" y="67"/>
                  <a:pt x="103" y="67"/>
                </a:cubicBezTo>
                <a:cubicBezTo>
                  <a:pt x="103" y="67"/>
                  <a:pt x="103" y="67"/>
                  <a:pt x="103" y="67"/>
                </a:cubicBezTo>
                <a:cubicBezTo>
                  <a:pt x="100" y="67"/>
                  <a:pt x="99" y="67"/>
                  <a:pt x="98" y="67"/>
                </a:cubicBezTo>
                <a:cubicBezTo>
                  <a:pt x="97" y="66"/>
                  <a:pt x="96" y="64"/>
                  <a:pt x="94" y="62"/>
                </a:cubicBezTo>
                <a:cubicBezTo>
                  <a:pt x="94" y="62"/>
                  <a:pt x="94" y="62"/>
                  <a:pt x="94" y="61"/>
                </a:cubicBezTo>
                <a:cubicBezTo>
                  <a:pt x="93" y="61"/>
                  <a:pt x="93" y="61"/>
                  <a:pt x="93" y="61"/>
                </a:cubicBezTo>
                <a:cubicBezTo>
                  <a:pt x="93" y="61"/>
                  <a:pt x="92" y="60"/>
                  <a:pt x="92" y="60"/>
                </a:cubicBezTo>
                <a:cubicBezTo>
                  <a:pt x="91" y="58"/>
                  <a:pt x="91" y="58"/>
                  <a:pt x="89" y="58"/>
                </a:cubicBezTo>
                <a:cubicBezTo>
                  <a:pt x="88" y="58"/>
                  <a:pt x="87" y="57"/>
                  <a:pt x="86" y="57"/>
                </a:cubicBezTo>
                <a:cubicBezTo>
                  <a:pt x="86" y="57"/>
                  <a:pt x="85" y="57"/>
                  <a:pt x="84" y="58"/>
                </a:cubicBezTo>
                <a:cubicBezTo>
                  <a:pt x="83" y="58"/>
                  <a:pt x="83" y="58"/>
                  <a:pt x="82" y="58"/>
                </a:cubicBezTo>
                <a:cubicBezTo>
                  <a:pt x="81" y="58"/>
                  <a:pt x="80" y="58"/>
                  <a:pt x="79" y="58"/>
                </a:cubicBezTo>
                <a:cubicBezTo>
                  <a:pt x="78" y="58"/>
                  <a:pt x="78" y="58"/>
                  <a:pt x="77" y="58"/>
                </a:cubicBezTo>
                <a:cubicBezTo>
                  <a:pt x="76" y="58"/>
                  <a:pt x="75" y="58"/>
                  <a:pt x="74" y="58"/>
                </a:cubicBezTo>
                <a:cubicBezTo>
                  <a:pt x="74" y="58"/>
                  <a:pt x="73" y="58"/>
                  <a:pt x="72" y="57"/>
                </a:cubicBezTo>
                <a:cubicBezTo>
                  <a:pt x="71" y="57"/>
                  <a:pt x="71" y="56"/>
                  <a:pt x="70" y="55"/>
                </a:cubicBezTo>
                <a:cubicBezTo>
                  <a:pt x="70" y="55"/>
                  <a:pt x="70" y="55"/>
                  <a:pt x="70" y="55"/>
                </a:cubicBezTo>
                <a:cubicBezTo>
                  <a:pt x="70" y="54"/>
                  <a:pt x="70" y="54"/>
                  <a:pt x="70" y="54"/>
                </a:cubicBezTo>
                <a:cubicBezTo>
                  <a:pt x="70" y="54"/>
                  <a:pt x="70" y="54"/>
                  <a:pt x="69" y="54"/>
                </a:cubicBezTo>
                <a:cubicBezTo>
                  <a:pt x="69" y="54"/>
                  <a:pt x="69" y="54"/>
                  <a:pt x="68" y="54"/>
                </a:cubicBezTo>
                <a:cubicBezTo>
                  <a:pt x="67" y="54"/>
                  <a:pt x="67" y="52"/>
                  <a:pt x="67" y="51"/>
                </a:cubicBezTo>
                <a:cubicBezTo>
                  <a:pt x="66" y="49"/>
                  <a:pt x="66" y="47"/>
                  <a:pt x="67" y="46"/>
                </a:cubicBezTo>
                <a:cubicBezTo>
                  <a:pt x="67" y="46"/>
                  <a:pt x="67" y="46"/>
                  <a:pt x="67" y="46"/>
                </a:cubicBezTo>
                <a:cubicBezTo>
                  <a:pt x="67" y="44"/>
                  <a:pt x="67" y="43"/>
                  <a:pt x="67" y="43"/>
                </a:cubicBezTo>
                <a:cubicBezTo>
                  <a:pt x="66" y="42"/>
                  <a:pt x="66" y="42"/>
                  <a:pt x="66" y="42"/>
                </a:cubicBezTo>
                <a:cubicBezTo>
                  <a:pt x="65" y="38"/>
                  <a:pt x="65" y="38"/>
                  <a:pt x="65" y="38"/>
                </a:cubicBezTo>
                <a:cubicBezTo>
                  <a:pt x="64" y="38"/>
                  <a:pt x="64" y="37"/>
                  <a:pt x="64" y="36"/>
                </a:cubicBezTo>
                <a:cubicBezTo>
                  <a:pt x="63" y="37"/>
                  <a:pt x="62" y="36"/>
                  <a:pt x="62" y="36"/>
                </a:cubicBezTo>
                <a:cubicBezTo>
                  <a:pt x="62" y="35"/>
                  <a:pt x="62" y="35"/>
                  <a:pt x="62" y="35"/>
                </a:cubicBezTo>
                <a:cubicBezTo>
                  <a:pt x="61" y="35"/>
                  <a:pt x="61" y="35"/>
                  <a:pt x="61" y="35"/>
                </a:cubicBezTo>
                <a:cubicBezTo>
                  <a:pt x="60" y="35"/>
                  <a:pt x="60" y="36"/>
                  <a:pt x="59" y="36"/>
                </a:cubicBezTo>
                <a:cubicBezTo>
                  <a:pt x="58" y="36"/>
                  <a:pt x="58" y="36"/>
                  <a:pt x="58" y="36"/>
                </a:cubicBezTo>
                <a:cubicBezTo>
                  <a:pt x="58" y="35"/>
                  <a:pt x="58" y="35"/>
                  <a:pt x="58" y="35"/>
                </a:cubicBezTo>
                <a:cubicBezTo>
                  <a:pt x="57" y="34"/>
                  <a:pt x="57" y="33"/>
                  <a:pt x="58" y="33"/>
                </a:cubicBezTo>
                <a:cubicBezTo>
                  <a:pt x="58" y="32"/>
                  <a:pt x="58" y="32"/>
                  <a:pt x="58" y="32"/>
                </a:cubicBezTo>
                <a:cubicBezTo>
                  <a:pt x="58" y="32"/>
                  <a:pt x="58" y="32"/>
                  <a:pt x="58" y="32"/>
                </a:cubicBezTo>
                <a:cubicBezTo>
                  <a:pt x="59" y="32"/>
                  <a:pt x="59" y="32"/>
                  <a:pt x="59" y="32"/>
                </a:cubicBezTo>
                <a:cubicBezTo>
                  <a:pt x="60" y="30"/>
                  <a:pt x="60" y="29"/>
                  <a:pt x="61" y="27"/>
                </a:cubicBezTo>
                <a:cubicBezTo>
                  <a:pt x="61" y="27"/>
                  <a:pt x="61" y="26"/>
                  <a:pt x="61" y="26"/>
                </a:cubicBezTo>
                <a:cubicBezTo>
                  <a:pt x="61" y="25"/>
                  <a:pt x="61" y="25"/>
                  <a:pt x="62" y="24"/>
                </a:cubicBezTo>
                <a:cubicBezTo>
                  <a:pt x="62" y="23"/>
                  <a:pt x="62" y="22"/>
                  <a:pt x="62" y="21"/>
                </a:cubicBezTo>
                <a:cubicBezTo>
                  <a:pt x="62" y="20"/>
                  <a:pt x="63" y="19"/>
                  <a:pt x="63" y="18"/>
                </a:cubicBezTo>
                <a:cubicBezTo>
                  <a:pt x="64" y="18"/>
                  <a:pt x="64" y="18"/>
                  <a:pt x="64" y="18"/>
                </a:cubicBezTo>
                <a:cubicBezTo>
                  <a:pt x="64" y="18"/>
                  <a:pt x="64" y="17"/>
                  <a:pt x="64" y="17"/>
                </a:cubicBezTo>
                <a:cubicBezTo>
                  <a:pt x="64" y="17"/>
                  <a:pt x="64" y="17"/>
                  <a:pt x="64" y="17"/>
                </a:cubicBezTo>
                <a:cubicBezTo>
                  <a:pt x="65" y="16"/>
                  <a:pt x="65" y="16"/>
                  <a:pt x="65" y="16"/>
                </a:cubicBezTo>
                <a:cubicBezTo>
                  <a:pt x="65" y="16"/>
                  <a:pt x="66" y="14"/>
                  <a:pt x="67" y="14"/>
                </a:cubicBezTo>
                <a:cubicBezTo>
                  <a:pt x="67" y="13"/>
                  <a:pt x="68" y="13"/>
                  <a:pt x="68" y="13"/>
                </a:cubicBezTo>
                <a:cubicBezTo>
                  <a:pt x="69" y="13"/>
                  <a:pt x="69" y="13"/>
                  <a:pt x="69" y="12"/>
                </a:cubicBezTo>
                <a:cubicBezTo>
                  <a:pt x="69" y="12"/>
                  <a:pt x="69" y="12"/>
                  <a:pt x="69" y="12"/>
                </a:cubicBezTo>
                <a:cubicBezTo>
                  <a:pt x="70" y="12"/>
                  <a:pt x="70" y="11"/>
                  <a:pt x="70" y="11"/>
                </a:cubicBezTo>
                <a:cubicBezTo>
                  <a:pt x="71" y="10"/>
                  <a:pt x="71" y="8"/>
                  <a:pt x="72" y="8"/>
                </a:cubicBezTo>
                <a:cubicBezTo>
                  <a:pt x="73" y="7"/>
                  <a:pt x="74" y="7"/>
                  <a:pt x="75" y="7"/>
                </a:cubicBezTo>
                <a:cubicBezTo>
                  <a:pt x="75" y="7"/>
                  <a:pt x="75" y="7"/>
                  <a:pt x="75" y="7"/>
                </a:cubicBezTo>
                <a:cubicBezTo>
                  <a:pt x="77" y="6"/>
                  <a:pt x="77" y="6"/>
                  <a:pt x="77" y="6"/>
                </a:cubicBezTo>
                <a:cubicBezTo>
                  <a:pt x="77" y="6"/>
                  <a:pt x="78" y="6"/>
                  <a:pt x="79" y="6"/>
                </a:cubicBezTo>
                <a:cubicBezTo>
                  <a:pt x="80" y="6"/>
                  <a:pt x="80" y="6"/>
                  <a:pt x="80" y="6"/>
                </a:cubicBezTo>
                <a:cubicBezTo>
                  <a:pt x="80" y="6"/>
                  <a:pt x="80" y="6"/>
                  <a:pt x="80" y="6"/>
                </a:cubicBezTo>
                <a:cubicBezTo>
                  <a:pt x="80" y="6"/>
                  <a:pt x="80" y="6"/>
                  <a:pt x="81" y="6"/>
                </a:cubicBezTo>
                <a:cubicBezTo>
                  <a:pt x="81" y="5"/>
                  <a:pt x="82" y="5"/>
                  <a:pt x="81" y="4"/>
                </a:cubicBezTo>
                <a:cubicBezTo>
                  <a:pt x="81" y="3"/>
                  <a:pt x="80" y="2"/>
                  <a:pt x="80" y="2"/>
                </a:cubicBezTo>
                <a:cubicBezTo>
                  <a:pt x="79" y="1"/>
                  <a:pt x="77" y="0"/>
                  <a:pt x="76" y="1"/>
                </a:cubicBezTo>
                <a:cubicBezTo>
                  <a:pt x="75" y="1"/>
                  <a:pt x="73" y="2"/>
                  <a:pt x="71" y="3"/>
                </a:cubicBezTo>
                <a:cubicBezTo>
                  <a:pt x="70" y="3"/>
                  <a:pt x="70" y="5"/>
                  <a:pt x="69" y="7"/>
                </a:cubicBezTo>
                <a:cubicBezTo>
                  <a:pt x="67" y="8"/>
                  <a:pt x="65" y="9"/>
                  <a:pt x="64" y="9"/>
                </a:cubicBezTo>
                <a:cubicBezTo>
                  <a:pt x="62" y="10"/>
                  <a:pt x="61" y="11"/>
                  <a:pt x="60" y="12"/>
                </a:cubicBezTo>
                <a:cubicBezTo>
                  <a:pt x="58" y="13"/>
                  <a:pt x="55" y="13"/>
                  <a:pt x="53" y="12"/>
                </a:cubicBezTo>
                <a:cubicBezTo>
                  <a:pt x="52" y="12"/>
                  <a:pt x="52" y="12"/>
                  <a:pt x="51" y="12"/>
                </a:cubicBezTo>
                <a:cubicBezTo>
                  <a:pt x="50" y="13"/>
                  <a:pt x="49" y="15"/>
                  <a:pt x="49" y="16"/>
                </a:cubicBezTo>
                <a:cubicBezTo>
                  <a:pt x="48" y="18"/>
                  <a:pt x="48" y="18"/>
                  <a:pt x="46" y="17"/>
                </a:cubicBezTo>
                <a:cubicBezTo>
                  <a:pt x="46" y="18"/>
                  <a:pt x="46" y="18"/>
                  <a:pt x="46" y="18"/>
                </a:cubicBezTo>
                <a:cubicBezTo>
                  <a:pt x="46" y="17"/>
                  <a:pt x="47" y="17"/>
                  <a:pt x="47" y="16"/>
                </a:cubicBezTo>
                <a:cubicBezTo>
                  <a:pt x="47" y="16"/>
                  <a:pt x="48" y="16"/>
                  <a:pt x="49" y="16"/>
                </a:cubicBezTo>
                <a:cubicBezTo>
                  <a:pt x="49" y="16"/>
                  <a:pt x="49" y="16"/>
                  <a:pt x="49" y="16"/>
                </a:cubicBezTo>
                <a:cubicBezTo>
                  <a:pt x="48" y="16"/>
                  <a:pt x="47" y="16"/>
                  <a:pt x="46" y="15"/>
                </a:cubicBezTo>
                <a:cubicBezTo>
                  <a:pt x="46" y="15"/>
                  <a:pt x="44" y="14"/>
                  <a:pt x="43" y="14"/>
                </a:cubicBezTo>
                <a:cubicBezTo>
                  <a:pt x="42" y="15"/>
                  <a:pt x="42" y="16"/>
                  <a:pt x="41" y="17"/>
                </a:cubicBezTo>
                <a:cubicBezTo>
                  <a:pt x="40" y="17"/>
                  <a:pt x="40" y="17"/>
                  <a:pt x="40" y="18"/>
                </a:cubicBezTo>
                <a:cubicBezTo>
                  <a:pt x="39" y="18"/>
                  <a:pt x="39" y="18"/>
                  <a:pt x="39" y="19"/>
                </a:cubicBezTo>
                <a:cubicBezTo>
                  <a:pt x="39" y="19"/>
                  <a:pt x="37" y="19"/>
                  <a:pt x="37" y="20"/>
                </a:cubicBezTo>
                <a:cubicBezTo>
                  <a:pt x="36" y="21"/>
                  <a:pt x="36" y="23"/>
                  <a:pt x="35" y="24"/>
                </a:cubicBezTo>
                <a:cubicBezTo>
                  <a:pt x="35" y="24"/>
                  <a:pt x="36" y="24"/>
                  <a:pt x="36" y="23"/>
                </a:cubicBezTo>
                <a:cubicBezTo>
                  <a:pt x="36" y="25"/>
                  <a:pt x="35" y="27"/>
                  <a:pt x="35" y="28"/>
                </a:cubicBezTo>
                <a:cubicBezTo>
                  <a:pt x="34" y="29"/>
                  <a:pt x="36" y="29"/>
                  <a:pt x="36" y="30"/>
                </a:cubicBezTo>
                <a:cubicBezTo>
                  <a:pt x="35" y="31"/>
                  <a:pt x="35" y="32"/>
                  <a:pt x="34" y="32"/>
                </a:cubicBezTo>
                <a:cubicBezTo>
                  <a:pt x="33" y="32"/>
                  <a:pt x="32" y="32"/>
                  <a:pt x="31" y="33"/>
                </a:cubicBezTo>
                <a:cubicBezTo>
                  <a:pt x="30" y="33"/>
                  <a:pt x="29" y="35"/>
                  <a:pt x="29" y="37"/>
                </a:cubicBezTo>
                <a:cubicBezTo>
                  <a:pt x="28" y="38"/>
                  <a:pt x="25" y="39"/>
                  <a:pt x="24" y="40"/>
                </a:cubicBezTo>
                <a:cubicBezTo>
                  <a:pt x="23" y="40"/>
                  <a:pt x="23" y="40"/>
                  <a:pt x="23" y="40"/>
                </a:cubicBezTo>
                <a:cubicBezTo>
                  <a:pt x="21" y="41"/>
                  <a:pt x="23" y="42"/>
                  <a:pt x="23" y="43"/>
                </a:cubicBezTo>
                <a:cubicBezTo>
                  <a:pt x="24" y="44"/>
                  <a:pt x="24" y="45"/>
                  <a:pt x="24" y="46"/>
                </a:cubicBezTo>
                <a:cubicBezTo>
                  <a:pt x="24" y="46"/>
                  <a:pt x="24" y="47"/>
                  <a:pt x="24" y="47"/>
                </a:cubicBezTo>
                <a:cubicBezTo>
                  <a:pt x="23" y="48"/>
                  <a:pt x="23" y="47"/>
                  <a:pt x="23" y="46"/>
                </a:cubicBezTo>
                <a:cubicBezTo>
                  <a:pt x="22" y="44"/>
                  <a:pt x="20" y="42"/>
                  <a:pt x="18" y="41"/>
                </a:cubicBezTo>
                <a:cubicBezTo>
                  <a:pt x="18" y="41"/>
                  <a:pt x="18" y="41"/>
                  <a:pt x="18" y="41"/>
                </a:cubicBezTo>
                <a:cubicBezTo>
                  <a:pt x="19" y="42"/>
                  <a:pt x="19" y="42"/>
                  <a:pt x="19" y="43"/>
                </a:cubicBezTo>
                <a:cubicBezTo>
                  <a:pt x="20" y="44"/>
                  <a:pt x="20" y="45"/>
                  <a:pt x="21" y="46"/>
                </a:cubicBezTo>
                <a:cubicBezTo>
                  <a:pt x="22" y="48"/>
                  <a:pt x="22" y="48"/>
                  <a:pt x="22" y="48"/>
                </a:cubicBezTo>
                <a:cubicBezTo>
                  <a:pt x="20" y="48"/>
                  <a:pt x="20" y="48"/>
                  <a:pt x="20" y="48"/>
                </a:cubicBezTo>
                <a:cubicBezTo>
                  <a:pt x="19" y="49"/>
                  <a:pt x="19" y="50"/>
                  <a:pt x="18" y="51"/>
                </a:cubicBezTo>
                <a:cubicBezTo>
                  <a:pt x="17" y="52"/>
                  <a:pt x="16" y="52"/>
                  <a:pt x="16" y="53"/>
                </a:cubicBezTo>
                <a:cubicBezTo>
                  <a:pt x="15" y="53"/>
                  <a:pt x="15" y="53"/>
                  <a:pt x="15" y="53"/>
                </a:cubicBezTo>
                <a:cubicBezTo>
                  <a:pt x="15" y="52"/>
                  <a:pt x="15" y="52"/>
                  <a:pt x="15" y="52"/>
                </a:cubicBezTo>
                <a:cubicBezTo>
                  <a:pt x="15" y="53"/>
                  <a:pt x="14" y="53"/>
                  <a:pt x="14" y="54"/>
                </a:cubicBezTo>
                <a:cubicBezTo>
                  <a:pt x="14" y="54"/>
                  <a:pt x="14" y="54"/>
                  <a:pt x="14" y="54"/>
                </a:cubicBezTo>
                <a:cubicBezTo>
                  <a:pt x="14" y="56"/>
                  <a:pt x="14" y="56"/>
                  <a:pt x="14" y="56"/>
                </a:cubicBezTo>
                <a:cubicBezTo>
                  <a:pt x="13" y="56"/>
                  <a:pt x="13" y="56"/>
                  <a:pt x="13" y="56"/>
                </a:cubicBezTo>
                <a:cubicBezTo>
                  <a:pt x="14" y="57"/>
                  <a:pt x="15" y="58"/>
                  <a:pt x="16" y="59"/>
                </a:cubicBezTo>
                <a:cubicBezTo>
                  <a:pt x="17" y="60"/>
                  <a:pt x="18" y="60"/>
                  <a:pt x="18" y="61"/>
                </a:cubicBezTo>
                <a:cubicBezTo>
                  <a:pt x="18" y="62"/>
                  <a:pt x="16" y="63"/>
                  <a:pt x="17" y="65"/>
                </a:cubicBezTo>
                <a:cubicBezTo>
                  <a:pt x="17" y="66"/>
                  <a:pt x="18" y="67"/>
                  <a:pt x="18" y="68"/>
                </a:cubicBezTo>
                <a:cubicBezTo>
                  <a:pt x="18" y="69"/>
                  <a:pt x="19" y="69"/>
                  <a:pt x="19" y="69"/>
                </a:cubicBezTo>
                <a:cubicBezTo>
                  <a:pt x="19" y="71"/>
                  <a:pt x="16" y="71"/>
                  <a:pt x="16" y="72"/>
                </a:cubicBezTo>
                <a:cubicBezTo>
                  <a:pt x="17" y="73"/>
                  <a:pt x="18" y="74"/>
                  <a:pt x="18" y="75"/>
                </a:cubicBezTo>
                <a:cubicBezTo>
                  <a:pt x="18" y="77"/>
                  <a:pt x="18" y="78"/>
                  <a:pt x="18" y="80"/>
                </a:cubicBezTo>
                <a:cubicBezTo>
                  <a:pt x="18" y="81"/>
                  <a:pt x="18" y="82"/>
                  <a:pt x="18" y="83"/>
                </a:cubicBezTo>
                <a:cubicBezTo>
                  <a:pt x="17" y="84"/>
                  <a:pt x="18" y="85"/>
                  <a:pt x="19" y="85"/>
                </a:cubicBezTo>
                <a:cubicBezTo>
                  <a:pt x="18" y="86"/>
                  <a:pt x="16" y="86"/>
                  <a:pt x="18" y="88"/>
                </a:cubicBezTo>
                <a:cubicBezTo>
                  <a:pt x="18" y="87"/>
                  <a:pt x="18" y="87"/>
                  <a:pt x="19" y="87"/>
                </a:cubicBezTo>
                <a:cubicBezTo>
                  <a:pt x="20" y="87"/>
                  <a:pt x="19" y="88"/>
                  <a:pt x="20" y="89"/>
                </a:cubicBezTo>
                <a:cubicBezTo>
                  <a:pt x="20" y="89"/>
                  <a:pt x="20" y="88"/>
                  <a:pt x="21" y="88"/>
                </a:cubicBezTo>
                <a:cubicBezTo>
                  <a:pt x="20" y="91"/>
                  <a:pt x="18" y="96"/>
                  <a:pt x="14" y="97"/>
                </a:cubicBezTo>
                <a:cubicBezTo>
                  <a:pt x="15" y="99"/>
                  <a:pt x="15" y="99"/>
                  <a:pt x="14" y="100"/>
                </a:cubicBezTo>
                <a:cubicBezTo>
                  <a:pt x="13" y="101"/>
                  <a:pt x="12" y="102"/>
                  <a:pt x="11" y="102"/>
                </a:cubicBezTo>
                <a:cubicBezTo>
                  <a:pt x="10" y="103"/>
                  <a:pt x="7" y="103"/>
                  <a:pt x="5" y="104"/>
                </a:cubicBezTo>
                <a:cubicBezTo>
                  <a:pt x="5" y="105"/>
                  <a:pt x="4" y="106"/>
                  <a:pt x="4" y="106"/>
                </a:cubicBezTo>
                <a:cubicBezTo>
                  <a:pt x="4" y="107"/>
                  <a:pt x="5" y="108"/>
                  <a:pt x="6" y="109"/>
                </a:cubicBezTo>
                <a:cubicBezTo>
                  <a:pt x="6" y="111"/>
                  <a:pt x="2" y="111"/>
                  <a:pt x="0" y="112"/>
                </a:cubicBezTo>
                <a:cubicBezTo>
                  <a:pt x="1" y="112"/>
                  <a:pt x="1" y="112"/>
                  <a:pt x="2" y="112"/>
                </a:cubicBezTo>
                <a:cubicBezTo>
                  <a:pt x="2" y="112"/>
                  <a:pt x="2" y="112"/>
                  <a:pt x="2" y="112"/>
                </a:cubicBezTo>
                <a:cubicBezTo>
                  <a:pt x="2" y="112"/>
                  <a:pt x="2" y="112"/>
                  <a:pt x="2" y="112"/>
                </a:cubicBezTo>
                <a:cubicBezTo>
                  <a:pt x="3" y="112"/>
                  <a:pt x="3" y="112"/>
                  <a:pt x="3" y="112"/>
                </a:cubicBezTo>
                <a:cubicBezTo>
                  <a:pt x="3" y="112"/>
                  <a:pt x="3" y="113"/>
                  <a:pt x="4" y="113"/>
                </a:cubicBezTo>
                <a:cubicBezTo>
                  <a:pt x="7" y="115"/>
                  <a:pt x="9" y="117"/>
                  <a:pt x="13" y="118"/>
                </a:cubicBezTo>
                <a:cubicBezTo>
                  <a:pt x="13" y="118"/>
                  <a:pt x="13" y="118"/>
                  <a:pt x="14" y="118"/>
                </a:cubicBezTo>
                <a:cubicBezTo>
                  <a:pt x="15" y="119"/>
                  <a:pt x="17" y="119"/>
                  <a:pt x="17" y="121"/>
                </a:cubicBezTo>
                <a:cubicBezTo>
                  <a:pt x="18" y="122"/>
                  <a:pt x="18" y="122"/>
                  <a:pt x="18" y="122"/>
                </a:cubicBezTo>
                <a:cubicBezTo>
                  <a:pt x="18" y="123"/>
                  <a:pt x="18" y="123"/>
                  <a:pt x="18" y="123"/>
                </a:cubicBezTo>
                <a:cubicBezTo>
                  <a:pt x="18" y="123"/>
                  <a:pt x="18" y="123"/>
                  <a:pt x="18" y="123"/>
                </a:cubicBezTo>
                <a:cubicBezTo>
                  <a:pt x="18" y="123"/>
                  <a:pt x="19" y="123"/>
                  <a:pt x="19" y="123"/>
                </a:cubicBezTo>
                <a:cubicBezTo>
                  <a:pt x="19" y="123"/>
                  <a:pt x="20" y="124"/>
                  <a:pt x="20" y="124"/>
                </a:cubicBezTo>
                <a:cubicBezTo>
                  <a:pt x="21" y="124"/>
                  <a:pt x="22" y="124"/>
                  <a:pt x="22" y="124"/>
                </a:cubicBezTo>
                <a:cubicBezTo>
                  <a:pt x="24" y="124"/>
                  <a:pt x="25" y="124"/>
                  <a:pt x="27" y="124"/>
                </a:cubicBezTo>
                <a:cubicBezTo>
                  <a:pt x="27" y="124"/>
                  <a:pt x="27" y="124"/>
                  <a:pt x="27" y="124"/>
                </a:cubicBezTo>
                <a:cubicBezTo>
                  <a:pt x="28" y="123"/>
                  <a:pt x="30" y="123"/>
                  <a:pt x="31" y="124"/>
                </a:cubicBezTo>
                <a:cubicBezTo>
                  <a:pt x="32" y="124"/>
                  <a:pt x="32" y="124"/>
                  <a:pt x="33" y="125"/>
                </a:cubicBezTo>
                <a:cubicBezTo>
                  <a:pt x="33" y="125"/>
                  <a:pt x="33" y="125"/>
                  <a:pt x="33" y="125"/>
                </a:cubicBezTo>
                <a:cubicBezTo>
                  <a:pt x="33" y="125"/>
                  <a:pt x="34" y="125"/>
                  <a:pt x="34" y="125"/>
                </a:cubicBezTo>
                <a:cubicBezTo>
                  <a:pt x="36" y="127"/>
                  <a:pt x="36" y="127"/>
                  <a:pt x="36" y="127"/>
                </a:cubicBezTo>
                <a:cubicBezTo>
                  <a:pt x="37" y="127"/>
                  <a:pt x="37" y="127"/>
                  <a:pt x="37" y="127"/>
                </a:cubicBezTo>
                <a:cubicBezTo>
                  <a:pt x="38" y="128"/>
                  <a:pt x="38" y="128"/>
                  <a:pt x="38" y="128"/>
                </a:cubicBezTo>
                <a:cubicBezTo>
                  <a:pt x="38" y="128"/>
                  <a:pt x="39" y="128"/>
                  <a:pt x="39" y="128"/>
                </a:cubicBezTo>
                <a:cubicBezTo>
                  <a:pt x="39" y="128"/>
                  <a:pt x="40" y="128"/>
                  <a:pt x="40" y="128"/>
                </a:cubicBezTo>
                <a:cubicBezTo>
                  <a:pt x="40" y="128"/>
                  <a:pt x="40" y="128"/>
                  <a:pt x="40" y="128"/>
                </a:cubicBezTo>
                <a:cubicBezTo>
                  <a:pt x="40" y="128"/>
                  <a:pt x="40" y="128"/>
                  <a:pt x="40" y="128"/>
                </a:cubicBezTo>
                <a:cubicBezTo>
                  <a:pt x="41" y="128"/>
                  <a:pt x="41" y="128"/>
                  <a:pt x="41" y="128"/>
                </a:cubicBezTo>
                <a:cubicBezTo>
                  <a:pt x="42" y="128"/>
                  <a:pt x="42" y="128"/>
                  <a:pt x="42" y="128"/>
                </a:cubicBezTo>
                <a:cubicBezTo>
                  <a:pt x="42" y="128"/>
                  <a:pt x="42" y="128"/>
                  <a:pt x="42" y="128"/>
                </a:cubicBezTo>
                <a:cubicBezTo>
                  <a:pt x="43" y="128"/>
                  <a:pt x="43" y="129"/>
                  <a:pt x="43" y="129"/>
                </a:cubicBezTo>
                <a:cubicBezTo>
                  <a:pt x="44" y="127"/>
                  <a:pt x="44" y="127"/>
                  <a:pt x="44" y="127"/>
                </a:cubicBezTo>
                <a:cubicBezTo>
                  <a:pt x="43" y="129"/>
                  <a:pt x="43" y="129"/>
                  <a:pt x="43" y="129"/>
                </a:cubicBezTo>
                <a:cubicBezTo>
                  <a:pt x="44" y="129"/>
                  <a:pt x="44" y="129"/>
                  <a:pt x="44" y="129"/>
                </a:cubicBezTo>
                <a:cubicBezTo>
                  <a:pt x="44" y="129"/>
                  <a:pt x="44" y="129"/>
                  <a:pt x="44" y="129"/>
                </a:cubicBezTo>
                <a:cubicBezTo>
                  <a:pt x="44" y="129"/>
                  <a:pt x="44" y="129"/>
                  <a:pt x="44" y="129"/>
                </a:cubicBezTo>
                <a:cubicBezTo>
                  <a:pt x="44" y="129"/>
                  <a:pt x="44" y="129"/>
                  <a:pt x="44" y="129"/>
                </a:cubicBezTo>
                <a:cubicBezTo>
                  <a:pt x="45" y="130"/>
                  <a:pt x="45" y="130"/>
                  <a:pt x="46" y="130"/>
                </a:cubicBezTo>
                <a:cubicBezTo>
                  <a:pt x="47" y="129"/>
                  <a:pt x="47" y="129"/>
                  <a:pt x="47" y="129"/>
                </a:cubicBezTo>
                <a:cubicBezTo>
                  <a:pt x="46" y="130"/>
                  <a:pt x="46" y="130"/>
                  <a:pt x="46" y="130"/>
                </a:cubicBezTo>
                <a:cubicBezTo>
                  <a:pt x="46" y="131"/>
                  <a:pt x="46" y="131"/>
                  <a:pt x="46" y="131"/>
                </a:cubicBezTo>
                <a:cubicBezTo>
                  <a:pt x="47" y="132"/>
                  <a:pt x="49" y="133"/>
                  <a:pt x="49" y="134"/>
                </a:cubicBezTo>
                <a:cubicBezTo>
                  <a:pt x="49" y="135"/>
                  <a:pt x="49" y="135"/>
                  <a:pt x="49" y="135"/>
                </a:cubicBezTo>
                <a:cubicBezTo>
                  <a:pt x="50" y="135"/>
                  <a:pt x="50" y="135"/>
                  <a:pt x="50" y="136"/>
                </a:cubicBezTo>
                <a:cubicBezTo>
                  <a:pt x="50" y="136"/>
                  <a:pt x="50" y="138"/>
                  <a:pt x="51" y="138"/>
                </a:cubicBezTo>
                <a:cubicBezTo>
                  <a:pt x="51" y="138"/>
                  <a:pt x="51" y="138"/>
                  <a:pt x="51" y="138"/>
                </a:cubicBezTo>
                <a:cubicBezTo>
                  <a:pt x="51" y="138"/>
                  <a:pt x="52" y="138"/>
                  <a:pt x="52" y="138"/>
                </a:cubicBezTo>
                <a:cubicBezTo>
                  <a:pt x="52" y="138"/>
                  <a:pt x="52" y="138"/>
                  <a:pt x="52" y="138"/>
                </a:cubicBezTo>
                <a:cubicBezTo>
                  <a:pt x="53" y="139"/>
                  <a:pt x="53" y="139"/>
                  <a:pt x="53" y="139"/>
                </a:cubicBezTo>
                <a:cubicBezTo>
                  <a:pt x="54" y="140"/>
                  <a:pt x="54" y="140"/>
                  <a:pt x="54" y="140"/>
                </a:cubicBezTo>
                <a:cubicBezTo>
                  <a:pt x="54" y="140"/>
                  <a:pt x="55" y="140"/>
                  <a:pt x="55" y="140"/>
                </a:cubicBezTo>
                <a:cubicBezTo>
                  <a:pt x="56" y="141"/>
                  <a:pt x="57" y="141"/>
                  <a:pt x="57" y="141"/>
                </a:cubicBezTo>
                <a:cubicBezTo>
                  <a:pt x="58" y="142"/>
                  <a:pt x="58" y="143"/>
                  <a:pt x="58" y="143"/>
                </a:cubicBezTo>
                <a:cubicBezTo>
                  <a:pt x="59" y="144"/>
                  <a:pt x="59" y="144"/>
                  <a:pt x="59" y="144"/>
                </a:cubicBezTo>
                <a:cubicBezTo>
                  <a:pt x="59" y="145"/>
                  <a:pt x="59" y="145"/>
                  <a:pt x="59" y="145"/>
                </a:cubicBezTo>
                <a:cubicBezTo>
                  <a:pt x="59" y="145"/>
                  <a:pt x="59" y="145"/>
                  <a:pt x="59" y="145"/>
                </a:cubicBezTo>
                <a:cubicBezTo>
                  <a:pt x="59" y="146"/>
                  <a:pt x="59" y="146"/>
                  <a:pt x="59" y="146"/>
                </a:cubicBezTo>
                <a:cubicBezTo>
                  <a:pt x="59" y="146"/>
                  <a:pt x="59" y="146"/>
                  <a:pt x="59" y="146"/>
                </a:cubicBezTo>
                <a:cubicBezTo>
                  <a:pt x="59" y="146"/>
                  <a:pt x="59" y="146"/>
                  <a:pt x="59" y="146"/>
                </a:cubicBezTo>
                <a:cubicBezTo>
                  <a:pt x="59" y="146"/>
                  <a:pt x="59" y="146"/>
                  <a:pt x="59" y="146"/>
                </a:cubicBezTo>
                <a:cubicBezTo>
                  <a:pt x="59" y="146"/>
                  <a:pt x="59" y="146"/>
                  <a:pt x="59" y="146"/>
                </a:cubicBezTo>
                <a:cubicBezTo>
                  <a:pt x="60" y="146"/>
                  <a:pt x="61" y="146"/>
                  <a:pt x="62" y="146"/>
                </a:cubicBezTo>
                <a:cubicBezTo>
                  <a:pt x="62" y="147"/>
                  <a:pt x="62" y="147"/>
                  <a:pt x="62" y="147"/>
                </a:cubicBezTo>
                <a:cubicBezTo>
                  <a:pt x="62" y="147"/>
                  <a:pt x="62" y="147"/>
                  <a:pt x="62" y="147"/>
                </a:cubicBezTo>
                <a:cubicBezTo>
                  <a:pt x="62" y="147"/>
                  <a:pt x="62" y="147"/>
                  <a:pt x="62" y="148"/>
                </a:cubicBezTo>
                <a:cubicBezTo>
                  <a:pt x="65" y="147"/>
                  <a:pt x="65" y="147"/>
                  <a:pt x="65" y="147"/>
                </a:cubicBezTo>
                <a:cubicBezTo>
                  <a:pt x="63" y="148"/>
                  <a:pt x="63" y="148"/>
                  <a:pt x="63" y="148"/>
                </a:cubicBezTo>
                <a:cubicBezTo>
                  <a:pt x="63" y="148"/>
                  <a:pt x="63" y="148"/>
                  <a:pt x="63" y="148"/>
                </a:cubicBezTo>
                <a:cubicBezTo>
                  <a:pt x="63" y="149"/>
                  <a:pt x="63" y="149"/>
                  <a:pt x="63" y="149"/>
                </a:cubicBezTo>
                <a:cubicBezTo>
                  <a:pt x="63" y="150"/>
                  <a:pt x="63" y="150"/>
                  <a:pt x="63" y="150"/>
                </a:cubicBezTo>
                <a:cubicBezTo>
                  <a:pt x="63" y="150"/>
                  <a:pt x="63" y="150"/>
                  <a:pt x="63" y="150"/>
                </a:cubicBezTo>
                <a:cubicBezTo>
                  <a:pt x="63" y="152"/>
                  <a:pt x="64" y="152"/>
                  <a:pt x="64" y="153"/>
                </a:cubicBezTo>
                <a:cubicBezTo>
                  <a:pt x="64" y="153"/>
                  <a:pt x="65" y="153"/>
                  <a:pt x="65" y="153"/>
                </a:cubicBezTo>
                <a:cubicBezTo>
                  <a:pt x="65" y="152"/>
                  <a:pt x="66" y="152"/>
                  <a:pt x="66" y="152"/>
                </a:cubicBezTo>
                <a:cubicBezTo>
                  <a:pt x="67" y="152"/>
                  <a:pt x="67" y="152"/>
                  <a:pt x="68" y="152"/>
                </a:cubicBezTo>
                <a:cubicBezTo>
                  <a:pt x="68" y="152"/>
                  <a:pt x="68" y="152"/>
                  <a:pt x="69" y="152"/>
                </a:cubicBezTo>
                <a:cubicBezTo>
                  <a:pt x="69" y="152"/>
                  <a:pt x="69" y="152"/>
                  <a:pt x="69" y="152"/>
                </a:cubicBezTo>
                <a:cubicBezTo>
                  <a:pt x="70" y="153"/>
                  <a:pt x="70" y="153"/>
                  <a:pt x="70" y="153"/>
                </a:cubicBezTo>
                <a:cubicBezTo>
                  <a:pt x="70" y="153"/>
                  <a:pt x="70" y="153"/>
                  <a:pt x="70" y="153"/>
                </a:cubicBezTo>
                <a:cubicBezTo>
                  <a:pt x="70" y="152"/>
                  <a:pt x="70" y="152"/>
                  <a:pt x="70" y="152"/>
                </a:cubicBezTo>
                <a:cubicBezTo>
                  <a:pt x="70" y="152"/>
                  <a:pt x="71" y="152"/>
                  <a:pt x="71" y="152"/>
                </a:cubicBezTo>
                <a:cubicBezTo>
                  <a:pt x="71" y="152"/>
                  <a:pt x="71" y="152"/>
                  <a:pt x="71" y="152"/>
                </a:cubicBezTo>
                <a:cubicBezTo>
                  <a:pt x="71" y="152"/>
                  <a:pt x="71" y="152"/>
                  <a:pt x="71" y="152"/>
                </a:cubicBezTo>
                <a:cubicBezTo>
                  <a:pt x="71" y="152"/>
                  <a:pt x="71" y="152"/>
                  <a:pt x="71" y="152"/>
                </a:cubicBezTo>
                <a:cubicBezTo>
                  <a:pt x="71" y="152"/>
                  <a:pt x="71" y="152"/>
                  <a:pt x="71" y="152"/>
                </a:cubicBezTo>
                <a:cubicBezTo>
                  <a:pt x="72" y="152"/>
                  <a:pt x="72" y="152"/>
                  <a:pt x="72" y="152"/>
                </a:cubicBezTo>
                <a:cubicBezTo>
                  <a:pt x="72" y="152"/>
                  <a:pt x="72" y="152"/>
                  <a:pt x="72" y="152"/>
                </a:cubicBezTo>
                <a:cubicBezTo>
                  <a:pt x="73" y="151"/>
                  <a:pt x="73" y="151"/>
                  <a:pt x="73" y="151"/>
                </a:cubicBezTo>
                <a:cubicBezTo>
                  <a:pt x="73" y="151"/>
                  <a:pt x="73" y="151"/>
                  <a:pt x="73" y="151"/>
                </a:cubicBezTo>
                <a:cubicBezTo>
                  <a:pt x="73" y="151"/>
                  <a:pt x="73" y="151"/>
                  <a:pt x="73" y="151"/>
                </a:cubicBezTo>
                <a:cubicBezTo>
                  <a:pt x="74" y="150"/>
                  <a:pt x="74" y="150"/>
                  <a:pt x="76" y="150"/>
                </a:cubicBezTo>
                <a:cubicBezTo>
                  <a:pt x="76" y="150"/>
                  <a:pt x="76" y="150"/>
                  <a:pt x="77" y="151"/>
                </a:cubicBezTo>
                <a:cubicBezTo>
                  <a:pt x="77" y="151"/>
                  <a:pt x="77" y="151"/>
                  <a:pt x="77" y="151"/>
                </a:cubicBezTo>
                <a:cubicBezTo>
                  <a:pt x="78" y="151"/>
                  <a:pt x="79" y="151"/>
                  <a:pt x="79" y="151"/>
                </a:cubicBezTo>
                <a:cubicBezTo>
                  <a:pt x="79" y="151"/>
                  <a:pt x="79" y="151"/>
                  <a:pt x="79" y="151"/>
                </a:cubicBezTo>
                <a:cubicBezTo>
                  <a:pt x="79" y="151"/>
                  <a:pt x="79" y="151"/>
                  <a:pt x="80" y="151"/>
                </a:cubicBezTo>
                <a:cubicBezTo>
                  <a:pt x="80" y="151"/>
                  <a:pt x="80" y="151"/>
                  <a:pt x="80" y="151"/>
                </a:cubicBezTo>
                <a:cubicBezTo>
                  <a:pt x="80" y="151"/>
                  <a:pt x="80" y="151"/>
                  <a:pt x="80" y="151"/>
                </a:cubicBezTo>
                <a:cubicBezTo>
                  <a:pt x="80" y="151"/>
                  <a:pt x="81" y="151"/>
                  <a:pt x="81" y="151"/>
                </a:cubicBezTo>
                <a:cubicBezTo>
                  <a:pt x="81" y="151"/>
                  <a:pt x="81" y="151"/>
                  <a:pt x="81" y="151"/>
                </a:cubicBezTo>
                <a:cubicBezTo>
                  <a:pt x="82" y="151"/>
                  <a:pt x="82" y="151"/>
                  <a:pt x="82" y="151"/>
                </a:cubicBezTo>
                <a:cubicBezTo>
                  <a:pt x="82" y="151"/>
                  <a:pt x="83" y="150"/>
                  <a:pt x="83" y="150"/>
                </a:cubicBezTo>
                <a:cubicBezTo>
                  <a:pt x="84" y="150"/>
                  <a:pt x="86" y="151"/>
                  <a:pt x="86" y="151"/>
                </a:cubicBezTo>
                <a:cubicBezTo>
                  <a:pt x="86" y="151"/>
                  <a:pt x="87" y="152"/>
                  <a:pt x="87" y="152"/>
                </a:cubicBezTo>
                <a:cubicBezTo>
                  <a:pt x="87" y="152"/>
                  <a:pt x="88" y="152"/>
                  <a:pt x="89" y="152"/>
                </a:cubicBezTo>
                <a:cubicBezTo>
                  <a:pt x="89" y="152"/>
                  <a:pt x="89" y="153"/>
                  <a:pt x="90" y="153"/>
                </a:cubicBezTo>
                <a:cubicBezTo>
                  <a:pt x="90" y="153"/>
                  <a:pt x="91" y="153"/>
                  <a:pt x="92" y="153"/>
                </a:cubicBezTo>
                <a:cubicBezTo>
                  <a:pt x="92" y="154"/>
                  <a:pt x="92" y="154"/>
                  <a:pt x="93" y="154"/>
                </a:cubicBezTo>
                <a:cubicBezTo>
                  <a:pt x="93" y="155"/>
                  <a:pt x="93" y="155"/>
                  <a:pt x="93" y="155"/>
                </a:cubicBezTo>
                <a:cubicBezTo>
                  <a:pt x="94" y="156"/>
                  <a:pt x="93" y="158"/>
                  <a:pt x="93" y="158"/>
                </a:cubicBezTo>
                <a:cubicBezTo>
                  <a:pt x="92" y="160"/>
                  <a:pt x="91" y="161"/>
                  <a:pt x="90" y="163"/>
                </a:cubicBezTo>
                <a:cubicBezTo>
                  <a:pt x="90" y="163"/>
                  <a:pt x="90" y="163"/>
                  <a:pt x="90" y="163"/>
                </a:cubicBezTo>
                <a:cubicBezTo>
                  <a:pt x="89" y="164"/>
                  <a:pt x="89" y="164"/>
                  <a:pt x="88" y="165"/>
                </a:cubicBezTo>
                <a:cubicBezTo>
                  <a:pt x="88" y="166"/>
                  <a:pt x="88" y="166"/>
                  <a:pt x="88" y="166"/>
                </a:cubicBezTo>
                <a:cubicBezTo>
                  <a:pt x="88" y="166"/>
                  <a:pt x="88" y="166"/>
                  <a:pt x="88" y="166"/>
                </a:cubicBezTo>
                <a:cubicBezTo>
                  <a:pt x="88" y="166"/>
                  <a:pt x="88" y="166"/>
                  <a:pt x="88" y="166"/>
                </a:cubicBezTo>
                <a:cubicBezTo>
                  <a:pt x="88" y="166"/>
                  <a:pt x="88" y="166"/>
                  <a:pt x="88" y="166"/>
                </a:cubicBezTo>
                <a:cubicBezTo>
                  <a:pt x="89" y="166"/>
                  <a:pt x="90" y="166"/>
                  <a:pt x="90" y="166"/>
                </a:cubicBezTo>
                <a:cubicBezTo>
                  <a:pt x="91" y="166"/>
                  <a:pt x="91" y="167"/>
                  <a:pt x="92" y="168"/>
                </a:cubicBezTo>
                <a:cubicBezTo>
                  <a:pt x="92" y="168"/>
                  <a:pt x="92" y="168"/>
                  <a:pt x="92" y="168"/>
                </a:cubicBezTo>
                <a:cubicBezTo>
                  <a:pt x="93" y="167"/>
                  <a:pt x="93" y="166"/>
                  <a:pt x="93" y="165"/>
                </a:cubicBezTo>
                <a:cubicBezTo>
                  <a:pt x="93" y="163"/>
                  <a:pt x="93" y="163"/>
                  <a:pt x="93" y="163"/>
                </a:cubicBezTo>
                <a:cubicBezTo>
                  <a:pt x="94" y="163"/>
                  <a:pt x="94" y="163"/>
                  <a:pt x="94" y="163"/>
                </a:cubicBezTo>
                <a:cubicBezTo>
                  <a:pt x="93" y="163"/>
                  <a:pt x="93" y="163"/>
                  <a:pt x="93" y="163"/>
                </a:cubicBezTo>
                <a:cubicBezTo>
                  <a:pt x="94" y="161"/>
                  <a:pt x="94" y="161"/>
                  <a:pt x="94" y="161"/>
                </a:cubicBezTo>
                <a:cubicBezTo>
                  <a:pt x="94" y="161"/>
                  <a:pt x="94" y="161"/>
                  <a:pt x="94" y="161"/>
                </a:cubicBezTo>
                <a:cubicBezTo>
                  <a:pt x="94" y="160"/>
                  <a:pt x="94" y="160"/>
                  <a:pt x="94" y="160"/>
                </a:cubicBezTo>
                <a:cubicBezTo>
                  <a:pt x="94" y="160"/>
                  <a:pt x="94" y="160"/>
                  <a:pt x="94" y="160"/>
                </a:cubicBezTo>
                <a:cubicBezTo>
                  <a:pt x="95" y="156"/>
                  <a:pt x="95" y="156"/>
                  <a:pt x="95" y="156"/>
                </a:cubicBezTo>
                <a:cubicBezTo>
                  <a:pt x="95" y="156"/>
                  <a:pt x="95" y="156"/>
                  <a:pt x="95" y="156"/>
                </a:cubicBezTo>
                <a:cubicBezTo>
                  <a:pt x="95" y="155"/>
                  <a:pt x="95" y="155"/>
                  <a:pt x="95" y="155"/>
                </a:cubicBezTo>
                <a:cubicBezTo>
                  <a:pt x="95" y="155"/>
                  <a:pt x="95" y="154"/>
                  <a:pt x="95" y="154"/>
                </a:cubicBezTo>
                <a:cubicBezTo>
                  <a:pt x="95" y="154"/>
                  <a:pt x="95" y="154"/>
                  <a:pt x="95" y="153"/>
                </a:cubicBezTo>
                <a:cubicBezTo>
                  <a:pt x="96" y="152"/>
                  <a:pt x="96" y="152"/>
                  <a:pt x="96" y="152"/>
                </a:cubicBezTo>
                <a:cubicBezTo>
                  <a:pt x="96" y="152"/>
                  <a:pt x="96" y="151"/>
                  <a:pt x="96" y="151"/>
                </a:cubicBezTo>
                <a:cubicBezTo>
                  <a:pt x="96" y="150"/>
                  <a:pt x="96" y="150"/>
                  <a:pt x="96" y="150"/>
                </a:cubicBezTo>
                <a:cubicBezTo>
                  <a:pt x="96" y="150"/>
                  <a:pt x="96" y="150"/>
                  <a:pt x="96" y="150"/>
                </a:cubicBezTo>
                <a:cubicBezTo>
                  <a:pt x="96" y="150"/>
                  <a:pt x="96" y="150"/>
                  <a:pt x="96" y="150"/>
                </a:cubicBezTo>
                <a:cubicBezTo>
                  <a:pt x="96" y="149"/>
                  <a:pt x="96" y="149"/>
                  <a:pt x="96" y="149"/>
                </a:cubicBezTo>
                <a:cubicBezTo>
                  <a:pt x="96" y="148"/>
                  <a:pt x="96" y="148"/>
                  <a:pt x="96" y="148"/>
                </a:cubicBezTo>
                <a:cubicBezTo>
                  <a:pt x="97" y="144"/>
                  <a:pt x="98" y="140"/>
                  <a:pt x="97" y="139"/>
                </a:cubicBezTo>
                <a:cubicBezTo>
                  <a:pt x="97" y="138"/>
                  <a:pt x="97" y="137"/>
                  <a:pt x="96" y="136"/>
                </a:cubicBezTo>
                <a:cubicBezTo>
                  <a:pt x="96" y="135"/>
                  <a:pt x="96" y="134"/>
                  <a:pt x="96" y="134"/>
                </a:cubicBezTo>
                <a:cubicBezTo>
                  <a:pt x="94" y="133"/>
                  <a:pt x="90" y="131"/>
                  <a:pt x="91" y="128"/>
                </a:cubicBezTo>
                <a:cubicBezTo>
                  <a:pt x="91" y="127"/>
                  <a:pt x="91" y="127"/>
                  <a:pt x="91" y="126"/>
                </a:cubicBezTo>
                <a:cubicBezTo>
                  <a:pt x="91" y="126"/>
                  <a:pt x="91" y="126"/>
                  <a:pt x="91" y="126"/>
                </a:cubicBezTo>
                <a:cubicBezTo>
                  <a:pt x="91" y="125"/>
                  <a:pt x="91" y="124"/>
                  <a:pt x="91" y="123"/>
                </a:cubicBezTo>
                <a:cubicBezTo>
                  <a:pt x="91" y="121"/>
                  <a:pt x="94" y="120"/>
                  <a:pt x="95" y="120"/>
                </a:cubicBezTo>
                <a:cubicBezTo>
                  <a:pt x="95" y="120"/>
                  <a:pt x="95" y="120"/>
                  <a:pt x="95" y="120"/>
                </a:cubicBezTo>
                <a:cubicBezTo>
                  <a:pt x="96" y="120"/>
                  <a:pt x="96" y="120"/>
                  <a:pt x="96" y="120"/>
                </a:cubicBezTo>
                <a:cubicBezTo>
                  <a:pt x="97" y="119"/>
                  <a:pt x="98" y="119"/>
                  <a:pt x="99" y="120"/>
                </a:cubicBezTo>
                <a:cubicBezTo>
                  <a:pt x="100" y="120"/>
                  <a:pt x="100" y="120"/>
                  <a:pt x="100" y="120"/>
                </a:cubicBezTo>
                <a:cubicBezTo>
                  <a:pt x="100" y="120"/>
                  <a:pt x="100" y="119"/>
                  <a:pt x="100" y="119"/>
                </a:cubicBezTo>
                <a:cubicBezTo>
                  <a:pt x="100" y="119"/>
                  <a:pt x="100" y="119"/>
                  <a:pt x="100" y="119"/>
                </a:cubicBezTo>
                <a:cubicBezTo>
                  <a:pt x="99" y="119"/>
                  <a:pt x="99" y="119"/>
                  <a:pt x="99" y="119"/>
                </a:cubicBezTo>
                <a:cubicBezTo>
                  <a:pt x="98" y="119"/>
                  <a:pt x="98" y="119"/>
                  <a:pt x="98" y="119"/>
                </a:cubicBezTo>
                <a:cubicBezTo>
                  <a:pt x="97" y="118"/>
                  <a:pt x="96" y="118"/>
                  <a:pt x="95" y="118"/>
                </a:cubicBezTo>
                <a:cubicBezTo>
                  <a:pt x="93" y="119"/>
                  <a:pt x="93" y="119"/>
                  <a:pt x="93" y="119"/>
                </a:cubicBezTo>
                <a:cubicBezTo>
                  <a:pt x="93" y="117"/>
                  <a:pt x="93" y="117"/>
                  <a:pt x="93" y="117"/>
                </a:cubicBezTo>
                <a:cubicBezTo>
                  <a:pt x="93" y="115"/>
                  <a:pt x="93" y="111"/>
                  <a:pt x="93" y="111"/>
                </a:cubicBezTo>
                <a:cubicBezTo>
                  <a:pt x="93" y="110"/>
                  <a:pt x="93" y="110"/>
                  <a:pt x="93" y="110"/>
                </a:cubicBezTo>
                <a:cubicBezTo>
                  <a:pt x="94" y="109"/>
                  <a:pt x="94" y="109"/>
                  <a:pt x="94" y="109"/>
                </a:cubicBezTo>
                <a:cubicBezTo>
                  <a:pt x="94" y="109"/>
                  <a:pt x="95" y="109"/>
                  <a:pt x="99" y="109"/>
                </a:cubicBezTo>
                <a:cubicBezTo>
                  <a:pt x="102" y="109"/>
                  <a:pt x="107" y="109"/>
                  <a:pt x="109" y="109"/>
                </a:cubicBezTo>
                <a:cubicBezTo>
                  <a:pt x="109" y="108"/>
                  <a:pt x="110" y="107"/>
                  <a:pt x="110" y="107"/>
                </a:cubicBezTo>
                <a:cubicBezTo>
                  <a:pt x="111" y="105"/>
                  <a:pt x="111" y="105"/>
                  <a:pt x="111" y="105"/>
                </a:cubicBezTo>
                <a:cubicBezTo>
                  <a:pt x="113" y="107"/>
                  <a:pt x="113" y="107"/>
                  <a:pt x="113" y="107"/>
                </a:cubicBezTo>
                <a:cubicBezTo>
                  <a:pt x="113" y="108"/>
                  <a:pt x="114" y="109"/>
                  <a:pt x="114" y="109"/>
                </a:cubicBezTo>
                <a:cubicBezTo>
                  <a:pt x="114" y="109"/>
                  <a:pt x="114" y="109"/>
                  <a:pt x="114" y="108"/>
                </a:cubicBezTo>
                <a:cubicBezTo>
                  <a:pt x="115" y="108"/>
                  <a:pt x="115" y="108"/>
                  <a:pt x="116" y="107"/>
                </a:cubicBezTo>
                <a:cubicBezTo>
                  <a:pt x="117" y="107"/>
                  <a:pt x="118" y="105"/>
                  <a:pt x="120" y="106"/>
                </a:cubicBezTo>
                <a:cubicBezTo>
                  <a:pt x="120" y="105"/>
                  <a:pt x="120" y="105"/>
                  <a:pt x="119" y="104"/>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8" name="Freeform 3025">
            <a:extLst>
              <a:ext uri="{FF2B5EF4-FFF2-40B4-BE49-F238E27FC236}">
                <a16:creationId xmlns:a16="http://schemas.microsoft.com/office/drawing/2014/main" id="{B86F08B5-453F-46CC-B910-95C75CF8C6EB}"/>
              </a:ext>
            </a:extLst>
          </p:cNvPr>
          <p:cNvSpPr>
            <a:spLocks noEditPoints="1"/>
          </p:cNvSpPr>
          <p:nvPr/>
        </p:nvSpPr>
        <p:spPr bwMode="auto">
          <a:xfrm>
            <a:off x="2348378" y="3620871"/>
            <a:ext cx="66405" cy="35616"/>
          </a:xfrm>
          <a:custGeom>
            <a:avLst/>
            <a:gdLst>
              <a:gd name="T0" fmla="*/ 50 w 57"/>
              <a:gd name="T1" fmla="*/ 14 h 25"/>
              <a:gd name="T2" fmla="*/ 49 w 57"/>
              <a:gd name="T3" fmla="*/ 12 h 25"/>
              <a:gd name="T4" fmla="*/ 50 w 57"/>
              <a:gd name="T5" fmla="*/ 23 h 25"/>
              <a:gd name="T6" fmla="*/ 51 w 57"/>
              <a:gd name="T7" fmla="*/ 23 h 25"/>
              <a:gd name="T8" fmla="*/ 52 w 57"/>
              <a:gd name="T9" fmla="*/ 21 h 25"/>
              <a:gd name="T10" fmla="*/ 52 w 57"/>
              <a:gd name="T11" fmla="*/ 21 h 25"/>
              <a:gd name="T12" fmla="*/ 52 w 57"/>
              <a:gd name="T13" fmla="*/ 19 h 25"/>
              <a:gd name="T14" fmla="*/ 53 w 57"/>
              <a:gd name="T15" fmla="*/ 19 h 25"/>
              <a:gd name="T16" fmla="*/ 54 w 57"/>
              <a:gd name="T17" fmla="*/ 19 h 25"/>
              <a:gd name="T18" fmla="*/ 55 w 57"/>
              <a:gd name="T19" fmla="*/ 19 h 25"/>
              <a:gd name="T20" fmla="*/ 56 w 57"/>
              <a:gd name="T21" fmla="*/ 14 h 25"/>
              <a:gd name="T22" fmla="*/ 55 w 57"/>
              <a:gd name="T23" fmla="*/ 9 h 25"/>
              <a:gd name="T24" fmla="*/ 42 w 57"/>
              <a:gd name="T25" fmla="*/ 2 h 25"/>
              <a:gd name="T26" fmla="*/ 30 w 57"/>
              <a:gd name="T27" fmla="*/ 3 h 25"/>
              <a:gd name="T28" fmla="*/ 17 w 57"/>
              <a:gd name="T29" fmla="*/ 8 h 25"/>
              <a:gd name="T30" fmla="*/ 12 w 57"/>
              <a:gd name="T31" fmla="*/ 6 h 25"/>
              <a:gd name="T32" fmla="*/ 7 w 57"/>
              <a:gd name="T33" fmla="*/ 4 h 25"/>
              <a:gd name="T34" fmla="*/ 4 w 57"/>
              <a:gd name="T35" fmla="*/ 2 h 25"/>
              <a:gd name="T36" fmla="*/ 2 w 57"/>
              <a:gd name="T37" fmla="*/ 2 h 25"/>
              <a:gd name="T38" fmla="*/ 1 w 57"/>
              <a:gd name="T39" fmla="*/ 2 h 25"/>
              <a:gd name="T40" fmla="*/ 1 w 57"/>
              <a:gd name="T41" fmla="*/ 5 h 25"/>
              <a:gd name="T42" fmla="*/ 2 w 57"/>
              <a:gd name="T43" fmla="*/ 6 h 25"/>
              <a:gd name="T44" fmla="*/ 4 w 57"/>
              <a:gd name="T45" fmla="*/ 7 h 25"/>
              <a:gd name="T46" fmla="*/ 2 w 57"/>
              <a:gd name="T47" fmla="*/ 8 h 25"/>
              <a:gd name="T48" fmla="*/ 1 w 57"/>
              <a:gd name="T49" fmla="*/ 9 h 25"/>
              <a:gd name="T50" fmla="*/ 1 w 57"/>
              <a:gd name="T51" fmla="*/ 12 h 25"/>
              <a:gd name="T52" fmla="*/ 0 w 57"/>
              <a:gd name="T53" fmla="*/ 13 h 25"/>
              <a:gd name="T54" fmla="*/ 0 w 57"/>
              <a:gd name="T55" fmla="*/ 13 h 25"/>
              <a:gd name="T56" fmla="*/ 3 w 57"/>
              <a:gd name="T57" fmla="*/ 13 h 25"/>
              <a:gd name="T58" fmla="*/ 8 w 57"/>
              <a:gd name="T59" fmla="*/ 15 h 25"/>
              <a:gd name="T60" fmla="*/ 10 w 57"/>
              <a:gd name="T61" fmla="*/ 14 h 25"/>
              <a:gd name="T62" fmla="*/ 15 w 57"/>
              <a:gd name="T63" fmla="*/ 19 h 25"/>
              <a:gd name="T64" fmla="*/ 17 w 57"/>
              <a:gd name="T65" fmla="*/ 21 h 25"/>
              <a:gd name="T66" fmla="*/ 20 w 57"/>
              <a:gd name="T67" fmla="*/ 21 h 25"/>
              <a:gd name="T68" fmla="*/ 20 w 57"/>
              <a:gd name="T69" fmla="*/ 24 h 25"/>
              <a:gd name="T70" fmla="*/ 30 w 57"/>
              <a:gd name="T71" fmla="*/ 22 h 25"/>
              <a:gd name="T72" fmla="*/ 26 w 57"/>
              <a:gd name="T73" fmla="*/ 13 h 25"/>
              <a:gd name="T74" fmla="*/ 32 w 57"/>
              <a:gd name="T75" fmla="*/ 10 h 25"/>
              <a:gd name="T76" fmla="*/ 35 w 57"/>
              <a:gd name="T77" fmla="*/ 7 h 25"/>
              <a:gd name="T78" fmla="*/ 40 w 57"/>
              <a:gd name="T79" fmla="*/ 7 h 25"/>
              <a:gd name="T80" fmla="*/ 44 w 57"/>
              <a:gd name="T81" fmla="*/ 9 h 25"/>
              <a:gd name="T82" fmla="*/ 46 w 57"/>
              <a:gd name="T83" fmla="*/ 11 h 25"/>
              <a:gd name="T84" fmla="*/ 48 w 57"/>
              <a:gd name="T85" fmla="*/ 12 h 25"/>
              <a:gd name="T86" fmla="*/ 49 w 57"/>
              <a:gd name="T87" fmla="*/ 11 h 25"/>
              <a:gd name="T88" fmla="*/ 51 w 57"/>
              <a:gd name="T89" fmla="*/ 14 h 25"/>
              <a:gd name="T90" fmla="*/ 48 w 57"/>
              <a:gd name="T91" fmla="*/ 1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7" h="25">
                <a:moveTo>
                  <a:pt x="51" y="14"/>
                </a:moveTo>
                <a:cubicBezTo>
                  <a:pt x="51" y="14"/>
                  <a:pt x="50" y="14"/>
                  <a:pt x="50" y="14"/>
                </a:cubicBezTo>
                <a:cubicBezTo>
                  <a:pt x="50" y="14"/>
                  <a:pt x="49" y="13"/>
                  <a:pt x="49" y="13"/>
                </a:cubicBezTo>
                <a:cubicBezTo>
                  <a:pt x="49" y="13"/>
                  <a:pt x="49" y="12"/>
                  <a:pt x="49" y="12"/>
                </a:cubicBezTo>
                <a:cubicBezTo>
                  <a:pt x="48" y="12"/>
                  <a:pt x="46" y="15"/>
                  <a:pt x="46" y="15"/>
                </a:cubicBezTo>
                <a:cubicBezTo>
                  <a:pt x="45" y="18"/>
                  <a:pt x="48" y="21"/>
                  <a:pt x="50" y="23"/>
                </a:cubicBezTo>
                <a:cubicBezTo>
                  <a:pt x="51" y="23"/>
                  <a:pt x="51" y="23"/>
                  <a:pt x="51" y="23"/>
                </a:cubicBezTo>
                <a:cubicBezTo>
                  <a:pt x="51" y="23"/>
                  <a:pt x="51" y="23"/>
                  <a:pt x="51" y="23"/>
                </a:cubicBezTo>
                <a:cubicBezTo>
                  <a:pt x="51" y="23"/>
                  <a:pt x="51" y="23"/>
                  <a:pt x="51" y="23"/>
                </a:cubicBezTo>
                <a:cubicBezTo>
                  <a:pt x="51" y="22"/>
                  <a:pt x="51" y="22"/>
                  <a:pt x="52" y="21"/>
                </a:cubicBezTo>
                <a:cubicBezTo>
                  <a:pt x="52" y="21"/>
                  <a:pt x="52" y="21"/>
                  <a:pt x="52" y="21"/>
                </a:cubicBezTo>
                <a:cubicBezTo>
                  <a:pt x="52" y="21"/>
                  <a:pt x="52" y="21"/>
                  <a:pt x="52" y="21"/>
                </a:cubicBezTo>
                <a:cubicBezTo>
                  <a:pt x="52" y="20"/>
                  <a:pt x="52" y="20"/>
                  <a:pt x="52" y="20"/>
                </a:cubicBezTo>
                <a:cubicBezTo>
                  <a:pt x="52" y="20"/>
                  <a:pt x="52" y="19"/>
                  <a:pt x="52" y="19"/>
                </a:cubicBezTo>
                <a:cubicBezTo>
                  <a:pt x="52" y="19"/>
                  <a:pt x="52" y="19"/>
                  <a:pt x="52" y="19"/>
                </a:cubicBezTo>
                <a:cubicBezTo>
                  <a:pt x="53" y="19"/>
                  <a:pt x="53" y="19"/>
                  <a:pt x="53" y="19"/>
                </a:cubicBezTo>
                <a:cubicBezTo>
                  <a:pt x="54" y="18"/>
                  <a:pt x="54" y="18"/>
                  <a:pt x="54" y="18"/>
                </a:cubicBezTo>
                <a:cubicBezTo>
                  <a:pt x="54" y="19"/>
                  <a:pt x="54" y="19"/>
                  <a:pt x="54" y="19"/>
                </a:cubicBezTo>
                <a:cubicBezTo>
                  <a:pt x="54" y="19"/>
                  <a:pt x="54" y="19"/>
                  <a:pt x="55" y="19"/>
                </a:cubicBezTo>
                <a:cubicBezTo>
                  <a:pt x="55" y="19"/>
                  <a:pt x="55" y="19"/>
                  <a:pt x="55" y="19"/>
                </a:cubicBezTo>
                <a:cubicBezTo>
                  <a:pt x="56" y="18"/>
                  <a:pt x="56" y="17"/>
                  <a:pt x="57" y="17"/>
                </a:cubicBezTo>
                <a:cubicBezTo>
                  <a:pt x="57" y="16"/>
                  <a:pt x="56" y="15"/>
                  <a:pt x="56" y="14"/>
                </a:cubicBezTo>
                <a:cubicBezTo>
                  <a:pt x="56" y="13"/>
                  <a:pt x="55" y="13"/>
                  <a:pt x="55" y="12"/>
                </a:cubicBezTo>
                <a:cubicBezTo>
                  <a:pt x="54" y="11"/>
                  <a:pt x="55" y="10"/>
                  <a:pt x="55" y="9"/>
                </a:cubicBezTo>
                <a:cubicBezTo>
                  <a:pt x="54" y="8"/>
                  <a:pt x="52" y="6"/>
                  <a:pt x="51" y="5"/>
                </a:cubicBezTo>
                <a:cubicBezTo>
                  <a:pt x="48" y="4"/>
                  <a:pt x="45" y="3"/>
                  <a:pt x="42" y="2"/>
                </a:cubicBezTo>
                <a:cubicBezTo>
                  <a:pt x="40" y="1"/>
                  <a:pt x="38" y="1"/>
                  <a:pt x="36" y="0"/>
                </a:cubicBezTo>
                <a:cubicBezTo>
                  <a:pt x="34" y="0"/>
                  <a:pt x="31" y="2"/>
                  <a:pt x="30" y="3"/>
                </a:cubicBezTo>
                <a:cubicBezTo>
                  <a:pt x="28" y="5"/>
                  <a:pt x="25" y="6"/>
                  <a:pt x="22" y="7"/>
                </a:cubicBezTo>
                <a:cubicBezTo>
                  <a:pt x="21" y="8"/>
                  <a:pt x="18" y="9"/>
                  <a:pt x="17" y="8"/>
                </a:cubicBezTo>
                <a:cubicBezTo>
                  <a:pt x="15" y="7"/>
                  <a:pt x="12" y="6"/>
                  <a:pt x="11" y="4"/>
                </a:cubicBezTo>
                <a:cubicBezTo>
                  <a:pt x="11" y="5"/>
                  <a:pt x="11" y="6"/>
                  <a:pt x="12" y="6"/>
                </a:cubicBezTo>
                <a:cubicBezTo>
                  <a:pt x="11" y="7"/>
                  <a:pt x="10" y="7"/>
                  <a:pt x="9" y="7"/>
                </a:cubicBezTo>
                <a:cubicBezTo>
                  <a:pt x="8" y="7"/>
                  <a:pt x="6" y="5"/>
                  <a:pt x="7" y="4"/>
                </a:cubicBezTo>
                <a:cubicBezTo>
                  <a:pt x="6" y="4"/>
                  <a:pt x="5" y="3"/>
                  <a:pt x="4" y="1"/>
                </a:cubicBezTo>
                <a:cubicBezTo>
                  <a:pt x="4" y="2"/>
                  <a:pt x="4" y="2"/>
                  <a:pt x="4" y="2"/>
                </a:cubicBezTo>
                <a:cubicBezTo>
                  <a:pt x="3" y="2"/>
                  <a:pt x="2" y="2"/>
                  <a:pt x="2" y="2"/>
                </a:cubicBezTo>
                <a:cubicBezTo>
                  <a:pt x="2" y="2"/>
                  <a:pt x="2" y="2"/>
                  <a:pt x="2" y="2"/>
                </a:cubicBezTo>
                <a:cubicBezTo>
                  <a:pt x="1" y="2"/>
                  <a:pt x="1" y="2"/>
                  <a:pt x="1" y="2"/>
                </a:cubicBezTo>
                <a:cubicBezTo>
                  <a:pt x="1" y="2"/>
                  <a:pt x="1" y="2"/>
                  <a:pt x="1" y="2"/>
                </a:cubicBezTo>
                <a:cubicBezTo>
                  <a:pt x="1" y="2"/>
                  <a:pt x="1" y="2"/>
                  <a:pt x="1" y="2"/>
                </a:cubicBezTo>
                <a:cubicBezTo>
                  <a:pt x="1" y="3"/>
                  <a:pt x="1" y="4"/>
                  <a:pt x="1" y="5"/>
                </a:cubicBezTo>
                <a:cubicBezTo>
                  <a:pt x="1" y="5"/>
                  <a:pt x="1" y="5"/>
                  <a:pt x="1" y="5"/>
                </a:cubicBezTo>
                <a:cubicBezTo>
                  <a:pt x="1" y="5"/>
                  <a:pt x="2" y="5"/>
                  <a:pt x="2" y="6"/>
                </a:cubicBezTo>
                <a:cubicBezTo>
                  <a:pt x="2" y="6"/>
                  <a:pt x="2" y="6"/>
                  <a:pt x="3" y="6"/>
                </a:cubicBezTo>
                <a:cubicBezTo>
                  <a:pt x="4" y="7"/>
                  <a:pt x="4" y="7"/>
                  <a:pt x="4" y="7"/>
                </a:cubicBezTo>
                <a:cubicBezTo>
                  <a:pt x="3" y="8"/>
                  <a:pt x="3" y="8"/>
                  <a:pt x="3" y="8"/>
                </a:cubicBezTo>
                <a:cubicBezTo>
                  <a:pt x="3" y="8"/>
                  <a:pt x="3" y="8"/>
                  <a:pt x="2" y="8"/>
                </a:cubicBezTo>
                <a:cubicBezTo>
                  <a:pt x="2" y="9"/>
                  <a:pt x="2" y="9"/>
                  <a:pt x="2" y="9"/>
                </a:cubicBezTo>
                <a:cubicBezTo>
                  <a:pt x="2" y="9"/>
                  <a:pt x="2" y="9"/>
                  <a:pt x="1" y="9"/>
                </a:cubicBezTo>
                <a:cubicBezTo>
                  <a:pt x="2" y="9"/>
                  <a:pt x="2" y="10"/>
                  <a:pt x="2" y="10"/>
                </a:cubicBezTo>
                <a:cubicBezTo>
                  <a:pt x="2" y="11"/>
                  <a:pt x="2" y="12"/>
                  <a:pt x="1" y="12"/>
                </a:cubicBezTo>
                <a:cubicBezTo>
                  <a:pt x="1" y="12"/>
                  <a:pt x="1" y="12"/>
                  <a:pt x="1" y="12"/>
                </a:cubicBezTo>
                <a:cubicBezTo>
                  <a:pt x="1" y="12"/>
                  <a:pt x="0" y="13"/>
                  <a:pt x="0" y="13"/>
                </a:cubicBezTo>
                <a:cubicBezTo>
                  <a:pt x="0" y="13"/>
                  <a:pt x="0" y="13"/>
                  <a:pt x="0" y="13"/>
                </a:cubicBezTo>
                <a:cubicBezTo>
                  <a:pt x="0" y="13"/>
                  <a:pt x="0" y="13"/>
                  <a:pt x="0" y="13"/>
                </a:cubicBezTo>
                <a:cubicBezTo>
                  <a:pt x="1" y="15"/>
                  <a:pt x="1" y="15"/>
                  <a:pt x="1" y="15"/>
                </a:cubicBezTo>
                <a:cubicBezTo>
                  <a:pt x="1" y="14"/>
                  <a:pt x="2" y="13"/>
                  <a:pt x="3" y="13"/>
                </a:cubicBezTo>
                <a:cubicBezTo>
                  <a:pt x="4" y="13"/>
                  <a:pt x="6" y="13"/>
                  <a:pt x="7" y="13"/>
                </a:cubicBezTo>
                <a:cubicBezTo>
                  <a:pt x="7" y="14"/>
                  <a:pt x="7" y="14"/>
                  <a:pt x="8" y="15"/>
                </a:cubicBezTo>
                <a:cubicBezTo>
                  <a:pt x="8" y="15"/>
                  <a:pt x="8" y="15"/>
                  <a:pt x="8" y="15"/>
                </a:cubicBezTo>
                <a:cubicBezTo>
                  <a:pt x="8" y="15"/>
                  <a:pt x="9" y="14"/>
                  <a:pt x="10" y="14"/>
                </a:cubicBezTo>
                <a:cubicBezTo>
                  <a:pt x="11" y="14"/>
                  <a:pt x="11" y="16"/>
                  <a:pt x="12" y="15"/>
                </a:cubicBezTo>
                <a:cubicBezTo>
                  <a:pt x="13" y="16"/>
                  <a:pt x="13" y="18"/>
                  <a:pt x="15" y="19"/>
                </a:cubicBezTo>
                <a:cubicBezTo>
                  <a:pt x="14" y="20"/>
                  <a:pt x="15" y="20"/>
                  <a:pt x="16" y="20"/>
                </a:cubicBezTo>
                <a:cubicBezTo>
                  <a:pt x="16" y="20"/>
                  <a:pt x="17" y="20"/>
                  <a:pt x="17" y="21"/>
                </a:cubicBezTo>
                <a:cubicBezTo>
                  <a:pt x="17" y="19"/>
                  <a:pt x="17" y="18"/>
                  <a:pt x="18" y="18"/>
                </a:cubicBezTo>
                <a:cubicBezTo>
                  <a:pt x="19" y="18"/>
                  <a:pt x="19" y="20"/>
                  <a:pt x="20" y="21"/>
                </a:cubicBezTo>
                <a:cubicBezTo>
                  <a:pt x="20" y="21"/>
                  <a:pt x="21" y="22"/>
                  <a:pt x="21" y="23"/>
                </a:cubicBezTo>
                <a:cubicBezTo>
                  <a:pt x="21" y="23"/>
                  <a:pt x="20" y="24"/>
                  <a:pt x="20" y="24"/>
                </a:cubicBezTo>
                <a:cubicBezTo>
                  <a:pt x="22" y="24"/>
                  <a:pt x="23" y="25"/>
                  <a:pt x="25" y="24"/>
                </a:cubicBezTo>
                <a:cubicBezTo>
                  <a:pt x="26" y="23"/>
                  <a:pt x="28" y="22"/>
                  <a:pt x="30" y="22"/>
                </a:cubicBezTo>
                <a:cubicBezTo>
                  <a:pt x="29" y="20"/>
                  <a:pt x="28" y="19"/>
                  <a:pt x="27" y="18"/>
                </a:cubicBezTo>
                <a:cubicBezTo>
                  <a:pt x="25" y="16"/>
                  <a:pt x="24" y="15"/>
                  <a:pt x="26" y="13"/>
                </a:cubicBezTo>
                <a:cubicBezTo>
                  <a:pt x="27" y="15"/>
                  <a:pt x="32" y="11"/>
                  <a:pt x="33" y="10"/>
                </a:cubicBezTo>
                <a:cubicBezTo>
                  <a:pt x="32" y="10"/>
                  <a:pt x="32" y="10"/>
                  <a:pt x="32" y="10"/>
                </a:cubicBezTo>
                <a:cubicBezTo>
                  <a:pt x="32" y="9"/>
                  <a:pt x="32" y="8"/>
                  <a:pt x="33" y="8"/>
                </a:cubicBezTo>
                <a:cubicBezTo>
                  <a:pt x="33" y="7"/>
                  <a:pt x="34" y="7"/>
                  <a:pt x="35" y="7"/>
                </a:cubicBezTo>
                <a:cubicBezTo>
                  <a:pt x="36" y="6"/>
                  <a:pt x="38" y="7"/>
                  <a:pt x="39" y="5"/>
                </a:cubicBezTo>
                <a:cubicBezTo>
                  <a:pt x="39" y="6"/>
                  <a:pt x="39" y="6"/>
                  <a:pt x="40" y="7"/>
                </a:cubicBezTo>
                <a:cubicBezTo>
                  <a:pt x="41" y="7"/>
                  <a:pt x="43" y="8"/>
                  <a:pt x="44" y="9"/>
                </a:cubicBezTo>
                <a:cubicBezTo>
                  <a:pt x="44" y="9"/>
                  <a:pt x="44" y="9"/>
                  <a:pt x="44" y="9"/>
                </a:cubicBezTo>
                <a:cubicBezTo>
                  <a:pt x="45" y="10"/>
                  <a:pt x="45" y="11"/>
                  <a:pt x="46" y="13"/>
                </a:cubicBezTo>
                <a:cubicBezTo>
                  <a:pt x="46" y="13"/>
                  <a:pt x="46" y="11"/>
                  <a:pt x="46" y="11"/>
                </a:cubicBezTo>
                <a:cubicBezTo>
                  <a:pt x="46" y="11"/>
                  <a:pt x="47" y="11"/>
                  <a:pt x="48" y="11"/>
                </a:cubicBezTo>
                <a:cubicBezTo>
                  <a:pt x="48" y="11"/>
                  <a:pt x="48" y="12"/>
                  <a:pt x="48" y="12"/>
                </a:cubicBezTo>
                <a:cubicBezTo>
                  <a:pt x="48" y="12"/>
                  <a:pt x="48" y="11"/>
                  <a:pt x="49" y="12"/>
                </a:cubicBezTo>
                <a:cubicBezTo>
                  <a:pt x="49" y="11"/>
                  <a:pt x="49" y="11"/>
                  <a:pt x="49" y="11"/>
                </a:cubicBezTo>
                <a:cubicBezTo>
                  <a:pt x="50" y="12"/>
                  <a:pt x="51" y="13"/>
                  <a:pt x="52" y="15"/>
                </a:cubicBezTo>
                <a:cubicBezTo>
                  <a:pt x="52" y="15"/>
                  <a:pt x="52" y="14"/>
                  <a:pt x="51" y="14"/>
                </a:cubicBezTo>
                <a:close/>
                <a:moveTo>
                  <a:pt x="48" y="11"/>
                </a:moveTo>
                <a:cubicBezTo>
                  <a:pt x="48" y="11"/>
                  <a:pt x="48" y="11"/>
                  <a:pt x="48" y="1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69" name="Freeform 3026">
            <a:extLst>
              <a:ext uri="{FF2B5EF4-FFF2-40B4-BE49-F238E27FC236}">
                <a16:creationId xmlns:a16="http://schemas.microsoft.com/office/drawing/2014/main" id="{1CF62015-87AF-441C-9473-17DC40EBE2B9}"/>
              </a:ext>
            </a:extLst>
          </p:cNvPr>
          <p:cNvSpPr>
            <a:spLocks/>
          </p:cNvSpPr>
          <p:nvPr/>
        </p:nvSpPr>
        <p:spPr bwMode="auto">
          <a:xfrm>
            <a:off x="1940531" y="3274211"/>
            <a:ext cx="361759" cy="273647"/>
          </a:xfrm>
          <a:custGeom>
            <a:avLst/>
            <a:gdLst>
              <a:gd name="T0" fmla="*/ 296 w 309"/>
              <a:gd name="T1" fmla="*/ 122 h 195"/>
              <a:gd name="T2" fmla="*/ 271 w 309"/>
              <a:gd name="T3" fmla="*/ 138 h 195"/>
              <a:gd name="T4" fmla="*/ 263 w 309"/>
              <a:gd name="T5" fmla="*/ 149 h 195"/>
              <a:gd name="T6" fmla="*/ 255 w 309"/>
              <a:gd name="T7" fmla="*/ 153 h 195"/>
              <a:gd name="T8" fmla="*/ 243 w 309"/>
              <a:gd name="T9" fmla="*/ 155 h 195"/>
              <a:gd name="T10" fmla="*/ 221 w 309"/>
              <a:gd name="T11" fmla="*/ 152 h 195"/>
              <a:gd name="T12" fmla="*/ 217 w 309"/>
              <a:gd name="T13" fmla="*/ 151 h 195"/>
              <a:gd name="T14" fmla="*/ 197 w 309"/>
              <a:gd name="T15" fmla="*/ 118 h 195"/>
              <a:gd name="T16" fmla="*/ 196 w 309"/>
              <a:gd name="T17" fmla="*/ 110 h 195"/>
              <a:gd name="T18" fmla="*/ 197 w 309"/>
              <a:gd name="T19" fmla="*/ 81 h 195"/>
              <a:gd name="T20" fmla="*/ 202 w 309"/>
              <a:gd name="T21" fmla="*/ 76 h 195"/>
              <a:gd name="T22" fmla="*/ 198 w 309"/>
              <a:gd name="T23" fmla="*/ 75 h 195"/>
              <a:gd name="T24" fmla="*/ 177 w 309"/>
              <a:gd name="T25" fmla="*/ 59 h 195"/>
              <a:gd name="T26" fmla="*/ 160 w 309"/>
              <a:gd name="T27" fmla="*/ 35 h 195"/>
              <a:gd name="T28" fmla="*/ 148 w 309"/>
              <a:gd name="T29" fmla="*/ 33 h 195"/>
              <a:gd name="T30" fmla="*/ 135 w 309"/>
              <a:gd name="T31" fmla="*/ 39 h 195"/>
              <a:gd name="T32" fmla="*/ 108 w 309"/>
              <a:gd name="T33" fmla="*/ 13 h 195"/>
              <a:gd name="T34" fmla="*/ 91 w 309"/>
              <a:gd name="T35" fmla="*/ 12 h 195"/>
              <a:gd name="T36" fmla="*/ 21 w 309"/>
              <a:gd name="T37" fmla="*/ 2 h 195"/>
              <a:gd name="T38" fmla="*/ 11 w 309"/>
              <a:gd name="T39" fmla="*/ 1 h 195"/>
              <a:gd name="T40" fmla="*/ 9 w 309"/>
              <a:gd name="T41" fmla="*/ 20 h 195"/>
              <a:gd name="T42" fmla="*/ 20 w 309"/>
              <a:gd name="T43" fmla="*/ 36 h 195"/>
              <a:gd name="T44" fmla="*/ 29 w 309"/>
              <a:gd name="T45" fmla="*/ 52 h 195"/>
              <a:gd name="T46" fmla="*/ 32 w 309"/>
              <a:gd name="T47" fmla="*/ 58 h 195"/>
              <a:gd name="T48" fmla="*/ 20 w 309"/>
              <a:gd name="T49" fmla="*/ 55 h 195"/>
              <a:gd name="T50" fmla="*/ 38 w 309"/>
              <a:gd name="T51" fmla="*/ 65 h 195"/>
              <a:gd name="T52" fmla="*/ 50 w 309"/>
              <a:gd name="T53" fmla="*/ 83 h 195"/>
              <a:gd name="T54" fmla="*/ 68 w 309"/>
              <a:gd name="T55" fmla="*/ 100 h 195"/>
              <a:gd name="T56" fmla="*/ 73 w 309"/>
              <a:gd name="T57" fmla="*/ 95 h 195"/>
              <a:gd name="T58" fmla="*/ 62 w 309"/>
              <a:gd name="T59" fmla="*/ 82 h 195"/>
              <a:gd name="T60" fmla="*/ 54 w 309"/>
              <a:gd name="T61" fmla="*/ 67 h 195"/>
              <a:gd name="T62" fmla="*/ 42 w 309"/>
              <a:gd name="T63" fmla="*/ 49 h 195"/>
              <a:gd name="T64" fmla="*/ 27 w 309"/>
              <a:gd name="T65" fmla="*/ 32 h 195"/>
              <a:gd name="T66" fmla="*/ 21 w 309"/>
              <a:gd name="T67" fmla="*/ 8 h 195"/>
              <a:gd name="T68" fmla="*/ 34 w 309"/>
              <a:gd name="T69" fmla="*/ 13 h 195"/>
              <a:gd name="T70" fmla="*/ 47 w 309"/>
              <a:gd name="T71" fmla="*/ 37 h 195"/>
              <a:gd name="T72" fmla="*/ 65 w 309"/>
              <a:gd name="T73" fmla="*/ 54 h 195"/>
              <a:gd name="T74" fmla="*/ 81 w 309"/>
              <a:gd name="T75" fmla="*/ 71 h 195"/>
              <a:gd name="T76" fmla="*/ 78 w 309"/>
              <a:gd name="T77" fmla="*/ 78 h 195"/>
              <a:gd name="T78" fmla="*/ 89 w 309"/>
              <a:gd name="T79" fmla="*/ 83 h 195"/>
              <a:gd name="T80" fmla="*/ 96 w 309"/>
              <a:gd name="T81" fmla="*/ 91 h 195"/>
              <a:gd name="T82" fmla="*/ 119 w 309"/>
              <a:gd name="T83" fmla="*/ 122 h 195"/>
              <a:gd name="T84" fmla="*/ 119 w 309"/>
              <a:gd name="T85" fmla="*/ 132 h 195"/>
              <a:gd name="T86" fmla="*/ 141 w 309"/>
              <a:gd name="T87" fmla="*/ 157 h 195"/>
              <a:gd name="T88" fmla="*/ 187 w 309"/>
              <a:gd name="T89" fmla="*/ 176 h 195"/>
              <a:gd name="T90" fmla="*/ 213 w 309"/>
              <a:gd name="T91" fmla="*/ 183 h 195"/>
              <a:gd name="T92" fmla="*/ 226 w 309"/>
              <a:gd name="T93" fmla="*/ 176 h 195"/>
              <a:gd name="T94" fmla="*/ 236 w 309"/>
              <a:gd name="T95" fmla="*/ 181 h 195"/>
              <a:gd name="T96" fmla="*/ 252 w 309"/>
              <a:gd name="T97" fmla="*/ 194 h 195"/>
              <a:gd name="T98" fmla="*/ 253 w 309"/>
              <a:gd name="T99" fmla="*/ 190 h 195"/>
              <a:gd name="T100" fmla="*/ 255 w 309"/>
              <a:gd name="T101" fmla="*/ 182 h 195"/>
              <a:gd name="T102" fmla="*/ 266 w 309"/>
              <a:gd name="T103" fmla="*/ 179 h 195"/>
              <a:gd name="T104" fmla="*/ 270 w 309"/>
              <a:gd name="T105" fmla="*/ 177 h 195"/>
              <a:gd name="T106" fmla="*/ 264 w 309"/>
              <a:gd name="T107" fmla="*/ 172 h 195"/>
              <a:gd name="T108" fmla="*/ 265 w 309"/>
              <a:gd name="T109" fmla="*/ 161 h 195"/>
              <a:gd name="T110" fmla="*/ 283 w 309"/>
              <a:gd name="T111" fmla="*/ 160 h 195"/>
              <a:gd name="T112" fmla="*/ 286 w 309"/>
              <a:gd name="T113" fmla="*/ 159 h 195"/>
              <a:gd name="T114" fmla="*/ 289 w 309"/>
              <a:gd name="T115" fmla="*/ 156 h 195"/>
              <a:gd name="T116" fmla="*/ 294 w 309"/>
              <a:gd name="T117" fmla="*/ 152 h 195"/>
              <a:gd name="T118" fmla="*/ 301 w 309"/>
              <a:gd name="T119" fmla="*/ 144 h 195"/>
              <a:gd name="T120" fmla="*/ 302 w 309"/>
              <a:gd name="T121" fmla="*/ 13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9" h="195">
                <a:moveTo>
                  <a:pt x="308" y="124"/>
                </a:moveTo>
                <a:cubicBezTo>
                  <a:pt x="308" y="123"/>
                  <a:pt x="307" y="122"/>
                  <a:pt x="306" y="122"/>
                </a:cubicBezTo>
                <a:cubicBezTo>
                  <a:pt x="306" y="122"/>
                  <a:pt x="305" y="122"/>
                  <a:pt x="304" y="122"/>
                </a:cubicBezTo>
                <a:cubicBezTo>
                  <a:pt x="304" y="122"/>
                  <a:pt x="303" y="122"/>
                  <a:pt x="303" y="122"/>
                </a:cubicBezTo>
                <a:cubicBezTo>
                  <a:pt x="302" y="122"/>
                  <a:pt x="302" y="122"/>
                  <a:pt x="301" y="123"/>
                </a:cubicBezTo>
                <a:cubicBezTo>
                  <a:pt x="299" y="122"/>
                  <a:pt x="298" y="122"/>
                  <a:pt x="296" y="122"/>
                </a:cubicBezTo>
                <a:cubicBezTo>
                  <a:pt x="292" y="121"/>
                  <a:pt x="290" y="122"/>
                  <a:pt x="287" y="123"/>
                </a:cubicBezTo>
                <a:cubicBezTo>
                  <a:pt x="285" y="124"/>
                  <a:pt x="282" y="124"/>
                  <a:pt x="279" y="125"/>
                </a:cubicBezTo>
                <a:cubicBezTo>
                  <a:pt x="278" y="125"/>
                  <a:pt x="277" y="125"/>
                  <a:pt x="276" y="126"/>
                </a:cubicBezTo>
                <a:cubicBezTo>
                  <a:pt x="275" y="127"/>
                  <a:pt x="272" y="128"/>
                  <a:pt x="272" y="129"/>
                </a:cubicBezTo>
                <a:cubicBezTo>
                  <a:pt x="271" y="131"/>
                  <a:pt x="271" y="132"/>
                  <a:pt x="271" y="134"/>
                </a:cubicBezTo>
                <a:cubicBezTo>
                  <a:pt x="271" y="135"/>
                  <a:pt x="271" y="136"/>
                  <a:pt x="271" y="138"/>
                </a:cubicBezTo>
                <a:cubicBezTo>
                  <a:pt x="270" y="139"/>
                  <a:pt x="269" y="140"/>
                  <a:pt x="269" y="141"/>
                </a:cubicBezTo>
                <a:cubicBezTo>
                  <a:pt x="269" y="142"/>
                  <a:pt x="268" y="143"/>
                  <a:pt x="268" y="144"/>
                </a:cubicBezTo>
                <a:cubicBezTo>
                  <a:pt x="268" y="145"/>
                  <a:pt x="268" y="145"/>
                  <a:pt x="267" y="146"/>
                </a:cubicBezTo>
                <a:cubicBezTo>
                  <a:pt x="267" y="146"/>
                  <a:pt x="261" y="150"/>
                  <a:pt x="261" y="150"/>
                </a:cubicBezTo>
                <a:cubicBezTo>
                  <a:pt x="261" y="150"/>
                  <a:pt x="261" y="150"/>
                  <a:pt x="261" y="150"/>
                </a:cubicBezTo>
                <a:cubicBezTo>
                  <a:pt x="262" y="150"/>
                  <a:pt x="262" y="150"/>
                  <a:pt x="263" y="149"/>
                </a:cubicBezTo>
                <a:cubicBezTo>
                  <a:pt x="263" y="150"/>
                  <a:pt x="262" y="151"/>
                  <a:pt x="262" y="151"/>
                </a:cubicBezTo>
                <a:cubicBezTo>
                  <a:pt x="262" y="151"/>
                  <a:pt x="262" y="151"/>
                  <a:pt x="262" y="152"/>
                </a:cubicBezTo>
                <a:cubicBezTo>
                  <a:pt x="263" y="151"/>
                  <a:pt x="263" y="152"/>
                  <a:pt x="262" y="153"/>
                </a:cubicBezTo>
                <a:cubicBezTo>
                  <a:pt x="263" y="153"/>
                  <a:pt x="263" y="153"/>
                  <a:pt x="264" y="153"/>
                </a:cubicBezTo>
                <a:cubicBezTo>
                  <a:pt x="262" y="154"/>
                  <a:pt x="260" y="154"/>
                  <a:pt x="258" y="155"/>
                </a:cubicBezTo>
                <a:cubicBezTo>
                  <a:pt x="257" y="156"/>
                  <a:pt x="256" y="153"/>
                  <a:pt x="255" y="153"/>
                </a:cubicBezTo>
                <a:cubicBezTo>
                  <a:pt x="256" y="153"/>
                  <a:pt x="256" y="153"/>
                  <a:pt x="257" y="153"/>
                </a:cubicBezTo>
                <a:cubicBezTo>
                  <a:pt x="256" y="153"/>
                  <a:pt x="256" y="152"/>
                  <a:pt x="256" y="152"/>
                </a:cubicBezTo>
                <a:cubicBezTo>
                  <a:pt x="254" y="152"/>
                  <a:pt x="252" y="152"/>
                  <a:pt x="251" y="153"/>
                </a:cubicBezTo>
                <a:cubicBezTo>
                  <a:pt x="250" y="153"/>
                  <a:pt x="249" y="154"/>
                  <a:pt x="248" y="155"/>
                </a:cubicBezTo>
                <a:cubicBezTo>
                  <a:pt x="248" y="154"/>
                  <a:pt x="248" y="154"/>
                  <a:pt x="248" y="153"/>
                </a:cubicBezTo>
                <a:cubicBezTo>
                  <a:pt x="246" y="153"/>
                  <a:pt x="245" y="155"/>
                  <a:pt x="243" y="155"/>
                </a:cubicBezTo>
                <a:cubicBezTo>
                  <a:pt x="241" y="155"/>
                  <a:pt x="240" y="155"/>
                  <a:pt x="238" y="156"/>
                </a:cubicBezTo>
                <a:cubicBezTo>
                  <a:pt x="236" y="157"/>
                  <a:pt x="234" y="157"/>
                  <a:pt x="232" y="158"/>
                </a:cubicBezTo>
                <a:cubicBezTo>
                  <a:pt x="230" y="158"/>
                  <a:pt x="229" y="158"/>
                  <a:pt x="228" y="156"/>
                </a:cubicBezTo>
                <a:cubicBezTo>
                  <a:pt x="227" y="155"/>
                  <a:pt x="227" y="154"/>
                  <a:pt x="226" y="154"/>
                </a:cubicBezTo>
                <a:cubicBezTo>
                  <a:pt x="225" y="154"/>
                  <a:pt x="224" y="154"/>
                  <a:pt x="224" y="153"/>
                </a:cubicBezTo>
                <a:cubicBezTo>
                  <a:pt x="223" y="153"/>
                  <a:pt x="222" y="152"/>
                  <a:pt x="221" y="152"/>
                </a:cubicBezTo>
                <a:cubicBezTo>
                  <a:pt x="221" y="152"/>
                  <a:pt x="220" y="152"/>
                  <a:pt x="219" y="152"/>
                </a:cubicBezTo>
                <a:cubicBezTo>
                  <a:pt x="217" y="152"/>
                  <a:pt x="215" y="151"/>
                  <a:pt x="215" y="154"/>
                </a:cubicBezTo>
                <a:cubicBezTo>
                  <a:pt x="215" y="154"/>
                  <a:pt x="214" y="154"/>
                  <a:pt x="214" y="155"/>
                </a:cubicBezTo>
                <a:cubicBezTo>
                  <a:pt x="214" y="154"/>
                  <a:pt x="215" y="153"/>
                  <a:pt x="215" y="152"/>
                </a:cubicBezTo>
                <a:cubicBezTo>
                  <a:pt x="216" y="151"/>
                  <a:pt x="215" y="152"/>
                  <a:pt x="215" y="151"/>
                </a:cubicBezTo>
                <a:cubicBezTo>
                  <a:pt x="215" y="151"/>
                  <a:pt x="216" y="151"/>
                  <a:pt x="217" y="151"/>
                </a:cubicBezTo>
                <a:cubicBezTo>
                  <a:pt x="215" y="149"/>
                  <a:pt x="212" y="147"/>
                  <a:pt x="211" y="144"/>
                </a:cubicBezTo>
                <a:cubicBezTo>
                  <a:pt x="211" y="143"/>
                  <a:pt x="211" y="141"/>
                  <a:pt x="210" y="140"/>
                </a:cubicBezTo>
                <a:cubicBezTo>
                  <a:pt x="209" y="139"/>
                  <a:pt x="208" y="137"/>
                  <a:pt x="207" y="136"/>
                </a:cubicBezTo>
                <a:cubicBezTo>
                  <a:pt x="205" y="135"/>
                  <a:pt x="204" y="133"/>
                  <a:pt x="203" y="132"/>
                </a:cubicBezTo>
                <a:cubicBezTo>
                  <a:pt x="202" y="131"/>
                  <a:pt x="201" y="129"/>
                  <a:pt x="201" y="127"/>
                </a:cubicBezTo>
                <a:cubicBezTo>
                  <a:pt x="199" y="124"/>
                  <a:pt x="198" y="122"/>
                  <a:pt x="197" y="118"/>
                </a:cubicBezTo>
                <a:cubicBezTo>
                  <a:pt x="198" y="119"/>
                  <a:pt x="199" y="120"/>
                  <a:pt x="200" y="121"/>
                </a:cubicBezTo>
                <a:cubicBezTo>
                  <a:pt x="200" y="122"/>
                  <a:pt x="200" y="122"/>
                  <a:pt x="200" y="123"/>
                </a:cubicBezTo>
                <a:cubicBezTo>
                  <a:pt x="200" y="124"/>
                  <a:pt x="200" y="124"/>
                  <a:pt x="200" y="125"/>
                </a:cubicBezTo>
                <a:cubicBezTo>
                  <a:pt x="200" y="124"/>
                  <a:pt x="201" y="123"/>
                  <a:pt x="201" y="122"/>
                </a:cubicBezTo>
                <a:cubicBezTo>
                  <a:pt x="201" y="120"/>
                  <a:pt x="197" y="118"/>
                  <a:pt x="196" y="115"/>
                </a:cubicBezTo>
                <a:cubicBezTo>
                  <a:pt x="196" y="114"/>
                  <a:pt x="196" y="111"/>
                  <a:pt x="196" y="110"/>
                </a:cubicBezTo>
                <a:cubicBezTo>
                  <a:pt x="195" y="108"/>
                  <a:pt x="196" y="106"/>
                  <a:pt x="196" y="104"/>
                </a:cubicBezTo>
                <a:cubicBezTo>
                  <a:pt x="196" y="101"/>
                  <a:pt x="197" y="98"/>
                  <a:pt x="197" y="94"/>
                </a:cubicBezTo>
                <a:cubicBezTo>
                  <a:pt x="197" y="95"/>
                  <a:pt x="197" y="96"/>
                  <a:pt x="197" y="98"/>
                </a:cubicBezTo>
                <a:cubicBezTo>
                  <a:pt x="196" y="95"/>
                  <a:pt x="195" y="92"/>
                  <a:pt x="196" y="89"/>
                </a:cubicBezTo>
                <a:cubicBezTo>
                  <a:pt x="196" y="88"/>
                  <a:pt x="198" y="86"/>
                  <a:pt x="197" y="85"/>
                </a:cubicBezTo>
                <a:cubicBezTo>
                  <a:pt x="196" y="84"/>
                  <a:pt x="197" y="82"/>
                  <a:pt x="197" y="81"/>
                </a:cubicBezTo>
                <a:cubicBezTo>
                  <a:pt x="197" y="81"/>
                  <a:pt x="198" y="82"/>
                  <a:pt x="199" y="81"/>
                </a:cubicBezTo>
                <a:cubicBezTo>
                  <a:pt x="199" y="81"/>
                  <a:pt x="198" y="81"/>
                  <a:pt x="199" y="81"/>
                </a:cubicBezTo>
                <a:cubicBezTo>
                  <a:pt x="199" y="80"/>
                  <a:pt x="199" y="80"/>
                  <a:pt x="199" y="80"/>
                </a:cubicBezTo>
                <a:cubicBezTo>
                  <a:pt x="199" y="80"/>
                  <a:pt x="200" y="80"/>
                  <a:pt x="200" y="80"/>
                </a:cubicBezTo>
                <a:cubicBezTo>
                  <a:pt x="200" y="82"/>
                  <a:pt x="199" y="84"/>
                  <a:pt x="198" y="86"/>
                </a:cubicBezTo>
                <a:cubicBezTo>
                  <a:pt x="199" y="82"/>
                  <a:pt x="201" y="79"/>
                  <a:pt x="202" y="76"/>
                </a:cubicBezTo>
                <a:cubicBezTo>
                  <a:pt x="202" y="76"/>
                  <a:pt x="202" y="76"/>
                  <a:pt x="202" y="76"/>
                </a:cubicBezTo>
                <a:cubicBezTo>
                  <a:pt x="202" y="76"/>
                  <a:pt x="202" y="76"/>
                  <a:pt x="202" y="76"/>
                </a:cubicBezTo>
                <a:cubicBezTo>
                  <a:pt x="202" y="76"/>
                  <a:pt x="201" y="76"/>
                  <a:pt x="201" y="76"/>
                </a:cubicBezTo>
                <a:cubicBezTo>
                  <a:pt x="200" y="76"/>
                  <a:pt x="200" y="76"/>
                  <a:pt x="199" y="76"/>
                </a:cubicBezTo>
                <a:cubicBezTo>
                  <a:pt x="199" y="76"/>
                  <a:pt x="199" y="76"/>
                  <a:pt x="199" y="76"/>
                </a:cubicBezTo>
                <a:cubicBezTo>
                  <a:pt x="198" y="76"/>
                  <a:pt x="198" y="76"/>
                  <a:pt x="198" y="75"/>
                </a:cubicBezTo>
                <a:cubicBezTo>
                  <a:pt x="197" y="75"/>
                  <a:pt x="196" y="74"/>
                  <a:pt x="195" y="74"/>
                </a:cubicBezTo>
                <a:cubicBezTo>
                  <a:pt x="194" y="74"/>
                  <a:pt x="191" y="74"/>
                  <a:pt x="190" y="73"/>
                </a:cubicBezTo>
                <a:cubicBezTo>
                  <a:pt x="190" y="73"/>
                  <a:pt x="190" y="73"/>
                  <a:pt x="189" y="73"/>
                </a:cubicBezTo>
                <a:cubicBezTo>
                  <a:pt x="188" y="72"/>
                  <a:pt x="187" y="72"/>
                  <a:pt x="185" y="71"/>
                </a:cubicBezTo>
                <a:cubicBezTo>
                  <a:pt x="183" y="70"/>
                  <a:pt x="182" y="70"/>
                  <a:pt x="181" y="69"/>
                </a:cubicBezTo>
                <a:cubicBezTo>
                  <a:pt x="177" y="60"/>
                  <a:pt x="177" y="59"/>
                  <a:pt x="177" y="59"/>
                </a:cubicBezTo>
                <a:cubicBezTo>
                  <a:pt x="178" y="57"/>
                  <a:pt x="177" y="57"/>
                  <a:pt x="177" y="57"/>
                </a:cubicBezTo>
                <a:cubicBezTo>
                  <a:pt x="176" y="56"/>
                  <a:pt x="174" y="55"/>
                  <a:pt x="174" y="54"/>
                </a:cubicBezTo>
                <a:cubicBezTo>
                  <a:pt x="174" y="54"/>
                  <a:pt x="173" y="52"/>
                  <a:pt x="172" y="52"/>
                </a:cubicBezTo>
                <a:cubicBezTo>
                  <a:pt x="170" y="49"/>
                  <a:pt x="168" y="46"/>
                  <a:pt x="166" y="41"/>
                </a:cubicBezTo>
                <a:cubicBezTo>
                  <a:pt x="164" y="38"/>
                  <a:pt x="163" y="37"/>
                  <a:pt x="162" y="36"/>
                </a:cubicBezTo>
                <a:cubicBezTo>
                  <a:pt x="161" y="36"/>
                  <a:pt x="161" y="35"/>
                  <a:pt x="160" y="35"/>
                </a:cubicBezTo>
                <a:cubicBezTo>
                  <a:pt x="158" y="33"/>
                  <a:pt x="158" y="33"/>
                  <a:pt x="158" y="33"/>
                </a:cubicBezTo>
                <a:cubicBezTo>
                  <a:pt x="156" y="33"/>
                  <a:pt x="154" y="33"/>
                  <a:pt x="153" y="32"/>
                </a:cubicBezTo>
                <a:cubicBezTo>
                  <a:pt x="152" y="32"/>
                  <a:pt x="152" y="32"/>
                  <a:pt x="152" y="32"/>
                </a:cubicBezTo>
                <a:cubicBezTo>
                  <a:pt x="152" y="32"/>
                  <a:pt x="152" y="32"/>
                  <a:pt x="151" y="32"/>
                </a:cubicBezTo>
                <a:cubicBezTo>
                  <a:pt x="151" y="32"/>
                  <a:pt x="151" y="32"/>
                  <a:pt x="150" y="32"/>
                </a:cubicBezTo>
                <a:cubicBezTo>
                  <a:pt x="150" y="33"/>
                  <a:pt x="149" y="33"/>
                  <a:pt x="148" y="33"/>
                </a:cubicBezTo>
                <a:cubicBezTo>
                  <a:pt x="147" y="33"/>
                  <a:pt x="147" y="34"/>
                  <a:pt x="145" y="37"/>
                </a:cubicBezTo>
                <a:cubicBezTo>
                  <a:pt x="145" y="38"/>
                  <a:pt x="145" y="38"/>
                  <a:pt x="144" y="39"/>
                </a:cubicBezTo>
                <a:cubicBezTo>
                  <a:pt x="144" y="40"/>
                  <a:pt x="143" y="41"/>
                  <a:pt x="142" y="41"/>
                </a:cubicBezTo>
                <a:cubicBezTo>
                  <a:pt x="142" y="41"/>
                  <a:pt x="141" y="41"/>
                  <a:pt x="141" y="41"/>
                </a:cubicBezTo>
                <a:cubicBezTo>
                  <a:pt x="139" y="42"/>
                  <a:pt x="136" y="40"/>
                  <a:pt x="135" y="39"/>
                </a:cubicBezTo>
                <a:cubicBezTo>
                  <a:pt x="135" y="39"/>
                  <a:pt x="135" y="39"/>
                  <a:pt x="135" y="39"/>
                </a:cubicBezTo>
                <a:cubicBezTo>
                  <a:pt x="134" y="39"/>
                  <a:pt x="134" y="39"/>
                  <a:pt x="134" y="39"/>
                </a:cubicBezTo>
                <a:cubicBezTo>
                  <a:pt x="133" y="39"/>
                  <a:pt x="133" y="39"/>
                  <a:pt x="133" y="39"/>
                </a:cubicBezTo>
                <a:cubicBezTo>
                  <a:pt x="131" y="37"/>
                  <a:pt x="125" y="35"/>
                  <a:pt x="125" y="30"/>
                </a:cubicBezTo>
                <a:cubicBezTo>
                  <a:pt x="124" y="26"/>
                  <a:pt x="121" y="23"/>
                  <a:pt x="121" y="23"/>
                </a:cubicBezTo>
                <a:cubicBezTo>
                  <a:pt x="117" y="19"/>
                  <a:pt x="112" y="15"/>
                  <a:pt x="111" y="15"/>
                </a:cubicBezTo>
                <a:cubicBezTo>
                  <a:pt x="111" y="15"/>
                  <a:pt x="109" y="14"/>
                  <a:pt x="108" y="13"/>
                </a:cubicBezTo>
                <a:cubicBezTo>
                  <a:pt x="108" y="12"/>
                  <a:pt x="108" y="12"/>
                  <a:pt x="108" y="12"/>
                </a:cubicBezTo>
                <a:cubicBezTo>
                  <a:pt x="108" y="11"/>
                  <a:pt x="108" y="11"/>
                  <a:pt x="107" y="11"/>
                </a:cubicBezTo>
                <a:cubicBezTo>
                  <a:pt x="105" y="11"/>
                  <a:pt x="94" y="11"/>
                  <a:pt x="91" y="11"/>
                </a:cubicBezTo>
                <a:cubicBezTo>
                  <a:pt x="91" y="11"/>
                  <a:pt x="91" y="11"/>
                  <a:pt x="91" y="11"/>
                </a:cubicBezTo>
                <a:cubicBezTo>
                  <a:pt x="91" y="11"/>
                  <a:pt x="91" y="11"/>
                  <a:pt x="91" y="11"/>
                </a:cubicBezTo>
                <a:cubicBezTo>
                  <a:pt x="91" y="12"/>
                  <a:pt x="91" y="12"/>
                  <a:pt x="91" y="12"/>
                </a:cubicBezTo>
                <a:cubicBezTo>
                  <a:pt x="91" y="13"/>
                  <a:pt x="91" y="14"/>
                  <a:pt x="90" y="15"/>
                </a:cubicBezTo>
                <a:cubicBezTo>
                  <a:pt x="89" y="16"/>
                  <a:pt x="89" y="16"/>
                  <a:pt x="89" y="16"/>
                </a:cubicBezTo>
                <a:cubicBezTo>
                  <a:pt x="77" y="16"/>
                  <a:pt x="77" y="16"/>
                  <a:pt x="77" y="16"/>
                </a:cubicBezTo>
                <a:cubicBezTo>
                  <a:pt x="66" y="16"/>
                  <a:pt x="63" y="16"/>
                  <a:pt x="50" y="12"/>
                </a:cubicBezTo>
                <a:cubicBezTo>
                  <a:pt x="46" y="11"/>
                  <a:pt x="27" y="5"/>
                  <a:pt x="22" y="3"/>
                </a:cubicBezTo>
                <a:cubicBezTo>
                  <a:pt x="21" y="2"/>
                  <a:pt x="21" y="2"/>
                  <a:pt x="21" y="2"/>
                </a:cubicBezTo>
                <a:cubicBezTo>
                  <a:pt x="21" y="1"/>
                  <a:pt x="21" y="1"/>
                  <a:pt x="21" y="1"/>
                </a:cubicBezTo>
                <a:cubicBezTo>
                  <a:pt x="21" y="1"/>
                  <a:pt x="21" y="1"/>
                  <a:pt x="21" y="0"/>
                </a:cubicBezTo>
                <a:cubicBezTo>
                  <a:pt x="20" y="0"/>
                  <a:pt x="19" y="0"/>
                  <a:pt x="17" y="1"/>
                </a:cubicBezTo>
                <a:cubicBezTo>
                  <a:pt x="17" y="1"/>
                  <a:pt x="16" y="1"/>
                  <a:pt x="16" y="1"/>
                </a:cubicBezTo>
                <a:cubicBezTo>
                  <a:pt x="15" y="1"/>
                  <a:pt x="14" y="1"/>
                  <a:pt x="12" y="1"/>
                </a:cubicBezTo>
                <a:cubicBezTo>
                  <a:pt x="11" y="1"/>
                  <a:pt x="11" y="1"/>
                  <a:pt x="11" y="1"/>
                </a:cubicBezTo>
                <a:cubicBezTo>
                  <a:pt x="8" y="1"/>
                  <a:pt x="6" y="2"/>
                  <a:pt x="5" y="2"/>
                </a:cubicBezTo>
                <a:cubicBezTo>
                  <a:pt x="4" y="2"/>
                  <a:pt x="3" y="2"/>
                  <a:pt x="1" y="2"/>
                </a:cubicBezTo>
                <a:cubicBezTo>
                  <a:pt x="0" y="3"/>
                  <a:pt x="0" y="3"/>
                  <a:pt x="0" y="3"/>
                </a:cubicBezTo>
                <a:cubicBezTo>
                  <a:pt x="1" y="5"/>
                  <a:pt x="2" y="8"/>
                  <a:pt x="3" y="11"/>
                </a:cubicBezTo>
                <a:cubicBezTo>
                  <a:pt x="4" y="13"/>
                  <a:pt x="5" y="17"/>
                  <a:pt x="7" y="18"/>
                </a:cubicBezTo>
                <a:cubicBezTo>
                  <a:pt x="7" y="19"/>
                  <a:pt x="9" y="20"/>
                  <a:pt x="9" y="20"/>
                </a:cubicBezTo>
                <a:cubicBezTo>
                  <a:pt x="10" y="21"/>
                  <a:pt x="10" y="22"/>
                  <a:pt x="10" y="23"/>
                </a:cubicBezTo>
                <a:cubicBezTo>
                  <a:pt x="10" y="24"/>
                  <a:pt x="10" y="25"/>
                  <a:pt x="10" y="25"/>
                </a:cubicBezTo>
                <a:cubicBezTo>
                  <a:pt x="11" y="23"/>
                  <a:pt x="12" y="26"/>
                  <a:pt x="12" y="27"/>
                </a:cubicBezTo>
                <a:cubicBezTo>
                  <a:pt x="12" y="28"/>
                  <a:pt x="12" y="29"/>
                  <a:pt x="12" y="30"/>
                </a:cubicBezTo>
                <a:cubicBezTo>
                  <a:pt x="12" y="32"/>
                  <a:pt x="16" y="34"/>
                  <a:pt x="18" y="35"/>
                </a:cubicBezTo>
                <a:cubicBezTo>
                  <a:pt x="18" y="36"/>
                  <a:pt x="19" y="36"/>
                  <a:pt x="20" y="36"/>
                </a:cubicBezTo>
                <a:cubicBezTo>
                  <a:pt x="20" y="36"/>
                  <a:pt x="20" y="36"/>
                  <a:pt x="21" y="37"/>
                </a:cubicBezTo>
                <a:cubicBezTo>
                  <a:pt x="23" y="38"/>
                  <a:pt x="25" y="40"/>
                  <a:pt x="26" y="42"/>
                </a:cubicBezTo>
                <a:cubicBezTo>
                  <a:pt x="27" y="43"/>
                  <a:pt x="28" y="44"/>
                  <a:pt x="28" y="45"/>
                </a:cubicBezTo>
                <a:cubicBezTo>
                  <a:pt x="30" y="46"/>
                  <a:pt x="29" y="49"/>
                  <a:pt x="29" y="51"/>
                </a:cubicBezTo>
                <a:cubicBezTo>
                  <a:pt x="28" y="53"/>
                  <a:pt x="28" y="53"/>
                  <a:pt x="28" y="53"/>
                </a:cubicBezTo>
                <a:cubicBezTo>
                  <a:pt x="28" y="53"/>
                  <a:pt x="29" y="53"/>
                  <a:pt x="29" y="52"/>
                </a:cubicBezTo>
                <a:cubicBezTo>
                  <a:pt x="29" y="53"/>
                  <a:pt x="29" y="54"/>
                  <a:pt x="29" y="55"/>
                </a:cubicBezTo>
                <a:cubicBezTo>
                  <a:pt x="30" y="55"/>
                  <a:pt x="30" y="55"/>
                  <a:pt x="30" y="54"/>
                </a:cubicBezTo>
                <a:cubicBezTo>
                  <a:pt x="30" y="54"/>
                  <a:pt x="31" y="54"/>
                  <a:pt x="31" y="54"/>
                </a:cubicBezTo>
                <a:cubicBezTo>
                  <a:pt x="31" y="54"/>
                  <a:pt x="31" y="54"/>
                  <a:pt x="31" y="53"/>
                </a:cubicBezTo>
                <a:cubicBezTo>
                  <a:pt x="29" y="52"/>
                  <a:pt x="31" y="53"/>
                  <a:pt x="31" y="54"/>
                </a:cubicBezTo>
                <a:cubicBezTo>
                  <a:pt x="32" y="55"/>
                  <a:pt x="32" y="57"/>
                  <a:pt x="32" y="58"/>
                </a:cubicBezTo>
                <a:cubicBezTo>
                  <a:pt x="31" y="57"/>
                  <a:pt x="31" y="56"/>
                  <a:pt x="31" y="56"/>
                </a:cubicBezTo>
                <a:cubicBezTo>
                  <a:pt x="31" y="55"/>
                  <a:pt x="30" y="56"/>
                  <a:pt x="29" y="55"/>
                </a:cubicBezTo>
                <a:cubicBezTo>
                  <a:pt x="28" y="55"/>
                  <a:pt x="28" y="55"/>
                  <a:pt x="27" y="54"/>
                </a:cubicBezTo>
                <a:cubicBezTo>
                  <a:pt x="26" y="54"/>
                  <a:pt x="27" y="54"/>
                  <a:pt x="26" y="54"/>
                </a:cubicBezTo>
                <a:cubicBezTo>
                  <a:pt x="24" y="54"/>
                  <a:pt x="22" y="54"/>
                  <a:pt x="20" y="54"/>
                </a:cubicBezTo>
                <a:cubicBezTo>
                  <a:pt x="20" y="54"/>
                  <a:pt x="19" y="53"/>
                  <a:pt x="20" y="55"/>
                </a:cubicBezTo>
                <a:cubicBezTo>
                  <a:pt x="21" y="57"/>
                  <a:pt x="24" y="58"/>
                  <a:pt x="26" y="60"/>
                </a:cubicBezTo>
                <a:cubicBezTo>
                  <a:pt x="27" y="61"/>
                  <a:pt x="28" y="62"/>
                  <a:pt x="30" y="63"/>
                </a:cubicBezTo>
                <a:cubicBezTo>
                  <a:pt x="31" y="64"/>
                  <a:pt x="32" y="65"/>
                  <a:pt x="34" y="65"/>
                </a:cubicBezTo>
                <a:cubicBezTo>
                  <a:pt x="35" y="66"/>
                  <a:pt x="35" y="65"/>
                  <a:pt x="36" y="65"/>
                </a:cubicBezTo>
                <a:cubicBezTo>
                  <a:pt x="36" y="65"/>
                  <a:pt x="36" y="65"/>
                  <a:pt x="37" y="65"/>
                </a:cubicBezTo>
                <a:cubicBezTo>
                  <a:pt x="38" y="65"/>
                  <a:pt x="37" y="65"/>
                  <a:pt x="38" y="65"/>
                </a:cubicBezTo>
                <a:cubicBezTo>
                  <a:pt x="39" y="64"/>
                  <a:pt x="39" y="64"/>
                  <a:pt x="39" y="63"/>
                </a:cubicBezTo>
                <a:cubicBezTo>
                  <a:pt x="39" y="64"/>
                  <a:pt x="39" y="65"/>
                  <a:pt x="39" y="65"/>
                </a:cubicBezTo>
                <a:cubicBezTo>
                  <a:pt x="40" y="67"/>
                  <a:pt x="42" y="69"/>
                  <a:pt x="44" y="70"/>
                </a:cubicBezTo>
                <a:cubicBezTo>
                  <a:pt x="46" y="71"/>
                  <a:pt x="49" y="72"/>
                  <a:pt x="49" y="75"/>
                </a:cubicBezTo>
                <a:cubicBezTo>
                  <a:pt x="49" y="77"/>
                  <a:pt x="50" y="79"/>
                  <a:pt x="50" y="81"/>
                </a:cubicBezTo>
                <a:cubicBezTo>
                  <a:pt x="50" y="82"/>
                  <a:pt x="50" y="82"/>
                  <a:pt x="50" y="83"/>
                </a:cubicBezTo>
                <a:cubicBezTo>
                  <a:pt x="49" y="84"/>
                  <a:pt x="49" y="85"/>
                  <a:pt x="49" y="86"/>
                </a:cubicBezTo>
                <a:cubicBezTo>
                  <a:pt x="50" y="86"/>
                  <a:pt x="49" y="85"/>
                  <a:pt x="50" y="85"/>
                </a:cubicBezTo>
                <a:cubicBezTo>
                  <a:pt x="50" y="85"/>
                  <a:pt x="50" y="86"/>
                  <a:pt x="50" y="87"/>
                </a:cubicBezTo>
                <a:cubicBezTo>
                  <a:pt x="51" y="88"/>
                  <a:pt x="53" y="89"/>
                  <a:pt x="55" y="90"/>
                </a:cubicBezTo>
                <a:cubicBezTo>
                  <a:pt x="58" y="92"/>
                  <a:pt x="61" y="95"/>
                  <a:pt x="64" y="97"/>
                </a:cubicBezTo>
                <a:cubicBezTo>
                  <a:pt x="65" y="98"/>
                  <a:pt x="67" y="99"/>
                  <a:pt x="68" y="100"/>
                </a:cubicBezTo>
                <a:cubicBezTo>
                  <a:pt x="70" y="102"/>
                  <a:pt x="71" y="105"/>
                  <a:pt x="72" y="107"/>
                </a:cubicBezTo>
                <a:cubicBezTo>
                  <a:pt x="73" y="107"/>
                  <a:pt x="74" y="106"/>
                  <a:pt x="74" y="106"/>
                </a:cubicBezTo>
                <a:cubicBezTo>
                  <a:pt x="75" y="105"/>
                  <a:pt x="76" y="105"/>
                  <a:pt x="76" y="105"/>
                </a:cubicBezTo>
                <a:cubicBezTo>
                  <a:pt x="77" y="104"/>
                  <a:pt x="77" y="103"/>
                  <a:pt x="77" y="102"/>
                </a:cubicBezTo>
                <a:cubicBezTo>
                  <a:pt x="77" y="100"/>
                  <a:pt x="75" y="100"/>
                  <a:pt x="74" y="98"/>
                </a:cubicBezTo>
                <a:cubicBezTo>
                  <a:pt x="74" y="98"/>
                  <a:pt x="74" y="96"/>
                  <a:pt x="73" y="95"/>
                </a:cubicBezTo>
                <a:cubicBezTo>
                  <a:pt x="73" y="95"/>
                  <a:pt x="72" y="95"/>
                  <a:pt x="72" y="95"/>
                </a:cubicBezTo>
                <a:cubicBezTo>
                  <a:pt x="71" y="95"/>
                  <a:pt x="70" y="92"/>
                  <a:pt x="69" y="92"/>
                </a:cubicBezTo>
                <a:cubicBezTo>
                  <a:pt x="68" y="92"/>
                  <a:pt x="68" y="93"/>
                  <a:pt x="68" y="94"/>
                </a:cubicBezTo>
                <a:cubicBezTo>
                  <a:pt x="67" y="93"/>
                  <a:pt x="66" y="94"/>
                  <a:pt x="65" y="93"/>
                </a:cubicBezTo>
                <a:cubicBezTo>
                  <a:pt x="64" y="92"/>
                  <a:pt x="64" y="89"/>
                  <a:pt x="64" y="88"/>
                </a:cubicBezTo>
                <a:cubicBezTo>
                  <a:pt x="64" y="86"/>
                  <a:pt x="63" y="84"/>
                  <a:pt x="62" y="82"/>
                </a:cubicBezTo>
                <a:cubicBezTo>
                  <a:pt x="61" y="80"/>
                  <a:pt x="60" y="77"/>
                  <a:pt x="59" y="75"/>
                </a:cubicBezTo>
                <a:cubicBezTo>
                  <a:pt x="59" y="75"/>
                  <a:pt x="59" y="76"/>
                  <a:pt x="59" y="76"/>
                </a:cubicBezTo>
                <a:cubicBezTo>
                  <a:pt x="59" y="74"/>
                  <a:pt x="58" y="73"/>
                  <a:pt x="57" y="72"/>
                </a:cubicBezTo>
                <a:cubicBezTo>
                  <a:pt x="57" y="71"/>
                  <a:pt x="57" y="70"/>
                  <a:pt x="56" y="68"/>
                </a:cubicBezTo>
                <a:cubicBezTo>
                  <a:pt x="56" y="67"/>
                  <a:pt x="54" y="65"/>
                  <a:pt x="53" y="64"/>
                </a:cubicBezTo>
                <a:cubicBezTo>
                  <a:pt x="53" y="65"/>
                  <a:pt x="54" y="66"/>
                  <a:pt x="54" y="67"/>
                </a:cubicBezTo>
                <a:cubicBezTo>
                  <a:pt x="52" y="67"/>
                  <a:pt x="52" y="64"/>
                  <a:pt x="51" y="62"/>
                </a:cubicBezTo>
                <a:cubicBezTo>
                  <a:pt x="51" y="62"/>
                  <a:pt x="51" y="61"/>
                  <a:pt x="49" y="61"/>
                </a:cubicBezTo>
                <a:cubicBezTo>
                  <a:pt x="48" y="61"/>
                  <a:pt x="47" y="58"/>
                  <a:pt x="47" y="57"/>
                </a:cubicBezTo>
                <a:cubicBezTo>
                  <a:pt x="46" y="56"/>
                  <a:pt x="45" y="53"/>
                  <a:pt x="43" y="52"/>
                </a:cubicBezTo>
                <a:cubicBezTo>
                  <a:pt x="43" y="52"/>
                  <a:pt x="43" y="52"/>
                  <a:pt x="43" y="52"/>
                </a:cubicBezTo>
                <a:cubicBezTo>
                  <a:pt x="43" y="51"/>
                  <a:pt x="43" y="50"/>
                  <a:pt x="42" y="49"/>
                </a:cubicBezTo>
                <a:cubicBezTo>
                  <a:pt x="42" y="48"/>
                  <a:pt x="43" y="47"/>
                  <a:pt x="42" y="47"/>
                </a:cubicBezTo>
                <a:cubicBezTo>
                  <a:pt x="41" y="47"/>
                  <a:pt x="41" y="47"/>
                  <a:pt x="40" y="46"/>
                </a:cubicBezTo>
                <a:cubicBezTo>
                  <a:pt x="38" y="45"/>
                  <a:pt x="37" y="43"/>
                  <a:pt x="36" y="41"/>
                </a:cubicBezTo>
                <a:cubicBezTo>
                  <a:pt x="36" y="43"/>
                  <a:pt x="34" y="39"/>
                  <a:pt x="33" y="39"/>
                </a:cubicBezTo>
                <a:cubicBezTo>
                  <a:pt x="32" y="37"/>
                  <a:pt x="31" y="35"/>
                  <a:pt x="29" y="33"/>
                </a:cubicBezTo>
                <a:cubicBezTo>
                  <a:pt x="29" y="32"/>
                  <a:pt x="28" y="32"/>
                  <a:pt x="27" y="32"/>
                </a:cubicBezTo>
                <a:cubicBezTo>
                  <a:pt x="27" y="32"/>
                  <a:pt x="26" y="31"/>
                  <a:pt x="25" y="30"/>
                </a:cubicBezTo>
                <a:cubicBezTo>
                  <a:pt x="25" y="28"/>
                  <a:pt x="24" y="27"/>
                  <a:pt x="24" y="25"/>
                </a:cubicBezTo>
                <a:cubicBezTo>
                  <a:pt x="24" y="22"/>
                  <a:pt x="22" y="19"/>
                  <a:pt x="22" y="17"/>
                </a:cubicBezTo>
                <a:cubicBezTo>
                  <a:pt x="22" y="15"/>
                  <a:pt x="22" y="14"/>
                  <a:pt x="22" y="12"/>
                </a:cubicBezTo>
                <a:cubicBezTo>
                  <a:pt x="23" y="11"/>
                  <a:pt x="22" y="10"/>
                  <a:pt x="21" y="9"/>
                </a:cubicBezTo>
                <a:cubicBezTo>
                  <a:pt x="21" y="9"/>
                  <a:pt x="21" y="8"/>
                  <a:pt x="21" y="8"/>
                </a:cubicBezTo>
                <a:cubicBezTo>
                  <a:pt x="22" y="8"/>
                  <a:pt x="22" y="9"/>
                  <a:pt x="22" y="9"/>
                </a:cubicBezTo>
                <a:cubicBezTo>
                  <a:pt x="24" y="10"/>
                  <a:pt x="26" y="11"/>
                  <a:pt x="28" y="12"/>
                </a:cubicBezTo>
                <a:cubicBezTo>
                  <a:pt x="29" y="12"/>
                  <a:pt x="30" y="13"/>
                  <a:pt x="31" y="12"/>
                </a:cubicBezTo>
                <a:cubicBezTo>
                  <a:pt x="31" y="12"/>
                  <a:pt x="31" y="12"/>
                  <a:pt x="31" y="11"/>
                </a:cubicBezTo>
                <a:cubicBezTo>
                  <a:pt x="31" y="11"/>
                  <a:pt x="31" y="11"/>
                  <a:pt x="31" y="11"/>
                </a:cubicBezTo>
                <a:cubicBezTo>
                  <a:pt x="31" y="11"/>
                  <a:pt x="34" y="13"/>
                  <a:pt x="34" y="13"/>
                </a:cubicBezTo>
                <a:cubicBezTo>
                  <a:pt x="36" y="14"/>
                  <a:pt x="38" y="15"/>
                  <a:pt x="39" y="16"/>
                </a:cubicBezTo>
                <a:cubicBezTo>
                  <a:pt x="40" y="17"/>
                  <a:pt x="40" y="17"/>
                  <a:pt x="40" y="19"/>
                </a:cubicBezTo>
                <a:cubicBezTo>
                  <a:pt x="40" y="20"/>
                  <a:pt x="40" y="21"/>
                  <a:pt x="40" y="22"/>
                </a:cubicBezTo>
                <a:cubicBezTo>
                  <a:pt x="41" y="25"/>
                  <a:pt x="43" y="27"/>
                  <a:pt x="44" y="30"/>
                </a:cubicBezTo>
                <a:cubicBezTo>
                  <a:pt x="45" y="32"/>
                  <a:pt x="45" y="34"/>
                  <a:pt x="46" y="35"/>
                </a:cubicBezTo>
                <a:cubicBezTo>
                  <a:pt x="46" y="36"/>
                  <a:pt x="47" y="37"/>
                  <a:pt x="47" y="37"/>
                </a:cubicBezTo>
                <a:cubicBezTo>
                  <a:pt x="47" y="38"/>
                  <a:pt x="49" y="37"/>
                  <a:pt x="49" y="38"/>
                </a:cubicBezTo>
                <a:cubicBezTo>
                  <a:pt x="49" y="38"/>
                  <a:pt x="49" y="41"/>
                  <a:pt x="49" y="41"/>
                </a:cubicBezTo>
                <a:cubicBezTo>
                  <a:pt x="52" y="44"/>
                  <a:pt x="54" y="46"/>
                  <a:pt x="57" y="49"/>
                </a:cubicBezTo>
                <a:cubicBezTo>
                  <a:pt x="58" y="50"/>
                  <a:pt x="61" y="53"/>
                  <a:pt x="63" y="53"/>
                </a:cubicBezTo>
                <a:cubicBezTo>
                  <a:pt x="63" y="53"/>
                  <a:pt x="64" y="53"/>
                  <a:pt x="65" y="53"/>
                </a:cubicBezTo>
                <a:cubicBezTo>
                  <a:pt x="67" y="53"/>
                  <a:pt x="65" y="53"/>
                  <a:pt x="65" y="54"/>
                </a:cubicBezTo>
                <a:cubicBezTo>
                  <a:pt x="65" y="53"/>
                  <a:pt x="65" y="54"/>
                  <a:pt x="65" y="54"/>
                </a:cubicBezTo>
                <a:cubicBezTo>
                  <a:pt x="64" y="57"/>
                  <a:pt x="67" y="61"/>
                  <a:pt x="69" y="61"/>
                </a:cubicBezTo>
                <a:cubicBezTo>
                  <a:pt x="70" y="62"/>
                  <a:pt x="71" y="62"/>
                  <a:pt x="72" y="62"/>
                </a:cubicBezTo>
                <a:cubicBezTo>
                  <a:pt x="72" y="62"/>
                  <a:pt x="72" y="64"/>
                  <a:pt x="72" y="64"/>
                </a:cubicBezTo>
                <a:cubicBezTo>
                  <a:pt x="73" y="65"/>
                  <a:pt x="75" y="65"/>
                  <a:pt x="76" y="65"/>
                </a:cubicBezTo>
                <a:cubicBezTo>
                  <a:pt x="78" y="66"/>
                  <a:pt x="80" y="69"/>
                  <a:pt x="81" y="71"/>
                </a:cubicBezTo>
                <a:cubicBezTo>
                  <a:pt x="80" y="71"/>
                  <a:pt x="80" y="71"/>
                  <a:pt x="80" y="70"/>
                </a:cubicBezTo>
                <a:cubicBezTo>
                  <a:pt x="79" y="71"/>
                  <a:pt x="79" y="71"/>
                  <a:pt x="78" y="72"/>
                </a:cubicBezTo>
                <a:cubicBezTo>
                  <a:pt x="78" y="73"/>
                  <a:pt x="77" y="74"/>
                  <a:pt x="77" y="75"/>
                </a:cubicBezTo>
                <a:cubicBezTo>
                  <a:pt x="77" y="76"/>
                  <a:pt x="77" y="76"/>
                  <a:pt x="77" y="77"/>
                </a:cubicBezTo>
                <a:cubicBezTo>
                  <a:pt x="77" y="76"/>
                  <a:pt x="78" y="77"/>
                  <a:pt x="79" y="77"/>
                </a:cubicBezTo>
                <a:cubicBezTo>
                  <a:pt x="78" y="77"/>
                  <a:pt x="78" y="78"/>
                  <a:pt x="78" y="78"/>
                </a:cubicBezTo>
                <a:cubicBezTo>
                  <a:pt x="78" y="78"/>
                  <a:pt x="79" y="77"/>
                  <a:pt x="79" y="78"/>
                </a:cubicBezTo>
                <a:cubicBezTo>
                  <a:pt x="79" y="77"/>
                  <a:pt x="79" y="77"/>
                  <a:pt x="79" y="77"/>
                </a:cubicBezTo>
                <a:cubicBezTo>
                  <a:pt x="80" y="77"/>
                  <a:pt x="80" y="78"/>
                  <a:pt x="80" y="78"/>
                </a:cubicBezTo>
                <a:cubicBezTo>
                  <a:pt x="81" y="78"/>
                  <a:pt x="82" y="78"/>
                  <a:pt x="83" y="78"/>
                </a:cubicBezTo>
                <a:cubicBezTo>
                  <a:pt x="82" y="78"/>
                  <a:pt x="82" y="79"/>
                  <a:pt x="81" y="80"/>
                </a:cubicBezTo>
                <a:cubicBezTo>
                  <a:pt x="84" y="80"/>
                  <a:pt x="87" y="81"/>
                  <a:pt x="89" y="83"/>
                </a:cubicBezTo>
                <a:cubicBezTo>
                  <a:pt x="90" y="84"/>
                  <a:pt x="91" y="84"/>
                  <a:pt x="92" y="85"/>
                </a:cubicBezTo>
                <a:cubicBezTo>
                  <a:pt x="92" y="85"/>
                  <a:pt x="92" y="86"/>
                  <a:pt x="92" y="87"/>
                </a:cubicBezTo>
                <a:cubicBezTo>
                  <a:pt x="92" y="88"/>
                  <a:pt x="92" y="89"/>
                  <a:pt x="94" y="90"/>
                </a:cubicBezTo>
                <a:cubicBezTo>
                  <a:pt x="93" y="90"/>
                  <a:pt x="93" y="89"/>
                  <a:pt x="93" y="89"/>
                </a:cubicBezTo>
                <a:cubicBezTo>
                  <a:pt x="93" y="89"/>
                  <a:pt x="94" y="90"/>
                  <a:pt x="95" y="90"/>
                </a:cubicBezTo>
                <a:cubicBezTo>
                  <a:pt x="95" y="90"/>
                  <a:pt x="95" y="91"/>
                  <a:pt x="96" y="91"/>
                </a:cubicBezTo>
                <a:cubicBezTo>
                  <a:pt x="96" y="91"/>
                  <a:pt x="96" y="90"/>
                  <a:pt x="97" y="90"/>
                </a:cubicBezTo>
                <a:cubicBezTo>
                  <a:pt x="98" y="90"/>
                  <a:pt x="97" y="91"/>
                  <a:pt x="96" y="91"/>
                </a:cubicBezTo>
                <a:cubicBezTo>
                  <a:pt x="99" y="94"/>
                  <a:pt x="102" y="96"/>
                  <a:pt x="105" y="100"/>
                </a:cubicBezTo>
                <a:cubicBezTo>
                  <a:pt x="107" y="104"/>
                  <a:pt x="111" y="107"/>
                  <a:pt x="114" y="111"/>
                </a:cubicBezTo>
                <a:cubicBezTo>
                  <a:pt x="115" y="112"/>
                  <a:pt x="116" y="114"/>
                  <a:pt x="116" y="116"/>
                </a:cubicBezTo>
                <a:cubicBezTo>
                  <a:pt x="116" y="118"/>
                  <a:pt x="118" y="121"/>
                  <a:pt x="119" y="122"/>
                </a:cubicBezTo>
                <a:cubicBezTo>
                  <a:pt x="120" y="123"/>
                  <a:pt x="120" y="123"/>
                  <a:pt x="120" y="124"/>
                </a:cubicBezTo>
                <a:cubicBezTo>
                  <a:pt x="119" y="126"/>
                  <a:pt x="119" y="127"/>
                  <a:pt x="118" y="129"/>
                </a:cubicBezTo>
                <a:cubicBezTo>
                  <a:pt x="118" y="129"/>
                  <a:pt x="118" y="130"/>
                  <a:pt x="117" y="130"/>
                </a:cubicBezTo>
                <a:cubicBezTo>
                  <a:pt x="117" y="130"/>
                  <a:pt x="118" y="130"/>
                  <a:pt x="119" y="131"/>
                </a:cubicBezTo>
                <a:cubicBezTo>
                  <a:pt x="119" y="131"/>
                  <a:pt x="119" y="131"/>
                  <a:pt x="120" y="131"/>
                </a:cubicBezTo>
                <a:cubicBezTo>
                  <a:pt x="120" y="132"/>
                  <a:pt x="120" y="132"/>
                  <a:pt x="119" y="132"/>
                </a:cubicBezTo>
                <a:cubicBezTo>
                  <a:pt x="119" y="133"/>
                  <a:pt x="116" y="133"/>
                  <a:pt x="116" y="134"/>
                </a:cubicBezTo>
                <a:cubicBezTo>
                  <a:pt x="115" y="135"/>
                  <a:pt x="119" y="140"/>
                  <a:pt x="120" y="142"/>
                </a:cubicBezTo>
                <a:cubicBezTo>
                  <a:pt x="121" y="144"/>
                  <a:pt x="123" y="146"/>
                  <a:pt x="126" y="147"/>
                </a:cubicBezTo>
                <a:cubicBezTo>
                  <a:pt x="128" y="148"/>
                  <a:pt x="131" y="149"/>
                  <a:pt x="133" y="151"/>
                </a:cubicBezTo>
                <a:cubicBezTo>
                  <a:pt x="135" y="152"/>
                  <a:pt x="136" y="154"/>
                  <a:pt x="138" y="155"/>
                </a:cubicBezTo>
                <a:cubicBezTo>
                  <a:pt x="139" y="156"/>
                  <a:pt x="140" y="157"/>
                  <a:pt x="141" y="157"/>
                </a:cubicBezTo>
                <a:cubicBezTo>
                  <a:pt x="144" y="158"/>
                  <a:pt x="147" y="159"/>
                  <a:pt x="151" y="160"/>
                </a:cubicBezTo>
                <a:cubicBezTo>
                  <a:pt x="152" y="161"/>
                  <a:pt x="153" y="159"/>
                  <a:pt x="154" y="160"/>
                </a:cubicBezTo>
                <a:cubicBezTo>
                  <a:pt x="156" y="162"/>
                  <a:pt x="158" y="164"/>
                  <a:pt x="160" y="165"/>
                </a:cubicBezTo>
                <a:cubicBezTo>
                  <a:pt x="165" y="168"/>
                  <a:pt x="171" y="170"/>
                  <a:pt x="176" y="172"/>
                </a:cubicBezTo>
                <a:cubicBezTo>
                  <a:pt x="179" y="174"/>
                  <a:pt x="181" y="174"/>
                  <a:pt x="184" y="175"/>
                </a:cubicBezTo>
                <a:cubicBezTo>
                  <a:pt x="186" y="175"/>
                  <a:pt x="186" y="175"/>
                  <a:pt x="187" y="176"/>
                </a:cubicBezTo>
                <a:cubicBezTo>
                  <a:pt x="188" y="177"/>
                  <a:pt x="189" y="178"/>
                  <a:pt x="191" y="178"/>
                </a:cubicBezTo>
                <a:cubicBezTo>
                  <a:pt x="192" y="178"/>
                  <a:pt x="193" y="179"/>
                  <a:pt x="194" y="180"/>
                </a:cubicBezTo>
                <a:cubicBezTo>
                  <a:pt x="196" y="181"/>
                  <a:pt x="197" y="181"/>
                  <a:pt x="199" y="181"/>
                </a:cubicBezTo>
                <a:cubicBezTo>
                  <a:pt x="200" y="181"/>
                  <a:pt x="201" y="181"/>
                  <a:pt x="202" y="181"/>
                </a:cubicBezTo>
                <a:cubicBezTo>
                  <a:pt x="203" y="182"/>
                  <a:pt x="204" y="183"/>
                  <a:pt x="205" y="183"/>
                </a:cubicBezTo>
                <a:cubicBezTo>
                  <a:pt x="208" y="184"/>
                  <a:pt x="210" y="184"/>
                  <a:pt x="213" y="183"/>
                </a:cubicBezTo>
                <a:cubicBezTo>
                  <a:pt x="215" y="183"/>
                  <a:pt x="217" y="181"/>
                  <a:pt x="219" y="181"/>
                </a:cubicBezTo>
                <a:cubicBezTo>
                  <a:pt x="220" y="181"/>
                  <a:pt x="221" y="179"/>
                  <a:pt x="222" y="179"/>
                </a:cubicBezTo>
                <a:cubicBezTo>
                  <a:pt x="223" y="179"/>
                  <a:pt x="224" y="179"/>
                  <a:pt x="225" y="178"/>
                </a:cubicBezTo>
                <a:cubicBezTo>
                  <a:pt x="225" y="178"/>
                  <a:pt x="226" y="178"/>
                  <a:pt x="226" y="178"/>
                </a:cubicBezTo>
                <a:cubicBezTo>
                  <a:pt x="225" y="178"/>
                  <a:pt x="225" y="178"/>
                  <a:pt x="224" y="178"/>
                </a:cubicBezTo>
                <a:cubicBezTo>
                  <a:pt x="225" y="177"/>
                  <a:pt x="226" y="177"/>
                  <a:pt x="226" y="176"/>
                </a:cubicBezTo>
                <a:cubicBezTo>
                  <a:pt x="227" y="178"/>
                  <a:pt x="227" y="178"/>
                  <a:pt x="228" y="177"/>
                </a:cubicBezTo>
                <a:cubicBezTo>
                  <a:pt x="228" y="178"/>
                  <a:pt x="228" y="178"/>
                  <a:pt x="227" y="178"/>
                </a:cubicBezTo>
                <a:cubicBezTo>
                  <a:pt x="228" y="179"/>
                  <a:pt x="229" y="179"/>
                  <a:pt x="231" y="179"/>
                </a:cubicBezTo>
                <a:cubicBezTo>
                  <a:pt x="232" y="179"/>
                  <a:pt x="233" y="180"/>
                  <a:pt x="234" y="180"/>
                </a:cubicBezTo>
                <a:cubicBezTo>
                  <a:pt x="234" y="179"/>
                  <a:pt x="231" y="179"/>
                  <a:pt x="230" y="178"/>
                </a:cubicBezTo>
                <a:cubicBezTo>
                  <a:pt x="231" y="177"/>
                  <a:pt x="235" y="180"/>
                  <a:pt x="236" y="181"/>
                </a:cubicBezTo>
                <a:cubicBezTo>
                  <a:pt x="238" y="182"/>
                  <a:pt x="241" y="184"/>
                  <a:pt x="243" y="186"/>
                </a:cubicBezTo>
                <a:cubicBezTo>
                  <a:pt x="244" y="187"/>
                  <a:pt x="244" y="188"/>
                  <a:pt x="245" y="188"/>
                </a:cubicBezTo>
                <a:cubicBezTo>
                  <a:pt x="246" y="189"/>
                  <a:pt x="247" y="189"/>
                  <a:pt x="248" y="190"/>
                </a:cubicBezTo>
                <a:cubicBezTo>
                  <a:pt x="249" y="192"/>
                  <a:pt x="250" y="193"/>
                  <a:pt x="252" y="195"/>
                </a:cubicBezTo>
                <a:cubicBezTo>
                  <a:pt x="252" y="194"/>
                  <a:pt x="252" y="194"/>
                  <a:pt x="252" y="194"/>
                </a:cubicBezTo>
                <a:cubicBezTo>
                  <a:pt x="252" y="194"/>
                  <a:pt x="252" y="194"/>
                  <a:pt x="252" y="194"/>
                </a:cubicBezTo>
                <a:cubicBezTo>
                  <a:pt x="252" y="194"/>
                  <a:pt x="252" y="194"/>
                  <a:pt x="252" y="194"/>
                </a:cubicBezTo>
                <a:cubicBezTo>
                  <a:pt x="252" y="194"/>
                  <a:pt x="252" y="194"/>
                  <a:pt x="252" y="194"/>
                </a:cubicBezTo>
                <a:cubicBezTo>
                  <a:pt x="252" y="193"/>
                  <a:pt x="252" y="193"/>
                  <a:pt x="252" y="192"/>
                </a:cubicBezTo>
                <a:cubicBezTo>
                  <a:pt x="252" y="192"/>
                  <a:pt x="252" y="192"/>
                  <a:pt x="252" y="192"/>
                </a:cubicBezTo>
                <a:cubicBezTo>
                  <a:pt x="252" y="192"/>
                  <a:pt x="252" y="191"/>
                  <a:pt x="253" y="190"/>
                </a:cubicBezTo>
                <a:cubicBezTo>
                  <a:pt x="253" y="190"/>
                  <a:pt x="253" y="190"/>
                  <a:pt x="253" y="190"/>
                </a:cubicBezTo>
                <a:cubicBezTo>
                  <a:pt x="252" y="189"/>
                  <a:pt x="252" y="189"/>
                  <a:pt x="252" y="188"/>
                </a:cubicBezTo>
                <a:cubicBezTo>
                  <a:pt x="252" y="188"/>
                  <a:pt x="252" y="187"/>
                  <a:pt x="252" y="187"/>
                </a:cubicBezTo>
                <a:cubicBezTo>
                  <a:pt x="252" y="187"/>
                  <a:pt x="252" y="187"/>
                  <a:pt x="252" y="187"/>
                </a:cubicBezTo>
                <a:cubicBezTo>
                  <a:pt x="252" y="187"/>
                  <a:pt x="252" y="187"/>
                  <a:pt x="253" y="187"/>
                </a:cubicBezTo>
                <a:cubicBezTo>
                  <a:pt x="253" y="186"/>
                  <a:pt x="253" y="186"/>
                  <a:pt x="253" y="186"/>
                </a:cubicBezTo>
                <a:cubicBezTo>
                  <a:pt x="253" y="185"/>
                  <a:pt x="254" y="183"/>
                  <a:pt x="255" y="182"/>
                </a:cubicBezTo>
                <a:cubicBezTo>
                  <a:pt x="256" y="181"/>
                  <a:pt x="256" y="181"/>
                  <a:pt x="256" y="181"/>
                </a:cubicBezTo>
                <a:cubicBezTo>
                  <a:pt x="256" y="181"/>
                  <a:pt x="257" y="180"/>
                  <a:pt x="257" y="180"/>
                </a:cubicBezTo>
                <a:cubicBezTo>
                  <a:pt x="257" y="180"/>
                  <a:pt x="258" y="180"/>
                  <a:pt x="258" y="179"/>
                </a:cubicBezTo>
                <a:cubicBezTo>
                  <a:pt x="259" y="179"/>
                  <a:pt x="259" y="179"/>
                  <a:pt x="260" y="179"/>
                </a:cubicBezTo>
                <a:cubicBezTo>
                  <a:pt x="262" y="178"/>
                  <a:pt x="263" y="178"/>
                  <a:pt x="264" y="178"/>
                </a:cubicBezTo>
                <a:cubicBezTo>
                  <a:pt x="265" y="179"/>
                  <a:pt x="265" y="179"/>
                  <a:pt x="266" y="179"/>
                </a:cubicBezTo>
                <a:cubicBezTo>
                  <a:pt x="270" y="178"/>
                  <a:pt x="270" y="178"/>
                  <a:pt x="270" y="178"/>
                </a:cubicBezTo>
                <a:cubicBezTo>
                  <a:pt x="270" y="178"/>
                  <a:pt x="270" y="178"/>
                  <a:pt x="270" y="178"/>
                </a:cubicBezTo>
                <a:cubicBezTo>
                  <a:pt x="270" y="178"/>
                  <a:pt x="270" y="178"/>
                  <a:pt x="270" y="178"/>
                </a:cubicBezTo>
                <a:cubicBezTo>
                  <a:pt x="270" y="178"/>
                  <a:pt x="270" y="177"/>
                  <a:pt x="270" y="177"/>
                </a:cubicBezTo>
                <a:cubicBezTo>
                  <a:pt x="270" y="177"/>
                  <a:pt x="270" y="177"/>
                  <a:pt x="270" y="177"/>
                </a:cubicBezTo>
                <a:cubicBezTo>
                  <a:pt x="270" y="177"/>
                  <a:pt x="270" y="177"/>
                  <a:pt x="270" y="177"/>
                </a:cubicBezTo>
                <a:cubicBezTo>
                  <a:pt x="270" y="177"/>
                  <a:pt x="270" y="177"/>
                  <a:pt x="269" y="177"/>
                </a:cubicBezTo>
                <a:cubicBezTo>
                  <a:pt x="268" y="176"/>
                  <a:pt x="267" y="175"/>
                  <a:pt x="266" y="174"/>
                </a:cubicBezTo>
                <a:cubicBezTo>
                  <a:pt x="266" y="174"/>
                  <a:pt x="266" y="174"/>
                  <a:pt x="266" y="174"/>
                </a:cubicBezTo>
                <a:cubicBezTo>
                  <a:pt x="266" y="174"/>
                  <a:pt x="266" y="174"/>
                  <a:pt x="266" y="174"/>
                </a:cubicBezTo>
                <a:cubicBezTo>
                  <a:pt x="266" y="173"/>
                  <a:pt x="265" y="173"/>
                  <a:pt x="265" y="172"/>
                </a:cubicBezTo>
                <a:cubicBezTo>
                  <a:pt x="264" y="172"/>
                  <a:pt x="264" y="172"/>
                  <a:pt x="264" y="172"/>
                </a:cubicBezTo>
                <a:cubicBezTo>
                  <a:pt x="263" y="170"/>
                  <a:pt x="263" y="170"/>
                  <a:pt x="263" y="170"/>
                </a:cubicBezTo>
                <a:cubicBezTo>
                  <a:pt x="262" y="170"/>
                  <a:pt x="261" y="169"/>
                  <a:pt x="260" y="168"/>
                </a:cubicBezTo>
                <a:cubicBezTo>
                  <a:pt x="257" y="166"/>
                  <a:pt x="257" y="166"/>
                  <a:pt x="257" y="166"/>
                </a:cubicBezTo>
                <a:cubicBezTo>
                  <a:pt x="264" y="166"/>
                  <a:pt x="264" y="166"/>
                  <a:pt x="264" y="166"/>
                </a:cubicBezTo>
                <a:cubicBezTo>
                  <a:pt x="264" y="166"/>
                  <a:pt x="264" y="166"/>
                  <a:pt x="264" y="166"/>
                </a:cubicBezTo>
                <a:cubicBezTo>
                  <a:pt x="264" y="163"/>
                  <a:pt x="264" y="161"/>
                  <a:pt x="265" y="161"/>
                </a:cubicBezTo>
                <a:cubicBezTo>
                  <a:pt x="265" y="160"/>
                  <a:pt x="266" y="160"/>
                  <a:pt x="269" y="160"/>
                </a:cubicBezTo>
                <a:cubicBezTo>
                  <a:pt x="269" y="160"/>
                  <a:pt x="269" y="160"/>
                  <a:pt x="269" y="160"/>
                </a:cubicBezTo>
                <a:cubicBezTo>
                  <a:pt x="270" y="160"/>
                  <a:pt x="270" y="160"/>
                  <a:pt x="270" y="160"/>
                </a:cubicBezTo>
                <a:cubicBezTo>
                  <a:pt x="277" y="160"/>
                  <a:pt x="277" y="160"/>
                  <a:pt x="277" y="160"/>
                </a:cubicBezTo>
                <a:cubicBezTo>
                  <a:pt x="279" y="160"/>
                  <a:pt x="281" y="160"/>
                  <a:pt x="283" y="160"/>
                </a:cubicBezTo>
                <a:cubicBezTo>
                  <a:pt x="283" y="160"/>
                  <a:pt x="283" y="160"/>
                  <a:pt x="283" y="160"/>
                </a:cubicBezTo>
                <a:cubicBezTo>
                  <a:pt x="283" y="160"/>
                  <a:pt x="283" y="160"/>
                  <a:pt x="283" y="160"/>
                </a:cubicBezTo>
                <a:cubicBezTo>
                  <a:pt x="284" y="160"/>
                  <a:pt x="284" y="160"/>
                  <a:pt x="284" y="160"/>
                </a:cubicBezTo>
                <a:cubicBezTo>
                  <a:pt x="284" y="160"/>
                  <a:pt x="284" y="159"/>
                  <a:pt x="284" y="159"/>
                </a:cubicBezTo>
                <a:cubicBezTo>
                  <a:pt x="284" y="159"/>
                  <a:pt x="284" y="159"/>
                  <a:pt x="284" y="159"/>
                </a:cubicBezTo>
                <a:cubicBezTo>
                  <a:pt x="284" y="159"/>
                  <a:pt x="285" y="159"/>
                  <a:pt x="285" y="159"/>
                </a:cubicBezTo>
                <a:cubicBezTo>
                  <a:pt x="285" y="159"/>
                  <a:pt x="285" y="159"/>
                  <a:pt x="286" y="159"/>
                </a:cubicBezTo>
                <a:cubicBezTo>
                  <a:pt x="286" y="159"/>
                  <a:pt x="287" y="159"/>
                  <a:pt x="287" y="159"/>
                </a:cubicBezTo>
                <a:cubicBezTo>
                  <a:pt x="287" y="159"/>
                  <a:pt x="287" y="159"/>
                  <a:pt x="287" y="159"/>
                </a:cubicBezTo>
                <a:cubicBezTo>
                  <a:pt x="287" y="159"/>
                  <a:pt x="287" y="159"/>
                  <a:pt x="288" y="158"/>
                </a:cubicBezTo>
                <a:cubicBezTo>
                  <a:pt x="288" y="158"/>
                  <a:pt x="288" y="157"/>
                  <a:pt x="289" y="157"/>
                </a:cubicBezTo>
                <a:cubicBezTo>
                  <a:pt x="289" y="157"/>
                  <a:pt x="289" y="157"/>
                  <a:pt x="289" y="157"/>
                </a:cubicBezTo>
                <a:cubicBezTo>
                  <a:pt x="289" y="156"/>
                  <a:pt x="289" y="156"/>
                  <a:pt x="289" y="156"/>
                </a:cubicBezTo>
                <a:cubicBezTo>
                  <a:pt x="289" y="155"/>
                  <a:pt x="289" y="155"/>
                  <a:pt x="289" y="155"/>
                </a:cubicBezTo>
                <a:cubicBezTo>
                  <a:pt x="290" y="154"/>
                  <a:pt x="291" y="153"/>
                  <a:pt x="292" y="153"/>
                </a:cubicBezTo>
                <a:cubicBezTo>
                  <a:pt x="292" y="153"/>
                  <a:pt x="292" y="153"/>
                  <a:pt x="293" y="153"/>
                </a:cubicBezTo>
                <a:cubicBezTo>
                  <a:pt x="294" y="153"/>
                  <a:pt x="294" y="153"/>
                  <a:pt x="294" y="153"/>
                </a:cubicBezTo>
                <a:cubicBezTo>
                  <a:pt x="294" y="153"/>
                  <a:pt x="294" y="153"/>
                  <a:pt x="294" y="153"/>
                </a:cubicBezTo>
                <a:cubicBezTo>
                  <a:pt x="294" y="153"/>
                  <a:pt x="294" y="152"/>
                  <a:pt x="294" y="152"/>
                </a:cubicBezTo>
                <a:cubicBezTo>
                  <a:pt x="295" y="152"/>
                  <a:pt x="295" y="151"/>
                  <a:pt x="295" y="151"/>
                </a:cubicBezTo>
                <a:cubicBezTo>
                  <a:pt x="296" y="152"/>
                  <a:pt x="295" y="153"/>
                  <a:pt x="295" y="154"/>
                </a:cubicBezTo>
                <a:cubicBezTo>
                  <a:pt x="295" y="155"/>
                  <a:pt x="297" y="157"/>
                  <a:pt x="298" y="158"/>
                </a:cubicBezTo>
                <a:cubicBezTo>
                  <a:pt x="299" y="154"/>
                  <a:pt x="299" y="149"/>
                  <a:pt x="301" y="146"/>
                </a:cubicBezTo>
                <a:cubicBezTo>
                  <a:pt x="300" y="145"/>
                  <a:pt x="301" y="146"/>
                  <a:pt x="300" y="147"/>
                </a:cubicBezTo>
                <a:cubicBezTo>
                  <a:pt x="299" y="147"/>
                  <a:pt x="300" y="145"/>
                  <a:pt x="301" y="144"/>
                </a:cubicBezTo>
                <a:cubicBezTo>
                  <a:pt x="301" y="145"/>
                  <a:pt x="301" y="145"/>
                  <a:pt x="301" y="145"/>
                </a:cubicBezTo>
                <a:cubicBezTo>
                  <a:pt x="302" y="144"/>
                  <a:pt x="302" y="144"/>
                  <a:pt x="302" y="143"/>
                </a:cubicBezTo>
                <a:cubicBezTo>
                  <a:pt x="301" y="143"/>
                  <a:pt x="298" y="144"/>
                  <a:pt x="299" y="142"/>
                </a:cubicBezTo>
                <a:cubicBezTo>
                  <a:pt x="299" y="141"/>
                  <a:pt x="301" y="141"/>
                  <a:pt x="301" y="140"/>
                </a:cubicBezTo>
                <a:cubicBezTo>
                  <a:pt x="302" y="140"/>
                  <a:pt x="301" y="139"/>
                  <a:pt x="301" y="138"/>
                </a:cubicBezTo>
                <a:cubicBezTo>
                  <a:pt x="302" y="138"/>
                  <a:pt x="301" y="137"/>
                  <a:pt x="302" y="137"/>
                </a:cubicBezTo>
                <a:cubicBezTo>
                  <a:pt x="302" y="134"/>
                  <a:pt x="305" y="133"/>
                  <a:pt x="306" y="131"/>
                </a:cubicBezTo>
                <a:cubicBezTo>
                  <a:pt x="307" y="129"/>
                  <a:pt x="308" y="128"/>
                  <a:pt x="309" y="127"/>
                </a:cubicBezTo>
                <a:cubicBezTo>
                  <a:pt x="309" y="126"/>
                  <a:pt x="308" y="125"/>
                  <a:pt x="308" y="124"/>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0" name="Rectangle 3027">
            <a:extLst>
              <a:ext uri="{FF2B5EF4-FFF2-40B4-BE49-F238E27FC236}">
                <a16:creationId xmlns:a16="http://schemas.microsoft.com/office/drawing/2014/main" id="{DE09D123-2BFA-44FA-8FDD-AAABFB66952C}"/>
              </a:ext>
            </a:extLst>
          </p:cNvPr>
          <p:cNvSpPr>
            <a:spLocks noChangeArrowheads="1"/>
          </p:cNvSpPr>
          <p:nvPr/>
        </p:nvSpPr>
        <p:spPr bwMode="auto">
          <a:xfrm>
            <a:off x="1968778" y="3274211"/>
            <a:ext cx="496" cy="594"/>
          </a:xfrm>
          <a:prstGeom prst="rect">
            <a:avLst/>
          </a:prstGeom>
          <a:solidFill>
            <a:schemeClr val="tx1">
              <a:lumMod val="40000"/>
              <a:lumOff val="60000"/>
            </a:schemeClr>
          </a:solid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1" name="Freeform 3028">
            <a:extLst>
              <a:ext uri="{FF2B5EF4-FFF2-40B4-BE49-F238E27FC236}">
                <a16:creationId xmlns:a16="http://schemas.microsoft.com/office/drawing/2014/main" id="{362AA8FA-AAD8-4026-9DE8-FFA17A1B8067}"/>
              </a:ext>
            </a:extLst>
          </p:cNvPr>
          <p:cNvSpPr>
            <a:spLocks/>
          </p:cNvSpPr>
          <p:nvPr/>
        </p:nvSpPr>
        <p:spPr bwMode="auto">
          <a:xfrm>
            <a:off x="3453973" y="3265901"/>
            <a:ext cx="186331" cy="207758"/>
          </a:xfrm>
          <a:custGeom>
            <a:avLst/>
            <a:gdLst>
              <a:gd name="T0" fmla="*/ 20 w 159"/>
              <a:gd name="T1" fmla="*/ 10 h 148"/>
              <a:gd name="T2" fmla="*/ 15 w 159"/>
              <a:gd name="T3" fmla="*/ 12 h 148"/>
              <a:gd name="T4" fmla="*/ 14 w 159"/>
              <a:gd name="T5" fmla="*/ 13 h 148"/>
              <a:gd name="T6" fmla="*/ 12 w 159"/>
              <a:gd name="T7" fmla="*/ 15 h 148"/>
              <a:gd name="T8" fmla="*/ 9 w 159"/>
              <a:gd name="T9" fmla="*/ 17 h 148"/>
              <a:gd name="T10" fmla="*/ 8 w 159"/>
              <a:gd name="T11" fmla="*/ 21 h 148"/>
              <a:gd name="T12" fmla="*/ 9 w 159"/>
              <a:gd name="T13" fmla="*/ 24 h 148"/>
              <a:gd name="T14" fmla="*/ 7 w 159"/>
              <a:gd name="T15" fmla="*/ 29 h 148"/>
              <a:gd name="T16" fmla="*/ 6 w 159"/>
              <a:gd name="T17" fmla="*/ 31 h 148"/>
              <a:gd name="T18" fmla="*/ 2 w 159"/>
              <a:gd name="T19" fmla="*/ 34 h 148"/>
              <a:gd name="T20" fmla="*/ 0 w 159"/>
              <a:gd name="T21" fmla="*/ 34 h 148"/>
              <a:gd name="T22" fmla="*/ 2 w 159"/>
              <a:gd name="T23" fmla="*/ 39 h 148"/>
              <a:gd name="T24" fmla="*/ 5 w 159"/>
              <a:gd name="T25" fmla="*/ 50 h 148"/>
              <a:gd name="T26" fmla="*/ 5 w 159"/>
              <a:gd name="T27" fmla="*/ 57 h 148"/>
              <a:gd name="T28" fmla="*/ 5 w 159"/>
              <a:gd name="T29" fmla="*/ 63 h 148"/>
              <a:gd name="T30" fmla="*/ 4 w 159"/>
              <a:gd name="T31" fmla="*/ 66 h 148"/>
              <a:gd name="T32" fmla="*/ 4 w 159"/>
              <a:gd name="T33" fmla="*/ 68 h 148"/>
              <a:gd name="T34" fmla="*/ 5 w 159"/>
              <a:gd name="T35" fmla="*/ 73 h 148"/>
              <a:gd name="T36" fmla="*/ 3 w 159"/>
              <a:gd name="T37" fmla="*/ 76 h 148"/>
              <a:gd name="T38" fmla="*/ 1 w 159"/>
              <a:gd name="T39" fmla="*/ 77 h 148"/>
              <a:gd name="T40" fmla="*/ 0 w 159"/>
              <a:gd name="T41" fmla="*/ 78 h 148"/>
              <a:gd name="T42" fmla="*/ 3 w 159"/>
              <a:gd name="T43" fmla="*/ 82 h 148"/>
              <a:gd name="T44" fmla="*/ 4 w 159"/>
              <a:gd name="T45" fmla="*/ 83 h 148"/>
              <a:gd name="T46" fmla="*/ 6 w 159"/>
              <a:gd name="T47" fmla="*/ 89 h 148"/>
              <a:gd name="T48" fmla="*/ 7 w 159"/>
              <a:gd name="T49" fmla="*/ 92 h 148"/>
              <a:gd name="T50" fmla="*/ 9 w 159"/>
              <a:gd name="T51" fmla="*/ 94 h 148"/>
              <a:gd name="T52" fmla="*/ 10 w 159"/>
              <a:gd name="T53" fmla="*/ 95 h 148"/>
              <a:gd name="T54" fmla="*/ 13 w 159"/>
              <a:gd name="T55" fmla="*/ 94 h 148"/>
              <a:gd name="T56" fmla="*/ 17 w 159"/>
              <a:gd name="T57" fmla="*/ 96 h 148"/>
              <a:gd name="T58" fmla="*/ 23 w 159"/>
              <a:gd name="T59" fmla="*/ 99 h 148"/>
              <a:gd name="T60" fmla="*/ 24 w 159"/>
              <a:gd name="T61" fmla="*/ 103 h 148"/>
              <a:gd name="T62" fmla="*/ 30 w 159"/>
              <a:gd name="T63" fmla="*/ 105 h 148"/>
              <a:gd name="T64" fmla="*/ 44 w 159"/>
              <a:gd name="T65" fmla="*/ 111 h 148"/>
              <a:gd name="T66" fmla="*/ 47 w 159"/>
              <a:gd name="T67" fmla="*/ 114 h 148"/>
              <a:gd name="T68" fmla="*/ 49 w 159"/>
              <a:gd name="T69" fmla="*/ 115 h 148"/>
              <a:gd name="T70" fmla="*/ 65 w 159"/>
              <a:gd name="T71" fmla="*/ 107 h 148"/>
              <a:gd name="T72" fmla="*/ 72 w 159"/>
              <a:gd name="T73" fmla="*/ 109 h 148"/>
              <a:gd name="T74" fmla="*/ 114 w 159"/>
              <a:gd name="T75" fmla="*/ 130 h 148"/>
              <a:gd name="T76" fmla="*/ 147 w 159"/>
              <a:gd name="T77" fmla="*/ 145 h 148"/>
              <a:gd name="T78" fmla="*/ 147 w 159"/>
              <a:gd name="T79" fmla="*/ 145 h 148"/>
              <a:gd name="T80" fmla="*/ 147 w 159"/>
              <a:gd name="T81" fmla="*/ 144 h 148"/>
              <a:gd name="T82" fmla="*/ 150 w 159"/>
              <a:gd name="T83" fmla="*/ 143 h 148"/>
              <a:gd name="T84" fmla="*/ 156 w 159"/>
              <a:gd name="T85" fmla="*/ 143 h 148"/>
              <a:gd name="T86" fmla="*/ 157 w 159"/>
              <a:gd name="T87" fmla="*/ 128 h 148"/>
              <a:gd name="T88" fmla="*/ 156 w 159"/>
              <a:gd name="T89" fmla="*/ 122 h 148"/>
              <a:gd name="T90" fmla="*/ 157 w 159"/>
              <a:gd name="T91" fmla="*/ 50 h 148"/>
              <a:gd name="T92" fmla="*/ 155 w 159"/>
              <a:gd name="T93" fmla="*/ 38 h 148"/>
              <a:gd name="T94" fmla="*/ 154 w 159"/>
              <a:gd name="T95" fmla="*/ 34 h 148"/>
              <a:gd name="T96" fmla="*/ 156 w 159"/>
              <a:gd name="T97" fmla="*/ 29 h 148"/>
              <a:gd name="T98" fmla="*/ 156 w 159"/>
              <a:gd name="T99" fmla="*/ 23 h 148"/>
              <a:gd name="T100" fmla="*/ 158 w 159"/>
              <a:gd name="T101" fmla="*/ 17 h 148"/>
              <a:gd name="T102" fmla="*/ 159 w 159"/>
              <a:gd name="T103" fmla="*/ 16 h 148"/>
              <a:gd name="T104" fmla="*/ 154 w 159"/>
              <a:gd name="T105" fmla="*/ 13 h 148"/>
              <a:gd name="T106" fmla="*/ 139 w 159"/>
              <a:gd name="T107" fmla="*/ 9 h 148"/>
              <a:gd name="T108" fmla="*/ 131 w 159"/>
              <a:gd name="T109" fmla="*/ 4 h 148"/>
              <a:gd name="T110" fmla="*/ 113 w 159"/>
              <a:gd name="T111" fmla="*/ 7 h 148"/>
              <a:gd name="T112" fmla="*/ 107 w 159"/>
              <a:gd name="T113" fmla="*/ 20 h 148"/>
              <a:gd name="T114" fmla="*/ 101 w 159"/>
              <a:gd name="T115" fmla="*/ 32 h 148"/>
              <a:gd name="T116" fmla="*/ 86 w 159"/>
              <a:gd name="T117" fmla="*/ 26 h 148"/>
              <a:gd name="T118" fmla="*/ 61 w 159"/>
              <a:gd name="T119" fmla="*/ 17 h 148"/>
              <a:gd name="T120" fmla="*/ 55 w 159"/>
              <a:gd name="T121" fmla="*/ 8 h 148"/>
              <a:gd name="T122" fmla="*/ 30 w 159"/>
              <a:gd name="T123" fmla="*/ 4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 h="148">
                <a:moveTo>
                  <a:pt x="22" y="1"/>
                </a:moveTo>
                <a:cubicBezTo>
                  <a:pt x="22" y="8"/>
                  <a:pt x="22" y="8"/>
                  <a:pt x="22" y="8"/>
                </a:cubicBezTo>
                <a:cubicBezTo>
                  <a:pt x="22" y="9"/>
                  <a:pt x="21" y="10"/>
                  <a:pt x="20" y="10"/>
                </a:cubicBezTo>
                <a:cubicBezTo>
                  <a:pt x="19" y="11"/>
                  <a:pt x="19" y="11"/>
                  <a:pt x="18" y="11"/>
                </a:cubicBezTo>
                <a:cubicBezTo>
                  <a:pt x="17" y="12"/>
                  <a:pt x="17" y="12"/>
                  <a:pt x="17" y="12"/>
                </a:cubicBezTo>
                <a:cubicBezTo>
                  <a:pt x="16" y="12"/>
                  <a:pt x="16" y="12"/>
                  <a:pt x="15" y="12"/>
                </a:cubicBezTo>
                <a:cubicBezTo>
                  <a:pt x="15" y="12"/>
                  <a:pt x="15" y="12"/>
                  <a:pt x="15" y="12"/>
                </a:cubicBezTo>
                <a:cubicBezTo>
                  <a:pt x="15" y="12"/>
                  <a:pt x="15" y="13"/>
                  <a:pt x="15" y="13"/>
                </a:cubicBezTo>
                <a:cubicBezTo>
                  <a:pt x="15" y="13"/>
                  <a:pt x="15" y="13"/>
                  <a:pt x="14" y="13"/>
                </a:cubicBezTo>
                <a:cubicBezTo>
                  <a:pt x="14" y="13"/>
                  <a:pt x="14" y="14"/>
                  <a:pt x="13" y="14"/>
                </a:cubicBezTo>
                <a:cubicBezTo>
                  <a:pt x="13" y="15"/>
                  <a:pt x="12" y="15"/>
                  <a:pt x="12" y="15"/>
                </a:cubicBezTo>
                <a:cubicBezTo>
                  <a:pt x="12" y="15"/>
                  <a:pt x="12" y="15"/>
                  <a:pt x="12" y="15"/>
                </a:cubicBezTo>
                <a:cubicBezTo>
                  <a:pt x="12" y="15"/>
                  <a:pt x="12" y="15"/>
                  <a:pt x="12" y="15"/>
                </a:cubicBezTo>
                <a:cubicBezTo>
                  <a:pt x="11" y="16"/>
                  <a:pt x="11" y="16"/>
                  <a:pt x="10" y="17"/>
                </a:cubicBezTo>
                <a:cubicBezTo>
                  <a:pt x="10" y="17"/>
                  <a:pt x="10" y="17"/>
                  <a:pt x="9" y="17"/>
                </a:cubicBezTo>
                <a:cubicBezTo>
                  <a:pt x="9" y="17"/>
                  <a:pt x="9" y="17"/>
                  <a:pt x="9" y="17"/>
                </a:cubicBezTo>
                <a:cubicBezTo>
                  <a:pt x="9" y="17"/>
                  <a:pt x="9" y="17"/>
                  <a:pt x="9" y="17"/>
                </a:cubicBezTo>
                <a:cubicBezTo>
                  <a:pt x="9" y="18"/>
                  <a:pt x="8" y="20"/>
                  <a:pt x="8" y="21"/>
                </a:cubicBezTo>
                <a:cubicBezTo>
                  <a:pt x="8" y="22"/>
                  <a:pt x="9" y="22"/>
                  <a:pt x="9" y="23"/>
                </a:cubicBezTo>
                <a:cubicBezTo>
                  <a:pt x="9" y="23"/>
                  <a:pt x="9" y="23"/>
                  <a:pt x="9" y="23"/>
                </a:cubicBezTo>
                <a:cubicBezTo>
                  <a:pt x="9" y="23"/>
                  <a:pt x="9" y="24"/>
                  <a:pt x="9" y="24"/>
                </a:cubicBezTo>
                <a:cubicBezTo>
                  <a:pt x="9" y="26"/>
                  <a:pt x="9" y="28"/>
                  <a:pt x="8" y="29"/>
                </a:cubicBezTo>
                <a:cubicBezTo>
                  <a:pt x="10" y="30"/>
                  <a:pt x="10" y="30"/>
                  <a:pt x="10" y="30"/>
                </a:cubicBezTo>
                <a:cubicBezTo>
                  <a:pt x="7" y="29"/>
                  <a:pt x="7" y="29"/>
                  <a:pt x="7" y="29"/>
                </a:cubicBezTo>
                <a:cubicBezTo>
                  <a:pt x="7" y="29"/>
                  <a:pt x="7" y="29"/>
                  <a:pt x="7" y="29"/>
                </a:cubicBezTo>
                <a:cubicBezTo>
                  <a:pt x="7" y="30"/>
                  <a:pt x="7" y="30"/>
                  <a:pt x="6" y="30"/>
                </a:cubicBezTo>
                <a:cubicBezTo>
                  <a:pt x="6" y="31"/>
                  <a:pt x="6" y="31"/>
                  <a:pt x="6" y="31"/>
                </a:cubicBezTo>
                <a:cubicBezTo>
                  <a:pt x="6" y="31"/>
                  <a:pt x="6" y="31"/>
                  <a:pt x="6" y="32"/>
                </a:cubicBezTo>
                <a:cubicBezTo>
                  <a:pt x="5" y="33"/>
                  <a:pt x="4" y="33"/>
                  <a:pt x="3" y="34"/>
                </a:cubicBezTo>
                <a:cubicBezTo>
                  <a:pt x="2" y="34"/>
                  <a:pt x="2" y="34"/>
                  <a:pt x="2" y="34"/>
                </a:cubicBezTo>
                <a:cubicBezTo>
                  <a:pt x="1" y="34"/>
                  <a:pt x="1" y="34"/>
                  <a:pt x="1" y="34"/>
                </a:cubicBezTo>
                <a:cubicBezTo>
                  <a:pt x="0" y="34"/>
                  <a:pt x="0" y="34"/>
                  <a:pt x="0" y="34"/>
                </a:cubicBezTo>
                <a:cubicBezTo>
                  <a:pt x="0" y="34"/>
                  <a:pt x="0" y="34"/>
                  <a:pt x="0" y="34"/>
                </a:cubicBezTo>
                <a:cubicBezTo>
                  <a:pt x="0" y="35"/>
                  <a:pt x="0" y="35"/>
                  <a:pt x="0" y="35"/>
                </a:cubicBezTo>
                <a:cubicBezTo>
                  <a:pt x="0" y="35"/>
                  <a:pt x="0" y="35"/>
                  <a:pt x="0" y="35"/>
                </a:cubicBezTo>
                <a:cubicBezTo>
                  <a:pt x="0" y="36"/>
                  <a:pt x="1" y="38"/>
                  <a:pt x="2" y="39"/>
                </a:cubicBezTo>
                <a:cubicBezTo>
                  <a:pt x="2" y="39"/>
                  <a:pt x="3" y="40"/>
                  <a:pt x="3" y="40"/>
                </a:cubicBezTo>
                <a:cubicBezTo>
                  <a:pt x="4" y="42"/>
                  <a:pt x="5" y="45"/>
                  <a:pt x="5" y="49"/>
                </a:cubicBezTo>
                <a:cubicBezTo>
                  <a:pt x="5" y="49"/>
                  <a:pt x="5" y="50"/>
                  <a:pt x="5" y="50"/>
                </a:cubicBezTo>
                <a:cubicBezTo>
                  <a:pt x="5" y="51"/>
                  <a:pt x="5" y="51"/>
                  <a:pt x="5" y="51"/>
                </a:cubicBezTo>
                <a:cubicBezTo>
                  <a:pt x="4" y="52"/>
                  <a:pt x="4" y="54"/>
                  <a:pt x="4" y="55"/>
                </a:cubicBezTo>
                <a:cubicBezTo>
                  <a:pt x="5" y="56"/>
                  <a:pt x="5" y="56"/>
                  <a:pt x="5" y="57"/>
                </a:cubicBezTo>
                <a:cubicBezTo>
                  <a:pt x="5" y="58"/>
                  <a:pt x="5" y="58"/>
                  <a:pt x="5" y="58"/>
                </a:cubicBezTo>
                <a:cubicBezTo>
                  <a:pt x="6" y="60"/>
                  <a:pt x="5" y="61"/>
                  <a:pt x="5" y="62"/>
                </a:cubicBezTo>
                <a:cubicBezTo>
                  <a:pt x="5" y="63"/>
                  <a:pt x="5" y="63"/>
                  <a:pt x="5" y="63"/>
                </a:cubicBezTo>
                <a:cubicBezTo>
                  <a:pt x="4" y="63"/>
                  <a:pt x="4" y="63"/>
                  <a:pt x="4" y="63"/>
                </a:cubicBezTo>
                <a:cubicBezTo>
                  <a:pt x="4" y="64"/>
                  <a:pt x="4" y="64"/>
                  <a:pt x="4" y="64"/>
                </a:cubicBezTo>
                <a:cubicBezTo>
                  <a:pt x="4" y="64"/>
                  <a:pt x="4" y="65"/>
                  <a:pt x="4" y="66"/>
                </a:cubicBezTo>
                <a:cubicBezTo>
                  <a:pt x="4" y="66"/>
                  <a:pt x="4" y="66"/>
                  <a:pt x="4" y="66"/>
                </a:cubicBezTo>
                <a:cubicBezTo>
                  <a:pt x="4" y="67"/>
                  <a:pt x="4" y="67"/>
                  <a:pt x="4" y="67"/>
                </a:cubicBezTo>
                <a:cubicBezTo>
                  <a:pt x="4" y="68"/>
                  <a:pt x="4" y="68"/>
                  <a:pt x="4" y="68"/>
                </a:cubicBezTo>
                <a:cubicBezTo>
                  <a:pt x="4" y="69"/>
                  <a:pt x="4" y="69"/>
                  <a:pt x="4" y="69"/>
                </a:cubicBezTo>
                <a:cubicBezTo>
                  <a:pt x="5" y="70"/>
                  <a:pt x="5" y="71"/>
                  <a:pt x="5" y="72"/>
                </a:cubicBezTo>
                <a:cubicBezTo>
                  <a:pt x="5" y="73"/>
                  <a:pt x="5" y="73"/>
                  <a:pt x="5" y="73"/>
                </a:cubicBezTo>
                <a:cubicBezTo>
                  <a:pt x="5" y="74"/>
                  <a:pt x="5" y="75"/>
                  <a:pt x="4" y="76"/>
                </a:cubicBezTo>
                <a:cubicBezTo>
                  <a:pt x="3" y="76"/>
                  <a:pt x="3" y="76"/>
                  <a:pt x="3" y="76"/>
                </a:cubicBezTo>
                <a:cubicBezTo>
                  <a:pt x="3" y="76"/>
                  <a:pt x="3" y="76"/>
                  <a:pt x="3" y="76"/>
                </a:cubicBezTo>
                <a:cubicBezTo>
                  <a:pt x="3" y="76"/>
                  <a:pt x="3" y="76"/>
                  <a:pt x="3" y="76"/>
                </a:cubicBezTo>
                <a:cubicBezTo>
                  <a:pt x="2" y="76"/>
                  <a:pt x="2" y="76"/>
                  <a:pt x="2" y="76"/>
                </a:cubicBezTo>
                <a:cubicBezTo>
                  <a:pt x="2" y="76"/>
                  <a:pt x="2" y="77"/>
                  <a:pt x="1" y="77"/>
                </a:cubicBezTo>
                <a:cubicBezTo>
                  <a:pt x="1" y="78"/>
                  <a:pt x="0" y="78"/>
                  <a:pt x="0" y="78"/>
                </a:cubicBezTo>
                <a:cubicBezTo>
                  <a:pt x="0" y="78"/>
                  <a:pt x="0" y="78"/>
                  <a:pt x="0" y="78"/>
                </a:cubicBezTo>
                <a:cubicBezTo>
                  <a:pt x="0" y="78"/>
                  <a:pt x="0" y="78"/>
                  <a:pt x="0" y="78"/>
                </a:cubicBezTo>
                <a:cubicBezTo>
                  <a:pt x="0" y="78"/>
                  <a:pt x="1" y="79"/>
                  <a:pt x="2" y="81"/>
                </a:cubicBezTo>
                <a:cubicBezTo>
                  <a:pt x="3" y="81"/>
                  <a:pt x="3" y="81"/>
                  <a:pt x="3" y="81"/>
                </a:cubicBezTo>
                <a:cubicBezTo>
                  <a:pt x="3" y="81"/>
                  <a:pt x="3" y="82"/>
                  <a:pt x="3" y="82"/>
                </a:cubicBezTo>
                <a:cubicBezTo>
                  <a:pt x="3" y="82"/>
                  <a:pt x="3" y="82"/>
                  <a:pt x="3" y="82"/>
                </a:cubicBezTo>
                <a:cubicBezTo>
                  <a:pt x="4" y="82"/>
                  <a:pt x="4" y="83"/>
                  <a:pt x="4" y="83"/>
                </a:cubicBezTo>
                <a:cubicBezTo>
                  <a:pt x="4" y="83"/>
                  <a:pt x="4" y="83"/>
                  <a:pt x="4" y="83"/>
                </a:cubicBezTo>
                <a:cubicBezTo>
                  <a:pt x="4" y="83"/>
                  <a:pt x="5" y="84"/>
                  <a:pt x="5" y="84"/>
                </a:cubicBezTo>
                <a:cubicBezTo>
                  <a:pt x="6" y="86"/>
                  <a:pt x="6" y="88"/>
                  <a:pt x="6" y="89"/>
                </a:cubicBezTo>
                <a:cubicBezTo>
                  <a:pt x="6" y="89"/>
                  <a:pt x="6" y="89"/>
                  <a:pt x="6" y="89"/>
                </a:cubicBezTo>
                <a:cubicBezTo>
                  <a:pt x="7" y="90"/>
                  <a:pt x="7" y="91"/>
                  <a:pt x="7" y="91"/>
                </a:cubicBezTo>
                <a:cubicBezTo>
                  <a:pt x="7" y="92"/>
                  <a:pt x="7" y="92"/>
                  <a:pt x="7" y="92"/>
                </a:cubicBezTo>
                <a:cubicBezTo>
                  <a:pt x="7" y="92"/>
                  <a:pt x="7" y="92"/>
                  <a:pt x="7" y="92"/>
                </a:cubicBezTo>
                <a:cubicBezTo>
                  <a:pt x="8" y="93"/>
                  <a:pt x="8" y="94"/>
                  <a:pt x="9" y="94"/>
                </a:cubicBezTo>
                <a:cubicBezTo>
                  <a:pt x="9" y="94"/>
                  <a:pt x="9" y="94"/>
                  <a:pt x="9" y="94"/>
                </a:cubicBezTo>
                <a:cubicBezTo>
                  <a:pt x="9" y="94"/>
                  <a:pt x="9" y="94"/>
                  <a:pt x="9" y="94"/>
                </a:cubicBezTo>
                <a:cubicBezTo>
                  <a:pt x="9" y="95"/>
                  <a:pt x="9" y="95"/>
                  <a:pt x="10" y="95"/>
                </a:cubicBezTo>
                <a:cubicBezTo>
                  <a:pt x="10" y="95"/>
                  <a:pt x="10" y="95"/>
                  <a:pt x="10" y="95"/>
                </a:cubicBezTo>
                <a:cubicBezTo>
                  <a:pt x="10" y="95"/>
                  <a:pt x="10" y="95"/>
                  <a:pt x="10" y="95"/>
                </a:cubicBezTo>
                <a:cubicBezTo>
                  <a:pt x="11" y="95"/>
                  <a:pt x="11" y="95"/>
                  <a:pt x="12" y="94"/>
                </a:cubicBezTo>
                <a:cubicBezTo>
                  <a:pt x="12" y="93"/>
                  <a:pt x="12" y="93"/>
                  <a:pt x="12" y="93"/>
                </a:cubicBezTo>
                <a:cubicBezTo>
                  <a:pt x="13" y="94"/>
                  <a:pt x="13" y="94"/>
                  <a:pt x="13" y="94"/>
                </a:cubicBezTo>
                <a:cubicBezTo>
                  <a:pt x="13" y="94"/>
                  <a:pt x="13" y="94"/>
                  <a:pt x="13" y="94"/>
                </a:cubicBezTo>
                <a:cubicBezTo>
                  <a:pt x="13" y="94"/>
                  <a:pt x="14" y="95"/>
                  <a:pt x="15" y="95"/>
                </a:cubicBezTo>
                <a:cubicBezTo>
                  <a:pt x="16" y="95"/>
                  <a:pt x="17" y="96"/>
                  <a:pt x="17" y="96"/>
                </a:cubicBezTo>
                <a:cubicBezTo>
                  <a:pt x="19" y="96"/>
                  <a:pt x="19" y="96"/>
                  <a:pt x="19" y="96"/>
                </a:cubicBezTo>
                <a:cubicBezTo>
                  <a:pt x="21" y="97"/>
                  <a:pt x="22" y="98"/>
                  <a:pt x="23" y="99"/>
                </a:cubicBezTo>
                <a:cubicBezTo>
                  <a:pt x="23" y="99"/>
                  <a:pt x="23" y="99"/>
                  <a:pt x="23" y="99"/>
                </a:cubicBezTo>
                <a:cubicBezTo>
                  <a:pt x="23" y="100"/>
                  <a:pt x="23" y="100"/>
                  <a:pt x="23" y="100"/>
                </a:cubicBezTo>
                <a:cubicBezTo>
                  <a:pt x="24" y="101"/>
                  <a:pt x="24" y="101"/>
                  <a:pt x="24" y="102"/>
                </a:cubicBezTo>
                <a:cubicBezTo>
                  <a:pt x="24" y="103"/>
                  <a:pt x="24" y="103"/>
                  <a:pt x="24" y="103"/>
                </a:cubicBezTo>
                <a:cubicBezTo>
                  <a:pt x="25" y="104"/>
                  <a:pt x="25" y="105"/>
                  <a:pt x="26" y="105"/>
                </a:cubicBezTo>
                <a:cubicBezTo>
                  <a:pt x="26" y="105"/>
                  <a:pt x="26" y="105"/>
                  <a:pt x="26" y="105"/>
                </a:cubicBezTo>
                <a:cubicBezTo>
                  <a:pt x="30" y="105"/>
                  <a:pt x="30" y="105"/>
                  <a:pt x="30" y="105"/>
                </a:cubicBezTo>
                <a:cubicBezTo>
                  <a:pt x="29" y="106"/>
                  <a:pt x="29" y="106"/>
                  <a:pt x="29" y="106"/>
                </a:cubicBezTo>
                <a:cubicBezTo>
                  <a:pt x="40" y="109"/>
                  <a:pt x="40" y="109"/>
                  <a:pt x="40" y="109"/>
                </a:cubicBezTo>
                <a:cubicBezTo>
                  <a:pt x="42" y="109"/>
                  <a:pt x="43" y="110"/>
                  <a:pt x="44" y="111"/>
                </a:cubicBezTo>
                <a:cubicBezTo>
                  <a:pt x="46" y="113"/>
                  <a:pt x="46" y="113"/>
                  <a:pt x="46" y="113"/>
                </a:cubicBezTo>
                <a:cubicBezTo>
                  <a:pt x="46" y="113"/>
                  <a:pt x="46" y="113"/>
                  <a:pt x="47" y="113"/>
                </a:cubicBezTo>
                <a:cubicBezTo>
                  <a:pt x="47" y="114"/>
                  <a:pt x="47" y="114"/>
                  <a:pt x="47" y="114"/>
                </a:cubicBezTo>
                <a:cubicBezTo>
                  <a:pt x="47" y="114"/>
                  <a:pt x="48" y="114"/>
                  <a:pt x="48" y="115"/>
                </a:cubicBezTo>
                <a:cubicBezTo>
                  <a:pt x="48" y="115"/>
                  <a:pt x="48" y="115"/>
                  <a:pt x="48" y="115"/>
                </a:cubicBezTo>
                <a:cubicBezTo>
                  <a:pt x="48" y="115"/>
                  <a:pt x="49" y="115"/>
                  <a:pt x="49" y="115"/>
                </a:cubicBezTo>
                <a:cubicBezTo>
                  <a:pt x="49" y="115"/>
                  <a:pt x="50" y="114"/>
                  <a:pt x="50" y="114"/>
                </a:cubicBezTo>
                <a:cubicBezTo>
                  <a:pt x="64" y="107"/>
                  <a:pt x="64" y="107"/>
                  <a:pt x="64" y="107"/>
                </a:cubicBezTo>
                <a:cubicBezTo>
                  <a:pt x="65" y="107"/>
                  <a:pt x="65" y="107"/>
                  <a:pt x="65" y="107"/>
                </a:cubicBezTo>
                <a:cubicBezTo>
                  <a:pt x="66" y="106"/>
                  <a:pt x="66" y="106"/>
                  <a:pt x="67" y="107"/>
                </a:cubicBezTo>
                <a:cubicBezTo>
                  <a:pt x="68" y="107"/>
                  <a:pt x="68" y="107"/>
                  <a:pt x="69" y="107"/>
                </a:cubicBezTo>
                <a:cubicBezTo>
                  <a:pt x="72" y="109"/>
                  <a:pt x="72" y="109"/>
                  <a:pt x="72" y="109"/>
                </a:cubicBezTo>
                <a:cubicBezTo>
                  <a:pt x="75" y="110"/>
                  <a:pt x="79" y="112"/>
                  <a:pt x="82" y="114"/>
                </a:cubicBezTo>
                <a:cubicBezTo>
                  <a:pt x="86" y="116"/>
                  <a:pt x="86" y="116"/>
                  <a:pt x="86" y="116"/>
                </a:cubicBezTo>
                <a:cubicBezTo>
                  <a:pt x="96" y="121"/>
                  <a:pt x="106" y="126"/>
                  <a:pt x="114" y="130"/>
                </a:cubicBezTo>
                <a:cubicBezTo>
                  <a:pt x="147" y="148"/>
                  <a:pt x="147" y="148"/>
                  <a:pt x="147" y="148"/>
                </a:cubicBezTo>
                <a:cubicBezTo>
                  <a:pt x="147" y="147"/>
                  <a:pt x="147" y="147"/>
                  <a:pt x="147" y="147"/>
                </a:cubicBezTo>
                <a:cubicBezTo>
                  <a:pt x="147" y="145"/>
                  <a:pt x="147" y="145"/>
                  <a:pt x="147" y="145"/>
                </a:cubicBezTo>
                <a:cubicBezTo>
                  <a:pt x="147" y="145"/>
                  <a:pt x="147" y="145"/>
                  <a:pt x="147" y="145"/>
                </a:cubicBezTo>
                <a:cubicBezTo>
                  <a:pt x="147" y="145"/>
                  <a:pt x="147" y="145"/>
                  <a:pt x="147" y="145"/>
                </a:cubicBezTo>
                <a:cubicBezTo>
                  <a:pt x="147" y="145"/>
                  <a:pt x="147" y="145"/>
                  <a:pt x="147" y="145"/>
                </a:cubicBezTo>
                <a:cubicBezTo>
                  <a:pt x="147" y="145"/>
                  <a:pt x="147" y="144"/>
                  <a:pt x="147" y="144"/>
                </a:cubicBezTo>
                <a:cubicBezTo>
                  <a:pt x="147" y="144"/>
                  <a:pt x="147" y="144"/>
                  <a:pt x="147" y="144"/>
                </a:cubicBezTo>
                <a:cubicBezTo>
                  <a:pt x="147" y="144"/>
                  <a:pt x="147" y="144"/>
                  <a:pt x="147" y="144"/>
                </a:cubicBezTo>
                <a:cubicBezTo>
                  <a:pt x="148" y="144"/>
                  <a:pt x="148" y="144"/>
                  <a:pt x="148" y="144"/>
                </a:cubicBezTo>
                <a:cubicBezTo>
                  <a:pt x="148" y="144"/>
                  <a:pt x="148" y="144"/>
                  <a:pt x="148" y="144"/>
                </a:cubicBezTo>
                <a:cubicBezTo>
                  <a:pt x="148" y="143"/>
                  <a:pt x="149" y="143"/>
                  <a:pt x="150" y="143"/>
                </a:cubicBezTo>
                <a:cubicBezTo>
                  <a:pt x="150" y="143"/>
                  <a:pt x="151" y="143"/>
                  <a:pt x="152" y="143"/>
                </a:cubicBezTo>
                <a:cubicBezTo>
                  <a:pt x="153" y="143"/>
                  <a:pt x="153" y="143"/>
                  <a:pt x="154" y="143"/>
                </a:cubicBezTo>
                <a:cubicBezTo>
                  <a:pt x="155" y="143"/>
                  <a:pt x="155" y="143"/>
                  <a:pt x="156" y="143"/>
                </a:cubicBezTo>
                <a:cubicBezTo>
                  <a:pt x="156" y="143"/>
                  <a:pt x="156" y="143"/>
                  <a:pt x="156" y="143"/>
                </a:cubicBezTo>
                <a:cubicBezTo>
                  <a:pt x="156" y="143"/>
                  <a:pt x="157" y="143"/>
                  <a:pt x="157" y="143"/>
                </a:cubicBezTo>
                <a:cubicBezTo>
                  <a:pt x="157" y="128"/>
                  <a:pt x="157" y="128"/>
                  <a:pt x="157" y="128"/>
                </a:cubicBezTo>
                <a:cubicBezTo>
                  <a:pt x="157" y="127"/>
                  <a:pt x="157" y="125"/>
                  <a:pt x="157" y="124"/>
                </a:cubicBezTo>
                <a:cubicBezTo>
                  <a:pt x="157" y="123"/>
                  <a:pt x="157" y="123"/>
                  <a:pt x="157" y="123"/>
                </a:cubicBezTo>
                <a:cubicBezTo>
                  <a:pt x="156" y="122"/>
                  <a:pt x="156" y="122"/>
                  <a:pt x="156" y="122"/>
                </a:cubicBezTo>
                <a:cubicBezTo>
                  <a:pt x="157" y="122"/>
                  <a:pt x="157" y="122"/>
                  <a:pt x="157" y="122"/>
                </a:cubicBezTo>
                <a:cubicBezTo>
                  <a:pt x="157" y="61"/>
                  <a:pt x="157" y="61"/>
                  <a:pt x="157" y="61"/>
                </a:cubicBezTo>
                <a:cubicBezTo>
                  <a:pt x="157" y="57"/>
                  <a:pt x="157" y="54"/>
                  <a:pt x="157" y="50"/>
                </a:cubicBezTo>
                <a:cubicBezTo>
                  <a:pt x="157" y="49"/>
                  <a:pt x="157" y="47"/>
                  <a:pt x="157" y="46"/>
                </a:cubicBezTo>
                <a:cubicBezTo>
                  <a:pt x="156" y="43"/>
                  <a:pt x="156" y="41"/>
                  <a:pt x="155" y="39"/>
                </a:cubicBezTo>
                <a:cubicBezTo>
                  <a:pt x="155" y="38"/>
                  <a:pt x="155" y="38"/>
                  <a:pt x="155" y="38"/>
                </a:cubicBezTo>
                <a:cubicBezTo>
                  <a:pt x="155" y="37"/>
                  <a:pt x="155" y="37"/>
                  <a:pt x="155" y="37"/>
                </a:cubicBezTo>
                <a:cubicBezTo>
                  <a:pt x="155" y="37"/>
                  <a:pt x="155" y="36"/>
                  <a:pt x="155" y="35"/>
                </a:cubicBezTo>
                <a:cubicBezTo>
                  <a:pt x="154" y="35"/>
                  <a:pt x="154" y="35"/>
                  <a:pt x="154" y="34"/>
                </a:cubicBezTo>
                <a:cubicBezTo>
                  <a:pt x="154" y="33"/>
                  <a:pt x="155" y="32"/>
                  <a:pt x="156" y="31"/>
                </a:cubicBezTo>
                <a:cubicBezTo>
                  <a:pt x="156" y="30"/>
                  <a:pt x="156" y="30"/>
                  <a:pt x="156" y="30"/>
                </a:cubicBezTo>
                <a:cubicBezTo>
                  <a:pt x="156" y="29"/>
                  <a:pt x="156" y="29"/>
                  <a:pt x="156" y="29"/>
                </a:cubicBezTo>
                <a:cubicBezTo>
                  <a:pt x="157" y="29"/>
                  <a:pt x="157" y="28"/>
                  <a:pt x="157" y="27"/>
                </a:cubicBezTo>
                <a:cubicBezTo>
                  <a:pt x="156" y="26"/>
                  <a:pt x="156" y="26"/>
                  <a:pt x="156" y="25"/>
                </a:cubicBezTo>
                <a:cubicBezTo>
                  <a:pt x="156" y="24"/>
                  <a:pt x="156" y="24"/>
                  <a:pt x="156" y="23"/>
                </a:cubicBezTo>
                <a:cubicBezTo>
                  <a:pt x="156" y="22"/>
                  <a:pt x="156" y="21"/>
                  <a:pt x="156" y="21"/>
                </a:cubicBezTo>
                <a:cubicBezTo>
                  <a:pt x="156" y="20"/>
                  <a:pt x="156" y="20"/>
                  <a:pt x="156" y="19"/>
                </a:cubicBezTo>
                <a:cubicBezTo>
                  <a:pt x="157" y="19"/>
                  <a:pt x="157" y="18"/>
                  <a:pt x="158" y="17"/>
                </a:cubicBezTo>
                <a:cubicBezTo>
                  <a:pt x="159" y="17"/>
                  <a:pt x="159" y="17"/>
                  <a:pt x="159" y="17"/>
                </a:cubicBezTo>
                <a:cubicBezTo>
                  <a:pt x="159" y="16"/>
                  <a:pt x="159" y="16"/>
                  <a:pt x="159" y="16"/>
                </a:cubicBezTo>
                <a:cubicBezTo>
                  <a:pt x="159" y="16"/>
                  <a:pt x="159" y="16"/>
                  <a:pt x="159" y="16"/>
                </a:cubicBezTo>
                <a:cubicBezTo>
                  <a:pt x="159" y="15"/>
                  <a:pt x="158" y="14"/>
                  <a:pt x="158" y="13"/>
                </a:cubicBezTo>
                <a:cubicBezTo>
                  <a:pt x="157" y="13"/>
                  <a:pt x="156" y="13"/>
                  <a:pt x="156" y="13"/>
                </a:cubicBezTo>
                <a:cubicBezTo>
                  <a:pt x="155" y="13"/>
                  <a:pt x="155" y="13"/>
                  <a:pt x="154" y="13"/>
                </a:cubicBezTo>
                <a:cubicBezTo>
                  <a:pt x="152" y="13"/>
                  <a:pt x="151" y="13"/>
                  <a:pt x="148" y="12"/>
                </a:cubicBezTo>
                <a:cubicBezTo>
                  <a:pt x="146" y="11"/>
                  <a:pt x="143" y="11"/>
                  <a:pt x="140" y="11"/>
                </a:cubicBezTo>
                <a:cubicBezTo>
                  <a:pt x="140" y="11"/>
                  <a:pt x="139" y="10"/>
                  <a:pt x="139" y="9"/>
                </a:cubicBezTo>
                <a:cubicBezTo>
                  <a:pt x="138" y="8"/>
                  <a:pt x="139" y="7"/>
                  <a:pt x="139" y="6"/>
                </a:cubicBezTo>
                <a:cubicBezTo>
                  <a:pt x="139" y="5"/>
                  <a:pt x="137" y="5"/>
                  <a:pt x="136" y="5"/>
                </a:cubicBezTo>
                <a:cubicBezTo>
                  <a:pt x="135" y="4"/>
                  <a:pt x="133" y="4"/>
                  <a:pt x="131" y="4"/>
                </a:cubicBezTo>
                <a:cubicBezTo>
                  <a:pt x="130" y="3"/>
                  <a:pt x="128" y="2"/>
                  <a:pt x="127" y="3"/>
                </a:cubicBezTo>
                <a:cubicBezTo>
                  <a:pt x="125" y="3"/>
                  <a:pt x="124" y="4"/>
                  <a:pt x="122" y="4"/>
                </a:cubicBezTo>
                <a:cubicBezTo>
                  <a:pt x="119" y="5"/>
                  <a:pt x="116" y="6"/>
                  <a:pt x="113" y="7"/>
                </a:cubicBezTo>
                <a:cubicBezTo>
                  <a:pt x="112" y="7"/>
                  <a:pt x="111" y="8"/>
                  <a:pt x="111" y="9"/>
                </a:cubicBezTo>
                <a:cubicBezTo>
                  <a:pt x="110" y="10"/>
                  <a:pt x="109" y="11"/>
                  <a:pt x="108" y="12"/>
                </a:cubicBezTo>
                <a:cubicBezTo>
                  <a:pt x="106" y="14"/>
                  <a:pt x="106" y="17"/>
                  <a:pt x="107" y="20"/>
                </a:cubicBezTo>
                <a:cubicBezTo>
                  <a:pt x="108" y="20"/>
                  <a:pt x="108" y="20"/>
                  <a:pt x="108" y="21"/>
                </a:cubicBezTo>
                <a:cubicBezTo>
                  <a:pt x="109" y="23"/>
                  <a:pt x="108" y="25"/>
                  <a:pt x="107" y="27"/>
                </a:cubicBezTo>
                <a:cubicBezTo>
                  <a:pt x="105" y="29"/>
                  <a:pt x="103" y="31"/>
                  <a:pt x="101" y="32"/>
                </a:cubicBezTo>
                <a:cubicBezTo>
                  <a:pt x="100" y="33"/>
                  <a:pt x="98" y="33"/>
                  <a:pt x="97" y="33"/>
                </a:cubicBezTo>
                <a:cubicBezTo>
                  <a:pt x="96" y="32"/>
                  <a:pt x="96" y="32"/>
                  <a:pt x="95" y="31"/>
                </a:cubicBezTo>
                <a:cubicBezTo>
                  <a:pt x="92" y="30"/>
                  <a:pt x="89" y="28"/>
                  <a:pt x="86" y="26"/>
                </a:cubicBezTo>
                <a:cubicBezTo>
                  <a:pt x="83" y="24"/>
                  <a:pt x="78" y="23"/>
                  <a:pt x="74" y="22"/>
                </a:cubicBezTo>
                <a:cubicBezTo>
                  <a:pt x="72" y="21"/>
                  <a:pt x="69" y="22"/>
                  <a:pt x="66" y="21"/>
                </a:cubicBezTo>
                <a:cubicBezTo>
                  <a:pt x="64" y="20"/>
                  <a:pt x="62" y="19"/>
                  <a:pt x="61" y="17"/>
                </a:cubicBezTo>
                <a:cubicBezTo>
                  <a:pt x="61" y="16"/>
                  <a:pt x="60" y="15"/>
                  <a:pt x="60" y="14"/>
                </a:cubicBezTo>
                <a:cubicBezTo>
                  <a:pt x="59" y="12"/>
                  <a:pt x="59" y="9"/>
                  <a:pt x="57" y="8"/>
                </a:cubicBezTo>
                <a:cubicBezTo>
                  <a:pt x="57" y="8"/>
                  <a:pt x="56" y="8"/>
                  <a:pt x="55" y="8"/>
                </a:cubicBezTo>
                <a:cubicBezTo>
                  <a:pt x="52" y="8"/>
                  <a:pt x="49" y="6"/>
                  <a:pt x="46" y="5"/>
                </a:cubicBezTo>
                <a:cubicBezTo>
                  <a:pt x="44" y="4"/>
                  <a:pt x="40" y="4"/>
                  <a:pt x="37" y="4"/>
                </a:cubicBezTo>
                <a:cubicBezTo>
                  <a:pt x="35" y="3"/>
                  <a:pt x="32" y="4"/>
                  <a:pt x="30" y="4"/>
                </a:cubicBezTo>
                <a:cubicBezTo>
                  <a:pt x="27" y="2"/>
                  <a:pt x="25" y="1"/>
                  <a:pt x="22" y="0"/>
                </a:cubicBezTo>
                <a:cubicBezTo>
                  <a:pt x="22" y="0"/>
                  <a:pt x="22" y="1"/>
                  <a:pt x="22"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2" name="Freeform 3029">
            <a:extLst>
              <a:ext uri="{FF2B5EF4-FFF2-40B4-BE49-F238E27FC236}">
                <a16:creationId xmlns:a16="http://schemas.microsoft.com/office/drawing/2014/main" id="{D5B24CC5-53BD-47C9-A745-4B9B24A7A6FD}"/>
              </a:ext>
            </a:extLst>
          </p:cNvPr>
          <p:cNvSpPr>
            <a:spLocks/>
          </p:cNvSpPr>
          <p:nvPr/>
        </p:nvSpPr>
        <p:spPr bwMode="auto">
          <a:xfrm>
            <a:off x="3432168" y="3197044"/>
            <a:ext cx="44105" cy="112189"/>
          </a:xfrm>
          <a:custGeom>
            <a:avLst/>
            <a:gdLst>
              <a:gd name="T0" fmla="*/ 11 w 38"/>
              <a:gd name="T1" fmla="*/ 6 h 80"/>
              <a:gd name="T2" fmla="*/ 8 w 38"/>
              <a:gd name="T3" fmla="*/ 14 h 80"/>
              <a:gd name="T4" fmla="*/ 8 w 38"/>
              <a:gd name="T5" fmla="*/ 20 h 80"/>
              <a:gd name="T6" fmla="*/ 9 w 38"/>
              <a:gd name="T7" fmla="*/ 22 h 80"/>
              <a:gd name="T8" fmla="*/ 9 w 38"/>
              <a:gd name="T9" fmla="*/ 23 h 80"/>
              <a:gd name="T10" fmla="*/ 7 w 38"/>
              <a:gd name="T11" fmla="*/ 32 h 80"/>
              <a:gd name="T12" fmla="*/ 1 w 38"/>
              <a:gd name="T13" fmla="*/ 38 h 80"/>
              <a:gd name="T14" fmla="*/ 0 w 38"/>
              <a:gd name="T15" fmla="*/ 40 h 80"/>
              <a:gd name="T16" fmla="*/ 4 w 38"/>
              <a:gd name="T17" fmla="*/ 48 h 80"/>
              <a:gd name="T18" fmla="*/ 7 w 38"/>
              <a:gd name="T19" fmla="*/ 51 h 80"/>
              <a:gd name="T20" fmla="*/ 7 w 38"/>
              <a:gd name="T21" fmla="*/ 52 h 80"/>
              <a:gd name="T22" fmla="*/ 8 w 38"/>
              <a:gd name="T23" fmla="*/ 54 h 80"/>
              <a:gd name="T24" fmla="*/ 9 w 38"/>
              <a:gd name="T25" fmla="*/ 56 h 80"/>
              <a:gd name="T26" fmla="*/ 12 w 38"/>
              <a:gd name="T27" fmla="*/ 59 h 80"/>
              <a:gd name="T28" fmla="*/ 15 w 38"/>
              <a:gd name="T29" fmla="*/ 60 h 80"/>
              <a:gd name="T30" fmla="*/ 20 w 38"/>
              <a:gd name="T31" fmla="*/ 79 h 80"/>
              <a:gd name="T32" fmla="*/ 21 w 38"/>
              <a:gd name="T33" fmla="*/ 80 h 80"/>
              <a:gd name="T34" fmla="*/ 23 w 38"/>
              <a:gd name="T35" fmla="*/ 78 h 80"/>
              <a:gd name="T36" fmla="*/ 24 w 38"/>
              <a:gd name="T37" fmla="*/ 77 h 80"/>
              <a:gd name="T38" fmla="*/ 25 w 38"/>
              <a:gd name="T39" fmla="*/ 74 h 80"/>
              <a:gd name="T40" fmla="*/ 25 w 38"/>
              <a:gd name="T41" fmla="*/ 73 h 80"/>
              <a:gd name="T42" fmla="*/ 26 w 38"/>
              <a:gd name="T43" fmla="*/ 64 h 80"/>
              <a:gd name="T44" fmla="*/ 29 w 38"/>
              <a:gd name="T45" fmla="*/ 63 h 80"/>
              <a:gd name="T46" fmla="*/ 31 w 38"/>
              <a:gd name="T47" fmla="*/ 61 h 80"/>
              <a:gd name="T48" fmla="*/ 32 w 38"/>
              <a:gd name="T49" fmla="*/ 60 h 80"/>
              <a:gd name="T50" fmla="*/ 33 w 38"/>
              <a:gd name="T51" fmla="*/ 59 h 80"/>
              <a:gd name="T52" fmla="*/ 35 w 38"/>
              <a:gd name="T53" fmla="*/ 58 h 80"/>
              <a:gd name="T54" fmla="*/ 38 w 38"/>
              <a:gd name="T55" fmla="*/ 57 h 80"/>
              <a:gd name="T56" fmla="*/ 38 w 38"/>
              <a:gd name="T57" fmla="*/ 50 h 80"/>
              <a:gd name="T58" fmla="*/ 38 w 38"/>
              <a:gd name="T59" fmla="*/ 49 h 80"/>
              <a:gd name="T60" fmla="*/ 38 w 38"/>
              <a:gd name="T61" fmla="*/ 49 h 80"/>
              <a:gd name="T62" fmla="*/ 34 w 38"/>
              <a:gd name="T63" fmla="*/ 43 h 80"/>
              <a:gd name="T64" fmla="*/ 31 w 38"/>
              <a:gd name="T65" fmla="*/ 45 h 80"/>
              <a:gd name="T66" fmla="*/ 30 w 38"/>
              <a:gd name="T67" fmla="*/ 43 h 80"/>
              <a:gd name="T68" fmla="*/ 24 w 38"/>
              <a:gd name="T69" fmla="*/ 37 h 80"/>
              <a:gd name="T70" fmla="*/ 34 w 38"/>
              <a:gd name="T71" fmla="*/ 27 h 80"/>
              <a:gd name="T72" fmla="*/ 34 w 38"/>
              <a:gd name="T73" fmla="*/ 21 h 80"/>
              <a:gd name="T74" fmla="*/ 29 w 38"/>
              <a:gd name="T75" fmla="*/ 12 h 80"/>
              <a:gd name="T76" fmla="*/ 35 w 38"/>
              <a:gd name="T77" fmla="*/ 7 h 80"/>
              <a:gd name="T78" fmla="*/ 31 w 38"/>
              <a:gd name="T79" fmla="*/ 6 h 80"/>
              <a:gd name="T80" fmla="*/ 29 w 38"/>
              <a:gd name="T81" fmla="*/ 7 h 80"/>
              <a:gd name="T82" fmla="*/ 27 w 38"/>
              <a:gd name="T83" fmla="*/ 4 h 80"/>
              <a:gd name="T84" fmla="*/ 22 w 38"/>
              <a:gd name="T85" fmla="*/ 3 h 80"/>
              <a:gd name="T86" fmla="*/ 15 w 38"/>
              <a:gd name="T87" fmla="*/ 3 h 80"/>
              <a:gd name="T88" fmla="*/ 11 w 38"/>
              <a:gd name="T89" fmla="*/ 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 h="80">
                <a:moveTo>
                  <a:pt x="11" y="5"/>
                </a:moveTo>
                <a:cubicBezTo>
                  <a:pt x="11" y="6"/>
                  <a:pt x="11" y="6"/>
                  <a:pt x="11" y="6"/>
                </a:cubicBezTo>
                <a:cubicBezTo>
                  <a:pt x="7" y="10"/>
                  <a:pt x="7" y="10"/>
                  <a:pt x="7" y="10"/>
                </a:cubicBezTo>
                <a:cubicBezTo>
                  <a:pt x="8" y="11"/>
                  <a:pt x="9" y="12"/>
                  <a:pt x="8" y="14"/>
                </a:cubicBezTo>
                <a:cubicBezTo>
                  <a:pt x="8" y="16"/>
                  <a:pt x="8" y="16"/>
                  <a:pt x="8" y="16"/>
                </a:cubicBezTo>
                <a:cubicBezTo>
                  <a:pt x="8" y="17"/>
                  <a:pt x="8" y="19"/>
                  <a:pt x="8" y="20"/>
                </a:cubicBezTo>
                <a:cubicBezTo>
                  <a:pt x="8" y="20"/>
                  <a:pt x="8" y="21"/>
                  <a:pt x="9" y="21"/>
                </a:cubicBezTo>
                <a:cubicBezTo>
                  <a:pt x="9" y="22"/>
                  <a:pt x="9" y="22"/>
                  <a:pt x="9" y="22"/>
                </a:cubicBezTo>
                <a:cubicBezTo>
                  <a:pt x="9" y="23"/>
                  <a:pt x="9" y="23"/>
                  <a:pt x="9" y="23"/>
                </a:cubicBezTo>
                <a:cubicBezTo>
                  <a:pt x="9" y="23"/>
                  <a:pt x="9" y="23"/>
                  <a:pt x="9" y="23"/>
                </a:cubicBezTo>
                <a:cubicBezTo>
                  <a:pt x="9" y="24"/>
                  <a:pt x="9" y="25"/>
                  <a:pt x="9" y="26"/>
                </a:cubicBezTo>
                <a:cubicBezTo>
                  <a:pt x="9" y="28"/>
                  <a:pt x="8" y="30"/>
                  <a:pt x="7" y="32"/>
                </a:cubicBezTo>
                <a:cubicBezTo>
                  <a:pt x="6" y="33"/>
                  <a:pt x="5" y="35"/>
                  <a:pt x="3" y="36"/>
                </a:cubicBezTo>
                <a:cubicBezTo>
                  <a:pt x="2" y="37"/>
                  <a:pt x="1" y="37"/>
                  <a:pt x="1" y="38"/>
                </a:cubicBezTo>
                <a:cubicBezTo>
                  <a:pt x="0" y="39"/>
                  <a:pt x="0" y="39"/>
                  <a:pt x="0" y="39"/>
                </a:cubicBezTo>
                <a:cubicBezTo>
                  <a:pt x="0" y="39"/>
                  <a:pt x="0" y="39"/>
                  <a:pt x="0" y="40"/>
                </a:cubicBezTo>
                <a:cubicBezTo>
                  <a:pt x="0" y="42"/>
                  <a:pt x="1" y="43"/>
                  <a:pt x="2" y="45"/>
                </a:cubicBezTo>
                <a:cubicBezTo>
                  <a:pt x="2" y="46"/>
                  <a:pt x="3" y="47"/>
                  <a:pt x="4" y="48"/>
                </a:cubicBezTo>
                <a:cubicBezTo>
                  <a:pt x="5" y="49"/>
                  <a:pt x="6" y="49"/>
                  <a:pt x="7" y="50"/>
                </a:cubicBezTo>
                <a:cubicBezTo>
                  <a:pt x="7" y="50"/>
                  <a:pt x="7" y="51"/>
                  <a:pt x="7" y="51"/>
                </a:cubicBezTo>
                <a:cubicBezTo>
                  <a:pt x="7" y="51"/>
                  <a:pt x="7" y="51"/>
                  <a:pt x="7" y="51"/>
                </a:cubicBezTo>
                <a:cubicBezTo>
                  <a:pt x="7" y="52"/>
                  <a:pt x="7" y="52"/>
                  <a:pt x="7" y="52"/>
                </a:cubicBezTo>
                <a:cubicBezTo>
                  <a:pt x="8" y="52"/>
                  <a:pt x="8" y="53"/>
                  <a:pt x="8" y="54"/>
                </a:cubicBezTo>
                <a:cubicBezTo>
                  <a:pt x="8" y="54"/>
                  <a:pt x="8" y="54"/>
                  <a:pt x="8" y="54"/>
                </a:cubicBezTo>
                <a:cubicBezTo>
                  <a:pt x="8" y="54"/>
                  <a:pt x="8" y="55"/>
                  <a:pt x="8" y="55"/>
                </a:cubicBezTo>
                <a:cubicBezTo>
                  <a:pt x="9" y="56"/>
                  <a:pt x="9" y="56"/>
                  <a:pt x="9" y="56"/>
                </a:cubicBezTo>
                <a:cubicBezTo>
                  <a:pt x="9" y="56"/>
                  <a:pt x="9" y="56"/>
                  <a:pt x="9" y="56"/>
                </a:cubicBezTo>
                <a:cubicBezTo>
                  <a:pt x="12" y="59"/>
                  <a:pt x="12" y="59"/>
                  <a:pt x="12" y="59"/>
                </a:cubicBezTo>
                <a:cubicBezTo>
                  <a:pt x="13" y="59"/>
                  <a:pt x="13" y="59"/>
                  <a:pt x="13" y="59"/>
                </a:cubicBezTo>
                <a:cubicBezTo>
                  <a:pt x="14" y="60"/>
                  <a:pt x="14" y="60"/>
                  <a:pt x="15" y="60"/>
                </a:cubicBezTo>
                <a:cubicBezTo>
                  <a:pt x="16" y="61"/>
                  <a:pt x="16" y="62"/>
                  <a:pt x="16" y="62"/>
                </a:cubicBezTo>
                <a:cubicBezTo>
                  <a:pt x="20" y="79"/>
                  <a:pt x="20" y="79"/>
                  <a:pt x="20" y="79"/>
                </a:cubicBezTo>
                <a:cubicBezTo>
                  <a:pt x="22" y="76"/>
                  <a:pt x="22" y="76"/>
                  <a:pt x="22" y="76"/>
                </a:cubicBezTo>
                <a:cubicBezTo>
                  <a:pt x="21" y="80"/>
                  <a:pt x="21" y="80"/>
                  <a:pt x="21" y="80"/>
                </a:cubicBezTo>
                <a:cubicBezTo>
                  <a:pt x="22" y="80"/>
                  <a:pt x="22" y="80"/>
                  <a:pt x="23" y="79"/>
                </a:cubicBezTo>
                <a:cubicBezTo>
                  <a:pt x="23" y="79"/>
                  <a:pt x="23" y="78"/>
                  <a:pt x="23" y="78"/>
                </a:cubicBezTo>
                <a:cubicBezTo>
                  <a:pt x="23" y="78"/>
                  <a:pt x="23" y="78"/>
                  <a:pt x="23" y="78"/>
                </a:cubicBezTo>
                <a:cubicBezTo>
                  <a:pt x="24" y="78"/>
                  <a:pt x="24" y="77"/>
                  <a:pt x="24" y="77"/>
                </a:cubicBezTo>
                <a:cubicBezTo>
                  <a:pt x="24" y="77"/>
                  <a:pt x="24" y="77"/>
                  <a:pt x="24" y="77"/>
                </a:cubicBezTo>
                <a:cubicBezTo>
                  <a:pt x="25" y="75"/>
                  <a:pt x="26" y="75"/>
                  <a:pt x="25" y="74"/>
                </a:cubicBezTo>
                <a:cubicBezTo>
                  <a:pt x="25" y="73"/>
                  <a:pt x="25" y="73"/>
                  <a:pt x="25" y="73"/>
                </a:cubicBezTo>
                <a:cubicBezTo>
                  <a:pt x="25" y="73"/>
                  <a:pt x="25" y="73"/>
                  <a:pt x="25" y="73"/>
                </a:cubicBezTo>
                <a:cubicBezTo>
                  <a:pt x="25" y="72"/>
                  <a:pt x="25" y="71"/>
                  <a:pt x="25" y="70"/>
                </a:cubicBezTo>
                <a:cubicBezTo>
                  <a:pt x="25" y="70"/>
                  <a:pt x="25" y="66"/>
                  <a:pt x="26" y="64"/>
                </a:cubicBezTo>
                <a:cubicBezTo>
                  <a:pt x="27" y="64"/>
                  <a:pt x="27" y="64"/>
                  <a:pt x="28" y="64"/>
                </a:cubicBezTo>
                <a:cubicBezTo>
                  <a:pt x="28" y="64"/>
                  <a:pt x="28" y="63"/>
                  <a:pt x="29" y="63"/>
                </a:cubicBezTo>
                <a:cubicBezTo>
                  <a:pt x="29" y="62"/>
                  <a:pt x="29" y="62"/>
                  <a:pt x="30" y="61"/>
                </a:cubicBezTo>
                <a:cubicBezTo>
                  <a:pt x="30" y="61"/>
                  <a:pt x="31" y="61"/>
                  <a:pt x="31" y="61"/>
                </a:cubicBezTo>
                <a:cubicBezTo>
                  <a:pt x="31" y="61"/>
                  <a:pt x="31" y="61"/>
                  <a:pt x="32" y="60"/>
                </a:cubicBezTo>
                <a:cubicBezTo>
                  <a:pt x="32" y="60"/>
                  <a:pt x="32" y="60"/>
                  <a:pt x="32" y="60"/>
                </a:cubicBezTo>
                <a:cubicBezTo>
                  <a:pt x="32" y="60"/>
                  <a:pt x="32" y="60"/>
                  <a:pt x="32" y="60"/>
                </a:cubicBezTo>
                <a:cubicBezTo>
                  <a:pt x="32" y="60"/>
                  <a:pt x="33" y="60"/>
                  <a:pt x="33" y="59"/>
                </a:cubicBezTo>
                <a:cubicBezTo>
                  <a:pt x="33" y="59"/>
                  <a:pt x="33" y="59"/>
                  <a:pt x="33" y="59"/>
                </a:cubicBezTo>
                <a:cubicBezTo>
                  <a:pt x="34" y="59"/>
                  <a:pt x="34" y="58"/>
                  <a:pt x="35" y="58"/>
                </a:cubicBezTo>
                <a:cubicBezTo>
                  <a:pt x="36" y="58"/>
                  <a:pt x="36" y="58"/>
                  <a:pt x="36" y="58"/>
                </a:cubicBezTo>
                <a:cubicBezTo>
                  <a:pt x="37" y="58"/>
                  <a:pt x="37" y="57"/>
                  <a:pt x="38" y="57"/>
                </a:cubicBezTo>
                <a:cubicBezTo>
                  <a:pt x="38" y="57"/>
                  <a:pt x="38" y="57"/>
                  <a:pt x="38" y="57"/>
                </a:cubicBezTo>
                <a:cubicBezTo>
                  <a:pt x="38" y="50"/>
                  <a:pt x="38" y="50"/>
                  <a:pt x="38" y="50"/>
                </a:cubicBezTo>
                <a:cubicBezTo>
                  <a:pt x="38" y="50"/>
                  <a:pt x="38" y="49"/>
                  <a:pt x="38" y="49"/>
                </a:cubicBezTo>
                <a:cubicBezTo>
                  <a:pt x="38" y="49"/>
                  <a:pt x="38" y="49"/>
                  <a:pt x="38" y="49"/>
                </a:cubicBezTo>
                <a:cubicBezTo>
                  <a:pt x="38" y="49"/>
                  <a:pt x="38" y="49"/>
                  <a:pt x="38" y="49"/>
                </a:cubicBezTo>
                <a:cubicBezTo>
                  <a:pt x="38" y="49"/>
                  <a:pt x="38" y="49"/>
                  <a:pt x="38" y="49"/>
                </a:cubicBezTo>
                <a:cubicBezTo>
                  <a:pt x="38" y="48"/>
                  <a:pt x="34" y="48"/>
                  <a:pt x="36" y="47"/>
                </a:cubicBezTo>
                <a:cubicBezTo>
                  <a:pt x="35" y="46"/>
                  <a:pt x="35" y="44"/>
                  <a:pt x="34" y="43"/>
                </a:cubicBezTo>
                <a:cubicBezTo>
                  <a:pt x="33" y="43"/>
                  <a:pt x="34" y="44"/>
                  <a:pt x="34" y="44"/>
                </a:cubicBezTo>
                <a:cubicBezTo>
                  <a:pt x="33" y="45"/>
                  <a:pt x="32" y="45"/>
                  <a:pt x="31" y="45"/>
                </a:cubicBezTo>
                <a:cubicBezTo>
                  <a:pt x="31" y="44"/>
                  <a:pt x="32" y="43"/>
                  <a:pt x="31" y="43"/>
                </a:cubicBezTo>
                <a:cubicBezTo>
                  <a:pt x="31" y="43"/>
                  <a:pt x="30" y="43"/>
                  <a:pt x="30" y="43"/>
                </a:cubicBezTo>
                <a:cubicBezTo>
                  <a:pt x="28" y="43"/>
                  <a:pt x="28" y="43"/>
                  <a:pt x="26" y="42"/>
                </a:cubicBezTo>
                <a:cubicBezTo>
                  <a:pt x="25" y="41"/>
                  <a:pt x="25" y="39"/>
                  <a:pt x="24" y="37"/>
                </a:cubicBezTo>
                <a:cubicBezTo>
                  <a:pt x="24" y="37"/>
                  <a:pt x="30" y="33"/>
                  <a:pt x="31" y="32"/>
                </a:cubicBezTo>
                <a:cubicBezTo>
                  <a:pt x="32" y="31"/>
                  <a:pt x="33" y="29"/>
                  <a:pt x="34" y="27"/>
                </a:cubicBezTo>
                <a:cubicBezTo>
                  <a:pt x="35" y="26"/>
                  <a:pt x="36" y="25"/>
                  <a:pt x="35" y="24"/>
                </a:cubicBezTo>
                <a:cubicBezTo>
                  <a:pt x="35" y="23"/>
                  <a:pt x="35" y="22"/>
                  <a:pt x="34" y="21"/>
                </a:cubicBezTo>
                <a:cubicBezTo>
                  <a:pt x="32" y="20"/>
                  <a:pt x="29" y="18"/>
                  <a:pt x="29" y="15"/>
                </a:cubicBezTo>
                <a:cubicBezTo>
                  <a:pt x="29" y="14"/>
                  <a:pt x="29" y="12"/>
                  <a:pt x="29" y="12"/>
                </a:cubicBezTo>
                <a:cubicBezTo>
                  <a:pt x="30" y="11"/>
                  <a:pt x="32" y="11"/>
                  <a:pt x="33" y="10"/>
                </a:cubicBezTo>
                <a:cubicBezTo>
                  <a:pt x="33" y="9"/>
                  <a:pt x="34" y="8"/>
                  <a:pt x="35" y="7"/>
                </a:cubicBezTo>
                <a:cubicBezTo>
                  <a:pt x="36" y="6"/>
                  <a:pt x="35" y="2"/>
                  <a:pt x="33" y="4"/>
                </a:cubicBezTo>
                <a:cubicBezTo>
                  <a:pt x="33" y="4"/>
                  <a:pt x="32" y="5"/>
                  <a:pt x="31" y="6"/>
                </a:cubicBezTo>
                <a:cubicBezTo>
                  <a:pt x="31" y="6"/>
                  <a:pt x="30" y="6"/>
                  <a:pt x="30" y="6"/>
                </a:cubicBezTo>
                <a:cubicBezTo>
                  <a:pt x="30" y="6"/>
                  <a:pt x="30" y="7"/>
                  <a:pt x="29" y="7"/>
                </a:cubicBezTo>
                <a:cubicBezTo>
                  <a:pt x="28" y="8"/>
                  <a:pt x="28" y="7"/>
                  <a:pt x="27" y="7"/>
                </a:cubicBezTo>
                <a:cubicBezTo>
                  <a:pt x="28" y="5"/>
                  <a:pt x="27" y="5"/>
                  <a:pt x="27" y="4"/>
                </a:cubicBezTo>
                <a:cubicBezTo>
                  <a:pt x="26" y="3"/>
                  <a:pt x="26" y="2"/>
                  <a:pt x="25" y="2"/>
                </a:cubicBezTo>
                <a:cubicBezTo>
                  <a:pt x="23" y="1"/>
                  <a:pt x="23" y="2"/>
                  <a:pt x="22" y="3"/>
                </a:cubicBezTo>
                <a:cubicBezTo>
                  <a:pt x="21" y="1"/>
                  <a:pt x="22" y="0"/>
                  <a:pt x="20" y="1"/>
                </a:cubicBezTo>
                <a:cubicBezTo>
                  <a:pt x="18" y="1"/>
                  <a:pt x="16" y="2"/>
                  <a:pt x="15" y="3"/>
                </a:cubicBezTo>
                <a:cubicBezTo>
                  <a:pt x="14" y="3"/>
                  <a:pt x="13" y="4"/>
                  <a:pt x="12" y="4"/>
                </a:cubicBezTo>
                <a:cubicBezTo>
                  <a:pt x="12" y="4"/>
                  <a:pt x="12" y="5"/>
                  <a:pt x="11" y="5"/>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3" name="Freeform 3030">
            <a:extLst>
              <a:ext uri="{FF2B5EF4-FFF2-40B4-BE49-F238E27FC236}">
                <a16:creationId xmlns:a16="http://schemas.microsoft.com/office/drawing/2014/main" id="{CA441E16-6D92-4326-8D32-02A209D5B790}"/>
              </a:ext>
            </a:extLst>
          </p:cNvPr>
          <p:cNvSpPr>
            <a:spLocks/>
          </p:cNvSpPr>
          <p:nvPr/>
        </p:nvSpPr>
        <p:spPr bwMode="auto">
          <a:xfrm>
            <a:off x="3503529" y="3419048"/>
            <a:ext cx="122899" cy="230315"/>
          </a:xfrm>
          <a:custGeom>
            <a:avLst/>
            <a:gdLst>
              <a:gd name="T0" fmla="*/ 25 w 105"/>
              <a:gd name="T1" fmla="*/ 0 h 164"/>
              <a:gd name="T2" fmla="*/ 16 w 105"/>
              <a:gd name="T3" fmla="*/ 4 h 164"/>
              <a:gd name="T4" fmla="*/ 17 w 105"/>
              <a:gd name="T5" fmla="*/ 14 h 164"/>
              <a:gd name="T6" fmla="*/ 19 w 105"/>
              <a:gd name="T7" fmla="*/ 20 h 164"/>
              <a:gd name="T8" fmla="*/ 21 w 105"/>
              <a:gd name="T9" fmla="*/ 24 h 164"/>
              <a:gd name="T10" fmla="*/ 21 w 105"/>
              <a:gd name="T11" fmla="*/ 27 h 164"/>
              <a:gd name="T12" fmla="*/ 23 w 105"/>
              <a:gd name="T13" fmla="*/ 28 h 164"/>
              <a:gd name="T14" fmla="*/ 24 w 105"/>
              <a:gd name="T15" fmla="*/ 34 h 164"/>
              <a:gd name="T16" fmla="*/ 22 w 105"/>
              <a:gd name="T17" fmla="*/ 41 h 164"/>
              <a:gd name="T18" fmla="*/ 20 w 105"/>
              <a:gd name="T19" fmla="*/ 66 h 164"/>
              <a:gd name="T20" fmla="*/ 19 w 105"/>
              <a:gd name="T21" fmla="*/ 70 h 164"/>
              <a:gd name="T22" fmla="*/ 6 w 105"/>
              <a:gd name="T23" fmla="*/ 85 h 164"/>
              <a:gd name="T24" fmla="*/ 2 w 105"/>
              <a:gd name="T25" fmla="*/ 101 h 164"/>
              <a:gd name="T26" fmla="*/ 5 w 105"/>
              <a:gd name="T27" fmla="*/ 107 h 164"/>
              <a:gd name="T28" fmla="*/ 11 w 105"/>
              <a:gd name="T29" fmla="*/ 111 h 164"/>
              <a:gd name="T30" fmla="*/ 16 w 105"/>
              <a:gd name="T31" fmla="*/ 119 h 164"/>
              <a:gd name="T32" fmla="*/ 17 w 105"/>
              <a:gd name="T33" fmla="*/ 123 h 164"/>
              <a:gd name="T34" fmla="*/ 16 w 105"/>
              <a:gd name="T35" fmla="*/ 126 h 164"/>
              <a:gd name="T36" fmla="*/ 16 w 105"/>
              <a:gd name="T37" fmla="*/ 129 h 164"/>
              <a:gd name="T38" fmla="*/ 21 w 105"/>
              <a:gd name="T39" fmla="*/ 138 h 164"/>
              <a:gd name="T40" fmla="*/ 17 w 105"/>
              <a:gd name="T41" fmla="*/ 141 h 164"/>
              <a:gd name="T42" fmla="*/ 11 w 105"/>
              <a:gd name="T43" fmla="*/ 142 h 164"/>
              <a:gd name="T44" fmla="*/ 7 w 105"/>
              <a:gd name="T45" fmla="*/ 141 h 164"/>
              <a:gd name="T46" fmla="*/ 5 w 105"/>
              <a:gd name="T47" fmla="*/ 143 h 164"/>
              <a:gd name="T48" fmla="*/ 7 w 105"/>
              <a:gd name="T49" fmla="*/ 145 h 164"/>
              <a:gd name="T50" fmla="*/ 16 w 105"/>
              <a:gd name="T51" fmla="*/ 154 h 164"/>
              <a:gd name="T52" fmla="*/ 20 w 105"/>
              <a:gd name="T53" fmla="*/ 160 h 164"/>
              <a:gd name="T54" fmla="*/ 21 w 105"/>
              <a:gd name="T55" fmla="*/ 164 h 164"/>
              <a:gd name="T56" fmla="*/ 26 w 105"/>
              <a:gd name="T57" fmla="*/ 163 h 164"/>
              <a:gd name="T58" fmla="*/ 29 w 105"/>
              <a:gd name="T59" fmla="*/ 161 h 164"/>
              <a:gd name="T60" fmla="*/ 32 w 105"/>
              <a:gd name="T61" fmla="*/ 162 h 164"/>
              <a:gd name="T62" fmla="*/ 34 w 105"/>
              <a:gd name="T63" fmla="*/ 163 h 164"/>
              <a:gd name="T64" fmla="*/ 36 w 105"/>
              <a:gd name="T65" fmla="*/ 162 h 164"/>
              <a:gd name="T66" fmla="*/ 41 w 105"/>
              <a:gd name="T67" fmla="*/ 160 h 164"/>
              <a:gd name="T68" fmla="*/ 47 w 105"/>
              <a:gd name="T69" fmla="*/ 159 h 164"/>
              <a:gd name="T70" fmla="*/ 50 w 105"/>
              <a:gd name="T71" fmla="*/ 159 h 164"/>
              <a:gd name="T72" fmla="*/ 51 w 105"/>
              <a:gd name="T73" fmla="*/ 158 h 164"/>
              <a:gd name="T74" fmla="*/ 54 w 105"/>
              <a:gd name="T75" fmla="*/ 154 h 164"/>
              <a:gd name="T76" fmla="*/ 55 w 105"/>
              <a:gd name="T77" fmla="*/ 149 h 164"/>
              <a:gd name="T78" fmla="*/ 64 w 105"/>
              <a:gd name="T79" fmla="*/ 148 h 164"/>
              <a:gd name="T80" fmla="*/ 81 w 105"/>
              <a:gd name="T81" fmla="*/ 135 h 164"/>
              <a:gd name="T82" fmla="*/ 89 w 105"/>
              <a:gd name="T83" fmla="*/ 129 h 164"/>
              <a:gd name="T84" fmla="*/ 94 w 105"/>
              <a:gd name="T85" fmla="*/ 129 h 164"/>
              <a:gd name="T86" fmla="*/ 94 w 105"/>
              <a:gd name="T87" fmla="*/ 127 h 164"/>
              <a:gd name="T88" fmla="*/ 90 w 105"/>
              <a:gd name="T89" fmla="*/ 121 h 164"/>
              <a:gd name="T90" fmla="*/ 88 w 105"/>
              <a:gd name="T91" fmla="*/ 113 h 164"/>
              <a:gd name="T92" fmla="*/ 85 w 105"/>
              <a:gd name="T93" fmla="*/ 114 h 164"/>
              <a:gd name="T94" fmla="*/ 83 w 105"/>
              <a:gd name="T95" fmla="*/ 109 h 164"/>
              <a:gd name="T96" fmla="*/ 87 w 105"/>
              <a:gd name="T97" fmla="*/ 105 h 164"/>
              <a:gd name="T98" fmla="*/ 88 w 105"/>
              <a:gd name="T99" fmla="*/ 97 h 164"/>
              <a:gd name="T100" fmla="*/ 89 w 105"/>
              <a:gd name="T101" fmla="*/ 94 h 164"/>
              <a:gd name="T102" fmla="*/ 91 w 105"/>
              <a:gd name="T103" fmla="*/ 91 h 164"/>
              <a:gd name="T104" fmla="*/ 92 w 105"/>
              <a:gd name="T105" fmla="*/ 89 h 164"/>
              <a:gd name="T106" fmla="*/ 94 w 105"/>
              <a:gd name="T107" fmla="*/ 82 h 164"/>
              <a:gd name="T108" fmla="*/ 70 w 105"/>
              <a:gd name="T109" fmla="*/ 23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 h="164">
                <a:moveTo>
                  <a:pt x="43" y="9"/>
                </a:moveTo>
                <a:cubicBezTo>
                  <a:pt x="39" y="7"/>
                  <a:pt x="39" y="7"/>
                  <a:pt x="39" y="7"/>
                </a:cubicBezTo>
                <a:cubicBezTo>
                  <a:pt x="35" y="5"/>
                  <a:pt x="32" y="4"/>
                  <a:pt x="29" y="2"/>
                </a:cubicBezTo>
                <a:cubicBezTo>
                  <a:pt x="25" y="0"/>
                  <a:pt x="25" y="0"/>
                  <a:pt x="25" y="0"/>
                </a:cubicBezTo>
                <a:cubicBezTo>
                  <a:pt x="25" y="0"/>
                  <a:pt x="25" y="0"/>
                  <a:pt x="24" y="0"/>
                </a:cubicBezTo>
                <a:cubicBezTo>
                  <a:pt x="24" y="0"/>
                  <a:pt x="24" y="0"/>
                  <a:pt x="24" y="0"/>
                </a:cubicBezTo>
                <a:cubicBezTo>
                  <a:pt x="24" y="0"/>
                  <a:pt x="24" y="0"/>
                  <a:pt x="24" y="0"/>
                </a:cubicBezTo>
                <a:cubicBezTo>
                  <a:pt x="16" y="4"/>
                  <a:pt x="16" y="4"/>
                  <a:pt x="16" y="4"/>
                </a:cubicBezTo>
                <a:cubicBezTo>
                  <a:pt x="16" y="6"/>
                  <a:pt x="16" y="6"/>
                  <a:pt x="16" y="6"/>
                </a:cubicBezTo>
                <a:cubicBezTo>
                  <a:pt x="16" y="8"/>
                  <a:pt x="17" y="10"/>
                  <a:pt x="17" y="12"/>
                </a:cubicBezTo>
                <a:cubicBezTo>
                  <a:pt x="17" y="12"/>
                  <a:pt x="17" y="13"/>
                  <a:pt x="17" y="14"/>
                </a:cubicBezTo>
                <a:cubicBezTo>
                  <a:pt x="17" y="14"/>
                  <a:pt x="17" y="14"/>
                  <a:pt x="17" y="14"/>
                </a:cubicBezTo>
                <a:cubicBezTo>
                  <a:pt x="17" y="15"/>
                  <a:pt x="17" y="15"/>
                  <a:pt x="17" y="15"/>
                </a:cubicBezTo>
                <a:cubicBezTo>
                  <a:pt x="17" y="16"/>
                  <a:pt x="17" y="16"/>
                  <a:pt x="17" y="16"/>
                </a:cubicBezTo>
                <a:cubicBezTo>
                  <a:pt x="17" y="17"/>
                  <a:pt x="17" y="18"/>
                  <a:pt x="18" y="19"/>
                </a:cubicBezTo>
                <a:cubicBezTo>
                  <a:pt x="18" y="20"/>
                  <a:pt x="19" y="20"/>
                  <a:pt x="19" y="20"/>
                </a:cubicBezTo>
                <a:cubicBezTo>
                  <a:pt x="19" y="20"/>
                  <a:pt x="19" y="20"/>
                  <a:pt x="19" y="20"/>
                </a:cubicBezTo>
                <a:cubicBezTo>
                  <a:pt x="19" y="21"/>
                  <a:pt x="19" y="21"/>
                  <a:pt x="19" y="21"/>
                </a:cubicBezTo>
                <a:cubicBezTo>
                  <a:pt x="19" y="21"/>
                  <a:pt x="20" y="21"/>
                  <a:pt x="20" y="22"/>
                </a:cubicBezTo>
                <a:cubicBezTo>
                  <a:pt x="20" y="22"/>
                  <a:pt x="20" y="23"/>
                  <a:pt x="21" y="24"/>
                </a:cubicBezTo>
                <a:cubicBezTo>
                  <a:pt x="21" y="24"/>
                  <a:pt x="21" y="24"/>
                  <a:pt x="21" y="24"/>
                </a:cubicBezTo>
                <a:cubicBezTo>
                  <a:pt x="21" y="24"/>
                  <a:pt x="21" y="25"/>
                  <a:pt x="21" y="26"/>
                </a:cubicBezTo>
                <a:cubicBezTo>
                  <a:pt x="21" y="26"/>
                  <a:pt x="21" y="26"/>
                  <a:pt x="21" y="26"/>
                </a:cubicBezTo>
                <a:cubicBezTo>
                  <a:pt x="21" y="27"/>
                  <a:pt x="21" y="27"/>
                  <a:pt x="21" y="27"/>
                </a:cubicBezTo>
                <a:cubicBezTo>
                  <a:pt x="22" y="27"/>
                  <a:pt x="22" y="27"/>
                  <a:pt x="22" y="27"/>
                </a:cubicBezTo>
                <a:cubicBezTo>
                  <a:pt x="22" y="27"/>
                  <a:pt x="22" y="28"/>
                  <a:pt x="23" y="28"/>
                </a:cubicBezTo>
                <a:cubicBezTo>
                  <a:pt x="23" y="28"/>
                  <a:pt x="23" y="28"/>
                  <a:pt x="23" y="28"/>
                </a:cubicBezTo>
                <a:cubicBezTo>
                  <a:pt x="23" y="28"/>
                  <a:pt x="23" y="28"/>
                  <a:pt x="23" y="28"/>
                </a:cubicBezTo>
                <a:cubicBezTo>
                  <a:pt x="24" y="29"/>
                  <a:pt x="25" y="30"/>
                  <a:pt x="25" y="31"/>
                </a:cubicBezTo>
                <a:cubicBezTo>
                  <a:pt x="25" y="32"/>
                  <a:pt x="25" y="32"/>
                  <a:pt x="25" y="33"/>
                </a:cubicBezTo>
                <a:cubicBezTo>
                  <a:pt x="25" y="33"/>
                  <a:pt x="25" y="33"/>
                  <a:pt x="25" y="33"/>
                </a:cubicBezTo>
                <a:cubicBezTo>
                  <a:pt x="25" y="33"/>
                  <a:pt x="25" y="34"/>
                  <a:pt x="24" y="34"/>
                </a:cubicBezTo>
                <a:cubicBezTo>
                  <a:pt x="24" y="35"/>
                  <a:pt x="24" y="35"/>
                  <a:pt x="24" y="35"/>
                </a:cubicBezTo>
                <a:cubicBezTo>
                  <a:pt x="24" y="35"/>
                  <a:pt x="24" y="35"/>
                  <a:pt x="24" y="35"/>
                </a:cubicBezTo>
                <a:cubicBezTo>
                  <a:pt x="23" y="37"/>
                  <a:pt x="23" y="38"/>
                  <a:pt x="23" y="40"/>
                </a:cubicBezTo>
                <a:cubicBezTo>
                  <a:pt x="22" y="41"/>
                  <a:pt x="22" y="41"/>
                  <a:pt x="22" y="41"/>
                </a:cubicBezTo>
                <a:cubicBezTo>
                  <a:pt x="22" y="47"/>
                  <a:pt x="21" y="53"/>
                  <a:pt x="21" y="58"/>
                </a:cubicBezTo>
                <a:cubicBezTo>
                  <a:pt x="21" y="59"/>
                  <a:pt x="21" y="59"/>
                  <a:pt x="21" y="59"/>
                </a:cubicBezTo>
                <a:cubicBezTo>
                  <a:pt x="21" y="59"/>
                  <a:pt x="21" y="59"/>
                  <a:pt x="21" y="59"/>
                </a:cubicBezTo>
                <a:cubicBezTo>
                  <a:pt x="20" y="66"/>
                  <a:pt x="20" y="66"/>
                  <a:pt x="20" y="66"/>
                </a:cubicBezTo>
                <a:cubicBezTo>
                  <a:pt x="20" y="66"/>
                  <a:pt x="20" y="66"/>
                  <a:pt x="20" y="66"/>
                </a:cubicBezTo>
                <a:cubicBezTo>
                  <a:pt x="20" y="67"/>
                  <a:pt x="20" y="68"/>
                  <a:pt x="20" y="69"/>
                </a:cubicBezTo>
                <a:cubicBezTo>
                  <a:pt x="20" y="69"/>
                  <a:pt x="20" y="69"/>
                  <a:pt x="20" y="69"/>
                </a:cubicBezTo>
                <a:cubicBezTo>
                  <a:pt x="20" y="70"/>
                  <a:pt x="19" y="70"/>
                  <a:pt x="19" y="70"/>
                </a:cubicBezTo>
                <a:cubicBezTo>
                  <a:pt x="19" y="70"/>
                  <a:pt x="19" y="70"/>
                  <a:pt x="19" y="70"/>
                </a:cubicBezTo>
                <a:cubicBezTo>
                  <a:pt x="19" y="71"/>
                  <a:pt x="18" y="71"/>
                  <a:pt x="18" y="71"/>
                </a:cubicBezTo>
                <a:cubicBezTo>
                  <a:pt x="11" y="78"/>
                  <a:pt x="11" y="78"/>
                  <a:pt x="11" y="78"/>
                </a:cubicBezTo>
                <a:cubicBezTo>
                  <a:pt x="9" y="80"/>
                  <a:pt x="8" y="82"/>
                  <a:pt x="6" y="85"/>
                </a:cubicBezTo>
                <a:cubicBezTo>
                  <a:pt x="1" y="94"/>
                  <a:pt x="1" y="94"/>
                  <a:pt x="1" y="94"/>
                </a:cubicBezTo>
                <a:cubicBezTo>
                  <a:pt x="1" y="94"/>
                  <a:pt x="0" y="94"/>
                  <a:pt x="0" y="94"/>
                </a:cubicBezTo>
                <a:cubicBezTo>
                  <a:pt x="0" y="96"/>
                  <a:pt x="0" y="97"/>
                  <a:pt x="1" y="98"/>
                </a:cubicBezTo>
                <a:cubicBezTo>
                  <a:pt x="1" y="99"/>
                  <a:pt x="1" y="100"/>
                  <a:pt x="2" y="101"/>
                </a:cubicBezTo>
                <a:cubicBezTo>
                  <a:pt x="2" y="102"/>
                  <a:pt x="2" y="102"/>
                  <a:pt x="2" y="102"/>
                </a:cubicBezTo>
                <a:cubicBezTo>
                  <a:pt x="2" y="102"/>
                  <a:pt x="2" y="102"/>
                  <a:pt x="3" y="103"/>
                </a:cubicBezTo>
                <a:cubicBezTo>
                  <a:pt x="3" y="103"/>
                  <a:pt x="3" y="103"/>
                  <a:pt x="3" y="104"/>
                </a:cubicBezTo>
                <a:cubicBezTo>
                  <a:pt x="5" y="107"/>
                  <a:pt x="5" y="107"/>
                  <a:pt x="5" y="107"/>
                </a:cubicBezTo>
                <a:cubicBezTo>
                  <a:pt x="9" y="108"/>
                  <a:pt x="9" y="108"/>
                  <a:pt x="9" y="108"/>
                </a:cubicBezTo>
                <a:cubicBezTo>
                  <a:pt x="10" y="108"/>
                  <a:pt x="10" y="109"/>
                  <a:pt x="11" y="110"/>
                </a:cubicBezTo>
                <a:cubicBezTo>
                  <a:pt x="11" y="110"/>
                  <a:pt x="11" y="110"/>
                  <a:pt x="11" y="110"/>
                </a:cubicBezTo>
                <a:cubicBezTo>
                  <a:pt x="11" y="111"/>
                  <a:pt x="11" y="111"/>
                  <a:pt x="11" y="111"/>
                </a:cubicBezTo>
                <a:cubicBezTo>
                  <a:pt x="12" y="112"/>
                  <a:pt x="13" y="112"/>
                  <a:pt x="13" y="113"/>
                </a:cubicBezTo>
                <a:cubicBezTo>
                  <a:pt x="14" y="114"/>
                  <a:pt x="14" y="115"/>
                  <a:pt x="14" y="115"/>
                </a:cubicBezTo>
                <a:cubicBezTo>
                  <a:pt x="14" y="116"/>
                  <a:pt x="15" y="118"/>
                  <a:pt x="15" y="119"/>
                </a:cubicBezTo>
                <a:cubicBezTo>
                  <a:pt x="16" y="119"/>
                  <a:pt x="16" y="119"/>
                  <a:pt x="16" y="119"/>
                </a:cubicBezTo>
                <a:cubicBezTo>
                  <a:pt x="16" y="120"/>
                  <a:pt x="16" y="120"/>
                  <a:pt x="16" y="121"/>
                </a:cubicBezTo>
                <a:cubicBezTo>
                  <a:pt x="16" y="121"/>
                  <a:pt x="16" y="121"/>
                  <a:pt x="16" y="121"/>
                </a:cubicBezTo>
                <a:cubicBezTo>
                  <a:pt x="16" y="121"/>
                  <a:pt x="16" y="122"/>
                  <a:pt x="16" y="122"/>
                </a:cubicBezTo>
                <a:cubicBezTo>
                  <a:pt x="17" y="123"/>
                  <a:pt x="17" y="123"/>
                  <a:pt x="17" y="123"/>
                </a:cubicBezTo>
                <a:cubicBezTo>
                  <a:pt x="17" y="123"/>
                  <a:pt x="17" y="123"/>
                  <a:pt x="17" y="123"/>
                </a:cubicBezTo>
                <a:cubicBezTo>
                  <a:pt x="17" y="123"/>
                  <a:pt x="17" y="123"/>
                  <a:pt x="17" y="123"/>
                </a:cubicBezTo>
                <a:cubicBezTo>
                  <a:pt x="17" y="123"/>
                  <a:pt x="17" y="123"/>
                  <a:pt x="17" y="123"/>
                </a:cubicBezTo>
                <a:cubicBezTo>
                  <a:pt x="17" y="124"/>
                  <a:pt x="17" y="125"/>
                  <a:pt x="16" y="126"/>
                </a:cubicBezTo>
                <a:cubicBezTo>
                  <a:pt x="16" y="126"/>
                  <a:pt x="16" y="127"/>
                  <a:pt x="16" y="127"/>
                </a:cubicBezTo>
                <a:cubicBezTo>
                  <a:pt x="16" y="127"/>
                  <a:pt x="16" y="127"/>
                  <a:pt x="16" y="127"/>
                </a:cubicBezTo>
                <a:cubicBezTo>
                  <a:pt x="16" y="127"/>
                  <a:pt x="16" y="128"/>
                  <a:pt x="16" y="128"/>
                </a:cubicBezTo>
                <a:cubicBezTo>
                  <a:pt x="16" y="128"/>
                  <a:pt x="16" y="129"/>
                  <a:pt x="16" y="129"/>
                </a:cubicBezTo>
                <a:cubicBezTo>
                  <a:pt x="16" y="132"/>
                  <a:pt x="17" y="134"/>
                  <a:pt x="18" y="136"/>
                </a:cubicBezTo>
                <a:cubicBezTo>
                  <a:pt x="19" y="136"/>
                  <a:pt x="19" y="137"/>
                  <a:pt x="20" y="138"/>
                </a:cubicBezTo>
                <a:cubicBezTo>
                  <a:pt x="20" y="138"/>
                  <a:pt x="20" y="138"/>
                  <a:pt x="21" y="138"/>
                </a:cubicBezTo>
                <a:cubicBezTo>
                  <a:pt x="21" y="138"/>
                  <a:pt x="21" y="138"/>
                  <a:pt x="21" y="138"/>
                </a:cubicBezTo>
                <a:cubicBezTo>
                  <a:pt x="21" y="139"/>
                  <a:pt x="21" y="139"/>
                  <a:pt x="22" y="139"/>
                </a:cubicBezTo>
                <a:cubicBezTo>
                  <a:pt x="24" y="141"/>
                  <a:pt x="24" y="141"/>
                  <a:pt x="24" y="141"/>
                </a:cubicBezTo>
                <a:cubicBezTo>
                  <a:pt x="21" y="141"/>
                  <a:pt x="21" y="141"/>
                  <a:pt x="21" y="141"/>
                </a:cubicBezTo>
                <a:cubicBezTo>
                  <a:pt x="20" y="141"/>
                  <a:pt x="18" y="141"/>
                  <a:pt x="17" y="141"/>
                </a:cubicBezTo>
                <a:cubicBezTo>
                  <a:pt x="17" y="141"/>
                  <a:pt x="16" y="141"/>
                  <a:pt x="16" y="141"/>
                </a:cubicBezTo>
                <a:cubicBezTo>
                  <a:pt x="16" y="141"/>
                  <a:pt x="16" y="141"/>
                  <a:pt x="16" y="141"/>
                </a:cubicBezTo>
                <a:cubicBezTo>
                  <a:pt x="14" y="141"/>
                  <a:pt x="13" y="142"/>
                  <a:pt x="12" y="142"/>
                </a:cubicBezTo>
                <a:cubicBezTo>
                  <a:pt x="11" y="142"/>
                  <a:pt x="11" y="142"/>
                  <a:pt x="11" y="142"/>
                </a:cubicBezTo>
                <a:cubicBezTo>
                  <a:pt x="11" y="142"/>
                  <a:pt x="11" y="142"/>
                  <a:pt x="11" y="142"/>
                </a:cubicBezTo>
                <a:cubicBezTo>
                  <a:pt x="10" y="141"/>
                  <a:pt x="10" y="141"/>
                  <a:pt x="10" y="141"/>
                </a:cubicBezTo>
                <a:cubicBezTo>
                  <a:pt x="10" y="141"/>
                  <a:pt x="10" y="141"/>
                  <a:pt x="10" y="141"/>
                </a:cubicBezTo>
                <a:cubicBezTo>
                  <a:pt x="9" y="141"/>
                  <a:pt x="8" y="141"/>
                  <a:pt x="7" y="141"/>
                </a:cubicBezTo>
                <a:cubicBezTo>
                  <a:pt x="7" y="141"/>
                  <a:pt x="7" y="141"/>
                  <a:pt x="7" y="141"/>
                </a:cubicBezTo>
                <a:cubicBezTo>
                  <a:pt x="6" y="141"/>
                  <a:pt x="6" y="141"/>
                  <a:pt x="6" y="142"/>
                </a:cubicBezTo>
                <a:cubicBezTo>
                  <a:pt x="6" y="142"/>
                  <a:pt x="6" y="143"/>
                  <a:pt x="6" y="143"/>
                </a:cubicBezTo>
                <a:cubicBezTo>
                  <a:pt x="5" y="143"/>
                  <a:pt x="5" y="143"/>
                  <a:pt x="5" y="143"/>
                </a:cubicBezTo>
                <a:cubicBezTo>
                  <a:pt x="5" y="143"/>
                  <a:pt x="5" y="143"/>
                  <a:pt x="5" y="144"/>
                </a:cubicBezTo>
                <a:cubicBezTo>
                  <a:pt x="6" y="144"/>
                  <a:pt x="6" y="144"/>
                  <a:pt x="6" y="144"/>
                </a:cubicBezTo>
                <a:cubicBezTo>
                  <a:pt x="6" y="144"/>
                  <a:pt x="6" y="144"/>
                  <a:pt x="6" y="144"/>
                </a:cubicBezTo>
                <a:cubicBezTo>
                  <a:pt x="6" y="145"/>
                  <a:pt x="7" y="145"/>
                  <a:pt x="7" y="145"/>
                </a:cubicBezTo>
                <a:cubicBezTo>
                  <a:pt x="7" y="146"/>
                  <a:pt x="7" y="146"/>
                  <a:pt x="7" y="146"/>
                </a:cubicBezTo>
                <a:cubicBezTo>
                  <a:pt x="9" y="147"/>
                  <a:pt x="10" y="148"/>
                  <a:pt x="11" y="149"/>
                </a:cubicBezTo>
                <a:cubicBezTo>
                  <a:pt x="12" y="150"/>
                  <a:pt x="12" y="150"/>
                  <a:pt x="12" y="150"/>
                </a:cubicBezTo>
                <a:cubicBezTo>
                  <a:pt x="13" y="151"/>
                  <a:pt x="15" y="152"/>
                  <a:pt x="16" y="154"/>
                </a:cubicBezTo>
                <a:cubicBezTo>
                  <a:pt x="17" y="155"/>
                  <a:pt x="18" y="156"/>
                  <a:pt x="19" y="158"/>
                </a:cubicBezTo>
                <a:cubicBezTo>
                  <a:pt x="19" y="158"/>
                  <a:pt x="19" y="158"/>
                  <a:pt x="19" y="158"/>
                </a:cubicBezTo>
                <a:cubicBezTo>
                  <a:pt x="19" y="158"/>
                  <a:pt x="19" y="159"/>
                  <a:pt x="19" y="159"/>
                </a:cubicBezTo>
                <a:cubicBezTo>
                  <a:pt x="19" y="159"/>
                  <a:pt x="19" y="160"/>
                  <a:pt x="20" y="160"/>
                </a:cubicBezTo>
                <a:cubicBezTo>
                  <a:pt x="20" y="161"/>
                  <a:pt x="20" y="161"/>
                  <a:pt x="20" y="162"/>
                </a:cubicBezTo>
                <a:cubicBezTo>
                  <a:pt x="22" y="162"/>
                  <a:pt x="22" y="162"/>
                  <a:pt x="22" y="162"/>
                </a:cubicBezTo>
                <a:cubicBezTo>
                  <a:pt x="21" y="163"/>
                  <a:pt x="21" y="163"/>
                  <a:pt x="21" y="163"/>
                </a:cubicBezTo>
                <a:cubicBezTo>
                  <a:pt x="21" y="163"/>
                  <a:pt x="21" y="164"/>
                  <a:pt x="21" y="164"/>
                </a:cubicBezTo>
                <a:cubicBezTo>
                  <a:pt x="22" y="164"/>
                  <a:pt x="22" y="164"/>
                  <a:pt x="23" y="164"/>
                </a:cubicBezTo>
                <a:cubicBezTo>
                  <a:pt x="23" y="163"/>
                  <a:pt x="24" y="163"/>
                  <a:pt x="24" y="163"/>
                </a:cubicBezTo>
                <a:cubicBezTo>
                  <a:pt x="25" y="163"/>
                  <a:pt x="25" y="163"/>
                  <a:pt x="25" y="163"/>
                </a:cubicBezTo>
                <a:cubicBezTo>
                  <a:pt x="25" y="163"/>
                  <a:pt x="26" y="163"/>
                  <a:pt x="26" y="163"/>
                </a:cubicBezTo>
                <a:cubicBezTo>
                  <a:pt x="27" y="163"/>
                  <a:pt x="27" y="163"/>
                  <a:pt x="27" y="163"/>
                </a:cubicBezTo>
                <a:cubicBezTo>
                  <a:pt x="27" y="163"/>
                  <a:pt x="27" y="163"/>
                  <a:pt x="27" y="163"/>
                </a:cubicBezTo>
                <a:cubicBezTo>
                  <a:pt x="28" y="162"/>
                  <a:pt x="28" y="162"/>
                  <a:pt x="28" y="161"/>
                </a:cubicBezTo>
                <a:cubicBezTo>
                  <a:pt x="28" y="161"/>
                  <a:pt x="29" y="161"/>
                  <a:pt x="29" y="161"/>
                </a:cubicBezTo>
                <a:cubicBezTo>
                  <a:pt x="29" y="161"/>
                  <a:pt x="29" y="161"/>
                  <a:pt x="30" y="161"/>
                </a:cubicBezTo>
                <a:cubicBezTo>
                  <a:pt x="30" y="161"/>
                  <a:pt x="30" y="161"/>
                  <a:pt x="30" y="161"/>
                </a:cubicBezTo>
                <a:cubicBezTo>
                  <a:pt x="30" y="161"/>
                  <a:pt x="30" y="161"/>
                  <a:pt x="30" y="161"/>
                </a:cubicBezTo>
                <a:cubicBezTo>
                  <a:pt x="31" y="161"/>
                  <a:pt x="31" y="161"/>
                  <a:pt x="32" y="162"/>
                </a:cubicBezTo>
                <a:cubicBezTo>
                  <a:pt x="33" y="163"/>
                  <a:pt x="33" y="163"/>
                  <a:pt x="33" y="163"/>
                </a:cubicBezTo>
                <a:cubicBezTo>
                  <a:pt x="33" y="163"/>
                  <a:pt x="33" y="163"/>
                  <a:pt x="33" y="163"/>
                </a:cubicBezTo>
                <a:cubicBezTo>
                  <a:pt x="34" y="163"/>
                  <a:pt x="34" y="163"/>
                  <a:pt x="34" y="163"/>
                </a:cubicBezTo>
                <a:cubicBezTo>
                  <a:pt x="34" y="163"/>
                  <a:pt x="34" y="163"/>
                  <a:pt x="34" y="163"/>
                </a:cubicBezTo>
                <a:cubicBezTo>
                  <a:pt x="34" y="163"/>
                  <a:pt x="34" y="163"/>
                  <a:pt x="34" y="163"/>
                </a:cubicBezTo>
                <a:cubicBezTo>
                  <a:pt x="34" y="163"/>
                  <a:pt x="34" y="163"/>
                  <a:pt x="34" y="163"/>
                </a:cubicBezTo>
                <a:cubicBezTo>
                  <a:pt x="35" y="162"/>
                  <a:pt x="35" y="162"/>
                  <a:pt x="36" y="162"/>
                </a:cubicBezTo>
                <a:cubicBezTo>
                  <a:pt x="36" y="162"/>
                  <a:pt x="36" y="162"/>
                  <a:pt x="36" y="162"/>
                </a:cubicBezTo>
                <a:cubicBezTo>
                  <a:pt x="37" y="161"/>
                  <a:pt x="37" y="161"/>
                  <a:pt x="38" y="161"/>
                </a:cubicBezTo>
                <a:cubicBezTo>
                  <a:pt x="39" y="161"/>
                  <a:pt x="39" y="161"/>
                  <a:pt x="39" y="161"/>
                </a:cubicBezTo>
                <a:cubicBezTo>
                  <a:pt x="39" y="161"/>
                  <a:pt x="39" y="161"/>
                  <a:pt x="39" y="161"/>
                </a:cubicBezTo>
                <a:cubicBezTo>
                  <a:pt x="41" y="160"/>
                  <a:pt x="41" y="160"/>
                  <a:pt x="41" y="160"/>
                </a:cubicBezTo>
                <a:cubicBezTo>
                  <a:pt x="42" y="160"/>
                  <a:pt x="43" y="160"/>
                  <a:pt x="44" y="159"/>
                </a:cubicBezTo>
                <a:cubicBezTo>
                  <a:pt x="44" y="159"/>
                  <a:pt x="45" y="159"/>
                  <a:pt x="46" y="159"/>
                </a:cubicBezTo>
                <a:cubicBezTo>
                  <a:pt x="46" y="159"/>
                  <a:pt x="47" y="159"/>
                  <a:pt x="47" y="159"/>
                </a:cubicBezTo>
                <a:cubicBezTo>
                  <a:pt x="47" y="159"/>
                  <a:pt x="47" y="159"/>
                  <a:pt x="47" y="159"/>
                </a:cubicBezTo>
                <a:cubicBezTo>
                  <a:pt x="47" y="159"/>
                  <a:pt x="47" y="159"/>
                  <a:pt x="47" y="159"/>
                </a:cubicBezTo>
                <a:cubicBezTo>
                  <a:pt x="48" y="159"/>
                  <a:pt x="48" y="159"/>
                  <a:pt x="48" y="159"/>
                </a:cubicBezTo>
                <a:cubicBezTo>
                  <a:pt x="48" y="159"/>
                  <a:pt x="49" y="159"/>
                  <a:pt x="49" y="159"/>
                </a:cubicBezTo>
                <a:cubicBezTo>
                  <a:pt x="49" y="159"/>
                  <a:pt x="50" y="159"/>
                  <a:pt x="50" y="159"/>
                </a:cubicBezTo>
                <a:cubicBezTo>
                  <a:pt x="50" y="159"/>
                  <a:pt x="50" y="159"/>
                  <a:pt x="50" y="159"/>
                </a:cubicBezTo>
                <a:cubicBezTo>
                  <a:pt x="50" y="159"/>
                  <a:pt x="50" y="159"/>
                  <a:pt x="50" y="159"/>
                </a:cubicBezTo>
                <a:cubicBezTo>
                  <a:pt x="50" y="159"/>
                  <a:pt x="50" y="158"/>
                  <a:pt x="50" y="158"/>
                </a:cubicBezTo>
                <a:cubicBezTo>
                  <a:pt x="51" y="158"/>
                  <a:pt x="51" y="158"/>
                  <a:pt x="51" y="158"/>
                </a:cubicBezTo>
                <a:cubicBezTo>
                  <a:pt x="52" y="157"/>
                  <a:pt x="53" y="156"/>
                  <a:pt x="53" y="156"/>
                </a:cubicBezTo>
                <a:cubicBezTo>
                  <a:pt x="54" y="155"/>
                  <a:pt x="54" y="154"/>
                  <a:pt x="54" y="154"/>
                </a:cubicBezTo>
                <a:cubicBezTo>
                  <a:pt x="54" y="154"/>
                  <a:pt x="54" y="154"/>
                  <a:pt x="54" y="154"/>
                </a:cubicBezTo>
                <a:cubicBezTo>
                  <a:pt x="54" y="154"/>
                  <a:pt x="54" y="154"/>
                  <a:pt x="54" y="154"/>
                </a:cubicBezTo>
                <a:cubicBezTo>
                  <a:pt x="54" y="154"/>
                  <a:pt x="54" y="154"/>
                  <a:pt x="54" y="154"/>
                </a:cubicBezTo>
                <a:cubicBezTo>
                  <a:pt x="54" y="154"/>
                  <a:pt x="54" y="154"/>
                  <a:pt x="54" y="154"/>
                </a:cubicBezTo>
                <a:cubicBezTo>
                  <a:pt x="53" y="153"/>
                  <a:pt x="52" y="153"/>
                  <a:pt x="52" y="152"/>
                </a:cubicBezTo>
                <a:cubicBezTo>
                  <a:pt x="52" y="151"/>
                  <a:pt x="53" y="150"/>
                  <a:pt x="55" y="149"/>
                </a:cubicBezTo>
                <a:cubicBezTo>
                  <a:pt x="56" y="149"/>
                  <a:pt x="56" y="149"/>
                  <a:pt x="56" y="149"/>
                </a:cubicBezTo>
                <a:cubicBezTo>
                  <a:pt x="56" y="149"/>
                  <a:pt x="56" y="149"/>
                  <a:pt x="56" y="149"/>
                </a:cubicBezTo>
                <a:cubicBezTo>
                  <a:pt x="59" y="148"/>
                  <a:pt x="62" y="148"/>
                  <a:pt x="63" y="148"/>
                </a:cubicBezTo>
                <a:cubicBezTo>
                  <a:pt x="64" y="148"/>
                  <a:pt x="64" y="148"/>
                  <a:pt x="64" y="148"/>
                </a:cubicBezTo>
                <a:cubicBezTo>
                  <a:pt x="65" y="148"/>
                  <a:pt x="66" y="148"/>
                  <a:pt x="68" y="148"/>
                </a:cubicBezTo>
                <a:cubicBezTo>
                  <a:pt x="68" y="148"/>
                  <a:pt x="69" y="148"/>
                  <a:pt x="69" y="147"/>
                </a:cubicBezTo>
                <a:cubicBezTo>
                  <a:pt x="72" y="146"/>
                  <a:pt x="73" y="144"/>
                  <a:pt x="75" y="142"/>
                </a:cubicBezTo>
                <a:cubicBezTo>
                  <a:pt x="81" y="135"/>
                  <a:pt x="81" y="135"/>
                  <a:pt x="81" y="135"/>
                </a:cubicBezTo>
                <a:cubicBezTo>
                  <a:pt x="81" y="134"/>
                  <a:pt x="81" y="134"/>
                  <a:pt x="81" y="133"/>
                </a:cubicBezTo>
                <a:cubicBezTo>
                  <a:pt x="82" y="133"/>
                  <a:pt x="82" y="133"/>
                  <a:pt x="82" y="132"/>
                </a:cubicBezTo>
                <a:cubicBezTo>
                  <a:pt x="83" y="131"/>
                  <a:pt x="85" y="130"/>
                  <a:pt x="87" y="130"/>
                </a:cubicBezTo>
                <a:cubicBezTo>
                  <a:pt x="88" y="129"/>
                  <a:pt x="88" y="129"/>
                  <a:pt x="89" y="129"/>
                </a:cubicBezTo>
                <a:cubicBezTo>
                  <a:pt x="89" y="129"/>
                  <a:pt x="89" y="129"/>
                  <a:pt x="89" y="129"/>
                </a:cubicBezTo>
                <a:cubicBezTo>
                  <a:pt x="90" y="129"/>
                  <a:pt x="90" y="129"/>
                  <a:pt x="90" y="129"/>
                </a:cubicBezTo>
                <a:cubicBezTo>
                  <a:pt x="91" y="129"/>
                  <a:pt x="92" y="129"/>
                  <a:pt x="94" y="129"/>
                </a:cubicBezTo>
                <a:cubicBezTo>
                  <a:pt x="94" y="129"/>
                  <a:pt x="94" y="129"/>
                  <a:pt x="94" y="129"/>
                </a:cubicBezTo>
                <a:cubicBezTo>
                  <a:pt x="94" y="128"/>
                  <a:pt x="94" y="128"/>
                  <a:pt x="94" y="128"/>
                </a:cubicBezTo>
                <a:cubicBezTo>
                  <a:pt x="94" y="128"/>
                  <a:pt x="94" y="128"/>
                  <a:pt x="94" y="128"/>
                </a:cubicBezTo>
                <a:cubicBezTo>
                  <a:pt x="94" y="128"/>
                  <a:pt x="94" y="128"/>
                  <a:pt x="94" y="127"/>
                </a:cubicBezTo>
                <a:cubicBezTo>
                  <a:pt x="94" y="127"/>
                  <a:pt x="94" y="127"/>
                  <a:pt x="94" y="127"/>
                </a:cubicBezTo>
                <a:cubicBezTo>
                  <a:pt x="94" y="127"/>
                  <a:pt x="93" y="126"/>
                  <a:pt x="93" y="126"/>
                </a:cubicBezTo>
                <a:cubicBezTo>
                  <a:pt x="92" y="125"/>
                  <a:pt x="92" y="125"/>
                  <a:pt x="92" y="125"/>
                </a:cubicBezTo>
                <a:cubicBezTo>
                  <a:pt x="90" y="124"/>
                  <a:pt x="90" y="123"/>
                  <a:pt x="90" y="120"/>
                </a:cubicBezTo>
                <a:cubicBezTo>
                  <a:pt x="90" y="121"/>
                  <a:pt x="90" y="121"/>
                  <a:pt x="90" y="121"/>
                </a:cubicBezTo>
                <a:cubicBezTo>
                  <a:pt x="89" y="119"/>
                  <a:pt x="89" y="119"/>
                  <a:pt x="89" y="119"/>
                </a:cubicBezTo>
                <a:cubicBezTo>
                  <a:pt x="89" y="119"/>
                  <a:pt x="89" y="118"/>
                  <a:pt x="89" y="117"/>
                </a:cubicBezTo>
                <a:cubicBezTo>
                  <a:pt x="89" y="117"/>
                  <a:pt x="88" y="114"/>
                  <a:pt x="88" y="113"/>
                </a:cubicBezTo>
                <a:cubicBezTo>
                  <a:pt x="88" y="113"/>
                  <a:pt x="88" y="113"/>
                  <a:pt x="88" y="113"/>
                </a:cubicBezTo>
                <a:cubicBezTo>
                  <a:pt x="87" y="113"/>
                  <a:pt x="87" y="114"/>
                  <a:pt x="87" y="114"/>
                </a:cubicBezTo>
                <a:cubicBezTo>
                  <a:pt x="86" y="114"/>
                  <a:pt x="86" y="114"/>
                  <a:pt x="86" y="114"/>
                </a:cubicBezTo>
                <a:cubicBezTo>
                  <a:pt x="86" y="117"/>
                  <a:pt x="86" y="117"/>
                  <a:pt x="86" y="117"/>
                </a:cubicBezTo>
                <a:cubicBezTo>
                  <a:pt x="85" y="114"/>
                  <a:pt x="85" y="114"/>
                  <a:pt x="85" y="114"/>
                </a:cubicBezTo>
                <a:cubicBezTo>
                  <a:pt x="85" y="114"/>
                  <a:pt x="85" y="114"/>
                  <a:pt x="85" y="114"/>
                </a:cubicBezTo>
                <a:cubicBezTo>
                  <a:pt x="85" y="114"/>
                  <a:pt x="84" y="114"/>
                  <a:pt x="84" y="113"/>
                </a:cubicBezTo>
                <a:cubicBezTo>
                  <a:pt x="84" y="113"/>
                  <a:pt x="84" y="113"/>
                  <a:pt x="84" y="113"/>
                </a:cubicBezTo>
                <a:cubicBezTo>
                  <a:pt x="83" y="112"/>
                  <a:pt x="83" y="111"/>
                  <a:pt x="83" y="109"/>
                </a:cubicBezTo>
                <a:cubicBezTo>
                  <a:pt x="84" y="108"/>
                  <a:pt x="85" y="107"/>
                  <a:pt x="86" y="106"/>
                </a:cubicBezTo>
                <a:cubicBezTo>
                  <a:pt x="86" y="106"/>
                  <a:pt x="86" y="106"/>
                  <a:pt x="87" y="106"/>
                </a:cubicBezTo>
                <a:cubicBezTo>
                  <a:pt x="87" y="105"/>
                  <a:pt x="87" y="105"/>
                  <a:pt x="87" y="105"/>
                </a:cubicBezTo>
                <a:cubicBezTo>
                  <a:pt x="87" y="105"/>
                  <a:pt x="87" y="105"/>
                  <a:pt x="87" y="105"/>
                </a:cubicBezTo>
                <a:cubicBezTo>
                  <a:pt x="87" y="105"/>
                  <a:pt x="87" y="104"/>
                  <a:pt x="87" y="104"/>
                </a:cubicBezTo>
                <a:cubicBezTo>
                  <a:pt x="86" y="103"/>
                  <a:pt x="85" y="101"/>
                  <a:pt x="86" y="99"/>
                </a:cubicBezTo>
                <a:cubicBezTo>
                  <a:pt x="86" y="99"/>
                  <a:pt x="87" y="99"/>
                  <a:pt x="87" y="98"/>
                </a:cubicBezTo>
                <a:cubicBezTo>
                  <a:pt x="87" y="98"/>
                  <a:pt x="88" y="98"/>
                  <a:pt x="88" y="97"/>
                </a:cubicBezTo>
                <a:cubicBezTo>
                  <a:pt x="89" y="97"/>
                  <a:pt x="89" y="97"/>
                  <a:pt x="89" y="97"/>
                </a:cubicBezTo>
                <a:cubicBezTo>
                  <a:pt x="89" y="97"/>
                  <a:pt x="89" y="97"/>
                  <a:pt x="89" y="97"/>
                </a:cubicBezTo>
                <a:cubicBezTo>
                  <a:pt x="89" y="96"/>
                  <a:pt x="89" y="96"/>
                  <a:pt x="89" y="96"/>
                </a:cubicBezTo>
                <a:cubicBezTo>
                  <a:pt x="89" y="95"/>
                  <a:pt x="89" y="95"/>
                  <a:pt x="89" y="94"/>
                </a:cubicBezTo>
                <a:cubicBezTo>
                  <a:pt x="89" y="94"/>
                  <a:pt x="89" y="94"/>
                  <a:pt x="89" y="94"/>
                </a:cubicBezTo>
                <a:cubicBezTo>
                  <a:pt x="89" y="94"/>
                  <a:pt x="89" y="94"/>
                  <a:pt x="89" y="94"/>
                </a:cubicBezTo>
                <a:cubicBezTo>
                  <a:pt x="89" y="94"/>
                  <a:pt x="89" y="94"/>
                  <a:pt x="89" y="94"/>
                </a:cubicBezTo>
                <a:cubicBezTo>
                  <a:pt x="88" y="92"/>
                  <a:pt x="89" y="91"/>
                  <a:pt x="91" y="91"/>
                </a:cubicBezTo>
                <a:cubicBezTo>
                  <a:pt x="91" y="90"/>
                  <a:pt x="91" y="90"/>
                  <a:pt x="91" y="90"/>
                </a:cubicBezTo>
                <a:cubicBezTo>
                  <a:pt x="91" y="90"/>
                  <a:pt x="91" y="90"/>
                  <a:pt x="91" y="90"/>
                </a:cubicBezTo>
                <a:cubicBezTo>
                  <a:pt x="92" y="90"/>
                  <a:pt x="92" y="90"/>
                  <a:pt x="92" y="90"/>
                </a:cubicBezTo>
                <a:cubicBezTo>
                  <a:pt x="92" y="90"/>
                  <a:pt x="92" y="89"/>
                  <a:pt x="92" y="89"/>
                </a:cubicBezTo>
                <a:cubicBezTo>
                  <a:pt x="92" y="88"/>
                  <a:pt x="92" y="88"/>
                  <a:pt x="92" y="88"/>
                </a:cubicBezTo>
                <a:cubicBezTo>
                  <a:pt x="92" y="88"/>
                  <a:pt x="93" y="87"/>
                  <a:pt x="93" y="86"/>
                </a:cubicBezTo>
                <a:cubicBezTo>
                  <a:pt x="93" y="85"/>
                  <a:pt x="93" y="85"/>
                  <a:pt x="93" y="85"/>
                </a:cubicBezTo>
                <a:cubicBezTo>
                  <a:pt x="93" y="84"/>
                  <a:pt x="93" y="83"/>
                  <a:pt x="94" y="82"/>
                </a:cubicBezTo>
                <a:cubicBezTo>
                  <a:pt x="96" y="79"/>
                  <a:pt x="100" y="79"/>
                  <a:pt x="104" y="79"/>
                </a:cubicBezTo>
                <a:cubicBezTo>
                  <a:pt x="104" y="79"/>
                  <a:pt x="104" y="79"/>
                  <a:pt x="105" y="79"/>
                </a:cubicBezTo>
                <a:cubicBezTo>
                  <a:pt x="105" y="41"/>
                  <a:pt x="105" y="41"/>
                  <a:pt x="105" y="41"/>
                </a:cubicBezTo>
                <a:cubicBezTo>
                  <a:pt x="70" y="23"/>
                  <a:pt x="70" y="23"/>
                  <a:pt x="70" y="23"/>
                </a:cubicBezTo>
                <a:cubicBezTo>
                  <a:pt x="63" y="19"/>
                  <a:pt x="53" y="14"/>
                  <a:pt x="43" y="9"/>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4" name="Freeform 3031">
            <a:extLst>
              <a:ext uri="{FF2B5EF4-FFF2-40B4-BE49-F238E27FC236}">
                <a16:creationId xmlns:a16="http://schemas.microsoft.com/office/drawing/2014/main" id="{BC491C43-45B6-441A-AE76-6297F809B7CF}"/>
              </a:ext>
            </a:extLst>
          </p:cNvPr>
          <p:cNvSpPr>
            <a:spLocks/>
          </p:cNvSpPr>
          <p:nvPr/>
        </p:nvSpPr>
        <p:spPr bwMode="auto">
          <a:xfrm>
            <a:off x="3345445" y="3417268"/>
            <a:ext cx="184844" cy="170362"/>
          </a:xfrm>
          <a:custGeom>
            <a:avLst/>
            <a:gdLst>
              <a:gd name="T0" fmla="*/ 82 w 158"/>
              <a:gd name="T1" fmla="*/ 107 h 121"/>
              <a:gd name="T2" fmla="*/ 91 w 158"/>
              <a:gd name="T3" fmla="*/ 110 h 121"/>
              <a:gd name="T4" fmla="*/ 93 w 158"/>
              <a:gd name="T5" fmla="*/ 111 h 121"/>
              <a:gd name="T6" fmla="*/ 95 w 158"/>
              <a:gd name="T7" fmla="*/ 109 h 121"/>
              <a:gd name="T8" fmla="*/ 107 w 158"/>
              <a:gd name="T9" fmla="*/ 105 h 121"/>
              <a:gd name="T10" fmla="*/ 113 w 158"/>
              <a:gd name="T11" fmla="*/ 105 h 121"/>
              <a:gd name="T12" fmla="*/ 118 w 158"/>
              <a:gd name="T13" fmla="*/ 106 h 121"/>
              <a:gd name="T14" fmla="*/ 125 w 158"/>
              <a:gd name="T15" fmla="*/ 105 h 121"/>
              <a:gd name="T16" fmla="*/ 128 w 158"/>
              <a:gd name="T17" fmla="*/ 103 h 121"/>
              <a:gd name="T18" fmla="*/ 131 w 158"/>
              <a:gd name="T19" fmla="*/ 101 h 121"/>
              <a:gd name="T20" fmla="*/ 132 w 158"/>
              <a:gd name="T21" fmla="*/ 95 h 121"/>
              <a:gd name="T22" fmla="*/ 133 w 158"/>
              <a:gd name="T23" fmla="*/ 93 h 121"/>
              <a:gd name="T24" fmla="*/ 139 w 158"/>
              <a:gd name="T25" fmla="*/ 85 h 121"/>
              <a:gd name="T26" fmla="*/ 152 w 158"/>
              <a:gd name="T27" fmla="*/ 70 h 121"/>
              <a:gd name="T28" fmla="*/ 153 w 158"/>
              <a:gd name="T29" fmla="*/ 69 h 121"/>
              <a:gd name="T30" fmla="*/ 152 w 158"/>
              <a:gd name="T31" fmla="*/ 61 h 121"/>
              <a:gd name="T32" fmla="*/ 155 w 158"/>
              <a:gd name="T33" fmla="*/ 41 h 121"/>
              <a:gd name="T34" fmla="*/ 158 w 158"/>
              <a:gd name="T35" fmla="*/ 33 h 121"/>
              <a:gd name="T36" fmla="*/ 155 w 158"/>
              <a:gd name="T37" fmla="*/ 30 h 121"/>
              <a:gd name="T38" fmla="*/ 154 w 158"/>
              <a:gd name="T39" fmla="*/ 26 h 121"/>
              <a:gd name="T40" fmla="*/ 152 w 158"/>
              <a:gd name="T41" fmla="*/ 23 h 121"/>
              <a:gd name="T42" fmla="*/ 150 w 158"/>
              <a:gd name="T43" fmla="*/ 16 h 121"/>
              <a:gd name="T44" fmla="*/ 148 w 158"/>
              <a:gd name="T45" fmla="*/ 7 h 121"/>
              <a:gd name="T46" fmla="*/ 138 w 158"/>
              <a:gd name="T47" fmla="*/ 7 h 121"/>
              <a:gd name="T48" fmla="*/ 133 w 158"/>
              <a:gd name="T49" fmla="*/ 3 h 121"/>
              <a:gd name="T50" fmla="*/ 65 w 158"/>
              <a:gd name="T51" fmla="*/ 35 h 121"/>
              <a:gd name="T52" fmla="*/ 57 w 158"/>
              <a:gd name="T53" fmla="*/ 43 h 121"/>
              <a:gd name="T54" fmla="*/ 41 w 158"/>
              <a:gd name="T55" fmla="*/ 52 h 121"/>
              <a:gd name="T56" fmla="*/ 40 w 158"/>
              <a:gd name="T57" fmla="*/ 75 h 121"/>
              <a:gd name="T58" fmla="*/ 36 w 158"/>
              <a:gd name="T59" fmla="*/ 83 h 121"/>
              <a:gd name="T60" fmla="*/ 30 w 158"/>
              <a:gd name="T61" fmla="*/ 86 h 121"/>
              <a:gd name="T62" fmla="*/ 28 w 158"/>
              <a:gd name="T63" fmla="*/ 86 h 121"/>
              <a:gd name="T64" fmla="*/ 23 w 158"/>
              <a:gd name="T65" fmla="*/ 87 h 121"/>
              <a:gd name="T66" fmla="*/ 1 w 158"/>
              <a:gd name="T67" fmla="*/ 90 h 121"/>
              <a:gd name="T68" fmla="*/ 0 w 158"/>
              <a:gd name="T69" fmla="*/ 91 h 121"/>
              <a:gd name="T70" fmla="*/ 1 w 158"/>
              <a:gd name="T71" fmla="*/ 98 h 121"/>
              <a:gd name="T72" fmla="*/ 4 w 158"/>
              <a:gd name="T73" fmla="*/ 102 h 121"/>
              <a:gd name="T74" fmla="*/ 10 w 158"/>
              <a:gd name="T75" fmla="*/ 105 h 121"/>
              <a:gd name="T76" fmla="*/ 8 w 158"/>
              <a:gd name="T77" fmla="*/ 108 h 121"/>
              <a:gd name="T78" fmla="*/ 7 w 158"/>
              <a:gd name="T79" fmla="*/ 109 h 121"/>
              <a:gd name="T80" fmla="*/ 11 w 158"/>
              <a:gd name="T81" fmla="*/ 111 h 121"/>
              <a:gd name="T82" fmla="*/ 15 w 158"/>
              <a:gd name="T83" fmla="*/ 112 h 121"/>
              <a:gd name="T84" fmla="*/ 20 w 158"/>
              <a:gd name="T85" fmla="*/ 115 h 121"/>
              <a:gd name="T86" fmla="*/ 19 w 158"/>
              <a:gd name="T87" fmla="*/ 117 h 121"/>
              <a:gd name="T88" fmla="*/ 22 w 158"/>
              <a:gd name="T89" fmla="*/ 116 h 121"/>
              <a:gd name="T90" fmla="*/ 25 w 158"/>
              <a:gd name="T91" fmla="*/ 115 h 121"/>
              <a:gd name="T92" fmla="*/ 27 w 158"/>
              <a:gd name="T93" fmla="*/ 117 h 121"/>
              <a:gd name="T94" fmla="*/ 32 w 158"/>
              <a:gd name="T95" fmla="*/ 116 h 121"/>
              <a:gd name="T96" fmla="*/ 33 w 158"/>
              <a:gd name="T97" fmla="*/ 114 h 121"/>
              <a:gd name="T98" fmla="*/ 34 w 158"/>
              <a:gd name="T99" fmla="*/ 112 h 121"/>
              <a:gd name="T100" fmla="*/ 37 w 158"/>
              <a:gd name="T101" fmla="*/ 107 h 121"/>
              <a:gd name="T102" fmla="*/ 46 w 158"/>
              <a:gd name="T103" fmla="*/ 101 h 121"/>
              <a:gd name="T104" fmla="*/ 53 w 158"/>
              <a:gd name="T105" fmla="*/ 100 h 121"/>
              <a:gd name="T106" fmla="*/ 57 w 158"/>
              <a:gd name="T107" fmla="*/ 101 h 121"/>
              <a:gd name="T108" fmla="*/ 64 w 158"/>
              <a:gd name="T109" fmla="*/ 104 h 121"/>
              <a:gd name="T110" fmla="*/ 70 w 158"/>
              <a:gd name="T111" fmla="*/ 108 h 121"/>
              <a:gd name="T112" fmla="*/ 77 w 158"/>
              <a:gd name="T113" fmla="*/ 105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8" h="121">
                <a:moveTo>
                  <a:pt x="78" y="105"/>
                </a:moveTo>
                <a:cubicBezTo>
                  <a:pt x="79" y="105"/>
                  <a:pt x="79" y="105"/>
                  <a:pt x="79" y="105"/>
                </a:cubicBezTo>
                <a:cubicBezTo>
                  <a:pt x="79" y="105"/>
                  <a:pt x="79" y="105"/>
                  <a:pt x="79" y="106"/>
                </a:cubicBezTo>
                <a:cubicBezTo>
                  <a:pt x="80" y="106"/>
                  <a:pt x="81" y="106"/>
                  <a:pt x="82" y="107"/>
                </a:cubicBezTo>
                <a:cubicBezTo>
                  <a:pt x="82" y="107"/>
                  <a:pt x="83" y="107"/>
                  <a:pt x="83" y="108"/>
                </a:cubicBezTo>
                <a:cubicBezTo>
                  <a:pt x="86" y="109"/>
                  <a:pt x="86" y="109"/>
                  <a:pt x="86" y="109"/>
                </a:cubicBezTo>
                <a:cubicBezTo>
                  <a:pt x="87" y="110"/>
                  <a:pt x="89" y="110"/>
                  <a:pt x="91" y="110"/>
                </a:cubicBezTo>
                <a:cubicBezTo>
                  <a:pt x="91" y="110"/>
                  <a:pt x="91" y="110"/>
                  <a:pt x="91" y="110"/>
                </a:cubicBezTo>
                <a:cubicBezTo>
                  <a:pt x="91" y="110"/>
                  <a:pt x="91" y="110"/>
                  <a:pt x="91" y="110"/>
                </a:cubicBezTo>
                <a:cubicBezTo>
                  <a:pt x="91" y="110"/>
                  <a:pt x="92" y="110"/>
                  <a:pt x="92" y="110"/>
                </a:cubicBezTo>
                <a:cubicBezTo>
                  <a:pt x="92" y="110"/>
                  <a:pt x="92" y="110"/>
                  <a:pt x="92" y="111"/>
                </a:cubicBezTo>
                <a:cubicBezTo>
                  <a:pt x="93" y="111"/>
                  <a:pt x="93" y="111"/>
                  <a:pt x="93" y="111"/>
                </a:cubicBezTo>
                <a:cubicBezTo>
                  <a:pt x="93" y="111"/>
                  <a:pt x="93" y="111"/>
                  <a:pt x="94" y="111"/>
                </a:cubicBezTo>
                <a:cubicBezTo>
                  <a:pt x="94" y="111"/>
                  <a:pt x="94" y="111"/>
                  <a:pt x="94" y="110"/>
                </a:cubicBezTo>
                <a:cubicBezTo>
                  <a:pt x="94" y="110"/>
                  <a:pt x="94" y="110"/>
                  <a:pt x="94" y="110"/>
                </a:cubicBezTo>
                <a:cubicBezTo>
                  <a:pt x="95" y="109"/>
                  <a:pt x="95" y="109"/>
                  <a:pt x="95" y="109"/>
                </a:cubicBezTo>
                <a:cubicBezTo>
                  <a:pt x="96" y="108"/>
                  <a:pt x="97" y="108"/>
                  <a:pt x="97" y="107"/>
                </a:cubicBezTo>
                <a:cubicBezTo>
                  <a:pt x="98" y="106"/>
                  <a:pt x="100" y="106"/>
                  <a:pt x="101" y="105"/>
                </a:cubicBezTo>
                <a:cubicBezTo>
                  <a:pt x="103" y="105"/>
                  <a:pt x="104" y="105"/>
                  <a:pt x="105" y="105"/>
                </a:cubicBezTo>
                <a:cubicBezTo>
                  <a:pt x="106" y="105"/>
                  <a:pt x="106" y="105"/>
                  <a:pt x="107" y="105"/>
                </a:cubicBezTo>
                <a:cubicBezTo>
                  <a:pt x="108" y="105"/>
                  <a:pt x="109" y="105"/>
                  <a:pt x="109" y="105"/>
                </a:cubicBezTo>
                <a:cubicBezTo>
                  <a:pt x="110" y="105"/>
                  <a:pt x="110" y="105"/>
                  <a:pt x="110" y="105"/>
                </a:cubicBezTo>
                <a:cubicBezTo>
                  <a:pt x="111" y="105"/>
                  <a:pt x="112" y="105"/>
                  <a:pt x="113" y="105"/>
                </a:cubicBezTo>
                <a:cubicBezTo>
                  <a:pt x="113" y="105"/>
                  <a:pt x="113" y="105"/>
                  <a:pt x="113" y="105"/>
                </a:cubicBezTo>
                <a:cubicBezTo>
                  <a:pt x="114" y="105"/>
                  <a:pt x="114" y="105"/>
                  <a:pt x="115" y="105"/>
                </a:cubicBezTo>
                <a:cubicBezTo>
                  <a:pt x="117" y="106"/>
                  <a:pt x="117" y="106"/>
                  <a:pt x="117" y="106"/>
                </a:cubicBezTo>
                <a:cubicBezTo>
                  <a:pt x="117" y="106"/>
                  <a:pt x="117" y="106"/>
                  <a:pt x="117" y="106"/>
                </a:cubicBezTo>
                <a:cubicBezTo>
                  <a:pt x="118" y="106"/>
                  <a:pt x="118" y="106"/>
                  <a:pt x="118" y="106"/>
                </a:cubicBezTo>
                <a:cubicBezTo>
                  <a:pt x="122" y="108"/>
                  <a:pt x="122" y="108"/>
                  <a:pt x="122" y="108"/>
                </a:cubicBezTo>
                <a:cubicBezTo>
                  <a:pt x="125" y="105"/>
                  <a:pt x="125" y="105"/>
                  <a:pt x="125" y="105"/>
                </a:cubicBezTo>
                <a:cubicBezTo>
                  <a:pt x="125" y="105"/>
                  <a:pt x="125" y="105"/>
                  <a:pt x="125" y="105"/>
                </a:cubicBezTo>
                <a:cubicBezTo>
                  <a:pt x="125" y="105"/>
                  <a:pt x="125" y="105"/>
                  <a:pt x="125" y="105"/>
                </a:cubicBezTo>
                <a:cubicBezTo>
                  <a:pt x="126" y="104"/>
                  <a:pt x="126" y="104"/>
                  <a:pt x="127" y="104"/>
                </a:cubicBezTo>
                <a:cubicBezTo>
                  <a:pt x="127" y="103"/>
                  <a:pt x="127" y="103"/>
                  <a:pt x="127" y="103"/>
                </a:cubicBezTo>
                <a:cubicBezTo>
                  <a:pt x="127" y="103"/>
                  <a:pt x="127" y="103"/>
                  <a:pt x="127" y="103"/>
                </a:cubicBezTo>
                <a:cubicBezTo>
                  <a:pt x="128" y="103"/>
                  <a:pt x="128" y="103"/>
                  <a:pt x="128" y="103"/>
                </a:cubicBezTo>
                <a:cubicBezTo>
                  <a:pt x="128" y="103"/>
                  <a:pt x="128" y="103"/>
                  <a:pt x="129" y="103"/>
                </a:cubicBezTo>
                <a:cubicBezTo>
                  <a:pt x="129" y="102"/>
                  <a:pt x="129" y="102"/>
                  <a:pt x="129" y="102"/>
                </a:cubicBezTo>
                <a:cubicBezTo>
                  <a:pt x="129" y="102"/>
                  <a:pt x="129" y="102"/>
                  <a:pt x="130" y="102"/>
                </a:cubicBezTo>
                <a:cubicBezTo>
                  <a:pt x="130" y="102"/>
                  <a:pt x="131" y="102"/>
                  <a:pt x="131" y="101"/>
                </a:cubicBezTo>
                <a:cubicBezTo>
                  <a:pt x="132" y="101"/>
                  <a:pt x="132" y="101"/>
                  <a:pt x="133" y="101"/>
                </a:cubicBezTo>
                <a:cubicBezTo>
                  <a:pt x="133" y="101"/>
                  <a:pt x="133" y="101"/>
                  <a:pt x="134" y="101"/>
                </a:cubicBezTo>
                <a:cubicBezTo>
                  <a:pt x="133" y="101"/>
                  <a:pt x="133" y="100"/>
                  <a:pt x="133" y="100"/>
                </a:cubicBezTo>
                <a:cubicBezTo>
                  <a:pt x="133" y="98"/>
                  <a:pt x="132" y="97"/>
                  <a:pt x="132" y="95"/>
                </a:cubicBezTo>
                <a:cubicBezTo>
                  <a:pt x="132" y="95"/>
                  <a:pt x="132" y="95"/>
                  <a:pt x="132" y="94"/>
                </a:cubicBezTo>
                <a:cubicBezTo>
                  <a:pt x="132" y="94"/>
                  <a:pt x="132" y="94"/>
                  <a:pt x="132" y="94"/>
                </a:cubicBezTo>
                <a:cubicBezTo>
                  <a:pt x="132" y="94"/>
                  <a:pt x="132" y="94"/>
                  <a:pt x="132" y="94"/>
                </a:cubicBezTo>
                <a:cubicBezTo>
                  <a:pt x="133" y="93"/>
                  <a:pt x="133" y="93"/>
                  <a:pt x="133" y="93"/>
                </a:cubicBezTo>
                <a:cubicBezTo>
                  <a:pt x="134" y="93"/>
                  <a:pt x="134" y="93"/>
                  <a:pt x="134" y="93"/>
                </a:cubicBezTo>
                <a:cubicBezTo>
                  <a:pt x="134" y="93"/>
                  <a:pt x="134" y="93"/>
                  <a:pt x="134" y="93"/>
                </a:cubicBezTo>
                <a:cubicBezTo>
                  <a:pt x="134" y="93"/>
                  <a:pt x="134" y="93"/>
                  <a:pt x="134" y="93"/>
                </a:cubicBezTo>
                <a:cubicBezTo>
                  <a:pt x="139" y="85"/>
                  <a:pt x="139" y="85"/>
                  <a:pt x="139" y="85"/>
                </a:cubicBezTo>
                <a:cubicBezTo>
                  <a:pt x="141" y="82"/>
                  <a:pt x="142" y="80"/>
                  <a:pt x="144" y="78"/>
                </a:cubicBezTo>
                <a:cubicBezTo>
                  <a:pt x="144" y="78"/>
                  <a:pt x="144" y="78"/>
                  <a:pt x="144" y="78"/>
                </a:cubicBezTo>
                <a:cubicBezTo>
                  <a:pt x="146" y="76"/>
                  <a:pt x="148" y="74"/>
                  <a:pt x="149" y="73"/>
                </a:cubicBezTo>
                <a:cubicBezTo>
                  <a:pt x="152" y="70"/>
                  <a:pt x="152" y="70"/>
                  <a:pt x="152" y="70"/>
                </a:cubicBezTo>
                <a:cubicBezTo>
                  <a:pt x="152" y="70"/>
                  <a:pt x="152" y="70"/>
                  <a:pt x="152" y="69"/>
                </a:cubicBezTo>
                <a:cubicBezTo>
                  <a:pt x="152" y="69"/>
                  <a:pt x="152" y="69"/>
                  <a:pt x="152" y="69"/>
                </a:cubicBezTo>
                <a:cubicBezTo>
                  <a:pt x="152" y="69"/>
                  <a:pt x="153" y="69"/>
                  <a:pt x="153" y="69"/>
                </a:cubicBezTo>
                <a:cubicBezTo>
                  <a:pt x="153" y="69"/>
                  <a:pt x="153" y="69"/>
                  <a:pt x="153" y="69"/>
                </a:cubicBezTo>
                <a:cubicBezTo>
                  <a:pt x="153" y="68"/>
                  <a:pt x="153" y="68"/>
                  <a:pt x="153" y="68"/>
                </a:cubicBezTo>
                <a:cubicBezTo>
                  <a:pt x="153" y="67"/>
                  <a:pt x="153" y="67"/>
                  <a:pt x="153" y="67"/>
                </a:cubicBezTo>
                <a:cubicBezTo>
                  <a:pt x="153" y="61"/>
                  <a:pt x="153" y="61"/>
                  <a:pt x="153" y="61"/>
                </a:cubicBezTo>
                <a:cubicBezTo>
                  <a:pt x="152" y="61"/>
                  <a:pt x="152" y="61"/>
                  <a:pt x="152" y="61"/>
                </a:cubicBezTo>
                <a:cubicBezTo>
                  <a:pt x="153" y="60"/>
                  <a:pt x="153" y="60"/>
                  <a:pt x="153" y="60"/>
                </a:cubicBezTo>
                <a:cubicBezTo>
                  <a:pt x="153" y="60"/>
                  <a:pt x="153" y="60"/>
                  <a:pt x="153" y="60"/>
                </a:cubicBezTo>
                <a:cubicBezTo>
                  <a:pt x="154" y="55"/>
                  <a:pt x="154" y="48"/>
                  <a:pt x="155" y="42"/>
                </a:cubicBezTo>
                <a:cubicBezTo>
                  <a:pt x="155" y="41"/>
                  <a:pt x="155" y="41"/>
                  <a:pt x="155" y="41"/>
                </a:cubicBezTo>
                <a:cubicBezTo>
                  <a:pt x="155" y="39"/>
                  <a:pt x="156" y="37"/>
                  <a:pt x="157" y="35"/>
                </a:cubicBezTo>
                <a:cubicBezTo>
                  <a:pt x="157" y="34"/>
                  <a:pt x="157" y="34"/>
                  <a:pt x="157" y="34"/>
                </a:cubicBezTo>
                <a:cubicBezTo>
                  <a:pt x="157" y="34"/>
                  <a:pt x="158" y="33"/>
                  <a:pt x="158" y="33"/>
                </a:cubicBezTo>
                <a:cubicBezTo>
                  <a:pt x="158" y="33"/>
                  <a:pt x="158" y="33"/>
                  <a:pt x="158" y="33"/>
                </a:cubicBezTo>
                <a:cubicBezTo>
                  <a:pt x="158" y="33"/>
                  <a:pt x="158" y="33"/>
                  <a:pt x="158" y="33"/>
                </a:cubicBezTo>
                <a:cubicBezTo>
                  <a:pt x="158" y="33"/>
                  <a:pt x="157" y="32"/>
                  <a:pt x="156" y="31"/>
                </a:cubicBezTo>
                <a:cubicBezTo>
                  <a:pt x="156" y="31"/>
                  <a:pt x="156" y="31"/>
                  <a:pt x="156" y="31"/>
                </a:cubicBezTo>
                <a:cubicBezTo>
                  <a:pt x="156" y="30"/>
                  <a:pt x="155" y="30"/>
                  <a:pt x="155" y="30"/>
                </a:cubicBezTo>
                <a:cubicBezTo>
                  <a:pt x="155" y="30"/>
                  <a:pt x="155" y="30"/>
                  <a:pt x="155" y="30"/>
                </a:cubicBezTo>
                <a:cubicBezTo>
                  <a:pt x="155" y="30"/>
                  <a:pt x="155" y="30"/>
                  <a:pt x="154" y="29"/>
                </a:cubicBezTo>
                <a:cubicBezTo>
                  <a:pt x="154" y="29"/>
                  <a:pt x="154" y="28"/>
                  <a:pt x="154" y="27"/>
                </a:cubicBezTo>
                <a:cubicBezTo>
                  <a:pt x="154" y="27"/>
                  <a:pt x="154" y="26"/>
                  <a:pt x="154" y="26"/>
                </a:cubicBezTo>
                <a:cubicBezTo>
                  <a:pt x="153" y="26"/>
                  <a:pt x="153" y="26"/>
                  <a:pt x="153" y="26"/>
                </a:cubicBezTo>
                <a:cubicBezTo>
                  <a:pt x="153" y="25"/>
                  <a:pt x="153" y="25"/>
                  <a:pt x="153" y="24"/>
                </a:cubicBezTo>
                <a:cubicBezTo>
                  <a:pt x="152" y="24"/>
                  <a:pt x="152" y="23"/>
                  <a:pt x="152" y="23"/>
                </a:cubicBezTo>
                <a:cubicBezTo>
                  <a:pt x="152" y="23"/>
                  <a:pt x="152" y="23"/>
                  <a:pt x="152" y="23"/>
                </a:cubicBezTo>
                <a:cubicBezTo>
                  <a:pt x="151" y="22"/>
                  <a:pt x="151" y="22"/>
                  <a:pt x="151" y="22"/>
                </a:cubicBezTo>
                <a:cubicBezTo>
                  <a:pt x="150" y="20"/>
                  <a:pt x="150" y="18"/>
                  <a:pt x="150" y="17"/>
                </a:cubicBezTo>
                <a:cubicBezTo>
                  <a:pt x="150" y="16"/>
                  <a:pt x="150" y="16"/>
                  <a:pt x="150" y="16"/>
                </a:cubicBezTo>
                <a:cubicBezTo>
                  <a:pt x="150" y="16"/>
                  <a:pt x="150" y="16"/>
                  <a:pt x="150" y="16"/>
                </a:cubicBezTo>
                <a:cubicBezTo>
                  <a:pt x="150" y="15"/>
                  <a:pt x="150" y="15"/>
                  <a:pt x="150" y="15"/>
                </a:cubicBezTo>
                <a:cubicBezTo>
                  <a:pt x="150" y="14"/>
                  <a:pt x="150" y="14"/>
                  <a:pt x="149" y="13"/>
                </a:cubicBezTo>
                <a:cubicBezTo>
                  <a:pt x="149" y="11"/>
                  <a:pt x="149" y="9"/>
                  <a:pt x="148" y="8"/>
                </a:cubicBezTo>
                <a:cubicBezTo>
                  <a:pt x="148" y="7"/>
                  <a:pt x="148" y="7"/>
                  <a:pt x="148" y="7"/>
                </a:cubicBezTo>
                <a:cubicBezTo>
                  <a:pt x="148" y="7"/>
                  <a:pt x="148" y="7"/>
                  <a:pt x="148" y="6"/>
                </a:cubicBezTo>
                <a:cubicBezTo>
                  <a:pt x="144" y="8"/>
                  <a:pt x="144" y="8"/>
                  <a:pt x="144" y="8"/>
                </a:cubicBezTo>
                <a:cubicBezTo>
                  <a:pt x="143" y="9"/>
                  <a:pt x="141" y="10"/>
                  <a:pt x="140" y="9"/>
                </a:cubicBezTo>
                <a:cubicBezTo>
                  <a:pt x="139" y="8"/>
                  <a:pt x="139" y="8"/>
                  <a:pt x="138" y="7"/>
                </a:cubicBezTo>
                <a:cubicBezTo>
                  <a:pt x="138" y="7"/>
                  <a:pt x="138" y="7"/>
                  <a:pt x="138" y="7"/>
                </a:cubicBezTo>
                <a:cubicBezTo>
                  <a:pt x="138" y="7"/>
                  <a:pt x="138" y="7"/>
                  <a:pt x="137" y="7"/>
                </a:cubicBezTo>
                <a:cubicBezTo>
                  <a:pt x="136" y="5"/>
                  <a:pt x="136" y="5"/>
                  <a:pt x="136" y="5"/>
                </a:cubicBezTo>
                <a:cubicBezTo>
                  <a:pt x="135" y="4"/>
                  <a:pt x="134" y="4"/>
                  <a:pt x="133" y="3"/>
                </a:cubicBezTo>
                <a:cubicBezTo>
                  <a:pt x="119" y="0"/>
                  <a:pt x="119" y="0"/>
                  <a:pt x="119" y="0"/>
                </a:cubicBezTo>
                <a:cubicBezTo>
                  <a:pt x="77" y="26"/>
                  <a:pt x="77" y="26"/>
                  <a:pt x="77" y="26"/>
                </a:cubicBezTo>
                <a:cubicBezTo>
                  <a:pt x="74" y="27"/>
                  <a:pt x="72" y="29"/>
                  <a:pt x="70" y="31"/>
                </a:cubicBezTo>
                <a:cubicBezTo>
                  <a:pt x="68" y="32"/>
                  <a:pt x="67" y="34"/>
                  <a:pt x="65" y="35"/>
                </a:cubicBezTo>
                <a:cubicBezTo>
                  <a:pt x="61" y="39"/>
                  <a:pt x="61" y="39"/>
                  <a:pt x="61" y="39"/>
                </a:cubicBezTo>
                <a:cubicBezTo>
                  <a:pt x="60" y="40"/>
                  <a:pt x="59" y="41"/>
                  <a:pt x="58" y="42"/>
                </a:cubicBezTo>
                <a:cubicBezTo>
                  <a:pt x="57" y="42"/>
                  <a:pt x="57" y="42"/>
                  <a:pt x="57" y="42"/>
                </a:cubicBezTo>
                <a:cubicBezTo>
                  <a:pt x="57" y="42"/>
                  <a:pt x="57" y="43"/>
                  <a:pt x="57" y="43"/>
                </a:cubicBezTo>
                <a:cubicBezTo>
                  <a:pt x="55" y="44"/>
                  <a:pt x="53" y="44"/>
                  <a:pt x="51" y="45"/>
                </a:cubicBezTo>
                <a:cubicBezTo>
                  <a:pt x="50" y="45"/>
                  <a:pt x="49" y="45"/>
                  <a:pt x="49" y="45"/>
                </a:cubicBezTo>
                <a:cubicBezTo>
                  <a:pt x="41" y="46"/>
                  <a:pt x="41" y="46"/>
                  <a:pt x="41" y="46"/>
                </a:cubicBezTo>
                <a:cubicBezTo>
                  <a:pt x="41" y="52"/>
                  <a:pt x="41" y="52"/>
                  <a:pt x="41" y="52"/>
                </a:cubicBezTo>
                <a:cubicBezTo>
                  <a:pt x="41" y="55"/>
                  <a:pt x="41" y="58"/>
                  <a:pt x="41" y="61"/>
                </a:cubicBezTo>
                <a:cubicBezTo>
                  <a:pt x="41" y="63"/>
                  <a:pt x="41" y="63"/>
                  <a:pt x="41" y="63"/>
                </a:cubicBezTo>
                <a:cubicBezTo>
                  <a:pt x="41" y="67"/>
                  <a:pt x="40" y="70"/>
                  <a:pt x="40" y="73"/>
                </a:cubicBezTo>
                <a:cubicBezTo>
                  <a:pt x="40" y="74"/>
                  <a:pt x="40" y="74"/>
                  <a:pt x="40" y="75"/>
                </a:cubicBezTo>
                <a:cubicBezTo>
                  <a:pt x="39" y="76"/>
                  <a:pt x="39" y="77"/>
                  <a:pt x="38" y="78"/>
                </a:cubicBezTo>
                <a:cubicBezTo>
                  <a:pt x="38" y="79"/>
                  <a:pt x="38" y="79"/>
                  <a:pt x="38" y="79"/>
                </a:cubicBezTo>
                <a:cubicBezTo>
                  <a:pt x="38" y="80"/>
                  <a:pt x="38" y="80"/>
                  <a:pt x="38" y="80"/>
                </a:cubicBezTo>
                <a:cubicBezTo>
                  <a:pt x="37" y="81"/>
                  <a:pt x="37" y="82"/>
                  <a:pt x="36" y="83"/>
                </a:cubicBezTo>
                <a:cubicBezTo>
                  <a:pt x="36" y="83"/>
                  <a:pt x="36" y="83"/>
                  <a:pt x="35" y="84"/>
                </a:cubicBezTo>
                <a:cubicBezTo>
                  <a:pt x="34" y="85"/>
                  <a:pt x="33" y="86"/>
                  <a:pt x="32" y="86"/>
                </a:cubicBezTo>
                <a:cubicBezTo>
                  <a:pt x="31" y="87"/>
                  <a:pt x="31" y="86"/>
                  <a:pt x="30" y="86"/>
                </a:cubicBezTo>
                <a:cubicBezTo>
                  <a:pt x="30" y="86"/>
                  <a:pt x="30" y="86"/>
                  <a:pt x="30" y="86"/>
                </a:cubicBezTo>
                <a:cubicBezTo>
                  <a:pt x="30" y="86"/>
                  <a:pt x="30" y="86"/>
                  <a:pt x="30" y="86"/>
                </a:cubicBezTo>
                <a:cubicBezTo>
                  <a:pt x="30" y="86"/>
                  <a:pt x="30" y="86"/>
                  <a:pt x="30" y="86"/>
                </a:cubicBezTo>
                <a:cubicBezTo>
                  <a:pt x="29" y="86"/>
                  <a:pt x="29" y="86"/>
                  <a:pt x="29" y="86"/>
                </a:cubicBezTo>
                <a:cubicBezTo>
                  <a:pt x="28" y="86"/>
                  <a:pt x="28" y="86"/>
                  <a:pt x="28" y="86"/>
                </a:cubicBezTo>
                <a:cubicBezTo>
                  <a:pt x="28" y="87"/>
                  <a:pt x="27" y="87"/>
                  <a:pt x="27" y="87"/>
                </a:cubicBezTo>
                <a:cubicBezTo>
                  <a:pt x="26" y="87"/>
                  <a:pt x="25" y="87"/>
                  <a:pt x="24" y="87"/>
                </a:cubicBezTo>
                <a:cubicBezTo>
                  <a:pt x="24" y="87"/>
                  <a:pt x="24" y="87"/>
                  <a:pt x="24" y="87"/>
                </a:cubicBezTo>
                <a:cubicBezTo>
                  <a:pt x="24" y="87"/>
                  <a:pt x="23" y="87"/>
                  <a:pt x="23" y="87"/>
                </a:cubicBezTo>
                <a:cubicBezTo>
                  <a:pt x="19" y="87"/>
                  <a:pt x="15" y="87"/>
                  <a:pt x="10" y="87"/>
                </a:cubicBezTo>
                <a:cubicBezTo>
                  <a:pt x="9" y="88"/>
                  <a:pt x="7" y="88"/>
                  <a:pt x="5" y="89"/>
                </a:cubicBezTo>
                <a:cubicBezTo>
                  <a:pt x="4" y="89"/>
                  <a:pt x="3" y="90"/>
                  <a:pt x="2" y="90"/>
                </a:cubicBezTo>
                <a:cubicBezTo>
                  <a:pt x="2" y="90"/>
                  <a:pt x="2" y="90"/>
                  <a:pt x="1" y="90"/>
                </a:cubicBezTo>
                <a:cubicBezTo>
                  <a:pt x="1" y="90"/>
                  <a:pt x="1" y="91"/>
                  <a:pt x="0" y="91"/>
                </a:cubicBezTo>
                <a:cubicBezTo>
                  <a:pt x="0" y="91"/>
                  <a:pt x="0" y="91"/>
                  <a:pt x="0" y="91"/>
                </a:cubicBezTo>
                <a:cubicBezTo>
                  <a:pt x="0" y="91"/>
                  <a:pt x="0" y="91"/>
                  <a:pt x="0" y="91"/>
                </a:cubicBezTo>
                <a:cubicBezTo>
                  <a:pt x="0" y="91"/>
                  <a:pt x="0" y="91"/>
                  <a:pt x="0" y="91"/>
                </a:cubicBezTo>
                <a:cubicBezTo>
                  <a:pt x="0" y="95"/>
                  <a:pt x="0" y="95"/>
                  <a:pt x="0" y="95"/>
                </a:cubicBezTo>
                <a:cubicBezTo>
                  <a:pt x="0" y="95"/>
                  <a:pt x="0" y="95"/>
                  <a:pt x="0" y="96"/>
                </a:cubicBezTo>
                <a:cubicBezTo>
                  <a:pt x="0" y="96"/>
                  <a:pt x="0" y="96"/>
                  <a:pt x="0" y="96"/>
                </a:cubicBezTo>
                <a:cubicBezTo>
                  <a:pt x="1" y="96"/>
                  <a:pt x="1" y="97"/>
                  <a:pt x="1" y="98"/>
                </a:cubicBezTo>
                <a:cubicBezTo>
                  <a:pt x="2" y="98"/>
                  <a:pt x="2" y="99"/>
                  <a:pt x="2" y="100"/>
                </a:cubicBezTo>
                <a:cubicBezTo>
                  <a:pt x="2" y="100"/>
                  <a:pt x="2" y="101"/>
                  <a:pt x="3" y="101"/>
                </a:cubicBezTo>
                <a:cubicBezTo>
                  <a:pt x="3" y="102"/>
                  <a:pt x="3" y="102"/>
                  <a:pt x="3" y="102"/>
                </a:cubicBezTo>
                <a:cubicBezTo>
                  <a:pt x="3" y="102"/>
                  <a:pt x="3" y="102"/>
                  <a:pt x="4" y="102"/>
                </a:cubicBezTo>
                <a:cubicBezTo>
                  <a:pt x="4" y="102"/>
                  <a:pt x="4" y="102"/>
                  <a:pt x="4" y="102"/>
                </a:cubicBezTo>
                <a:cubicBezTo>
                  <a:pt x="5" y="102"/>
                  <a:pt x="5" y="102"/>
                  <a:pt x="5" y="102"/>
                </a:cubicBezTo>
                <a:cubicBezTo>
                  <a:pt x="6" y="103"/>
                  <a:pt x="7" y="103"/>
                  <a:pt x="8" y="104"/>
                </a:cubicBezTo>
                <a:cubicBezTo>
                  <a:pt x="9" y="104"/>
                  <a:pt x="9" y="105"/>
                  <a:pt x="10" y="105"/>
                </a:cubicBezTo>
                <a:cubicBezTo>
                  <a:pt x="15" y="110"/>
                  <a:pt x="15" y="110"/>
                  <a:pt x="15" y="110"/>
                </a:cubicBezTo>
                <a:cubicBezTo>
                  <a:pt x="9" y="107"/>
                  <a:pt x="9" y="107"/>
                  <a:pt x="9" y="107"/>
                </a:cubicBezTo>
                <a:cubicBezTo>
                  <a:pt x="8" y="107"/>
                  <a:pt x="8" y="107"/>
                  <a:pt x="8" y="107"/>
                </a:cubicBezTo>
                <a:cubicBezTo>
                  <a:pt x="8" y="108"/>
                  <a:pt x="8" y="108"/>
                  <a:pt x="8" y="108"/>
                </a:cubicBezTo>
                <a:cubicBezTo>
                  <a:pt x="8" y="108"/>
                  <a:pt x="8" y="108"/>
                  <a:pt x="7" y="108"/>
                </a:cubicBezTo>
                <a:cubicBezTo>
                  <a:pt x="7" y="108"/>
                  <a:pt x="7" y="108"/>
                  <a:pt x="7" y="108"/>
                </a:cubicBezTo>
                <a:cubicBezTo>
                  <a:pt x="7" y="108"/>
                  <a:pt x="7" y="109"/>
                  <a:pt x="7" y="109"/>
                </a:cubicBezTo>
                <a:cubicBezTo>
                  <a:pt x="7" y="109"/>
                  <a:pt x="7" y="109"/>
                  <a:pt x="7" y="109"/>
                </a:cubicBezTo>
                <a:cubicBezTo>
                  <a:pt x="7" y="109"/>
                  <a:pt x="7" y="109"/>
                  <a:pt x="7" y="109"/>
                </a:cubicBezTo>
                <a:cubicBezTo>
                  <a:pt x="8" y="109"/>
                  <a:pt x="8" y="109"/>
                  <a:pt x="8" y="109"/>
                </a:cubicBezTo>
                <a:cubicBezTo>
                  <a:pt x="8" y="109"/>
                  <a:pt x="8" y="109"/>
                  <a:pt x="8" y="109"/>
                </a:cubicBezTo>
                <a:cubicBezTo>
                  <a:pt x="9" y="110"/>
                  <a:pt x="10" y="110"/>
                  <a:pt x="11" y="111"/>
                </a:cubicBezTo>
                <a:cubicBezTo>
                  <a:pt x="11" y="111"/>
                  <a:pt x="11" y="111"/>
                  <a:pt x="12" y="111"/>
                </a:cubicBezTo>
                <a:cubicBezTo>
                  <a:pt x="12" y="111"/>
                  <a:pt x="12" y="112"/>
                  <a:pt x="12" y="112"/>
                </a:cubicBezTo>
                <a:cubicBezTo>
                  <a:pt x="13" y="112"/>
                  <a:pt x="14" y="112"/>
                  <a:pt x="14" y="113"/>
                </a:cubicBezTo>
                <a:cubicBezTo>
                  <a:pt x="15" y="112"/>
                  <a:pt x="15" y="112"/>
                  <a:pt x="15" y="112"/>
                </a:cubicBezTo>
                <a:cubicBezTo>
                  <a:pt x="16" y="112"/>
                  <a:pt x="16" y="112"/>
                  <a:pt x="17" y="112"/>
                </a:cubicBezTo>
                <a:cubicBezTo>
                  <a:pt x="18" y="112"/>
                  <a:pt x="18" y="112"/>
                  <a:pt x="18" y="112"/>
                </a:cubicBezTo>
                <a:cubicBezTo>
                  <a:pt x="19" y="112"/>
                  <a:pt x="19" y="113"/>
                  <a:pt x="20" y="114"/>
                </a:cubicBezTo>
                <a:cubicBezTo>
                  <a:pt x="20" y="114"/>
                  <a:pt x="20" y="114"/>
                  <a:pt x="20" y="115"/>
                </a:cubicBezTo>
                <a:cubicBezTo>
                  <a:pt x="20" y="115"/>
                  <a:pt x="20" y="116"/>
                  <a:pt x="20" y="116"/>
                </a:cubicBezTo>
                <a:cubicBezTo>
                  <a:pt x="20" y="117"/>
                  <a:pt x="19" y="117"/>
                  <a:pt x="19" y="117"/>
                </a:cubicBezTo>
                <a:cubicBezTo>
                  <a:pt x="19" y="117"/>
                  <a:pt x="19" y="117"/>
                  <a:pt x="19" y="117"/>
                </a:cubicBezTo>
                <a:cubicBezTo>
                  <a:pt x="19" y="117"/>
                  <a:pt x="19" y="117"/>
                  <a:pt x="19" y="117"/>
                </a:cubicBezTo>
                <a:cubicBezTo>
                  <a:pt x="19" y="117"/>
                  <a:pt x="19" y="118"/>
                  <a:pt x="19" y="118"/>
                </a:cubicBezTo>
                <a:cubicBezTo>
                  <a:pt x="19" y="117"/>
                  <a:pt x="20" y="117"/>
                  <a:pt x="20" y="116"/>
                </a:cubicBezTo>
                <a:cubicBezTo>
                  <a:pt x="20" y="116"/>
                  <a:pt x="20" y="116"/>
                  <a:pt x="20" y="116"/>
                </a:cubicBezTo>
                <a:cubicBezTo>
                  <a:pt x="21" y="116"/>
                  <a:pt x="21" y="116"/>
                  <a:pt x="22" y="116"/>
                </a:cubicBezTo>
                <a:cubicBezTo>
                  <a:pt x="22" y="116"/>
                  <a:pt x="22" y="116"/>
                  <a:pt x="22" y="116"/>
                </a:cubicBezTo>
                <a:cubicBezTo>
                  <a:pt x="23" y="116"/>
                  <a:pt x="23" y="115"/>
                  <a:pt x="24" y="115"/>
                </a:cubicBezTo>
                <a:cubicBezTo>
                  <a:pt x="24" y="115"/>
                  <a:pt x="24" y="115"/>
                  <a:pt x="25" y="115"/>
                </a:cubicBezTo>
                <a:cubicBezTo>
                  <a:pt x="25" y="115"/>
                  <a:pt x="25" y="115"/>
                  <a:pt x="25" y="115"/>
                </a:cubicBezTo>
                <a:cubicBezTo>
                  <a:pt x="25" y="115"/>
                  <a:pt x="25" y="115"/>
                  <a:pt x="25" y="115"/>
                </a:cubicBezTo>
                <a:cubicBezTo>
                  <a:pt x="25" y="115"/>
                  <a:pt x="25" y="115"/>
                  <a:pt x="26" y="115"/>
                </a:cubicBezTo>
                <a:cubicBezTo>
                  <a:pt x="26" y="115"/>
                  <a:pt x="26" y="115"/>
                  <a:pt x="26" y="115"/>
                </a:cubicBezTo>
                <a:cubicBezTo>
                  <a:pt x="26" y="116"/>
                  <a:pt x="27" y="116"/>
                  <a:pt x="27" y="117"/>
                </a:cubicBezTo>
                <a:cubicBezTo>
                  <a:pt x="29" y="118"/>
                  <a:pt x="30" y="120"/>
                  <a:pt x="32" y="121"/>
                </a:cubicBezTo>
                <a:cubicBezTo>
                  <a:pt x="32" y="121"/>
                  <a:pt x="32" y="121"/>
                  <a:pt x="32" y="121"/>
                </a:cubicBezTo>
                <a:cubicBezTo>
                  <a:pt x="32" y="119"/>
                  <a:pt x="32" y="118"/>
                  <a:pt x="32" y="116"/>
                </a:cubicBezTo>
                <a:cubicBezTo>
                  <a:pt x="32" y="116"/>
                  <a:pt x="32" y="116"/>
                  <a:pt x="32" y="116"/>
                </a:cubicBezTo>
                <a:cubicBezTo>
                  <a:pt x="32" y="115"/>
                  <a:pt x="32" y="115"/>
                  <a:pt x="32" y="115"/>
                </a:cubicBezTo>
                <a:cubicBezTo>
                  <a:pt x="32" y="115"/>
                  <a:pt x="32" y="115"/>
                  <a:pt x="32" y="115"/>
                </a:cubicBezTo>
                <a:cubicBezTo>
                  <a:pt x="32" y="115"/>
                  <a:pt x="32" y="114"/>
                  <a:pt x="33" y="114"/>
                </a:cubicBezTo>
                <a:cubicBezTo>
                  <a:pt x="33" y="114"/>
                  <a:pt x="33" y="114"/>
                  <a:pt x="33" y="114"/>
                </a:cubicBezTo>
                <a:cubicBezTo>
                  <a:pt x="33" y="113"/>
                  <a:pt x="33" y="113"/>
                  <a:pt x="33" y="113"/>
                </a:cubicBezTo>
                <a:cubicBezTo>
                  <a:pt x="34" y="113"/>
                  <a:pt x="34" y="113"/>
                  <a:pt x="34" y="113"/>
                </a:cubicBezTo>
                <a:cubicBezTo>
                  <a:pt x="32" y="111"/>
                  <a:pt x="32" y="111"/>
                  <a:pt x="32" y="111"/>
                </a:cubicBezTo>
                <a:cubicBezTo>
                  <a:pt x="34" y="112"/>
                  <a:pt x="34" y="112"/>
                  <a:pt x="34" y="112"/>
                </a:cubicBezTo>
                <a:cubicBezTo>
                  <a:pt x="34" y="112"/>
                  <a:pt x="34" y="112"/>
                  <a:pt x="34" y="112"/>
                </a:cubicBezTo>
                <a:cubicBezTo>
                  <a:pt x="34" y="112"/>
                  <a:pt x="34" y="112"/>
                  <a:pt x="34" y="112"/>
                </a:cubicBezTo>
                <a:cubicBezTo>
                  <a:pt x="37" y="107"/>
                  <a:pt x="37" y="107"/>
                  <a:pt x="37" y="107"/>
                </a:cubicBezTo>
                <a:cubicBezTo>
                  <a:pt x="37" y="107"/>
                  <a:pt x="37" y="107"/>
                  <a:pt x="37" y="107"/>
                </a:cubicBezTo>
                <a:cubicBezTo>
                  <a:pt x="37" y="107"/>
                  <a:pt x="37" y="107"/>
                  <a:pt x="37" y="106"/>
                </a:cubicBezTo>
                <a:cubicBezTo>
                  <a:pt x="37" y="106"/>
                  <a:pt x="37" y="105"/>
                  <a:pt x="37" y="104"/>
                </a:cubicBezTo>
                <a:cubicBezTo>
                  <a:pt x="38" y="103"/>
                  <a:pt x="41" y="102"/>
                  <a:pt x="43" y="101"/>
                </a:cubicBezTo>
                <a:cubicBezTo>
                  <a:pt x="44" y="101"/>
                  <a:pt x="45" y="101"/>
                  <a:pt x="46" y="101"/>
                </a:cubicBezTo>
                <a:cubicBezTo>
                  <a:pt x="48" y="100"/>
                  <a:pt x="50" y="100"/>
                  <a:pt x="52" y="100"/>
                </a:cubicBezTo>
                <a:cubicBezTo>
                  <a:pt x="52" y="100"/>
                  <a:pt x="52" y="100"/>
                  <a:pt x="52" y="100"/>
                </a:cubicBezTo>
                <a:cubicBezTo>
                  <a:pt x="52" y="100"/>
                  <a:pt x="52" y="100"/>
                  <a:pt x="52" y="100"/>
                </a:cubicBezTo>
                <a:cubicBezTo>
                  <a:pt x="53" y="100"/>
                  <a:pt x="53" y="100"/>
                  <a:pt x="53" y="100"/>
                </a:cubicBezTo>
                <a:cubicBezTo>
                  <a:pt x="53" y="100"/>
                  <a:pt x="54" y="100"/>
                  <a:pt x="54" y="100"/>
                </a:cubicBezTo>
                <a:cubicBezTo>
                  <a:pt x="54" y="100"/>
                  <a:pt x="55" y="100"/>
                  <a:pt x="55" y="100"/>
                </a:cubicBezTo>
                <a:cubicBezTo>
                  <a:pt x="56" y="100"/>
                  <a:pt x="56" y="101"/>
                  <a:pt x="56" y="101"/>
                </a:cubicBezTo>
                <a:cubicBezTo>
                  <a:pt x="57" y="101"/>
                  <a:pt x="57" y="101"/>
                  <a:pt x="57" y="101"/>
                </a:cubicBezTo>
                <a:cubicBezTo>
                  <a:pt x="57" y="101"/>
                  <a:pt x="57" y="101"/>
                  <a:pt x="57" y="101"/>
                </a:cubicBezTo>
                <a:cubicBezTo>
                  <a:pt x="59" y="101"/>
                  <a:pt x="60" y="101"/>
                  <a:pt x="61" y="102"/>
                </a:cubicBezTo>
                <a:cubicBezTo>
                  <a:pt x="62" y="103"/>
                  <a:pt x="62" y="103"/>
                  <a:pt x="62" y="103"/>
                </a:cubicBezTo>
                <a:cubicBezTo>
                  <a:pt x="63" y="103"/>
                  <a:pt x="63" y="104"/>
                  <a:pt x="64" y="104"/>
                </a:cubicBezTo>
                <a:cubicBezTo>
                  <a:pt x="68" y="108"/>
                  <a:pt x="68" y="108"/>
                  <a:pt x="68" y="108"/>
                </a:cubicBezTo>
                <a:cubicBezTo>
                  <a:pt x="68" y="108"/>
                  <a:pt x="68" y="108"/>
                  <a:pt x="68" y="108"/>
                </a:cubicBezTo>
                <a:cubicBezTo>
                  <a:pt x="69" y="108"/>
                  <a:pt x="69" y="108"/>
                  <a:pt x="69" y="108"/>
                </a:cubicBezTo>
                <a:cubicBezTo>
                  <a:pt x="69" y="108"/>
                  <a:pt x="70" y="108"/>
                  <a:pt x="70" y="108"/>
                </a:cubicBezTo>
                <a:cubicBezTo>
                  <a:pt x="70" y="107"/>
                  <a:pt x="71" y="107"/>
                  <a:pt x="71" y="107"/>
                </a:cubicBezTo>
                <a:cubicBezTo>
                  <a:pt x="71" y="107"/>
                  <a:pt x="71" y="107"/>
                  <a:pt x="71" y="107"/>
                </a:cubicBezTo>
                <a:cubicBezTo>
                  <a:pt x="73" y="106"/>
                  <a:pt x="74" y="105"/>
                  <a:pt x="76" y="105"/>
                </a:cubicBezTo>
                <a:cubicBezTo>
                  <a:pt x="76" y="105"/>
                  <a:pt x="77" y="105"/>
                  <a:pt x="77" y="105"/>
                </a:cubicBezTo>
                <a:cubicBezTo>
                  <a:pt x="78" y="105"/>
                  <a:pt x="78" y="105"/>
                  <a:pt x="78" y="105"/>
                </a:cubicBezTo>
                <a:cubicBezTo>
                  <a:pt x="78" y="105"/>
                  <a:pt x="78" y="105"/>
                  <a:pt x="78" y="105"/>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5" name="Freeform 3032">
            <a:extLst>
              <a:ext uri="{FF2B5EF4-FFF2-40B4-BE49-F238E27FC236}">
                <a16:creationId xmlns:a16="http://schemas.microsoft.com/office/drawing/2014/main" id="{901886C7-400F-4392-B29C-B68F5BC45C95}"/>
              </a:ext>
            </a:extLst>
          </p:cNvPr>
          <p:cNvSpPr>
            <a:spLocks/>
          </p:cNvSpPr>
          <p:nvPr/>
        </p:nvSpPr>
        <p:spPr bwMode="auto">
          <a:xfrm>
            <a:off x="3638322" y="3289645"/>
            <a:ext cx="129837" cy="147212"/>
          </a:xfrm>
          <a:custGeom>
            <a:avLst/>
            <a:gdLst>
              <a:gd name="T0" fmla="*/ 1 w 111"/>
              <a:gd name="T1" fmla="*/ 4 h 105"/>
              <a:gd name="T2" fmla="*/ 1 w 111"/>
              <a:gd name="T3" fmla="*/ 6 h 105"/>
              <a:gd name="T4" fmla="*/ 2 w 111"/>
              <a:gd name="T5" fmla="*/ 8 h 105"/>
              <a:gd name="T6" fmla="*/ 2 w 111"/>
              <a:gd name="T7" fmla="*/ 13 h 105"/>
              <a:gd name="T8" fmla="*/ 1 w 111"/>
              <a:gd name="T9" fmla="*/ 15 h 105"/>
              <a:gd name="T10" fmla="*/ 0 w 111"/>
              <a:gd name="T11" fmla="*/ 18 h 105"/>
              <a:gd name="T12" fmla="*/ 1 w 111"/>
              <a:gd name="T13" fmla="*/ 20 h 105"/>
              <a:gd name="T14" fmla="*/ 2 w 111"/>
              <a:gd name="T15" fmla="*/ 28 h 105"/>
              <a:gd name="T16" fmla="*/ 2 w 111"/>
              <a:gd name="T17" fmla="*/ 42 h 105"/>
              <a:gd name="T18" fmla="*/ 3 w 111"/>
              <a:gd name="T19" fmla="*/ 105 h 105"/>
              <a:gd name="T20" fmla="*/ 66 w 111"/>
              <a:gd name="T21" fmla="*/ 104 h 105"/>
              <a:gd name="T22" fmla="*/ 69 w 111"/>
              <a:gd name="T23" fmla="*/ 105 h 105"/>
              <a:gd name="T24" fmla="*/ 81 w 111"/>
              <a:gd name="T25" fmla="*/ 105 h 105"/>
              <a:gd name="T26" fmla="*/ 85 w 111"/>
              <a:gd name="T27" fmla="*/ 105 h 105"/>
              <a:gd name="T28" fmla="*/ 94 w 111"/>
              <a:gd name="T29" fmla="*/ 104 h 105"/>
              <a:gd name="T30" fmla="*/ 98 w 111"/>
              <a:gd name="T31" fmla="*/ 102 h 105"/>
              <a:gd name="T32" fmla="*/ 100 w 111"/>
              <a:gd name="T33" fmla="*/ 101 h 105"/>
              <a:gd name="T34" fmla="*/ 101 w 111"/>
              <a:gd name="T35" fmla="*/ 100 h 105"/>
              <a:gd name="T36" fmla="*/ 104 w 111"/>
              <a:gd name="T37" fmla="*/ 95 h 105"/>
              <a:gd name="T38" fmla="*/ 108 w 111"/>
              <a:gd name="T39" fmla="*/ 94 h 105"/>
              <a:gd name="T40" fmla="*/ 109 w 111"/>
              <a:gd name="T41" fmla="*/ 93 h 105"/>
              <a:gd name="T42" fmla="*/ 109 w 111"/>
              <a:gd name="T43" fmla="*/ 91 h 105"/>
              <a:gd name="T44" fmla="*/ 109 w 111"/>
              <a:gd name="T45" fmla="*/ 85 h 105"/>
              <a:gd name="T46" fmla="*/ 108 w 111"/>
              <a:gd name="T47" fmla="*/ 83 h 105"/>
              <a:gd name="T48" fmla="*/ 94 w 111"/>
              <a:gd name="T49" fmla="*/ 58 h 105"/>
              <a:gd name="T50" fmla="*/ 93 w 111"/>
              <a:gd name="T51" fmla="*/ 55 h 105"/>
              <a:gd name="T52" fmla="*/ 90 w 111"/>
              <a:gd name="T53" fmla="*/ 46 h 105"/>
              <a:gd name="T54" fmla="*/ 86 w 111"/>
              <a:gd name="T55" fmla="*/ 40 h 105"/>
              <a:gd name="T56" fmla="*/ 82 w 111"/>
              <a:gd name="T57" fmla="*/ 35 h 105"/>
              <a:gd name="T58" fmla="*/ 76 w 111"/>
              <a:gd name="T59" fmla="*/ 23 h 105"/>
              <a:gd name="T60" fmla="*/ 78 w 111"/>
              <a:gd name="T61" fmla="*/ 19 h 105"/>
              <a:gd name="T62" fmla="*/ 80 w 111"/>
              <a:gd name="T63" fmla="*/ 24 h 105"/>
              <a:gd name="T64" fmla="*/ 85 w 111"/>
              <a:gd name="T65" fmla="*/ 30 h 105"/>
              <a:gd name="T66" fmla="*/ 88 w 111"/>
              <a:gd name="T67" fmla="*/ 37 h 105"/>
              <a:gd name="T68" fmla="*/ 96 w 111"/>
              <a:gd name="T69" fmla="*/ 43 h 105"/>
              <a:gd name="T70" fmla="*/ 96 w 111"/>
              <a:gd name="T71" fmla="*/ 4 h 105"/>
              <a:gd name="T72" fmla="*/ 91 w 111"/>
              <a:gd name="T73" fmla="*/ 6 h 105"/>
              <a:gd name="T74" fmla="*/ 83 w 111"/>
              <a:gd name="T75" fmla="*/ 7 h 105"/>
              <a:gd name="T76" fmla="*/ 75 w 111"/>
              <a:gd name="T77" fmla="*/ 4 h 105"/>
              <a:gd name="T78" fmla="*/ 71 w 111"/>
              <a:gd name="T79" fmla="*/ 4 h 105"/>
              <a:gd name="T80" fmla="*/ 69 w 111"/>
              <a:gd name="T81" fmla="*/ 2 h 105"/>
              <a:gd name="T82" fmla="*/ 62 w 111"/>
              <a:gd name="T83" fmla="*/ 1 h 105"/>
              <a:gd name="T84" fmla="*/ 55 w 111"/>
              <a:gd name="T85" fmla="*/ 5 h 105"/>
              <a:gd name="T86" fmla="*/ 53 w 111"/>
              <a:gd name="T87" fmla="*/ 4 h 105"/>
              <a:gd name="T88" fmla="*/ 43 w 111"/>
              <a:gd name="T89" fmla="*/ 9 h 105"/>
              <a:gd name="T90" fmla="*/ 32 w 111"/>
              <a:gd name="T91" fmla="*/ 6 h 105"/>
              <a:gd name="T92" fmla="*/ 26 w 111"/>
              <a:gd name="T93" fmla="*/ 4 h 105"/>
              <a:gd name="T94" fmla="*/ 9 w 111"/>
              <a:gd name="T95" fmla="*/ 1 h 105"/>
              <a:gd name="T96" fmla="*/ 3 w 111"/>
              <a:gd name="T97" fmla="*/ 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105">
                <a:moveTo>
                  <a:pt x="3" y="2"/>
                </a:moveTo>
                <a:cubicBezTo>
                  <a:pt x="2" y="2"/>
                  <a:pt x="2" y="3"/>
                  <a:pt x="1" y="4"/>
                </a:cubicBezTo>
                <a:cubicBezTo>
                  <a:pt x="1" y="4"/>
                  <a:pt x="1" y="4"/>
                  <a:pt x="1" y="4"/>
                </a:cubicBezTo>
                <a:cubicBezTo>
                  <a:pt x="1" y="4"/>
                  <a:pt x="1" y="5"/>
                  <a:pt x="1" y="6"/>
                </a:cubicBezTo>
                <a:cubicBezTo>
                  <a:pt x="1" y="6"/>
                  <a:pt x="1" y="7"/>
                  <a:pt x="2" y="7"/>
                </a:cubicBezTo>
                <a:cubicBezTo>
                  <a:pt x="2" y="8"/>
                  <a:pt x="2" y="8"/>
                  <a:pt x="2" y="8"/>
                </a:cubicBezTo>
                <a:cubicBezTo>
                  <a:pt x="2" y="8"/>
                  <a:pt x="2" y="9"/>
                  <a:pt x="2" y="9"/>
                </a:cubicBezTo>
                <a:cubicBezTo>
                  <a:pt x="2" y="10"/>
                  <a:pt x="2" y="12"/>
                  <a:pt x="2" y="13"/>
                </a:cubicBezTo>
                <a:cubicBezTo>
                  <a:pt x="1" y="14"/>
                  <a:pt x="1" y="14"/>
                  <a:pt x="1" y="14"/>
                </a:cubicBezTo>
                <a:cubicBezTo>
                  <a:pt x="1" y="14"/>
                  <a:pt x="1" y="15"/>
                  <a:pt x="1" y="15"/>
                </a:cubicBezTo>
                <a:cubicBezTo>
                  <a:pt x="0" y="16"/>
                  <a:pt x="0" y="16"/>
                  <a:pt x="0" y="17"/>
                </a:cubicBezTo>
                <a:cubicBezTo>
                  <a:pt x="0" y="18"/>
                  <a:pt x="0" y="18"/>
                  <a:pt x="0" y="18"/>
                </a:cubicBezTo>
                <a:cubicBezTo>
                  <a:pt x="0" y="18"/>
                  <a:pt x="0" y="19"/>
                  <a:pt x="0" y="20"/>
                </a:cubicBezTo>
                <a:cubicBezTo>
                  <a:pt x="1" y="20"/>
                  <a:pt x="1" y="20"/>
                  <a:pt x="1" y="20"/>
                </a:cubicBezTo>
                <a:cubicBezTo>
                  <a:pt x="1" y="21"/>
                  <a:pt x="1" y="21"/>
                  <a:pt x="1" y="21"/>
                </a:cubicBezTo>
                <a:cubicBezTo>
                  <a:pt x="1" y="23"/>
                  <a:pt x="2" y="26"/>
                  <a:pt x="2" y="28"/>
                </a:cubicBezTo>
                <a:cubicBezTo>
                  <a:pt x="2" y="30"/>
                  <a:pt x="2" y="32"/>
                  <a:pt x="2" y="33"/>
                </a:cubicBezTo>
                <a:cubicBezTo>
                  <a:pt x="2" y="36"/>
                  <a:pt x="2" y="39"/>
                  <a:pt x="2" y="42"/>
                </a:cubicBezTo>
                <a:cubicBezTo>
                  <a:pt x="3" y="47"/>
                  <a:pt x="3" y="47"/>
                  <a:pt x="3" y="47"/>
                </a:cubicBezTo>
                <a:cubicBezTo>
                  <a:pt x="3" y="105"/>
                  <a:pt x="3" y="105"/>
                  <a:pt x="3" y="105"/>
                </a:cubicBezTo>
                <a:cubicBezTo>
                  <a:pt x="65" y="104"/>
                  <a:pt x="65" y="104"/>
                  <a:pt x="65" y="104"/>
                </a:cubicBezTo>
                <a:cubicBezTo>
                  <a:pt x="66" y="104"/>
                  <a:pt x="66" y="104"/>
                  <a:pt x="66" y="104"/>
                </a:cubicBezTo>
                <a:cubicBezTo>
                  <a:pt x="66" y="103"/>
                  <a:pt x="67" y="102"/>
                  <a:pt x="68" y="103"/>
                </a:cubicBezTo>
                <a:cubicBezTo>
                  <a:pt x="69" y="103"/>
                  <a:pt x="69" y="104"/>
                  <a:pt x="69" y="105"/>
                </a:cubicBezTo>
                <a:cubicBezTo>
                  <a:pt x="81" y="105"/>
                  <a:pt x="81" y="105"/>
                  <a:pt x="81" y="105"/>
                </a:cubicBezTo>
                <a:cubicBezTo>
                  <a:pt x="81" y="105"/>
                  <a:pt x="81" y="105"/>
                  <a:pt x="81" y="105"/>
                </a:cubicBezTo>
                <a:cubicBezTo>
                  <a:pt x="82" y="105"/>
                  <a:pt x="82" y="105"/>
                  <a:pt x="82" y="105"/>
                </a:cubicBezTo>
                <a:cubicBezTo>
                  <a:pt x="83" y="105"/>
                  <a:pt x="84" y="105"/>
                  <a:pt x="85" y="105"/>
                </a:cubicBezTo>
                <a:cubicBezTo>
                  <a:pt x="93" y="105"/>
                  <a:pt x="93" y="105"/>
                  <a:pt x="93" y="105"/>
                </a:cubicBezTo>
                <a:cubicBezTo>
                  <a:pt x="93" y="105"/>
                  <a:pt x="94" y="104"/>
                  <a:pt x="94" y="104"/>
                </a:cubicBezTo>
                <a:cubicBezTo>
                  <a:pt x="94" y="104"/>
                  <a:pt x="94" y="104"/>
                  <a:pt x="94" y="103"/>
                </a:cubicBezTo>
                <a:cubicBezTo>
                  <a:pt x="95" y="102"/>
                  <a:pt x="96" y="102"/>
                  <a:pt x="98" y="102"/>
                </a:cubicBezTo>
                <a:cubicBezTo>
                  <a:pt x="98" y="102"/>
                  <a:pt x="98" y="102"/>
                  <a:pt x="98" y="102"/>
                </a:cubicBezTo>
                <a:cubicBezTo>
                  <a:pt x="99" y="102"/>
                  <a:pt x="100" y="102"/>
                  <a:pt x="100" y="101"/>
                </a:cubicBezTo>
                <a:cubicBezTo>
                  <a:pt x="100" y="100"/>
                  <a:pt x="100" y="100"/>
                  <a:pt x="100" y="100"/>
                </a:cubicBezTo>
                <a:cubicBezTo>
                  <a:pt x="101" y="100"/>
                  <a:pt x="101" y="100"/>
                  <a:pt x="101" y="100"/>
                </a:cubicBezTo>
                <a:cubicBezTo>
                  <a:pt x="101" y="98"/>
                  <a:pt x="101" y="97"/>
                  <a:pt x="103" y="96"/>
                </a:cubicBezTo>
                <a:cubicBezTo>
                  <a:pt x="103" y="96"/>
                  <a:pt x="103" y="96"/>
                  <a:pt x="104" y="95"/>
                </a:cubicBezTo>
                <a:cubicBezTo>
                  <a:pt x="105" y="95"/>
                  <a:pt x="105" y="95"/>
                  <a:pt x="106" y="94"/>
                </a:cubicBezTo>
                <a:cubicBezTo>
                  <a:pt x="106" y="94"/>
                  <a:pt x="107" y="94"/>
                  <a:pt x="108" y="94"/>
                </a:cubicBezTo>
                <a:cubicBezTo>
                  <a:pt x="108" y="93"/>
                  <a:pt x="108" y="93"/>
                  <a:pt x="108" y="93"/>
                </a:cubicBezTo>
                <a:cubicBezTo>
                  <a:pt x="109" y="93"/>
                  <a:pt x="109" y="93"/>
                  <a:pt x="109" y="93"/>
                </a:cubicBezTo>
                <a:cubicBezTo>
                  <a:pt x="110" y="93"/>
                  <a:pt x="110" y="93"/>
                  <a:pt x="110" y="93"/>
                </a:cubicBezTo>
                <a:cubicBezTo>
                  <a:pt x="109" y="92"/>
                  <a:pt x="109" y="92"/>
                  <a:pt x="109" y="91"/>
                </a:cubicBezTo>
                <a:cubicBezTo>
                  <a:pt x="109" y="90"/>
                  <a:pt x="109" y="89"/>
                  <a:pt x="109" y="88"/>
                </a:cubicBezTo>
                <a:cubicBezTo>
                  <a:pt x="109" y="87"/>
                  <a:pt x="108" y="85"/>
                  <a:pt x="109" y="85"/>
                </a:cubicBezTo>
                <a:cubicBezTo>
                  <a:pt x="109" y="85"/>
                  <a:pt x="110" y="86"/>
                  <a:pt x="111" y="85"/>
                </a:cubicBezTo>
                <a:cubicBezTo>
                  <a:pt x="110" y="85"/>
                  <a:pt x="109" y="83"/>
                  <a:pt x="108" y="83"/>
                </a:cubicBezTo>
                <a:cubicBezTo>
                  <a:pt x="107" y="81"/>
                  <a:pt x="105" y="79"/>
                  <a:pt x="104" y="77"/>
                </a:cubicBezTo>
                <a:cubicBezTo>
                  <a:pt x="101" y="71"/>
                  <a:pt x="98" y="65"/>
                  <a:pt x="94" y="58"/>
                </a:cubicBezTo>
                <a:cubicBezTo>
                  <a:pt x="94" y="58"/>
                  <a:pt x="93" y="57"/>
                  <a:pt x="93" y="56"/>
                </a:cubicBezTo>
                <a:cubicBezTo>
                  <a:pt x="93" y="56"/>
                  <a:pt x="93" y="56"/>
                  <a:pt x="93" y="55"/>
                </a:cubicBezTo>
                <a:cubicBezTo>
                  <a:pt x="93" y="55"/>
                  <a:pt x="93" y="54"/>
                  <a:pt x="93" y="54"/>
                </a:cubicBezTo>
                <a:cubicBezTo>
                  <a:pt x="93" y="51"/>
                  <a:pt x="91" y="48"/>
                  <a:pt x="90" y="46"/>
                </a:cubicBezTo>
                <a:cubicBezTo>
                  <a:pt x="90" y="45"/>
                  <a:pt x="89" y="43"/>
                  <a:pt x="89" y="42"/>
                </a:cubicBezTo>
                <a:cubicBezTo>
                  <a:pt x="88" y="42"/>
                  <a:pt x="87" y="41"/>
                  <a:pt x="86" y="40"/>
                </a:cubicBezTo>
                <a:cubicBezTo>
                  <a:pt x="86" y="39"/>
                  <a:pt x="85" y="39"/>
                  <a:pt x="84" y="38"/>
                </a:cubicBezTo>
                <a:cubicBezTo>
                  <a:pt x="84" y="37"/>
                  <a:pt x="82" y="36"/>
                  <a:pt x="82" y="35"/>
                </a:cubicBezTo>
                <a:cubicBezTo>
                  <a:pt x="81" y="33"/>
                  <a:pt x="80" y="30"/>
                  <a:pt x="80" y="29"/>
                </a:cubicBezTo>
                <a:cubicBezTo>
                  <a:pt x="79" y="27"/>
                  <a:pt x="76" y="25"/>
                  <a:pt x="76" y="23"/>
                </a:cubicBezTo>
                <a:cubicBezTo>
                  <a:pt x="76" y="22"/>
                  <a:pt x="77" y="22"/>
                  <a:pt x="77" y="21"/>
                </a:cubicBezTo>
                <a:cubicBezTo>
                  <a:pt x="77" y="21"/>
                  <a:pt x="77" y="20"/>
                  <a:pt x="78" y="19"/>
                </a:cubicBezTo>
                <a:cubicBezTo>
                  <a:pt x="79" y="18"/>
                  <a:pt x="80" y="24"/>
                  <a:pt x="80" y="25"/>
                </a:cubicBezTo>
                <a:cubicBezTo>
                  <a:pt x="80" y="25"/>
                  <a:pt x="80" y="24"/>
                  <a:pt x="80" y="24"/>
                </a:cubicBezTo>
                <a:cubicBezTo>
                  <a:pt x="81" y="25"/>
                  <a:pt x="81" y="27"/>
                  <a:pt x="82" y="27"/>
                </a:cubicBezTo>
                <a:cubicBezTo>
                  <a:pt x="83" y="28"/>
                  <a:pt x="84" y="29"/>
                  <a:pt x="85" y="30"/>
                </a:cubicBezTo>
                <a:cubicBezTo>
                  <a:pt x="85" y="31"/>
                  <a:pt x="85" y="33"/>
                  <a:pt x="85" y="35"/>
                </a:cubicBezTo>
                <a:cubicBezTo>
                  <a:pt x="86" y="35"/>
                  <a:pt x="87" y="36"/>
                  <a:pt x="88" y="37"/>
                </a:cubicBezTo>
                <a:cubicBezTo>
                  <a:pt x="90" y="40"/>
                  <a:pt x="92" y="42"/>
                  <a:pt x="96" y="44"/>
                </a:cubicBezTo>
                <a:cubicBezTo>
                  <a:pt x="96" y="44"/>
                  <a:pt x="96" y="43"/>
                  <a:pt x="96" y="43"/>
                </a:cubicBezTo>
                <a:cubicBezTo>
                  <a:pt x="98" y="37"/>
                  <a:pt x="100" y="31"/>
                  <a:pt x="102" y="25"/>
                </a:cubicBezTo>
                <a:cubicBezTo>
                  <a:pt x="96" y="4"/>
                  <a:pt x="96" y="4"/>
                  <a:pt x="96" y="4"/>
                </a:cubicBezTo>
                <a:cubicBezTo>
                  <a:pt x="95" y="4"/>
                  <a:pt x="95" y="4"/>
                  <a:pt x="95" y="4"/>
                </a:cubicBezTo>
                <a:cubicBezTo>
                  <a:pt x="94" y="4"/>
                  <a:pt x="92" y="5"/>
                  <a:pt x="91" y="6"/>
                </a:cubicBezTo>
                <a:cubicBezTo>
                  <a:pt x="90" y="6"/>
                  <a:pt x="90" y="6"/>
                  <a:pt x="89" y="6"/>
                </a:cubicBezTo>
                <a:cubicBezTo>
                  <a:pt x="87" y="6"/>
                  <a:pt x="85" y="7"/>
                  <a:pt x="83" y="7"/>
                </a:cubicBezTo>
                <a:cubicBezTo>
                  <a:pt x="82" y="7"/>
                  <a:pt x="80" y="7"/>
                  <a:pt x="79" y="6"/>
                </a:cubicBezTo>
                <a:cubicBezTo>
                  <a:pt x="78" y="6"/>
                  <a:pt x="76" y="4"/>
                  <a:pt x="75" y="4"/>
                </a:cubicBezTo>
                <a:cubicBezTo>
                  <a:pt x="77" y="5"/>
                  <a:pt x="75" y="6"/>
                  <a:pt x="74" y="7"/>
                </a:cubicBezTo>
                <a:cubicBezTo>
                  <a:pt x="73" y="6"/>
                  <a:pt x="71" y="5"/>
                  <a:pt x="71" y="4"/>
                </a:cubicBezTo>
                <a:cubicBezTo>
                  <a:pt x="71" y="4"/>
                  <a:pt x="72" y="2"/>
                  <a:pt x="72" y="1"/>
                </a:cubicBezTo>
                <a:cubicBezTo>
                  <a:pt x="71" y="1"/>
                  <a:pt x="70" y="2"/>
                  <a:pt x="69" y="2"/>
                </a:cubicBezTo>
                <a:cubicBezTo>
                  <a:pt x="68" y="3"/>
                  <a:pt x="66" y="1"/>
                  <a:pt x="65" y="1"/>
                </a:cubicBezTo>
                <a:cubicBezTo>
                  <a:pt x="63" y="1"/>
                  <a:pt x="63" y="1"/>
                  <a:pt x="62" y="1"/>
                </a:cubicBezTo>
                <a:cubicBezTo>
                  <a:pt x="59" y="2"/>
                  <a:pt x="56" y="2"/>
                  <a:pt x="54" y="4"/>
                </a:cubicBezTo>
                <a:cubicBezTo>
                  <a:pt x="54" y="4"/>
                  <a:pt x="55" y="5"/>
                  <a:pt x="55" y="5"/>
                </a:cubicBezTo>
                <a:cubicBezTo>
                  <a:pt x="55" y="5"/>
                  <a:pt x="55" y="5"/>
                  <a:pt x="54" y="5"/>
                </a:cubicBezTo>
                <a:cubicBezTo>
                  <a:pt x="54" y="5"/>
                  <a:pt x="54" y="4"/>
                  <a:pt x="53" y="4"/>
                </a:cubicBezTo>
                <a:cubicBezTo>
                  <a:pt x="52" y="5"/>
                  <a:pt x="52" y="5"/>
                  <a:pt x="51" y="6"/>
                </a:cubicBezTo>
                <a:cubicBezTo>
                  <a:pt x="49" y="7"/>
                  <a:pt x="46" y="9"/>
                  <a:pt x="43" y="9"/>
                </a:cubicBezTo>
                <a:cubicBezTo>
                  <a:pt x="41" y="9"/>
                  <a:pt x="41" y="8"/>
                  <a:pt x="40" y="8"/>
                </a:cubicBezTo>
                <a:cubicBezTo>
                  <a:pt x="38" y="7"/>
                  <a:pt x="35" y="7"/>
                  <a:pt x="32" y="6"/>
                </a:cubicBezTo>
                <a:cubicBezTo>
                  <a:pt x="31" y="6"/>
                  <a:pt x="29" y="6"/>
                  <a:pt x="28" y="5"/>
                </a:cubicBezTo>
                <a:cubicBezTo>
                  <a:pt x="27" y="5"/>
                  <a:pt x="26" y="5"/>
                  <a:pt x="26" y="4"/>
                </a:cubicBezTo>
                <a:cubicBezTo>
                  <a:pt x="23" y="3"/>
                  <a:pt x="20" y="3"/>
                  <a:pt x="18" y="2"/>
                </a:cubicBezTo>
                <a:cubicBezTo>
                  <a:pt x="15" y="1"/>
                  <a:pt x="12" y="0"/>
                  <a:pt x="9" y="1"/>
                </a:cubicBezTo>
                <a:cubicBezTo>
                  <a:pt x="8" y="1"/>
                  <a:pt x="5" y="2"/>
                  <a:pt x="3" y="1"/>
                </a:cubicBezTo>
                <a:lnTo>
                  <a:pt x="3" y="2"/>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6" name="Rectangle 3033">
            <a:extLst>
              <a:ext uri="{FF2B5EF4-FFF2-40B4-BE49-F238E27FC236}">
                <a16:creationId xmlns:a16="http://schemas.microsoft.com/office/drawing/2014/main" id="{B5717B1C-580A-4FC6-A38C-15AE4DD2897D}"/>
              </a:ext>
            </a:extLst>
          </p:cNvPr>
          <p:cNvSpPr>
            <a:spLocks noChangeArrowheads="1"/>
          </p:cNvSpPr>
          <p:nvPr/>
        </p:nvSpPr>
        <p:spPr bwMode="auto">
          <a:xfrm>
            <a:off x="3616021" y="3601282"/>
            <a:ext cx="496" cy="594"/>
          </a:xfrm>
          <a:prstGeom prst="rect">
            <a:avLst/>
          </a:prstGeom>
          <a:solidFill>
            <a:schemeClr val="tx1">
              <a:lumMod val="40000"/>
              <a:lumOff val="60000"/>
            </a:schemeClr>
          </a:solid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7" name="Freeform 3034">
            <a:extLst>
              <a:ext uri="{FF2B5EF4-FFF2-40B4-BE49-F238E27FC236}">
                <a16:creationId xmlns:a16="http://schemas.microsoft.com/office/drawing/2014/main" id="{F84CBAAC-2F0F-4FE9-80A3-67F1259E494D}"/>
              </a:ext>
            </a:extLst>
          </p:cNvPr>
          <p:cNvSpPr>
            <a:spLocks/>
          </p:cNvSpPr>
          <p:nvPr/>
        </p:nvSpPr>
        <p:spPr bwMode="auto">
          <a:xfrm>
            <a:off x="3603137" y="3423204"/>
            <a:ext cx="197729" cy="283738"/>
          </a:xfrm>
          <a:custGeom>
            <a:avLst/>
            <a:gdLst>
              <a:gd name="T0" fmla="*/ 135 w 169"/>
              <a:gd name="T1" fmla="*/ 3 h 202"/>
              <a:gd name="T2" fmla="*/ 129 w 169"/>
              <a:gd name="T3" fmla="*/ 10 h 202"/>
              <a:gd name="T4" fmla="*/ 124 w 169"/>
              <a:gd name="T5" fmla="*/ 12 h 202"/>
              <a:gd name="T6" fmla="*/ 96 w 169"/>
              <a:gd name="T7" fmla="*/ 11 h 202"/>
              <a:gd name="T8" fmla="*/ 32 w 169"/>
              <a:gd name="T9" fmla="*/ 16 h 202"/>
              <a:gd name="T10" fmla="*/ 23 w 169"/>
              <a:gd name="T11" fmla="*/ 34 h 202"/>
              <a:gd name="T12" fmla="*/ 22 w 169"/>
              <a:gd name="T13" fmla="*/ 38 h 202"/>
              <a:gd name="T14" fmla="*/ 19 w 169"/>
              <a:gd name="T15" fmla="*/ 79 h 202"/>
              <a:gd name="T16" fmla="*/ 10 w 169"/>
              <a:gd name="T17" fmla="*/ 86 h 202"/>
              <a:gd name="T18" fmla="*/ 7 w 169"/>
              <a:gd name="T19" fmla="*/ 90 h 202"/>
              <a:gd name="T20" fmla="*/ 6 w 169"/>
              <a:gd name="T21" fmla="*/ 92 h 202"/>
              <a:gd name="T22" fmla="*/ 8 w 169"/>
              <a:gd name="T23" fmla="*/ 95 h 202"/>
              <a:gd name="T24" fmla="*/ 4 w 169"/>
              <a:gd name="T25" fmla="*/ 100 h 202"/>
              <a:gd name="T26" fmla="*/ 2 w 169"/>
              <a:gd name="T27" fmla="*/ 105 h 202"/>
              <a:gd name="T28" fmla="*/ 1 w 169"/>
              <a:gd name="T29" fmla="*/ 108 h 202"/>
              <a:gd name="T30" fmla="*/ 6 w 169"/>
              <a:gd name="T31" fmla="*/ 114 h 202"/>
              <a:gd name="T32" fmla="*/ 8 w 169"/>
              <a:gd name="T33" fmla="*/ 118 h 202"/>
              <a:gd name="T34" fmla="*/ 11 w 169"/>
              <a:gd name="T35" fmla="*/ 127 h 202"/>
              <a:gd name="T36" fmla="*/ 15 w 169"/>
              <a:gd name="T37" fmla="*/ 132 h 202"/>
              <a:gd name="T38" fmla="*/ 19 w 169"/>
              <a:gd name="T39" fmla="*/ 143 h 202"/>
              <a:gd name="T40" fmla="*/ 17 w 169"/>
              <a:gd name="T41" fmla="*/ 148 h 202"/>
              <a:gd name="T42" fmla="*/ 24 w 169"/>
              <a:gd name="T43" fmla="*/ 150 h 202"/>
              <a:gd name="T44" fmla="*/ 27 w 169"/>
              <a:gd name="T45" fmla="*/ 154 h 202"/>
              <a:gd name="T46" fmla="*/ 35 w 169"/>
              <a:gd name="T47" fmla="*/ 158 h 202"/>
              <a:gd name="T48" fmla="*/ 36 w 169"/>
              <a:gd name="T49" fmla="*/ 162 h 202"/>
              <a:gd name="T50" fmla="*/ 47 w 169"/>
              <a:gd name="T51" fmla="*/ 169 h 202"/>
              <a:gd name="T52" fmla="*/ 46 w 169"/>
              <a:gd name="T53" fmla="*/ 174 h 202"/>
              <a:gd name="T54" fmla="*/ 48 w 169"/>
              <a:gd name="T55" fmla="*/ 177 h 202"/>
              <a:gd name="T56" fmla="*/ 55 w 169"/>
              <a:gd name="T57" fmla="*/ 183 h 202"/>
              <a:gd name="T58" fmla="*/ 64 w 169"/>
              <a:gd name="T59" fmla="*/ 194 h 202"/>
              <a:gd name="T60" fmla="*/ 75 w 169"/>
              <a:gd name="T61" fmla="*/ 194 h 202"/>
              <a:gd name="T62" fmla="*/ 82 w 169"/>
              <a:gd name="T63" fmla="*/ 191 h 202"/>
              <a:gd name="T64" fmla="*/ 86 w 169"/>
              <a:gd name="T65" fmla="*/ 198 h 202"/>
              <a:gd name="T66" fmla="*/ 91 w 169"/>
              <a:gd name="T67" fmla="*/ 202 h 202"/>
              <a:gd name="T68" fmla="*/ 96 w 169"/>
              <a:gd name="T69" fmla="*/ 200 h 202"/>
              <a:gd name="T70" fmla="*/ 104 w 169"/>
              <a:gd name="T71" fmla="*/ 202 h 202"/>
              <a:gd name="T72" fmla="*/ 115 w 169"/>
              <a:gd name="T73" fmla="*/ 199 h 202"/>
              <a:gd name="T74" fmla="*/ 124 w 169"/>
              <a:gd name="T75" fmla="*/ 194 h 202"/>
              <a:gd name="T76" fmla="*/ 139 w 169"/>
              <a:gd name="T77" fmla="*/ 190 h 202"/>
              <a:gd name="T78" fmla="*/ 140 w 169"/>
              <a:gd name="T79" fmla="*/ 188 h 202"/>
              <a:gd name="T80" fmla="*/ 140 w 169"/>
              <a:gd name="T81" fmla="*/ 186 h 202"/>
              <a:gd name="T82" fmla="*/ 134 w 169"/>
              <a:gd name="T83" fmla="*/ 182 h 202"/>
              <a:gd name="T84" fmla="*/ 126 w 169"/>
              <a:gd name="T85" fmla="*/ 169 h 202"/>
              <a:gd name="T86" fmla="*/ 120 w 169"/>
              <a:gd name="T87" fmla="*/ 162 h 202"/>
              <a:gd name="T88" fmla="*/ 114 w 169"/>
              <a:gd name="T89" fmla="*/ 160 h 202"/>
              <a:gd name="T90" fmla="*/ 116 w 169"/>
              <a:gd name="T91" fmla="*/ 151 h 202"/>
              <a:gd name="T92" fmla="*/ 122 w 169"/>
              <a:gd name="T93" fmla="*/ 152 h 202"/>
              <a:gd name="T94" fmla="*/ 124 w 169"/>
              <a:gd name="T95" fmla="*/ 138 h 202"/>
              <a:gd name="T96" fmla="*/ 126 w 169"/>
              <a:gd name="T97" fmla="*/ 130 h 202"/>
              <a:gd name="T98" fmla="*/ 129 w 169"/>
              <a:gd name="T99" fmla="*/ 127 h 202"/>
              <a:gd name="T100" fmla="*/ 131 w 169"/>
              <a:gd name="T101" fmla="*/ 128 h 202"/>
              <a:gd name="T102" fmla="*/ 132 w 169"/>
              <a:gd name="T103" fmla="*/ 127 h 202"/>
              <a:gd name="T104" fmla="*/ 132 w 169"/>
              <a:gd name="T105" fmla="*/ 123 h 202"/>
              <a:gd name="T106" fmla="*/ 138 w 169"/>
              <a:gd name="T107" fmla="*/ 111 h 202"/>
              <a:gd name="T108" fmla="*/ 144 w 169"/>
              <a:gd name="T109" fmla="*/ 108 h 202"/>
              <a:gd name="T110" fmla="*/ 147 w 169"/>
              <a:gd name="T111" fmla="*/ 97 h 202"/>
              <a:gd name="T112" fmla="*/ 150 w 169"/>
              <a:gd name="T113" fmla="*/ 76 h 202"/>
              <a:gd name="T114" fmla="*/ 155 w 169"/>
              <a:gd name="T115" fmla="*/ 62 h 202"/>
              <a:gd name="T116" fmla="*/ 161 w 169"/>
              <a:gd name="T117" fmla="*/ 59 h 202"/>
              <a:gd name="T118" fmla="*/ 165 w 169"/>
              <a:gd name="T119" fmla="*/ 55 h 202"/>
              <a:gd name="T120" fmla="*/ 169 w 169"/>
              <a:gd name="T121" fmla="*/ 53 h 202"/>
              <a:gd name="T122" fmla="*/ 157 w 169"/>
              <a:gd name="T123" fmla="*/ 22 h 202"/>
              <a:gd name="T124" fmla="*/ 140 w 169"/>
              <a:gd name="T125"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9" h="202">
                <a:moveTo>
                  <a:pt x="140" y="0"/>
                </a:moveTo>
                <a:cubicBezTo>
                  <a:pt x="140" y="0"/>
                  <a:pt x="140" y="0"/>
                  <a:pt x="140" y="0"/>
                </a:cubicBezTo>
                <a:cubicBezTo>
                  <a:pt x="139" y="0"/>
                  <a:pt x="139" y="1"/>
                  <a:pt x="139" y="1"/>
                </a:cubicBezTo>
                <a:cubicBezTo>
                  <a:pt x="138" y="1"/>
                  <a:pt x="138" y="1"/>
                  <a:pt x="137" y="2"/>
                </a:cubicBezTo>
                <a:cubicBezTo>
                  <a:pt x="137" y="2"/>
                  <a:pt x="137" y="2"/>
                  <a:pt x="137" y="2"/>
                </a:cubicBezTo>
                <a:cubicBezTo>
                  <a:pt x="136" y="2"/>
                  <a:pt x="136" y="2"/>
                  <a:pt x="135" y="3"/>
                </a:cubicBezTo>
                <a:cubicBezTo>
                  <a:pt x="135" y="3"/>
                  <a:pt x="135" y="3"/>
                  <a:pt x="135" y="3"/>
                </a:cubicBezTo>
                <a:cubicBezTo>
                  <a:pt x="135" y="3"/>
                  <a:pt x="134" y="3"/>
                  <a:pt x="134" y="3"/>
                </a:cubicBezTo>
                <a:cubicBezTo>
                  <a:pt x="134" y="3"/>
                  <a:pt x="133" y="5"/>
                  <a:pt x="133" y="5"/>
                </a:cubicBezTo>
                <a:cubicBezTo>
                  <a:pt x="133" y="6"/>
                  <a:pt x="133" y="6"/>
                  <a:pt x="133" y="6"/>
                </a:cubicBezTo>
                <a:cubicBezTo>
                  <a:pt x="133" y="6"/>
                  <a:pt x="133" y="6"/>
                  <a:pt x="132" y="7"/>
                </a:cubicBezTo>
                <a:cubicBezTo>
                  <a:pt x="131" y="9"/>
                  <a:pt x="130" y="9"/>
                  <a:pt x="129" y="10"/>
                </a:cubicBezTo>
                <a:cubicBezTo>
                  <a:pt x="128" y="10"/>
                  <a:pt x="128" y="10"/>
                  <a:pt x="128" y="10"/>
                </a:cubicBezTo>
                <a:cubicBezTo>
                  <a:pt x="127" y="10"/>
                  <a:pt x="126" y="10"/>
                  <a:pt x="126" y="10"/>
                </a:cubicBezTo>
                <a:cubicBezTo>
                  <a:pt x="126" y="10"/>
                  <a:pt x="126" y="10"/>
                  <a:pt x="126" y="10"/>
                </a:cubicBezTo>
                <a:cubicBezTo>
                  <a:pt x="126" y="11"/>
                  <a:pt x="126" y="11"/>
                  <a:pt x="125" y="11"/>
                </a:cubicBezTo>
                <a:cubicBezTo>
                  <a:pt x="125" y="12"/>
                  <a:pt x="125" y="12"/>
                  <a:pt x="125" y="12"/>
                </a:cubicBezTo>
                <a:cubicBezTo>
                  <a:pt x="125" y="12"/>
                  <a:pt x="124" y="12"/>
                  <a:pt x="124" y="12"/>
                </a:cubicBezTo>
                <a:cubicBezTo>
                  <a:pt x="114" y="12"/>
                  <a:pt x="114" y="12"/>
                  <a:pt x="114" y="12"/>
                </a:cubicBezTo>
                <a:cubicBezTo>
                  <a:pt x="114" y="12"/>
                  <a:pt x="113" y="12"/>
                  <a:pt x="112" y="12"/>
                </a:cubicBezTo>
                <a:cubicBezTo>
                  <a:pt x="111" y="12"/>
                  <a:pt x="111" y="12"/>
                  <a:pt x="111" y="12"/>
                </a:cubicBezTo>
                <a:cubicBezTo>
                  <a:pt x="96" y="12"/>
                  <a:pt x="96" y="12"/>
                  <a:pt x="96" y="12"/>
                </a:cubicBezTo>
                <a:cubicBezTo>
                  <a:pt x="96" y="11"/>
                  <a:pt x="96" y="11"/>
                  <a:pt x="96" y="11"/>
                </a:cubicBezTo>
                <a:cubicBezTo>
                  <a:pt x="96" y="11"/>
                  <a:pt x="96" y="11"/>
                  <a:pt x="96" y="11"/>
                </a:cubicBezTo>
                <a:cubicBezTo>
                  <a:pt x="96" y="11"/>
                  <a:pt x="96" y="11"/>
                  <a:pt x="96" y="11"/>
                </a:cubicBezTo>
                <a:cubicBezTo>
                  <a:pt x="32" y="12"/>
                  <a:pt x="32" y="12"/>
                  <a:pt x="32" y="12"/>
                </a:cubicBezTo>
                <a:cubicBezTo>
                  <a:pt x="32" y="12"/>
                  <a:pt x="32" y="12"/>
                  <a:pt x="32" y="12"/>
                </a:cubicBezTo>
                <a:cubicBezTo>
                  <a:pt x="32" y="14"/>
                  <a:pt x="32" y="14"/>
                  <a:pt x="32" y="14"/>
                </a:cubicBezTo>
                <a:cubicBezTo>
                  <a:pt x="32" y="16"/>
                  <a:pt x="32" y="16"/>
                  <a:pt x="32" y="16"/>
                </a:cubicBezTo>
                <a:cubicBezTo>
                  <a:pt x="32" y="16"/>
                  <a:pt x="32" y="16"/>
                  <a:pt x="32" y="16"/>
                </a:cubicBezTo>
                <a:cubicBezTo>
                  <a:pt x="33" y="32"/>
                  <a:pt x="33" y="32"/>
                  <a:pt x="33" y="32"/>
                </a:cubicBezTo>
                <a:cubicBezTo>
                  <a:pt x="33" y="33"/>
                  <a:pt x="32" y="33"/>
                  <a:pt x="31" y="34"/>
                </a:cubicBezTo>
                <a:cubicBezTo>
                  <a:pt x="31" y="34"/>
                  <a:pt x="30" y="34"/>
                  <a:pt x="29" y="34"/>
                </a:cubicBezTo>
                <a:cubicBezTo>
                  <a:pt x="28" y="34"/>
                  <a:pt x="28" y="34"/>
                  <a:pt x="27" y="34"/>
                </a:cubicBezTo>
                <a:cubicBezTo>
                  <a:pt x="26" y="34"/>
                  <a:pt x="26" y="34"/>
                  <a:pt x="25" y="34"/>
                </a:cubicBezTo>
                <a:cubicBezTo>
                  <a:pt x="24" y="34"/>
                  <a:pt x="24" y="34"/>
                  <a:pt x="23" y="34"/>
                </a:cubicBezTo>
                <a:cubicBezTo>
                  <a:pt x="23" y="34"/>
                  <a:pt x="22" y="34"/>
                  <a:pt x="22" y="34"/>
                </a:cubicBezTo>
                <a:cubicBezTo>
                  <a:pt x="22" y="34"/>
                  <a:pt x="22" y="34"/>
                  <a:pt x="22" y="34"/>
                </a:cubicBezTo>
                <a:cubicBezTo>
                  <a:pt x="22" y="34"/>
                  <a:pt x="22" y="35"/>
                  <a:pt x="22" y="37"/>
                </a:cubicBezTo>
                <a:cubicBezTo>
                  <a:pt x="22" y="37"/>
                  <a:pt x="22" y="37"/>
                  <a:pt x="22" y="37"/>
                </a:cubicBezTo>
                <a:cubicBezTo>
                  <a:pt x="22" y="37"/>
                  <a:pt x="22" y="37"/>
                  <a:pt x="22" y="37"/>
                </a:cubicBezTo>
                <a:cubicBezTo>
                  <a:pt x="22" y="38"/>
                  <a:pt x="22" y="38"/>
                  <a:pt x="22" y="38"/>
                </a:cubicBezTo>
                <a:cubicBezTo>
                  <a:pt x="22" y="39"/>
                  <a:pt x="22" y="39"/>
                  <a:pt x="22" y="39"/>
                </a:cubicBezTo>
                <a:cubicBezTo>
                  <a:pt x="22" y="39"/>
                  <a:pt x="22" y="39"/>
                  <a:pt x="22" y="39"/>
                </a:cubicBezTo>
                <a:cubicBezTo>
                  <a:pt x="22" y="41"/>
                  <a:pt x="22" y="41"/>
                  <a:pt x="22" y="41"/>
                </a:cubicBezTo>
                <a:cubicBezTo>
                  <a:pt x="22" y="79"/>
                  <a:pt x="22" y="79"/>
                  <a:pt x="22" y="79"/>
                </a:cubicBezTo>
                <a:cubicBezTo>
                  <a:pt x="21" y="79"/>
                  <a:pt x="21" y="79"/>
                  <a:pt x="21" y="79"/>
                </a:cubicBezTo>
                <a:cubicBezTo>
                  <a:pt x="20" y="79"/>
                  <a:pt x="19" y="79"/>
                  <a:pt x="19" y="79"/>
                </a:cubicBezTo>
                <a:cubicBezTo>
                  <a:pt x="16" y="79"/>
                  <a:pt x="12" y="78"/>
                  <a:pt x="11" y="80"/>
                </a:cubicBezTo>
                <a:cubicBezTo>
                  <a:pt x="11" y="81"/>
                  <a:pt x="10" y="82"/>
                  <a:pt x="10" y="83"/>
                </a:cubicBezTo>
                <a:cubicBezTo>
                  <a:pt x="10" y="84"/>
                  <a:pt x="10" y="84"/>
                  <a:pt x="10" y="84"/>
                </a:cubicBezTo>
                <a:cubicBezTo>
                  <a:pt x="10" y="84"/>
                  <a:pt x="10" y="85"/>
                  <a:pt x="10" y="86"/>
                </a:cubicBezTo>
                <a:cubicBezTo>
                  <a:pt x="12" y="86"/>
                  <a:pt x="12" y="86"/>
                  <a:pt x="12" y="86"/>
                </a:cubicBezTo>
                <a:cubicBezTo>
                  <a:pt x="10" y="86"/>
                  <a:pt x="10" y="86"/>
                  <a:pt x="10" y="86"/>
                </a:cubicBezTo>
                <a:cubicBezTo>
                  <a:pt x="10" y="86"/>
                  <a:pt x="10" y="86"/>
                  <a:pt x="10" y="86"/>
                </a:cubicBezTo>
                <a:cubicBezTo>
                  <a:pt x="9" y="87"/>
                  <a:pt x="9" y="87"/>
                  <a:pt x="9" y="87"/>
                </a:cubicBezTo>
                <a:cubicBezTo>
                  <a:pt x="9" y="87"/>
                  <a:pt x="9" y="88"/>
                  <a:pt x="9" y="88"/>
                </a:cubicBezTo>
                <a:cubicBezTo>
                  <a:pt x="9" y="88"/>
                  <a:pt x="8" y="89"/>
                  <a:pt x="8" y="89"/>
                </a:cubicBezTo>
                <a:cubicBezTo>
                  <a:pt x="8" y="89"/>
                  <a:pt x="7" y="90"/>
                  <a:pt x="7" y="90"/>
                </a:cubicBezTo>
                <a:cubicBezTo>
                  <a:pt x="7" y="90"/>
                  <a:pt x="7" y="90"/>
                  <a:pt x="7" y="90"/>
                </a:cubicBezTo>
                <a:cubicBezTo>
                  <a:pt x="7" y="90"/>
                  <a:pt x="7" y="90"/>
                  <a:pt x="7" y="90"/>
                </a:cubicBezTo>
                <a:cubicBezTo>
                  <a:pt x="6" y="90"/>
                  <a:pt x="6" y="90"/>
                  <a:pt x="6" y="90"/>
                </a:cubicBezTo>
                <a:cubicBezTo>
                  <a:pt x="6" y="90"/>
                  <a:pt x="6" y="90"/>
                  <a:pt x="6" y="90"/>
                </a:cubicBezTo>
                <a:cubicBezTo>
                  <a:pt x="6" y="90"/>
                  <a:pt x="6" y="90"/>
                  <a:pt x="6" y="91"/>
                </a:cubicBezTo>
                <a:cubicBezTo>
                  <a:pt x="6" y="91"/>
                  <a:pt x="6" y="91"/>
                  <a:pt x="6" y="91"/>
                </a:cubicBezTo>
                <a:cubicBezTo>
                  <a:pt x="6" y="91"/>
                  <a:pt x="6" y="92"/>
                  <a:pt x="6" y="92"/>
                </a:cubicBezTo>
                <a:cubicBezTo>
                  <a:pt x="6" y="92"/>
                  <a:pt x="6" y="92"/>
                  <a:pt x="6" y="92"/>
                </a:cubicBezTo>
                <a:cubicBezTo>
                  <a:pt x="6" y="92"/>
                  <a:pt x="6" y="92"/>
                  <a:pt x="6" y="92"/>
                </a:cubicBezTo>
                <a:cubicBezTo>
                  <a:pt x="6" y="92"/>
                  <a:pt x="6" y="92"/>
                  <a:pt x="6" y="92"/>
                </a:cubicBezTo>
                <a:cubicBezTo>
                  <a:pt x="7" y="92"/>
                  <a:pt x="7" y="92"/>
                  <a:pt x="7" y="92"/>
                </a:cubicBezTo>
                <a:cubicBezTo>
                  <a:pt x="7" y="93"/>
                  <a:pt x="7" y="93"/>
                  <a:pt x="7" y="94"/>
                </a:cubicBezTo>
                <a:cubicBezTo>
                  <a:pt x="8" y="95"/>
                  <a:pt x="8" y="95"/>
                  <a:pt x="8" y="95"/>
                </a:cubicBezTo>
                <a:cubicBezTo>
                  <a:pt x="6" y="95"/>
                  <a:pt x="6" y="95"/>
                  <a:pt x="6" y="95"/>
                </a:cubicBezTo>
                <a:cubicBezTo>
                  <a:pt x="6" y="95"/>
                  <a:pt x="6" y="96"/>
                  <a:pt x="5" y="96"/>
                </a:cubicBezTo>
                <a:cubicBezTo>
                  <a:pt x="4" y="97"/>
                  <a:pt x="4" y="97"/>
                  <a:pt x="4" y="97"/>
                </a:cubicBezTo>
                <a:cubicBezTo>
                  <a:pt x="4" y="97"/>
                  <a:pt x="4" y="97"/>
                  <a:pt x="4" y="97"/>
                </a:cubicBezTo>
                <a:cubicBezTo>
                  <a:pt x="3" y="97"/>
                  <a:pt x="3" y="97"/>
                  <a:pt x="3" y="97"/>
                </a:cubicBezTo>
                <a:cubicBezTo>
                  <a:pt x="3" y="98"/>
                  <a:pt x="3" y="98"/>
                  <a:pt x="4" y="100"/>
                </a:cubicBezTo>
                <a:cubicBezTo>
                  <a:pt x="4" y="100"/>
                  <a:pt x="4" y="101"/>
                  <a:pt x="4" y="101"/>
                </a:cubicBezTo>
                <a:cubicBezTo>
                  <a:pt x="5" y="101"/>
                  <a:pt x="5" y="101"/>
                  <a:pt x="5" y="101"/>
                </a:cubicBezTo>
                <a:cubicBezTo>
                  <a:pt x="5" y="101"/>
                  <a:pt x="5" y="102"/>
                  <a:pt x="5" y="102"/>
                </a:cubicBezTo>
                <a:cubicBezTo>
                  <a:pt x="5" y="103"/>
                  <a:pt x="4" y="104"/>
                  <a:pt x="3" y="104"/>
                </a:cubicBezTo>
                <a:cubicBezTo>
                  <a:pt x="3" y="105"/>
                  <a:pt x="3" y="105"/>
                  <a:pt x="3" y="105"/>
                </a:cubicBezTo>
                <a:cubicBezTo>
                  <a:pt x="2" y="105"/>
                  <a:pt x="2" y="105"/>
                  <a:pt x="2" y="105"/>
                </a:cubicBezTo>
                <a:cubicBezTo>
                  <a:pt x="2" y="106"/>
                  <a:pt x="1" y="107"/>
                  <a:pt x="1" y="108"/>
                </a:cubicBezTo>
                <a:cubicBezTo>
                  <a:pt x="1" y="108"/>
                  <a:pt x="0" y="108"/>
                  <a:pt x="0" y="108"/>
                </a:cubicBezTo>
                <a:cubicBezTo>
                  <a:pt x="0" y="108"/>
                  <a:pt x="0" y="108"/>
                  <a:pt x="0" y="108"/>
                </a:cubicBezTo>
                <a:cubicBezTo>
                  <a:pt x="1" y="108"/>
                  <a:pt x="1" y="108"/>
                  <a:pt x="1" y="108"/>
                </a:cubicBezTo>
                <a:cubicBezTo>
                  <a:pt x="1" y="108"/>
                  <a:pt x="1" y="108"/>
                  <a:pt x="1" y="108"/>
                </a:cubicBezTo>
                <a:cubicBezTo>
                  <a:pt x="1" y="108"/>
                  <a:pt x="1" y="108"/>
                  <a:pt x="1" y="108"/>
                </a:cubicBezTo>
                <a:cubicBezTo>
                  <a:pt x="1" y="108"/>
                  <a:pt x="1" y="108"/>
                  <a:pt x="1" y="108"/>
                </a:cubicBezTo>
                <a:cubicBezTo>
                  <a:pt x="1" y="108"/>
                  <a:pt x="2" y="108"/>
                  <a:pt x="2" y="108"/>
                </a:cubicBezTo>
                <a:cubicBezTo>
                  <a:pt x="2" y="107"/>
                  <a:pt x="3" y="107"/>
                  <a:pt x="3" y="107"/>
                </a:cubicBezTo>
                <a:cubicBezTo>
                  <a:pt x="4" y="108"/>
                  <a:pt x="4" y="108"/>
                  <a:pt x="4" y="108"/>
                </a:cubicBezTo>
                <a:cubicBezTo>
                  <a:pt x="4" y="108"/>
                  <a:pt x="4" y="108"/>
                  <a:pt x="5" y="108"/>
                </a:cubicBezTo>
                <a:cubicBezTo>
                  <a:pt x="5" y="109"/>
                  <a:pt x="6" y="111"/>
                  <a:pt x="6" y="114"/>
                </a:cubicBezTo>
                <a:cubicBezTo>
                  <a:pt x="6" y="114"/>
                  <a:pt x="6" y="114"/>
                  <a:pt x="6" y="114"/>
                </a:cubicBezTo>
                <a:cubicBezTo>
                  <a:pt x="7" y="114"/>
                  <a:pt x="7" y="114"/>
                  <a:pt x="7" y="114"/>
                </a:cubicBezTo>
                <a:cubicBezTo>
                  <a:pt x="9" y="115"/>
                  <a:pt x="9" y="115"/>
                  <a:pt x="9" y="115"/>
                </a:cubicBezTo>
                <a:cubicBezTo>
                  <a:pt x="8" y="116"/>
                  <a:pt x="8" y="116"/>
                  <a:pt x="8" y="116"/>
                </a:cubicBezTo>
                <a:cubicBezTo>
                  <a:pt x="8" y="116"/>
                  <a:pt x="8" y="117"/>
                  <a:pt x="8" y="117"/>
                </a:cubicBezTo>
                <a:cubicBezTo>
                  <a:pt x="8" y="118"/>
                  <a:pt x="8" y="118"/>
                  <a:pt x="8" y="118"/>
                </a:cubicBezTo>
                <a:cubicBezTo>
                  <a:pt x="8" y="120"/>
                  <a:pt x="8" y="120"/>
                  <a:pt x="8" y="121"/>
                </a:cubicBezTo>
                <a:cubicBezTo>
                  <a:pt x="9" y="121"/>
                  <a:pt x="9" y="121"/>
                  <a:pt x="9" y="121"/>
                </a:cubicBezTo>
                <a:cubicBezTo>
                  <a:pt x="10" y="121"/>
                  <a:pt x="11" y="122"/>
                  <a:pt x="11" y="123"/>
                </a:cubicBezTo>
                <a:cubicBezTo>
                  <a:pt x="12" y="124"/>
                  <a:pt x="12" y="125"/>
                  <a:pt x="11" y="126"/>
                </a:cubicBezTo>
                <a:cubicBezTo>
                  <a:pt x="11" y="126"/>
                  <a:pt x="11" y="126"/>
                  <a:pt x="11" y="126"/>
                </a:cubicBezTo>
                <a:cubicBezTo>
                  <a:pt x="11" y="126"/>
                  <a:pt x="11" y="127"/>
                  <a:pt x="11" y="127"/>
                </a:cubicBezTo>
                <a:cubicBezTo>
                  <a:pt x="11" y="127"/>
                  <a:pt x="11" y="127"/>
                  <a:pt x="11" y="127"/>
                </a:cubicBezTo>
                <a:cubicBezTo>
                  <a:pt x="11" y="127"/>
                  <a:pt x="11" y="127"/>
                  <a:pt x="11" y="127"/>
                </a:cubicBezTo>
                <a:cubicBezTo>
                  <a:pt x="11" y="127"/>
                  <a:pt x="11" y="127"/>
                  <a:pt x="11" y="127"/>
                </a:cubicBezTo>
                <a:cubicBezTo>
                  <a:pt x="11" y="127"/>
                  <a:pt x="11" y="127"/>
                  <a:pt x="11" y="127"/>
                </a:cubicBezTo>
                <a:cubicBezTo>
                  <a:pt x="13" y="130"/>
                  <a:pt x="13" y="130"/>
                  <a:pt x="13" y="130"/>
                </a:cubicBezTo>
                <a:cubicBezTo>
                  <a:pt x="14" y="131"/>
                  <a:pt x="14" y="131"/>
                  <a:pt x="15" y="132"/>
                </a:cubicBezTo>
                <a:cubicBezTo>
                  <a:pt x="15" y="132"/>
                  <a:pt x="15" y="132"/>
                  <a:pt x="15" y="132"/>
                </a:cubicBezTo>
                <a:cubicBezTo>
                  <a:pt x="16" y="133"/>
                  <a:pt x="16" y="134"/>
                  <a:pt x="17" y="135"/>
                </a:cubicBezTo>
                <a:cubicBezTo>
                  <a:pt x="18" y="136"/>
                  <a:pt x="19" y="138"/>
                  <a:pt x="19" y="140"/>
                </a:cubicBezTo>
                <a:cubicBezTo>
                  <a:pt x="19" y="140"/>
                  <a:pt x="19" y="141"/>
                  <a:pt x="19" y="141"/>
                </a:cubicBezTo>
                <a:cubicBezTo>
                  <a:pt x="19" y="142"/>
                  <a:pt x="19" y="142"/>
                  <a:pt x="19" y="142"/>
                </a:cubicBezTo>
                <a:cubicBezTo>
                  <a:pt x="19" y="142"/>
                  <a:pt x="19" y="142"/>
                  <a:pt x="19" y="143"/>
                </a:cubicBezTo>
                <a:cubicBezTo>
                  <a:pt x="19" y="143"/>
                  <a:pt x="19" y="143"/>
                  <a:pt x="19" y="144"/>
                </a:cubicBezTo>
                <a:cubicBezTo>
                  <a:pt x="19" y="145"/>
                  <a:pt x="18" y="146"/>
                  <a:pt x="18" y="146"/>
                </a:cubicBezTo>
                <a:cubicBezTo>
                  <a:pt x="18" y="146"/>
                  <a:pt x="17" y="146"/>
                  <a:pt x="17" y="146"/>
                </a:cubicBezTo>
                <a:cubicBezTo>
                  <a:pt x="17" y="146"/>
                  <a:pt x="17" y="147"/>
                  <a:pt x="17" y="147"/>
                </a:cubicBezTo>
                <a:cubicBezTo>
                  <a:pt x="17" y="147"/>
                  <a:pt x="17" y="147"/>
                  <a:pt x="17" y="147"/>
                </a:cubicBezTo>
                <a:cubicBezTo>
                  <a:pt x="17" y="148"/>
                  <a:pt x="17" y="148"/>
                  <a:pt x="17" y="148"/>
                </a:cubicBezTo>
                <a:cubicBezTo>
                  <a:pt x="17" y="148"/>
                  <a:pt x="17" y="149"/>
                  <a:pt x="17" y="149"/>
                </a:cubicBezTo>
                <a:cubicBezTo>
                  <a:pt x="18" y="149"/>
                  <a:pt x="18" y="149"/>
                  <a:pt x="19" y="149"/>
                </a:cubicBezTo>
                <a:cubicBezTo>
                  <a:pt x="19" y="149"/>
                  <a:pt x="19" y="149"/>
                  <a:pt x="19" y="149"/>
                </a:cubicBezTo>
                <a:cubicBezTo>
                  <a:pt x="20" y="149"/>
                  <a:pt x="20" y="149"/>
                  <a:pt x="20" y="149"/>
                </a:cubicBezTo>
                <a:cubicBezTo>
                  <a:pt x="22" y="149"/>
                  <a:pt x="22" y="149"/>
                  <a:pt x="22" y="149"/>
                </a:cubicBezTo>
                <a:cubicBezTo>
                  <a:pt x="22" y="149"/>
                  <a:pt x="23" y="149"/>
                  <a:pt x="24" y="150"/>
                </a:cubicBezTo>
                <a:cubicBezTo>
                  <a:pt x="24" y="151"/>
                  <a:pt x="24" y="151"/>
                  <a:pt x="24" y="152"/>
                </a:cubicBezTo>
                <a:cubicBezTo>
                  <a:pt x="24" y="152"/>
                  <a:pt x="24" y="152"/>
                  <a:pt x="25" y="153"/>
                </a:cubicBezTo>
                <a:cubicBezTo>
                  <a:pt x="25" y="153"/>
                  <a:pt x="25" y="153"/>
                  <a:pt x="25" y="154"/>
                </a:cubicBezTo>
                <a:cubicBezTo>
                  <a:pt x="25" y="154"/>
                  <a:pt x="25" y="154"/>
                  <a:pt x="26" y="154"/>
                </a:cubicBezTo>
                <a:cubicBezTo>
                  <a:pt x="26" y="154"/>
                  <a:pt x="26" y="154"/>
                  <a:pt x="26" y="154"/>
                </a:cubicBezTo>
                <a:cubicBezTo>
                  <a:pt x="26" y="154"/>
                  <a:pt x="27" y="154"/>
                  <a:pt x="27" y="154"/>
                </a:cubicBezTo>
                <a:cubicBezTo>
                  <a:pt x="27" y="154"/>
                  <a:pt x="27" y="154"/>
                  <a:pt x="27" y="154"/>
                </a:cubicBezTo>
                <a:cubicBezTo>
                  <a:pt x="28" y="154"/>
                  <a:pt x="29" y="154"/>
                  <a:pt x="30" y="155"/>
                </a:cubicBezTo>
                <a:cubicBezTo>
                  <a:pt x="31" y="155"/>
                  <a:pt x="33" y="156"/>
                  <a:pt x="34" y="157"/>
                </a:cubicBezTo>
                <a:cubicBezTo>
                  <a:pt x="34" y="157"/>
                  <a:pt x="34" y="158"/>
                  <a:pt x="34" y="158"/>
                </a:cubicBezTo>
                <a:cubicBezTo>
                  <a:pt x="34" y="158"/>
                  <a:pt x="34" y="158"/>
                  <a:pt x="34" y="158"/>
                </a:cubicBezTo>
                <a:cubicBezTo>
                  <a:pt x="35" y="158"/>
                  <a:pt x="35" y="158"/>
                  <a:pt x="35" y="158"/>
                </a:cubicBezTo>
                <a:cubicBezTo>
                  <a:pt x="35" y="159"/>
                  <a:pt x="35" y="159"/>
                  <a:pt x="35" y="159"/>
                </a:cubicBezTo>
                <a:cubicBezTo>
                  <a:pt x="35" y="159"/>
                  <a:pt x="35" y="159"/>
                  <a:pt x="35" y="159"/>
                </a:cubicBezTo>
                <a:cubicBezTo>
                  <a:pt x="35" y="160"/>
                  <a:pt x="35" y="160"/>
                  <a:pt x="35" y="160"/>
                </a:cubicBezTo>
                <a:cubicBezTo>
                  <a:pt x="35" y="160"/>
                  <a:pt x="35" y="160"/>
                  <a:pt x="35" y="160"/>
                </a:cubicBezTo>
                <a:cubicBezTo>
                  <a:pt x="35" y="160"/>
                  <a:pt x="35" y="161"/>
                  <a:pt x="35" y="161"/>
                </a:cubicBezTo>
                <a:cubicBezTo>
                  <a:pt x="36" y="161"/>
                  <a:pt x="36" y="161"/>
                  <a:pt x="36" y="162"/>
                </a:cubicBezTo>
                <a:cubicBezTo>
                  <a:pt x="45" y="169"/>
                  <a:pt x="45" y="169"/>
                  <a:pt x="45" y="169"/>
                </a:cubicBezTo>
                <a:cubicBezTo>
                  <a:pt x="46" y="168"/>
                  <a:pt x="46" y="168"/>
                  <a:pt x="46" y="168"/>
                </a:cubicBezTo>
                <a:cubicBezTo>
                  <a:pt x="45" y="170"/>
                  <a:pt x="45" y="170"/>
                  <a:pt x="45" y="170"/>
                </a:cubicBezTo>
                <a:cubicBezTo>
                  <a:pt x="46" y="170"/>
                  <a:pt x="46" y="170"/>
                  <a:pt x="46" y="170"/>
                </a:cubicBezTo>
                <a:cubicBezTo>
                  <a:pt x="46" y="170"/>
                  <a:pt x="46" y="170"/>
                  <a:pt x="46" y="170"/>
                </a:cubicBezTo>
                <a:cubicBezTo>
                  <a:pt x="47" y="169"/>
                  <a:pt x="47" y="169"/>
                  <a:pt x="47" y="169"/>
                </a:cubicBezTo>
                <a:cubicBezTo>
                  <a:pt x="46" y="170"/>
                  <a:pt x="46" y="170"/>
                  <a:pt x="46" y="170"/>
                </a:cubicBezTo>
                <a:cubicBezTo>
                  <a:pt x="46" y="171"/>
                  <a:pt x="46" y="171"/>
                  <a:pt x="46" y="171"/>
                </a:cubicBezTo>
                <a:cubicBezTo>
                  <a:pt x="47" y="171"/>
                  <a:pt x="47" y="172"/>
                  <a:pt x="47" y="172"/>
                </a:cubicBezTo>
                <a:cubicBezTo>
                  <a:pt x="46" y="173"/>
                  <a:pt x="46" y="173"/>
                  <a:pt x="46" y="173"/>
                </a:cubicBezTo>
                <a:cubicBezTo>
                  <a:pt x="46" y="174"/>
                  <a:pt x="46" y="174"/>
                  <a:pt x="46" y="174"/>
                </a:cubicBezTo>
                <a:cubicBezTo>
                  <a:pt x="46" y="174"/>
                  <a:pt x="46" y="174"/>
                  <a:pt x="46" y="174"/>
                </a:cubicBezTo>
                <a:cubicBezTo>
                  <a:pt x="46" y="174"/>
                  <a:pt x="46" y="174"/>
                  <a:pt x="46" y="175"/>
                </a:cubicBezTo>
                <a:cubicBezTo>
                  <a:pt x="46" y="175"/>
                  <a:pt x="46" y="175"/>
                  <a:pt x="46" y="175"/>
                </a:cubicBezTo>
                <a:cubicBezTo>
                  <a:pt x="46" y="175"/>
                  <a:pt x="46" y="175"/>
                  <a:pt x="47" y="175"/>
                </a:cubicBezTo>
                <a:cubicBezTo>
                  <a:pt x="47" y="176"/>
                  <a:pt x="47" y="176"/>
                  <a:pt x="47" y="176"/>
                </a:cubicBezTo>
                <a:cubicBezTo>
                  <a:pt x="47" y="176"/>
                  <a:pt x="47" y="176"/>
                  <a:pt x="47" y="176"/>
                </a:cubicBezTo>
                <a:cubicBezTo>
                  <a:pt x="47" y="176"/>
                  <a:pt x="48" y="176"/>
                  <a:pt x="48" y="177"/>
                </a:cubicBezTo>
                <a:cubicBezTo>
                  <a:pt x="49" y="177"/>
                  <a:pt x="49" y="177"/>
                  <a:pt x="49" y="177"/>
                </a:cubicBezTo>
                <a:cubicBezTo>
                  <a:pt x="50" y="177"/>
                  <a:pt x="51" y="178"/>
                  <a:pt x="52" y="178"/>
                </a:cubicBezTo>
                <a:cubicBezTo>
                  <a:pt x="53" y="179"/>
                  <a:pt x="55" y="180"/>
                  <a:pt x="56" y="182"/>
                </a:cubicBezTo>
                <a:cubicBezTo>
                  <a:pt x="56" y="182"/>
                  <a:pt x="56" y="183"/>
                  <a:pt x="56" y="183"/>
                </a:cubicBezTo>
                <a:cubicBezTo>
                  <a:pt x="55" y="183"/>
                  <a:pt x="55" y="183"/>
                  <a:pt x="55" y="183"/>
                </a:cubicBezTo>
                <a:cubicBezTo>
                  <a:pt x="55" y="183"/>
                  <a:pt x="55" y="183"/>
                  <a:pt x="55" y="183"/>
                </a:cubicBezTo>
                <a:cubicBezTo>
                  <a:pt x="56" y="183"/>
                  <a:pt x="56" y="183"/>
                  <a:pt x="56" y="183"/>
                </a:cubicBezTo>
                <a:cubicBezTo>
                  <a:pt x="56" y="183"/>
                  <a:pt x="56" y="183"/>
                  <a:pt x="56" y="184"/>
                </a:cubicBezTo>
                <a:cubicBezTo>
                  <a:pt x="56" y="184"/>
                  <a:pt x="57" y="185"/>
                  <a:pt x="57" y="186"/>
                </a:cubicBezTo>
                <a:cubicBezTo>
                  <a:pt x="57" y="187"/>
                  <a:pt x="57" y="187"/>
                  <a:pt x="57" y="187"/>
                </a:cubicBezTo>
                <a:cubicBezTo>
                  <a:pt x="59" y="188"/>
                  <a:pt x="60" y="190"/>
                  <a:pt x="61" y="191"/>
                </a:cubicBezTo>
                <a:cubicBezTo>
                  <a:pt x="61" y="192"/>
                  <a:pt x="63" y="193"/>
                  <a:pt x="64" y="194"/>
                </a:cubicBezTo>
                <a:cubicBezTo>
                  <a:pt x="65" y="194"/>
                  <a:pt x="65" y="194"/>
                  <a:pt x="65" y="194"/>
                </a:cubicBezTo>
                <a:cubicBezTo>
                  <a:pt x="66" y="194"/>
                  <a:pt x="66" y="194"/>
                  <a:pt x="66" y="194"/>
                </a:cubicBezTo>
                <a:cubicBezTo>
                  <a:pt x="66" y="194"/>
                  <a:pt x="66" y="194"/>
                  <a:pt x="66" y="194"/>
                </a:cubicBezTo>
                <a:cubicBezTo>
                  <a:pt x="66" y="194"/>
                  <a:pt x="67" y="193"/>
                  <a:pt x="68" y="193"/>
                </a:cubicBezTo>
                <a:cubicBezTo>
                  <a:pt x="69" y="193"/>
                  <a:pt x="70" y="193"/>
                  <a:pt x="72" y="193"/>
                </a:cubicBezTo>
                <a:cubicBezTo>
                  <a:pt x="73" y="194"/>
                  <a:pt x="74" y="194"/>
                  <a:pt x="75" y="194"/>
                </a:cubicBezTo>
                <a:cubicBezTo>
                  <a:pt x="75" y="194"/>
                  <a:pt x="75" y="194"/>
                  <a:pt x="75" y="194"/>
                </a:cubicBezTo>
                <a:cubicBezTo>
                  <a:pt x="75" y="193"/>
                  <a:pt x="75" y="193"/>
                  <a:pt x="75" y="193"/>
                </a:cubicBezTo>
                <a:cubicBezTo>
                  <a:pt x="75" y="193"/>
                  <a:pt x="75" y="193"/>
                  <a:pt x="75" y="193"/>
                </a:cubicBezTo>
                <a:cubicBezTo>
                  <a:pt x="77" y="192"/>
                  <a:pt x="78" y="192"/>
                  <a:pt x="79" y="192"/>
                </a:cubicBezTo>
                <a:cubicBezTo>
                  <a:pt x="80" y="192"/>
                  <a:pt x="80" y="192"/>
                  <a:pt x="80" y="192"/>
                </a:cubicBezTo>
                <a:cubicBezTo>
                  <a:pt x="82" y="191"/>
                  <a:pt x="82" y="191"/>
                  <a:pt x="82" y="191"/>
                </a:cubicBezTo>
                <a:cubicBezTo>
                  <a:pt x="82" y="193"/>
                  <a:pt x="82" y="193"/>
                  <a:pt x="82" y="193"/>
                </a:cubicBezTo>
                <a:cubicBezTo>
                  <a:pt x="82" y="193"/>
                  <a:pt x="82" y="193"/>
                  <a:pt x="82" y="194"/>
                </a:cubicBezTo>
                <a:cubicBezTo>
                  <a:pt x="82" y="194"/>
                  <a:pt x="82" y="194"/>
                  <a:pt x="82" y="195"/>
                </a:cubicBezTo>
                <a:cubicBezTo>
                  <a:pt x="83" y="196"/>
                  <a:pt x="83" y="196"/>
                  <a:pt x="83" y="196"/>
                </a:cubicBezTo>
                <a:cubicBezTo>
                  <a:pt x="84" y="197"/>
                  <a:pt x="85" y="197"/>
                  <a:pt x="86" y="198"/>
                </a:cubicBezTo>
                <a:cubicBezTo>
                  <a:pt x="86" y="198"/>
                  <a:pt x="86" y="198"/>
                  <a:pt x="86" y="198"/>
                </a:cubicBezTo>
                <a:cubicBezTo>
                  <a:pt x="87" y="198"/>
                  <a:pt x="87" y="198"/>
                  <a:pt x="87" y="198"/>
                </a:cubicBezTo>
                <a:cubicBezTo>
                  <a:pt x="87" y="198"/>
                  <a:pt x="89" y="199"/>
                  <a:pt x="89" y="200"/>
                </a:cubicBezTo>
                <a:cubicBezTo>
                  <a:pt x="89" y="200"/>
                  <a:pt x="89" y="201"/>
                  <a:pt x="89" y="201"/>
                </a:cubicBezTo>
                <a:cubicBezTo>
                  <a:pt x="89" y="201"/>
                  <a:pt x="89" y="201"/>
                  <a:pt x="89" y="202"/>
                </a:cubicBezTo>
                <a:cubicBezTo>
                  <a:pt x="89" y="202"/>
                  <a:pt x="90" y="202"/>
                  <a:pt x="90" y="202"/>
                </a:cubicBezTo>
                <a:cubicBezTo>
                  <a:pt x="90" y="202"/>
                  <a:pt x="90" y="202"/>
                  <a:pt x="91" y="202"/>
                </a:cubicBezTo>
                <a:cubicBezTo>
                  <a:pt x="91" y="202"/>
                  <a:pt x="91" y="202"/>
                  <a:pt x="91" y="201"/>
                </a:cubicBezTo>
                <a:cubicBezTo>
                  <a:pt x="92" y="201"/>
                  <a:pt x="92" y="201"/>
                  <a:pt x="92" y="201"/>
                </a:cubicBezTo>
                <a:cubicBezTo>
                  <a:pt x="92" y="201"/>
                  <a:pt x="92" y="201"/>
                  <a:pt x="92" y="201"/>
                </a:cubicBezTo>
                <a:cubicBezTo>
                  <a:pt x="92" y="201"/>
                  <a:pt x="92" y="201"/>
                  <a:pt x="92" y="200"/>
                </a:cubicBezTo>
                <a:cubicBezTo>
                  <a:pt x="94" y="199"/>
                  <a:pt x="95" y="200"/>
                  <a:pt x="95" y="200"/>
                </a:cubicBezTo>
                <a:cubicBezTo>
                  <a:pt x="95" y="200"/>
                  <a:pt x="96" y="200"/>
                  <a:pt x="96" y="200"/>
                </a:cubicBezTo>
                <a:cubicBezTo>
                  <a:pt x="97" y="200"/>
                  <a:pt x="97" y="200"/>
                  <a:pt x="97" y="201"/>
                </a:cubicBezTo>
                <a:cubicBezTo>
                  <a:pt x="98" y="201"/>
                  <a:pt x="98" y="201"/>
                  <a:pt x="98" y="200"/>
                </a:cubicBezTo>
                <a:cubicBezTo>
                  <a:pt x="101" y="199"/>
                  <a:pt x="101" y="199"/>
                  <a:pt x="101" y="199"/>
                </a:cubicBezTo>
                <a:cubicBezTo>
                  <a:pt x="102" y="200"/>
                  <a:pt x="102" y="200"/>
                  <a:pt x="102" y="200"/>
                </a:cubicBezTo>
                <a:cubicBezTo>
                  <a:pt x="103" y="201"/>
                  <a:pt x="103" y="201"/>
                  <a:pt x="103" y="201"/>
                </a:cubicBezTo>
                <a:cubicBezTo>
                  <a:pt x="103" y="201"/>
                  <a:pt x="104" y="201"/>
                  <a:pt x="104" y="202"/>
                </a:cubicBezTo>
                <a:cubicBezTo>
                  <a:pt x="104" y="202"/>
                  <a:pt x="104" y="202"/>
                  <a:pt x="104" y="202"/>
                </a:cubicBezTo>
                <a:cubicBezTo>
                  <a:pt x="104" y="202"/>
                  <a:pt x="104" y="202"/>
                  <a:pt x="104" y="202"/>
                </a:cubicBezTo>
                <a:cubicBezTo>
                  <a:pt x="105" y="201"/>
                  <a:pt x="105" y="201"/>
                  <a:pt x="106" y="200"/>
                </a:cubicBezTo>
                <a:cubicBezTo>
                  <a:pt x="107" y="200"/>
                  <a:pt x="107" y="200"/>
                  <a:pt x="109" y="199"/>
                </a:cubicBezTo>
                <a:cubicBezTo>
                  <a:pt x="109" y="199"/>
                  <a:pt x="112" y="198"/>
                  <a:pt x="114" y="199"/>
                </a:cubicBezTo>
                <a:cubicBezTo>
                  <a:pt x="114" y="199"/>
                  <a:pt x="114" y="199"/>
                  <a:pt x="115" y="199"/>
                </a:cubicBezTo>
                <a:cubicBezTo>
                  <a:pt x="115" y="199"/>
                  <a:pt x="116" y="199"/>
                  <a:pt x="117" y="200"/>
                </a:cubicBezTo>
                <a:cubicBezTo>
                  <a:pt x="118" y="200"/>
                  <a:pt x="118" y="200"/>
                  <a:pt x="119" y="199"/>
                </a:cubicBezTo>
                <a:cubicBezTo>
                  <a:pt x="122" y="196"/>
                  <a:pt x="122" y="196"/>
                  <a:pt x="122" y="196"/>
                </a:cubicBezTo>
                <a:cubicBezTo>
                  <a:pt x="122" y="195"/>
                  <a:pt x="122" y="195"/>
                  <a:pt x="122" y="195"/>
                </a:cubicBezTo>
                <a:cubicBezTo>
                  <a:pt x="122" y="195"/>
                  <a:pt x="122" y="195"/>
                  <a:pt x="122" y="195"/>
                </a:cubicBezTo>
                <a:cubicBezTo>
                  <a:pt x="124" y="194"/>
                  <a:pt x="124" y="194"/>
                  <a:pt x="124" y="194"/>
                </a:cubicBezTo>
                <a:cubicBezTo>
                  <a:pt x="124" y="193"/>
                  <a:pt x="124" y="193"/>
                  <a:pt x="125" y="193"/>
                </a:cubicBezTo>
                <a:cubicBezTo>
                  <a:pt x="125" y="193"/>
                  <a:pt x="125" y="193"/>
                  <a:pt x="125" y="193"/>
                </a:cubicBezTo>
                <a:cubicBezTo>
                  <a:pt x="125" y="193"/>
                  <a:pt x="125" y="193"/>
                  <a:pt x="125" y="193"/>
                </a:cubicBezTo>
                <a:cubicBezTo>
                  <a:pt x="126" y="192"/>
                  <a:pt x="126" y="191"/>
                  <a:pt x="128" y="191"/>
                </a:cubicBezTo>
                <a:cubicBezTo>
                  <a:pt x="139" y="191"/>
                  <a:pt x="139" y="191"/>
                  <a:pt x="139" y="191"/>
                </a:cubicBezTo>
                <a:cubicBezTo>
                  <a:pt x="139" y="191"/>
                  <a:pt x="139" y="191"/>
                  <a:pt x="139" y="190"/>
                </a:cubicBezTo>
                <a:cubicBezTo>
                  <a:pt x="139" y="190"/>
                  <a:pt x="139" y="190"/>
                  <a:pt x="139" y="190"/>
                </a:cubicBezTo>
                <a:cubicBezTo>
                  <a:pt x="139" y="190"/>
                  <a:pt x="139" y="191"/>
                  <a:pt x="139" y="191"/>
                </a:cubicBezTo>
                <a:cubicBezTo>
                  <a:pt x="140" y="191"/>
                  <a:pt x="140" y="191"/>
                  <a:pt x="140" y="191"/>
                </a:cubicBezTo>
                <a:cubicBezTo>
                  <a:pt x="140" y="189"/>
                  <a:pt x="140" y="189"/>
                  <a:pt x="140" y="189"/>
                </a:cubicBezTo>
                <a:cubicBezTo>
                  <a:pt x="140" y="189"/>
                  <a:pt x="140" y="189"/>
                  <a:pt x="140" y="188"/>
                </a:cubicBezTo>
                <a:cubicBezTo>
                  <a:pt x="140" y="188"/>
                  <a:pt x="140" y="188"/>
                  <a:pt x="140" y="188"/>
                </a:cubicBezTo>
                <a:cubicBezTo>
                  <a:pt x="140" y="188"/>
                  <a:pt x="140" y="187"/>
                  <a:pt x="140" y="187"/>
                </a:cubicBezTo>
                <a:cubicBezTo>
                  <a:pt x="140" y="187"/>
                  <a:pt x="140" y="187"/>
                  <a:pt x="140" y="187"/>
                </a:cubicBezTo>
                <a:cubicBezTo>
                  <a:pt x="140" y="186"/>
                  <a:pt x="140" y="186"/>
                  <a:pt x="140" y="186"/>
                </a:cubicBezTo>
                <a:cubicBezTo>
                  <a:pt x="140" y="186"/>
                  <a:pt x="140" y="186"/>
                  <a:pt x="140" y="186"/>
                </a:cubicBezTo>
                <a:cubicBezTo>
                  <a:pt x="140" y="186"/>
                  <a:pt x="140" y="186"/>
                  <a:pt x="140" y="186"/>
                </a:cubicBezTo>
                <a:cubicBezTo>
                  <a:pt x="140" y="186"/>
                  <a:pt x="140" y="186"/>
                  <a:pt x="140" y="186"/>
                </a:cubicBezTo>
                <a:cubicBezTo>
                  <a:pt x="139" y="186"/>
                  <a:pt x="139" y="186"/>
                  <a:pt x="139" y="186"/>
                </a:cubicBezTo>
                <a:cubicBezTo>
                  <a:pt x="138" y="185"/>
                  <a:pt x="137" y="185"/>
                  <a:pt x="136" y="185"/>
                </a:cubicBezTo>
                <a:cubicBezTo>
                  <a:pt x="136" y="184"/>
                  <a:pt x="136" y="184"/>
                  <a:pt x="136" y="184"/>
                </a:cubicBezTo>
                <a:cubicBezTo>
                  <a:pt x="136" y="184"/>
                  <a:pt x="135" y="184"/>
                  <a:pt x="135" y="184"/>
                </a:cubicBezTo>
                <a:cubicBezTo>
                  <a:pt x="135" y="183"/>
                  <a:pt x="135" y="183"/>
                  <a:pt x="134" y="183"/>
                </a:cubicBezTo>
                <a:cubicBezTo>
                  <a:pt x="134" y="183"/>
                  <a:pt x="134" y="183"/>
                  <a:pt x="134" y="182"/>
                </a:cubicBezTo>
                <a:cubicBezTo>
                  <a:pt x="134" y="182"/>
                  <a:pt x="133" y="181"/>
                  <a:pt x="133" y="181"/>
                </a:cubicBezTo>
                <a:cubicBezTo>
                  <a:pt x="133" y="180"/>
                  <a:pt x="131" y="174"/>
                  <a:pt x="130" y="172"/>
                </a:cubicBezTo>
                <a:cubicBezTo>
                  <a:pt x="130" y="172"/>
                  <a:pt x="130" y="172"/>
                  <a:pt x="129" y="172"/>
                </a:cubicBezTo>
                <a:cubicBezTo>
                  <a:pt x="129" y="171"/>
                  <a:pt x="129" y="171"/>
                  <a:pt x="129" y="171"/>
                </a:cubicBezTo>
                <a:cubicBezTo>
                  <a:pt x="128" y="170"/>
                  <a:pt x="128" y="170"/>
                  <a:pt x="127" y="170"/>
                </a:cubicBezTo>
                <a:cubicBezTo>
                  <a:pt x="127" y="169"/>
                  <a:pt x="127" y="169"/>
                  <a:pt x="126" y="169"/>
                </a:cubicBezTo>
                <a:cubicBezTo>
                  <a:pt x="125" y="168"/>
                  <a:pt x="124" y="168"/>
                  <a:pt x="123" y="166"/>
                </a:cubicBezTo>
                <a:cubicBezTo>
                  <a:pt x="123" y="166"/>
                  <a:pt x="123" y="166"/>
                  <a:pt x="123" y="166"/>
                </a:cubicBezTo>
                <a:cubicBezTo>
                  <a:pt x="123" y="166"/>
                  <a:pt x="122" y="166"/>
                  <a:pt x="122" y="165"/>
                </a:cubicBezTo>
                <a:cubicBezTo>
                  <a:pt x="122" y="165"/>
                  <a:pt x="122" y="165"/>
                  <a:pt x="122" y="164"/>
                </a:cubicBezTo>
                <a:cubicBezTo>
                  <a:pt x="121" y="164"/>
                  <a:pt x="121" y="164"/>
                  <a:pt x="121" y="164"/>
                </a:cubicBezTo>
                <a:cubicBezTo>
                  <a:pt x="121" y="164"/>
                  <a:pt x="120" y="162"/>
                  <a:pt x="120" y="162"/>
                </a:cubicBezTo>
                <a:cubicBezTo>
                  <a:pt x="120" y="162"/>
                  <a:pt x="120" y="162"/>
                  <a:pt x="119" y="162"/>
                </a:cubicBezTo>
                <a:cubicBezTo>
                  <a:pt x="119" y="162"/>
                  <a:pt x="119" y="162"/>
                  <a:pt x="119" y="162"/>
                </a:cubicBezTo>
                <a:cubicBezTo>
                  <a:pt x="118" y="162"/>
                  <a:pt x="118" y="162"/>
                  <a:pt x="118" y="162"/>
                </a:cubicBezTo>
                <a:cubicBezTo>
                  <a:pt x="117" y="161"/>
                  <a:pt x="117" y="161"/>
                  <a:pt x="117" y="161"/>
                </a:cubicBezTo>
                <a:cubicBezTo>
                  <a:pt x="116" y="161"/>
                  <a:pt x="115" y="160"/>
                  <a:pt x="114" y="160"/>
                </a:cubicBezTo>
                <a:cubicBezTo>
                  <a:pt x="114" y="160"/>
                  <a:pt x="114" y="160"/>
                  <a:pt x="114" y="160"/>
                </a:cubicBezTo>
                <a:cubicBezTo>
                  <a:pt x="113" y="160"/>
                  <a:pt x="113" y="159"/>
                  <a:pt x="112" y="159"/>
                </a:cubicBezTo>
                <a:cubicBezTo>
                  <a:pt x="111" y="159"/>
                  <a:pt x="111" y="159"/>
                  <a:pt x="111" y="159"/>
                </a:cubicBezTo>
                <a:cubicBezTo>
                  <a:pt x="112" y="157"/>
                  <a:pt x="112" y="157"/>
                  <a:pt x="112" y="157"/>
                </a:cubicBezTo>
                <a:cubicBezTo>
                  <a:pt x="112" y="157"/>
                  <a:pt x="112" y="156"/>
                  <a:pt x="113" y="156"/>
                </a:cubicBezTo>
                <a:cubicBezTo>
                  <a:pt x="113" y="154"/>
                  <a:pt x="114" y="152"/>
                  <a:pt x="116" y="152"/>
                </a:cubicBezTo>
                <a:cubicBezTo>
                  <a:pt x="116" y="152"/>
                  <a:pt x="116" y="152"/>
                  <a:pt x="116" y="151"/>
                </a:cubicBezTo>
                <a:cubicBezTo>
                  <a:pt x="117" y="151"/>
                  <a:pt x="117" y="151"/>
                  <a:pt x="117" y="151"/>
                </a:cubicBezTo>
                <a:cubicBezTo>
                  <a:pt x="117" y="151"/>
                  <a:pt x="117" y="151"/>
                  <a:pt x="117" y="151"/>
                </a:cubicBezTo>
                <a:cubicBezTo>
                  <a:pt x="117" y="151"/>
                  <a:pt x="118" y="151"/>
                  <a:pt x="118" y="152"/>
                </a:cubicBezTo>
                <a:cubicBezTo>
                  <a:pt x="118" y="152"/>
                  <a:pt x="118" y="152"/>
                  <a:pt x="118" y="152"/>
                </a:cubicBezTo>
                <a:cubicBezTo>
                  <a:pt x="118" y="152"/>
                  <a:pt x="119" y="152"/>
                  <a:pt x="119" y="152"/>
                </a:cubicBezTo>
                <a:cubicBezTo>
                  <a:pt x="120" y="152"/>
                  <a:pt x="122" y="152"/>
                  <a:pt x="122" y="152"/>
                </a:cubicBezTo>
                <a:cubicBezTo>
                  <a:pt x="123" y="152"/>
                  <a:pt x="123" y="152"/>
                  <a:pt x="123" y="152"/>
                </a:cubicBezTo>
                <a:cubicBezTo>
                  <a:pt x="124" y="151"/>
                  <a:pt x="123" y="146"/>
                  <a:pt x="123" y="144"/>
                </a:cubicBezTo>
                <a:cubicBezTo>
                  <a:pt x="123" y="144"/>
                  <a:pt x="123" y="144"/>
                  <a:pt x="123" y="144"/>
                </a:cubicBezTo>
                <a:cubicBezTo>
                  <a:pt x="123" y="142"/>
                  <a:pt x="123" y="141"/>
                  <a:pt x="124" y="140"/>
                </a:cubicBezTo>
                <a:cubicBezTo>
                  <a:pt x="124" y="139"/>
                  <a:pt x="124" y="139"/>
                  <a:pt x="124" y="139"/>
                </a:cubicBezTo>
                <a:cubicBezTo>
                  <a:pt x="124" y="138"/>
                  <a:pt x="124" y="138"/>
                  <a:pt x="124" y="138"/>
                </a:cubicBezTo>
                <a:cubicBezTo>
                  <a:pt x="125" y="137"/>
                  <a:pt x="125" y="137"/>
                  <a:pt x="125" y="136"/>
                </a:cubicBezTo>
                <a:cubicBezTo>
                  <a:pt x="125" y="135"/>
                  <a:pt x="125" y="135"/>
                  <a:pt x="125" y="135"/>
                </a:cubicBezTo>
                <a:cubicBezTo>
                  <a:pt x="125" y="135"/>
                  <a:pt x="125" y="135"/>
                  <a:pt x="125" y="134"/>
                </a:cubicBezTo>
                <a:cubicBezTo>
                  <a:pt x="126" y="134"/>
                  <a:pt x="125" y="134"/>
                  <a:pt x="125" y="133"/>
                </a:cubicBezTo>
                <a:cubicBezTo>
                  <a:pt x="125" y="132"/>
                  <a:pt x="125" y="131"/>
                  <a:pt x="125" y="130"/>
                </a:cubicBezTo>
                <a:cubicBezTo>
                  <a:pt x="125" y="130"/>
                  <a:pt x="125" y="130"/>
                  <a:pt x="126" y="130"/>
                </a:cubicBezTo>
                <a:cubicBezTo>
                  <a:pt x="126" y="129"/>
                  <a:pt x="126" y="129"/>
                  <a:pt x="127" y="128"/>
                </a:cubicBezTo>
                <a:cubicBezTo>
                  <a:pt x="127" y="128"/>
                  <a:pt x="127" y="127"/>
                  <a:pt x="128" y="127"/>
                </a:cubicBezTo>
                <a:cubicBezTo>
                  <a:pt x="128" y="127"/>
                  <a:pt x="128" y="127"/>
                  <a:pt x="128" y="127"/>
                </a:cubicBezTo>
                <a:cubicBezTo>
                  <a:pt x="128" y="127"/>
                  <a:pt x="128" y="127"/>
                  <a:pt x="128" y="127"/>
                </a:cubicBezTo>
                <a:cubicBezTo>
                  <a:pt x="129" y="127"/>
                  <a:pt x="129" y="127"/>
                  <a:pt x="129" y="127"/>
                </a:cubicBezTo>
                <a:cubicBezTo>
                  <a:pt x="129" y="127"/>
                  <a:pt x="129" y="127"/>
                  <a:pt x="129" y="127"/>
                </a:cubicBezTo>
                <a:cubicBezTo>
                  <a:pt x="129" y="127"/>
                  <a:pt x="129" y="127"/>
                  <a:pt x="129" y="127"/>
                </a:cubicBezTo>
                <a:cubicBezTo>
                  <a:pt x="129" y="127"/>
                  <a:pt x="129" y="127"/>
                  <a:pt x="130" y="127"/>
                </a:cubicBezTo>
                <a:cubicBezTo>
                  <a:pt x="130" y="127"/>
                  <a:pt x="130" y="127"/>
                  <a:pt x="130" y="127"/>
                </a:cubicBezTo>
                <a:cubicBezTo>
                  <a:pt x="130" y="127"/>
                  <a:pt x="130" y="127"/>
                  <a:pt x="130" y="127"/>
                </a:cubicBezTo>
                <a:cubicBezTo>
                  <a:pt x="130" y="127"/>
                  <a:pt x="130" y="127"/>
                  <a:pt x="130" y="127"/>
                </a:cubicBezTo>
                <a:cubicBezTo>
                  <a:pt x="131" y="127"/>
                  <a:pt x="131" y="128"/>
                  <a:pt x="131" y="128"/>
                </a:cubicBezTo>
                <a:cubicBezTo>
                  <a:pt x="131" y="128"/>
                  <a:pt x="131" y="128"/>
                  <a:pt x="131" y="128"/>
                </a:cubicBezTo>
                <a:cubicBezTo>
                  <a:pt x="131" y="128"/>
                  <a:pt x="131" y="128"/>
                  <a:pt x="131" y="128"/>
                </a:cubicBezTo>
                <a:cubicBezTo>
                  <a:pt x="131" y="128"/>
                  <a:pt x="132" y="128"/>
                  <a:pt x="132" y="128"/>
                </a:cubicBezTo>
                <a:cubicBezTo>
                  <a:pt x="132" y="127"/>
                  <a:pt x="132" y="127"/>
                  <a:pt x="132" y="127"/>
                </a:cubicBezTo>
                <a:cubicBezTo>
                  <a:pt x="132" y="127"/>
                  <a:pt x="132" y="127"/>
                  <a:pt x="132" y="127"/>
                </a:cubicBezTo>
                <a:cubicBezTo>
                  <a:pt x="132" y="127"/>
                  <a:pt x="132" y="127"/>
                  <a:pt x="132" y="127"/>
                </a:cubicBezTo>
                <a:cubicBezTo>
                  <a:pt x="132" y="126"/>
                  <a:pt x="132" y="126"/>
                  <a:pt x="132" y="126"/>
                </a:cubicBezTo>
                <a:cubicBezTo>
                  <a:pt x="132" y="125"/>
                  <a:pt x="132" y="125"/>
                  <a:pt x="132" y="125"/>
                </a:cubicBezTo>
                <a:cubicBezTo>
                  <a:pt x="132" y="125"/>
                  <a:pt x="132" y="125"/>
                  <a:pt x="132" y="125"/>
                </a:cubicBezTo>
                <a:cubicBezTo>
                  <a:pt x="132" y="124"/>
                  <a:pt x="132" y="124"/>
                  <a:pt x="132" y="124"/>
                </a:cubicBezTo>
                <a:cubicBezTo>
                  <a:pt x="132" y="123"/>
                  <a:pt x="132" y="123"/>
                  <a:pt x="132" y="123"/>
                </a:cubicBezTo>
                <a:cubicBezTo>
                  <a:pt x="132" y="123"/>
                  <a:pt x="132" y="123"/>
                  <a:pt x="132" y="123"/>
                </a:cubicBezTo>
                <a:cubicBezTo>
                  <a:pt x="133" y="122"/>
                  <a:pt x="133" y="121"/>
                  <a:pt x="133" y="120"/>
                </a:cubicBezTo>
                <a:cubicBezTo>
                  <a:pt x="133" y="119"/>
                  <a:pt x="133" y="119"/>
                  <a:pt x="133" y="119"/>
                </a:cubicBezTo>
                <a:cubicBezTo>
                  <a:pt x="133" y="118"/>
                  <a:pt x="134" y="117"/>
                  <a:pt x="135" y="116"/>
                </a:cubicBezTo>
                <a:cubicBezTo>
                  <a:pt x="136" y="115"/>
                  <a:pt x="136" y="115"/>
                  <a:pt x="136" y="114"/>
                </a:cubicBezTo>
                <a:cubicBezTo>
                  <a:pt x="137" y="113"/>
                  <a:pt x="138" y="112"/>
                  <a:pt x="138" y="111"/>
                </a:cubicBezTo>
                <a:cubicBezTo>
                  <a:pt x="138" y="111"/>
                  <a:pt x="138" y="111"/>
                  <a:pt x="138" y="111"/>
                </a:cubicBezTo>
                <a:cubicBezTo>
                  <a:pt x="139" y="110"/>
                  <a:pt x="139" y="110"/>
                  <a:pt x="139" y="109"/>
                </a:cubicBezTo>
                <a:cubicBezTo>
                  <a:pt x="140" y="108"/>
                  <a:pt x="140" y="108"/>
                  <a:pt x="141" y="108"/>
                </a:cubicBezTo>
                <a:cubicBezTo>
                  <a:pt x="142" y="108"/>
                  <a:pt x="142" y="108"/>
                  <a:pt x="142" y="108"/>
                </a:cubicBezTo>
                <a:cubicBezTo>
                  <a:pt x="142" y="108"/>
                  <a:pt x="142" y="108"/>
                  <a:pt x="142" y="108"/>
                </a:cubicBezTo>
                <a:cubicBezTo>
                  <a:pt x="142" y="108"/>
                  <a:pt x="142" y="108"/>
                  <a:pt x="143" y="108"/>
                </a:cubicBezTo>
                <a:cubicBezTo>
                  <a:pt x="143" y="108"/>
                  <a:pt x="143" y="108"/>
                  <a:pt x="144" y="108"/>
                </a:cubicBezTo>
                <a:cubicBezTo>
                  <a:pt x="144" y="108"/>
                  <a:pt x="144" y="108"/>
                  <a:pt x="144" y="108"/>
                </a:cubicBezTo>
                <a:cubicBezTo>
                  <a:pt x="144" y="108"/>
                  <a:pt x="144" y="107"/>
                  <a:pt x="145" y="106"/>
                </a:cubicBezTo>
                <a:cubicBezTo>
                  <a:pt x="145" y="105"/>
                  <a:pt x="145" y="105"/>
                  <a:pt x="145" y="105"/>
                </a:cubicBezTo>
                <a:cubicBezTo>
                  <a:pt x="145" y="104"/>
                  <a:pt x="145" y="104"/>
                  <a:pt x="145" y="104"/>
                </a:cubicBezTo>
                <a:cubicBezTo>
                  <a:pt x="146" y="101"/>
                  <a:pt x="147" y="99"/>
                  <a:pt x="147" y="97"/>
                </a:cubicBezTo>
                <a:cubicBezTo>
                  <a:pt x="147" y="97"/>
                  <a:pt x="147" y="97"/>
                  <a:pt x="147" y="97"/>
                </a:cubicBezTo>
                <a:cubicBezTo>
                  <a:pt x="147" y="96"/>
                  <a:pt x="147" y="95"/>
                  <a:pt x="148" y="94"/>
                </a:cubicBezTo>
                <a:cubicBezTo>
                  <a:pt x="148" y="93"/>
                  <a:pt x="148" y="93"/>
                  <a:pt x="148" y="93"/>
                </a:cubicBezTo>
                <a:cubicBezTo>
                  <a:pt x="147" y="91"/>
                  <a:pt x="147" y="88"/>
                  <a:pt x="147" y="88"/>
                </a:cubicBezTo>
                <a:cubicBezTo>
                  <a:pt x="147" y="88"/>
                  <a:pt x="147" y="88"/>
                  <a:pt x="147" y="87"/>
                </a:cubicBezTo>
                <a:cubicBezTo>
                  <a:pt x="147" y="86"/>
                  <a:pt x="147" y="85"/>
                  <a:pt x="147" y="84"/>
                </a:cubicBezTo>
                <a:cubicBezTo>
                  <a:pt x="147" y="81"/>
                  <a:pt x="149" y="78"/>
                  <a:pt x="150" y="76"/>
                </a:cubicBezTo>
                <a:cubicBezTo>
                  <a:pt x="150" y="76"/>
                  <a:pt x="150" y="76"/>
                  <a:pt x="150" y="76"/>
                </a:cubicBezTo>
                <a:cubicBezTo>
                  <a:pt x="150" y="75"/>
                  <a:pt x="151" y="74"/>
                  <a:pt x="151" y="73"/>
                </a:cubicBezTo>
                <a:cubicBezTo>
                  <a:pt x="152" y="70"/>
                  <a:pt x="152" y="67"/>
                  <a:pt x="152" y="64"/>
                </a:cubicBezTo>
                <a:cubicBezTo>
                  <a:pt x="153" y="62"/>
                  <a:pt x="153" y="62"/>
                  <a:pt x="153" y="62"/>
                </a:cubicBezTo>
                <a:cubicBezTo>
                  <a:pt x="154" y="62"/>
                  <a:pt x="154" y="62"/>
                  <a:pt x="154" y="62"/>
                </a:cubicBezTo>
                <a:cubicBezTo>
                  <a:pt x="154" y="62"/>
                  <a:pt x="155" y="62"/>
                  <a:pt x="155" y="62"/>
                </a:cubicBezTo>
                <a:cubicBezTo>
                  <a:pt x="156" y="62"/>
                  <a:pt x="157" y="63"/>
                  <a:pt x="158" y="62"/>
                </a:cubicBezTo>
                <a:cubicBezTo>
                  <a:pt x="158" y="62"/>
                  <a:pt x="158" y="62"/>
                  <a:pt x="158" y="62"/>
                </a:cubicBezTo>
                <a:cubicBezTo>
                  <a:pt x="158" y="62"/>
                  <a:pt x="158" y="62"/>
                  <a:pt x="158" y="62"/>
                </a:cubicBezTo>
                <a:cubicBezTo>
                  <a:pt x="158" y="61"/>
                  <a:pt x="158" y="61"/>
                  <a:pt x="159" y="61"/>
                </a:cubicBezTo>
                <a:cubicBezTo>
                  <a:pt x="159" y="60"/>
                  <a:pt x="160" y="59"/>
                  <a:pt x="161" y="59"/>
                </a:cubicBezTo>
                <a:cubicBezTo>
                  <a:pt x="161" y="59"/>
                  <a:pt x="161" y="59"/>
                  <a:pt x="161" y="59"/>
                </a:cubicBezTo>
                <a:cubicBezTo>
                  <a:pt x="162" y="59"/>
                  <a:pt x="162" y="58"/>
                  <a:pt x="162" y="58"/>
                </a:cubicBezTo>
                <a:cubicBezTo>
                  <a:pt x="163" y="58"/>
                  <a:pt x="163" y="58"/>
                  <a:pt x="163" y="58"/>
                </a:cubicBezTo>
                <a:cubicBezTo>
                  <a:pt x="163" y="58"/>
                  <a:pt x="163" y="58"/>
                  <a:pt x="163" y="58"/>
                </a:cubicBezTo>
                <a:cubicBezTo>
                  <a:pt x="164" y="57"/>
                  <a:pt x="165" y="57"/>
                  <a:pt x="165" y="57"/>
                </a:cubicBezTo>
                <a:cubicBezTo>
                  <a:pt x="166" y="57"/>
                  <a:pt x="166" y="57"/>
                  <a:pt x="166" y="57"/>
                </a:cubicBezTo>
                <a:cubicBezTo>
                  <a:pt x="165" y="55"/>
                  <a:pt x="165" y="55"/>
                  <a:pt x="165" y="55"/>
                </a:cubicBezTo>
                <a:cubicBezTo>
                  <a:pt x="166" y="57"/>
                  <a:pt x="166" y="57"/>
                  <a:pt x="166" y="57"/>
                </a:cubicBezTo>
                <a:cubicBezTo>
                  <a:pt x="166" y="57"/>
                  <a:pt x="166" y="57"/>
                  <a:pt x="166" y="57"/>
                </a:cubicBezTo>
                <a:cubicBezTo>
                  <a:pt x="167" y="56"/>
                  <a:pt x="168" y="55"/>
                  <a:pt x="168" y="54"/>
                </a:cubicBezTo>
                <a:cubicBezTo>
                  <a:pt x="168" y="54"/>
                  <a:pt x="168" y="54"/>
                  <a:pt x="168" y="54"/>
                </a:cubicBezTo>
                <a:cubicBezTo>
                  <a:pt x="169" y="54"/>
                  <a:pt x="169" y="54"/>
                  <a:pt x="169" y="53"/>
                </a:cubicBezTo>
                <a:cubicBezTo>
                  <a:pt x="169" y="53"/>
                  <a:pt x="169" y="53"/>
                  <a:pt x="169" y="53"/>
                </a:cubicBezTo>
                <a:cubicBezTo>
                  <a:pt x="169" y="52"/>
                  <a:pt x="168" y="52"/>
                  <a:pt x="168" y="52"/>
                </a:cubicBezTo>
                <a:cubicBezTo>
                  <a:pt x="165" y="50"/>
                  <a:pt x="163" y="48"/>
                  <a:pt x="160" y="46"/>
                </a:cubicBezTo>
                <a:cubicBezTo>
                  <a:pt x="157" y="44"/>
                  <a:pt x="156" y="38"/>
                  <a:pt x="156" y="35"/>
                </a:cubicBezTo>
                <a:cubicBezTo>
                  <a:pt x="156" y="32"/>
                  <a:pt x="156" y="30"/>
                  <a:pt x="156" y="27"/>
                </a:cubicBezTo>
                <a:cubicBezTo>
                  <a:pt x="156" y="25"/>
                  <a:pt x="155" y="22"/>
                  <a:pt x="155" y="20"/>
                </a:cubicBezTo>
                <a:cubicBezTo>
                  <a:pt x="156" y="20"/>
                  <a:pt x="156" y="21"/>
                  <a:pt x="157" y="22"/>
                </a:cubicBezTo>
                <a:cubicBezTo>
                  <a:pt x="157" y="20"/>
                  <a:pt x="155" y="19"/>
                  <a:pt x="155" y="18"/>
                </a:cubicBezTo>
                <a:cubicBezTo>
                  <a:pt x="154" y="17"/>
                  <a:pt x="153" y="16"/>
                  <a:pt x="153" y="14"/>
                </a:cubicBezTo>
                <a:cubicBezTo>
                  <a:pt x="153" y="14"/>
                  <a:pt x="153" y="11"/>
                  <a:pt x="152" y="11"/>
                </a:cubicBezTo>
                <a:cubicBezTo>
                  <a:pt x="153" y="11"/>
                  <a:pt x="153" y="11"/>
                  <a:pt x="153" y="11"/>
                </a:cubicBezTo>
                <a:cubicBezTo>
                  <a:pt x="150" y="9"/>
                  <a:pt x="147" y="6"/>
                  <a:pt x="144" y="4"/>
                </a:cubicBezTo>
                <a:cubicBezTo>
                  <a:pt x="143" y="3"/>
                  <a:pt x="142" y="2"/>
                  <a:pt x="140" y="0"/>
                </a:cubicBezTo>
                <a:cubicBezTo>
                  <a:pt x="140" y="0"/>
                  <a:pt x="140" y="0"/>
                  <a:pt x="14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8" name="Freeform 3035">
            <a:extLst>
              <a:ext uri="{FF2B5EF4-FFF2-40B4-BE49-F238E27FC236}">
                <a16:creationId xmlns:a16="http://schemas.microsoft.com/office/drawing/2014/main" id="{E5B3C945-911E-45CC-A406-DBFF6B2FD11F}"/>
              </a:ext>
            </a:extLst>
          </p:cNvPr>
          <p:cNvSpPr>
            <a:spLocks/>
          </p:cNvSpPr>
          <p:nvPr/>
        </p:nvSpPr>
        <p:spPr bwMode="auto">
          <a:xfrm>
            <a:off x="3195291" y="3395305"/>
            <a:ext cx="194260" cy="216069"/>
          </a:xfrm>
          <a:custGeom>
            <a:avLst/>
            <a:gdLst>
              <a:gd name="T0" fmla="*/ 68 w 166"/>
              <a:gd name="T1" fmla="*/ 137 h 154"/>
              <a:gd name="T2" fmla="*/ 78 w 166"/>
              <a:gd name="T3" fmla="*/ 132 h 154"/>
              <a:gd name="T4" fmla="*/ 79 w 166"/>
              <a:gd name="T5" fmla="*/ 127 h 154"/>
              <a:gd name="T6" fmla="*/ 82 w 166"/>
              <a:gd name="T7" fmla="*/ 121 h 154"/>
              <a:gd name="T8" fmla="*/ 88 w 166"/>
              <a:gd name="T9" fmla="*/ 122 h 154"/>
              <a:gd name="T10" fmla="*/ 90 w 166"/>
              <a:gd name="T11" fmla="*/ 122 h 154"/>
              <a:gd name="T12" fmla="*/ 92 w 166"/>
              <a:gd name="T13" fmla="*/ 117 h 154"/>
              <a:gd name="T14" fmla="*/ 101 w 166"/>
              <a:gd name="T15" fmla="*/ 112 h 154"/>
              <a:gd name="T16" fmla="*/ 107 w 166"/>
              <a:gd name="T17" fmla="*/ 108 h 154"/>
              <a:gd name="T18" fmla="*/ 115 w 166"/>
              <a:gd name="T19" fmla="*/ 104 h 154"/>
              <a:gd name="T20" fmla="*/ 121 w 166"/>
              <a:gd name="T21" fmla="*/ 103 h 154"/>
              <a:gd name="T22" fmla="*/ 126 w 166"/>
              <a:gd name="T23" fmla="*/ 104 h 154"/>
              <a:gd name="T24" fmla="*/ 127 w 166"/>
              <a:gd name="T25" fmla="*/ 104 h 154"/>
              <a:gd name="T26" fmla="*/ 151 w 166"/>
              <a:gd name="T27" fmla="*/ 100 h 154"/>
              <a:gd name="T28" fmla="*/ 157 w 166"/>
              <a:gd name="T29" fmla="*/ 100 h 154"/>
              <a:gd name="T30" fmla="*/ 161 w 166"/>
              <a:gd name="T31" fmla="*/ 98 h 154"/>
              <a:gd name="T32" fmla="*/ 166 w 166"/>
              <a:gd name="T33" fmla="*/ 79 h 154"/>
              <a:gd name="T34" fmla="*/ 160 w 166"/>
              <a:gd name="T35" fmla="*/ 64 h 154"/>
              <a:gd name="T36" fmla="*/ 156 w 166"/>
              <a:gd name="T37" fmla="*/ 59 h 154"/>
              <a:gd name="T38" fmla="*/ 156 w 166"/>
              <a:gd name="T39" fmla="*/ 56 h 154"/>
              <a:gd name="T40" fmla="*/ 154 w 166"/>
              <a:gd name="T41" fmla="*/ 54 h 154"/>
              <a:gd name="T42" fmla="*/ 147 w 166"/>
              <a:gd name="T43" fmla="*/ 51 h 154"/>
              <a:gd name="T44" fmla="*/ 140 w 166"/>
              <a:gd name="T45" fmla="*/ 48 h 154"/>
              <a:gd name="T46" fmla="*/ 135 w 166"/>
              <a:gd name="T47" fmla="*/ 45 h 154"/>
              <a:gd name="T48" fmla="*/ 125 w 166"/>
              <a:gd name="T49" fmla="*/ 35 h 154"/>
              <a:gd name="T50" fmla="*/ 79 w 166"/>
              <a:gd name="T51" fmla="*/ 3 h 154"/>
              <a:gd name="T52" fmla="*/ 60 w 166"/>
              <a:gd name="T53" fmla="*/ 13 h 154"/>
              <a:gd name="T54" fmla="*/ 70 w 166"/>
              <a:gd name="T55" fmla="*/ 93 h 154"/>
              <a:gd name="T56" fmla="*/ 67 w 166"/>
              <a:gd name="T57" fmla="*/ 101 h 154"/>
              <a:gd name="T58" fmla="*/ 63 w 166"/>
              <a:gd name="T59" fmla="*/ 101 h 154"/>
              <a:gd name="T60" fmla="*/ 30 w 166"/>
              <a:gd name="T61" fmla="*/ 101 h 154"/>
              <a:gd name="T62" fmla="*/ 17 w 166"/>
              <a:gd name="T63" fmla="*/ 102 h 154"/>
              <a:gd name="T64" fmla="*/ 13 w 166"/>
              <a:gd name="T65" fmla="*/ 106 h 154"/>
              <a:gd name="T66" fmla="*/ 5 w 166"/>
              <a:gd name="T67" fmla="*/ 102 h 154"/>
              <a:gd name="T68" fmla="*/ 2 w 166"/>
              <a:gd name="T69" fmla="*/ 108 h 154"/>
              <a:gd name="T70" fmla="*/ 2 w 166"/>
              <a:gd name="T71" fmla="*/ 119 h 154"/>
              <a:gd name="T72" fmla="*/ 9 w 166"/>
              <a:gd name="T73" fmla="*/ 128 h 154"/>
              <a:gd name="T74" fmla="*/ 9 w 166"/>
              <a:gd name="T75" fmla="*/ 131 h 154"/>
              <a:gd name="T76" fmla="*/ 9 w 166"/>
              <a:gd name="T77" fmla="*/ 135 h 154"/>
              <a:gd name="T78" fmla="*/ 12 w 166"/>
              <a:gd name="T79" fmla="*/ 133 h 154"/>
              <a:gd name="T80" fmla="*/ 15 w 166"/>
              <a:gd name="T81" fmla="*/ 135 h 154"/>
              <a:gd name="T82" fmla="*/ 24 w 166"/>
              <a:gd name="T83" fmla="*/ 134 h 154"/>
              <a:gd name="T84" fmla="*/ 28 w 166"/>
              <a:gd name="T85" fmla="*/ 130 h 154"/>
              <a:gd name="T86" fmla="*/ 35 w 166"/>
              <a:gd name="T87" fmla="*/ 136 h 154"/>
              <a:gd name="T88" fmla="*/ 36 w 166"/>
              <a:gd name="T89" fmla="*/ 139 h 154"/>
              <a:gd name="T90" fmla="*/ 39 w 166"/>
              <a:gd name="T91" fmla="*/ 143 h 154"/>
              <a:gd name="T92" fmla="*/ 40 w 166"/>
              <a:gd name="T93" fmla="*/ 144 h 154"/>
              <a:gd name="T94" fmla="*/ 39 w 166"/>
              <a:gd name="T95" fmla="*/ 145 h 154"/>
              <a:gd name="T96" fmla="*/ 41 w 166"/>
              <a:gd name="T97" fmla="*/ 151 h 154"/>
              <a:gd name="T98" fmla="*/ 42 w 166"/>
              <a:gd name="T99" fmla="*/ 153 h 154"/>
              <a:gd name="T100" fmla="*/ 46 w 166"/>
              <a:gd name="T101" fmla="*/ 151 h 154"/>
              <a:gd name="T102" fmla="*/ 52 w 166"/>
              <a:gd name="T103" fmla="*/ 153 h 154"/>
              <a:gd name="T104" fmla="*/ 55 w 166"/>
              <a:gd name="T105" fmla="*/ 150 h 154"/>
              <a:gd name="T106" fmla="*/ 59 w 166"/>
              <a:gd name="T107" fmla="*/ 148 h 154"/>
              <a:gd name="T108" fmla="*/ 62 w 166"/>
              <a:gd name="T109" fmla="*/ 154 h 154"/>
              <a:gd name="T110" fmla="*/ 65 w 166"/>
              <a:gd name="T111" fmla="*/ 151 h 154"/>
              <a:gd name="T112" fmla="*/ 67 w 166"/>
              <a:gd name="T113" fmla="*/ 151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6" h="154">
                <a:moveTo>
                  <a:pt x="69" y="142"/>
                </a:moveTo>
                <a:cubicBezTo>
                  <a:pt x="69" y="141"/>
                  <a:pt x="69" y="140"/>
                  <a:pt x="69" y="140"/>
                </a:cubicBezTo>
                <a:cubicBezTo>
                  <a:pt x="69" y="140"/>
                  <a:pt x="69" y="140"/>
                  <a:pt x="69" y="140"/>
                </a:cubicBezTo>
                <a:cubicBezTo>
                  <a:pt x="69" y="139"/>
                  <a:pt x="68" y="139"/>
                  <a:pt x="68" y="139"/>
                </a:cubicBezTo>
                <a:cubicBezTo>
                  <a:pt x="66" y="138"/>
                  <a:pt x="66" y="138"/>
                  <a:pt x="66" y="138"/>
                </a:cubicBezTo>
                <a:cubicBezTo>
                  <a:pt x="68" y="137"/>
                  <a:pt x="68" y="137"/>
                  <a:pt x="68" y="137"/>
                </a:cubicBezTo>
                <a:cubicBezTo>
                  <a:pt x="69" y="137"/>
                  <a:pt x="69" y="136"/>
                  <a:pt x="70" y="136"/>
                </a:cubicBezTo>
                <a:cubicBezTo>
                  <a:pt x="72" y="135"/>
                  <a:pt x="72" y="135"/>
                  <a:pt x="72" y="135"/>
                </a:cubicBezTo>
                <a:cubicBezTo>
                  <a:pt x="73" y="135"/>
                  <a:pt x="74" y="135"/>
                  <a:pt x="74" y="135"/>
                </a:cubicBezTo>
                <a:cubicBezTo>
                  <a:pt x="75" y="135"/>
                  <a:pt x="75" y="135"/>
                  <a:pt x="75" y="135"/>
                </a:cubicBezTo>
                <a:cubicBezTo>
                  <a:pt x="76" y="134"/>
                  <a:pt x="77" y="134"/>
                  <a:pt x="77" y="133"/>
                </a:cubicBezTo>
                <a:cubicBezTo>
                  <a:pt x="78" y="133"/>
                  <a:pt x="78" y="133"/>
                  <a:pt x="78" y="132"/>
                </a:cubicBezTo>
                <a:cubicBezTo>
                  <a:pt x="78" y="132"/>
                  <a:pt x="78" y="132"/>
                  <a:pt x="78" y="132"/>
                </a:cubicBezTo>
                <a:cubicBezTo>
                  <a:pt x="78" y="132"/>
                  <a:pt x="77" y="131"/>
                  <a:pt x="77" y="130"/>
                </a:cubicBezTo>
                <a:cubicBezTo>
                  <a:pt x="77" y="129"/>
                  <a:pt x="77" y="129"/>
                  <a:pt x="77" y="129"/>
                </a:cubicBezTo>
                <a:cubicBezTo>
                  <a:pt x="77" y="128"/>
                  <a:pt x="77" y="128"/>
                  <a:pt x="77" y="128"/>
                </a:cubicBezTo>
                <a:cubicBezTo>
                  <a:pt x="79" y="127"/>
                  <a:pt x="79" y="127"/>
                  <a:pt x="79" y="127"/>
                </a:cubicBezTo>
                <a:cubicBezTo>
                  <a:pt x="79" y="127"/>
                  <a:pt x="79" y="127"/>
                  <a:pt x="79" y="127"/>
                </a:cubicBezTo>
                <a:cubicBezTo>
                  <a:pt x="79" y="127"/>
                  <a:pt x="79" y="127"/>
                  <a:pt x="80" y="127"/>
                </a:cubicBezTo>
                <a:cubicBezTo>
                  <a:pt x="80" y="127"/>
                  <a:pt x="80" y="127"/>
                  <a:pt x="80" y="127"/>
                </a:cubicBezTo>
                <a:cubicBezTo>
                  <a:pt x="79" y="127"/>
                  <a:pt x="79" y="127"/>
                  <a:pt x="79" y="126"/>
                </a:cubicBezTo>
                <a:cubicBezTo>
                  <a:pt x="79" y="126"/>
                  <a:pt x="79" y="125"/>
                  <a:pt x="79" y="125"/>
                </a:cubicBezTo>
                <a:cubicBezTo>
                  <a:pt x="80" y="123"/>
                  <a:pt x="81" y="122"/>
                  <a:pt x="82" y="121"/>
                </a:cubicBezTo>
                <a:cubicBezTo>
                  <a:pt x="82" y="121"/>
                  <a:pt x="82" y="121"/>
                  <a:pt x="82" y="121"/>
                </a:cubicBezTo>
                <a:cubicBezTo>
                  <a:pt x="82" y="120"/>
                  <a:pt x="82" y="120"/>
                  <a:pt x="82" y="120"/>
                </a:cubicBezTo>
                <a:cubicBezTo>
                  <a:pt x="83" y="119"/>
                  <a:pt x="83" y="119"/>
                  <a:pt x="83" y="119"/>
                </a:cubicBezTo>
                <a:cubicBezTo>
                  <a:pt x="84" y="120"/>
                  <a:pt x="84" y="120"/>
                  <a:pt x="84" y="120"/>
                </a:cubicBezTo>
                <a:cubicBezTo>
                  <a:pt x="85" y="120"/>
                  <a:pt x="85" y="120"/>
                  <a:pt x="85" y="121"/>
                </a:cubicBezTo>
                <a:cubicBezTo>
                  <a:pt x="86" y="121"/>
                  <a:pt x="87" y="122"/>
                  <a:pt x="88" y="122"/>
                </a:cubicBezTo>
                <a:cubicBezTo>
                  <a:pt x="88" y="122"/>
                  <a:pt x="88" y="122"/>
                  <a:pt x="88" y="122"/>
                </a:cubicBezTo>
                <a:cubicBezTo>
                  <a:pt x="88" y="123"/>
                  <a:pt x="88" y="123"/>
                  <a:pt x="88" y="123"/>
                </a:cubicBezTo>
                <a:cubicBezTo>
                  <a:pt x="88" y="123"/>
                  <a:pt x="88" y="123"/>
                  <a:pt x="89" y="123"/>
                </a:cubicBezTo>
                <a:cubicBezTo>
                  <a:pt x="89" y="123"/>
                  <a:pt x="89" y="122"/>
                  <a:pt x="89" y="122"/>
                </a:cubicBezTo>
                <a:cubicBezTo>
                  <a:pt x="89" y="122"/>
                  <a:pt x="89" y="122"/>
                  <a:pt x="89" y="122"/>
                </a:cubicBezTo>
                <a:cubicBezTo>
                  <a:pt x="89" y="122"/>
                  <a:pt x="89" y="122"/>
                  <a:pt x="90" y="122"/>
                </a:cubicBezTo>
                <a:cubicBezTo>
                  <a:pt x="90" y="122"/>
                  <a:pt x="90" y="122"/>
                  <a:pt x="90" y="122"/>
                </a:cubicBezTo>
                <a:cubicBezTo>
                  <a:pt x="90" y="122"/>
                  <a:pt x="90" y="122"/>
                  <a:pt x="90" y="122"/>
                </a:cubicBezTo>
                <a:cubicBezTo>
                  <a:pt x="89" y="121"/>
                  <a:pt x="89" y="119"/>
                  <a:pt x="89" y="118"/>
                </a:cubicBezTo>
                <a:cubicBezTo>
                  <a:pt x="90" y="116"/>
                  <a:pt x="90" y="116"/>
                  <a:pt x="90" y="116"/>
                </a:cubicBezTo>
                <a:cubicBezTo>
                  <a:pt x="91" y="117"/>
                  <a:pt x="91" y="117"/>
                  <a:pt x="91" y="117"/>
                </a:cubicBezTo>
                <a:cubicBezTo>
                  <a:pt x="91" y="117"/>
                  <a:pt x="91" y="117"/>
                  <a:pt x="92" y="117"/>
                </a:cubicBezTo>
                <a:cubicBezTo>
                  <a:pt x="92" y="117"/>
                  <a:pt x="92" y="117"/>
                  <a:pt x="92" y="117"/>
                </a:cubicBezTo>
                <a:cubicBezTo>
                  <a:pt x="92" y="118"/>
                  <a:pt x="92" y="118"/>
                  <a:pt x="93" y="118"/>
                </a:cubicBezTo>
                <a:cubicBezTo>
                  <a:pt x="93" y="118"/>
                  <a:pt x="93" y="118"/>
                  <a:pt x="93" y="118"/>
                </a:cubicBezTo>
                <a:cubicBezTo>
                  <a:pt x="93" y="117"/>
                  <a:pt x="93" y="117"/>
                  <a:pt x="93" y="117"/>
                </a:cubicBezTo>
                <a:cubicBezTo>
                  <a:pt x="94" y="116"/>
                  <a:pt x="94" y="116"/>
                  <a:pt x="94" y="116"/>
                </a:cubicBezTo>
                <a:cubicBezTo>
                  <a:pt x="95" y="114"/>
                  <a:pt x="96" y="112"/>
                  <a:pt x="99" y="112"/>
                </a:cubicBezTo>
                <a:cubicBezTo>
                  <a:pt x="100" y="111"/>
                  <a:pt x="101" y="112"/>
                  <a:pt x="101" y="112"/>
                </a:cubicBezTo>
                <a:cubicBezTo>
                  <a:pt x="101" y="112"/>
                  <a:pt x="102" y="112"/>
                  <a:pt x="102" y="112"/>
                </a:cubicBezTo>
                <a:cubicBezTo>
                  <a:pt x="102" y="112"/>
                  <a:pt x="102" y="112"/>
                  <a:pt x="102" y="112"/>
                </a:cubicBezTo>
                <a:cubicBezTo>
                  <a:pt x="102" y="112"/>
                  <a:pt x="102" y="112"/>
                  <a:pt x="102" y="112"/>
                </a:cubicBezTo>
                <a:cubicBezTo>
                  <a:pt x="103" y="110"/>
                  <a:pt x="103" y="110"/>
                  <a:pt x="105" y="109"/>
                </a:cubicBezTo>
                <a:cubicBezTo>
                  <a:pt x="106" y="109"/>
                  <a:pt x="106" y="109"/>
                  <a:pt x="107" y="109"/>
                </a:cubicBezTo>
                <a:cubicBezTo>
                  <a:pt x="107" y="108"/>
                  <a:pt x="107" y="108"/>
                  <a:pt x="107" y="108"/>
                </a:cubicBezTo>
                <a:cubicBezTo>
                  <a:pt x="108" y="108"/>
                  <a:pt x="108" y="108"/>
                  <a:pt x="109" y="108"/>
                </a:cubicBezTo>
                <a:cubicBezTo>
                  <a:pt x="109" y="108"/>
                  <a:pt x="109" y="108"/>
                  <a:pt x="109" y="108"/>
                </a:cubicBezTo>
                <a:cubicBezTo>
                  <a:pt x="110" y="107"/>
                  <a:pt x="111" y="107"/>
                  <a:pt x="112" y="106"/>
                </a:cubicBezTo>
                <a:cubicBezTo>
                  <a:pt x="113" y="106"/>
                  <a:pt x="113" y="106"/>
                  <a:pt x="113" y="105"/>
                </a:cubicBezTo>
                <a:cubicBezTo>
                  <a:pt x="114" y="105"/>
                  <a:pt x="114" y="105"/>
                  <a:pt x="114" y="105"/>
                </a:cubicBezTo>
                <a:cubicBezTo>
                  <a:pt x="114" y="104"/>
                  <a:pt x="115" y="104"/>
                  <a:pt x="115" y="104"/>
                </a:cubicBezTo>
                <a:cubicBezTo>
                  <a:pt x="116" y="103"/>
                  <a:pt x="116" y="103"/>
                  <a:pt x="116" y="103"/>
                </a:cubicBezTo>
                <a:cubicBezTo>
                  <a:pt x="116" y="103"/>
                  <a:pt x="117" y="103"/>
                  <a:pt x="117" y="103"/>
                </a:cubicBezTo>
                <a:cubicBezTo>
                  <a:pt x="118" y="103"/>
                  <a:pt x="118" y="103"/>
                  <a:pt x="119" y="103"/>
                </a:cubicBezTo>
                <a:cubicBezTo>
                  <a:pt x="119" y="103"/>
                  <a:pt x="119" y="103"/>
                  <a:pt x="119" y="103"/>
                </a:cubicBezTo>
                <a:cubicBezTo>
                  <a:pt x="120" y="103"/>
                  <a:pt x="120" y="103"/>
                  <a:pt x="121" y="103"/>
                </a:cubicBezTo>
                <a:cubicBezTo>
                  <a:pt x="121" y="103"/>
                  <a:pt x="121" y="103"/>
                  <a:pt x="121" y="103"/>
                </a:cubicBezTo>
                <a:cubicBezTo>
                  <a:pt x="122" y="103"/>
                  <a:pt x="123" y="103"/>
                  <a:pt x="124" y="104"/>
                </a:cubicBezTo>
                <a:cubicBezTo>
                  <a:pt x="124" y="104"/>
                  <a:pt x="124" y="104"/>
                  <a:pt x="124" y="104"/>
                </a:cubicBezTo>
                <a:cubicBezTo>
                  <a:pt x="125" y="104"/>
                  <a:pt x="125" y="104"/>
                  <a:pt x="125" y="104"/>
                </a:cubicBezTo>
                <a:cubicBezTo>
                  <a:pt x="125" y="104"/>
                  <a:pt x="125" y="104"/>
                  <a:pt x="125" y="104"/>
                </a:cubicBezTo>
                <a:cubicBezTo>
                  <a:pt x="125" y="104"/>
                  <a:pt x="125" y="104"/>
                  <a:pt x="125" y="104"/>
                </a:cubicBezTo>
                <a:cubicBezTo>
                  <a:pt x="125" y="104"/>
                  <a:pt x="126" y="104"/>
                  <a:pt x="126" y="104"/>
                </a:cubicBezTo>
                <a:cubicBezTo>
                  <a:pt x="126" y="104"/>
                  <a:pt x="126" y="104"/>
                  <a:pt x="126" y="104"/>
                </a:cubicBezTo>
                <a:cubicBezTo>
                  <a:pt x="126" y="104"/>
                  <a:pt x="126" y="104"/>
                  <a:pt x="126" y="104"/>
                </a:cubicBezTo>
                <a:cubicBezTo>
                  <a:pt x="126" y="104"/>
                  <a:pt x="126" y="104"/>
                  <a:pt x="126" y="104"/>
                </a:cubicBezTo>
                <a:cubicBezTo>
                  <a:pt x="127" y="105"/>
                  <a:pt x="127" y="105"/>
                  <a:pt x="127" y="105"/>
                </a:cubicBezTo>
                <a:cubicBezTo>
                  <a:pt x="127" y="105"/>
                  <a:pt x="127" y="105"/>
                  <a:pt x="127" y="104"/>
                </a:cubicBezTo>
                <a:cubicBezTo>
                  <a:pt x="127" y="104"/>
                  <a:pt x="127" y="104"/>
                  <a:pt x="127" y="104"/>
                </a:cubicBezTo>
                <a:cubicBezTo>
                  <a:pt x="128" y="104"/>
                  <a:pt x="128" y="104"/>
                  <a:pt x="128" y="104"/>
                </a:cubicBezTo>
                <a:cubicBezTo>
                  <a:pt x="129" y="104"/>
                  <a:pt x="129" y="104"/>
                  <a:pt x="129" y="104"/>
                </a:cubicBezTo>
                <a:cubicBezTo>
                  <a:pt x="129" y="104"/>
                  <a:pt x="129" y="104"/>
                  <a:pt x="129" y="104"/>
                </a:cubicBezTo>
                <a:cubicBezTo>
                  <a:pt x="130" y="103"/>
                  <a:pt x="131" y="103"/>
                  <a:pt x="132" y="103"/>
                </a:cubicBezTo>
                <a:cubicBezTo>
                  <a:pt x="134" y="102"/>
                  <a:pt x="136" y="101"/>
                  <a:pt x="138" y="101"/>
                </a:cubicBezTo>
                <a:cubicBezTo>
                  <a:pt x="143" y="100"/>
                  <a:pt x="147" y="100"/>
                  <a:pt x="151" y="100"/>
                </a:cubicBezTo>
                <a:cubicBezTo>
                  <a:pt x="151" y="100"/>
                  <a:pt x="151" y="100"/>
                  <a:pt x="151" y="100"/>
                </a:cubicBezTo>
                <a:cubicBezTo>
                  <a:pt x="151" y="100"/>
                  <a:pt x="152" y="100"/>
                  <a:pt x="152" y="100"/>
                </a:cubicBezTo>
                <a:cubicBezTo>
                  <a:pt x="152" y="100"/>
                  <a:pt x="152" y="100"/>
                  <a:pt x="152" y="100"/>
                </a:cubicBezTo>
                <a:cubicBezTo>
                  <a:pt x="153" y="100"/>
                  <a:pt x="154" y="100"/>
                  <a:pt x="155" y="100"/>
                </a:cubicBezTo>
                <a:cubicBezTo>
                  <a:pt x="155" y="100"/>
                  <a:pt x="156" y="100"/>
                  <a:pt x="156" y="100"/>
                </a:cubicBezTo>
                <a:cubicBezTo>
                  <a:pt x="157" y="100"/>
                  <a:pt x="157" y="100"/>
                  <a:pt x="157" y="100"/>
                </a:cubicBezTo>
                <a:cubicBezTo>
                  <a:pt x="157" y="100"/>
                  <a:pt x="157" y="100"/>
                  <a:pt x="158" y="100"/>
                </a:cubicBezTo>
                <a:cubicBezTo>
                  <a:pt x="158" y="100"/>
                  <a:pt x="158" y="100"/>
                  <a:pt x="158" y="100"/>
                </a:cubicBezTo>
                <a:cubicBezTo>
                  <a:pt x="159" y="100"/>
                  <a:pt x="159" y="100"/>
                  <a:pt x="159" y="100"/>
                </a:cubicBezTo>
                <a:cubicBezTo>
                  <a:pt x="159" y="100"/>
                  <a:pt x="159" y="100"/>
                  <a:pt x="159" y="100"/>
                </a:cubicBezTo>
                <a:cubicBezTo>
                  <a:pt x="159" y="100"/>
                  <a:pt x="159" y="100"/>
                  <a:pt x="159" y="100"/>
                </a:cubicBezTo>
                <a:cubicBezTo>
                  <a:pt x="160" y="100"/>
                  <a:pt x="161" y="99"/>
                  <a:pt x="161" y="98"/>
                </a:cubicBezTo>
                <a:cubicBezTo>
                  <a:pt x="162" y="98"/>
                  <a:pt x="162" y="97"/>
                  <a:pt x="162" y="97"/>
                </a:cubicBezTo>
                <a:cubicBezTo>
                  <a:pt x="163" y="97"/>
                  <a:pt x="163" y="96"/>
                  <a:pt x="163" y="95"/>
                </a:cubicBezTo>
                <a:cubicBezTo>
                  <a:pt x="163" y="95"/>
                  <a:pt x="164" y="95"/>
                  <a:pt x="164" y="94"/>
                </a:cubicBezTo>
                <a:cubicBezTo>
                  <a:pt x="164" y="93"/>
                  <a:pt x="164" y="93"/>
                  <a:pt x="164" y="93"/>
                </a:cubicBezTo>
                <a:cubicBezTo>
                  <a:pt x="165" y="92"/>
                  <a:pt x="165" y="90"/>
                  <a:pt x="166" y="89"/>
                </a:cubicBezTo>
                <a:cubicBezTo>
                  <a:pt x="166" y="86"/>
                  <a:pt x="166" y="82"/>
                  <a:pt x="166" y="79"/>
                </a:cubicBezTo>
                <a:cubicBezTo>
                  <a:pt x="166" y="77"/>
                  <a:pt x="166" y="77"/>
                  <a:pt x="166" y="77"/>
                </a:cubicBezTo>
                <a:cubicBezTo>
                  <a:pt x="166" y="74"/>
                  <a:pt x="166" y="72"/>
                  <a:pt x="166" y="69"/>
                </a:cubicBezTo>
                <a:cubicBezTo>
                  <a:pt x="166" y="68"/>
                  <a:pt x="166" y="68"/>
                  <a:pt x="166" y="68"/>
                </a:cubicBezTo>
                <a:cubicBezTo>
                  <a:pt x="166" y="66"/>
                  <a:pt x="166" y="64"/>
                  <a:pt x="166" y="63"/>
                </a:cubicBezTo>
                <a:cubicBezTo>
                  <a:pt x="163" y="64"/>
                  <a:pt x="163" y="64"/>
                  <a:pt x="163" y="64"/>
                </a:cubicBezTo>
                <a:cubicBezTo>
                  <a:pt x="163" y="64"/>
                  <a:pt x="161" y="64"/>
                  <a:pt x="160" y="64"/>
                </a:cubicBezTo>
                <a:cubicBezTo>
                  <a:pt x="157" y="64"/>
                  <a:pt x="156" y="63"/>
                  <a:pt x="155" y="63"/>
                </a:cubicBezTo>
                <a:cubicBezTo>
                  <a:pt x="155" y="63"/>
                  <a:pt x="155" y="63"/>
                  <a:pt x="155" y="63"/>
                </a:cubicBezTo>
                <a:cubicBezTo>
                  <a:pt x="155" y="63"/>
                  <a:pt x="155" y="63"/>
                  <a:pt x="155" y="63"/>
                </a:cubicBezTo>
                <a:cubicBezTo>
                  <a:pt x="155" y="62"/>
                  <a:pt x="155" y="62"/>
                  <a:pt x="155" y="62"/>
                </a:cubicBezTo>
                <a:cubicBezTo>
                  <a:pt x="154" y="61"/>
                  <a:pt x="155" y="60"/>
                  <a:pt x="155" y="59"/>
                </a:cubicBezTo>
                <a:cubicBezTo>
                  <a:pt x="156" y="59"/>
                  <a:pt x="156" y="59"/>
                  <a:pt x="156" y="59"/>
                </a:cubicBezTo>
                <a:cubicBezTo>
                  <a:pt x="156" y="59"/>
                  <a:pt x="156" y="59"/>
                  <a:pt x="156" y="58"/>
                </a:cubicBezTo>
                <a:cubicBezTo>
                  <a:pt x="156" y="58"/>
                  <a:pt x="156" y="58"/>
                  <a:pt x="156" y="58"/>
                </a:cubicBezTo>
                <a:cubicBezTo>
                  <a:pt x="156" y="58"/>
                  <a:pt x="156" y="58"/>
                  <a:pt x="156" y="58"/>
                </a:cubicBezTo>
                <a:cubicBezTo>
                  <a:pt x="156" y="58"/>
                  <a:pt x="155" y="58"/>
                  <a:pt x="155" y="57"/>
                </a:cubicBezTo>
                <a:cubicBezTo>
                  <a:pt x="155" y="57"/>
                  <a:pt x="155" y="56"/>
                  <a:pt x="156" y="56"/>
                </a:cubicBezTo>
                <a:cubicBezTo>
                  <a:pt x="156" y="56"/>
                  <a:pt x="156" y="56"/>
                  <a:pt x="156" y="56"/>
                </a:cubicBezTo>
                <a:cubicBezTo>
                  <a:pt x="156" y="56"/>
                  <a:pt x="156" y="56"/>
                  <a:pt x="156" y="56"/>
                </a:cubicBezTo>
                <a:cubicBezTo>
                  <a:pt x="156" y="55"/>
                  <a:pt x="156" y="55"/>
                  <a:pt x="156" y="55"/>
                </a:cubicBezTo>
                <a:cubicBezTo>
                  <a:pt x="156" y="55"/>
                  <a:pt x="156" y="55"/>
                  <a:pt x="156" y="55"/>
                </a:cubicBezTo>
                <a:cubicBezTo>
                  <a:pt x="155" y="55"/>
                  <a:pt x="155" y="55"/>
                  <a:pt x="155" y="55"/>
                </a:cubicBezTo>
                <a:cubicBezTo>
                  <a:pt x="155" y="55"/>
                  <a:pt x="155" y="55"/>
                  <a:pt x="155" y="55"/>
                </a:cubicBezTo>
                <a:cubicBezTo>
                  <a:pt x="154" y="54"/>
                  <a:pt x="154" y="54"/>
                  <a:pt x="154" y="54"/>
                </a:cubicBezTo>
                <a:cubicBezTo>
                  <a:pt x="154" y="54"/>
                  <a:pt x="154" y="54"/>
                  <a:pt x="153" y="54"/>
                </a:cubicBezTo>
                <a:cubicBezTo>
                  <a:pt x="153" y="54"/>
                  <a:pt x="153" y="54"/>
                  <a:pt x="153" y="54"/>
                </a:cubicBezTo>
                <a:cubicBezTo>
                  <a:pt x="153" y="54"/>
                  <a:pt x="153" y="54"/>
                  <a:pt x="153" y="54"/>
                </a:cubicBezTo>
                <a:cubicBezTo>
                  <a:pt x="152" y="54"/>
                  <a:pt x="152" y="54"/>
                  <a:pt x="152" y="54"/>
                </a:cubicBezTo>
                <a:cubicBezTo>
                  <a:pt x="150" y="53"/>
                  <a:pt x="149" y="52"/>
                  <a:pt x="147" y="51"/>
                </a:cubicBezTo>
                <a:cubicBezTo>
                  <a:pt x="147" y="51"/>
                  <a:pt x="147" y="51"/>
                  <a:pt x="147" y="51"/>
                </a:cubicBezTo>
                <a:cubicBezTo>
                  <a:pt x="147" y="51"/>
                  <a:pt x="147" y="51"/>
                  <a:pt x="147" y="51"/>
                </a:cubicBezTo>
                <a:cubicBezTo>
                  <a:pt x="147" y="51"/>
                  <a:pt x="147" y="51"/>
                  <a:pt x="147" y="51"/>
                </a:cubicBezTo>
                <a:cubicBezTo>
                  <a:pt x="146" y="51"/>
                  <a:pt x="146" y="51"/>
                  <a:pt x="146" y="51"/>
                </a:cubicBezTo>
                <a:cubicBezTo>
                  <a:pt x="146" y="51"/>
                  <a:pt x="146" y="51"/>
                  <a:pt x="145" y="51"/>
                </a:cubicBezTo>
                <a:cubicBezTo>
                  <a:pt x="145" y="51"/>
                  <a:pt x="145" y="51"/>
                  <a:pt x="145" y="51"/>
                </a:cubicBezTo>
                <a:cubicBezTo>
                  <a:pt x="144" y="51"/>
                  <a:pt x="141" y="50"/>
                  <a:pt x="140" y="48"/>
                </a:cubicBezTo>
                <a:cubicBezTo>
                  <a:pt x="140" y="48"/>
                  <a:pt x="140" y="48"/>
                  <a:pt x="140" y="48"/>
                </a:cubicBezTo>
                <a:cubicBezTo>
                  <a:pt x="139" y="48"/>
                  <a:pt x="139" y="48"/>
                  <a:pt x="139" y="48"/>
                </a:cubicBezTo>
                <a:cubicBezTo>
                  <a:pt x="139" y="47"/>
                  <a:pt x="139" y="47"/>
                  <a:pt x="138" y="47"/>
                </a:cubicBezTo>
                <a:cubicBezTo>
                  <a:pt x="138" y="47"/>
                  <a:pt x="138" y="47"/>
                  <a:pt x="138" y="47"/>
                </a:cubicBezTo>
                <a:cubicBezTo>
                  <a:pt x="138" y="47"/>
                  <a:pt x="138" y="47"/>
                  <a:pt x="138" y="47"/>
                </a:cubicBezTo>
                <a:cubicBezTo>
                  <a:pt x="136" y="46"/>
                  <a:pt x="135" y="46"/>
                  <a:pt x="135" y="45"/>
                </a:cubicBezTo>
                <a:cubicBezTo>
                  <a:pt x="134" y="44"/>
                  <a:pt x="134" y="44"/>
                  <a:pt x="135" y="44"/>
                </a:cubicBezTo>
                <a:cubicBezTo>
                  <a:pt x="135" y="43"/>
                  <a:pt x="135" y="43"/>
                  <a:pt x="135" y="43"/>
                </a:cubicBezTo>
                <a:cubicBezTo>
                  <a:pt x="135" y="43"/>
                  <a:pt x="135" y="43"/>
                  <a:pt x="135" y="43"/>
                </a:cubicBezTo>
                <a:cubicBezTo>
                  <a:pt x="135" y="42"/>
                  <a:pt x="135" y="42"/>
                  <a:pt x="135" y="42"/>
                </a:cubicBezTo>
                <a:cubicBezTo>
                  <a:pt x="135" y="41"/>
                  <a:pt x="134" y="41"/>
                  <a:pt x="134" y="41"/>
                </a:cubicBezTo>
                <a:cubicBezTo>
                  <a:pt x="125" y="35"/>
                  <a:pt x="125" y="35"/>
                  <a:pt x="125" y="35"/>
                </a:cubicBezTo>
                <a:cubicBezTo>
                  <a:pt x="117" y="30"/>
                  <a:pt x="111" y="25"/>
                  <a:pt x="104" y="21"/>
                </a:cubicBezTo>
                <a:cubicBezTo>
                  <a:pt x="100" y="18"/>
                  <a:pt x="97" y="15"/>
                  <a:pt x="93" y="13"/>
                </a:cubicBezTo>
                <a:cubicBezTo>
                  <a:pt x="90" y="11"/>
                  <a:pt x="90" y="11"/>
                  <a:pt x="90" y="11"/>
                </a:cubicBezTo>
                <a:cubicBezTo>
                  <a:pt x="87" y="9"/>
                  <a:pt x="85" y="7"/>
                  <a:pt x="82" y="5"/>
                </a:cubicBezTo>
                <a:cubicBezTo>
                  <a:pt x="82" y="5"/>
                  <a:pt x="82" y="5"/>
                  <a:pt x="82" y="5"/>
                </a:cubicBezTo>
                <a:cubicBezTo>
                  <a:pt x="81" y="5"/>
                  <a:pt x="80" y="4"/>
                  <a:pt x="79" y="3"/>
                </a:cubicBezTo>
                <a:cubicBezTo>
                  <a:pt x="77" y="2"/>
                  <a:pt x="77" y="2"/>
                  <a:pt x="77" y="2"/>
                </a:cubicBezTo>
                <a:cubicBezTo>
                  <a:pt x="76" y="1"/>
                  <a:pt x="75" y="1"/>
                  <a:pt x="74" y="0"/>
                </a:cubicBezTo>
                <a:cubicBezTo>
                  <a:pt x="58" y="0"/>
                  <a:pt x="58" y="0"/>
                  <a:pt x="58" y="0"/>
                </a:cubicBezTo>
                <a:cubicBezTo>
                  <a:pt x="59" y="8"/>
                  <a:pt x="59" y="8"/>
                  <a:pt x="59" y="8"/>
                </a:cubicBezTo>
                <a:cubicBezTo>
                  <a:pt x="59" y="8"/>
                  <a:pt x="59" y="9"/>
                  <a:pt x="59" y="10"/>
                </a:cubicBezTo>
                <a:cubicBezTo>
                  <a:pt x="60" y="13"/>
                  <a:pt x="60" y="13"/>
                  <a:pt x="60" y="13"/>
                </a:cubicBezTo>
                <a:cubicBezTo>
                  <a:pt x="61" y="21"/>
                  <a:pt x="62" y="29"/>
                  <a:pt x="63" y="37"/>
                </a:cubicBezTo>
                <a:cubicBezTo>
                  <a:pt x="64" y="47"/>
                  <a:pt x="65" y="56"/>
                  <a:pt x="66" y="66"/>
                </a:cubicBezTo>
                <a:cubicBezTo>
                  <a:pt x="69" y="89"/>
                  <a:pt x="69" y="89"/>
                  <a:pt x="69" y="89"/>
                </a:cubicBezTo>
                <a:cubicBezTo>
                  <a:pt x="69" y="89"/>
                  <a:pt x="69" y="89"/>
                  <a:pt x="69" y="89"/>
                </a:cubicBezTo>
                <a:cubicBezTo>
                  <a:pt x="69" y="90"/>
                  <a:pt x="69" y="90"/>
                  <a:pt x="69" y="90"/>
                </a:cubicBezTo>
                <a:cubicBezTo>
                  <a:pt x="71" y="91"/>
                  <a:pt x="70" y="92"/>
                  <a:pt x="70" y="93"/>
                </a:cubicBezTo>
                <a:cubicBezTo>
                  <a:pt x="70" y="95"/>
                  <a:pt x="70" y="95"/>
                  <a:pt x="70" y="95"/>
                </a:cubicBezTo>
                <a:cubicBezTo>
                  <a:pt x="70" y="95"/>
                  <a:pt x="70" y="96"/>
                  <a:pt x="70" y="96"/>
                </a:cubicBezTo>
                <a:cubicBezTo>
                  <a:pt x="70" y="96"/>
                  <a:pt x="70" y="96"/>
                  <a:pt x="70" y="96"/>
                </a:cubicBezTo>
                <a:cubicBezTo>
                  <a:pt x="70" y="99"/>
                  <a:pt x="69" y="100"/>
                  <a:pt x="69" y="101"/>
                </a:cubicBezTo>
                <a:cubicBezTo>
                  <a:pt x="68" y="101"/>
                  <a:pt x="68" y="101"/>
                  <a:pt x="68" y="101"/>
                </a:cubicBezTo>
                <a:cubicBezTo>
                  <a:pt x="67" y="101"/>
                  <a:pt x="67" y="101"/>
                  <a:pt x="67" y="101"/>
                </a:cubicBezTo>
                <a:cubicBezTo>
                  <a:pt x="67" y="101"/>
                  <a:pt x="67" y="101"/>
                  <a:pt x="67" y="101"/>
                </a:cubicBezTo>
                <a:cubicBezTo>
                  <a:pt x="66" y="101"/>
                  <a:pt x="66" y="101"/>
                  <a:pt x="66" y="101"/>
                </a:cubicBezTo>
                <a:cubicBezTo>
                  <a:pt x="66" y="101"/>
                  <a:pt x="66" y="101"/>
                  <a:pt x="66" y="101"/>
                </a:cubicBezTo>
                <a:cubicBezTo>
                  <a:pt x="65" y="101"/>
                  <a:pt x="65" y="101"/>
                  <a:pt x="64" y="101"/>
                </a:cubicBezTo>
                <a:cubicBezTo>
                  <a:pt x="64" y="101"/>
                  <a:pt x="64" y="101"/>
                  <a:pt x="64" y="101"/>
                </a:cubicBezTo>
                <a:cubicBezTo>
                  <a:pt x="63" y="101"/>
                  <a:pt x="63" y="101"/>
                  <a:pt x="63" y="101"/>
                </a:cubicBezTo>
                <a:cubicBezTo>
                  <a:pt x="58" y="101"/>
                  <a:pt x="53" y="101"/>
                  <a:pt x="48" y="101"/>
                </a:cubicBezTo>
                <a:cubicBezTo>
                  <a:pt x="34" y="101"/>
                  <a:pt x="34" y="101"/>
                  <a:pt x="34" y="101"/>
                </a:cubicBezTo>
                <a:cubicBezTo>
                  <a:pt x="33" y="101"/>
                  <a:pt x="33" y="101"/>
                  <a:pt x="33" y="101"/>
                </a:cubicBezTo>
                <a:cubicBezTo>
                  <a:pt x="33" y="101"/>
                  <a:pt x="33" y="101"/>
                  <a:pt x="33" y="101"/>
                </a:cubicBezTo>
                <a:cubicBezTo>
                  <a:pt x="32" y="101"/>
                  <a:pt x="32" y="101"/>
                  <a:pt x="31" y="101"/>
                </a:cubicBezTo>
                <a:cubicBezTo>
                  <a:pt x="31" y="101"/>
                  <a:pt x="30" y="101"/>
                  <a:pt x="30" y="101"/>
                </a:cubicBezTo>
                <a:cubicBezTo>
                  <a:pt x="30" y="101"/>
                  <a:pt x="30" y="101"/>
                  <a:pt x="30" y="101"/>
                </a:cubicBezTo>
                <a:cubicBezTo>
                  <a:pt x="29" y="101"/>
                  <a:pt x="29" y="101"/>
                  <a:pt x="29" y="101"/>
                </a:cubicBezTo>
                <a:cubicBezTo>
                  <a:pt x="29" y="101"/>
                  <a:pt x="29" y="101"/>
                  <a:pt x="29" y="101"/>
                </a:cubicBezTo>
                <a:cubicBezTo>
                  <a:pt x="29" y="101"/>
                  <a:pt x="29" y="101"/>
                  <a:pt x="29" y="101"/>
                </a:cubicBezTo>
                <a:cubicBezTo>
                  <a:pt x="29" y="102"/>
                  <a:pt x="29" y="102"/>
                  <a:pt x="29" y="102"/>
                </a:cubicBezTo>
                <a:cubicBezTo>
                  <a:pt x="17" y="102"/>
                  <a:pt x="17" y="102"/>
                  <a:pt x="17" y="102"/>
                </a:cubicBezTo>
                <a:cubicBezTo>
                  <a:pt x="17" y="102"/>
                  <a:pt x="17" y="102"/>
                  <a:pt x="17" y="102"/>
                </a:cubicBezTo>
                <a:cubicBezTo>
                  <a:pt x="16" y="102"/>
                  <a:pt x="16" y="102"/>
                  <a:pt x="16" y="102"/>
                </a:cubicBezTo>
                <a:cubicBezTo>
                  <a:pt x="16" y="102"/>
                  <a:pt x="16" y="102"/>
                  <a:pt x="15" y="102"/>
                </a:cubicBezTo>
                <a:cubicBezTo>
                  <a:pt x="15" y="102"/>
                  <a:pt x="15" y="102"/>
                  <a:pt x="15" y="102"/>
                </a:cubicBezTo>
                <a:cubicBezTo>
                  <a:pt x="15" y="103"/>
                  <a:pt x="14" y="104"/>
                  <a:pt x="14" y="105"/>
                </a:cubicBezTo>
                <a:cubicBezTo>
                  <a:pt x="13" y="106"/>
                  <a:pt x="13" y="106"/>
                  <a:pt x="13" y="106"/>
                </a:cubicBezTo>
                <a:cubicBezTo>
                  <a:pt x="12" y="105"/>
                  <a:pt x="12" y="105"/>
                  <a:pt x="12" y="105"/>
                </a:cubicBezTo>
                <a:cubicBezTo>
                  <a:pt x="10" y="103"/>
                  <a:pt x="8" y="101"/>
                  <a:pt x="6" y="100"/>
                </a:cubicBezTo>
                <a:cubicBezTo>
                  <a:pt x="6" y="100"/>
                  <a:pt x="6" y="100"/>
                  <a:pt x="6" y="100"/>
                </a:cubicBezTo>
                <a:cubicBezTo>
                  <a:pt x="6" y="100"/>
                  <a:pt x="6" y="100"/>
                  <a:pt x="5" y="100"/>
                </a:cubicBezTo>
                <a:cubicBezTo>
                  <a:pt x="5" y="100"/>
                  <a:pt x="5" y="100"/>
                  <a:pt x="5" y="100"/>
                </a:cubicBezTo>
                <a:cubicBezTo>
                  <a:pt x="5" y="101"/>
                  <a:pt x="5" y="101"/>
                  <a:pt x="5" y="102"/>
                </a:cubicBezTo>
                <a:cubicBezTo>
                  <a:pt x="5" y="103"/>
                  <a:pt x="5" y="104"/>
                  <a:pt x="5" y="105"/>
                </a:cubicBezTo>
                <a:cubicBezTo>
                  <a:pt x="5" y="106"/>
                  <a:pt x="5" y="106"/>
                  <a:pt x="4" y="106"/>
                </a:cubicBezTo>
                <a:cubicBezTo>
                  <a:pt x="4" y="106"/>
                  <a:pt x="4" y="107"/>
                  <a:pt x="4" y="107"/>
                </a:cubicBezTo>
                <a:cubicBezTo>
                  <a:pt x="4" y="107"/>
                  <a:pt x="3" y="108"/>
                  <a:pt x="3" y="108"/>
                </a:cubicBezTo>
                <a:cubicBezTo>
                  <a:pt x="2" y="108"/>
                  <a:pt x="2" y="108"/>
                  <a:pt x="2" y="108"/>
                </a:cubicBezTo>
                <a:cubicBezTo>
                  <a:pt x="2" y="108"/>
                  <a:pt x="2" y="108"/>
                  <a:pt x="2" y="108"/>
                </a:cubicBezTo>
                <a:cubicBezTo>
                  <a:pt x="0" y="109"/>
                  <a:pt x="0" y="109"/>
                  <a:pt x="0" y="109"/>
                </a:cubicBezTo>
                <a:cubicBezTo>
                  <a:pt x="2" y="117"/>
                  <a:pt x="2" y="117"/>
                  <a:pt x="2" y="117"/>
                </a:cubicBezTo>
                <a:cubicBezTo>
                  <a:pt x="5" y="116"/>
                  <a:pt x="5" y="116"/>
                  <a:pt x="5" y="116"/>
                </a:cubicBezTo>
                <a:cubicBezTo>
                  <a:pt x="3" y="117"/>
                  <a:pt x="3" y="117"/>
                  <a:pt x="3" y="117"/>
                </a:cubicBezTo>
                <a:cubicBezTo>
                  <a:pt x="3" y="117"/>
                  <a:pt x="3" y="117"/>
                  <a:pt x="3" y="117"/>
                </a:cubicBezTo>
                <a:cubicBezTo>
                  <a:pt x="3" y="118"/>
                  <a:pt x="3" y="118"/>
                  <a:pt x="2" y="119"/>
                </a:cubicBezTo>
                <a:cubicBezTo>
                  <a:pt x="3" y="119"/>
                  <a:pt x="3" y="120"/>
                  <a:pt x="4" y="120"/>
                </a:cubicBezTo>
                <a:cubicBezTo>
                  <a:pt x="4" y="120"/>
                  <a:pt x="5" y="120"/>
                  <a:pt x="5" y="120"/>
                </a:cubicBezTo>
                <a:cubicBezTo>
                  <a:pt x="5" y="121"/>
                  <a:pt x="6" y="121"/>
                  <a:pt x="6" y="121"/>
                </a:cubicBezTo>
                <a:cubicBezTo>
                  <a:pt x="8" y="122"/>
                  <a:pt x="8" y="124"/>
                  <a:pt x="9" y="126"/>
                </a:cubicBezTo>
                <a:cubicBezTo>
                  <a:pt x="9" y="127"/>
                  <a:pt x="9" y="127"/>
                  <a:pt x="9" y="128"/>
                </a:cubicBezTo>
                <a:cubicBezTo>
                  <a:pt x="9" y="128"/>
                  <a:pt x="9" y="128"/>
                  <a:pt x="9" y="128"/>
                </a:cubicBezTo>
                <a:cubicBezTo>
                  <a:pt x="9" y="128"/>
                  <a:pt x="9" y="128"/>
                  <a:pt x="9" y="129"/>
                </a:cubicBezTo>
                <a:cubicBezTo>
                  <a:pt x="9" y="129"/>
                  <a:pt x="9" y="129"/>
                  <a:pt x="9" y="129"/>
                </a:cubicBezTo>
                <a:cubicBezTo>
                  <a:pt x="9" y="130"/>
                  <a:pt x="9" y="130"/>
                  <a:pt x="9" y="130"/>
                </a:cubicBezTo>
                <a:cubicBezTo>
                  <a:pt x="9" y="130"/>
                  <a:pt x="9" y="130"/>
                  <a:pt x="9" y="131"/>
                </a:cubicBezTo>
                <a:cubicBezTo>
                  <a:pt x="10" y="131"/>
                  <a:pt x="10" y="131"/>
                  <a:pt x="10" y="131"/>
                </a:cubicBezTo>
                <a:cubicBezTo>
                  <a:pt x="9" y="131"/>
                  <a:pt x="9" y="131"/>
                  <a:pt x="9" y="131"/>
                </a:cubicBezTo>
                <a:cubicBezTo>
                  <a:pt x="10" y="131"/>
                  <a:pt x="10" y="131"/>
                  <a:pt x="10" y="131"/>
                </a:cubicBezTo>
                <a:cubicBezTo>
                  <a:pt x="9" y="133"/>
                  <a:pt x="9" y="133"/>
                  <a:pt x="9" y="133"/>
                </a:cubicBezTo>
                <a:cubicBezTo>
                  <a:pt x="8" y="133"/>
                  <a:pt x="8" y="134"/>
                  <a:pt x="8" y="134"/>
                </a:cubicBezTo>
                <a:cubicBezTo>
                  <a:pt x="8" y="134"/>
                  <a:pt x="8" y="134"/>
                  <a:pt x="8" y="134"/>
                </a:cubicBezTo>
                <a:cubicBezTo>
                  <a:pt x="9" y="134"/>
                  <a:pt x="9" y="134"/>
                  <a:pt x="9" y="134"/>
                </a:cubicBezTo>
                <a:cubicBezTo>
                  <a:pt x="9" y="135"/>
                  <a:pt x="9" y="135"/>
                  <a:pt x="9" y="135"/>
                </a:cubicBezTo>
                <a:cubicBezTo>
                  <a:pt x="9" y="135"/>
                  <a:pt x="9" y="135"/>
                  <a:pt x="9" y="135"/>
                </a:cubicBezTo>
                <a:cubicBezTo>
                  <a:pt x="9" y="135"/>
                  <a:pt x="10" y="134"/>
                  <a:pt x="10" y="134"/>
                </a:cubicBezTo>
                <a:cubicBezTo>
                  <a:pt x="10" y="134"/>
                  <a:pt x="10" y="134"/>
                  <a:pt x="10" y="134"/>
                </a:cubicBezTo>
                <a:cubicBezTo>
                  <a:pt x="11" y="133"/>
                  <a:pt x="11" y="133"/>
                  <a:pt x="12" y="133"/>
                </a:cubicBezTo>
                <a:cubicBezTo>
                  <a:pt x="12" y="133"/>
                  <a:pt x="12" y="133"/>
                  <a:pt x="12" y="133"/>
                </a:cubicBezTo>
                <a:cubicBezTo>
                  <a:pt x="12" y="133"/>
                  <a:pt x="12" y="133"/>
                  <a:pt x="12" y="133"/>
                </a:cubicBezTo>
                <a:cubicBezTo>
                  <a:pt x="13" y="133"/>
                  <a:pt x="13" y="133"/>
                  <a:pt x="13" y="133"/>
                </a:cubicBezTo>
                <a:cubicBezTo>
                  <a:pt x="13" y="133"/>
                  <a:pt x="13" y="133"/>
                  <a:pt x="13" y="133"/>
                </a:cubicBezTo>
                <a:cubicBezTo>
                  <a:pt x="13" y="133"/>
                  <a:pt x="13" y="133"/>
                  <a:pt x="13" y="133"/>
                </a:cubicBezTo>
                <a:cubicBezTo>
                  <a:pt x="13" y="133"/>
                  <a:pt x="14" y="133"/>
                  <a:pt x="14" y="134"/>
                </a:cubicBezTo>
                <a:cubicBezTo>
                  <a:pt x="15" y="134"/>
                  <a:pt x="15" y="135"/>
                  <a:pt x="15" y="135"/>
                </a:cubicBezTo>
                <a:cubicBezTo>
                  <a:pt x="15" y="135"/>
                  <a:pt x="15" y="135"/>
                  <a:pt x="15" y="135"/>
                </a:cubicBezTo>
                <a:cubicBezTo>
                  <a:pt x="16" y="134"/>
                  <a:pt x="19" y="133"/>
                  <a:pt x="21" y="133"/>
                </a:cubicBezTo>
                <a:cubicBezTo>
                  <a:pt x="21" y="133"/>
                  <a:pt x="21" y="133"/>
                  <a:pt x="21" y="133"/>
                </a:cubicBezTo>
                <a:cubicBezTo>
                  <a:pt x="21" y="133"/>
                  <a:pt x="21" y="133"/>
                  <a:pt x="21" y="133"/>
                </a:cubicBezTo>
                <a:cubicBezTo>
                  <a:pt x="22" y="133"/>
                  <a:pt x="23" y="134"/>
                  <a:pt x="23" y="134"/>
                </a:cubicBezTo>
                <a:cubicBezTo>
                  <a:pt x="24" y="134"/>
                  <a:pt x="24" y="134"/>
                  <a:pt x="24" y="134"/>
                </a:cubicBezTo>
                <a:cubicBezTo>
                  <a:pt x="24" y="134"/>
                  <a:pt x="24" y="134"/>
                  <a:pt x="24" y="134"/>
                </a:cubicBezTo>
                <a:cubicBezTo>
                  <a:pt x="24" y="134"/>
                  <a:pt x="24" y="134"/>
                  <a:pt x="24" y="134"/>
                </a:cubicBezTo>
                <a:cubicBezTo>
                  <a:pt x="25" y="133"/>
                  <a:pt x="26" y="133"/>
                  <a:pt x="26" y="133"/>
                </a:cubicBezTo>
                <a:cubicBezTo>
                  <a:pt x="27" y="133"/>
                  <a:pt x="27" y="133"/>
                  <a:pt x="28" y="133"/>
                </a:cubicBezTo>
                <a:cubicBezTo>
                  <a:pt x="28" y="133"/>
                  <a:pt x="28" y="133"/>
                  <a:pt x="28" y="132"/>
                </a:cubicBezTo>
                <a:cubicBezTo>
                  <a:pt x="28" y="132"/>
                  <a:pt x="27" y="131"/>
                  <a:pt x="28" y="131"/>
                </a:cubicBezTo>
                <a:cubicBezTo>
                  <a:pt x="28" y="130"/>
                  <a:pt x="28" y="130"/>
                  <a:pt x="28" y="130"/>
                </a:cubicBezTo>
                <a:cubicBezTo>
                  <a:pt x="29" y="130"/>
                  <a:pt x="29" y="130"/>
                  <a:pt x="29" y="130"/>
                </a:cubicBezTo>
                <a:cubicBezTo>
                  <a:pt x="30" y="130"/>
                  <a:pt x="31" y="130"/>
                  <a:pt x="31" y="131"/>
                </a:cubicBezTo>
                <a:cubicBezTo>
                  <a:pt x="33" y="132"/>
                  <a:pt x="34" y="133"/>
                  <a:pt x="34" y="135"/>
                </a:cubicBezTo>
                <a:cubicBezTo>
                  <a:pt x="35" y="135"/>
                  <a:pt x="35" y="135"/>
                  <a:pt x="35" y="135"/>
                </a:cubicBezTo>
                <a:cubicBezTo>
                  <a:pt x="35" y="135"/>
                  <a:pt x="35" y="135"/>
                  <a:pt x="35" y="135"/>
                </a:cubicBezTo>
                <a:cubicBezTo>
                  <a:pt x="35" y="136"/>
                  <a:pt x="35" y="136"/>
                  <a:pt x="35" y="136"/>
                </a:cubicBezTo>
                <a:cubicBezTo>
                  <a:pt x="35" y="136"/>
                  <a:pt x="35" y="137"/>
                  <a:pt x="35" y="137"/>
                </a:cubicBezTo>
                <a:cubicBezTo>
                  <a:pt x="35" y="137"/>
                  <a:pt x="35" y="137"/>
                  <a:pt x="35" y="137"/>
                </a:cubicBezTo>
                <a:cubicBezTo>
                  <a:pt x="35" y="138"/>
                  <a:pt x="35" y="138"/>
                  <a:pt x="35" y="138"/>
                </a:cubicBezTo>
                <a:cubicBezTo>
                  <a:pt x="35" y="138"/>
                  <a:pt x="35" y="138"/>
                  <a:pt x="35" y="138"/>
                </a:cubicBezTo>
                <a:cubicBezTo>
                  <a:pt x="35" y="138"/>
                  <a:pt x="35" y="138"/>
                  <a:pt x="35" y="138"/>
                </a:cubicBezTo>
                <a:cubicBezTo>
                  <a:pt x="35" y="139"/>
                  <a:pt x="36" y="139"/>
                  <a:pt x="36" y="139"/>
                </a:cubicBezTo>
                <a:cubicBezTo>
                  <a:pt x="36" y="139"/>
                  <a:pt x="36" y="139"/>
                  <a:pt x="36" y="139"/>
                </a:cubicBezTo>
                <a:cubicBezTo>
                  <a:pt x="36" y="139"/>
                  <a:pt x="39" y="141"/>
                  <a:pt x="39" y="143"/>
                </a:cubicBezTo>
                <a:cubicBezTo>
                  <a:pt x="39" y="143"/>
                  <a:pt x="39" y="143"/>
                  <a:pt x="39" y="143"/>
                </a:cubicBezTo>
                <a:cubicBezTo>
                  <a:pt x="39" y="143"/>
                  <a:pt x="39" y="143"/>
                  <a:pt x="39" y="143"/>
                </a:cubicBezTo>
                <a:cubicBezTo>
                  <a:pt x="39" y="143"/>
                  <a:pt x="40" y="143"/>
                  <a:pt x="40" y="143"/>
                </a:cubicBezTo>
                <a:cubicBezTo>
                  <a:pt x="39" y="143"/>
                  <a:pt x="39" y="143"/>
                  <a:pt x="39" y="143"/>
                </a:cubicBezTo>
                <a:cubicBezTo>
                  <a:pt x="39" y="143"/>
                  <a:pt x="39" y="143"/>
                  <a:pt x="39" y="143"/>
                </a:cubicBezTo>
                <a:cubicBezTo>
                  <a:pt x="40" y="143"/>
                  <a:pt x="40" y="143"/>
                  <a:pt x="40" y="143"/>
                </a:cubicBezTo>
                <a:cubicBezTo>
                  <a:pt x="40" y="143"/>
                  <a:pt x="40" y="143"/>
                  <a:pt x="40" y="143"/>
                </a:cubicBezTo>
                <a:cubicBezTo>
                  <a:pt x="40" y="144"/>
                  <a:pt x="40" y="144"/>
                  <a:pt x="40" y="144"/>
                </a:cubicBezTo>
                <a:cubicBezTo>
                  <a:pt x="40" y="144"/>
                  <a:pt x="40" y="144"/>
                  <a:pt x="40" y="144"/>
                </a:cubicBezTo>
                <a:cubicBezTo>
                  <a:pt x="40" y="144"/>
                  <a:pt x="40" y="144"/>
                  <a:pt x="40" y="144"/>
                </a:cubicBezTo>
                <a:cubicBezTo>
                  <a:pt x="39" y="145"/>
                  <a:pt x="39" y="145"/>
                  <a:pt x="39" y="145"/>
                </a:cubicBezTo>
                <a:cubicBezTo>
                  <a:pt x="39" y="145"/>
                  <a:pt x="39" y="145"/>
                  <a:pt x="39" y="145"/>
                </a:cubicBezTo>
                <a:cubicBezTo>
                  <a:pt x="39" y="145"/>
                  <a:pt x="39" y="145"/>
                  <a:pt x="39" y="145"/>
                </a:cubicBezTo>
                <a:cubicBezTo>
                  <a:pt x="39" y="145"/>
                  <a:pt x="39" y="145"/>
                  <a:pt x="39" y="145"/>
                </a:cubicBezTo>
                <a:cubicBezTo>
                  <a:pt x="39" y="145"/>
                  <a:pt x="39" y="145"/>
                  <a:pt x="39" y="145"/>
                </a:cubicBezTo>
                <a:cubicBezTo>
                  <a:pt x="39" y="145"/>
                  <a:pt x="39" y="145"/>
                  <a:pt x="39" y="145"/>
                </a:cubicBezTo>
                <a:cubicBezTo>
                  <a:pt x="39" y="145"/>
                  <a:pt x="40" y="145"/>
                  <a:pt x="40" y="145"/>
                </a:cubicBezTo>
                <a:cubicBezTo>
                  <a:pt x="40" y="145"/>
                  <a:pt x="40" y="146"/>
                  <a:pt x="40" y="146"/>
                </a:cubicBezTo>
                <a:cubicBezTo>
                  <a:pt x="40" y="146"/>
                  <a:pt x="40" y="146"/>
                  <a:pt x="40" y="146"/>
                </a:cubicBezTo>
                <a:cubicBezTo>
                  <a:pt x="40" y="146"/>
                  <a:pt x="40" y="146"/>
                  <a:pt x="40" y="146"/>
                </a:cubicBezTo>
                <a:cubicBezTo>
                  <a:pt x="41" y="147"/>
                  <a:pt x="41" y="149"/>
                  <a:pt x="41" y="150"/>
                </a:cubicBezTo>
                <a:cubicBezTo>
                  <a:pt x="41" y="150"/>
                  <a:pt x="41" y="151"/>
                  <a:pt x="41" y="151"/>
                </a:cubicBezTo>
                <a:cubicBezTo>
                  <a:pt x="41" y="151"/>
                  <a:pt x="41" y="151"/>
                  <a:pt x="41" y="151"/>
                </a:cubicBezTo>
                <a:cubicBezTo>
                  <a:pt x="41" y="151"/>
                  <a:pt x="41" y="151"/>
                  <a:pt x="41" y="151"/>
                </a:cubicBezTo>
                <a:cubicBezTo>
                  <a:pt x="41" y="152"/>
                  <a:pt x="41" y="152"/>
                  <a:pt x="41" y="152"/>
                </a:cubicBezTo>
                <a:cubicBezTo>
                  <a:pt x="41" y="152"/>
                  <a:pt x="42" y="152"/>
                  <a:pt x="42" y="153"/>
                </a:cubicBezTo>
                <a:cubicBezTo>
                  <a:pt x="42" y="153"/>
                  <a:pt x="42" y="153"/>
                  <a:pt x="42" y="153"/>
                </a:cubicBezTo>
                <a:cubicBezTo>
                  <a:pt x="42" y="153"/>
                  <a:pt x="42" y="153"/>
                  <a:pt x="42" y="153"/>
                </a:cubicBezTo>
                <a:cubicBezTo>
                  <a:pt x="43" y="153"/>
                  <a:pt x="43" y="153"/>
                  <a:pt x="43" y="153"/>
                </a:cubicBezTo>
                <a:cubicBezTo>
                  <a:pt x="43" y="153"/>
                  <a:pt x="43" y="153"/>
                  <a:pt x="43" y="154"/>
                </a:cubicBezTo>
                <a:cubicBezTo>
                  <a:pt x="43" y="153"/>
                  <a:pt x="43" y="153"/>
                  <a:pt x="44" y="153"/>
                </a:cubicBezTo>
                <a:cubicBezTo>
                  <a:pt x="44" y="153"/>
                  <a:pt x="44" y="152"/>
                  <a:pt x="44" y="152"/>
                </a:cubicBezTo>
                <a:cubicBezTo>
                  <a:pt x="45" y="151"/>
                  <a:pt x="45" y="151"/>
                  <a:pt x="46" y="151"/>
                </a:cubicBezTo>
                <a:cubicBezTo>
                  <a:pt x="46" y="151"/>
                  <a:pt x="46" y="151"/>
                  <a:pt x="46" y="151"/>
                </a:cubicBezTo>
                <a:cubicBezTo>
                  <a:pt x="47" y="151"/>
                  <a:pt x="48" y="152"/>
                  <a:pt x="49" y="152"/>
                </a:cubicBezTo>
                <a:cubicBezTo>
                  <a:pt x="50" y="153"/>
                  <a:pt x="50" y="153"/>
                  <a:pt x="50" y="153"/>
                </a:cubicBezTo>
                <a:cubicBezTo>
                  <a:pt x="50" y="153"/>
                  <a:pt x="50" y="153"/>
                  <a:pt x="50" y="153"/>
                </a:cubicBezTo>
                <a:cubicBezTo>
                  <a:pt x="50" y="153"/>
                  <a:pt x="50" y="153"/>
                  <a:pt x="50" y="153"/>
                </a:cubicBezTo>
                <a:cubicBezTo>
                  <a:pt x="51" y="153"/>
                  <a:pt x="51" y="153"/>
                  <a:pt x="51" y="153"/>
                </a:cubicBezTo>
                <a:cubicBezTo>
                  <a:pt x="52" y="153"/>
                  <a:pt x="52" y="153"/>
                  <a:pt x="52" y="153"/>
                </a:cubicBezTo>
                <a:cubicBezTo>
                  <a:pt x="52" y="152"/>
                  <a:pt x="52" y="152"/>
                  <a:pt x="53" y="152"/>
                </a:cubicBezTo>
                <a:cubicBezTo>
                  <a:pt x="53" y="152"/>
                  <a:pt x="53" y="152"/>
                  <a:pt x="53" y="152"/>
                </a:cubicBezTo>
                <a:cubicBezTo>
                  <a:pt x="53" y="152"/>
                  <a:pt x="53" y="152"/>
                  <a:pt x="53" y="152"/>
                </a:cubicBezTo>
                <a:cubicBezTo>
                  <a:pt x="53" y="152"/>
                  <a:pt x="53" y="152"/>
                  <a:pt x="54" y="152"/>
                </a:cubicBezTo>
                <a:cubicBezTo>
                  <a:pt x="54" y="152"/>
                  <a:pt x="54" y="152"/>
                  <a:pt x="54" y="152"/>
                </a:cubicBezTo>
                <a:cubicBezTo>
                  <a:pt x="54" y="151"/>
                  <a:pt x="54" y="151"/>
                  <a:pt x="55" y="150"/>
                </a:cubicBezTo>
                <a:cubicBezTo>
                  <a:pt x="55" y="150"/>
                  <a:pt x="55" y="150"/>
                  <a:pt x="55" y="150"/>
                </a:cubicBezTo>
                <a:cubicBezTo>
                  <a:pt x="55" y="149"/>
                  <a:pt x="55" y="149"/>
                  <a:pt x="55" y="149"/>
                </a:cubicBezTo>
                <a:cubicBezTo>
                  <a:pt x="55" y="149"/>
                  <a:pt x="56" y="149"/>
                  <a:pt x="56" y="149"/>
                </a:cubicBezTo>
                <a:cubicBezTo>
                  <a:pt x="56" y="149"/>
                  <a:pt x="57" y="149"/>
                  <a:pt x="57" y="149"/>
                </a:cubicBezTo>
                <a:cubicBezTo>
                  <a:pt x="58" y="149"/>
                  <a:pt x="58" y="149"/>
                  <a:pt x="59" y="148"/>
                </a:cubicBezTo>
                <a:cubicBezTo>
                  <a:pt x="59" y="148"/>
                  <a:pt x="59" y="148"/>
                  <a:pt x="59" y="148"/>
                </a:cubicBezTo>
                <a:cubicBezTo>
                  <a:pt x="61" y="147"/>
                  <a:pt x="61" y="147"/>
                  <a:pt x="61" y="147"/>
                </a:cubicBezTo>
                <a:cubicBezTo>
                  <a:pt x="61" y="149"/>
                  <a:pt x="61" y="149"/>
                  <a:pt x="61" y="149"/>
                </a:cubicBezTo>
                <a:cubicBezTo>
                  <a:pt x="61" y="149"/>
                  <a:pt x="61" y="150"/>
                  <a:pt x="61" y="150"/>
                </a:cubicBezTo>
                <a:cubicBezTo>
                  <a:pt x="61" y="150"/>
                  <a:pt x="61" y="151"/>
                  <a:pt x="61" y="151"/>
                </a:cubicBezTo>
                <a:cubicBezTo>
                  <a:pt x="61" y="152"/>
                  <a:pt x="61" y="153"/>
                  <a:pt x="62" y="154"/>
                </a:cubicBezTo>
                <a:cubicBezTo>
                  <a:pt x="62" y="154"/>
                  <a:pt x="62" y="154"/>
                  <a:pt x="62" y="154"/>
                </a:cubicBezTo>
                <a:cubicBezTo>
                  <a:pt x="62" y="154"/>
                  <a:pt x="62" y="154"/>
                  <a:pt x="62" y="154"/>
                </a:cubicBezTo>
                <a:cubicBezTo>
                  <a:pt x="62" y="154"/>
                  <a:pt x="63" y="153"/>
                  <a:pt x="63" y="153"/>
                </a:cubicBezTo>
                <a:cubicBezTo>
                  <a:pt x="63" y="153"/>
                  <a:pt x="63" y="153"/>
                  <a:pt x="63" y="153"/>
                </a:cubicBezTo>
                <a:cubicBezTo>
                  <a:pt x="63" y="152"/>
                  <a:pt x="63" y="152"/>
                  <a:pt x="64" y="152"/>
                </a:cubicBezTo>
                <a:cubicBezTo>
                  <a:pt x="64" y="152"/>
                  <a:pt x="64" y="152"/>
                  <a:pt x="64" y="152"/>
                </a:cubicBezTo>
                <a:cubicBezTo>
                  <a:pt x="64" y="152"/>
                  <a:pt x="64" y="152"/>
                  <a:pt x="65" y="151"/>
                </a:cubicBezTo>
                <a:cubicBezTo>
                  <a:pt x="65" y="151"/>
                  <a:pt x="65" y="151"/>
                  <a:pt x="65" y="151"/>
                </a:cubicBezTo>
                <a:cubicBezTo>
                  <a:pt x="65" y="151"/>
                  <a:pt x="65" y="151"/>
                  <a:pt x="65" y="151"/>
                </a:cubicBezTo>
                <a:cubicBezTo>
                  <a:pt x="65" y="151"/>
                  <a:pt x="66" y="151"/>
                  <a:pt x="66" y="151"/>
                </a:cubicBezTo>
                <a:cubicBezTo>
                  <a:pt x="66" y="151"/>
                  <a:pt x="66" y="151"/>
                  <a:pt x="66" y="151"/>
                </a:cubicBezTo>
                <a:cubicBezTo>
                  <a:pt x="66" y="151"/>
                  <a:pt x="66" y="151"/>
                  <a:pt x="67" y="151"/>
                </a:cubicBezTo>
                <a:cubicBezTo>
                  <a:pt x="67" y="151"/>
                  <a:pt x="67" y="151"/>
                  <a:pt x="67" y="151"/>
                </a:cubicBezTo>
                <a:cubicBezTo>
                  <a:pt x="67" y="150"/>
                  <a:pt x="67" y="150"/>
                  <a:pt x="67" y="149"/>
                </a:cubicBezTo>
                <a:cubicBezTo>
                  <a:pt x="67" y="149"/>
                  <a:pt x="67" y="149"/>
                  <a:pt x="67" y="149"/>
                </a:cubicBezTo>
                <a:cubicBezTo>
                  <a:pt x="67" y="147"/>
                  <a:pt x="66" y="145"/>
                  <a:pt x="68" y="145"/>
                </a:cubicBezTo>
                <a:cubicBezTo>
                  <a:pt x="69" y="144"/>
                  <a:pt x="69" y="144"/>
                  <a:pt x="69" y="143"/>
                </a:cubicBezTo>
                <a:lnTo>
                  <a:pt x="69" y="142"/>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9" name="Freeform 3036">
            <a:extLst>
              <a:ext uri="{FF2B5EF4-FFF2-40B4-BE49-F238E27FC236}">
                <a16:creationId xmlns:a16="http://schemas.microsoft.com/office/drawing/2014/main" id="{8AC9BE9F-4F0A-4C3F-A8A3-78C66EB35988}"/>
              </a:ext>
            </a:extLst>
          </p:cNvPr>
          <p:cNvSpPr>
            <a:spLocks/>
          </p:cNvSpPr>
          <p:nvPr/>
        </p:nvSpPr>
        <p:spPr bwMode="auto">
          <a:xfrm>
            <a:off x="3295889" y="329973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80" name="Freeform 3037">
            <a:extLst>
              <a:ext uri="{FF2B5EF4-FFF2-40B4-BE49-F238E27FC236}">
                <a16:creationId xmlns:a16="http://schemas.microsoft.com/office/drawing/2014/main" id="{EBE4DB48-516A-4495-825A-7BA52B51AF3B}"/>
              </a:ext>
            </a:extLst>
          </p:cNvPr>
          <p:cNvSpPr>
            <a:spLocks/>
          </p:cNvSpPr>
          <p:nvPr/>
        </p:nvSpPr>
        <p:spPr bwMode="auto">
          <a:xfrm>
            <a:off x="3183397" y="3220788"/>
            <a:ext cx="143217" cy="129404"/>
          </a:xfrm>
          <a:custGeom>
            <a:avLst/>
            <a:gdLst>
              <a:gd name="T0" fmla="*/ 44 w 122"/>
              <a:gd name="T1" fmla="*/ 83 h 92"/>
              <a:gd name="T2" fmla="*/ 46 w 122"/>
              <a:gd name="T3" fmla="*/ 80 h 92"/>
              <a:gd name="T4" fmla="*/ 49 w 122"/>
              <a:gd name="T5" fmla="*/ 78 h 92"/>
              <a:gd name="T6" fmla="*/ 51 w 122"/>
              <a:gd name="T7" fmla="*/ 77 h 92"/>
              <a:gd name="T8" fmla="*/ 55 w 122"/>
              <a:gd name="T9" fmla="*/ 73 h 92"/>
              <a:gd name="T10" fmla="*/ 60 w 122"/>
              <a:gd name="T11" fmla="*/ 72 h 92"/>
              <a:gd name="T12" fmla="*/ 64 w 122"/>
              <a:gd name="T13" fmla="*/ 71 h 92"/>
              <a:gd name="T14" fmla="*/ 66 w 122"/>
              <a:gd name="T15" fmla="*/ 71 h 92"/>
              <a:gd name="T16" fmla="*/ 66 w 122"/>
              <a:gd name="T17" fmla="*/ 70 h 92"/>
              <a:gd name="T18" fmla="*/ 67 w 122"/>
              <a:gd name="T19" fmla="*/ 69 h 92"/>
              <a:gd name="T20" fmla="*/ 68 w 122"/>
              <a:gd name="T21" fmla="*/ 68 h 92"/>
              <a:gd name="T22" fmla="*/ 77 w 122"/>
              <a:gd name="T23" fmla="*/ 67 h 92"/>
              <a:gd name="T24" fmla="*/ 80 w 122"/>
              <a:gd name="T25" fmla="*/ 65 h 92"/>
              <a:gd name="T26" fmla="*/ 81 w 122"/>
              <a:gd name="T27" fmla="*/ 64 h 92"/>
              <a:gd name="T28" fmla="*/ 84 w 122"/>
              <a:gd name="T29" fmla="*/ 62 h 92"/>
              <a:gd name="T30" fmla="*/ 95 w 122"/>
              <a:gd name="T31" fmla="*/ 56 h 92"/>
              <a:gd name="T32" fmla="*/ 95 w 122"/>
              <a:gd name="T33" fmla="*/ 56 h 92"/>
              <a:gd name="T34" fmla="*/ 94 w 122"/>
              <a:gd name="T35" fmla="*/ 52 h 92"/>
              <a:gd name="T36" fmla="*/ 94 w 122"/>
              <a:gd name="T37" fmla="*/ 52 h 92"/>
              <a:gd name="T38" fmla="*/ 93 w 122"/>
              <a:gd name="T39" fmla="*/ 50 h 92"/>
              <a:gd name="T40" fmla="*/ 96 w 122"/>
              <a:gd name="T41" fmla="*/ 47 h 92"/>
              <a:gd name="T42" fmla="*/ 98 w 122"/>
              <a:gd name="T43" fmla="*/ 47 h 92"/>
              <a:gd name="T44" fmla="*/ 98 w 122"/>
              <a:gd name="T45" fmla="*/ 47 h 92"/>
              <a:gd name="T46" fmla="*/ 102 w 122"/>
              <a:gd name="T47" fmla="*/ 46 h 92"/>
              <a:gd name="T48" fmla="*/ 105 w 122"/>
              <a:gd name="T49" fmla="*/ 43 h 92"/>
              <a:gd name="T50" fmla="*/ 108 w 122"/>
              <a:gd name="T51" fmla="*/ 42 h 92"/>
              <a:gd name="T52" fmla="*/ 112 w 122"/>
              <a:gd name="T53" fmla="*/ 42 h 92"/>
              <a:gd name="T54" fmla="*/ 117 w 122"/>
              <a:gd name="T55" fmla="*/ 43 h 92"/>
              <a:gd name="T56" fmla="*/ 120 w 122"/>
              <a:gd name="T57" fmla="*/ 42 h 92"/>
              <a:gd name="T58" fmla="*/ 122 w 122"/>
              <a:gd name="T59" fmla="*/ 40 h 92"/>
              <a:gd name="T60" fmla="*/ 119 w 122"/>
              <a:gd name="T61" fmla="*/ 37 h 92"/>
              <a:gd name="T62" fmla="*/ 115 w 122"/>
              <a:gd name="T63" fmla="*/ 25 h 92"/>
              <a:gd name="T64" fmla="*/ 116 w 122"/>
              <a:gd name="T65" fmla="*/ 21 h 92"/>
              <a:gd name="T66" fmla="*/ 115 w 122"/>
              <a:gd name="T67" fmla="*/ 18 h 92"/>
              <a:gd name="T68" fmla="*/ 114 w 122"/>
              <a:gd name="T69" fmla="*/ 16 h 92"/>
              <a:gd name="T70" fmla="*/ 114 w 122"/>
              <a:gd name="T71" fmla="*/ 14 h 92"/>
              <a:gd name="T72" fmla="*/ 114 w 122"/>
              <a:gd name="T73" fmla="*/ 14 h 92"/>
              <a:gd name="T74" fmla="*/ 113 w 122"/>
              <a:gd name="T75" fmla="*/ 13 h 92"/>
              <a:gd name="T76" fmla="*/ 112 w 122"/>
              <a:gd name="T77" fmla="*/ 12 h 92"/>
              <a:gd name="T78" fmla="*/ 111 w 122"/>
              <a:gd name="T79" fmla="*/ 11 h 92"/>
              <a:gd name="T80" fmla="*/ 110 w 122"/>
              <a:gd name="T81" fmla="*/ 10 h 92"/>
              <a:gd name="T82" fmla="*/ 110 w 122"/>
              <a:gd name="T83" fmla="*/ 9 h 92"/>
              <a:gd name="T84" fmla="*/ 105 w 122"/>
              <a:gd name="T85" fmla="*/ 9 h 92"/>
              <a:gd name="T86" fmla="*/ 102 w 122"/>
              <a:gd name="T87" fmla="*/ 6 h 92"/>
              <a:gd name="T88" fmla="*/ 88 w 122"/>
              <a:gd name="T89" fmla="*/ 9 h 92"/>
              <a:gd name="T90" fmla="*/ 81 w 122"/>
              <a:gd name="T91" fmla="*/ 4 h 92"/>
              <a:gd name="T92" fmla="*/ 79 w 122"/>
              <a:gd name="T93" fmla="*/ 1 h 92"/>
              <a:gd name="T94" fmla="*/ 79 w 122"/>
              <a:gd name="T95" fmla="*/ 0 h 92"/>
              <a:gd name="T96" fmla="*/ 71 w 122"/>
              <a:gd name="T97" fmla="*/ 8 h 92"/>
              <a:gd name="T98" fmla="*/ 59 w 122"/>
              <a:gd name="T99" fmla="*/ 25 h 92"/>
              <a:gd name="T100" fmla="*/ 54 w 122"/>
              <a:gd name="T101" fmla="*/ 28 h 92"/>
              <a:gd name="T102" fmla="*/ 46 w 122"/>
              <a:gd name="T103" fmla="*/ 31 h 92"/>
              <a:gd name="T104" fmla="*/ 39 w 122"/>
              <a:gd name="T105" fmla="*/ 39 h 92"/>
              <a:gd name="T106" fmla="*/ 34 w 122"/>
              <a:gd name="T107" fmla="*/ 50 h 92"/>
              <a:gd name="T108" fmla="*/ 34 w 122"/>
              <a:gd name="T109" fmla="*/ 57 h 92"/>
              <a:gd name="T110" fmla="*/ 34 w 122"/>
              <a:gd name="T111" fmla="*/ 61 h 92"/>
              <a:gd name="T112" fmla="*/ 35 w 122"/>
              <a:gd name="T113" fmla="*/ 66 h 92"/>
              <a:gd name="T114" fmla="*/ 21 w 122"/>
              <a:gd name="T115" fmla="*/ 82 h 92"/>
              <a:gd name="T116" fmla="*/ 11 w 122"/>
              <a:gd name="T117" fmla="*/ 88 h 92"/>
              <a:gd name="T118" fmla="*/ 1 w 122"/>
              <a:gd name="T119" fmla="*/ 91 h 92"/>
              <a:gd name="T120" fmla="*/ 44 w 122"/>
              <a:gd name="T121"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2" h="92">
                <a:moveTo>
                  <a:pt x="44" y="92"/>
                </a:moveTo>
                <a:cubicBezTo>
                  <a:pt x="44" y="83"/>
                  <a:pt x="44" y="83"/>
                  <a:pt x="44" y="83"/>
                </a:cubicBezTo>
                <a:cubicBezTo>
                  <a:pt x="44" y="82"/>
                  <a:pt x="44" y="82"/>
                  <a:pt x="44" y="82"/>
                </a:cubicBezTo>
                <a:cubicBezTo>
                  <a:pt x="45" y="81"/>
                  <a:pt x="45" y="81"/>
                  <a:pt x="46" y="80"/>
                </a:cubicBezTo>
                <a:cubicBezTo>
                  <a:pt x="46" y="80"/>
                  <a:pt x="47" y="79"/>
                  <a:pt x="48" y="79"/>
                </a:cubicBezTo>
                <a:cubicBezTo>
                  <a:pt x="49" y="78"/>
                  <a:pt x="49" y="78"/>
                  <a:pt x="49" y="78"/>
                </a:cubicBezTo>
                <a:cubicBezTo>
                  <a:pt x="49" y="78"/>
                  <a:pt x="49" y="78"/>
                  <a:pt x="49" y="78"/>
                </a:cubicBezTo>
                <a:cubicBezTo>
                  <a:pt x="51" y="77"/>
                  <a:pt x="51" y="77"/>
                  <a:pt x="51" y="77"/>
                </a:cubicBezTo>
                <a:cubicBezTo>
                  <a:pt x="52" y="76"/>
                  <a:pt x="53" y="75"/>
                  <a:pt x="54" y="74"/>
                </a:cubicBezTo>
                <a:cubicBezTo>
                  <a:pt x="54" y="74"/>
                  <a:pt x="55" y="74"/>
                  <a:pt x="55" y="73"/>
                </a:cubicBezTo>
                <a:cubicBezTo>
                  <a:pt x="57" y="73"/>
                  <a:pt x="58" y="73"/>
                  <a:pt x="58" y="72"/>
                </a:cubicBezTo>
                <a:cubicBezTo>
                  <a:pt x="59" y="72"/>
                  <a:pt x="60" y="72"/>
                  <a:pt x="60" y="72"/>
                </a:cubicBezTo>
                <a:cubicBezTo>
                  <a:pt x="62" y="71"/>
                  <a:pt x="62" y="71"/>
                  <a:pt x="62" y="71"/>
                </a:cubicBezTo>
                <a:cubicBezTo>
                  <a:pt x="62" y="71"/>
                  <a:pt x="63" y="71"/>
                  <a:pt x="64" y="71"/>
                </a:cubicBezTo>
                <a:cubicBezTo>
                  <a:pt x="64" y="71"/>
                  <a:pt x="65" y="71"/>
                  <a:pt x="65" y="71"/>
                </a:cubicBezTo>
                <a:cubicBezTo>
                  <a:pt x="66" y="71"/>
                  <a:pt x="66" y="71"/>
                  <a:pt x="66" y="71"/>
                </a:cubicBezTo>
                <a:cubicBezTo>
                  <a:pt x="66" y="71"/>
                  <a:pt x="66" y="71"/>
                  <a:pt x="66" y="71"/>
                </a:cubicBezTo>
                <a:cubicBezTo>
                  <a:pt x="66" y="71"/>
                  <a:pt x="66" y="70"/>
                  <a:pt x="66" y="70"/>
                </a:cubicBezTo>
                <a:cubicBezTo>
                  <a:pt x="66" y="70"/>
                  <a:pt x="66" y="70"/>
                  <a:pt x="66" y="70"/>
                </a:cubicBezTo>
                <a:cubicBezTo>
                  <a:pt x="66" y="69"/>
                  <a:pt x="67" y="69"/>
                  <a:pt x="67" y="69"/>
                </a:cubicBezTo>
                <a:cubicBezTo>
                  <a:pt x="67" y="68"/>
                  <a:pt x="67" y="68"/>
                  <a:pt x="67" y="68"/>
                </a:cubicBezTo>
                <a:cubicBezTo>
                  <a:pt x="68" y="68"/>
                  <a:pt x="68" y="68"/>
                  <a:pt x="68" y="68"/>
                </a:cubicBezTo>
                <a:cubicBezTo>
                  <a:pt x="68" y="68"/>
                  <a:pt x="69" y="68"/>
                  <a:pt x="69" y="68"/>
                </a:cubicBezTo>
                <a:cubicBezTo>
                  <a:pt x="71" y="69"/>
                  <a:pt x="75" y="68"/>
                  <a:pt x="77" y="67"/>
                </a:cubicBezTo>
                <a:cubicBezTo>
                  <a:pt x="78" y="67"/>
                  <a:pt x="78" y="67"/>
                  <a:pt x="78" y="67"/>
                </a:cubicBezTo>
                <a:cubicBezTo>
                  <a:pt x="79" y="66"/>
                  <a:pt x="79" y="66"/>
                  <a:pt x="80" y="65"/>
                </a:cubicBezTo>
                <a:cubicBezTo>
                  <a:pt x="80" y="65"/>
                  <a:pt x="80" y="65"/>
                  <a:pt x="80" y="65"/>
                </a:cubicBezTo>
                <a:cubicBezTo>
                  <a:pt x="80" y="65"/>
                  <a:pt x="81" y="64"/>
                  <a:pt x="81" y="64"/>
                </a:cubicBezTo>
                <a:cubicBezTo>
                  <a:pt x="81" y="64"/>
                  <a:pt x="81" y="64"/>
                  <a:pt x="81" y="64"/>
                </a:cubicBezTo>
                <a:cubicBezTo>
                  <a:pt x="82" y="63"/>
                  <a:pt x="82" y="62"/>
                  <a:pt x="84" y="62"/>
                </a:cubicBezTo>
                <a:cubicBezTo>
                  <a:pt x="94" y="57"/>
                  <a:pt x="94" y="57"/>
                  <a:pt x="94" y="57"/>
                </a:cubicBezTo>
                <a:cubicBezTo>
                  <a:pt x="94" y="56"/>
                  <a:pt x="95" y="56"/>
                  <a:pt x="95" y="56"/>
                </a:cubicBezTo>
                <a:cubicBezTo>
                  <a:pt x="95" y="56"/>
                  <a:pt x="95" y="56"/>
                  <a:pt x="95" y="56"/>
                </a:cubicBezTo>
                <a:cubicBezTo>
                  <a:pt x="95" y="56"/>
                  <a:pt x="95" y="56"/>
                  <a:pt x="95" y="56"/>
                </a:cubicBezTo>
                <a:cubicBezTo>
                  <a:pt x="93" y="55"/>
                  <a:pt x="94" y="54"/>
                  <a:pt x="94" y="53"/>
                </a:cubicBezTo>
                <a:cubicBezTo>
                  <a:pt x="94" y="53"/>
                  <a:pt x="94" y="53"/>
                  <a:pt x="94" y="52"/>
                </a:cubicBezTo>
                <a:cubicBezTo>
                  <a:pt x="94" y="52"/>
                  <a:pt x="94" y="52"/>
                  <a:pt x="94" y="52"/>
                </a:cubicBezTo>
                <a:cubicBezTo>
                  <a:pt x="94" y="52"/>
                  <a:pt x="94" y="52"/>
                  <a:pt x="94" y="52"/>
                </a:cubicBezTo>
                <a:cubicBezTo>
                  <a:pt x="94" y="52"/>
                  <a:pt x="94" y="51"/>
                  <a:pt x="93" y="51"/>
                </a:cubicBezTo>
                <a:cubicBezTo>
                  <a:pt x="93" y="50"/>
                  <a:pt x="93" y="50"/>
                  <a:pt x="93" y="50"/>
                </a:cubicBezTo>
                <a:cubicBezTo>
                  <a:pt x="94" y="48"/>
                  <a:pt x="94" y="48"/>
                  <a:pt x="95" y="47"/>
                </a:cubicBezTo>
                <a:cubicBezTo>
                  <a:pt x="96" y="47"/>
                  <a:pt x="96" y="47"/>
                  <a:pt x="96" y="47"/>
                </a:cubicBezTo>
                <a:cubicBezTo>
                  <a:pt x="96" y="47"/>
                  <a:pt x="96" y="47"/>
                  <a:pt x="97" y="47"/>
                </a:cubicBezTo>
                <a:cubicBezTo>
                  <a:pt x="97" y="47"/>
                  <a:pt x="97" y="47"/>
                  <a:pt x="98" y="47"/>
                </a:cubicBezTo>
                <a:cubicBezTo>
                  <a:pt x="98" y="47"/>
                  <a:pt x="98" y="47"/>
                  <a:pt x="98" y="47"/>
                </a:cubicBezTo>
                <a:cubicBezTo>
                  <a:pt x="98" y="47"/>
                  <a:pt x="98" y="47"/>
                  <a:pt x="98" y="47"/>
                </a:cubicBezTo>
                <a:cubicBezTo>
                  <a:pt x="99" y="47"/>
                  <a:pt x="100" y="47"/>
                  <a:pt x="101" y="47"/>
                </a:cubicBezTo>
                <a:cubicBezTo>
                  <a:pt x="101" y="46"/>
                  <a:pt x="101" y="46"/>
                  <a:pt x="102" y="46"/>
                </a:cubicBezTo>
                <a:cubicBezTo>
                  <a:pt x="102" y="46"/>
                  <a:pt x="102" y="46"/>
                  <a:pt x="103" y="45"/>
                </a:cubicBezTo>
                <a:cubicBezTo>
                  <a:pt x="103" y="44"/>
                  <a:pt x="104" y="43"/>
                  <a:pt x="105" y="43"/>
                </a:cubicBezTo>
                <a:cubicBezTo>
                  <a:pt x="106" y="43"/>
                  <a:pt x="106" y="43"/>
                  <a:pt x="107" y="42"/>
                </a:cubicBezTo>
                <a:cubicBezTo>
                  <a:pt x="107" y="42"/>
                  <a:pt x="108" y="42"/>
                  <a:pt x="108" y="42"/>
                </a:cubicBezTo>
                <a:cubicBezTo>
                  <a:pt x="109" y="42"/>
                  <a:pt x="110" y="42"/>
                  <a:pt x="112" y="42"/>
                </a:cubicBezTo>
                <a:cubicBezTo>
                  <a:pt x="112" y="42"/>
                  <a:pt x="112" y="42"/>
                  <a:pt x="112" y="42"/>
                </a:cubicBezTo>
                <a:cubicBezTo>
                  <a:pt x="113" y="42"/>
                  <a:pt x="114" y="42"/>
                  <a:pt x="116" y="42"/>
                </a:cubicBezTo>
                <a:cubicBezTo>
                  <a:pt x="116" y="42"/>
                  <a:pt x="117" y="43"/>
                  <a:pt x="117" y="43"/>
                </a:cubicBezTo>
                <a:cubicBezTo>
                  <a:pt x="118" y="43"/>
                  <a:pt x="119" y="43"/>
                  <a:pt x="120" y="43"/>
                </a:cubicBezTo>
                <a:cubicBezTo>
                  <a:pt x="120" y="42"/>
                  <a:pt x="120" y="42"/>
                  <a:pt x="120" y="42"/>
                </a:cubicBezTo>
                <a:cubicBezTo>
                  <a:pt x="121" y="40"/>
                  <a:pt x="121" y="40"/>
                  <a:pt x="121" y="40"/>
                </a:cubicBezTo>
                <a:cubicBezTo>
                  <a:pt x="122" y="40"/>
                  <a:pt x="122" y="40"/>
                  <a:pt x="122" y="40"/>
                </a:cubicBezTo>
                <a:cubicBezTo>
                  <a:pt x="121" y="39"/>
                  <a:pt x="121" y="39"/>
                  <a:pt x="121" y="39"/>
                </a:cubicBezTo>
                <a:cubicBezTo>
                  <a:pt x="120" y="38"/>
                  <a:pt x="120" y="38"/>
                  <a:pt x="119" y="37"/>
                </a:cubicBezTo>
                <a:cubicBezTo>
                  <a:pt x="115" y="27"/>
                  <a:pt x="115" y="27"/>
                  <a:pt x="115" y="27"/>
                </a:cubicBezTo>
                <a:cubicBezTo>
                  <a:pt x="115" y="26"/>
                  <a:pt x="115" y="26"/>
                  <a:pt x="115" y="25"/>
                </a:cubicBezTo>
                <a:cubicBezTo>
                  <a:pt x="115" y="25"/>
                  <a:pt x="115" y="24"/>
                  <a:pt x="115" y="24"/>
                </a:cubicBezTo>
                <a:cubicBezTo>
                  <a:pt x="116" y="23"/>
                  <a:pt x="116" y="22"/>
                  <a:pt x="116" y="21"/>
                </a:cubicBezTo>
                <a:cubicBezTo>
                  <a:pt x="115" y="19"/>
                  <a:pt x="115" y="19"/>
                  <a:pt x="115" y="19"/>
                </a:cubicBezTo>
                <a:cubicBezTo>
                  <a:pt x="115" y="18"/>
                  <a:pt x="115" y="18"/>
                  <a:pt x="115" y="18"/>
                </a:cubicBezTo>
                <a:cubicBezTo>
                  <a:pt x="115" y="17"/>
                  <a:pt x="115" y="17"/>
                  <a:pt x="115" y="17"/>
                </a:cubicBezTo>
                <a:cubicBezTo>
                  <a:pt x="115" y="17"/>
                  <a:pt x="115" y="17"/>
                  <a:pt x="114" y="16"/>
                </a:cubicBezTo>
                <a:cubicBezTo>
                  <a:pt x="114" y="16"/>
                  <a:pt x="114" y="15"/>
                  <a:pt x="114" y="15"/>
                </a:cubicBezTo>
                <a:cubicBezTo>
                  <a:pt x="114" y="15"/>
                  <a:pt x="114" y="14"/>
                  <a:pt x="114" y="14"/>
                </a:cubicBezTo>
                <a:cubicBezTo>
                  <a:pt x="113" y="15"/>
                  <a:pt x="113" y="15"/>
                  <a:pt x="113" y="15"/>
                </a:cubicBezTo>
                <a:cubicBezTo>
                  <a:pt x="114" y="14"/>
                  <a:pt x="114" y="14"/>
                  <a:pt x="114" y="14"/>
                </a:cubicBezTo>
                <a:cubicBezTo>
                  <a:pt x="114" y="14"/>
                  <a:pt x="114" y="14"/>
                  <a:pt x="114" y="14"/>
                </a:cubicBezTo>
                <a:cubicBezTo>
                  <a:pt x="113" y="13"/>
                  <a:pt x="113" y="13"/>
                  <a:pt x="113" y="13"/>
                </a:cubicBezTo>
                <a:cubicBezTo>
                  <a:pt x="112" y="12"/>
                  <a:pt x="112" y="12"/>
                  <a:pt x="112" y="12"/>
                </a:cubicBezTo>
                <a:cubicBezTo>
                  <a:pt x="112" y="12"/>
                  <a:pt x="112" y="12"/>
                  <a:pt x="112" y="12"/>
                </a:cubicBezTo>
                <a:cubicBezTo>
                  <a:pt x="111" y="12"/>
                  <a:pt x="111" y="12"/>
                  <a:pt x="111" y="11"/>
                </a:cubicBezTo>
                <a:cubicBezTo>
                  <a:pt x="111" y="11"/>
                  <a:pt x="111" y="11"/>
                  <a:pt x="111" y="11"/>
                </a:cubicBezTo>
                <a:cubicBezTo>
                  <a:pt x="111" y="11"/>
                  <a:pt x="111" y="11"/>
                  <a:pt x="111" y="11"/>
                </a:cubicBezTo>
                <a:cubicBezTo>
                  <a:pt x="110" y="10"/>
                  <a:pt x="110" y="10"/>
                  <a:pt x="110" y="10"/>
                </a:cubicBezTo>
                <a:cubicBezTo>
                  <a:pt x="110" y="10"/>
                  <a:pt x="110" y="10"/>
                  <a:pt x="110" y="10"/>
                </a:cubicBezTo>
                <a:cubicBezTo>
                  <a:pt x="110" y="9"/>
                  <a:pt x="110" y="9"/>
                  <a:pt x="110" y="9"/>
                </a:cubicBezTo>
                <a:cubicBezTo>
                  <a:pt x="109" y="9"/>
                  <a:pt x="107" y="8"/>
                  <a:pt x="104" y="8"/>
                </a:cubicBezTo>
                <a:cubicBezTo>
                  <a:pt x="105" y="8"/>
                  <a:pt x="105" y="9"/>
                  <a:pt x="105" y="9"/>
                </a:cubicBezTo>
                <a:cubicBezTo>
                  <a:pt x="104" y="9"/>
                  <a:pt x="104" y="9"/>
                  <a:pt x="104" y="8"/>
                </a:cubicBezTo>
                <a:cubicBezTo>
                  <a:pt x="104" y="6"/>
                  <a:pt x="104" y="6"/>
                  <a:pt x="102" y="6"/>
                </a:cubicBezTo>
                <a:cubicBezTo>
                  <a:pt x="99" y="7"/>
                  <a:pt x="97" y="8"/>
                  <a:pt x="94" y="8"/>
                </a:cubicBezTo>
                <a:cubicBezTo>
                  <a:pt x="92" y="9"/>
                  <a:pt x="90" y="9"/>
                  <a:pt x="88" y="9"/>
                </a:cubicBezTo>
                <a:cubicBezTo>
                  <a:pt x="87" y="9"/>
                  <a:pt x="85" y="7"/>
                  <a:pt x="84" y="7"/>
                </a:cubicBezTo>
                <a:cubicBezTo>
                  <a:pt x="83" y="6"/>
                  <a:pt x="82" y="6"/>
                  <a:pt x="81" y="4"/>
                </a:cubicBezTo>
                <a:cubicBezTo>
                  <a:pt x="81" y="3"/>
                  <a:pt x="80" y="2"/>
                  <a:pt x="79" y="1"/>
                </a:cubicBezTo>
                <a:cubicBezTo>
                  <a:pt x="79" y="1"/>
                  <a:pt x="79" y="1"/>
                  <a:pt x="79" y="1"/>
                </a:cubicBezTo>
                <a:cubicBezTo>
                  <a:pt x="80" y="1"/>
                  <a:pt x="80" y="1"/>
                  <a:pt x="80" y="0"/>
                </a:cubicBezTo>
                <a:cubicBezTo>
                  <a:pt x="80" y="0"/>
                  <a:pt x="79" y="0"/>
                  <a:pt x="79" y="0"/>
                </a:cubicBezTo>
                <a:cubicBezTo>
                  <a:pt x="77" y="1"/>
                  <a:pt x="74" y="1"/>
                  <a:pt x="73" y="2"/>
                </a:cubicBezTo>
                <a:cubicBezTo>
                  <a:pt x="72" y="4"/>
                  <a:pt x="72" y="6"/>
                  <a:pt x="71" y="8"/>
                </a:cubicBezTo>
                <a:cubicBezTo>
                  <a:pt x="69" y="13"/>
                  <a:pt x="67" y="16"/>
                  <a:pt x="65" y="20"/>
                </a:cubicBezTo>
                <a:cubicBezTo>
                  <a:pt x="64" y="22"/>
                  <a:pt x="61" y="24"/>
                  <a:pt x="59" y="25"/>
                </a:cubicBezTo>
                <a:cubicBezTo>
                  <a:pt x="59" y="25"/>
                  <a:pt x="59" y="25"/>
                  <a:pt x="58" y="26"/>
                </a:cubicBezTo>
                <a:cubicBezTo>
                  <a:pt x="54" y="28"/>
                  <a:pt x="54" y="28"/>
                  <a:pt x="54" y="28"/>
                </a:cubicBezTo>
                <a:cubicBezTo>
                  <a:pt x="53" y="28"/>
                  <a:pt x="53" y="28"/>
                  <a:pt x="52" y="28"/>
                </a:cubicBezTo>
                <a:cubicBezTo>
                  <a:pt x="50" y="29"/>
                  <a:pt x="48" y="30"/>
                  <a:pt x="46" y="31"/>
                </a:cubicBezTo>
                <a:cubicBezTo>
                  <a:pt x="45" y="33"/>
                  <a:pt x="43" y="35"/>
                  <a:pt x="41" y="37"/>
                </a:cubicBezTo>
                <a:cubicBezTo>
                  <a:pt x="41" y="37"/>
                  <a:pt x="40" y="38"/>
                  <a:pt x="39" y="39"/>
                </a:cubicBezTo>
                <a:cubicBezTo>
                  <a:pt x="39" y="40"/>
                  <a:pt x="39" y="41"/>
                  <a:pt x="38" y="42"/>
                </a:cubicBezTo>
                <a:cubicBezTo>
                  <a:pt x="38" y="45"/>
                  <a:pt x="36" y="47"/>
                  <a:pt x="34" y="50"/>
                </a:cubicBezTo>
                <a:cubicBezTo>
                  <a:pt x="33" y="52"/>
                  <a:pt x="34" y="52"/>
                  <a:pt x="34" y="53"/>
                </a:cubicBezTo>
                <a:cubicBezTo>
                  <a:pt x="34" y="55"/>
                  <a:pt x="33" y="56"/>
                  <a:pt x="34" y="57"/>
                </a:cubicBezTo>
                <a:cubicBezTo>
                  <a:pt x="34" y="58"/>
                  <a:pt x="33" y="60"/>
                  <a:pt x="33" y="61"/>
                </a:cubicBezTo>
                <a:cubicBezTo>
                  <a:pt x="33" y="61"/>
                  <a:pt x="33" y="61"/>
                  <a:pt x="34" y="61"/>
                </a:cubicBezTo>
                <a:cubicBezTo>
                  <a:pt x="35" y="62"/>
                  <a:pt x="36" y="63"/>
                  <a:pt x="36" y="64"/>
                </a:cubicBezTo>
                <a:cubicBezTo>
                  <a:pt x="36" y="65"/>
                  <a:pt x="35" y="66"/>
                  <a:pt x="35" y="66"/>
                </a:cubicBezTo>
                <a:cubicBezTo>
                  <a:pt x="34" y="70"/>
                  <a:pt x="30" y="74"/>
                  <a:pt x="28" y="77"/>
                </a:cubicBezTo>
                <a:cubicBezTo>
                  <a:pt x="26" y="79"/>
                  <a:pt x="23" y="80"/>
                  <a:pt x="21" y="82"/>
                </a:cubicBezTo>
                <a:cubicBezTo>
                  <a:pt x="18" y="84"/>
                  <a:pt x="16" y="85"/>
                  <a:pt x="14" y="87"/>
                </a:cubicBezTo>
                <a:cubicBezTo>
                  <a:pt x="13" y="88"/>
                  <a:pt x="12" y="88"/>
                  <a:pt x="11" y="88"/>
                </a:cubicBezTo>
                <a:cubicBezTo>
                  <a:pt x="9" y="89"/>
                  <a:pt x="7" y="89"/>
                  <a:pt x="5" y="90"/>
                </a:cubicBezTo>
                <a:cubicBezTo>
                  <a:pt x="4" y="90"/>
                  <a:pt x="2" y="90"/>
                  <a:pt x="1" y="91"/>
                </a:cubicBezTo>
                <a:cubicBezTo>
                  <a:pt x="1" y="91"/>
                  <a:pt x="1" y="92"/>
                  <a:pt x="0" y="92"/>
                </a:cubicBezTo>
                <a:lnTo>
                  <a:pt x="44" y="92"/>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81" name="Freeform 3038">
            <a:extLst>
              <a:ext uri="{FF2B5EF4-FFF2-40B4-BE49-F238E27FC236}">
                <a16:creationId xmlns:a16="http://schemas.microsoft.com/office/drawing/2014/main" id="{64F237F9-627F-4F64-9356-716925041D77}"/>
              </a:ext>
            </a:extLst>
          </p:cNvPr>
          <p:cNvSpPr>
            <a:spLocks/>
          </p:cNvSpPr>
          <p:nvPr/>
        </p:nvSpPr>
        <p:spPr bwMode="auto">
          <a:xfrm>
            <a:off x="3136814" y="3354347"/>
            <a:ext cx="98121" cy="93788"/>
          </a:xfrm>
          <a:custGeom>
            <a:avLst/>
            <a:gdLst>
              <a:gd name="T0" fmla="*/ 1 w 84"/>
              <a:gd name="T1" fmla="*/ 66 h 67"/>
              <a:gd name="T2" fmla="*/ 3 w 84"/>
              <a:gd name="T3" fmla="*/ 66 h 67"/>
              <a:gd name="T4" fmla="*/ 3 w 84"/>
              <a:gd name="T5" fmla="*/ 66 h 67"/>
              <a:gd name="T6" fmla="*/ 3 w 84"/>
              <a:gd name="T7" fmla="*/ 66 h 67"/>
              <a:gd name="T8" fmla="*/ 6 w 84"/>
              <a:gd name="T9" fmla="*/ 66 h 67"/>
              <a:gd name="T10" fmla="*/ 17 w 84"/>
              <a:gd name="T11" fmla="*/ 66 h 67"/>
              <a:gd name="T12" fmla="*/ 40 w 84"/>
              <a:gd name="T13" fmla="*/ 66 h 67"/>
              <a:gd name="T14" fmla="*/ 40 w 84"/>
              <a:gd name="T15" fmla="*/ 64 h 67"/>
              <a:gd name="T16" fmla="*/ 40 w 84"/>
              <a:gd name="T17" fmla="*/ 64 h 67"/>
              <a:gd name="T18" fmla="*/ 40 w 84"/>
              <a:gd name="T19" fmla="*/ 63 h 67"/>
              <a:gd name="T20" fmla="*/ 39 w 84"/>
              <a:gd name="T21" fmla="*/ 57 h 67"/>
              <a:gd name="T22" fmla="*/ 39 w 84"/>
              <a:gd name="T23" fmla="*/ 55 h 67"/>
              <a:gd name="T24" fmla="*/ 39 w 84"/>
              <a:gd name="T25" fmla="*/ 54 h 67"/>
              <a:gd name="T26" fmla="*/ 39 w 84"/>
              <a:gd name="T27" fmla="*/ 54 h 67"/>
              <a:gd name="T28" fmla="*/ 39 w 84"/>
              <a:gd name="T29" fmla="*/ 50 h 67"/>
              <a:gd name="T30" fmla="*/ 43 w 84"/>
              <a:gd name="T31" fmla="*/ 46 h 67"/>
              <a:gd name="T32" fmla="*/ 44 w 84"/>
              <a:gd name="T33" fmla="*/ 46 h 67"/>
              <a:gd name="T34" fmla="*/ 45 w 84"/>
              <a:gd name="T35" fmla="*/ 45 h 67"/>
              <a:gd name="T36" fmla="*/ 46 w 84"/>
              <a:gd name="T37" fmla="*/ 45 h 67"/>
              <a:gd name="T38" fmla="*/ 48 w 84"/>
              <a:gd name="T39" fmla="*/ 44 h 67"/>
              <a:gd name="T40" fmla="*/ 49 w 84"/>
              <a:gd name="T41" fmla="*/ 44 h 67"/>
              <a:gd name="T42" fmla="*/ 49 w 84"/>
              <a:gd name="T43" fmla="*/ 44 h 67"/>
              <a:gd name="T44" fmla="*/ 50 w 84"/>
              <a:gd name="T45" fmla="*/ 44 h 67"/>
              <a:gd name="T46" fmla="*/ 50 w 84"/>
              <a:gd name="T47" fmla="*/ 40 h 67"/>
              <a:gd name="T48" fmla="*/ 50 w 84"/>
              <a:gd name="T49" fmla="*/ 40 h 67"/>
              <a:gd name="T50" fmla="*/ 50 w 84"/>
              <a:gd name="T51" fmla="*/ 38 h 67"/>
              <a:gd name="T52" fmla="*/ 50 w 84"/>
              <a:gd name="T53" fmla="*/ 18 h 67"/>
              <a:gd name="T54" fmla="*/ 51 w 84"/>
              <a:gd name="T55" fmla="*/ 16 h 67"/>
              <a:gd name="T56" fmla="*/ 51 w 84"/>
              <a:gd name="T57" fmla="*/ 16 h 67"/>
              <a:gd name="T58" fmla="*/ 53 w 84"/>
              <a:gd name="T59" fmla="*/ 15 h 67"/>
              <a:gd name="T60" fmla="*/ 53 w 84"/>
              <a:gd name="T61" fmla="*/ 15 h 67"/>
              <a:gd name="T62" fmla="*/ 54 w 84"/>
              <a:gd name="T63" fmla="*/ 16 h 67"/>
              <a:gd name="T64" fmla="*/ 84 w 84"/>
              <a:gd name="T65" fmla="*/ 15 h 67"/>
              <a:gd name="T66" fmla="*/ 84 w 84"/>
              <a:gd name="T67" fmla="*/ 13 h 67"/>
              <a:gd name="T68" fmla="*/ 84 w 84"/>
              <a:gd name="T69" fmla="*/ 13 h 67"/>
              <a:gd name="T70" fmla="*/ 84 w 84"/>
              <a:gd name="T71" fmla="*/ 12 h 67"/>
              <a:gd name="T72" fmla="*/ 84 w 84"/>
              <a:gd name="T73" fmla="*/ 0 h 67"/>
              <a:gd name="T74" fmla="*/ 84 w 84"/>
              <a:gd name="T75" fmla="*/ 0 h 67"/>
              <a:gd name="T76" fmla="*/ 84 w 84"/>
              <a:gd name="T77" fmla="*/ 0 h 67"/>
              <a:gd name="T78" fmla="*/ 39 w 84"/>
              <a:gd name="T79" fmla="*/ 0 h 67"/>
              <a:gd name="T80" fmla="*/ 34 w 84"/>
              <a:gd name="T81" fmla="*/ 10 h 67"/>
              <a:gd name="T82" fmla="*/ 28 w 84"/>
              <a:gd name="T83" fmla="*/ 13 h 67"/>
              <a:gd name="T84" fmla="*/ 26 w 84"/>
              <a:gd name="T85" fmla="*/ 15 h 67"/>
              <a:gd name="T86" fmla="*/ 23 w 84"/>
              <a:gd name="T87" fmla="*/ 22 h 67"/>
              <a:gd name="T88" fmla="*/ 21 w 84"/>
              <a:gd name="T89" fmla="*/ 31 h 67"/>
              <a:gd name="T90" fmla="*/ 18 w 84"/>
              <a:gd name="T91" fmla="*/ 34 h 67"/>
              <a:gd name="T92" fmla="*/ 16 w 84"/>
              <a:gd name="T93" fmla="*/ 37 h 67"/>
              <a:gd name="T94" fmla="*/ 12 w 84"/>
              <a:gd name="T95" fmla="*/ 42 h 67"/>
              <a:gd name="T96" fmla="*/ 8 w 84"/>
              <a:gd name="T97" fmla="*/ 49 h 67"/>
              <a:gd name="T98" fmla="*/ 6 w 84"/>
              <a:gd name="T99" fmla="*/ 54 h 67"/>
              <a:gd name="T100" fmla="*/ 5 w 84"/>
              <a:gd name="T101" fmla="*/ 57 h 67"/>
              <a:gd name="T102" fmla="*/ 3 w 84"/>
              <a:gd name="T103" fmla="*/ 58 h 67"/>
              <a:gd name="T104" fmla="*/ 1 w 84"/>
              <a:gd name="T105" fmla="*/ 62 h 67"/>
              <a:gd name="T106" fmla="*/ 0 w 84"/>
              <a:gd name="T107" fmla="*/ 65 h 67"/>
              <a:gd name="T108" fmla="*/ 0 w 84"/>
              <a:gd name="T109" fmla="*/ 67 h 67"/>
              <a:gd name="T110" fmla="*/ 1 w 84"/>
              <a:gd name="T111" fmla="*/ 6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 h="67">
                <a:moveTo>
                  <a:pt x="1" y="66"/>
                </a:moveTo>
                <a:cubicBezTo>
                  <a:pt x="2" y="66"/>
                  <a:pt x="2" y="66"/>
                  <a:pt x="3" y="66"/>
                </a:cubicBezTo>
                <a:cubicBezTo>
                  <a:pt x="3" y="66"/>
                  <a:pt x="3" y="66"/>
                  <a:pt x="3" y="66"/>
                </a:cubicBezTo>
                <a:cubicBezTo>
                  <a:pt x="3" y="66"/>
                  <a:pt x="3" y="66"/>
                  <a:pt x="3" y="66"/>
                </a:cubicBezTo>
                <a:cubicBezTo>
                  <a:pt x="4" y="66"/>
                  <a:pt x="5" y="66"/>
                  <a:pt x="6" y="66"/>
                </a:cubicBezTo>
                <a:cubicBezTo>
                  <a:pt x="17" y="66"/>
                  <a:pt x="17" y="66"/>
                  <a:pt x="17" y="66"/>
                </a:cubicBezTo>
                <a:cubicBezTo>
                  <a:pt x="25" y="66"/>
                  <a:pt x="32" y="66"/>
                  <a:pt x="40" y="66"/>
                </a:cubicBezTo>
                <a:cubicBezTo>
                  <a:pt x="40" y="66"/>
                  <a:pt x="40" y="65"/>
                  <a:pt x="40" y="64"/>
                </a:cubicBezTo>
                <a:cubicBezTo>
                  <a:pt x="40" y="64"/>
                  <a:pt x="40" y="64"/>
                  <a:pt x="40" y="64"/>
                </a:cubicBezTo>
                <a:cubicBezTo>
                  <a:pt x="40" y="64"/>
                  <a:pt x="40" y="64"/>
                  <a:pt x="40" y="63"/>
                </a:cubicBezTo>
                <a:cubicBezTo>
                  <a:pt x="39" y="57"/>
                  <a:pt x="39" y="57"/>
                  <a:pt x="39" y="57"/>
                </a:cubicBezTo>
                <a:cubicBezTo>
                  <a:pt x="39" y="56"/>
                  <a:pt x="39" y="55"/>
                  <a:pt x="39" y="55"/>
                </a:cubicBezTo>
                <a:cubicBezTo>
                  <a:pt x="39" y="54"/>
                  <a:pt x="39" y="54"/>
                  <a:pt x="39" y="54"/>
                </a:cubicBezTo>
                <a:cubicBezTo>
                  <a:pt x="39" y="54"/>
                  <a:pt x="39" y="54"/>
                  <a:pt x="39" y="54"/>
                </a:cubicBezTo>
                <a:cubicBezTo>
                  <a:pt x="38" y="52"/>
                  <a:pt x="39" y="51"/>
                  <a:pt x="39" y="50"/>
                </a:cubicBezTo>
                <a:cubicBezTo>
                  <a:pt x="41" y="48"/>
                  <a:pt x="42" y="47"/>
                  <a:pt x="43" y="46"/>
                </a:cubicBezTo>
                <a:cubicBezTo>
                  <a:pt x="43" y="46"/>
                  <a:pt x="44" y="46"/>
                  <a:pt x="44" y="46"/>
                </a:cubicBezTo>
                <a:cubicBezTo>
                  <a:pt x="44" y="45"/>
                  <a:pt x="44" y="45"/>
                  <a:pt x="45" y="45"/>
                </a:cubicBezTo>
                <a:cubicBezTo>
                  <a:pt x="45" y="45"/>
                  <a:pt x="46" y="45"/>
                  <a:pt x="46" y="45"/>
                </a:cubicBezTo>
                <a:cubicBezTo>
                  <a:pt x="47" y="45"/>
                  <a:pt x="47" y="45"/>
                  <a:pt x="48" y="44"/>
                </a:cubicBezTo>
                <a:cubicBezTo>
                  <a:pt x="49" y="44"/>
                  <a:pt x="49" y="44"/>
                  <a:pt x="49" y="44"/>
                </a:cubicBezTo>
                <a:cubicBezTo>
                  <a:pt x="49" y="44"/>
                  <a:pt x="49" y="44"/>
                  <a:pt x="49" y="44"/>
                </a:cubicBezTo>
                <a:cubicBezTo>
                  <a:pt x="50" y="44"/>
                  <a:pt x="50" y="44"/>
                  <a:pt x="50" y="44"/>
                </a:cubicBezTo>
                <a:cubicBezTo>
                  <a:pt x="50" y="43"/>
                  <a:pt x="50" y="41"/>
                  <a:pt x="50" y="40"/>
                </a:cubicBezTo>
                <a:cubicBezTo>
                  <a:pt x="50" y="40"/>
                  <a:pt x="50" y="40"/>
                  <a:pt x="50" y="40"/>
                </a:cubicBezTo>
                <a:cubicBezTo>
                  <a:pt x="50" y="39"/>
                  <a:pt x="50" y="39"/>
                  <a:pt x="50" y="38"/>
                </a:cubicBezTo>
                <a:cubicBezTo>
                  <a:pt x="50" y="18"/>
                  <a:pt x="50" y="18"/>
                  <a:pt x="50" y="18"/>
                </a:cubicBezTo>
                <a:cubicBezTo>
                  <a:pt x="50" y="17"/>
                  <a:pt x="50" y="16"/>
                  <a:pt x="51" y="16"/>
                </a:cubicBezTo>
                <a:cubicBezTo>
                  <a:pt x="51" y="16"/>
                  <a:pt x="51" y="16"/>
                  <a:pt x="51" y="16"/>
                </a:cubicBezTo>
                <a:cubicBezTo>
                  <a:pt x="52" y="16"/>
                  <a:pt x="52" y="15"/>
                  <a:pt x="53" y="15"/>
                </a:cubicBezTo>
                <a:cubicBezTo>
                  <a:pt x="53" y="15"/>
                  <a:pt x="53" y="15"/>
                  <a:pt x="53" y="15"/>
                </a:cubicBezTo>
                <a:cubicBezTo>
                  <a:pt x="53" y="16"/>
                  <a:pt x="53" y="16"/>
                  <a:pt x="54" y="16"/>
                </a:cubicBezTo>
                <a:cubicBezTo>
                  <a:pt x="84" y="15"/>
                  <a:pt x="84" y="15"/>
                  <a:pt x="84" y="15"/>
                </a:cubicBezTo>
                <a:cubicBezTo>
                  <a:pt x="84" y="15"/>
                  <a:pt x="84" y="14"/>
                  <a:pt x="84" y="13"/>
                </a:cubicBezTo>
                <a:cubicBezTo>
                  <a:pt x="84" y="13"/>
                  <a:pt x="84" y="13"/>
                  <a:pt x="84" y="13"/>
                </a:cubicBezTo>
                <a:cubicBezTo>
                  <a:pt x="84" y="13"/>
                  <a:pt x="84" y="12"/>
                  <a:pt x="84" y="12"/>
                </a:cubicBezTo>
                <a:cubicBezTo>
                  <a:pt x="84" y="0"/>
                  <a:pt x="84" y="0"/>
                  <a:pt x="84" y="0"/>
                </a:cubicBezTo>
                <a:cubicBezTo>
                  <a:pt x="84" y="0"/>
                  <a:pt x="84" y="0"/>
                  <a:pt x="84" y="0"/>
                </a:cubicBezTo>
                <a:cubicBezTo>
                  <a:pt x="84" y="0"/>
                  <a:pt x="84" y="0"/>
                  <a:pt x="84" y="0"/>
                </a:cubicBezTo>
                <a:cubicBezTo>
                  <a:pt x="39" y="0"/>
                  <a:pt x="39" y="0"/>
                  <a:pt x="39" y="0"/>
                </a:cubicBezTo>
                <a:cubicBezTo>
                  <a:pt x="38" y="3"/>
                  <a:pt x="37" y="8"/>
                  <a:pt x="34" y="10"/>
                </a:cubicBezTo>
                <a:cubicBezTo>
                  <a:pt x="32" y="11"/>
                  <a:pt x="30" y="12"/>
                  <a:pt x="28" y="13"/>
                </a:cubicBezTo>
                <a:cubicBezTo>
                  <a:pt x="27" y="14"/>
                  <a:pt x="26" y="14"/>
                  <a:pt x="26" y="15"/>
                </a:cubicBezTo>
                <a:cubicBezTo>
                  <a:pt x="26" y="18"/>
                  <a:pt x="24" y="20"/>
                  <a:pt x="23" y="22"/>
                </a:cubicBezTo>
                <a:cubicBezTo>
                  <a:pt x="22" y="25"/>
                  <a:pt x="23" y="29"/>
                  <a:pt x="21" y="31"/>
                </a:cubicBezTo>
                <a:cubicBezTo>
                  <a:pt x="20" y="33"/>
                  <a:pt x="19" y="33"/>
                  <a:pt x="18" y="34"/>
                </a:cubicBezTo>
                <a:cubicBezTo>
                  <a:pt x="18" y="35"/>
                  <a:pt x="17" y="36"/>
                  <a:pt x="16" y="37"/>
                </a:cubicBezTo>
                <a:cubicBezTo>
                  <a:pt x="14" y="38"/>
                  <a:pt x="13" y="40"/>
                  <a:pt x="12" y="42"/>
                </a:cubicBezTo>
                <a:cubicBezTo>
                  <a:pt x="10" y="44"/>
                  <a:pt x="9" y="47"/>
                  <a:pt x="8" y="49"/>
                </a:cubicBezTo>
                <a:cubicBezTo>
                  <a:pt x="8" y="51"/>
                  <a:pt x="7" y="52"/>
                  <a:pt x="6" y="54"/>
                </a:cubicBezTo>
                <a:cubicBezTo>
                  <a:pt x="6" y="55"/>
                  <a:pt x="6" y="56"/>
                  <a:pt x="5" y="57"/>
                </a:cubicBezTo>
                <a:cubicBezTo>
                  <a:pt x="5" y="57"/>
                  <a:pt x="4" y="58"/>
                  <a:pt x="3" y="58"/>
                </a:cubicBezTo>
                <a:cubicBezTo>
                  <a:pt x="2" y="59"/>
                  <a:pt x="1" y="60"/>
                  <a:pt x="1" y="62"/>
                </a:cubicBezTo>
                <a:cubicBezTo>
                  <a:pt x="0" y="63"/>
                  <a:pt x="1" y="64"/>
                  <a:pt x="0" y="65"/>
                </a:cubicBezTo>
                <a:cubicBezTo>
                  <a:pt x="0" y="66"/>
                  <a:pt x="0" y="66"/>
                  <a:pt x="0" y="67"/>
                </a:cubicBezTo>
                <a:cubicBezTo>
                  <a:pt x="0" y="66"/>
                  <a:pt x="1" y="66"/>
                  <a:pt x="1" y="66"/>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82" name="Freeform 3039">
            <a:extLst>
              <a:ext uri="{FF2B5EF4-FFF2-40B4-BE49-F238E27FC236}">
                <a16:creationId xmlns:a16="http://schemas.microsoft.com/office/drawing/2014/main" id="{ECAADD45-C4C0-4CE7-9116-874115AE06B8}"/>
              </a:ext>
            </a:extLst>
          </p:cNvPr>
          <p:cNvSpPr>
            <a:spLocks/>
          </p:cNvSpPr>
          <p:nvPr/>
        </p:nvSpPr>
        <p:spPr bwMode="auto">
          <a:xfrm>
            <a:off x="3137806" y="3361470"/>
            <a:ext cx="139252" cy="182234"/>
          </a:xfrm>
          <a:custGeom>
            <a:avLst/>
            <a:gdLst>
              <a:gd name="T0" fmla="*/ 6 w 119"/>
              <a:gd name="T1" fmla="*/ 72 h 130"/>
              <a:gd name="T2" fmla="*/ 7 w 119"/>
              <a:gd name="T3" fmla="*/ 76 h 130"/>
              <a:gd name="T4" fmla="*/ 6 w 119"/>
              <a:gd name="T5" fmla="*/ 80 h 130"/>
              <a:gd name="T6" fmla="*/ 5 w 119"/>
              <a:gd name="T7" fmla="*/ 83 h 130"/>
              <a:gd name="T8" fmla="*/ 8 w 119"/>
              <a:gd name="T9" fmla="*/ 105 h 130"/>
              <a:gd name="T10" fmla="*/ 7 w 119"/>
              <a:gd name="T11" fmla="*/ 112 h 130"/>
              <a:gd name="T12" fmla="*/ 12 w 119"/>
              <a:gd name="T13" fmla="*/ 112 h 130"/>
              <a:gd name="T14" fmla="*/ 17 w 119"/>
              <a:gd name="T15" fmla="*/ 111 h 130"/>
              <a:gd name="T16" fmla="*/ 24 w 119"/>
              <a:gd name="T17" fmla="*/ 111 h 130"/>
              <a:gd name="T18" fmla="*/ 29 w 119"/>
              <a:gd name="T19" fmla="*/ 113 h 130"/>
              <a:gd name="T20" fmla="*/ 32 w 119"/>
              <a:gd name="T21" fmla="*/ 116 h 130"/>
              <a:gd name="T22" fmla="*/ 33 w 119"/>
              <a:gd name="T23" fmla="*/ 116 h 130"/>
              <a:gd name="T24" fmla="*/ 35 w 119"/>
              <a:gd name="T25" fmla="*/ 116 h 130"/>
              <a:gd name="T26" fmla="*/ 37 w 119"/>
              <a:gd name="T27" fmla="*/ 118 h 130"/>
              <a:gd name="T28" fmla="*/ 39 w 119"/>
              <a:gd name="T29" fmla="*/ 122 h 130"/>
              <a:gd name="T30" fmla="*/ 43 w 119"/>
              <a:gd name="T31" fmla="*/ 125 h 130"/>
              <a:gd name="T32" fmla="*/ 45 w 119"/>
              <a:gd name="T33" fmla="*/ 127 h 130"/>
              <a:gd name="T34" fmla="*/ 47 w 119"/>
              <a:gd name="T35" fmla="*/ 129 h 130"/>
              <a:gd name="T36" fmla="*/ 48 w 119"/>
              <a:gd name="T37" fmla="*/ 130 h 130"/>
              <a:gd name="T38" fmla="*/ 49 w 119"/>
              <a:gd name="T39" fmla="*/ 130 h 130"/>
              <a:gd name="T40" fmla="*/ 51 w 119"/>
              <a:gd name="T41" fmla="*/ 129 h 130"/>
              <a:gd name="T42" fmla="*/ 52 w 119"/>
              <a:gd name="T43" fmla="*/ 124 h 130"/>
              <a:gd name="T44" fmla="*/ 55 w 119"/>
              <a:gd name="T45" fmla="*/ 120 h 130"/>
              <a:gd name="T46" fmla="*/ 62 w 119"/>
              <a:gd name="T47" fmla="*/ 125 h 130"/>
              <a:gd name="T48" fmla="*/ 64 w 119"/>
              <a:gd name="T49" fmla="*/ 123 h 130"/>
              <a:gd name="T50" fmla="*/ 76 w 119"/>
              <a:gd name="T51" fmla="*/ 123 h 130"/>
              <a:gd name="T52" fmla="*/ 76 w 119"/>
              <a:gd name="T53" fmla="*/ 122 h 130"/>
              <a:gd name="T54" fmla="*/ 76 w 119"/>
              <a:gd name="T55" fmla="*/ 121 h 130"/>
              <a:gd name="T56" fmla="*/ 78 w 119"/>
              <a:gd name="T57" fmla="*/ 121 h 130"/>
              <a:gd name="T58" fmla="*/ 79 w 119"/>
              <a:gd name="T59" fmla="*/ 121 h 130"/>
              <a:gd name="T60" fmla="*/ 80 w 119"/>
              <a:gd name="T61" fmla="*/ 123 h 130"/>
              <a:gd name="T62" fmla="*/ 81 w 119"/>
              <a:gd name="T63" fmla="*/ 123 h 130"/>
              <a:gd name="T64" fmla="*/ 83 w 119"/>
              <a:gd name="T65" fmla="*/ 123 h 130"/>
              <a:gd name="T66" fmla="*/ 113 w 119"/>
              <a:gd name="T67" fmla="*/ 123 h 130"/>
              <a:gd name="T68" fmla="*/ 115 w 119"/>
              <a:gd name="T69" fmla="*/ 123 h 130"/>
              <a:gd name="T70" fmla="*/ 116 w 119"/>
              <a:gd name="T71" fmla="*/ 123 h 130"/>
              <a:gd name="T72" fmla="*/ 116 w 119"/>
              <a:gd name="T73" fmla="*/ 119 h 130"/>
              <a:gd name="T74" fmla="*/ 117 w 119"/>
              <a:gd name="T75" fmla="*/ 116 h 130"/>
              <a:gd name="T76" fmla="*/ 116 w 119"/>
              <a:gd name="T77" fmla="*/ 115 h 130"/>
              <a:gd name="T78" fmla="*/ 109 w 119"/>
              <a:gd name="T79" fmla="*/ 62 h 130"/>
              <a:gd name="T80" fmla="*/ 104 w 119"/>
              <a:gd name="T81" fmla="*/ 23 h 130"/>
              <a:gd name="T82" fmla="*/ 113 w 119"/>
              <a:gd name="T83" fmla="*/ 17 h 130"/>
              <a:gd name="T84" fmla="*/ 103 w 119"/>
              <a:gd name="T85" fmla="*/ 11 h 130"/>
              <a:gd name="T86" fmla="*/ 86 w 119"/>
              <a:gd name="T87" fmla="*/ 0 h 130"/>
              <a:gd name="T88" fmla="*/ 86 w 119"/>
              <a:gd name="T89" fmla="*/ 8 h 130"/>
              <a:gd name="T90" fmla="*/ 84 w 119"/>
              <a:gd name="T91" fmla="*/ 13 h 130"/>
              <a:gd name="T92" fmla="*/ 52 w 119"/>
              <a:gd name="T93" fmla="*/ 13 h 130"/>
              <a:gd name="T94" fmla="*/ 52 w 119"/>
              <a:gd name="T95" fmla="*/ 34 h 130"/>
              <a:gd name="T96" fmla="*/ 51 w 119"/>
              <a:gd name="T97" fmla="*/ 41 h 130"/>
              <a:gd name="T98" fmla="*/ 46 w 119"/>
              <a:gd name="T99" fmla="*/ 42 h 130"/>
              <a:gd name="T100" fmla="*/ 44 w 119"/>
              <a:gd name="T101" fmla="*/ 43 h 130"/>
              <a:gd name="T102" fmla="*/ 40 w 119"/>
              <a:gd name="T103" fmla="*/ 48 h 130"/>
              <a:gd name="T104" fmla="*/ 41 w 119"/>
              <a:gd name="T105" fmla="*/ 58 h 130"/>
              <a:gd name="T106" fmla="*/ 41 w 119"/>
              <a:gd name="T107" fmla="*/ 63 h 130"/>
              <a:gd name="T108" fmla="*/ 6 w 119"/>
              <a:gd name="T109" fmla="*/ 63 h 130"/>
              <a:gd name="T110" fmla="*/ 1 w 119"/>
              <a:gd name="T111" fmla="*/ 63 h 130"/>
              <a:gd name="T112" fmla="*/ 5 w 119"/>
              <a:gd name="T113" fmla="*/ 6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9" h="130">
                <a:moveTo>
                  <a:pt x="5" y="69"/>
                </a:moveTo>
                <a:cubicBezTo>
                  <a:pt x="5" y="69"/>
                  <a:pt x="5" y="69"/>
                  <a:pt x="5" y="69"/>
                </a:cubicBezTo>
                <a:cubicBezTo>
                  <a:pt x="5" y="70"/>
                  <a:pt x="6" y="71"/>
                  <a:pt x="6" y="72"/>
                </a:cubicBezTo>
                <a:cubicBezTo>
                  <a:pt x="7" y="73"/>
                  <a:pt x="7" y="73"/>
                  <a:pt x="7" y="74"/>
                </a:cubicBezTo>
                <a:cubicBezTo>
                  <a:pt x="7" y="74"/>
                  <a:pt x="7" y="75"/>
                  <a:pt x="7" y="75"/>
                </a:cubicBezTo>
                <a:cubicBezTo>
                  <a:pt x="7" y="75"/>
                  <a:pt x="7" y="76"/>
                  <a:pt x="7" y="76"/>
                </a:cubicBezTo>
                <a:cubicBezTo>
                  <a:pt x="7" y="77"/>
                  <a:pt x="7" y="77"/>
                  <a:pt x="7" y="77"/>
                </a:cubicBezTo>
                <a:cubicBezTo>
                  <a:pt x="7" y="77"/>
                  <a:pt x="7" y="78"/>
                  <a:pt x="7" y="78"/>
                </a:cubicBezTo>
                <a:cubicBezTo>
                  <a:pt x="7" y="79"/>
                  <a:pt x="7" y="79"/>
                  <a:pt x="6" y="80"/>
                </a:cubicBezTo>
                <a:cubicBezTo>
                  <a:pt x="6" y="81"/>
                  <a:pt x="5" y="81"/>
                  <a:pt x="5" y="83"/>
                </a:cubicBezTo>
                <a:cubicBezTo>
                  <a:pt x="5" y="82"/>
                  <a:pt x="6" y="82"/>
                  <a:pt x="7" y="81"/>
                </a:cubicBezTo>
                <a:cubicBezTo>
                  <a:pt x="6" y="82"/>
                  <a:pt x="6" y="82"/>
                  <a:pt x="5" y="83"/>
                </a:cubicBezTo>
                <a:cubicBezTo>
                  <a:pt x="4" y="85"/>
                  <a:pt x="7" y="85"/>
                  <a:pt x="7" y="87"/>
                </a:cubicBezTo>
                <a:cubicBezTo>
                  <a:pt x="8" y="90"/>
                  <a:pt x="8" y="93"/>
                  <a:pt x="9" y="96"/>
                </a:cubicBezTo>
                <a:cubicBezTo>
                  <a:pt x="9" y="100"/>
                  <a:pt x="9" y="102"/>
                  <a:pt x="8" y="105"/>
                </a:cubicBezTo>
                <a:cubicBezTo>
                  <a:pt x="7" y="106"/>
                  <a:pt x="7" y="107"/>
                  <a:pt x="7" y="108"/>
                </a:cubicBezTo>
                <a:cubicBezTo>
                  <a:pt x="6" y="109"/>
                  <a:pt x="5" y="111"/>
                  <a:pt x="5" y="113"/>
                </a:cubicBezTo>
                <a:cubicBezTo>
                  <a:pt x="6" y="113"/>
                  <a:pt x="6" y="112"/>
                  <a:pt x="7" y="112"/>
                </a:cubicBezTo>
                <a:cubicBezTo>
                  <a:pt x="8" y="111"/>
                  <a:pt x="9" y="112"/>
                  <a:pt x="9" y="112"/>
                </a:cubicBezTo>
                <a:cubicBezTo>
                  <a:pt x="10" y="112"/>
                  <a:pt x="11" y="112"/>
                  <a:pt x="11" y="112"/>
                </a:cubicBezTo>
                <a:cubicBezTo>
                  <a:pt x="12" y="112"/>
                  <a:pt x="12" y="112"/>
                  <a:pt x="12" y="112"/>
                </a:cubicBezTo>
                <a:cubicBezTo>
                  <a:pt x="13" y="112"/>
                  <a:pt x="14" y="112"/>
                  <a:pt x="14" y="112"/>
                </a:cubicBezTo>
                <a:cubicBezTo>
                  <a:pt x="15" y="111"/>
                  <a:pt x="15" y="111"/>
                  <a:pt x="16" y="111"/>
                </a:cubicBezTo>
                <a:cubicBezTo>
                  <a:pt x="16" y="111"/>
                  <a:pt x="17" y="111"/>
                  <a:pt x="17" y="111"/>
                </a:cubicBezTo>
                <a:cubicBezTo>
                  <a:pt x="17" y="111"/>
                  <a:pt x="17" y="111"/>
                  <a:pt x="17" y="111"/>
                </a:cubicBezTo>
                <a:cubicBezTo>
                  <a:pt x="18" y="111"/>
                  <a:pt x="19" y="110"/>
                  <a:pt x="20" y="110"/>
                </a:cubicBezTo>
                <a:cubicBezTo>
                  <a:pt x="21" y="111"/>
                  <a:pt x="22" y="111"/>
                  <a:pt x="24" y="111"/>
                </a:cubicBezTo>
                <a:cubicBezTo>
                  <a:pt x="25" y="111"/>
                  <a:pt x="25" y="111"/>
                  <a:pt x="25" y="111"/>
                </a:cubicBezTo>
                <a:cubicBezTo>
                  <a:pt x="27" y="111"/>
                  <a:pt x="28" y="112"/>
                  <a:pt x="29" y="113"/>
                </a:cubicBezTo>
                <a:cubicBezTo>
                  <a:pt x="29" y="113"/>
                  <a:pt x="29" y="113"/>
                  <a:pt x="29" y="113"/>
                </a:cubicBezTo>
                <a:cubicBezTo>
                  <a:pt x="30" y="113"/>
                  <a:pt x="30" y="113"/>
                  <a:pt x="30" y="114"/>
                </a:cubicBezTo>
                <a:cubicBezTo>
                  <a:pt x="31" y="114"/>
                  <a:pt x="31" y="115"/>
                  <a:pt x="32" y="115"/>
                </a:cubicBezTo>
                <a:cubicBezTo>
                  <a:pt x="32" y="115"/>
                  <a:pt x="32" y="116"/>
                  <a:pt x="32" y="116"/>
                </a:cubicBezTo>
                <a:cubicBezTo>
                  <a:pt x="32" y="116"/>
                  <a:pt x="32" y="116"/>
                  <a:pt x="32" y="116"/>
                </a:cubicBezTo>
                <a:cubicBezTo>
                  <a:pt x="32" y="116"/>
                  <a:pt x="33" y="116"/>
                  <a:pt x="33" y="116"/>
                </a:cubicBezTo>
                <a:cubicBezTo>
                  <a:pt x="33" y="116"/>
                  <a:pt x="33" y="116"/>
                  <a:pt x="33" y="116"/>
                </a:cubicBezTo>
                <a:cubicBezTo>
                  <a:pt x="34" y="116"/>
                  <a:pt x="34" y="116"/>
                  <a:pt x="34" y="116"/>
                </a:cubicBezTo>
                <a:cubicBezTo>
                  <a:pt x="34" y="116"/>
                  <a:pt x="34" y="116"/>
                  <a:pt x="34" y="116"/>
                </a:cubicBezTo>
                <a:cubicBezTo>
                  <a:pt x="35" y="116"/>
                  <a:pt x="35" y="116"/>
                  <a:pt x="35" y="116"/>
                </a:cubicBezTo>
                <a:cubicBezTo>
                  <a:pt x="35" y="116"/>
                  <a:pt x="35" y="116"/>
                  <a:pt x="35" y="116"/>
                </a:cubicBezTo>
                <a:cubicBezTo>
                  <a:pt x="35" y="116"/>
                  <a:pt x="35" y="116"/>
                  <a:pt x="35" y="116"/>
                </a:cubicBezTo>
                <a:cubicBezTo>
                  <a:pt x="36" y="116"/>
                  <a:pt x="37" y="117"/>
                  <a:pt x="37" y="118"/>
                </a:cubicBezTo>
                <a:cubicBezTo>
                  <a:pt x="38" y="119"/>
                  <a:pt x="38" y="119"/>
                  <a:pt x="38" y="119"/>
                </a:cubicBezTo>
                <a:cubicBezTo>
                  <a:pt x="38" y="120"/>
                  <a:pt x="38" y="120"/>
                  <a:pt x="38" y="120"/>
                </a:cubicBezTo>
                <a:cubicBezTo>
                  <a:pt x="38" y="121"/>
                  <a:pt x="38" y="121"/>
                  <a:pt x="39" y="122"/>
                </a:cubicBezTo>
                <a:cubicBezTo>
                  <a:pt x="39" y="122"/>
                  <a:pt x="39" y="122"/>
                  <a:pt x="40" y="122"/>
                </a:cubicBezTo>
                <a:cubicBezTo>
                  <a:pt x="40" y="122"/>
                  <a:pt x="40" y="122"/>
                  <a:pt x="40" y="122"/>
                </a:cubicBezTo>
                <a:cubicBezTo>
                  <a:pt x="41" y="123"/>
                  <a:pt x="42" y="124"/>
                  <a:pt x="43" y="125"/>
                </a:cubicBezTo>
                <a:cubicBezTo>
                  <a:pt x="43" y="126"/>
                  <a:pt x="44" y="126"/>
                  <a:pt x="44" y="127"/>
                </a:cubicBezTo>
                <a:cubicBezTo>
                  <a:pt x="44" y="127"/>
                  <a:pt x="44" y="127"/>
                  <a:pt x="44" y="127"/>
                </a:cubicBezTo>
                <a:cubicBezTo>
                  <a:pt x="45" y="127"/>
                  <a:pt x="45" y="127"/>
                  <a:pt x="45" y="127"/>
                </a:cubicBezTo>
                <a:cubicBezTo>
                  <a:pt x="45" y="128"/>
                  <a:pt x="45" y="128"/>
                  <a:pt x="45" y="128"/>
                </a:cubicBezTo>
                <a:cubicBezTo>
                  <a:pt x="45" y="128"/>
                  <a:pt x="46" y="128"/>
                  <a:pt x="46" y="129"/>
                </a:cubicBezTo>
                <a:cubicBezTo>
                  <a:pt x="47" y="129"/>
                  <a:pt x="47" y="129"/>
                  <a:pt x="47" y="129"/>
                </a:cubicBezTo>
                <a:cubicBezTo>
                  <a:pt x="47" y="129"/>
                  <a:pt x="47" y="129"/>
                  <a:pt x="47" y="130"/>
                </a:cubicBezTo>
                <a:cubicBezTo>
                  <a:pt x="48" y="130"/>
                  <a:pt x="48" y="130"/>
                  <a:pt x="48" y="130"/>
                </a:cubicBezTo>
                <a:cubicBezTo>
                  <a:pt x="48" y="130"/>
                  <a:pt x="48" y="130"/>
                  <a:pt x="48" y="130"/>
                </a:cubicBezTo>
                <a:cubicBezTo>
                  <a:pt x="48" y="130"/>
                  <a:pt x="48" y="130"/>
                  <a:pt x="48" y="130"/>
                </a:cubicBezTo>
                <a:cubicBezTo>
                  <a:pt x="48" y="130"/>
                  <a:pt x="48" y="130"/>
                  <a:pt x="48" y="130"/>
                </a:cubicBezTo>
                <a:cubicBezTo>
                  <a:pt x="49" y="130"/>
                  <a:pt x="49" y="130"/>
                  <a:pt x="49" y="130"/>
                </a:cubicBezTo>
                <a:cubicBezTo>
                  <a:pt x="50" y="130"/>
                  <a:pt x="50" y="130"/>
                  <a:pt x="50" y="130"/>
                </a:cubicBezTo>
                <a:cubicBezTo>
                  <a:pt x="51" y="130"/>
                  <a:pt x="51" y="130"/>
                  <a:pt x="51" y="129"/>
                </a:cubicBezTo>
                <a:cubicBezTo>
                  <a:pt x="51" y="129"/>
                  <a:pt x="51" y="129"/>
                  <a:pt x="51" y="129"/>
                </a:cubicBezTo>
                <a:cubicBezTo>
                  <a:pt x="51" y="129"/>
                  <a:pt x="51" y="129"/>
                  <a:pt x="51" y="129"/>
                </a:cubicBezTo>
                <a:cubicBezTo>
                  <a:pt x="51" y="128"/>
                  <a:pt x="52" y="126"/>
                  <a:pt x="52" y="125"/>
                </a:cubicBezTo>
                <a:cubicBezTo>
                  <a:pt x="52" y="125"/>
                  <a:pt x="52" y="124"/>
                  <a:pt x="52" y="124"/>
                </a:cubicBezTo>
                <a:cubicBezTo>
                  <a:pt x="52" y="122"/>
                  <a:pt x="53" y="122"/>
                  <a:pt x="54" y="122"/>
                </a:cubicBezTo>
                <a:cubicBezTo>
                  <a:pt x="54" y="122"/>
                  <a:pt x="54" y="122"/>
                  <a:pt x="54" y="122"/>
                </a:cubicBezTo>
                <a:cubicBezTo>
                  <a:pt x="55" y="120"/>
                  <a:pt x="55" y="120"/>
                  <a:pt x="55" y="120"/>
                </a:cubicBezTo>
                <a:cubicBezTo>
                  <a:pt x="56" y="121"/>
                  <a:pt x="56" y="121"/>
                  <a:pt x="56" y="121"/>
                </a:cubicBezTo>
                <a:cubicBezTo>
                  <a:pt x="57" y="122"/>
                  <a:pt x="59" y="124"/>
                  <a:pt x="61" y="126"/>
                </a:cubicBezTo>
                <a:cubicBezTo>
                  <a:pt x="61" y="126"/>
                  <a:pt x="62" y="125"/>
                  <a:pt x="62" y="125"/>
                </a:cubicBezTo>
                <a:cubicBezTo>
                  <a:pt x="62" y="124"/>
                  <a:pt x="62" y="124"/>
                  <a:pt x="62" y="124"/>
                </a:cubicBezTo>
                <a:cubicBezTo>
                  <a:pt x="62" y="124"/>
                  <a:pt x="63" y="123"/>
                  <a:pt x="63" y="123"/>
                </a:cubicBezTo>
                <a:cubicBezTo>
                  <a:pt x="63" y="123"/>
                  <a:pt x="63" y="123"/>
                  <a:pt x="64" y="123"/>
                </a:cubicBezTo>
                <a:cubicBezTo>
                  <a:pt x="64" y="123"/>
                  <a:pt x="65" y="123"/>
                  <a:pt x="66" y="123"/>
                </a:cubicBezTo>
                <a:cubicBezTo>
                  <a:pt x="66" y="123"/>
                  <a:pt x="66" y="123"/>
                  <a:pt x="66" y="123"/>
                </a:cubicBezTo>
                <a:cubicBezTo>
                  <a:pt x="76" y="123"/>
                  <a:pt x="76" y="123"/>
                  <a:pt x="76" y="123"/>
                </a:cubicBezTo>
                <a:cubicBezTo>
                  <a:pt x="76" y="123"/>
                  <a:pt x="76" y="123"/>
                  <a:pt x="76" y="123"/>
                </a:cubicBezTo>
                <a:cubicBezTo>
                  <a:pt x="76" y="123"/>
                  <a:pt x="76" y="122"/>
                  <a:pt x="76" y="122"/>
                </a:cubicBezTo>
                <a:cubicBezTo>
                  <a:pt x="76" y="122"/>
                  <a:pt x="76" y="122"/>
                  <a:pt x="76" y="122"/>
                </a:cubicBezTo>
                <a:cubicBezTo>
                  <a:pt x="76" y="122"/>
                  <a:pt x="76" y="122"/>
                  <a:pt x="76" y="121"/>
                </a:cubicBezTo>
                <a:cubicBezTo>
                  <a:pt x="76" y="121"/>
                  <a:pt x="76" y="121"/>
                  <a:pt x="76" y="121"/>
                </a:cubicBezTo>
                <a:cubicBezTo>
                  <a:pt x="76" y="121"/>
                  <a:pt x="76" y="121"/>
                  <a:pt x="76" y="121"/>
                </a:cubicBezTo>
                <a:cubicBezTo>
                  <a:pt x="77" y="121"/>
                  <a:pt x="77" y="121"/>
                  <a:pt x="77" y="121"/>
                </a:cubicBezTo>
                <a:cubicBezTo>
                  <a:pt x="77" y="121"/>
                  <a:pt x="77" y="121"/>
                  <a:pt x="77" y="121"/>
                </a:cubicBezTo>
                <a:cubicBezTo>
                  <a:pt x="77" y="121"/>
                  <a:pt x="77" y="121"/>
                  <a:pt x="78" y="121"/>
                </a:cubicBezTo>
                <a:cubicBezTo>
                  <a:pt x="78" y="121"/>
                  <a:pt x="78" y="121"/>
                  <a:pt x="78" y="121"/>
                </a:cubicBezTo>
                <a:cubicBezTo>
                  <a:pt x="78" y="121"/>
                  <a:pt x="78" y="121"/>
                  <a:pt x="78" y="121"/>
                </a:cubicBezTo>
                <a:cubicBezTo>
                  <a:pt x="78" y="121"/>
                  <a:pt x="78" y="121"/>
                  <a:pt x="79" y="121"/>
                </a:cubicBezTo>
                <a:cubicBezTo>
                  <a:pt x="79" y="122"/>
                  <a:pt x="79" y="122"/>
                  <a:pt x="79" y="122"/>
                </a:cubicBezTo>
                <a:cubicBezTo>
                  <a:pt x="79" y="122"/>
                  <a:pt x="79" y="122"/>
                  <a:pt x="79" y="122"/>
                </a:cubicBezTo>
                <a:cubicBezTo>
                  <a:pt x="79" y="122"/>
                  <a:pt x="79" y="122"/>
                  <a:pt x="80" y="123"/>
                </a:cubicBezTo>
                <a:cubicBezTo>
                  <a:pt x="80" y="123"/>
                  <a:pt x="80" y="123"/>
                  <a:pt x="80" y="123"/>
                </a:cubicBezTo>
                <a:cubicBezTo>
                  <a:pt x="80" y="123"/>
                  <a:pt x="80" y="123"/>
                  <a:pt x="80" y="123"/>
                </a:cubicBezTo>
                <a:cubicBezTo>
                  <a:pt x="80" y="123"/>
                  <a:pt x="80" y="123"/>
                  <a:pt x="81" y="123"/>
                </a:cubicBezTo>
                <a:cubicBezTo>
                  <a:pt x="81" y="123"/>
                  <a:pt x="81" y="123"/>
                  <a:pt x="82" y="123"/>
                </a:cubicBezTo>
                <a:cubicBezTo>
                  <a:pt x="82" y="123"/>
                  <a:pt x="82" y="123"/>
                  <a:pt x="82" y="123"/>
                </a:cubicBezTo>
                <a:cubicBezTo>
                  <a:pt x="82" y="123"/>
                  <a:pt x="82" y="123"/>
                  <a:pt x="83" y="123"/>
                </a:cubicBezTo>
                <a:cubicBezTo>
                  <a:pt x="103" y="123"/>
                  <a:pt x="103" y="123"/>
                  <a:pt x="103" y="123"/>
                </a:cubicBezTo>
                <a:cubicBezTo>
                  <a:pt x="106" y="123"/>
                  <a:pt x="109" y="123"/>
                  <a:pt x="112" y="123"/>
                </a:cubicBezTo>
                <a:cubicBezTo>
                  <a:pt x="113" y="123"/>
                  <a:pt x="113" y="123"/>
                  <a:pt x="113" y="123"/>
                </a:cubicBezTo>
                <a:cubicBezTo>
                  <a:pt x="114" y="123"/>
                  <a:pt x="114" y="123"/>
                  <a:pt x="114" y="123"/>
                </a:cubicBezTo>
                <a:cubicBezTo>
                  <a:pt x="114" y="123"/>
                  <a:pt x="114" y="123"/>
                  <a:pt x="114" y="123"/>
                </a:cubicBezTo>
                <a:cubicBezTo>
                  <a:pt x="115" y="123"/>
                  <a:pt x="115" y="123"/>
                  <a:pt x="115" y="123"/>
                </a:cubicBezTo>
                <a:cubicBezTo>
                  <a:pt x="115" y="123"/>
                  <a:pt x="115" y="123"/>
                  <a:pt x="116" y="123"/>
                </a:cubicBezTo>
                <a:cubicBezTo>
                  <a:pt x="116" y="123"/>
                  <a:pt x="116" y="123"/>
                  <a:pt x="116" y="123"/>
                </a:cubicBezTo>
                <a:cubicBezTo>
                  <a:pt x="116" y="123"/>
                  <a:pt x="116" y="123"/>
                  <a:pt x="116" y="123"/>
                </a:cubicBezTo>
                <a:cubicBezTo>
                  <a:pt x="116" y="123"/>
                  <a:pt x="116" y="123"/>
                  <a:pt x="116" y="123"/>
                </a:cubicBezTo>
                <a:cubicBezTo>
                  <a:pt x="116" y="122"/>
                  <a:pt x="116" y="121"/>
                  <a:pt x="116" y="120"/>
                </a:cubicBezTo>
                <a:cubicBezTo>
                  <a:pt x="116" y="119"/>
                  <a:pt x="116" y="119"/>
                  <a:pt x="116" y="119"/>
                </a:cubicBezTo>
                <a:cubicBezTo>
                  <a:pt x="117" y="117"/>
                  <a:pt x="117" y="117"/>
                  <a:pt x="117" y="117"/>
                </a:cubicBezTo>
                <a:cubicBezTo>
                  <a:pt x="117" y="116"/>
                  <a:pt x="117" y="116"/>
                  <a:pt x="117" y="116"/>
                </a:cubicBezTo>
                <a:cubicBezTo>
                  <a:pt x="117" y="116"/>
                  <a:pt x="117" y="116"/>
                  <a:pt x="117" y="116"/>
                </a:cubicBezTo>
                <a:cubicBezTo>
                  <a:pt x="117" y="115"/>
                  <a:pt x="116" y="115"/>
                  <a:pt x="116" y="115"/>
                </a:cubicBezTo>
                <a:cubicBezTo>
                  <a:pt x="116" y="115"/>
                  <a:pt x="116" y="115"/>
                  <a:pt x="116" y="115"/>
                </a:cubicBezTo>
                <a:cubicBezTo>
                  <a:pt x="116" y="115"/>
                  <a:pt x="116" y="115"/>
                  <a:pt x="116" y="115"/>
                </a:cubicBezTo>
                <a:cubicBezTo>
                  <a:pt x="116" y="114"/>
                  <a:pt x="116" y="114"/>
                  <a:pt x="115" y="114"/>
                </a:cubicBezTo>
                <a:cubicBezTo>
                  <a:pt x="113" y="93"/>
                  <a:pt x="113" y="93"/>
                  <a:pt x="113" y="93"/>
                </a:cubicBezTo>
                <a:cubicBezTo>
                  <a:pt x="112" y="83"/>
                  <a:pt x="110" y="72"/>
                  <a:pt x="109" y="62"/>
                </a:cubicBezTo>
                <a:cubicBezTo>
                  <a:pt x="108" y="54"/>
                  <a:pt x="107" y="45"/>
                  <a:pt x="106" y="37"/>
                </a:cubicBezTo>
                <a:cubicBezTo>
                  <a:pt x="105" y="28"/>
                  <a:pt x="105" y="28"/>
                  <a:pt x="105" y="28"/>
                </a:cubicBezTo>
                <a:cubicBezTo>
                  <a:pt x="105" y="26"/>
                  <a:pt x="105" y="25"/>
                  <a:pt x="104" y="23"/>
                </a:cubicBezTo>
                <a:cubicBezTo>
                  <a:pt x="104" y="21"/>
                  <a:pt x="104" y="21"/>
                  <a:pt x="104" y="21"/>
                </a:cubicBezTo>
                <a:cubicBezTo>
                  <a:pt x="119" y="21"/>
                  <a:pt x="119" y="21"/>
                  <a:pt x="119" y="21"/>
                </a:cubicBezTo>
                <a:cubicBezTo>
                  <a:pt x="117" y="20"/>
                  <a:pt x="115" y="19"/>
                  <a:pt x="113" y="17"/>
                </a:cubicBezTo>
                <a:cubicBezTo>
                  <a:pt x="112" y="17"/>
                  <a:pt x="112" y="17"/>
                  <a:pt x="111" y="16"/>
                </a:cubicBezTo>
                <a:cubicBezTo>
                  <a:pt x="109" y="15"/>
                  <a:pt x="106" y="13"/>
                  <a:pt x="104" y="12"/>
                </a:cubicBezTo>
                <a:cubicBezTo>
                  <a:pt x="104" y="11"/>
                  <a:pt x="103" y="11"/>
                  <a:pt x="103" y="11"/>
                </a:cubicBezTo>
                <a:cubicBezTo>
                  <a:pt x="100" y="9"/>
                  <a:pt x="97" y="7"/>
                  <a:pt x="95" y="6"/>
                </a:cubicBezTo>
                <a:cubicBezTo>
                  <a:pt x="95" y="6"/>
                  <a:pt x="95" y="6"/>
                  <a:pt x="94" y="5"/>
                </a:cubicBezTo>
                <a:cubicBezTo>
                  <a:pt x="92" y="4"/>
                  <a:pt x="89" y="2"/>
                  <a:pt x="86" y="0"/>
                </a:cubicBezTo>
                <a:cubicBezTo>
                  <a:pt x="86" y="1"/>
                  <a:pt x="86" y="3"/>
                  <a:pt x="86" y="4"/>
                </a:cubicBezTo>
                <a:cubicBezTo>
                  <a:pt x="86" y="7"/>
                  <a:pt x="86" y="7"/>
                  <a:pt x="86" y="7"/>
                </a:cubicBezTo>
                <a:cubicBezTo>
                  <a:pt x="86" y="7"/>
                  <a:pt x="86" y="7"/>
                  <a:pt x="86" y="8"/>
                </a:cubicBezTo>
                <a:cubicBezTo>
                  <a:pt x="86" y="8"/>
                  <a:pt x="86" y="8"/>
                  <a:pt x="86" y="8"/>
                </a:cubicBezTo>
                <a:cubicBezTo>
                  <a:pt x="86" y="9"/>
                  <a:pt x="86" y="10"/>
                  <a:pt x="86" y="11"/>
                </a:cubicBezTo>
                <a:cubicBezTo>
                  <a:pt x="86" y="12"/>
                  <a:pt x="86" y="13"/>
                  <a:pt x="84" y="13"/>
                </a:cubicBezTo>
                <a:cubicBezTo>
                  <a:pt x="53" y="13"/>
                  <a:pt x="53" y="13"/>
                  <a:pt x="53" y="13"/>
                </a:cubicBezTo>
                <a:cubicBezTo>
                  <a:pt x="52" y="13"/>
                  <a:pt x="52" y="13"/>
                  <a:pt x="52" y="13"/>
                </a:cubicBezTo>
                <a:cubicBezTo>
                  <a:pt x="52" y="13"/>
                  <a:pt x="52" y="13"/>
                  <a:pt x="52" y="13"/>
                </a:cubicBezTo>
                <a:cubicBezTo>
                  <a:pt x="52" y="13"/>
                  <a:pt x="52" y="13"/>
                  <a:pt x="52" y="13"/>
                </a:cubicBezTo>
                <a:cubicBezTo>
                  <a:pt x="52" y="33"/>
                  <a:pt x="52" y="33"/>
                  <a:pt x="52" y="33"/>
                </a:cubicBezTo>
                <a:cubicBezTo>
                  <a:pt x="52" y="34"/>
                  <a:pt x="52" y="34"/>
                  <a:pt x="52" y="34"/>
                </a:cubicBezTo>
                <a:cubicBezTo>
                  <a:pt x="52" y="35"/>
                  <a:pt x="52" y="35"/>
                  <a:pt x="52" y="35"/>
                </a:cubicBezTo>
                <a:cubicBezTo>
                  <a:pt x="52" y="37"/>
                  <a:pt x="52" y="39"/>
                  <a:pt x="52" y="40"/>
                </a:cubicBezTo>
                <a:cubicBezTo>
                  <a:pt x="51" y="40"/>
                  <a:pt x="51" y="40"/>
                  <a:pt x="51" y="41"/>
                </a:cubicBezTo>
                <a:cubicBezTo>
                  <a:pt x="50" y="41"/>
                  <a:pt x="50" y="41"/>
                  <a:pt x="49" y="41"/>
                </a:cubicBezTo>
                <a:cubicBezTo>
                  <a:pt x="49" y="41"/>
                  <a:pt x="48" y="41"/>
                  <a:pt x="48" y="42"/>
                </a:cubicBezTo>
                <a:cubicBezTo>
                  <a:pt x="47" y="42"/>
                  <a:pt x="47" y="42"/>
                  <a:pt x="46" y="42"/>
                </a:cubicBezTo>
                <a:cubicBezTo>
                  <a:pt x="45" y="42"/>
                  <a:pt x="45" y="42"/>
                  <a:pt x="45" y="43"/>
                </a:cubicBezTo>
                <a:cubicBezTo>
                  <a:pt x="45" y="43"/>
                  <a:pt x="44" y="43"/>
                  <a:pt x="44" y="43"/>
                </a:cubicBezTo>
                <a:cubicBezTo>
                  <a:pt x="44" y="43"/>
                  <a:pt x="44" y="43"/>
                  <a:pt x="44" y="43"/>
                </a:cubicBezTo>
                <a:cubicBezTo>
                  <a:pt x="44" y="43"/>
                  <a:pt x="44" y="43"/>
                  <a:pt x="43" y="43"/>
                </a:cubicBezTo>
                <a:cubicBezTo>
                  <a:pt x="42" y="44"/>
                  <a:pt x="41" y="45"/>
                  <a:pt x="40" y="46"/>
                </a:cubicBezTo>
                <a:cubicBezTo>
                  <a:pt x="40" y="47"/>
                  <a:pt x="40" y="47"/>
                  <a:pt x="40" y="48"/>
                </a:cubicBezTo>
                <a:cubicBezTo>
                  <a:pt x="40" y="48"/>
                  <a:pt x="40" y="49"/>
                  <a:pt x="40" y="49"/>
                </a:cubicBezTo>
                <a:cubicBezTo>
                  <a:pt x="41" y="50"/>
                  <a:pt x="41" y="51"/>
                  <a:pt x="41" y="52"/>
                </a:cubicBezTo>
                <a:cubicBezTo>
                  <a:pt x="41" y="58"/>
                  <a:pt x="41" y="58"/>
                  <a:pt x="41" y="58"/>
                </a:cubicBezTo>
                <a:cubicBezTo>
                  <a:pt x="41" y="58"/>
                  <a:pt x="41" y="59"/>
                  <a:pt x="41" y="59"/>
                </a:cubicBezTo>
                <a:cubicBezTo>
                  <a:pt x="41" y="60"/>
                  <a:pt x="42" y="61"/>
                  <a:pt x="41" y="62"/>
                </a:cubicBezTo>
                <a:cubicBezTo>
                  <a:pt x="41" y="63"/>
                  <a:pt x="41" y="63"/>
                  <a:pt x="41" y="63"/>
                </a:cubicBezTo>
                <a:cubicBezTo>
                  <a:pt x="40" y="63"/>
                  <a:pt x="40" y="63"/>
                  <a:pt x="40" y="63"/>
                </a:cubicBezTo>
                <a:cubicBezTo>
                  <a:pt x="32" y="63"/>
                  <a:pt x="24" y="63"/>
                  <a:pt x="16" y="63"/>
                </a:cubicBezTo>
                <a:cubicBezTo>
                  <a:pt x="6" y="63"/>
                  <a:pt x="6" y="63"/>
                  <a:pt x="6" y="63"/>
                </a:cubicBezTo>
                <a:cubicBezTo>
                  <a:pt x="5" y="63"/>
                  <a:pt x="4" y="63"/>
                  <a:pt x="3" y="63"/>
                </a:cubicBezTo>
                <a:cubicBezTo>
                  <a:pt x="2" y="63"/>
                  <a:pt x="2" y="63"/>
                  <a:pt x="2" y="63"/>
                </a:cubicBezTo>
                <a:cubicBezTo>
                  <a:pt x="1" y="63"/>
                  <a:pt x="1" y="63"/>
                  <a:pt x="1" y="63"/>
                </a:cubicBezTo>
                <a:cubicBezTo>
                  <a:pt x="1" y="63"/>
                  <a:pt x="1" y="64"/>
                  <a:pt x="0" y="65"/>
                </a:cubicBezTo>
                <a:cubicBezTo>
                  <a:pt x="1" y="67"/>
                  <a:pt x="2" y="69"/>
                  <a:pt x="4" y="70"/>
                </a:cubicBezTo>
                <a:cubicBezTo>
                  <a:pt x="4" y="70"/>
                  <a:pt x="4" y="69"/>
                  <a:pt x="5" y="69"/>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83" name="Freeform 3040">
            <a:extLst>
              <a:ext uri="{FF2B5EF4-FFF2-40B4-BE49-F238E27FC236}">
                <a16:creationId xmlns:a16="http://schemas.microsoft.com/office/drawing/2014/main" id="{67C9E3CA-1EDD-4765-B25C-EAEEB72DEB9C}"/>
              </a:ext>
            </a:extLst>
          </p:cNvPr>
          <p:cNvSpPr>
            <a:spLocks/>
          </p:cNvSpPr>
          <p:nvPr/>
        </p:nvSpPr>
        <p:spPr bwMode="auto">
          <a:xfrm>
            <a:off x="3160106" y="3603063"/>
            <a:ext cx="991" cy="1187"/>
          </a:xfrm>
          <a:custGeom>
            <a:avLst/>
            <a:gdLst>
              <a:gd name="T0" fmla="*/ 1 w 1"/>
              <a:gd name="T1" fmla="*/ 0 h 1"/>
              <a:gd name="T2" fmla="*/ 0 w 1"/>
              <a:gd name="T3" fmla="*/ 0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0"/>
                  <a:pt x="0" y="0"/>
                </a:cubicBezTo>
                <a:cubicBezTo>
                  <a:pt x="0" y="0"/>
                  <a:pt x="0" y="0"/>
                  <a:pt x="1" y="1"/>
                </a:cubicBezTo>
                <a:cubicBezTo>
                  <a:pt x="1" y="0"/>
                  <a:pt x="1" y="0"/>
                  <a:pt x="1"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84" name="Freeform 3041">
            <a:extLst>
              <a:ext uri="{FF2B5EF4-FFF2-40B4-BE49-F238E27FC236}">
                <a16:creationId xmlns:a16="http://schemas.microsoft.com/office/drawing/2014/main" id="{6C3DF22D-3C1D-4273-820A-D24934BFCE65}"/>
              </a:ext>
            </a:extLst>
          </p:cNvPr>
          <p:cNvSpPr>
            <a:spLocks/>
          </p:cNvSpPr>
          <p:nvPr/>
        </p:nvSpPr>
        <p:spPr bwMode="auto">
          <a:xfrm>
            <a:off x="3217591" y="363630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85" name="Freeform 3042">
            <a:extLst>
              <a:ext uri="{FF2B5EF4-FFF2-40B4-BE49-F238E27FC236}">
                <a16:creationId xmlns:a16="http://schemas.microsoft.com/office/drawing/2014/main" id="{C9F87520-3097-44D5-8027-AE47A8141DD6}"/>
              </a:ext>
            </a:extLst>
          </p:cNvPr>
          <p:cNvSpPr>
            <a:spLocks noEditPoints="1"/>
          </p:cNvSpPr>
          <p:nvPr/>
        </p:nvSpPr>
        <p:spPr bwMode="auto">
          <a:xfrm>
            <a:off x="3162584" y="3577538"/>
            <a:ext cx="84245" cy="75980"/>
          </a:xfrm>
          <a:custGeom>
            <a:avLst/>
            <a:gdLst>
              <a:gd name="T0" fmla="*/ 17 w 72"/>
              <a:gd name="T1" fmla="*/ 34 h 54"/>
              <a:gd name="T2" fmla="*/ 19 w 72"/>
              <a:gd name="T3" fmla="*/ 34 h 54"/>
              <a:gd name="T4" fmla="*/ 20 w 72"/>
              <a:gd name="T5" fmla="*/ 32 h 54"/>
              <a:gd name="T6" fmla="*/ 22 w 72"/>
              <a:gd name="T7" fmla="*/ 31 h 54"/>
              <a:gd name="T8" fmla="*/ 26 w 72"/>
              <a:gd name="T9" fmla="*/ 27 h 54"/>
              <a:gd name="T10" fmla="*/ 28 w 72"/>
              <a:gd name="T11" fmla="*/ 27 h 54"/>
              <a:gd name="T12" fmla="*/ 37 w 72"/>
              <a:gd name="T13" fmla="*/ 26 h 54"/>
              <a:gd name="T14" fmla="*/ 41 w 72"/>
              <a:gd name="T15" fmla="*/ 32 h 54"/>
              <a:gd name="T16" fmla="*/ 45 w 72"/>
              <a:gd name="T17" fmla="*/ 36 h 54"/>
              <a:gd name="T18" fmla="*/ 46 w 72"/>
              <a:gd name="T19" fmla="*/ 38 h 54"/>
              <a:gd name="T20" fmla="*/ 47 w 72"/>
              <a:gd name="T21" fmla="*/ 41 h 54"/>
              <a:gd name="T22" fmla="*/ 47 w 72"/>
              <a:gd name="T23" fmla="*/ 41 h 54"/>
              <a:gd name="T24" fmla="*/ 49 w 72"/>
              <a:gd name="T25" fmla="*/ 41 h 54"/>
              <a:gd name="T26" fmla="*/ 51 w 72"/>
              <a:gd name="T27" fmla="*/ 41 h 54"/>
              <a:gd name="T28" fmla="*/ 54 w 72"/>
              <a:gd name="T29" fmla="*/ 42 h 54"/>
              <a:gd name="T30" fmla="*/ 57 w 72"/>
              <a:gd name="T31" fmla="*/ 47 h 54"/>
              <a:gd name="T32" fmla="*/ 58 w 72"/>
              <a:gd name="T33" fmla="*/ 53 h 54"/>
              <a:gd name="T34" fmla="*/ 61 w 72"/>
              <a:gd name="T35" fmla="*/ 54 h 54"/>
              <a:gd name="T36" fmla="*/ 64 w 72"/>
              <a:gd name="T37" fmla="*/ 49 h 54"/>
              <a:gd name="T38" fmla="*/ 67 w 72"/>
              <a:gd name="T39" fmla="*/ 51 h 54"/>
              <a:gd name="T40" fmla="*/ 68 w 72"/>
              <a:gd name="T41" fmla="*/ 47 h 54"/>
              <a:gd name="T42" fmla="*/ 67 w 72"/>
              <a:gd name="T43" fmla="*/ 42 h 54"/>
              <a:gd name="T44" fmla="*/ 69 w 72"/>
              <a:gd name="T45" fmla="*/ 41 h 54"/>
              <a:gd name="T46" fmla="*/ 71 w 72"/>
              <a:gd name="T47" fmla="*/ 41 h 54"/>
              <a:gd name="T48" fmla="*/ 72 w 72"/>
              <a:gd name="T49" fmla="*/ 41 h 54"/>
              <a:gd name="T50" fmla="*/ 70 w 72"/>
              <a:gd name="T51" fmla="*/ 40 h 54"/>
              <a:gd name="T52" fmla="*/ 71 w 72"/>
              <a:gd name="T53" fmla="*/ 35 h 54"/>
              <a:gd name="T54" fmla="*/ 69 w 72"/>
              <a:gd name="T55" fmla="*/ 34 h 54"/>
              <a:gd name="T56" fmla="*/ 68 w 72"/>
              <a:gd name="T57" fmla="*/ 27 h 54"/>
              <a:gd name="T58" fmla="*/ 69 w 72"/>
              <a:gd name="T59" fmla="*/ 25 h 54"/>
              <a:gd name="T60" fmla="*/ 67 w 72"/>
              <a:gd name="T61" fmla="*/ 24 h 54"/>
              <a:gd name="T62" fmla="*/ 66 w 72"/>
              <a:gd name="T63" fmla="*/ 21 h 54"/>
              <a:gd name="T64" fmla="*/ 66 w 72"/>
              <a:gd name="T65" fmla="*/ 17 h 54"/>
              <a:gd name="T66" fmla="*/ 63 w 72"/>
              <a:gd name="T67" fmla="*/ 16 h 54"/>
              <a:gd name="T68" fmla="*/ 62 w 72"/>
              <a:gd name="T69" fmla="*/ 11 h 54"/>
              <a:gd name="T70" fmla="*/ 61 w 72"/>
              <a:gd name="T71" fmla="*/ 11 h 54"/>
              <a:gd name="T72" fmla="*/ 61 w 72"/>
              <a:gd name="T73" fmla="*/ 10 h 54"/>
              <a:gd name="T74" fmla="*/ 61 w 72"/>
              <a:gd name="T75" fmla="*/ 7 h 54"/>
              <a:gd name="T76" fmla="*/ 60 w 72"/>
              <a:gd name="T77" fmla="*/ 6 h 54"/>
              <a:gd name="T78" fmla="*/ 55 w 72"/>
              <a:gd name="T79" fmla="*/ 6 h 54"/>
              <a:gd name="T80" fmla="*/ 50 w 72"/>
              <a:gd name="T81" fmla="*/ 6 h 54"/>
              <a:gd name="T82" fmla="*/ 49 w 72"/>
              <a:gd name="T83" fmla="*/ 6 h 54"/>
              <a:gd name="T84" fmla="*/ 42 w 72"/>
              <a:gd name="T85" fmla="*/ 8 h 54"/>
              <a:gd name="T86" fmla="*/ 40 w 72"/>
              <a:gd name="T87" fmla="*/ 6 h 54"/>
              <a:gd name="T88" fmla="*/ 38 w 72"/>
              <a:gd name="T89" fmla="*/ 7 h 54"/>
              <a:gd name="T90" fmla="*/ 36 w 72"/>
              <a:gd name="T91" fmla="*/ 7 h 54"/>
              <a:gd name="T92" fmla="*/ 34 w 72"/>
              <a:gd name="T93" fmla="*/ 5 h 54"/>
              <a:gd name="T94" fmla="*/ 33 w 72"/>
              <a:gd name="T95" fmla="*/ 3 h 54"/>
              <a:gd name="T96" fmla="*/ 24 w 72"/>
              <a:gd name="T97" fmla="*/ 4 h 54"/>
              <a:gd name="T98" fmla="*/ 17 w 72"/>
              <a:gd name="T99" fmla="*/ 1 h 54"/>
              <a:gd name="T100" fmla="*/ 14 w 72"/>
              <a:gd name="T101" fmla="*/ 0 h 54"/>
              <a:gd name="T102" fmla="*/ 13 w 72"/>
              <a:gd name="T103" fmla="*/ 4 h 54"/>
              <a:gd name="T104" fmla="*/ 13 w 72"/>
              <a:gd name="T105" fmla="*/ 9 h 54"/>
              <a:gd name="T106" fmla="*/ 12 w 72"/>
              <a:gd name="T107" fmla="*/ 11 h 54"/>
              <a:gd name="T108" fmla="*/ 6 w 72"/>
              <a:gd name="T109" fmla="*/ 12 h 54"/>
              <a:gd name="T110" fmla="*/ 3 w 72"/>
              <a:gd name="T111" fmla="*/ 12 h 54"/>
              <a:gd name="T112" fmla="*/ 1 w 72"/>
              <a:gd name="T113" fmla="*/ 18 h 54"/>
              <a:gd name="T114" fmla="*/ 2 w 72"/>
              <a:gd name="T115" fmla="*/ 21 h 54"/>
              <a:gd name="T116" fmla="*/ 9 w 72"/>
              <a:gd name="T117" fmla="*/ 25 h 54"/>
              <a:gd name="T118" fmla="*/ 14 w 72"/>
              <a:gd name="T119" fmla="*/ 31 h 54"/>
              <a:gd name="T120" fmla="*/ 1 w 72"/>
              <a:gd name="T121" fmla="*/ 1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2" h="54">
                <a:moveTo>
                  <a:pt x="16" y="35"/>
                </a:moveTo>
                <a:cubicBezTo>
                  <a:pt x="16" y="35"/>
                  <a:pt x="16" y="34"/>
                  <a:pt x="16" y="34"/>
                </a:cubicBezTo>
                <a:cubicBezTo>
                  <a:pt x="16" y="34"/>
                  <a:pt x="17" y="34"/>
                  <a:pt x="17" y="34"/>
                </a:cubicBezTo>
                <a:cubicBezTo>
                  <a:pt x="17" y="34"/>
                  <a:pt x="17" y="34"/>
                  <a:pt x="17" y="34"/>
                </a:cubicBezTo>
                <a:cubicBezTo>
                  <a:pt x="17" y="34"/>
                  <a:pt x="17" y="34"/>
                  <a:pt x="17" y="34"/>
                </a:cubicBezTo>
                <a:cubicBezTo>
                  <a:pt x="17" y="34"/>
                  <a:pt x="17" y="34"/>
                  <a:pt x="17" y="34"/>
                </a:cubicBezTo>
                <a:cubicBezTo>
                  <a:pt x="17" y="34"/>
                  <a:pt x="17" y="34"/>
                  <a:pt x="17" y="34"/>
                </a:cubicBezTo>
                <a:cubicBezTo>
                  <a:pt x="19" y="34"/>
                  <a:pt x="19" y="34"/>
                  <a:pt x="19" y="34"/>
                </a:cubicBezTo>
                <a:cubicBezTo>
                  <a:pt x="19" y="34"/>
                  <a:pt x="19" y="34"/>
                  <a:pt x="19" y="34"/>
                </a:cubicBezTo>
                <a:cubicBezTo>
                  <a:pt x="20" y="33"/>
                  <a:pt x="20" y="33"/>
                  <a:pt x="20" y="33"/>
                </a:cubicBezTo>
                <a:cubicBezTo>
                  <a:pt x="20" y="33"/>
                  <a:pt x="20" y="33"/>
                  <a:pt x="20" y="33"/>
                </a:cubicBezTo>
                <a:cubicBezTo>
                  <a:pt x="20" y="33"/>
                  <a:pt x="20" y="33"/>
                  <a:pt x="20" y="32"/>
                </a:cubicBezTo>
                <a:cubicBezTo>
                  <a:pt x="21" y="32"/>
                  <a:pt x="21" y="32"/>
                  <a:pt x="21" y="32"/>
                </a:cubicBezTo>
                <a:cubicBezTo>
                  <a:pt x="21" y="32"/>
                  <a:pt x="21" y="32"/>
                  <a:pt x="21" y="32"/>
                </a:cubicBezTo>
                <a:cubicBezTo>
                  <a:pt x="21" y="31"/>
                  <a:pt x="22" y="31"/>
                  <a:pt x="22" y="31"/>
                </a:cubicBezTo>
                <a:cubicBezTo>
                  <a:pt x="22" y="31"/>
                  <a:pt x="22" y="31"/>
                  <a:pt x="22" y="31"/>
                </a:cubicBezTo>
                <a:cubicBezTo>
                  <a:pt x="22" y="31"/>
                  <a:pt x="22" y="30"/>
                  <a:pt x="22" y="30"/>
                </a:cubicBezTo>
                <a:cubicBezTo>
                  <a:pt x="22" y="30"/>
                  <a:pt x="22" y="30"/>
                  <a:pt x="22" y="30"/>
                </a:cubicBezTo>
                <a:cubicBezTo>
                  <a:pt x="22" y="30"/>
                  <a:pt x="23" y="29"/>
                  <a:pt x="23" y="29"/>
                </a:cubicBezTo>
                <a:cubicBezTo>
                  <a:pt x="24" y="27"/>
                  <a:pt x="24" y="27"/>
                  <a:pt x="26" y="27"/>
                </a:cubicBezTo>
                <a:cubicBezTo>
                  <a:pt x="27" y="27"/>
                  <a:pt x="27" y="27"/>
                  <a:pt x="27" y="27"/>
                </a:cubicBezTo>
                <a:cubicBezTo>
                  <a:pt x="27" y="27"/>
                  <a:pt x="27" y="27"/>
                  <a:pt x="27" y="27"/>
                </a:cubicBezTo>
                <a:cubicBezTo>
                  <a:pt x="27" y="27"/>
                  <a:pt x="27" y="27"/>
                  <a:pt x="27" y="27"/>
                </a:cubicBezTo>
                <a:cubicBezTo>
                  <a:pt x="28" y="27"/>
                  <a:pt x="28" y="27"/>
                  <a:pt x="28" y="27"/>
                </a:cubicBezTo>
                <a:cubicBezTo>
                  <a:pt x="29" y="27"/>
                  <a:pt x="30" y="27"/>
                  <a:pt x="32" y="26"/>
                </a:cubicBezTo>
                <a:cubicBezTo>
                  <a:pt x="33" y="26"/>
                  <a:pt x="34" y="26"/>
                  <a:pt x="36" y="26"/>
                </a:cubicBezTo>
                <a:cubicBezTo>
                  <a:pt x="36" y="26"/>
                  <a:pt x="36" y="26"/>
                  <a:pt x="36" y="26"/>
                </a:cubicBezTo>
                <a:cubicBezTo>
                  <a:pt x="37" y="26"/>
                  <a:pt x="37" y="26"/>
                  <a:pt x="37" y="26"/>
                </a:cubicBezTo>
                <a:cubicBezTo>
                  <a:pt x="38" y="26"/>
                  <a:pt x="38" y="26"/>
                  <a:pt x="39" y="27"/>
                </a:cubicBezTo>
                <a:cubicBezTo>
                  <a:pt x="40" y="28"/>
                  <a:pt x="40" y="29"/>
                  <a:pt x="41" y="30"/>
                </a:cubicBezTo>
                <a:cubicBezTo>
                  <a:pt x="41" y="30"/>
                  <a:pt x="41" y="31"/>
                  <a:pt x="41" y="32"/>
                </a:cubicBezTo>
                <a:cubicBezTo>
                  <a:pt x="41" y="32"/>
                  <a:pt x="41" y="32"/>
                  <a:pt x="41" y="32"/>
                </a:cubicBezTo>
                <a:cubicBezTo>
                  <a:pt x="42" y="33"/>
                  <a:pt x="42" y="34"/>
                  <a:pt x="43" y="35"/>
                </a:cubicBezTo>
                <a:cubicBezTo>
                  <a:pt x="43" y="35"/>
                  <a:pt x="43" y="35"/>
                  <a:pt x="43" y="35"/>
                </a:cubicBezTo>
                <a:cubicBezTo>
                  <a:pt x="44" y="35"/>
                  <a:pt x="44" y="36"/>
                  <a:pt x="45" y="36"/>
                </a:cubicBezTo>
                <a:cubicBezTo>
                  <a:pt x="45" y="36"/>
                  <a:pt x="45" y="36"/>
                  <a:pt x="45" y="36"/>
                </a:cubicBezTo>
                <a:cubicBezTo>
                  <a:pt x="45" y="37"/>
                  <a:pt x="45" y="37"/>
                  <a:pt x="45" y="37"/>
                </a:cubicBezTo>
                <a:cubicBezTo>
                  <a:pt x="45" y="37"/>
                  <a:pt x="45" y="37"/>
                  <a:pt x="45" y="38"/>
                </a:cubicBezTo>
                <a:cubicBezTo>
                  <a:pt x="45" y="38"/>
                  <a:pt x="45" y="38"/>
                  <a:pt x="45" y="38"/>
                </a:cubicBezTo>
                <a:cubicBezTo>
                  <a:pt x="45" y="38"/>
                  <a:pt x="46" y="38"/>
                  <a:pt x="46" y="38"/>
                </a:cubicBezTo>
                <a:cubicBezTo>
                  <a:pt x="46" y="39"/>
                  <a:pt x="46" y="39"/>
                  <a:pt x="46" y="39"/>
                </a:cubicBezTo>
                <a:cubicBezTo>
                  <a:pt x="46" y="40"/>
                  <a:pt x="46" y="40"/>
                  <a:pt x="46" y="41"/>
                </a:cubicBezTo>
                <a:cubicBezTo>
                  <a:pt x="46" y="41"/>
                  <a:pt x="46" y="41"/>
                  <a:pt x="46" y="41"/>
                </a:cubicBezTo>
                <a:cubicBezTo>
                  <a:pt x="46" y="41"/>
                  <a:pt x="46" y="41"/>
                  <a:pt x="47" y="41"/>
                </a:cubicBezTo>
                <a:cubicBezTo>
                  <a:pt x="47" y="41"/>
                  <a:pt x="47" y="41"/>
                  <a:pt x="47" y="41"/>
                </a:cubicBezTo>
                <a:cubicBezTo>
                  <a:pt x="47" y="41"/>
                  <a:pt x="47" y="41"/>
                  <a:pt x="47" y="41"/>
                </a:cubicBezTo>
                <a:cubicBezTo>
                  <a:pt x="47" y="41"/>
                  <a:pt x="47" y="41"/>
                  <a:pt x="47" y="41"/>
                </a:cubicBezTo>
                <a:cubicBezTo>
                  <a:pt x="47" y="41"/>
                  <a:pt x="47" y="41"/>
                  <a:pt x="47" y="41"/>
                </a:cubicBezTo>
                <a:cubicBezTo>
                  <a:pt x="47" y="41"/>
                  <a:pt x="47" y="41"/>
                  <a:pt x="47" y="41"/>
                </a:cubicBezTo>
                <a:cubicBezTo>
                  <a:pt x="48" y="41"/>
                  <a:pt x="48" y="41"/>
                  <a:pt x="48" y="41"/>
                </a:cubicBezTo>
                <a:cubicBezTo>
                  <a:pt x="48" y="41"/>
                  <a:pt x="48" y="41"/>
                  <a:pt x="48" y="41"/>
                </a:cubicBezTo>
                <a:cubicBezTo>
                  <a:pt x="49" y="41"/>
                  <a:pt x="49" y="41"/>
                  <a:pt x="49" y="41"/>
                </a:cubicBezTo>
                <a:cubicBezTo>
                  <a:pt x="49" y="41"/>
                  <a:pt x="49" y="41"/>
                  <a:pt x="50" y="41"/>
                </a:cubicBezTo>
                <a:cubicBezTo>
                  <a:pt x="50" y="41"/>
                  <a:pt x="50" y="41"/>
                  <a:pt x="50" y="41"/>
                </a:cubicBezTo>
                <a:cubicBezTo>
                  <a:pt x="51" y="41"/>
                  <a:pt x="51" y="41"/>
                  <a:pt x="51" y="41"/>
                </a:cubicBezTo>
                <a:cubicBezTo>
                  <a:pt x="51" y="41"/>
                  <a:pt x="51" y="41"/>
                  <a:pt x="51" y="41"/>
                </a:cubicBezTo>
                <a:cubicBezTo>
                  <a:pt x="52" y="40"/>
                  <a:pt x="53" y="41"/>
                  <a:pt x="53" y="41"/>
                </a:cubicBezTo>
                <a:cubicBezTo>
                  <a:pt x="54" y="41"/>
                  <a:pt x="54" y="41"/>
                  <a:pt x="54" y="41"/>
                </a:cubicBezTo>
                <a:cubicBezTo>
                  <a:pt x="54" y="41"/>
                  <a:pt x="54" y="41"/>
                  <a:pt x="54" y="41"/>
                </a:cubicBezTo>
                <a:cubicBezTo>
                  <a:pt x="54" y="42"/>
                  <a:pt x="54" y="42"/>
                  <a:pt x="54" y="42"/>
                </a:cubicBezTo>
                <a:cubicBezTo>
                  <a:pt x="54" y="42"/>
                  <a:pt x="55" y="42"/>
                  <a:pt x="55" y="43"/>
                </a:cubicBezTo>
                <a:cubicBezTo>
                  <a:pt x="55" y="43"/>
                  <a:pt x="55" y="43"/>
                  <a:pt x="56" y="43"/>
                </a:cubicBezTo>
                <a:cubicBezTo>
                  <a:pt x="56" y="44"/>
                  <a:pt x="57" y="45"/>
                  <a:pt x="57" y="46"/>
                </a:cubicBezTo>
                <a:cubicBezTo>
                  <a:pt x="57" y="46"/>
                  <a:pt x="57" y="46"/>
                  <a:pt x="57" y="47"/>
                </a:cubicBezTo>
                <a:cubicBezTo>
                  <a:pt x="57" y="47"/>
                  <a:pt x="57" y="47"/>
                  <a:pt x="57" y="47"/>
                </a:cubicBezTo>
                <a:cubicBezTo>
                  <a:pt x="57" y="48"/>
                  <a:pt x="58" y="50"/>
                  <a:pt x="58" y="51"/>
                </a:cubicBezTo>
                <a:cubicBezTo>
                  <a:pt x="57" y="52"/>
                  <a:pt x="57" y="52"/>
                  <a:pt x="57" y="52"/>
                </a:cubicBezTo>
                <a:cubicBezTo>
                  <a:pt x="57" y="52"/>
                  <a:pt x="57" y="52"/>
                  <a:pt x="58" y="53"/>
                </a:cubicBezTo>
                <a:cubicBezTo>
                  <a:pt x="59" y="53"/>
                  <a:pt x="59" y="53"/>
                  <a:pt x="59" y="54"/>
                </a:cubicBezTo>
                <a:cubicBezTo>
                  <a:pt x="59" y="54"/>
                  <a:pt x="59" y="54"/>
                  <a:pt x="59" y="54"/>
                </a:cubicBezTo>
                <a:cubicBezTo>
                  <a:pt x="60" y="54"/>
                  <a:pt x="60" y="54"/>
                  <a:pt x="61" y="54"/>
                </a:cubicBezTo>
                <a:cubicBezTo>
                  <a:pt x="61" y="54"/>
                  <a:pt x="61" y="54"/>
                  <a:pt x="61" y="54"/>
                </a:cubicBezTo>
                <a:cubicBezTo>
                  <a:pt x="61" y="54"/>
                  <a:pt x="61" y="53"/>
                  <a:pt x="61" y="53"/>
                </a:cubicBezTo>
                <a:cubicBezTo>
                  <a:pt x="61" y="53"/>
                  <a:pt x="61" y="53"/>
                  <a:pt x="61" y="53"/>
                </a:cubicBezTo>
                <a:cubicBezTo>
                  <a:pt x="62" y="52"/>
                  <a:pt x="62" y="51"/>
                  <a:pt x="63" y="50"/>
                </a:cubicBezTo>
                <a:cubicBezTo>
                  <a:pt x="64" y="49"/>
                  <a:pt x="64" y="49"/>
                  <a:pt x="64" y="49"/>
                </a:cubicBezTo>
                <a:cubicBezTo>
                  <a:pt x="65" y="50"/>
                  <a:pt x="65" y="50"/>
                  <a:pt x="65" y="50"/>
                </a:cubicBezTo>
                <a:cubicBezTo>
                  <a:pt x="65" y="50"/>
                  <a:pt x="66" y="50"/>
                  <a:pt x="66" y="51"/>
                </a:cubicBezTo>
                <a:cubicBezTo>
                  <a:pt x="66" y="51"/>
                  <a:pt x="66" y="51"/>
                  <a:pt x="66" y="51"/>
                </a:cubicBezTo>
                <a:cubicBezTo>
                  <a:pt x="66" y="51"/>
                  <a:pt x="67" y="51"/>
                  <a:pt x="67" y="51"/>
                </a:cubicBezTo>
                <a:cubicBezTo>
                  <a:pt x="68" y="51"/>
                  <a:pt x="68" y="50"/>
                  <a:pt x="68" y="47"/>
                </a:cubicBezTo>
                <a:cubicBezTo>
                  <a:pt x="68" y="47"/>
                  <a:pt x="68" y="47"/>
                  <a:pt x="68" y="47"/>
                </a:cubicBezTo>
                <a:cubicBezTo>
                  <a:pt x="68" y="47"/>
                  <a:pt x="68" y="47"/>
                  <a:pt x="68" y="47"/>
                </a:cubicBezTo>
                <a:cubicBezTo>
                  <a:pt x="68" y="47"/>
                  <a:pt x="68" y="47"/>
                  <a:pt x="68" y="47"/>
                </a:cubicBezTo>
                <a:cubicBezTo>
                  <a:pt x="68" y="46"/>
                  <a:pt x="67" y="46"/>
                  <a:pt x="67" y="46"/>
                </a:cubicBezTo>
                <a:cubicBezTo>
                  <a:pt x="67" y="45"/>
                  <a:pt x="66" y="44"/>
                  <a:pt x="67" y="43"/>
                </a:cubicBezTo>
                <a:cubicBezTo>
                  <a:pt x="67" y="43"/>
                  <a:pt x="67" y="42"/>
                  <a:pt x="67" y="42"/>
                </a:cubicBezTo>
                <a:cubicBezTo>
                  <a:pt x="67" y="42"/>
                  <a:pt x="67" y="42"/>
                  <a:pt x="67" y="42"/>
                </a:cubicBezTo>
                <a:cubicBezTo>
                  <a:pt x="67" y="42"/>
                  <a:pt x="68" y="42"/>
                  <a:pt x="68" y="42"/>
                </a:cubicBezTo>
                <a:cubicBezTo>
                  <a:pt x="68" y="41"/>
                  <a:pt x="68" y="41"/>
                  <a:pt x="68" y="41"/>
                </a:cubicBezTo>
                <a:cubicBezTo>
                  <a:pt x="68" y="41"/>
                  <a:pt x="68" y="41"/>
                  <a:pt x="68" y="41"/>
                </a:cubicBezTo>
                <a:cubicBezTo>
                  <a:pt x="69" y="41"/>
                  <a:pt x="69" y="41"/>
                  <a:pt x="69" y="41"/>
                </a:cubicBezTo>
                <a:cubicBezTo>
                  <a:pt x="69" y="41"/>
                  <a:pt x="69" y="41"/>
                  <a:pt x="69" y="41"/>
                </a:cubicBezTo>
                <a:cubicBezTo>
                  <a:pt x="70" y="41"/>
                  <a:pt x="70" y="41"/>
                  <a:pt x="70" y="41"/>
                </a:cubicBezTo>
                <a:cubicBezTo>
                  <a:pt x="70" y="41"/>
                  <a:pt x="70" y="41"/>
                  <a:pt x="70" y="41"/>
                </a:cubicBezTo>
                <a:cubicBezTo>
                  <a:pt x="71" y="41"/>
                  <a:pt x="71" y="41"/>
                  <a:pt x="71" y="41"/>
                </a:cubicBezTo>
                <a:cubicBezTo>
                  <a:pt x="71" y="41"/>
                  <a:pt x="71" y="41"/>
                  <a:pt x="71" y="41"/>
                </a:cubicBezTo>
                <a:cubicBezTo>
                  <a:pt x="71" y="41"/>
                  <a:pt x="71" y="41"/>
                  <a:pt x="71" y="41"/>
                </a:cubicBezTo>
                <a:cubicBezTo>
                  <a:pt x="71" y="41"/>
                  <a:pt x="71" y="41"/>
                  <a:pt x="71" y="41"/>
                </a:cubicBezTo>
                <a:cubicBezTo>
                  <a:pt x="72" y="41"/>
                  <a:pt x="72" y="41"/>
                  <a:pt x="72" y="41"/>
                </a:cubicBezTo>
                <a:cubicBezTo>
                  <a:pt x="71" y="41"/>
                  <a:pt x="71" y="41"/>
                  <a:pt x="71" y="41"/>
                </a:cubicBezTo>
                <a:cubicBezTo>
                  <a:pt x="71" y="41"/>
                  <a:pt x="71" y="41"/>
                  <a:pt x="71" y="41"/>
                </a:cubicBezTo>
                <a:cubicBezTo>
                  <a:pt x="71" y="41"/>
                  <a:pt x="71" y="41"/>
                  <a:pt x="71" y="41"/>
                </a:cubicBezTo>
                <a:cubicBezTo>
                  <a:pt x="70" y="40"/>
                  <a:pt x="70" y="40"/>
                  <a:pt x="70" y="40"/>
                </a:cubicBezTo>
                <a:cubicBezTo>
                  <a:pt x="69" y="39"/>
                  <a:pt x="70" y="38"/>
                  <a:pt x="71" y="37"/>
                </a:cubicBezTo>
                <a:cubicBezTo>
                  <a:pt x="71" y="37"/>
                  <a:pt x="71" y="36"/>
                  <a:pt x="71" y="36"/>
                </a:cubicBezTo>
                <a:cubicBezTo>
                  <a:pt x="71" y="36"/>
                  <a:pt x="72" y="36"/>
                  <a:pt x="71" y="35"/>
                </a:cubicBezTo>
                <a:cubicBezTo>
                  <a:pt x="71" y="35"/>
                  <a:pt x="71" y="35"/>
                  <a:pt x="71" y="35"/>
                </a:cubicBezTo>
                <a:cubicBezTo>
                  <a:pt x="71" y="35"/>
                  <a:pt x="71" y="35"/>
                  <a:pt x="71" y="34"/>
                </a:cubicBezTo>
                <a:cubicBezTo>
                  <a:pt x="70" y="34"/>
                  <a:pt x="70" y="34"/>
                  <a:pt x="69" y="34"/>
                </a:cubicBezTo>
                <a:cubicBezTo>
                  <a:pt x="69" y="34"/>
                  <a:pt x="69" y="34"/>
                  <a:pt x="69" y="34"/>
                </a:cubicBezTo>
                <a:cubicBezTo>
                  <a:pt x="69" y="34"/>
                  <a:pt x="69" y="34"/>
                  <a:pt x="69" y="34"/>
                </a:cubicBezTo>
                <a:cubicBezTo>
                  <a:pt x="69" y="34"/>
                  <a:pt x="68" y="33"/>
                  <a:pt x="68" y="33"/>
                </a:cubicBezTo>
                <a:cubicBezTo>
                  <a:pt x="68" y="32"/>
                  <a:pt x="68" y="31"/>
                  <a:pt x="67" y="31"/>
                </a:cubicBezTo>
                <a:cubicBezTo>
                  <a:pt x="67" y="30"/>
                  <a:pt x="67" y="30"/>
                  <a:pt x="67" y="30"/>
                </a:cubicBezTo>
                <a:cubicBezTo>
                  <a:pt x="67" y="29"/>
                  <a:pt x="67" y="28"/>
                  <a:pt x="68" y="27"/>
                </a:cubicBezTo>
                <a:cubicBezTo>
                  <a:pt x="68" y="26"/>
                  <a:pt x="68" y="26"/>
                  <a:pt x="69" y="25"/>
                </a:cubicBezTo>
                <a:cubicBezTo>
                  <a:pt x="69" y="25"/>
                  <a:pt x="69" y="25"/>
                  <a:pt x="69" y="25"/>
                </a:cubicBezTo>
                <a:cubicBezTo>
                  <a:pt x="69" y="25"/>
                  <a:pt x="69" y="25"/>
                  <a:pt x="69" y="25"/>
                </a:cubicBezTo>
                <a:cubicBezTo>
                  <a:pt x="69" y="25"/>
                  <a:pt x="69" y="25"/>
                  <a:pt x="69" y="25"/>
                </a:cubicBezTo>
                <a:cubicBezTo>
                  <a:pt x="68" y="25"/>
                  <a:pt x="68" y="25"/>
                  <a:pt x="68" y="24"/>
                </a:cubicBezTo>
                <a:cubicBezTo>
                  <a:pt x="68" y="24"/>
                  <a:pt x="68" y="24"/>
                  <a:pt x="68" y="24"/>
                </a:cubicBezTo>
                <a:cubicBezTo>
                  <a:pt x="68" y="24"/>
                  <a:pt x="68" y="24"/>
                  <a:pt x="68" y="24"/>
                </a:cubicBezTo>
                <a:cubicBezTo>
                  <a:pt x="67" y="24"/>
                  <a:pt x="67" y="24"/>
                  <a:pt x="67" y="24"/>
                </a:cubicBezTo>
                <a:cubicBezTo>
                  <a:pt x="67" y="23"/>
                  <a:pt x="67" y="23"/>
                  <a:pt x="67" y="23"/>
                </a:cubicBezTo>
                <a:cubicBezTo>
                  <a:pt x="67" y="22"/>
                  <a:pt x="66" y="22"/>
                  <a:pt x="66" y="22"/>
                </a:cubicBezTo>
                <a:cubicBezTo>
                  <a:pt x="66" y="22"/>
                  <a:pt x="66" y="22"/>
                  <a:pt x="66" y="22"/>
                </a:cubicBezTo>
                <a:cubicBezTo>
                  <a:pt x="66" y="22"/>
                  <a:pt x="66" y="22"/>
                  <a:pt x="66" y="21"/>
                </a:cubicBezTo>
                <a:cubicBezTo>
                  <a:pt x="66" y="21"/>
                  <a:pt x="66" y="20"/>
                  <a:pt x="66" y="20"/>
                </a:cubicBezTo>
                <a:cubicBezTo>
                  <a:pt x="66" y="19"/>
                  <a:pt x="66" y="19"/>
                  <a:pt x="66" y="19"/>
                </a:cubicBezTo>
                <a:cubicBezTo>
                  <a:pt x="66" y="19"/>
                  <a:pt x="66" y="18"/>
                  <a:pt x="66" y="17"/>
                </a:cubicBezTo>
                <a:cubicBezTo>
                  <a:pt x="66" y="17"/>
                  <a:pt x="66" y="17"/>
                  <a:pt x="66" y="17"/>
                </a:cubicBezTo>
                <a:cubicBezTo>
                  <a:pt x="66" y="17"/>
                  <a:pt x="66" y="18"/>
                  <a:pt x="65" y="18"/>
                </a:cubicBezTo>
                <a:cubicBezTo>
                  <a:pt x="65" y="18"/>
                  <a:pt x="64" y="18"/>
                  <a:pt x="64" y="18"/>
                </a:cubicBezTo>
                <a:cubicBezTo>
                  <a:pt x="61" y="19"/>
                  <a:pt x="61" y="19"/>
                  <a:pt x="61" y="19"/>
                </a:cubicBezTo>
                <a:cubicBezTo>
                  <a:pt x="63" y="16"/>
                  <a:pt x="63" y="16"/>
                  <a:pt x="63" y="16"/>
                </a:cubicBezTo>
                <a:cubicBezTo>
                  <a:pt x="63" y="14"/>
                  <a:pt x="64" y="14"/>
                  <a:pt x="65" y="13"/>
                </a:cubicBezTo>
                <a:cubicBezTo>
                  <a:pt x="65" y="13"/>
                  <a:pt x="65" y="13"/>
                  <a:pt x="65" y="13"/>
                </a:cubicBezTo>
                <a:cubicBezTo>
                  <a:pt x="64" y="12"/>
                  <a:pt x="63" y="11"/>
                  <a:pt x="62" y="11"/>
                </a:cubicBezTo>
                <a:cubicBezTo>
                  <a:pt x="62" y="11"/>
                  <a:pt x="62" y="11"/>
                  <a:pt x="62" y="11"/>
                </a:cubicBezTo>
                <a:cubicBezTo>
                  <a:pt x="62" y="11"/>
                  <a:pt x="62" y="11"/>
                  <a:pt x="62" y="11"/>
                </a:cubicBezTo>
                <a:cubicBezTo>
                  <a:pt x="62" y="11"/>
                  <a:pt x="62" y="11"/>
                  <a:pt x="62" y="11"/>
                </a:cubicBezTo>
                <a:cubicBezTo>
                  <a:pt x="62" y="11"/>
                  <a:pt x="62" y="11"/>
                  <a:pt x="62" y="11"/>
                </a:cubicBezTo>
                <a:cubicBezTo>
                  <a:pt x="62" y="11"/>
                  <a:pt x="61" y="11"/>
                  <a:pt x="61" y="11"/>
                </a:cubicBezTo>
                <a:cubicBezTo>
                  <a:pt x="61" y="11"/>
                  <a:pt x="61" y="10"/>
                  <a:pt x="61" y="10"/>
                </a:cubicBezTo>
                <a:cubicBezTo>
                  <a:pt x="61" y="10"/>
                  <a:pt x="61" y="10"/>
                  <a:pt x="61" y="10"/>
                </a:cubicBezTo>
                <a:cubicBezTo>
                  <a:pt x="61" y="10"/>
                  <a:pt x="61" y="10"/>
                  <a:pt x="61" y="10"/>
                </a:cubicBezTo>
                <a:cubicBezTo>
                  <a:pt x="61" y="10"/>
                  <a:pt x="61" y="10"/>
                  <a:pt x="61" y="10"/>
                </a:cubicBezTo>
                <a:cubicBezTo>
                  <a:pt x="61" y="9"/>
                  <a:pt x="61" y="8"/>
                  <a:pt x="61" y="8"/>
                </a:cubicBezTo>
                <a:cubicBezTo>
                  <a:pt x="61" y="7"/>
                  <a:pt x="61" y="7"/>
                  <a:pt x="61" y="7"/>
                </a:cubicBezTo>
                <a:cubicBezTo>
                  <a:pt x="61" y="7"/>
                  <a:pt x="61" y="7"/>
                  <a:pt x="61" y="7"/>
                </a:cubicBezTo>
                <a:cubicBezTo>
                  <a:pt x="61" y="7"/>
                  <a:pt x="61" y="7"/>
                  <a:pt x="61" y="7"/>
                </a:cubicBezTo>
                <a:cubicBezTo>
                  <a:pt x="61" y="7"/>
                  <a:pt x="61" y="7"/>
                  <a:pt x="61" y="7"/>
                </a:cubicBezTo>
                <a:cubicBezTo>
                  <a:pt x="61" y="7"/>
                  <a:pt x="61" y="7"/>
                  <a:pt x="61" y="7"/>
                </a:cubicBezTo>
                <a:cubicBezTo>
                  <a:pt x="59" y="8"/>
                  <a:pt x="59" y="8"/>
                  <a:pt x="59" y="8"/>
                </a:cubicBezTo>
                <a:cubicBezTo>
                  <a:pt x="60" y="6"/>
                  <a:pt x="60" y="6"/>
                  <a:pt x="60" y="6"/>
                </a:cubicBezTo>
                <a:cubicBezTo>
                  <a:pt x="60" y="6"/>
                  <a:pt x="60" y="6"/>
                  <a:pt x="60" y="6"/>
                </a:cubicBezTo>
                <a:cubicBezTo>
                  <a:pt x="60" y="5"/>
                  <a:pt x="59" y="3"/>
                  <a:pt x="58" y="3"/>
                </a:cubicBezTo>
                <a:cubicBezTo>
                  <a:pt x="58" y="3"/>
                  <a:pt x="58" y="4"/>
                  <a:pt x="58" y="4"/>
                </a:cubicBezTo>
                <a:cubicBezTo>
                  <a:pt x="57" y="5"/>
                  <a:pt x="56" y="5"/>
                  <a:pt x="55" y="6"/>
                </a:cubicBezTo>
                <a:cubicBezTo>
                  <a:pt x="55" y="6"/>
                  <a:pt x="55" y="6"/>
                  <a:pt x="54" y="6"/>
                </a:cubicBezTo>
                <a:cubicBezTo>
                  <a:pt x="54" y="6"/>
                  <a:pt x="54" y="7"/>
                  <a:pt x="53" y="7"/>
                </a:cubicBezTo>
                <a:cubicBezTo>
                  <a:pt x="52" y="7"/>
                  <a:pt x="51" y="7"/>
                  <a:pt x="50" y="6"/>
                </a:cubicBezTo>
                <a:cubicBezTo>
                  <a:pt x="50" y="6"/>
                  <a:pt x="50" y="6"/>
                  <a:pt x="50" y="6"/>
                </a:cubicBezTo>
                <a:cubicBezTo>
                  <a:pt x="50" y="6"/>
                  <a:pt x="49" y="6"/>
                  <a:pt x="49" y="6"/>
                </a:cubicBezTo>
                <a:cubicBezTo>
                  <a:pt x="49" y="6"/>
                  <a:pt x="49" y="6"/>
                  <a:pt x="49" y="6"/>
                </a:cubicBezTo>
                <a:cubicBezTo>
                  <a:pt x="49" y="6"/>
                  <a:pt x="49" y="6"/>
                  <a:pt x="49" y="6"/>
                </a:cubicBezTo>
                <a:cubicBezTo>
                  <a:pt x="49" y="6"/>
                  <a:pt x="49" y="6"/>
                  <a:pt x="49" y="6"/>
                </a:cubicBezTo>
                <a:cubicBezTo>
                  <a:pt x="48" y="6"/>
                  <a:pt x="45" y="7"/>
                  <a:pt x="45" y="7"/>
                </a:cubicBezTo>
                <a:cubicBezTo>
                  <a:pt x="45" y="7"/>
                  <a:pt x="44" y="8"/>
                  <a:pt x="44" y="8"/>
                </a:cubicBezTo>
                <a:cubicBezTo>
                  <a:pt x="43" y="10"/>
                  <a:pt x="43" y="10"/>
                  <a:pt x="43" y="10"/>
                </a:cubicBezTo>
                <a:cubicBezTo>
                  <a:pt x="42" y="8"/>
                  <a:pt x="42" y="8"/>
                  <a:pt x="42" y="8"/>
                </a:cubicBezTo>
                <a:cubicBezTo>
                  <a:pt x="42" y="8"/>
                  <a:pt x="42" y="8"/>
                  <a:pt x="41" y="7"/>
                </a:cubicBezTo>
                <a:cubicBezTo>
                  <a:pt x="41" y="7"/>
                  <a:pt x="41" y="6"/>
                  <a:pt x="40" y="5"/>
                </a:cubicBezTo>
                <a:cubicBezTo>
                  <a:pt x="40" y="5"/>
                  <a:pt x="40" y="5"/>
                  <a:pt x="40" y="5"/>
                </a:cubicBezTo>
                <a:cubicBezTo>
                  <a:pt x="40" y="6"/>
                  <a:pt x="40" y="6"/>
                  <a:pt x="40" y="6"/>
                </a:cubicBezTo>
                <a:cubicBezTo>
                  <a:pt x="39" y="6"/>
                  <a:pt x="39" y="6"/>
                  <a:pt x="39" y="6"/>
                </a:cubicBezTo>
                <a:cubicBezTo>
                  <a:pt x="39" y="6"/>
                  <a:pt x="39" y="7"/>
                  <a:pt x="39" y="7"/>
                </a:cubicBezTo>
                <a:cubicBezTo>
                  <a:pt x="38" y="7"/>
                  <a:pt x="38" y="7"/>
                  <a:pt x="38" y="7"/>
                </a:cubicBezTo>
                <a:cubicBezTo>
                  <a:pt x="38" y="7"/>
                  <a:pt x="38" y="7"/>
                  <a:pt x="38" y="7"/>
                </a:cubicBezTo>
                <a:cubicBezTo>
                  <a:pt x="38" y="7"/>
                  <a:pt x="38" y="7"/>
                  <a:pt x="38" y="7"/>
                </a:cubicBezTo>
                <a:cubicBezTo>
                  <a:pt x="37" y="7"/>
                  <a:pt x="37" y="7"/>
                  <a:pt x="37" y="7"/>
                </a:cubicBezTo>
                <a:cubicBezTo>
                  <a:pt x="37" y="7"/>
                  <a:pt x="37" y="7"/>
                  <a:pt x="37" y="7"/>
                </a:cubicBezTo>
                <a:cubicBezTo>
                  <a:pt x="36" y="7"/>
                  <a:pt x="36" y="7"/>
                  <a:pt x="36" y="7"/>
                </a:cubicBezTo>
                <a:cubicBezTo>
                  <a:pt x="36" y="7"/>
                  <a:pt x="36" y="7"/>
                  <a:pt x="35" y="7"/>
                </a:cubicBezTo>
                <a:cubicBezTo>
                  <a:pt x="35" y="6"/>
                  <a:pt x="35" y="6"/>
                  <a:pt x="35" y="6"/>
                </a:cubicBezTo>
                <a:cubicBezTo>
                  <a:pt x="34" y="5"/>
                  <a:pt x="34" y="5"/>
                  <a:pt x="34" y="5"/>
                </a:cubicBezTo>
                <a:cubicBezTo>
                  <a:pt x="34" y="5"/>
                  <a:pt x="34" y="5"/>
                  <a:pt x="34" y="5"/>
                </a:cubicBezTo>
                <a:cubicBezTo>
                  <a:pt x="34" y="5"/>
                  <a:pt x="33" y="5"/>
                  <a:pt x="33" y="4"/>
                </a:cubicBezTo>
                <a:cubicBezTo>
                  <a:pt x="33" y="4"/>
                  <a:pt x="33" y="4"/>
                  <a:pt x="33" y="4"/>
                </a:cubicBezTo>
                <a:cubicBezTo>
                  <a:pt x="33" y="4"/>
                  <a:pt x="33" y="4"/>
                  <a:pt x="33" y="4"/>
                </a:cubicBezTo>
                <a:cubicBezTo>
                  <a:pt x="33" y="3"/>
                  <a:pt x="33" y="3"/>
                  <a:pt x="33" y="3"/>
                </a:cubicBezTo>
                <a:cubicBezTo>
                  <a:pt x="33" y="3"/>
                  <a:pt x="33" y="3"/>
                  <a:pt x="33" y="3"/>
                </a:cubicBezTo>
                <a:cubicBezTo>
                  <a:pt x="32" y="3"/>
                  <a:pt x="31" y="3"/>
                  <a:pt x="30" y="3"/>
                </a:cubicBezTo>
                <a:cubicBezTo>
                  <a:pt x="28" y="4"/>
                  <a:pt x="26" y="4"/>
                  <a:pt x="24" y="4"/>
                </a:cubicBezTo>
                <a:cubicBezTo>
                  <a:pt x="24" y="4"/>
                  <a:pt x="24" y="4"/>
                  <a:pt x="24" y="4"/>
                </a:cubicBezTo>
                <a:cubicBezTo>
                  <a:pt x="24" y="4"/>
                  <a:pt x="23" y="4"/>
                  <a:pt x="23" y="4"/>
                </a:cubicBezTo>
                <a:cubicBezTo>
                  <a:pt x="21" y="3"/>
                  <a:pt x="20" y="3"/>
                  <a:pt x="19" y="2"/>
                </a:cubicBezTo>
                <a:cubicBezTo>
                  <a:pt x="18" y="2"/>
                  <a:pt x="18" y="2"/>
                  <a:pt x="18" y="2"/>
                </a:cubicBezTo>
                <a:cubicBezTo>
                  <a:pt x="18" y="2"/>
                  <a:pt x="17" y="1"/>
                  <a:pt x="17" y="1"/>
                </a:cubicBezTo>
                <a:cubicBezTo>
                  <a:pt x="16" y="1"/>
                  <a:pt x="16" y="1"/>
                  <a:pt x="16" y="1"/>
                </a:cubicBezTo>
                <a:cubicBezTo>
                  <a:pt x="16" y="1"/>
                  <a:pt x="16" y="1"/>
                  <a:pt x="16" y="1"/>
                </a:cubicBezTo>
                <a:cubicBezTo>
                  <a:pt x="15" y="1"/>
                  <a:pt x="15" y="0"/>
                  <a:pt x="14" y="0"/>
                </a:cubicBezTo>
                <a:cubicBezTo>
                  <a:pt x="14" y="0"/>
                  <a:pt x="14" y="0"/>
                  <a:pt x="14" y="0"/>
                </a:cubicBezTo>
                <a:cubicBezTo>
                  <a:pt x="14" y="0"/>
                  <a:pt x="13" y="0"/>
                  <a:pt x="13" y="0"/>
                </a:cubicBezTo>
                <a:cubicBezTo>
                  <a:pt x="13" y="1"/>
                  <a:pt x="13" y="1"/>
                  <a:pt x="13" y="1"/>
                </a:cubicBezTo>
                <a:cubicBezTo>
                  <a:pt x="13" y="2"/>
                  <a:pt x="13" y="2"/>
                  <a:pt x="13" y="3"/>
                </a:cubicBezTo>
                <a:cubicBezTo>
                  <a:pt x="13" y="3"/>
                  <a:pt x="13" y="4"/>
                  <a:pt x="13" y="4"/>
                </a:cubicBezTo>
                <a:cubicBezTo>
                  <a:pt x="12" y="4"/>
                  <a:pt x="12" y="4"/>
                  <a:pt x="12" y="4"/>
                </a:cubicBezTo>
                <a:cubicBezTo>
                  <a:pt x="12" y="5"/>
                  <a:pt x="12" y="5"/>
                  <a:pt x="12" y="5"/>
                </a:cubicBezTo>
                <a:cubicBezTo>
                  <a:pt x="12" y="5"/>
                  <a:pt x="12" y="5"/>
                  <a:pt x="12" y="5"/>
                </a:cubicBezTo>
                <a:cubicBezTo>
                  <a:pt x="12" y="6"/>
                  <a:pt x="13" y="7"/>
                  <a:pt x="13" y="9"/>
                </a:cubicBezTo>
                <a:cubicBezTo>
                  <a:pt x="13" y="9"/>
                  <a:pt x="13" y="9"/>
                  <a:pt x="13" y="9"/>
                </a:cubicBezTo>
                <a:cubicBezTo>
                  <a:pt x="13" y="9"/>
                  <a:pt x="13" y="9"/>
                  <a:pt x="13" y="9"/>
                </a:cubicBezTo>
                <a:cubicBezTo>
                  <a:pt x="13" y="9"/>
                  <a:pt x="13" y="10"/>
                  <a:pt x="12" y="10"/>
                </a:cubicBezTo>
                <a:cubicBezTo>
                  <a:pt x="12" y="11"/>
                  <a:pt x="12" y="11"/>
                  <a:pt x="12" y="11"/>
                </a:cubicBezTo>
                <a:cubicBezTo>
                  <a:pt x="12" y="11"/>
                  <a:pt x="11" y="11"/>
                  <a:pt x="11" y="11"/>
                </a:cubicBezTo>
                <a:cubicBezTo>
                  <a:pt x="11" y="11"/>
                  <a:pt x="11" y="11"/>
                  <a:pt x="11" y="11"/>
                </a:cubicBezTo>
                <a:cubicBezTo>
                  <a:pt x="10" y="11"/>
                  <a:pt x="10" y="11"/>
                  <a:pt x="10" y="11"/>
                </a:cubicBezTo>
                <a:cubicBezTo>
                  <a:pt x="9" y="11"/>
                  <a:pt x="8" y="11"/>
                  <a:pt x="6" y="12"/>
                </a:cubicBezTo>
                <a:cubicBezTo>
                  <a:pt x="6" y="12"/>
                  <a:pt x="6" y="12"/>
                  <a:pt x="6" y="12"/>
                </a:cubicBezTo>
                <a:cubicBezTo>
                  <a:pt x="5" y="12"/>
                  <a:pt x="5" y="12"/>
                  <a:pt x="5" y="12"/>
                </a:cubicBezTo>
                <a:cubicBezTo>
                  <a:pt x="4" y="12"/>
                  <a:pt x="4" y="12"/>
                  <a:pt x="4" y="12"/>
                </a:cubicBezTo>
                <a:cubicBezTo>
                  <a:pt x="3" y="12"/>
                  <a:pt x="3" y="12"/>
                  <a:pt x="3" y="12"/>
                </a:cubicBezTo>
                <a:cubicBezTo>
                  <a:pt x="2" y="13"/>
                  <a:pt x="1" y="15"/>
                  <a:pt x="0" y="16"/>
                </a:cubicBezTo>
                <a:cubicBezTo>
                  <a:pt x="0" y="16"/>
                  <a:pt x="0" y="16"/>
                  <a:pt x="0" y="16"/>
                </a:cubicBezTo>
                <a:cubicBezTo>
                  <a:pt x="1" y="17"/>
                  <a:pt x="1" y="17"/>
                  <a:pt x="1" y="17"/>
                </a:cubicBezTo>
                <a:cubicBezTo>
                  <a:pt x="1" y="17"/>
                  <a:pt x="0" y="17"/>
                  <a:pt x="1" y="18"/>
                </a:cubicBezTo>
                <a:cubicBezTo>
                  <a:pt x="1" y="19"/>
                  <a:pt x="1" y="20"/>
                  <a:pt x="2" y="19"/>
                </a:cubicBezTo>
                <a:cubicBezTo>
                  <a:pt x="2" y="19"/>
                  <a:pt x="2" y="20"/>
                  <a:pt x="2" y="20"/>
                </a:cubicBezTo>
                <a:cubicBezTo>
                  <a:pt x="3" y="20"/>
                  <a:pt x="3" y="18"/>
                  <a:pt x="4" y="18"/>
                </a:cubicBezTo>
                <a:cubicBezTo>
                  <a:pt x="3" y="18"/>
                  <a:pt x="2" y="20"/>
                  <a:pt x="2" y="21"/>
                </a:cubicBezTo>
                <a:cubicBezTo>
                  <a:pt x="2" y="22"/>
                  <a:pt x="3" y="21"/>
                  <a:pt x="3" y="22"/>
                </a:cubicBezTo>
                <a:cubicBezTo>
                  <a:pt x="4" y="23"/>
                  <a:pt x="4" y="24"/>
                  <a:pt x="4" y="25"/>
                </a:cubicBezTo>
                <a:cubicBezTo>
                  <a:pt x="5" y="24"/>
                  <a:pt x="7" y="27"/>
                  <a:pt x="8" y="26"/>
                </a:cubicBezTo>
                <a:cubicBezTo>
                  <a:pt x="8" y="26"/>
                  <a:pt x="8" y="25"/>
                  <a:pt x="9" y="25"/>
                </a:cubicBezTo>
                <a:cubicBezTo>
                  <a:pt x="9" y="26"/>
                  <a:pt x="11" y="30"/>
                  <a:pt x="12" y="27"/>
                </a:cubicBezTo>
                <a:cubicBezTo>
                  <a:pt x="11" y="30"/>
                  <a:pt x="11" y="30"/>
                  <a:pt x="13" y="29"/>
                </a:cubicBezTo>
                <a:cubicBezTo>
                  <a:pt x="13" y="30"/>
                  <a:pt x="12" y="31"/>
                  <a:pt x="12" y="32"/>
                </a:cubicBezTo>
                <a:cubicBezTo>
                  <a:pt x="13" y="31"/>
                  <a:pt x="13" y="32"/>
                  <a:pt x="14" y="31"/>
                </a:cubicBezTo>
                <a:cubicBezTo>
                  <a:pt x="14" y="32"/>
                  <a:pt x="15" y="34"/>
                  <a:pt x="16" y="35"/>
                </a:cubicBezTo>
                <a:close/>
                <a:moveTo>
                  <a:pt x="1" y="17"/>
                </a:moveTo>
                <a:cubicBezTo>
                  <a:pt x="2" y="16"/>
                  <a:pt x="1" y="16"/>
                  <a:pt x="2" y="16"/>
                </a:cubicBezTo>
                <a:cubicBezTo>
                  <a:pt x="2" y="16"/>
                  <a:pt x="2" y="16"/>
                  <a:pt x="1" y="17"/>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86" name="Freeform 3043">
            <a:extLst>
              <a:ext uri="{FF2B5EF4-FFF2-40B4-BE49-F238E27FC236}">
                <a16:creationId xmlns:a16="http://schemas.microsoft.com/office/drawing/2014/main" id="{C3577D36-C34D-4931-B3A1-9E5871CED991}"/>
              </a:ext>
            </a:extLst>
          </p:cNvPr>
          <p:cNvSpPr>
            <a:spLocks/>
          </p:cNvSpPr>
          <p:nvPr/>
        </p:nvSpPr>
        <p:spPr bwMode="auto">
          <a:xfrm>
            <a:off x="3276067" y="3542516"/>
            <a:ext cx="91679" cy="77167"/>
          </a:xfrm>
          <a:custGeom>
            <a:avLst/>
            <a:gdLst>
              <a:gd name="T0" fmla="*/ 75 w 78"/>
              <a:gd name="T1" fmla="*/ 36 h 55"/>
              <a:gd name="T2" fmla="*/ 78 w 78"/>
              <a:gd name="T3" fmla="*/ 33 h 55"/>
              <a:gd name="T4" fmla="*/ 76 w 78"/>
              <a:gd name="T5" fmla="*/ 29 h 55"/>
              <a:gd name="T6" fmla="*/ 74 w 78"/>
              <a:gd name="T7" fmla="*/ 27 h 55"/>
              <a:gd name="T8" fmla="*/ 76 w 78"/>
              <a:gd name="T9" fmla="*/ 26 h 55"/>
              <a:gd name="T10" fmla="*/ 76 w 78"/>
              <a:gd name="T11" fmla="*/ 25 h 55"/>
              <a:gd name="T12" fmla="*/ 70 w 78"/>
              <a:gd name="T13" fmla="*/ 25 h 55"/>
              <a:gd name="T14" fmla="*/ 69 w 78"/>
              <a:gd name="T15" fmla="*/ 24 h 55"/>
              <a:gd name="T16" fmla="*/ 64 w 78"/>
              <a:gd name="T17" fmla="*/ 24 h 55"/>
              <a:gd name="T18" fmla="*/ 64 w 78"/>
              <a:gd name="T19" fmla="*/ 21 h 55"/>
              <a:gd name="T20" fmla="*/ 64 w 78"/>
              <a:gd name="T21" fmla="*/ 21 h 55"/>
              <a:gd name="T22" fmla="*/ 65 w 78"/>
              <a:gd name="T23" fmla="*/ 16 h 55"/>
              <a:gd name="T24" fmla="*/ 60 w 78"/>
              <a:gd name="T25" fmla="*/ 15 h 55"/>
              <a:gd name="T26" fmla="*/ 59 w 78"/>
              <a:gd name="T27" fmla="*/ 11 h 55"/>
              <a:gd name="T28" fmla="*/ 56 w 78"/>
              <a:gd name="T29" fmla="*/ 6 h 55"/>
              <a:gd name="T30" fmla="*/ 54 w 78"/>
              <a:gd name="T31" fmla="*/ 1 h 55"/>
              <a:gd name="T32" fmla="*/ 53 w 78"/>
              <a:gd name="T33" fmla="*/ 1 h 55"/>
              <a:gd name="T34" fmla="*/ 50 w 78"/>
              <a:gd name="T35" fmla="*/ 0 h 55"/>
              <a:gd name="T36" fmla="*/ 48 w 78"/>
              <a:gd name="T37" fmla="*/ 0 h 55"/>
              <a:gd name="T38" fmla="*/ 46 w 78"/>
              <a:gd name="T39" fmla="*/ 2 h 55"/>
              <a:gd name="T40" fmla="*/ 41 w 78"/>
              <a:gd name="T41" fmla="*/ 5 h 55"/>
              <a:gd name="T42" fmla="*/ 37 w 78"/>
              <a:gd name="T43" fmla="*/ 7 h 55"/>
              <a:gd name="T44" fmla="*/ 34 w 78"/>
              <a:gd name="T45" fmla="*/ 10 h 55"/>
              <a:gd name="T46" fmla="*/ 32 w 78"/>
              <a:gd name="T47" fmla="*/ 10 h 55"/>
              <a:gd name="T48" fmla="*/ 30 w 78"/>
              <a:gd name="T49" fmla="*/ 9 h 55"/>
              <a:gd name="T50" fmla="*/ 26 w 78"/>
              <a:gd name="T51" fmla="*/ 14 h 55"/>
              <a:gd name="T52" fmla="*/ 23 w 78"/>
              <a:gd name="T53" fmla="*/ 15 h 55"/>
              <a:gd name="T54" fmla="*/ 23 w 78"/>
              <a:gd name="T55" fmla="*/ 17 h 55"/>
              <a:gd name="T56" fmla="*/ 22 w 78"/>
              <a:gd name="T57" fmla="*/ 19 h 55"/>
              <a:gd name="T58" fmla="*/ 21 w 78"/>
              <a:gd name="T59" fmla="*/ 20 h 55"/>
              <a:gd name="T60" fmla="*/ 19 w 78"/>
              <a:gd name="T61" fmla="*/ 20 h 55"/>
              <a:gd name="T62" fmla="*/ 18 w 78"/>
              <a:gd name="T63" fmla="*/ 20 h 55"/>
              <a:gd name="T64" fmla="*/ 13 w 78"/>
              <a:gd name="T65" fmla="*/ 20 h 55"/>
              <a:gd name="T66" fmla="*/ 11 w 78"/>
              <a:gd name="T67" fmla="*/ 25 h 55"/>
              <a:gd name="T68" fmla="*/ 11 w 78"/>
              <a:gd name="T69" fmla="*/ 28 h 55"/>
              <a:gd name="T70" fmla="*/ 10 w 78"/>
              <a:gd name="T71" fmla="*/ 30 h 55"/>
              <a:gd name="T72" fmla="*/ 4 w 78"/>
              <a:gd name="T73" fmla="*/ 33 h 55"/>
              <a:gd name="T74" fmla="*/ 2 w 78"/>
              <a:gd name="T75" fmla="*/ 33 h 55"/>
              <a:gd name="T76" fmla="*/ 0 w 78"/>
              <a:gd name="T77" fmla="*/ 42 h 55"/>
              <a:gd name="T78" fmla="*/ 0 w 78"/>
              <a:gd name="T79" fmla="*/ 46 h 55"/>
              <a:gd name="T80" fmla="*/ 2 w 78"/>
              <a:gd name="T81" fmla="*/ 47 h 55"/>
              <a:gd name="T82" fmla="*/ 4 w 78"/>
              <a:gd name="T83" fmla="*/ 50 h 55"/>
              <a:gd name="T84" fmla="*/ 7 w 78"/>
              <a:gd name="T85" fmla="*/ 54 h 55"/>
              <a:gd name="T86" fmla="*/ 14 w 78"/>
              <a:gd name="T87" fmla="*/ 52 h 55"/>
              <a:gd name="T88" fmla="*/ 20 w 78"/>
              <a:gd name="T89" fmla="*/ 51 h 55"/>
              <a:gd name="T90" fmla="*/ 21 w 78"/>
              <a:gd name="T91" fmla="*/ 51 h 55"/>
              <a:gd name="T92" fmla="*/ 25 w 78"/>
              <a:gd name="T93" fmla="*/ 54 h 55"/>
              <a:gd name="T94" fmla="*/ 24 w 78"/>
              <a:gd name="T95" fmla="*/ 46 h 55"/>
              <a:gd name="T96" fmla="*/ 25 w 78"/>
              <a:gd name="T97" fmla="*/ 39 h 55"/>
              <a:gd name="T98" fmla="*/ 32 w 78"/>
              <a:gd name="T99" fmla="*/ 41 h 55"/>
              <a:gd name="T100" fmla="*/ 42 w 78"/>
              <a:gd name="T101" fmla="*/ 40 h 55"/>
              <a:gd name="T102" fmla="*/ 47 w 78"/>
              <a:gd name="T103" fmla="*/ 40 h 55"/>
              <a:gd name="T104" fmla="*/ 48 w 78"/>
              <a:gd name="T105" fmla="*/ 40 h 55"/>
              <a:gd name="T106" fmla="*/ 49 w 78"/>
              <a:gd name="T107" fmla="*/ 40 h 55"/>
              <a:gd name="T108" fmla="*/ 51 w 78"/>
              <a:gd name="T109" fmla="*/ 39 h 55"/>
              <a:gd name="T110" fmla="*/ 52 w 78"/>
              <a:gd name="T111" fmla="*/ 39 h 55"/>
              <a:gd name="T112" fmla="*/ 54 w 78"/>
              <a:gd name="T113" fmla="*/ 39 h 55"/>
              <a:gd name="T114" fmla="*/ 62 w 78"/>
              <a:gd name="T115" fmla="*/ 40 h 55"/>
              <a:gd name="T116" fmla="*/ 65 w 78"/>
              <a:gd name="T117" fmla="*/ 40 h 55"/>
              <a:gd name="T118" fmla="*/ 69 w 78"/>
              <a:gd name="T119" fmla="*/ 36 h 55"/>
              <a:gd name="T120" fmla="*/ 74 w 78"/>
              <a:gd name="T121" fmla="*/ 3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 h="55">
                <a:moveTo>
                  <a:pt x="75" y="36"/>
                </a:moveTo>
                <a:cubicBezTo>
                  <a:pt x="75" y="36"/>
                  <a:pt x="75" y="36"/>
                  <a:pt x="75" y="36"/>
                </a:cubicBezTo>
                <a:cubicBezTo>
                  <a:pt x="75" y="36"/>
                  <a:pt x="75" y="36"/>
                  <a:pt x="75" y="36"/>
                </a:cubicBezTo>
                <a:cubicBezTo>
                  <a:pt x="76" y="36"/>
                  <a:pt x="76" y="35"/>
                  <a:pt x="77" y="35"/>
                </a:cubicBezTo>
                <a:cubicBezTo>
                  <a:pt x="77" y="34"/>
                  <a:pt x="78" y="34"/>
                  <a:pt x="78" y="33"/>
                </a:cubicBezTo>
                <a:cubicBezTo>
                  <a:pt x="78" y="33"/>
                  <a:pt x="78" y="33"/>
                  <a:pt x="78" y="33"/>
                </a:cubicBezTo>
                <a:cubicBezTo>
                  <a:pt x="78" y="32"/>
                  <a:pt x="77" y="32"/>
                  <a:pt x="77" y="31"/>
                </a:cubicBezTo>
                <a:cubicBezTo>
                  <a:pt x="77" y="31"/>
                  <a:pt x="77" y="31"/>
                  <a:pt x="77" y="31"/>
                </a:cubicBezTo>
                <a:cubicBezTo>
                  <a:pt x="76" y="30"/>
                  <a:pt x="76" y="30"/>
                  <a:pt x="76" y="29"/>
                </a:cubicBezTo>
                <a:cubicBezTo>
                  <a:pt x="76" y="29"/>
                  <a:pt x="76" y="29"/>
                  <a:pt x="76" y="29"/>
                </a:cubicBezTo>
                <a:cubicBezTo>
                  <a:pt x="75" y="29"/>
                  <a:pt x="75" y="29"/>
                  <a:pt x="75" y="28"/>
                </a:cubicBezTo>
                <a:cubicBezTo>
                  <a:pt x="74" y="27"/>
                  <a:pt x="74" y="27"/>
                  <a:pt x="74" y="27"/>
                </a:cubicBezTo>
                <a:cubicBezTo>
                  <a:pt x="75" y="27"/>
                  <a:pt x="75" y="27"/>
                  <a:pt x="75" y="27"/>
                </a:cubicBezTo>
                <a:cubicBezTo>
                  <a:pt x="75" y="26"/>
                  <a:pt x="76" y="26"/>
                  <a:pt x="76" y="26"/>
                </a:cubicBezTo>
                <a:cubicBezTo>
                  <a:pt x="76" y="26"/>
                  <a:pt x="76" y="26"/>
                  <a:pt x="76" y="26"/>
                </a:cubicBezTo>
                <a:cubicBezTo>
                  <a:pt x="76" y="26"/>
                  <a:pt x="76" y="26"/>
                  <a:pt x="76" y="26"/>
                </a:cubicBezTo>
                <a:cubicBezTo>
                  <a:pt x="76" y="26"/>
                  <a:pt x="76" y="26"/>
                  <a:pt x="76" y="26"/>
                </a:cubicBezTo>
                <a:cubicBezTo>
                  <a:pt x="76" y="25"/>
                  <a:pt x="76" y="25"/>
                  <a:pt x="76" y="25"/>
                </a:cubicBezTo>
                <a:cubicBezTo>
                  <a:pt x="76" y="26"/>
                  <a:pt x="75" y="26"/>
                  <a:pt x="74" y="26"/>
                </a:cubicBezTo>
                <a:cubicBezTo>
                  <a:pt x="73" y="26"/>
                  <a:pt x="73" y="26"/>
                  <a:pt x="73" y="26"/>
                </a:cubicBezTo>
                <a:cubicBezTo>
                  <a:pt x="72" y="26"/>
                  <a:pt x="71" y="26"/>
                  <a:pt x="70" y="25"/>
                </a:cubicBezTo>
                <a:cubicBezTo>
                  <a:pt x="70" y="25"/>
                  <a:pt x="70" y="25"/>
                  <a:pt x="69" y="25"/>
                </a:cubicBezTo>
                <a:cubicBezTo>
                  <a:pt x="69" y="24"/>
                  <a:pt x="69" y="24"/>
                  <a:pt x="69" y="24"/>
                </a:cubicBezTo>
                <a:cubicBezTo>
                  <a:pt x="69" y="24"/>
                  <a:pt x="69" y="24"/>
                  <a:pt x="69" y="24"/>
                </a:cubicBezTo>
                <a:cubicBezTo>
                  <a:pt x="68" y="24"/>
                  <a:pt x="67" y="23"/>
                  <a:pt x="66" y="23"/>
                </a:cubicBezTo>
                <a:cubicBezTo>
                  <a:pt x="66" y="22"/>
                  <a:pt x="65" y="22"/>
                  <a:pt x="65" y="22"/>
                </a:cubicBezTo>
                <a:cubicBezTo>
                  <a:pt x="64" y="24"/>
                  <a:pt x="64" y="24"/>
                  <a:pt x="64" y="24"/>
                </a:cubicBezTo>
                <a:cubicBezTo>
                  <a:pt x="65" y="22"/>
                  <a:pt x="65" y="22"/>
                  <a:pt x="65" y="22"/>
                </a:cubicBezTo>
                <a:cubicBezTo>
                  <a:pt x="65" y="22"/>
                  <a:pt x="65" y="22"/>
                  <a:pt x="65" y="22"/>
                </a:cubicBezTo>
                <a:cubicBezTo>
                  <a:pt x="65" y="22"/>
                  <a:pt x="64" y="21"/>
                  <a:pt x="64" y="21"/>
                </a:cubicBezTo>
                <a:cubicBezTo>
                  <a:pt x="63" y="22"/>
                  <a:pt x="63" y="22"/>
                  <a:pt x="63" y="22"/>
                </a:cubicBezTo>
                <a:cubicBezTo>
                  <a:pt x="64" y="21"/>
                  <a:pt x="64" y="21"/>
                  <a:pt x="64" y="21"/>
                </a:cubicBezTo>
                <a:cubicBezTo>
                  <a:pt x="64" y="21"/>
                  <a:pt x="64" y="21"/>
                  <a:pt x="64" y="21"/>
                </a:cubicBezTo>
                <a:cubicBezTo>
                  <a:pt x="64" y="21"/>
                  <a:pt x="64" y="20"/>
                  <a:pt x="64" y="20"/>
                </a:cubicBezTo>
                <a:cubicBezTo>
                  <a:pt x="64" y="20"/>
                  <a:pt x="64" y="19"/>
                  <a:pt x="64" y="18"/>
                </a:cubicBezTo>
                <a:cubicBezTo>
                  <a:pt x="64" y="17"/>
                  <a:pt x="64" y="17"/>
                  <a:pt x="65" y="16"/>
                </a:cubicBezTo>
                <a:cubicBezTo>
                  <a:pt x="64" y="16"/>
                  <a:pt x="64" y="16"/>
                  <a:pt x="63" y="16"/>
                </a:cubicBezTo>
                <a:cubicBezTo>
                  <a:pt x="63" y="15"/>
                  <a:pt x="63" y="15"/>
                  <a:pt x="63" y="15"/>
                </a:cubicBezTo>
                <a:cubicBezTo>
                  <a:pt x="62" y="15"/>
                  <a:pt x="61" y="15"/>
                  <a:pt x="60" y="15"/>
                </a:cubicBezTo>
                <a:cubicBezTo>
                  <a:pt x="60" y="14"/>
                  <a:pt x="60" y="14"/>
                  <a:pt x="60" y="14"/>
                </a:cubicBezTo>
                <a:cubicBezTo>
                  <a:pt x="60" y="14"/>
                  <a:pt x="60" y="14"/>
                  <a:pt x="60" y="14"/>
                </a:cubicBezTo>
                <a:cubicBezTo>
                  <a:pt x="59" y="13"/>
                  <a:pt x="59" y="12"/>
                  <a:pt x="59" y="11"/>
                </a:cubicBezTo>
                <a:cubicBezTo>
                  <a:pt x="59" y="11"/>
                  <a:pt x="58" y="10"/>
                  <a:pt x="58" y="9"/>
                </a:cubicBezTo>
                <a:cubicBezTo>
                  <a:pt x="58" y="9"/>
                  <a:pt x="58" y="9"/>
                  <a:pt x="57" y="8"/>
                </a:cubicBezTo>
                <a:cubicBezTo>
                  <a:pt x="57" y="7"/>
                  <a:pt x="56" y="7"/>
                  <a:pt x="56" y="6"/>
                </a:cubicBezTo>
                <a:cubicBezTo>
                  <a:pt x="56" y="2"/>
                  <a:pt x="56" y="2"/>
                  <a:pt x="56" y="2"/>
                </a:cubicBezTo>
                <a:cubicBezTo>
                  <a:pt x="55" y="1"/>
                  <a:pt x="55" y="1"/>
                  <a:pt x="55" y="1"/>
                </a:cubicBezTo>
                <a:cubicBezTo>
                  <a:pt x="54" y="1"/>
                  <a:pt x="54" y="1"/>
                  <a:pt x="54" y="1"/>
                </a:cubicBezTo>
                <a:cubicBezTo>
                  <a:pt x="54" y="1"/>
                  <a:pt x="54" y="1"/>
                  <a:pt x="54" y="1"/>
                </a:cubicBezTo>
                <a:cubicBezTo>
                  <a:pt x="54" y="1"/>
                  <a:pt x="54" y="1"/>
                  <a:pt x="54" y="1"/>
                </a:cubicBezTo>
                <a:cubicBezTo>
                  <a:pt x="53" y="1"/>
                  <a:pt x="53" y="1"/>
                  <a:pt x="53" y="1"/>
                </a:cubicBezTo>
                <a:cubicBezTo>
                  <a:pt x="52" y="1"/>
                  <a:pt x="52" y="1"/>
                  <a:pt x="52" y="1"/>
                </a:cubicBezTo>
                <a:cubicBezTo>
                  <a:pt x="51" y="1"/>
                  <a:pt x="51" y="1"/>
                  <a:pt x="51" y="1"/>
                </a:cubicBezTo>
                <a:cubicBezTo>
                  <a:pt x="51" y="1"/>
                  <a:pt x="50" y="0"/>
                  <a:pt x="50" y="0"/>
                </a:cubicBezTo>
                <a:cubicBezTo>
                  <a:pt x="50" y="0"/>
                  <a:pt x="50" y="0"/>
                  <a:pt x="50" y="0"/>
                </a:cubicBezTo>
                <a:cubicBezTo>
                  <a:pt x="50" y="0"/>
                  <a:pt x="50" y="0"/>
                  <a:pt x="50" y="0"/>
                </a:cubicBezTo>
                <a:cubicBezTo>
                  <a:pt x="49" y="0"/>
                  <a:pt x="48" y="0"/>
                  <a:pt x="48" y="0"/>
                </a:cubicBezTo>
                <a:cubicBezTo>
                  <a:pt x="47" y="1"/>
                  <a:pt x="47" y="1"/>
                  <a:pt x="47" y="1"/>
                </a:cubicBezTo>
                <a:cubicBezTo>
                  <a:pt x="47" y="1"/>
                  <a:pt x="47" y="1"/>
                  <a:pt x="47" y="2"/>
                </a:cubicBezTo>
                <a:cubicBezTo>
                  <a:pt x="46" y="2"/>
                  <a:pt x="46" y="2"/>
                  <a:pt x="46" y="2"/>
                </a:cubicBezTo>
                <a:cubicBezTo>
                  <a:pt x="46" y="3"/>
                  <a:pt x="45" y="3"/>
                  <a:pt x="44" y="3"/>
                </a:cubicBezTo>
                <a:cubicBezTo>
                  <a:pt x="43" y="4"/>
                  <a:pt x="42" y="5"/>
                  <a:pt x="41" y="5"/>
                </a:cubicBezTo>
                <a:cubicBezTo>
                  <a:pt x="41" y="5"/>
                  <a:pt x="41" y="5"/>
                  <a:pt x="41" y="5"/>
                </a:cubicBezTo>
                <a:cubicBezTo>
                  <a:pt x="40" y="5"/>
                  <a:pt x="40" y="5"/>
                  <a:pt x="39" y="6"/>
                </a:cubicBezTo>
                <a:cubicBezTo>
                  <a:pt x="39" y="6"/>
                  <a:pt x="39" y="6"/>
                  <a:pt x="39" y="6"/>
                </a:cubicBezTo>
                <a:cubicBezTo>
                  <a:pt x="38" y="6"/>
                  <a:pt x="38" y="7"/>
                  <a:pt x="37" y="7"/>
                </a:cubicBezTo>
                <a:cubicBezTo>
                  <a:pt x="36" y="7"/>
                  <a:pt x="36" y="7"/>
                  <a:pt x="36" y="8"/>
                </a:cubicBezTo>
                <a:cubicBezTo>
                  <a:pt x="36" y="8"/>
                  <a:pt x="35" y="8"/>
                  <a:pt x="35" y="9"/>
                </a:cubicBezTo>
                <a:cubicBezTo>
                  <a:pt x="35" y="9"/>
                  <a:pt x="35" y="9"/>
                  <a:pt x="34" y="10"/>
                </a:cubicBezTo>
                <a:cubicBezTo>
                  <a:pt x="34" y="10"/>
                  <a:pt x="34" y="10"/>
                  <a:pt x="33" y="10"/>
                </a:cubicBezTo>
                <a:cubicBezTo>
                  <a:pt x="33" y="10"/>
                  <a:pt x="33" y="10"/>
                  <a:pt x="33" y="10"/>
                </a:cubicBezTo>
                <a:cubicBezTo>
                  <a:pt x="32" y="10"/>
                  <a:pt x="32" y="10"/>
                  <a:pt x="32" y="10"/>
                </a:cubicBezTo>
                <a:cubicBezTo>
                  <a:pt x="32" y="10"/>
                  <a:pt x="32" y="9"/>
                  <a:pt x="32" y="9"/>
                </a:cubicBezTo>
                <a:cubicBezTo>
                  <a:pt x="31" y="9"/>
                  <a:pt x="31" y="9"/>
                  <a:pt x="31" y="9"/>
                </a:cubicBezTo>
                <a:cubicBezTo>
                  <a:pt x="31" y="9"/>
                  <a:pt x="30" y="9"/>
                  <a:pt x="30" y="9"/>
                </a:cubicBezTo>
                <a:cubicBezTo>
                  <a:pt x="29" y="9"/>
                  <a:pt x="28" y="11"/>
                  <a:pt x="27" y="12"/>
                </a:cubicBezTo>
                <a:cubicBezTo>
                  <a:pt x="26" y="13"/>
                  <a:pt x="26" y="13"/>
                  <a:pt x="26" y="13"/>
                </a:cubicBezTo>
                <a:cubicBezTo>
                  <a:pt x="26" y="14"/>
                  <a:pt x="26" y="14"/>
                  <a:pt x="26" y="14"/>
                </a:cubicBezTo>
                <a:cubicBezTo>
                  <a:pt x="26" y="15"/>
                  <a:pt x="25" y="15"/>
                  <a:pt x="24" y="15"/>
                </a:cubicBezTo>
                <a:cubicBezTo>
                  <a:pt x="24" y="15"/>
                  <a:pt x="24" y="15"/>
                  <a:pt x="24" y="15"/>
                </a:cubicBezTo>
                <a:cubicBezTo>
                  <a:pt x="23" y="15"/>
                  <a:pt x="23" y="15"/>
                  <a:pt x="23" y="15"/>
                </a:cubicBezTo>
                <a:cubicBezTo>
                  <a:pt x="23" y="15"/>
                  <a:pt x="23" y="15"/>
                  <a:pt x="23" y="15"/>
                </a:cubicBezTo>
                <a:cubicBezTo>
                  <a:pt x="23" y="16"/>
                  <a:pt x="23" y="16"/>
                  <a:pt x="23" y="16"/>
                </a:cubicBezTo>
                <a:cubicBezTo>
                  <a:pt x="23" y="17"/>
                  <a:pt x="23" y="17"/>
                  <a:pt x="23" y="17"/>
                </a:cubicBezTo>
                <a:cubicBezTo>
                  <a:pt x="23" y="17"/>
                  <a:pt x="23" y="17"/>
                  <a:pt x="23" y="18"/>
                </a:cubicBezTo>
                <a:cubicBezTo>
                  <a:pt x="23" y="19"/>
                  <a:pt x="23" y="19"/>
                  <a:pt x="23" y="19"/>
                </a:cubicBezTo>
                <a:cubicBezTo>
                  <a:pt x="22" y="19"/>
                  <a:pt x="22" y="19"/>
                  <a:pt x="22" y="19"/>
                </a:cubicBezTo>
                <a:cubicBezTo>
                  <a:pt x="22" y="19"/>
                  <a:pt x="22" y="19"/>
                  <a:pt x="22" y="19"/>
                </a:cubicBezTo>
                <a:cubicBezTo>
                  <a:pt x="21" y="19"/>
                  <a:pt x="21" y="19"/>
                  <a:pt x="21" y="20"/>
                </a:cubicBezTo>
                <a:cubicBezTo>
                  <a:pt x="21" y="20"/>
                  <a:pt x="21" y="20"/>
                  <a:pt x="21" y="20"/>
                </a:cubicBezTo>
                <a:cubicBezTo>
                  <a:pt x="21" y="20"/>
                  <a:pt x="21" y="20"/>
                  <a:pt x="21" y="20"/>
                </a:cubicBezTo>
                <a:cubicBezTo>
                  <a:pt x="21" y="20"/>
                  <a:pt x="21" y="20"/>
                  <a:pt x="21" y="20"/>
                </a:cubicBezTo>
                <a:cubicBezTo>
                  <a:pt x="20" y="20"/>
                  <a:pt x="20" y="20"/>
                  <a:pt x="19" y="20"/>
                </a:cubicBezTo>
                <a:cubicBezTo>
                  <a:pt x="19" y="20"/>
                  <a:pt x="19" y="20"/>
                  <a:pt x="19" y="20"/>
                </a:cubicBezTo>
                <a:cubicBezTo>
                  <a:pt x="18" y="20"/>
                  <a:pt x="18" y="20"/>
                  <a:pt x="18" y="20"/>
                </a:cubicBezTo>
                <a:cubicBezTo>
                  <a:pt x="18" y="20"/>
                  <a:pt x="18" y="20"/>
                  <a:pt x="18" y="20"/>
                </a:cubicBezTo>
                <a:cubicBezTo>
                  <a:pt x="16" y="19"/>
                  <a:pt x="15" y="18"/>
                  <a:pt x="15" y="17"/>
                </a:cubicBezTo>
                <a:cubicBezTo>
                  <a:pt x="15" y="18"/>
                  <a:pt x="15" y="18"/>
                  <a:pt x="15" y="18"/>
                </a:cubicBezTo>
                <a:cubicBezTo>
                  <a:pt x="14" y="18"/>
                  <a:pt x="13" y="19"/>
                  <a:pt x="13" y="20"/>
                </a:cubicBezTo>
                <a:cubicBezTo>
                  <a:pt x="13" y="21"/>
                  <a:pt x="13" y="21"/>
                  <a:pt x="13" y="22"/>
                </a:cubicBezTo>
                <a:cubicBezTo>
                  <a:pt x="13" y="23"/>
                  <a:pt x="13" y="23"/>
                  <a:pt x="13" y="23"/>
                </a:cubicBezTo>
                <a:cubicBezTo>
                  <a:pt x="13" y="23"/>
                  <a:pt x="13" y="25"/>
                  <a:pt x="11" y="25"/>
                </a:cubicBezTo>
                <a:cubicBezTo>
                  <a:pt x="11" y="25"/>
                  <a:pt x="11" y="25"/>
                  <a:pt x="11" y="25"/>
                </a:cubicBezTo>
                <a:cubicBezTo>
                  <a:pt x="11" y="26"/>
                  <a:pt x="11" y="27"/>
                  <a:pt x="11" y="27"/>
                </a:cubicBezTo>
                <a:cubicBezTo>
                  <a:pt x="11" y="28"/>
                  <a:pt x="11" y="28"/>
                  <a:pt x="11" y="28"/>
                </a:cubicBezTo>
                <a:cubicBezTo>
                  <a:pt x="11" y="28"/>
                  <a:pt x="11" y="29"/>
                  <a:pt x="11" y="29"/>
                </a:cubicBezTo>
                <a:cubicBezTo>
                  <a:pt x="11" y="29"/>
                  <a:pt x="11" y="29"/>
                  <a:pt x="10" y="29"/>
                </a:cubicBezTo>
                <a:cubicBezTo>
                  <a:pt x="10" y="30"/>
                  <a:pt x="10" y="30"/>
                  <a:pt x="10" y="30"/>
                </a:cubicBezTo>
                <a:cubicBezTo>
                  <a:pt x="9" y="30"/>
                  <a:pt x="9" y="31"/>
                  <a:pt x="7" y="32"/>
                </a:cubicBezTo>
                <a:cubicBezTo>
                  <a:pt x="7" y="32"/>
                  <a:pt x="6" y="32"/>
                  <a:pt x="5" y="32"/>
                </a:cubicBezTo>
                <a:cubicBezTo>
                  <a:pt x="5" y="32"/>
                  <a:pt x="5" y="33"/>
                  <a:pt x="4" y="33"/>
                </a:cubicBezTo>
                <a:cubicBezTo>
                  <a:pt x="4" y="33"/>
                  <a:pt x="3" y="33"/>
                  <a:pt x="3" y="33"/>
                </a:cubicBezTo>
                <a:cubicBezTo>
                  <a:pt x="2" y="33"/>
                  <a:pt x="2" y="33"/>
                  <a:pt x="2" y="33"/>
                </a:cubicBezTo>
                <a:cubicBezTo>
                  <a:pt x="2" y="33"/>
                  <a:pt x="2" y="33"/>
                  <a:pt x="2" y="33"/>
                </a:cubicBezTo>
                <a:cubicBezTo>
                  <a:pt x="3" y="35"/>
                  <a:pt x="3" y="36"/>
                  <a:pt x="3" y="38"/>
                </a:cubicBezTo>
                <a:cubicBezTo>
                  <a:pt x="3" y="39"/>
                  <a:pt x="3" y="39"/>
                  <a:pt x="3" y="39"/>
                </a:cubicBezTo>
                <a:cubicBezTo>
                  <a:pt x="2" y="40"/>
                  <a:pt x="2" y="41"/>
                  <a:pt x="0" y="42"/>
                </a:cubicBezTo>
                <a:cubicBezTo>
                  <a:pt x="0" y="42"/>
                  <a:pt x="0" y="42"/>
                  <a:pt x="0" y="43"/>
                </a:cubicBezTo>
                <a:cubicBezTo>
                  <a:pt x="0" y="44"/>
                  <a:pt x="0" y="44"/>
                  <a:pt x="0" y="45"/>
                </a:cubicBezTo>
                <a:cubicBezTo>
                  <a:pt x="0" y="45"/>
                  <a:pt x="0" y="45"/>
                  <a:pt x="0" y="46"/>
                </a:cubicBezTo>
                <a:cubicBezTo>
                  <a:pt x="0" y="47"/>
                  <a:pt x="0" y="47"/>
                  <a:pt x="0" y="47"/>
                </a:cubicBezTo>
                <a:cubicBezTo>
                  <a:pt x="0" y="47"/>
                  <a:pt x="0" y="47"/>
                  <a:pt x="1" y="47"/>
                </a:cubicBezTo>
                <a:cubicBezTo>
                  <a:pt x="1" y="47"/>
                  <a:pt x="1" y="47"/>
                  <a:pt x="2" y="47"/>
                </a:cubicBezTo>
                <a:cubicBezTo>
                  <a:pt x="2" y="47"/>
                  <a:pt x="2" y="48"/>
                  <a:pt x="2" y="48"/>
                </a:cubicBezTo>
                <a:cubicBezTo>
                  <a:pt x="3" y="48"/>
                  <a:pt x="3" y="48"/>
                  <a:pt x="4" y="48"/>
                </a:cubicBezTo>
                <a:cubicBezTo>
                  <a:pt x="4" y="49"/>
                  <a:pt x="4" y="49"/>
                  <a:pt x="4" y="50"/>
                </a:cubicBezTo>
                <a:cubicBezTo>
                  <a:pt x="5" y="51"/>
                  <a:pt x="5" y="51"/>
                  <a:pt x="5" y="51"/>
                </a:cubicBezTo>
                <a:cubicBezTo>
                  <a:pt x="5" y="52"/>
                  <a:pt x="6" y="53"/>
                  <a:pt x="7" y="53"/>
                </a:cubicBezTo>
                <a:cubicBezTo>
                  <a:pt x="7" y="53"/>
                  <a:pt x="7" y="53"/>
                  <a:pt x="7" y="54"/>
                </a:cubicBezTo>
                <a:cubicBezTo>
                  <a:pt x="8" y="54"/>
                  <a:pt x="8" y="54"/>
                  <a:pt x="8" y="54"/>
                </a:cubicBezTo>
                <a:cubicBezTo>
                  <a:pt x="9" y="54"/>
                  <a:pt x="10" y="54"/>
                  <a:pt x="10" y="55"/>
                </a:cubicBezTo>
                <a:cubicBezTo>
                  <a:pt x="11" y="53"/>
                  <a:pt x="13" y="52"/>
                  <a:pt x="14" y="52"/>
                </a:cubicBezTo>
                <a:cubicBezTo>
                  <a:pt x="15" y="52"/>
                  <a:pt x="15" y="52"/>
                  <a:pt x="16" y="51"/>
                </a:cubicBezTo>
                <a:cubicBezTo>
                  <a:pt x="17" y="51"/>
                  <a:pt x="18" y="51"/>
                  <a:pt x="19" y="51"/>
                </a:cubicBezTo>
                <a:cubicBezTo>
                  <a:pt x="19" y="51"/>
                  <a:pt x="19" y="51"/>
                  <a:pt x="20" y="51"/>
                </a:cubicBezTo>
                <a:cubicBezTo>
                  <a:pt x="20" y="51"/>
                  <a:pt x="20" y="51"/>
                  <a:pt x="20" y="51"/>
                </a:cubicBezTo>
                <a:cubicBezTo>
                  <a:pt x="20" y="51"/>
                  <a:pt x="20" y="51"/>
                  <a:pt x="20" y="51"/>
                </a:cubicBezTo>
                <a:cubicBezTo>
                  <a:pt x="21" y="51"/>
                  <a:pt x="21" y="51"/>
                  <a:pt x="21" y="51"/>
                </a:cubicBezTo>
                <a:cubicBezTo>
                  <a:pt x="23" y="52"/>
                  <a:pt x="23" y="52"/>
                  <a:pt x="24" y="53"/>
                </a:cubicBezTo>
                <a:cubicBezTo>
                  <a:pt x="24" y="53"/>
                  <a:pt x="24" y="53"/>
                  <a:pt x="24" y="54"/>
                </a:cubicBezTo>
                <a:cubicBezTo>
                  <a:pt x="25" y="54"/>
                  <a:pt x="25" y="54"/>
                  <a:pt x="25" y="54"/>
                </a:cubicBezTo>
                <a:cubicBezTo>
                  <a:pt x="25" y="54"/>
                  <a:pt x="25" y="54"/>
                  <a:pt x="25" y="53"/>
                </a:cubicBezTo>
                <a:cubicBezTo>
                  <a:pt x="25" y="51"/>
                  <a:pt x="24" y="48"/>
                  <a:pt x="24" y="46"/>
                </a:cubicBezTo>
                <a:cubicBezTo>
                  <a:pt x="24" y="46"/>
                  <a:pt x="24" y="46"/>
                  <a:pt x="24" y="46"/>
                </a:cubicBezTo>
                <a:cubicBezTo>
                  <a:pt x="23" y="44"/>
                  <a:pt x="24" y="43"/>
                  <a:pt x="24" y="42"/>
                </a:cubicBezTo>
                <a:cubicBezTo>
                  <a:pt x="25" y="42"/>
                  <a:pt x="25" y="42"/>
                  <a:pt x="25" y="42"/>
                </a:cubicBezTo>
                <a:cubicBezTo>
                  <a:pt x="25" y="39"/>
                  <a:pt x="25" y="39"/>
                  <a:pt x="25" y="39"/>
                </a:cubicBezTo>
                <a:cubicBezTo>
                  <a:pt x="27" y="40"/>
                  <a:pt x="27" y="40"/>
                  <a:pt x="27" y="40"/>
                </a:cubicBezTo>
                <a:cubicBezTo>
                  <a:pt x="27" y="41"/>
                  <a:pt x="28" y="41"/>
                  <a:pt x="30" y="41"/>
                </a:cubicBezTo>
                <a:cubicBezTo>
                  <a:pt x="31" y="41"/>
                  <a:pt x="31" y="41"/>
                  <a:pt x="32" y="41"/>
                </a:cubicBezTo>
                <a:cubicBezTo>
                  <a:pt x="32" y="41"/>
                  <a:pt x="33" y="41"/>
                  <a:pt x="33" y="41"/>
                </a:cubicBezTo>
                <a:cubicBezTo>
                  <a:pt x="33" y="41"/>
                  <a:pt x="33" y="41"/>
                  <a:pt x="33" y="41"/>
                </a:cubicBezTo>
                <a:cubicBezTo>
                  <a:pt x="37" y="40"/>
                  <a:pt x="40" y="40"/>
                  <a:pt x="42" y="40"/>
                </a:cubicBezTo>
                <a:cubicBezTo>
                  <a:pt x="44" y="40"/>
                  <a:pt x="45" y="40"/>
                  <a:pt x="46" y="40"/>
                </a:cubicBezTo>
                <a:cubicBezTo>
                  <a:pt x="47" y="40"/>
                  <a:pt x="47" y="40"/>
                  <a:pt x="47" y="40"/>
                </a:cubicBezTo>
                <a:cubicBezTo>
                  <a:pt x="47" y="40"/>
                  <a:pt x="47" y="40"/>
                  <a:pt x="47" y="40"/>
                </a:cubicBezTo>
                <a:cubicBezTo>
                  <a:pt x="47" y="40"/>
                  <a:pt x="48" y="40"/>
                  <a:pt x="48" y="40"/>
                </a:cubicBezTo>
                <a:cubicBezTo>
                  <a:pt x="48" y="40"/>
                  <a:pt x="48" y="40"/>
                  <a:pt x="48" y="40"/>
                </a:cubicBezTo>
                <a:cubicBezTo>
                  <a:pt x="48" y="40"/>
                  <a:pt x="48" y="40"/>
                  <a:pt x="48" y="40"/>
                </a:cubicBezTo>
                <a:cubicBezTo>
                  <a:pt x="49" y="40"/>
                  <a:pt x="49" y="40"/>
                  <a:pt x="49" y="40"/>
                </a:cubicBezTo>
                <a:cubicBezTo>
                  <a:pt x="49" y="40"/>
                  <a:pt x="49" y="40"/>
                  <a:pt x="49" y="40"/>
                </a:cubicBezTo>
                <a:cubicBezTo>
                  <a:pt x="49" y="40"/>
                  <a:pt x="49" y="40"/>
                  <a:pt x="49" y="40"/>
                </a:cubicBezTo>
                <a:cubicBezTo>
                  <a:pt x="50" y="40"/>
                  <a:pt x="50" y="40"/>
                  <a:pt x="50" y="40"/>
                </a:cubicBezTo>
                <a:cubicBezTo>
                  <a:pt x="50" y="40"/>
                  <a:pt x="50" y="40"/>
                  <a:pt x="50" y="40"/>
                </a:cubicBezTo>
                <a:cubicBezTo>
                  <a:pt x="50" y="40"/>
                  <a:pt x="50" y="40"/>
                  <a:pt x="51" y="39"/>
                </a:cubicBezTo>
                <a:cubicBezTo>
                  <a:pt x="51" y="39"/>
                  <a:pt x="51" y="39"/>
                  <a:pt x="51" y="39"/>
                </a:cubicBezTo>
                <a:cubicBezTo>
                  <a:pt x="51" y="39"/>
                  <a:pt x="51" y="39"/>
                  <a:pt x="52" y="39"/>
                </a:cubicBezTo>
                <a:cubicBezTo>
                  <a:pt x="52" y="39"/>
                  <a:pt x="52" y="39"/>
                  <a:pt x="52" y="39"/>
                </a:cubicBezTo>
                <a:cubicBezTo>
                  <a:pt x="52" y="39"/>
                  <a:pt x="53" y="39"/>
                  <a:pt x="53" y="39"/>
                </a:cubicBezTo>
                <a:cubicBezTo>
                  <a:pt x="53" y="39"/>
                  <a:pt x="53" y="39"/>
                  <a:pt x="53" y="39"/>
                </a:cubicBezTo>
                <a:cubicBezTo>
                  <a:pt x="54" y="39"/>
                  <a:pt x="54" y="39"/>
                  <a:pt x="54" y="39"/>
                </a:cubicBezTo>
                <a:cubicBezTo>
                  <a:pt x="54" y="39"/>
                  <a:pt x="54" y="39"/>
                  <a:pt x="54" y="39"/>
                </a:cubicBezTo>
                <a:cubicBezTo>
                  <a:pt x="55" y="39"/>
                  <a:pt x="55" y="39"/>
                  <a:pt x="55" y="39"/>
                </a:cubicBezTo>
                <a:cubicBezTo>
                  <a:pt x="57" y="40"/>
                  <a:pt x="59" y="40"/>
                  <a:pt x="62" y="40"/>
                </a:cubicBezTo>
                <a:cubicBezTo>
                  <a:pt x="64" y="40"/>
                  <a:pt x="64" y="40"/>
                  <a:pt x="64" y="40"/>
                </a:cubicBezTo>
                <a:cubicBezTo>
                  <a:pt x="64" y="39"/>
                  <a:pt x="64" y="39"/>
                  <a:pt x="64" y="39"/>
                </a:cubicBezTo>
                <a:cubicBezTo>
                  <a:pt x="65" y="40"/>
                  <a:pt x="65" y="40"/>
                  <a:pt x="65" y="40"/>
                </a:cubicBezTo>
                <a:cubicBezTo>
                  <a:pt x="65" y="40"/>
                  <a:pt x="65" y="39"/>
                  <a:pt x="65" y="39"/>
                </a:cubicBezTo>
                <a:cubicBezTo>
                  <a:pt x="65" y="38"/>
                  <a:pt x="66" y="38"/>
                  <a:pt x="67" y="37"/>
                </a:cubicBezTo>
                <a:cubicBezTo>
                  <a:pt x="68" y="37"/>
                  <a:pt x="68" y="36"/>
                  <a:pt x="69" y="36"/>
                </a:cubicBezTo>
                <a:cubicBezTo>
                  <a:pt x="70" y="36"/>
                  <a:pt x="70" y="36"/>
                  <a:pt x="71" y="36"/>
                </a:cubicBezTo>
                <a:cubicBezTo>
                  <a:pt x="71" y="36"/>
                  <a:pt x="72" y="36"/>
                  <a:pt x="73" y="36"/>
                </a:cubicBezTo>
                <a:cubicBezTo>
                  <a:pt x="73" y="36"/>
                  <a:pt x="73" y="36"/>
                  <a:pt x="74" y="36"/>
                </a:cubicBezTo>
                <a:cubicBezTo>
                  <a:pt x="74" y="36"/>
                  <a:pt x="74" y="36"/>
                  <a:pt x="75" y="36"/>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87" name="Freeform 3044">
            <a:extLst>
              <a:ext uri="{FF2B5EF4-FFF2-40B4-BE49-F238E27FC236}">
                <a16:creationId xmlns:a16="http://schemas.microsoft.com/office/drawing/2014/main" id="{B52B8466-FB8C-45F7-81DB-CD5DA097916B}"/>
              </a:ext>
            </a:extLst>
          </p:cNvPr>
          <p:cNvSpPr>
            <a:spLocks/>
          </p:cNvSpPr>
          <p:nvPr/>
        </p:nvSpPr>
        <p:spPr bwMode="auto">
          <a:xfrm>
            <a:off x="3305305" y="3618496"/>
            <a:ext cx="1487"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0" y="0"/>
                  <a:pt x="0" y="0"/>
                  <a:pt x="0" y="0"/>
                </a:cubicBezTo>
                <a:lnTo>
                  <a:pt x="1" y="0"/>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88" name="Freeform 3045">
            <a:extLst>
              <a:ext uri="{FF2B5EF4-FFF2-40B4-BE49-F238E27FC236}">
                <a16:creationId xmlns:a16="http://schemas.microsoft.com/office/drawing/2014/main" id="{A1223075-BC1F-4E6C-93BC-27F2F39DD9E9}"/>
              </a:ext>
            </a:extLst>
          </p:cNvPr>
          <p:cNvSpPr>
            <a:spLocks/>
          </p:cNvSpPr>
          <p:nvPr/>
        </p:nvSpPr>
        <p:spPr bwMode="auto">
          <a:xfrm>
            <a:off x="3737929" y="3547859"/>
            <a:ext cx="173446" cy="160271"/>
          </a:xfrm>
          <a:custGeom>
            <a:avLst/>
            <a:gdLst>
              <a:gd name="T0" fmla="*/ 98 w 148"/>
              <a:gd name="T1" fmla="*/ 105 h 114"/>
              <a:gd name="T2" fmla="*/ 113 w 148"/>
              <a:gd name="T3" fmla="*/ 99 h 114"/>
              <a:gd name="T4" fmla="*/ 118 w 148"/>
              <a:gd name="T5" fmla="*/ 99 h 114"/>
              <a:gd name="T6" fmla="*/ 121 w 148"/>
              <a:gd name="T7" fmla="*/ 97 h 114"/>
              <a:gd name="T8" fmla="*/ 126 w 148"/>
              <a:gd name="T9" fmla="*/ 92 h 114"/>
              <a:gd name="T10" fmla="*/ 136 w 148"/>
              <a:gd name="T11" fmla="*/ 68 h 114"/>
              <a:gd name="T12" fmla="*/ 109 w 148"/>
              <a:gd name="T13" fmla="*/ 59 h 114"/>
              <a:gd name="T14" fmla="*/ 101 w 148"/>
              <a:gd name="T15" fmla="*/ 51 h 114"/>
              <a:gd name="T16" fmla="*/ 95 w 148"/>
              <a:gd name="T17" fmla="*/ 41 h 114"/>
              <a:gd name="T18" fmla="*/ 94 w 148"/>
              <a:gd name="T19" fmla="*/ 39 h 114"/>
              <a:gd name="T20" fmla="*/ 86 w 148"/>
              <a:gd name="T21" fmla="*/ 36 h 114"/>
              <a:gd name="T22" fmla="*/ 86 w 148"/>
              <a:gd name="T23" fmla="*/ 33 h 114"/>
              <a:gd name="T24" fmla="*/ 89 w 148"/>
              <a:gd name="T25" fmla="*/ 28 h 114"/>
              <a:gd name="T26" fmla="*/ 85 w 148"/>
              <a:gd name="T27" fmla="*/ 13 h 114"/>
              <a:gd name="T28" fmla="*/ 74 w 148"/>
              <a:gd name="T29" fmla="*/ 4 h 114"/>
              <a:gd name="T30" fmla="*/ 71 w 148"/>
              <a:gd name="T31" fmla="*/ 3 h 114"/>
              <a:gd name="T32" fmla="*/ 70 w 148"/>
              <a:gd name="T33" fmla="*/ 2 h 114"/>
              <a:gd name="T34" fmla="*/ 64 w 148"/>
              <a:gd name="T35" fmla="*/ 3 h 114"/>
              <a:gd name="T36" fmla="*/ 61 w 148"/>
              <a:gd name="T37" fmla="*/ 2 h 114"/>
              <a:gd name="T38" fmla="*/ 60 w 148"/>
              <a:gd name="T39" fmla="*/ 1 h 114"/>
              <a:gd name="T40" fmla="*/ 55 w 148"/>
              <a:gd name="T41" fmla="*/ 3 h 114"/>
              <a:gd name="T42" fmla="*/ 51 w 148"/>
              <a:gd name="T43" fmla="*/ 1 h 114"/>
              <a:gd name="T44" fmla="*/ 47 w 148"/>
              <a:gd name="T45" fmla="*/ 1 h 114"/>
              <a:gd name="T46" fmla="*/ 46 w 148"/>
              <a:gd name="T47" fmla="*/ 3 h 114"/>
              <a:gd name="T48" fmla="*/ 44 w 148"/>
              <a:gd name="T49" fmla="*/ 5 h 114"/>
              <a:gd name="T50" fmla="*/ 43 w 148"/>
              <a:gd name="T51" fmla="*/ 5 h 114"/>
              <a:gd name="T52" fmla="*/ 42 w 148"/>
              <a:gd name="T53" fmla="*/ 4 h 114"/>
              <a:gd name="T54" fmla="*/ 39 w 148"/>
              <a:gd name="T55" fmla="*/ 5 h 114"/>
              <a:gd name="T56" fmla="*/ 35 w 148"/>
              <a:gd name="T57" fmla="*/ 8 h 114"/>
              <a:gd name="T58" fmla="*/ 30 w 148"/>
              <a:gd name="T59" fmla="*/ 21 h 114"/>
              <a:gd name="T60" fmla="*/ 28 w 148"/>
              <a:gd name="T61" fmla="*/ 21 h 114"/>
              <a:gd name="T62" fmla="*/ 26 w 148"/>
              <a:gd name="T63" fmla="*/ 22 h 114"/>
              <a:gd name="T64" fmla="*/ 20 w 148"/>
              <a:gd name="T65" fmla="*/ 32 h 114"/>
              <a:gd name="T66" fmla="*/ 19 w 148"/>
              <a:gd name="T67" fmla="*/ 38 h 114"/>
              <a:gd name="T68" fmla="*/ 17 w 148"/>
              <a:gd name="T69" fmla="*/ 41 h 114"/>
              <a:gd name="T70" fmla="*/ 14 w 148"/>
              <a:gd name="T71" fmla="*/ 40 h 114"/>
              <a:gd name="T72" fmla="*/ 13 w 148"/>
              <a:gd name="T73" fmla="*/ 43 h 114"/>
              <a:gd name="T74" fmla="*/ 11 w 148"/>
              <a:gd name="T75" fmla="*/ 52 h 114"/>
              <a:gd name="T76" fmla="*/ 9 w 148"/>
              <a:gd name="T77" fmla="*/ 65 h 114"/>
              <a:gd name="T78" fmla="*/ 1 w 148"/>
              <a:gd name="T79" fmla="*/ 65 h 114"/>
              <a:gd name="T80" fmla="*/ 4 w 148"/>
              <a:gd name="T81" fmla="*/ 70 h 114"/>
              <a:gd name="T82" fmla="*/ 9 w 148"/>
              <a:gd name="T83" fmla="*/ 75 h 114"/>
              <a:gd name="T84" fmla="*/ 15 w 148"/>
              <a:gd name="T85" fmla="*/ 80 h 114"/>
              <a:gd name="T86" fmla="*/ 21 w 148"/>
              <a:gd name="T87" fmla="*/ 92 h 114"/>
              <a:gd name="T88" fmla="*/ 25 w 148"/>
              <a:gd name="T89" fmla="*/ 94 h 114"/>
              <a:gd name="T90" fmla="*/ 28 w 148"/>
              <a:gd name="T91" fmla="*/ 99 h 114"/>
              <a:gd name="T92" fmla="*/ 29 w 148"/>
              <a:gd name="T93" fmla="*/ 102 h 114"/>
              <a:gd name="T94" fmla="*/ 39 w 148"/>
              <a:gd name="T95" fmla="*/ 103 h 114"/>
              <a:gd name="T96" fmla="*/ 42 w 148"/>
              <a:gd name="T97" fmla="*/ 106 h 114"/>
              <a:gd name="T98" fmla="*/ 51 w 148"/>
              <a:gd name="T99" fmla="*/ 112 h 114"/>
              <a:gd name="T100" fmla="*/ 64 w 148"/>
              <a:gd name="T101" fmla="*/ 114 h 114"/>
              <a:gd name="T102" fmla="*/ 77 w 148"/>
              <a:gd name="T103" fmla="*/ 105 h 114"/>
              <a:gd name="T104" fmla="*/ 82 w 148"/>
              <a:gd name="T105" fmla="*/ 109 h 114"/>
              <a:gd name="T106" fmla="*/ 85 w 148"/>
              <a:gd name="T107" fmla="*/ 109 h 114"/>
              <a:gd name="T108" fmla="*/ 91 w 148"/>
              <a:gd name="T109" fmla="*/ 10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8" h="114">
                <a:moveTo>
                  <a:pt x="91" y="106"/>
                </a:moveTo>
                <a:cubicBezTo>
                  <a:pt x="92" y="106"/>
                  <a:pt x="93" y="106"/>
                  <a:pt x="94" y="106"/>
                </a:cubicBezTo>
                <a:cubicBezTo>
                  <a:pt x="94" y="106"/>
                  <a:pt x="94" y="106"/>
                  <a:pt x="94" y="106"/>
                </a:cubicBezTo>
                <a:cubicBezTo>
                  <a:pt x="95" y="106"/>
                  <a:pt x="95" y="106"/>
                  <a:pt x="96" y="106"/>
                </a:cubicBezTo>
                <a:cubicBezTo>
                  <a:pt x="96" y="106"/>
                  <a:pt x="97" y="105"/>
                  <a:pt x="98" y="105"/>
                </a:cubicBezTo>
                <a:cubicBezTo>
                  <a:pt x="98" y="105"/>
                  <a:pt x="99" y="104"/>
                  <a:pt x="99" y="104"/>
                </a:cubicBezTo>
                <a:cubicBezTo>
                  <a:pt x="102" y="102"/>
                  <a:pt x="104" y="100"/>
                  <a:pt x="108" y="99"/>
                </a:cubicBezTo>
                <a:cubicBezTo>
                  <a:pt x="108" y="99"/>
                  <a:pt x="109" y="99"/>
                  <a:pt x="110" y="99"/>
                </a:cubicBezTo>
                <a:cubicBezTo>
                  <a:pt x="111" y="99"/>
                  <a:pt x="111" y="98"/>
                  <a:pt x="113" y="99"/>
                </a:cubicBezTo>
                <a:cubicBezTo>
                  <a:pt x="113" y="99"/>
                  <a:pt x="113" y="99"/>
                  <a:pt x="113" y="99"/>
                </a:cubicBezTo>
                <a:cubicBezTo>
                  <a:pt x="114" y="99"/>
                  <a:pt x="114" y="99"/>
                  <a:pt x="114" y="99"/>
                </a:cubicBezTo>
                <a:cubicBezTo>
                  <a:pt x="115" y="99"/>
                  <a:pt x="115" y="99"/>
                  <a:pt x="115" y="99"/>
                </a:cubicBezTo>
                <a:cubicBezTo>
                  <a:pt x="116" y="99"/>
                  <a:pt x="116" y="99"/>
                  <a:pt x="117" y="99"/>
                </a:cubicBezTo>
                <a:cubicBezTo>
                  <a:pt x="117" y="99"/>
                  <a:pt x="118" y="99"/>
                  <a:pt x="118" y="99"/>
                </a:cubicBezTo>
                <a:cubicBezTo>
                  <a:pt x="118" y="99"/>
                  <a:pt x="118" y="99"/>
                  <a:pt x="118" y="99"/>
                </a:cubicBezTo>
                <a:cubicBezTo>
                  <a:pt x="118" y="99"/>
                  <a:pt x="118" y="99"/>
                  <a:pt x="118" y="99"/>
                </a:cubicBezTo>
                <a:cubicBezTo>
                  <a:pt x="119" y="99"/>
                  <a:pt x="119" y="99"/>
                  <a:pt x="119" y="99"/>
                </a:cubicBezTo>
                <a:cubicBezTo>
                  <a:pt x="119" y="99"/>
                  <a:pt x="119" y="99"/>
                  <a:pt x="119" y="99"/>
                </a:cubicBezTo>
                <a:cubicBezTo>
                  <a:pt x="120" y="99"/>
                  <a:pt x="120" y="98"/>
                  <a:pt x="120" y="98"/>
                </a:cubicBezTo>
                <a:cubicBezTo>
                  <a:pt x="121" y="98"/>
                  <a:pt x="121" y="97"/>
                  <a:pt x="121" y="97"/>
                </a:cubicBezTo>
                <a:cubicBezTo>
                  <a:pt x="122" y="96"/>
                  <a:pt x="122" y="96"/>
                  <a:pt x="122" y="96"/>
                </a:cubicBezTo>
                <a:cubicBezTo>
                  <a:pt x="122" y="96"/>
                  <a:pt x="123" y="95"/>
                  <a:pt x="123" y="95"/>
                </a:cubicBezTo>
                <a:cubicBezTo>
                  <a:pt x="124" y="94"/>
                  <a:pt x="124" y="94"/>
                  <a:pt x="124" y="94"/>
                </a:cubicBezTo>
                <a:cubicBezTo>
                  <a:pt x="124" y="94"/>
                  <a:pt x="124" y="93"/>
                  <a:pt x="125" y="93"/>
                </a:cubicBezTo>
                <a:cubicBezTo>
                  <a:pt x="126" y="92"/>
                  <a:pt x="126" y="92"/>
                  <a:pt x="126" y="92"/>
                </a:cubicBezTo>
                <a:cubicBezTo>
                  <a:pt x="133" y="85"/>
                  <a:pt x="138" y="79"/>
                  <a:pt x="144" y="74"/>
                </a:cubicBezTo>
                <a:cubicBezTo>
                  <a:pt x="145" y="73"/>
                  <a:pt x="146" y="71"/>
                  <a:pt x="148" y="70"/>
                </a:cubicBezTo>
                <a:cubicBezTo>
                  <a:pt x="145" y="70"/>
                  <a:pt x="143" y="70"/>
                  <a:pt x="141" y="70"/>
                </a:cubicBezTo>
                <a:cubicBezTo>
                  <a:pt x="140" y="70"/>
                  <a:pt x="138" y="69"/>
                  <a:pt x="136" y="68"/>
                </a:cubicBezTo>
                <a:cubicBezTo>
                  <a:pt x="136" y="68"/>
                  <a:pt x="136" y="68"/>
                  <a:pt x="136" y="68"/>
                </a:cubicBezTo>
                <a:cubicBezTo>
                  <a:pt x="136" y="68"/>
                  <a:pt x="135" y="68"/>
                  <a:pt x="135" y="68"/>
                </a:cubicBezTo>
                <a:cubicBezTo>
                  <a:pt x="116" y="61"/>
                  <a:pt x="116" y="61"/>
                  <a:pt x="116" y="61"/>
                </a:cubicBezTo>
                <a:cubicBezTo>
                  <a:pt x="116" y="61"/>
                  <a:pt x="115" y="61"/>
                  <a:pt x="115" y="61"/>
                </a:cubicBezTo>
                <a:cubicBezTo>
                  <a:pt x="115" y="61"/>
                  <a:pt x="115" y="61"/>
                  <a:pt x="115" y="61"/>
                </a:cubicBezTo>
                <a:cubicBezTo>
                  <a:pt x="113" y="60"/>
                  <a:pt x="111" y="60"/>
                  <a:pt x="109" y="59"/>
                </a:cubicBezTo>
                <a:cubicBezTo>
                  <a:pt x="109" y="59"/>
                  <a:pt x="109" y="59"/>
                  <a:pt x="109" y="58"/>
                </a:cubicBezTo>
                <a:cubicBezTo>
                  <a:pt x="107" y="57"/>
                  <a:pt x="107" y="57"/>
                  <a:pt x="107" y="57"/>
                </a:cubicBezTo>
                <a:cubicBezTo>
                  <a:pt x="106" y="57"/>
                  <a:pt x="105" y="56"/>
                  <a:pt x="104" y="55"/>
                </a:cubicBezTo>
                <a:cubicBezTo>
                  <a:pt x="103" y="54"/>
                  <a:pt x="102" y="53"/>
                  <a:pt x="101" y="51"/>
                </a:cubicBezTo>
                <a:cubicBezTo>
                  <a:pt x="101" y="51"/>
                  <a:pt x="101" y="51"/>
                  <a:pt x="101" y="51"/>
                </a:cubicBezTo>
                <a:cubicBezTo>
                  <a:pt x="101" y="51"/>
                  <a:pt x="101" y="50"/>
                  <a:pt x="101" y="50"/>
                </a:cubicBezTo>
                <a:cubicBezTo>
                  <a:pt x="100" y="49"/>
                  <a:pt x="100" y="49"/>
                  <a:pt x="100" y="49"/>
                </a:cubicBezTo>
                <a:cubicBezTo>
                  <a:pt x="99" y="48"/>
                  <a:pt x="98" y="46"/>
                  <a:pt x="97" y="45"/>
                </a:cubicBezTo>
                <a:cubicBezTo>
                  <a:pt x="97" y="45"/>
                  <a:pt x="97" y="44"/>
                  <a:pt x="97" y="44"/>
                </a:cubicBezTo>
                <a:cubicBezTo>
                  <a:pt x="96" y="43"/>
                  <a:pt x="95" y="42"/>
                  <a:pt x="95" y="41"/>
                </a:cubicBezTo>
                <a:cubicBezTo>
                  <a:pt x="95" y="41"/>
                  <a:pt x="96" y="41"/>
                  <a:pt x="96" y="40"/>
                </a:cubicBezTo>
                <a:cubicBezTo>
                  <a:pt x="97" y="39"/>
                  <a:pt x="97" y="39"/>
                  <a:pt x="97" y="39"/>
                </a:cubicBezTo>
                <a:cubicBezTo>
                  <a:pt x="97" y="39"/>
                  <a:pt x="97" y="39"/>
                  <a:pt x="97" y="38"/>
                </a:cubicBezTo>
                <a:cubicBezTo>
                  <a:pt x="97" y="38"/>
                  <a:pt x="97" y="38"/>
                  <a:pt x="97" y="38"/>
                </a:cubicBezTo>
                <a:cubicBezTo>
                  <a:pt x="96" y="38"/>
                  <a:pt x="96" y="38"/>
                  <a:pt x="94" y="39"/>
                </a:cubicBezTo>
                <a:cubicBezTo>
                  <a:pt x="92" y="39"/>
                  <a:pt x="90" y="40"/>
                  <a:pt x="89" y="40"/>
                </a:cubicBezTo>
                <a:cubicBezTo>
                  <a:pt x="89" y="41"/>
                  <a:pt x="89" y="41"/>
                  <a:pt x="89" y="41"/>
                </a:cubicBezTo>
                <a:cubicBezTo>
                  <a:pt x="89" y="40"/>
                  <a:pt x="89" y="40"/>
                  <a:pt x="89" y="40"/>
                </a:cubicBezTo>
                <a:cubicBezTo>
                  <a:pt x="88" y="39"/>
                  <a:pt x="87" y="39"/>
                  <a:pt x="87" y="39"/>
                </a:cubicBezTo>
                <a:cubicBezTo>
                  <a:pt x="86" y="38"/>
                  <a:pt x="86" y="37"/>
                  <a:pt x="86" y="36"/>
                </a:cubicBezTo>
                <a:cubicBezTo>
                  <a:pt x="86" y="35"/>
                  <a:pt x="86" y="35"/>
                  <a:pt x="86" y="35"/>
                </a:cubicBezTo>
                <a:cubicBezTo>
                  <a:pt x="86" y="35"/>
                  <a:pt x="86" y="34"/>
                  <a:pt x="86" y="34"/>
                </a:cubicBezTo>
                <a:cubicBezTo>
                  <a:pt x="85" y="34"/>
                  <a:pt x="85" y="34"/>
                  <a:pt x="85" y="34"/>
                </a:cubicBezTo>
                <a:cubicBezTo>
                  <a:pt x="86" y="34"/>
                  <a:pt x="86" y="34"/>
                  <a:pt x="86" y="34"/>
                </a:cubicBezTo>
                <a:cubicBezTo>
                  <a:pt x="86" y="33"/>
                  <a:pt x="86" y="33"/>
                  <a:pt x="86" y="33"/>
                </a:cubicBezTo>
                <a:cubicBezTo>
                  <a:pt x="86" y="33"/>
                  <a:pt x="86" y="33"/>
                  <a:pt x="86" y="32"/>
                </a:cubicBezTo>
                <a:cubicBezTo>
                  <a:pt x="86" y="32"/>
                  <a:pt x="86" y="32"/>
                  <a:pt x="86" y="32"/>
                </a:cubicBezTo>
                <a:cubicBezTo>
                  <a:pt x="86" y="31"/>
                  <a:pt x="87" y="30"/>
                  <a:pt x="87" y="29"/>
                </a:cubicBezTo>
                <a:cubicBezTo>
                  <a:pt x="88" y="29"/>
                  <a:pt x="88" y="29"/>
                  <a:pt x="88" y="29"/>
                </a:cubicBezTo>
                <a:cubicBezTo>
                  <a:pt x="88" y="28"/>
                  <a:pt x="88" y="28"/>
                  <a:pt x="89" y="28"/>
                </a:cubicBezTo>
                <a:cubicBezTo>
                  <a:pt x="89" y="28"/>
                  <a:pt x="90" y="26"/>
                  <a:pt x="90" y="25"/>
                </a:cubicBezTo>
                <a:cubicBezTo>
                  <a:pt x="91" y="24"/>
                  <a:pt x="92" y="23"/>
                  <a:pt x="92" y="22"/>
                </a:cubicBezTo>
                <a:cubicBezTo>
                  <a:pt x="89" y="19"/>
                  <a:pt x="89" y="19"/>
                  <a:pt x="89" y="19"/>
                </a:cubicBezTo>
                <a:cubicBezTo>
                  <a:pt x="88" y="17"/>
                  <a:pt x="87" y="16"/>
                  <a:pt x="86" y="15"/>
                </a:cubicBezTo>
                <a:cubicBezTo>
                  <a:pt x="85" y="13"/>
                  <a:pt x="85" y="13"/>
                  <a:pt x="85" y="13"/>
                </a:cubicBezTo>
                <a:cubicBezTo>
                  <a:pt x="83" y="11"/>
                  <a:pt x="80" y="9"/>
                  <a:pt x="78" y="7"/>
                </a:cubicBezTo>
                <a:cubicBezTo>
                  <a:pt x="78" y="6"/>
                  <a:pt x="78" y="6"/>
                  <a:pt x="78" y="6"/>
                </a:cubicBezTo>
                <a:cubicBezTo>
                  <a:pt x="77" y="6"/>
                  <a:pt x="76" y="5"/>
                  <a:pt x="75" y="5"/>
                </a:cubicBezTo>
                <a:cubicBezTo>
                  <a:pt x="75" y="5"/>
                  <a:pt x="75" y="5"/>
                  <a:pt x="75" y="5"/>
                </a:cubicBezTo>
                <a:cubicBezTo>
                  <a:pt x="75" y="5"/>
                  <a:pt x="74" y="5"/>
                  <a:pt x="74" y="4"/>
                </a:cubicBezTo>
                <a:cubicBezTo>
                  <a:pt x="74" y="4"/>
                  <a:pt x="73" y="4"/>
                  <a:pt x="73" y="4"/>
                </a:cubicBezTo>
                <a:cubicBezTo>
                  <a:pt x="73" y="4"/>
                  <a:pt x="73" y="4"/>
                  <a:pt x="73" y="4"/>
                </a:cubicBezTo>
                <a:cubicBezTo>
                  <a:pt x="72" y="4"/>
                  <a:pt x="72" y="3"/>
                  <a:pt x="72" y="3"/>
                </a:cubicBezTo>
                <a:cubicBezTo>
                  <a:pt x="71" y="3"/>
                  <a:pt x="71" y="3"/>
                  <a:pt x="71" y="3"/>
                </a:cubicBezTo>
                <a:cubicBezTo>
                  <a:pt x="71" y="3"/>
                  <a:pt x="71" y="3"/>
                  <a:pt x="71" y="3"/>
                </a:cubicBezTo>
                <a:cubicBezTo>
                  <a:pt x="71" y="3"/>
                  <a:pt x="71" y="3"/>
                  <a:pt x="71" y="3"/>
                </a:cubicBezTo>
                <a:cubicBezTo>
                  <a:pt x="71" y="2"/>
                  <a:pt x="71" y="2"/>
                  <a:pt x="71" y="2"/>
                </a:cubicBezTo>
                <a:cubicBezTo>
                  <a:pt x="70" y="2"/>
                  <a:pt x="70" y="2"/>
                  <a:pt x="70" y="2"/>
                </a:cubicBezTo>
                <a:cubicBezTo>
                  <a:pt x="70" y="2"/>
                  <a:pt x="70" y="2"/>
                  <a:pt x="70" y="2"/>
                </a:cubicBezTo>
                <a:cubicBezTo>
                  <a:pt x="70" y="2"/>
                  <a:pt x="70" y="2"/>
                  <a:pt x="70" y="2"/>
                </a:cubicBezTo>
                <a:cubicBezTo>
                  <a:pt x="69" y="3"/>
                  <a:pt x="68" y="3"/>
                  <a:pt x="67" y="2"/>
                </a:cubicBezTo>
                <a:cubicBezTo>
                  <a:pt x="67" y="2"/>
                  <a:pt x="66" y="2"/>
                  <a:pt x="66" y="2"/>
                </a:cubicBezTo>
                <a:cubicBezTo>
                  <a:pt x="66" y="2"/>
                  <a:pt x="66" y="2"/>
                  <a:pt x="65" y="2"/>
                </a:cubicBezTo>
                <a:cubicBezTo>
                  <a:pt x="65" y="2"/>
                  <a:pt x="65" y="3"/>
                  <a:pt x="65" y="3"/>
                </a:cubicBezTo>
                <a:cubicBezTo>
                  <a:pt x="64" y="3"/>
                  <a:pt x="64" y="3"/>
                  <a:pt x="64" y="3"/>
                </a:cubicBezTo>
                <a:cubicBezTo>
                  <a:pt x="63" y="3"/>
                  <a:pt x="63" y="3"/>
                  <a:pt x="63" y="3"/>
                </a:cubicBezTo>
                <a:cubicBezTo>
                  <a:pt x="63" y="3"/>
                  <a:pt x="63" y="3"/>
                  <a:pt x="63" y="3"/>
                </a:cubicBezTo>
                <a:cubicBezTo>
                  <a:pt x="63" y="3"/>
                  <a:pt x="63" y="3"/>
                  <a:pt x="63" y="3"/>
                </a:cubicBezTo>
                <a:cubicBezTo>
                  <a:pt x="63" y="3"/>
                  <a:pt x="63" y="3"/>
                  <a:pt x="63" y="3"/>
                </a:cubicBezTo>
                <a:cubicBezTo>
                  <a:pt x="61" y="2"/>
                  <a:pt x="61" y="2"/>
                  <a:pt x="61" y="2"/>
                </a:cubicBezTo>
                <a:cubicBezTo>
                  <a:pt x="61" y="2"/>
                  <a:pt x="61" y="2"/>
                  <a:pt x="61" y="2"/>
                </a:cubicBezTo>
                <a:cubicBezTo>
                  <a:pt x="61" y="2"/>
                  <a:pt x="61" y="2"/>
                  <a:pt x="61" y="2"/>
                </a:cubicBezTo>
                <a:cubicBezTo>
                  <a:pt x="61" y="1"/>
                  <a:pt x="61" y="1"/>
                  <a:pt x="61" y="1"/>
                </a:cubicBezTo>
                <a:cubicBezTo>
                  <a:pt x="61" y="1"/>
                  <a:pt x="61" y="1"/>
                  <a:pt x="61" y="1"/>
                </a:cubicBezTo>
                <a:cubicBezTo>
                  <a:pt x="61" y="1"/>
                  <a:pt x="60" y="1"/>
                  <a:pt x="60" y="1"/>
                </a:cubicBezTo>
                <a:cubicBezTo>
                  <a:pt x="60" y="2"/>
                  <a:pt x="60" y="2"/>
                  <a:pt x="60" y="2"/>
                </a:cubicBezTo>
                <a:cubicBezTo>
                  <a:pt x="59" y="2"/>
                  <a:pt x="59" y="2"/>
                  <a:pt x="59" y="2"/>
                </a:cubicBezTo>
                <a:cubicBezTo>
                  <a:pt x="59" y="2"/>
                  <a:pt x="58" y="2"/>
                  <a:pt x="58" y="3"/>
                </a:cubicBezTo>
                <a:cubicBezTo>
                  <a:pt x="58" y="3"/>
                  <a:pt x="57" y="3"/>
                  <a:pt x="57" y="3"/>
                </a:cubicBezTo>
                <a:cubicBezTo>
                  <a:pt x="56" y="3"/>
                  <a:pt x="55" y="3"/>
                  <a:pt x="55" y="3"/>
                </a:cubicBezTo>
                <a:cubicBezTo>
                  <a:pt x="54" y="4"/>
                  <a:pt x="54" y="4"/>
                  <a:pt x="54" y="4"/>
                </a:cubicBezTo>
                <a:cubicBezTo>
                  <a:pt x="53" y="3"/>
                  <a:pt x="53" y="3"/>
                  <a:pt x="53" y="3"/>
                </a:cubicBezTo>
                <a:cubicBezTo>
                  <a:pt x="53" y="3"/>
                  <a:pt x="53" y="2"/>
                  <a:pt x="52" y="2"/>
                </a:cubicBezTo>
                <a:cubicBezTo>
                  <a:pt x="52" y="1"/>
                  <a:pt x="52" y="1"/>
                  <a:pt x="52" y="1"/>
                </a:cubicBezTo>
                <a:cubicBezTo>
                  <a:pt x="51" y="1"/>
                  <a:pt x="51" y="1"/>
                  <a:pt x="51" y="1"/>
                </a:cubicBezTo>
                <a:cubicBezTo>
                  <a:pt x="50" y="0"/>
                  <a:pt x="50" y="0"/>
                  <a:pt x="49" y="0"/>
                </a:cubicBezTo>
                <a:cubicBezTo>
                  <a:pt x="49" y="0"/>
                  <a:pt x="49" y="0"/>
                  <a:pt x="48" y="0"/>
                </a:cubicBezTo>
                <a:cubicBezTo>
                  <a:pt x="48" y="0"/>
                  <a:pt x="48" y="0"/>
                  <a:pt x="48" y="0"/>
                </a:cubicBezTo>
                <a:cubicBezTo>
                  <a:pt x="48" y="0"/>
                  <a:pt x="48" y="0"/>
                  <a:pt x="48" y="0"/>
                </a:cubicBezTo>
                <a:cubicBezTo>
                  <a:pt x="47" y="1"/>
                  <a:pt x="47" y="1"/>
                  <a:pt x="47" y="1"/>
                </a:cubicBezTo>
                <a:cubicBezTo>
                  <a:pt x="47" y="2"/>
                  <a:pt x="47" y="2"/>
                  <a:pt x="47" y="2"/>
                </a:cubicBezTo>
                <a:cubicBezTo>
                  <a:pt x="47" y="2"/>
                  <a:pt x="47" y="2"/>
                  <a:pt x="47" y="2"/>
                </a:cubicBezTo>
                <a:cubicBezTo>
                  <a:pt x="47" y="2"/>
                  <a:pt x="47" y="3"/>
                  <a:pt x="47" y="3"/>
                </a:cubicBezTo>
                <a:cubicBezTo>
                  <a:pt x="46" y="3"/>
                  <a:pt x="46" y="3"/>
                  <a:pt x="46" y="3"/>
                </a:cubicBezTo>
                <a:cubicBezTo>
                  <a:pt x="46" y="3"/>
                  <a:pt x="46" y="3"/>
                  <a:pt x="46" y="3"/>
                </a:cubicBezTo>
                <a:cubicBezTo>
                  <a:pt x="46" y="4"/>
                  <a:pt x="46" y="4"/>
                  <a:pt x="46" y="4"/>
                </a:cubicBezTo>
                <a:cubicBezTo>
                  <a:pt x="46" y="4"/>
                  <a:pt x="45" y="4"/>
                  <a:pt x="45" y="4"/>
                </a:cubicBezTo>
                <a:cubicBezTo>
                  <a:pt x="45" y="4"/>
                  <a:pt x="45" y="4"/>
                  <a:pt x="45" y="4"/>
                </a:cubicBezTo>
                <a:cubicBezTo>
                  <a:pt x="45" y="4"/>
                  <a:pt x="45" y="4"/>
                  <a:pt x="45" y="5"/>
                </a:cubicBezTo>
                <a:cubicBezTo>
                  <a:pt x="45" y="5"/>
                  <a:pt x="44" y="5"/>
                  <a:pt x="44" y="5"/>
                </a:cubicBezTo>
                <a:cubicBezTo>
                  <a:pt x="44" y="5"/>
                  <a:pt x="44" y="5"/>
                  <a:pt x="44" y="5"/>
                </a:cubicBezTo>
                <a:cubicBezTo>
                  <a:pt x="44" y="5"/>
                  <a:pt x="44" y="5"/>
                  <a:pt x="44" y="5"/>
                </a:cubicBezTo>
                <a:cubicBezTo>
                  <a:pt x="44" y="5"/>
                  <a:pt x="44" y="5"/>
                  <a:pt x="44" y="5"/>
                </a:cubicBezTo>
                <a:cubicBezTo>
                  <a:pt x="44" y="5"/>
                  <a:pt x="44" y="5"/>
                  <a:pt x="44" y="5"/>
                </a:cubicBezTo>
                <a:cubicBezTo>
                  <a:pt x="43" y="5"/>
                  <a:pt x="43" y="5"/>
                  <a:pt x="43" y="5"/>
                </a:cubicBezTo>
                <a:cubicBezTo>
                  <a:pt x="43" y="5"/>
                  <a:pt x="43" y="5"/>
                  <a:pt x="43" y="5"/>
                </a:cubicBezTo>
                <a:cubicBezTo>
                  <a:pt x="43" y="5"/>
                  <a:pt x="43" y="5"/>
                  <a:pt x="43" y="5"/>
                </a:cubicBezTo>
                <a:cubicBezTo>
                  <a:pt x="42" y="4"/>
                  <a:pt x="42" y="4"/>
                  <a:pt x="42" y="4"/>
                </a:cubicBezTo>
                <a:cubicBezTo>
                  <a:pt x="42" y="4"/>
                  <a:pt x="42" y="4"/>
                  <a:pt x="42" y="4"/>
                </a:cubicBezTo>
                <a:cubicBezTo>
                  <a:pt x="42" y="4"/>
                  <a:pt x="42" y="4"/>
                  <a:pt x="42" y="4"/>
                </a:cubicBezTo>
                <a:cubicBezTo>
                  <a:pt x="42" y="4"/>
                  <a:pt x="42" y="4"/>
                  <a:pt x="42" y="4"/>
                </a:cubicBezTo>
                <a:cubicBezTo>
                  <a:pt x="42" y="4"/>
                  <a:pt x="42" y="4"/>
                  <a:pt x="42" y="4"/>
                </a:cubicBezTo>
                <a:cubicBezTo>
                  <a:pt x="42" y="4"/>
                  <a:pt x="42" y="4"/>
                  <a:pt x="42" y="4"/>
                </a:cubicBezTo>
                <a:cubicBezTo>
                  <a:pt x="41" y="4"/>
                  <a:pt x="41" y="5"/>
                  <a:pt x="40" y="5"/>
                </a:cubicBezTo>
                <a:cubicBezTo>
                  <a:pt x="40" y="5"/>
                  <a:pt x="39" y="5"/>
                  <a:pt x="39" y="5"/>
                </a:cubicBezTo>
                <a:cubicBezTo>
                  <a:pt x="39" y="5"/>
                  <a:pt x="38" y="5"/>
                  <a:pt x="38" y="5"/>
                </a:cubicBezTo>
                <a:cubicBezTo>
                  <a:pt x="38" y="5"/>
                  <a:pt x="38" y="5"/>
                  <a:pt x="38" y="5"/>
                </a:cubicBezTo>
                <a:cubicBezTo>
                  <a:pt x="38" y="5"/>
                  <a:pt x="37" y="5"/>
                  <a:pt x="37" y="5"/>
                </a:cubicBezTo>
                <a:cubicBezTo>
                  <a:pt x="35" y="5"/>
                  <a:pt x="35" y="5"/>
                  <a:pt x="35" y="5"/>
                </a:cubicBezTo>
                <a:cubicBezTo>
                  <a:pt x="35" y="6"/>
                  <a:pt x="35" y="7"/>
                  <a:pt x="35" y="8"/>
                </a:cubicBezTo>
                <a:cubicBezTo>
                  <a:pt x="35" y="9"/>
                  <a:pt x="35" y="9"/>
                  <a:pt x="35" y="9"/>
                </a:cubicBezTo>
                <a:cubicBezTo>
                  <a:pt x="34" y="11"/>
                  <a:pt x="33" y="13"/>
                  <a:pt x="33" y="15"/>
                </a:cubicBezTo>
                <a:cubicBezTo>
                  <a:pt x="32" y="17"/>
                  <a:pt x="32" y="17"/>
                  <a:pt x="32" y="17"/>
                </a:cubicBezTo>
                <a:cubicBezTo>
                  <a:pt x="32" y="19"/>
                  <a:pt x="32" y="20"/>
                  <a:pt x="31" y="21"/>
                </a:cubicBezTo>
                <a:cubicBezTo>
                  <a:pt x="31" y="21"/>
                  <a:pt x="30" y="21"/>
                  <a:pt x="30" y="21"/>
                </a:cubicBezTo>
                <a:cubicBezTo>
                  <a:pt x="30" y="21"/>
                  <a:pt x="30" y="21"/>
                  <a:pt x="30" y="21"/>
                </a:cubicBezTo>
                <a:cubicBezTo>
                  <a:pt x="29" y="21"/>
                  <a:pt x="29" y="21"/>
                  <a:pt x="29" y="21"/>
                </a:cubicBezTo>
                <a:cubicBezTo>
                  <a:pt x="29" y="21"/>
                  <a:pt x="29" y="21"/>
                  <a:pt x="29" y="21"/>
                </a:cubicBezTo>
                <a:cubicBezTo>
                  <a:pt x="29" y="21"/>
                  <a:pt x="29" y="21"/>
                  <a:pt x="29" y="21"/>
                </a:cubicBezTo>
                <a:cubicBezTo>
                  <a:pt x="28" y="21"/>
                  <a:pt x="28" y="21"/>
                  <a:pt x="28" y="21"/>
                </a:cubicBezTo>
                <a:cubicBezTo>
                  <a:pt x="27" y="21"/>
                  <a:pt x="27" y="21"/>
                  <a:pt x="27" y="21"/>
                </a:cubicBezTo>
                <a:cubicBezTo>
                  <a:pt x="27" y="21"/>
                  <a:pt x="27" y="21"/>
                  <a:pt x="27" y="21"/>
                </a:cubicBezTo>
                <a:cubicBezTo>
                  <a:pt x="27" y="21"/>
                  <a:pt x="27" y="21"/>
                  <a:pt x="27" y="21"/>
                </a:cubicBezTo>
                <a:cubicBezTo>
                  <a:pt x="26" y="21"/>
                  <a:pt x="26" y="21"/>
                  <a:pt x="26" y="21"/>
                </a:cubicBezTo>
                <a:cubicBezTo>
                  <a:pt x="26" y="22"/>
                  <a:pt x="26" y="22"/>
                  <a:pt x="26" y="22"/>
                </a:cubicBezTo>
                <a:cubicBezTo>
                  <a:pt x="25" y="23"/>
                  <a:pt x="25" y="23"/>
                  <a:pt x="25" y="23"/>
                </a:cubicBezTo>
                <a:cubicBezTo>
                  <a:pt x="25" y="24"/>
                  <a:pt x="24" y="25"/>
                  <a:pt x="24" y="26"/>
                </a:cubicBezTo>
                <a:cubicBezTo>
                  <a:pt x="23" y="27"/>
                  <a:pt x="23" y="28"/>
                  <a:pt x="22" y="29"/>
                </a:cubicBezTo>
                <a:cubicBezTo>
                  <a:pt x="21" y="29"/>
                  <a:pt x="21" y="30"/>
                  <a:pt x="21" y="31"/>
                </a:cubicBezTo>
                <a:cubicBezTo>
                  <a:pt x="20" y="32"/>
                  <a:pt x="20" y="32"/>
                  <a:pt x="20" y="32"/>
                </a:cubicBezTo>
                <a:cubicBezTo>
                  <a:pt x="20" y="32"/>
                  <a:pt x="20" y="33"/>
                  <a:pt x="20" y="34"/>
                </a:cubicBezTo>
                <a:cubicBezTo>
                  <a:pt x="20" y="35"/>
                  <a:pt x="20" y="35"/>
                  <a:pt x="20" y="35"/>
                </a:cubicBezTo>
                <a:cubicBezTo>
                  <a:pt x="20" y="35"/>
                  <a:pt x="20" y="36"/>
                  <a:pt x="20" y="36"/>
                </a:cubicBezTo>
                <a:cubicBezTo>
                  <a:pt x="20" y="36"/>
                  <a:pt x="19" y="37"/>
                  <a:pt x="19" y="37"/>
                </a:cubicBezTo>
                <a:cubicBezTo>
                  <a:pt x="19" y="37"/>
                  <a:pt x="19" y="38"/>
                  <a:pt x="19" y="38"/>
                </a:cubicBezTo>
                <a:cubicBezTo>
                  <a:pt x="19" y="38"/>
                  <a:pt x="19" y="38"/>
                  <a:pt x="19" y="38"/>
                </a:cubicBezTo>
                <a:cubicBezTo>
                  <a:pt x="19" y="38"/>
                  <a:pt x="19" y="38"/>
                  <a:pt x="19" y="39"/>
                </a:cubicBezTo>
                <a:cubicBezTo>
                  <a:pt x="19" y="39"/>
                  <a:pt x="19" y="40"/>
                  <a:pt x="19" y="40"/>
                </a:cubicBezTo>
                <a:cubicBezTo>
                  <a:pt x="19" y="40"/>
                  <a:pt x="19" y="40"/>
                  <a:pt x="19" y="40"/>
                </a:cubicBezTo>
                <a:cubicBezTo>
                  <a:pt x="18" y="41"/>
                  <a:pt x="18" y="41"/>
                  <a:pt x="17" y="41"/>
                </a:cubicBezTo>
                <a:cubicBezTo>
                  <a:pt x="17" y="41"/>
                  <a:pt x="16" y="41"/>
                  <a:pt x="16" y="41"/>
                </a:cubicBezTo>
                <a:cubicBezTo>
                  <a:pt x="16" y="41"/>
                  <a:pt x="16" y="41"/>
                  <a:pt x="16" y="41"/>
                </a:cubicBezTo>
                <a:cubicBezTo>
                  <a:pt x="16" y="41"/>
                  <a:pt x="15" y="41"/>
                  <a:pt x="15" y="41"/>
                </a:cubicBezTo>
                <a:cubicBezTo>
                  <a:pt x="15" y="41"/>
                  <a:pt x="15" y="41"/>
                  <a:pt x="15" y="41"/>
                </a:cubicBezTo>
                <a:cubicBezTo>
                  <a:pt x="15" y="41"/>
                  <a:pt x="14" y="41"/>
                  <a:pt x="14" y="40"/>
                </a:cubicBezTo>
                <a:cubicBezTo>
                  <a:pt x="14" y="40"/>
                  <a:pt x="14" y="40"/>
                  <a:pt x="14" y="40"/>
                </a:cubicBezTo>
                <a:cubicBezTo>
                  <a:pt x="14" y="41"/>
                  <a:pt x="14" y="41"/>
                  <a:pt x="14" y="41"/>
                </a:cubicBezTo>
                <a:cubicBezTo>
                  <a:pt x="13" y="41"/>
                  <a:pt x="13" y="42"/>
                  <a:pt x="13" y="42"/>
                </a:cubicBezTo>
                <a:cubicBezTo>
                  <a:pt x="13" y="42"/>
                  <a:pt x="13" y="42"/>
                  <a:pt x="13" y="42"/>
                </a:cubicBezTo>
                <a:cubicBezTo>
                  <a:pt x="13" y="42"/>
                  <a:pt x="13" y="43"/>
                  <a:pt x="13" y="43"/>
                </a:cubicBezTo>
                <a:cubicBezTo>
                  <a:pt x="13" y="44"/>
                  <a:pt x="13" y="45"/>
                  <a:pt x="13" y="46"/>
                </a:cubicBezTo>
                <a:cubicBezTo>
                  <a:pt x="13" y="46"/>
                  <a:pt x="13" y="47"/>
                  <a:pt x="13" y="47"/>
                </a:cubicBezTo>
                <a:cubicBezTo>
                  <a:pt x="12" y="48"/>
                  <a:pt x="12" y="48"/>
                  <a:pt x="12" y="48"/>
                </a:cubicBezTo>
                <a:cubicBezTo>
                  <a:pt x="12" y="48"/>
                  <a:pt x="12" y="49"/>
                  <a:pt x="12" y="50"/>
                </a:cubicBezTo>
                <a:cubicBezTo>
                  <a:pt x="11" y="51"/>
                  <a:pt x="11" y="51"/>
                  <a:pt x="11" y="52"/>
                </a:cubicBezTo>
                <a:cubicBezTo>
                  <a:pt x="11" y="53"/>
                  <a:pt x="11" y="54"/>
                  <a:pt x="11" y="55"/>
                </a:cubicBezTo>
                <a:cubicBezTo>
                  <a:pt x="11" y="56"/>
                  <a:pt x="11" y="57"/>
                  <a:pt x="11" y="57"/>
                </a:cubicBezTo>
                <a:cubicBezTo>
                  <a:pt x="11" y="58"/>
                  <a:pt x="11" y="58"/>
                  <a:pt x="11" y="59"/>
                </a:cubicBezTo>
                <a:cubicBezTo>
                  <a:pt x="11" y="62"/>
                  <a:pt x="10" y="63"/>
                  <a:pt x="9" y="65"/>
                </a:cubicBezTo>
                <a:cubicBezTo>
                  <a:pt x="9" y="65"/>
                  <a:pt x="9" y="65"/>
                  <a:pt x="9" y="65"/>
                </a:cubicBezTo>
                <a:cubicBezTo>
                  <a:pt x="7" y="66"/>
                  <a:pt x="6" y="65"/>
                  <a:pt x="4" y="65"/>
                </a:cubicBezTo>
                <a:cubicBezTo>
                  <a:pt x="3" y="65"/>
                  <a:pt x="3" y="65"/>
                  <a:pt x="3" y="65"/>
                </a:cubicBezTo>
                <a:cubicBezTo>
                  <a:pt x="2" y="65"/>
                  <a:pt x="2" y="65"/>
                  <a:pt x="2" y="65"/>
                </a:cubicBezTo>
                <a:cubicBezTo>
                  <a:pt x="2" y="65"/>
                  <a:pt x="2" y="65"/>
                  <a:pt x="2" y="65"/>
                </a:cubicBezTo>
                <a:cubicBezTo>
                  <a:pt x="1" y="65"/>
                  <a:pt x="1" y="65"/>
                  <a:pt x="1" y="65"/>
                </a:cubicBezTo>
                <a:cubicBezTo>
                  <a:pt x="1" y="65"/>
                  <a:pt x="0" y="66"/>
                  <a:pt x="0" y="67"/>
                </a:cubicBezTo>
                <a:cubicBezTo>
                  <a:pt x="0" y="67"/>
                  <a:pt x="0" y="67"/>
                  <a:pt x="0" y="68"/>
                </a:cubicBezTo>
                <a:cubicBezTo>
                  <a:pt x="0" y="68"/>
                  <a:pt x="0" y="68"/>
                  <a:pt x="0" y="68"/>
                </a:cubicBezTo>
                <a:cubicBezTo>
                  <a:pt x="0" y="68"/>
                  <a:pt x="0" y="69"/>
                  <a:pt x="0" y="69"/>
                </a:cubicBezTo>
                <a:cubicBezTo>
                  <a:pt x="1" y="69"/>
                  <a:pt x="2" y="70"/>
                  <a:pt x="4" y="70"/>
                </a:cubicBezTo>
                <a:cubicBezTo>
                  <a:pt x="4" y="70"/>
                  <a:pt x="4" y="70"/>
                  <a:pt x="4" y="70"/>
                </a:cubicBezTo>
                <a:cubicBezTo>
                  <a:pt x="4" y="70"/>
                  <a:pt x="4" y="71"/>
                  <a:pt x="5" y="71"/>
                </a:cubicBezTo>
                <a:cubicBezTo>
                  <a:pt x="5" y="71"/>
                  <a:pt x="5" y="71"/>
                  <a:pt x="6" y="71"/>
                </a:cubicBezTo>
                <a:cubicBezTo>
                  <a:pt x="7" y="71"/>
                  <a:pt x="8" y="73"/>
                  <a:pt x="8" y="74"/>
                </a:cubicBezTo>
                <a:cubicBezTo>
                  <a:pt x="9" y="74"/>
                  <a:pt x="9" y="74"/>
                  <a:pt x="9" y="75"/>
                </a:cubicBezTo>
                <a:cubicBezTo>
                  <a:pt x="9" y="75"/>
                  <a:pt x="10" y="75"/>
                  <a:pt x="10" y="76"/>
                </a:cubicBezTo>
                <a:cubicBezTo>
                  <a:pt x="10" y="76"/>
                  <a:pt x="10" y="76"/>
                  <a:pt x="10" y="76"/>
                </a:cubicBezTo>
                <a:cubicBezTo>
                  <a:pt x="11" y="77"/>
                  <a:pt x="12" y="77"/>
                  <a:pt x="13" y="78"/>
                </a:cubicBezTo>
                <a:cubicBezTo>
                  <a:pt x="13" y="78"/>
                  <a:pt x="13" y="78"/>
                  <a:pt x="14" y="79"/>
                </a:cubicBezTo>
                <a:cubicBezTo>
                  <a:pt x="14" y="79"/>
                  <a:pt x="15" y="80"/>
                  <a:pt x="15" y="80"/>
                </a:cubicBezTo>
                <a:cubicBezTo>
                  <a:pt x="16" y="81"/>
                  <a:pt x="16" y="81"/>
                  <a:pt x="16" y="81"/>
                </a:cubicBezTo>
                <a:cubicBezTo>
                  <a:pt x="16" y="81"/>
                  <a:pt x="17" y="81"/>
                  <a:pt x="17" y="82"/>
                </a:cubicBezTo>
                <a:cubicBezTo>
                  <a:pt x="18" y="84"/>
                  <a:pt x="20" y="90"/>
                  <a:pt x="20" y="91"/>
                </a:cubicBezTo>
                <a:cubicBezTo>
                  <a:pt x="20" y="91"/>
                  <a:pt x="21" y="91"/>
                  <a:pt x="21" y="92"/>
                </a:cubicBezTo>
                <a:cubicBezTo>
                  <a:pt x="21" y="92"/>
                  <a:pt x="21" y="92"/>
                  <a:pt x="21" y="92"/>
                </a:cubicBezTo>
                <a:cubicBezTo>
                  <a:pt x="21" y="92"/>
                  <a:pt x="22" y="93"/>
                  <a:pt x="22" y="93"/>
                </a:cubicBezTo>
                <a:cubicBezTo>
                  <a:pt x="22" y="93"/>
                  <a:pt x="22" y="93"/>
                  <a:pt x="22" y="93"/>
                </a:cubicBezTo>
                <a:cubicBezTo>
                  <a:pt x="22" y="93"/>
                  <a:pt x="23" y="93"/>
                  <a:pt x="23" y="93"/>
                </a:cubicBezTo>
                <a:cubicBezTo>
                  <a:pt x="23" y="94"/>
                  <a:pt x="24" y="94"/>
                  <a:pt x="25" y="94"/>
                </a:cubicBezTo>
                <a:cubicBezTo>
                  <a:pt x="25" y="94"/>
                  <a:pt x="25" y="94"/>
                  <a:pt x="25" y="94"/>
                </a:cubicBezTo>
                <a:cubicBezTo>
                  <a:pt x="25" y="94"/>
                  <a:pt x="26" y="94"/>
                  <a:pt x="27" y="95"/>
                </a:cubicBezTo>
                <a:cubicBezTo>
                  <a:pt x="28" y="95"/>
                  <a:pt x="28" y="96"/>
                  <a:pt x="28" y="96"/>
                </a:cubicBezTo>
                <a:cubicBezTo>
                  <a:pt x="28" y="97"/>
                  <a:pt x="28" y="97"/>
                  <a:pt x="28" y="97"/>
                </a:cubicBezTo>
                <a:cubicBezTo>
                  <a:pt x="28" y="97"/>
                  <a:pt x="28" y="98"/>
                  <a:pt x="28" y="98"/>
                </a:cubicBezTo>
                <a:cubicBezTo>
                  <a:pt x="28" y="99"/>
                  <a:pt x="28" y="99"/>
                  <a:pt x="28" y="99"/>
                </a:cubicBezTo>
                <a:cubicBezTo>
                  <a:pt x="28" y="99"/>
                  <a:pt x="28" y="99"/>
                  <a:pt x="28" y="99"/>
                </a:cubicBezTo>
                <a:cubicBezTo>
                  <a:pt x="28" y="100"/>
                  <a:pt x="28" y="100"/>
                  <a:pt x="28" y="100"/>
                </a:cubicBezTo>
                <a:cubicBezTo>
                  <a:pt x="28" y="102"/>
                  <a:pt x="28" y="102"/>
                  <a:pt x="28" y="102"/>
                </a:cubicBezTo>
                <a:cubicBezTo>
                  <a:pt x="28" y="102"/>
                  <a:pt x="28" y="102"/>
                  <a:pt x="28" y="102"/>
                </a:cubicBezTo>
                <a:cubicBezTo>
                  <a:pt x="29" y="102"/>
                  <a:pt x="29" y="102"/>
                  <a:pt x="29" y="102"/>
                </a:cubicBezTo>
                <a:cubicBezTo>
                  <a:pt x="29" y="103"/>
                  <a:pt x="30" y="104"/>
                  <a:pt x="30" y="104"/>
                </a:cubicBezTo>
                <a:cubicBezTo>
                  <a:pt x="35" y="104"/>
                  <a:pt x="35" y="104"/>
                  <a:pt x="35" y="104"/>
                </a:cubicBezTo>
                <a:cubicBezTo>
                  <a:pt x="36" y="104"/>
                  <a:pt x="36" y="104"/>
                  <a:pt x="37" y="104"/>
                </a:cubicBezTo>
                <a:cubicBezTo>
                  <a:pt x="37" y="104"/>
                  <a:pt x="38" y="104"/>
                  <a:pt x="38" y="104"/>
                </a:cubicBezTo>
                <a:cubicBezTo>
                  <a:pt x="39" y="103"/>
                  <a:pt x="39" y="103"/>
                  <a:pt x="39" y="103"/>
                </a:cubicBezTo>
                <a:cubicBezTo>
                  <a:pt x="38" y="105"/>
                  <a:pt x="38" y="105"/>
                  <a:pt x="38" y="105"/>
                </a:cubicBezTo>
                <a:cubicBezTo>
                  <a:pt x="39" y="105"/>
                  <a:pt x="39" y="105"/>
                  <a:pt x="39" y="105"/>
                </a:cubicBezTo>
                <a:cubicBezTo>
                  <a:pt x="39" y="105"/>
                  <a:pt x="39" y="105"/>
                  <a:pt x="40" y="105"/>
                </a:cubicBezTo>
                <a:cubicBezTo>
                  <a:pt x="40" y="105"/>
                  <a:pt x="40" y="105"/>
                  <a:pt x="40" y="105"/>
                </a:cubicBezTo>
                <a:cubicBezTo>
                  <a:pt x="41" y="106"/>
                  <a:pt x="41" y="106"/>
                  <a:pt x="42" y="106"/>
                </a:cubicBezTo>
                <a:cubicBezTo>
                  <a:pt x="42" y="107"/>
                  <a:pt x="42" y="107"/>
                  <a:pt x="42" y="107"/>
                </a:cubicBezTo>
                <a:cubicBezTo>
                  <a:pt x="43" y="107"/>
                  <a:pt x="43" y="107"/>
                  <a:pt x="44" y="108"/>
                </a:cubicBezTo>
                <a:cubicBezTo>
                  <a:pt x="45" y="108"/>
                  <a:pt x="45" y="108"/>
                  <a:pt x="45" y="108"/>
                </a:cubicBezTo>
                <a:cubicBezTo>
                  <a:pt x="46" y="109"/>
                  <a:pt x="47" y="110"/>
                  <a:pt x="49" y="111"/>
                </a:cubicBezTo>
                <a:cubicBezTo>
                  <a:pt x="49" y="111"/>
                  <a:pt x="50" y="112"/>
                  <a:pt x="51" y="112"/>
                </a:cubicBezTo>
                <a:cubicBezTo>
                  <a:pt x="52" y="113"/>
                  <a:pt x="55" y="113"/>
                  <a:pt x="57" y="113"/>
                </a:cubicBezTo>
                <a:cubicBezTo>
                  <a:pt x="57" y="113"/>
                  <a:pt x="58" y="113"/>
                  <a:pt x="58" y="113"/>
                </a:cubicBezTo>
                <a:cubicBezTo>
                  <a:pt x="60" y="113"/>
                  <a:pt x="60" y="113"/>
                  <a:pt x="60" y="113"/>
                </a:cubicBezTo>
                <a:cubicBezTo>
                  <a:pt x="61" y="114"/>
                  <a:pt x="62" y="114"/>
                  <a:pt x="63" y="114"/>
                </a:cubicBezTo>
                <a:cubicBezTo>
                  <a:pt x="64" y="114"/>
                  <a:pt x="64" y="114"/>
                  <a:pt x="64" y="114"/>
                </a:cubicBezTo>
                <a:cubicBezTo>
                  <a:pt x="65" y="114"/>
                  <a:pt x="65" y="113"/>
                  <a:pt x="66" y="112"/>
                </a:cubicBezTo>
                <a:cubicBezTo>
                  <a:pt x="66" y="111"/>
                  <a:pt x="67" y="110"/>
                  <a:pt x="69" y="109"/>
                </a:cubicBezTo>
                <a:cubicBezTo>
                  <a:pt x="77" y="105"/>
                  <a:pt x="77" y="105"/>
                  <a:pt x="77" y="105"/>
                </a:cubicBezTo>
                <a:cubicBezTo>
                  <a:pt x="77" y="105"/>
                  <a:pt x="77" y="105"/>
                  <a:pt x="77" y="105"/>
                </a:cubicBezTo>
                <a:cubicBezTo>
                  <a:pt x="77" y="105"/>
                  <a:pt x="77" y="105"/>
                  <a:pt x="77" y="105"/>
                </a:cubicBezTo>
                <a:cubicBezTo>
                  <a:pt x="77" y="105"/>
                  <a:pt x="77" y="105"/>
                  <a:pt x="77" y="105"/>
                </a:cubicBezTo>
                <a:cubicBezTo>
                  <a:pt x="78" y="105"/>
                  <a:pt x="78" y="105"/>
                  <a:pt x="78" y="105"/>
                </a:cubicBezTo>
                <a:cubicBezTo>
                  <a:pt x="78" y="105"/>
                  <a:pt x="78" y="106"/>
                  <a:pt x="79" y="106"/>
                </a:cubicBezTo>
                <a:cubicBezTo>
                  <a:pt x="79" y="106"/>
                  <a:pt x="79" y="106"/>
                  <a:pt x="80" y="107"/>
                </a:cubicBezTo>
                <a:cubicBezTo>
                  <a:pt x="80" y="107"/>
                  <a:pt x="81" y="108"/>
                  <a:pt x="82" y="109"/>
                </a:cubicBezTo>
                <a:cubicBezTo>
                  <a:pt x="82" y="109"/>
                  <a:pt x="82" y="109"/>
                  <a:pt x="82" y="109"/>
                </a:cubicBezTo>
                <a:cubicBezTo>
                  <a:pt x="82" y="109"/>
                  <a:pt x="82" y="109"/>
                  <a:pt x="83" y="109"/>
                </a:cubicBezTo>
                <a:cubicBezTo>
                  <a:pt x="83" y="109"/>
                  <a:pt x="83" y="109"/>
                  <a:pt x="83" y="109"/>
                </a:cubicBezTo>
                <a:cubicBezTo>
                  <a:pt x="83" y="109"/>
                  <a:pt x="84" y="109"/>
                  <a:pt x="85" y="109"/>
                </a:cubicBezTo>
                <a:cubicBezTo>
                  <a:pt x="85" y="109"/>
                  <a:pt x="85" y="109"/>
                  <a:pt x="85" y="109"/>
                </a:cubicBezTo>
                <a:cubicBezTo>
                  <a:pt x="85" y="109"/>
                  <a:pt x="86" y="109"/>
                  <a:pt x="87" y="109"/>
                </a:cubicBezTo>
                <a:cubicBezTo>
                  <a:pt x="87" y="109"/>
                  <a:pt x="87" y="109"/>
                  <a:pt x="87" y="109"/>
                </a:cubicBezTo>
                <a:cubicBezTo>
                  <a:pt x="88" y="109"/>
                  <a:pt x="88" y="109"/>
                  <a:pt x="88" y="109"/>
                </a:cubicBezTo>
                <a:cubicBezTo>
                  <a:pt x="88" y="108"/>
                  <a:pt x="89" y="108"/>
                  <a:pt x="89" y="108"/>
                </a:cubicBezTo>
                <a:cubicBezTo>
                  <a:pt x="90" y="107"/>
                  <a:pt x="90" y="107"/>
                  <a:pt x="91" y="106"/>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89" name="Rectangle 3046">
            <a:extLst>
              <a:ext uri="{FF2B5EF4-FFF2-40B4-BE49-F238E27FC236}">
                <a16:creationId xmlns:a16="http://schemas.microsoft.com/office/drawing/2014/main" id="{4FC7B04E-7038-40B8-9A9E-57C1F74EB93E}"/>
              </a:ext>
            </a:extLst>
          </p:cNvPr>
          <p:cNvSpPr>
            <a:spLocks noChangeArrowheads="1"/>
          </p:cNvSpPr>
          <p:nvPr/>
        </p:nvSpPr>
        <p:spPr bwMode="auto">
          <a:xfrm>
            <a:off x="3789467" y="3550827"/>
            <a:ext cx="496" cy="594"/>
          </a:xfrm>
          <a:prstGeom prst="rect">
            <a:avLst/>
          </a:prstGeom>
          <a:solidFill>
            <a:schemeClr val="tx1">
              <a:lumMod val="40000"/>
              <a:lumOff val="60000"/>
            </a:schemeClr>
          </a:solid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90" name="Freeform 3047">
            <a:extLst>
              <a:ext uri="{FF2B5EF4-FFF2-40B4-BE49-F238E27FC236}">
                <a16:creationId xmlns:a16="http://schemas.microsoft.com/office/drawing/2014/main" id="{DE6C58DA-BE7D-4E34-B6B0-FE3865AB17AA}"/>
              </a:ext>
            </a:extLst>
          </p:cNvPr>
          <p:cNvSpPr>
            <a:spLocks/>
          </p:cNvSpPr>
          <p:nvPr/>
        </p:nvSpPr>
        <p:spPr bwMode="auto">
          <a:xfrm>
            <a:off x="3777574" y="3500371"/>
            <a:ext cx="78299" cy="78355"/>
          </a:xfrm>
          <a:custGeom>
            <a:avLst/>
            <a:gdLst>
              <a:gd name="T0" fmla="*/ 19 w 67"/>
              <a:gd name="T1" fmla="*/ 4 h 56"/>
              <a:gd name="T2" fmla="*/ 19 w 67"/>
              <a:gd name="T3" fmla="*/ 4 h 56"/>
              <a:gd name="T4" fmla="*/ 18 w 67"/>
              <a:gd name="T5" fmla="*/ 4 h 56"/>
              <a:gd name="T6" fmla="*/ 17 w 67"/>
              <a:gd name="T7" fmla="*/ 5 h 56"/>
              <a:gd name="T8" fmla="*/ 15 w 67"/>
              <a:gd name="T9" fmla="*/ 5 h 56"/>
              <a:gd name="T10" fmla="*/ 11 w 67"/>
              <a:gd name="T11" fmla="*/ 8 h 56"/>
              <a:gd name="T12" fmla="*/ 11 w 67"/>
              <a:gd name="T13" fmla="*/ 9 h 56"/>
              <a:gd name="T14" fmla="*/ 6 w 67"/>
              <a:gd name="T15" fmla="*/ 10 h 56"/>
              <a:gd name="T16" fmla="*/ 0 w 67"/>
              <a:gd name="T17" fmla="*/ 29 h 56"/>
              <a:gd name="T18" fmla="*/ 1 w 67"/>
              <a:gd name="T19" fmla="*/ 33 h 56"/>
              <a:gd name="T20" fmla="*/ 1 w 67"/>
              <a:gd name="T21" fmla="*/ 35 h 56"/>
              <a:gd name="T22" fmla="*/ 1 w 67"/>
              <a:gd name="T23" fmla="*/ 36 h 56"/>
              <a:gd name="T24" fmla="*/ 1 w 67"/>
              <a:gd name="T25" fmla="*/ 37 h 56"/>
              <a:gd name="T26" fmla="*/ 4 w 67"/>
              <a:gd name="T27" fmla="*/ 37 h 56"/>
              <a:gd name="T28" fmla="*/ 6 w 67"/>
              <a:gd name="T29" fmla="*/ 36 h 56"/>
              <a:gd name="T30" fmla="*/ 9 w 67"/>
              <a:gd name="T31" fmla="*/ 35 h 56"/>
              <a:gd name="T32" fmla="*/ 10 w 67"/>
              <a:gd name="T33" fmla="*/ 36 h 56"/>
              <a:gd name="T34" fmla="*/ 12 w 67"/>
              <a:gd name="T35" fmla="*/ 32 h 56"/>
              <a:gd name="T36" fmla="*/ 14 w 67"/>
              <a:gd name="T37" fmla="*/ 29 h 56"/>
              <a:gd name="T38" fmla="*/ 16 w 67"/>
              <a:gd name="T39" fmla="*/ 31 h 56"/>
              <a:gd name="T40" fmla="*/ 16 w 67"/>
              <a:gd name="T41" fmla="*/ 32 h 56"/>
              <a:gd name="T42" fmla="*/ 20 w 67"/>
              <a:gd name="T43" fmla="*/ 34 h 56"/>
              <a:gd name="T44" fmla="*/ 22 w 67"/>
              <a:gd name="T45" fmla="*/ 34 h 56"/>
              <a:gd name="T46" fmla="*/ 24 w 67"/>
              <a:gd name="T47" fmla="*/ 34 h 56"/>
              <a:gd name="T48" fmla="*/ 26 w 67"/>
              <a:gd name="T49" fmla="*/ 33 h 56"/>
              <a:gd name="T50" fmla="*/ 27 w 67"/>
              <a:gd name="T51" fmla="*/ 33 h 56"/>
              <a:gd name="T52" fmla="*/ 28 w 67"/>
              <a:gd name="T53" fmla="*/ 33 h 56"/>
              <a:gd name="T54" fmla="*/ 31 w 67"/>
              <a:gd name="T55" fmla="*/ 32 h 56"/>
              <a:gd name="T56" fmla="*/ 29 w 67"/>
              <a:gd name="T57" fmla="*/ 34 h 56"/>
              <a:gd name="T58" fmla="*/ 30 w 67"/>
              <a:gd name="T59" fmla="*/ 34 h 56"/>
              <a:gd name="T60" fmla="*/ 31 w 67"/>
              <a:gd name="T61" fmla="*/ 34 h 56"/>
              <a:gd name="T62" fmla="*/ 34 w 67"/>
              <a:gd name="T63" fmla="*/ 34 h 56"/>
              <a:gd name="T64" fmla="*/ 39 w 67"/>
              <a:gd name="T65" fmla="*/ 35 h 56"/>
              <a:gd name="T66" fmla="*/ 39 w 67"/>
              <a:gd name="T67" fmla="*/ 35 h 56"/>
              <a:gd name="T68" fmla="*/ 42 w 67"/>
              <a:gd name="T69" fmla="*/ 36 h 56"/>
              <a:gd name="T70" fmla="*/ 52 w 67"/>
              <a:gd name="T71" fmla="*/ 46 h 56"/>
              <a:gd name="T72" fmla="*/ 61 w 67"/>
              <a:gd name="T73" fmla="*/ 56 h 56"/>
              <a:gd name="T74" fmla="*/ 67 w 67"/>
              <a:gd name="T75" fmla="*/ 53 h 56"/>
              <a:gd name="T76" fmla="*/ 59 w 67"/>
              <a:gd name="T77" fmla="*/ 47 h 56"/>
              <a:gd name="T78" fmla="*/ 47 w 67"/>
              <a:gd name="T79" fmla="*/ 34 h 56"/>
              <a:gd name="T80" fmla="*/ 34 w 67"/>
              <a:gd name="T81" fmla="*/ 25 h 56"/>
              <a:gd name="T82" fmla="*/ 32 w 67"/>
              <a:gd name="T83" fmla="*/ 28 h 56"/>
              <a:gd name="T84" fmla="*/ 28 w 67"/>
              <a:gd name="T85" fmla="*/ 18 h 56"/>
              <a:gd name="T86" fmla="*/ 21 w 67"/>
              <a:gd name="T87" fmla="*/ 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7" h="56">
                <a:moveTo>
                  <a:pt x="21" y="1"/>
                </a:moveTo>
                <a:cubicBezTo>
                  <a:pt x="21" y="2"/>
                  <a:pt x="20" y="3"/>
                  <a:pt x="19" y="3"/>
                </a:cubicBezTo>
                <a:cubicBezTo>
                  <a:pt x="19" y="3"/>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8" y="4"/>
                  <a:pt x="18" y="4"/>
                  <a:pt x="18" y="4"/>
                </a:cubicBezTo>
                <a:cubicBezTo>
                  <a:pt x="18" y="4"/>
                  <a:pt x="18" y="4"/>
                  <a:pt x="18" y="4"/>
                </a:cubicBezTo>
                <a:cubicBezTo>
                  <a:pt x="18" y="5"/>
                  <a:pt x="18" y="5"/>
                  <a:pt x="18" y="5"/>
                </a:cubicBezTo>
                <a:cubicBezTo>
                  <a:pt x="17" y="5"/>
                  <a:pt x="17" y="5"/>
                  <a:pt x="17" y="5"/>
                </a:cubicBezTo>
                <a:cubicBezTo>
                  <a:pt x="17" y="5"/>
                  <a:pt x="17" y="5"/>
                  <a:pt x="17" y="5"/>
                </a:cubicBezTo>
                <a:cubicBezTo>
                  <a:pt x="16" y="5"/>
                  <a:pt x="16" y="5"/>
                  <a:pt x="15" y="5"/>
                </a:cubicBezTo>
                <a:cubicBezTo>
                  <a:pt x="15" y="5"/>
                  <a:pt x="15" y="5"/>
                  <a:pt x="15" y="5"/>
                </a:cubicBezTo>
                <a:cubicBezTo>
                  <a:pt x="15" y="5"/>
                  <a:pt x="15" y="5"/>
                  <a:pt x="15" y="5"/>
                </a:cubicBezTo>
                <a:cubicBezTo>
                  <a:pt x="15" y="6"/>
                  <a:pt x="14" y="6"/>
                  <a:pt x="14" y="6"/>
                </a:cubicBezTo>
                <a:cubicBezTo>
                  <a:pt x="14" y="6"/>
                  <a:pt x="14" y="6"/>
                  <a:pt x="14" y="6"/>
                </a:cubicBezTo>
                <a:cubicBezTo>
                  <a:pt x="13" y="7"/>
                  <a:pt x="12" y="7"/>
                  <a:pt x="11" y="8"/>
                </a:cubicBezTo>
                <a:cubicBezTo>
                  <a:pt x="11" y="8"/>
                  <a:pt x="11" y="8"/>
                  <a:pt x="11" y="8"/>
                </a:cubicBezTo>
                <a:cubicBezTo>
                  <a:pt x="11" y="8"/>
                  <a:pt x="11" y="8"/>
                  <a:pt x="11" y="8"/>
                </a:cubicBezTo>
                <a:cubicBezTo>
                  <a:pt x="11" y="8"/>
                  <a:pt x="11" y="8"/>
                  <a:pt x="11" y="9"/>
                </a:cubicBezTo>
                <a:cubicBezTo>
                  <a:pt x="11" y="9"/>
                  <a:pt x="11" y="9"/>
                  <a:pt x="11" y="9"/>
                </a:cubicBezTo>
                <a:cubicBezTo>
                  <a:pt x="10" y="9"/>
                  <a:pt x="10" y="9"/>
                  <a:pt x="10" y="9"/>
                </a:cubicBezTo>
                <a:cubicBezTo>
                  <a:pt x="9" y="10"/>
                  <a:pt x="7" y="10"/>
                  <a:pt x="6" y="10"/>
                </a:cubicBezTo>
                <a:cubicBezTo>
                  <a:pt x="6" y="13"/>
                  <a:pt x="6" y="15"/>
                  <a:pt x="4" y="18"/>
                </a:cubicBezTo>
                <a:cubicBezTo>
                  <a:pt x="4" y="20"/>
                  <a:pt x="3" y="21"/>
                  <a:pt x="3" y="22"/>
                </a:cubicBezTo>
                <a:cubicBezTo>
                  <a:pt x="2" y="24"/>
                  <a:pt x="1" y="27"/>
                  <a:pt x="0" y="29"/>
                </a:cubicBezTo>
                <a:cubicBezTo>
                  <a:pt x="0" y="30"/>
                  <a:pt x="0" y="31"/>
                  <a:pt x="1" y="32"/>
                </a:cubicBezTo>
                <a:cubicBezTo>
                  <a:pt x="1" y="32"/>
                  <a:pt x="1" y="32"/>
                  <a:pt x="1" y="32"/>
                </a:cubicBezTo>
                <a:cubicBezTo>
                  <a:pt x="1" y="32"/>
                  <a:pt x="1" y="33"/>
                  <a:pt x="1" y="33"/>
                </a:cubicBezTo>
                <a:cubicBezTo>
                  <a:pt x="1" y="33"/>
                  <a:pt x="1" y="33"/>
                  <a:pt x="1" y="33"/>
                </a:cubicBezTo>
                <a:cubicBezTo>
                  <a:pt x="1" y="33"/>
                  <a:pt x="1" y="34"/>
                  <a:pt x="1" y="35"/>
                </a:cubicBezTo>
                <a:cubicBezTo>
                  <a:pt x="1" y="35"/>
                  <a:pt x="1" y="35"/>
                  <a:pt x="1" y="35"/>
                </a:cubicBezTo>
                <a:cubicBezTo>
                  <a:pt x="1" y="35"/>
                  <a:pt x="1" y="35"/>
                  <a:pt x="1" y="35"/>
                </a:cubicBezTo>
                <a:cubicBezTo>
                  <a:pt x="1" y="36"/>
                  <a:pt x="1" y="36"/>
                  <a:pt x="1" y="36"/>
                </a:cubicBezTo>
                <a:cubicBezTo>
                  <a:pt x="1" y="36"/>
                  <a:pt x="1" y="36"/>
                  <a:pt x="1" y="36"/>
                </a:cubicBezTo>
                <a:cubicBezTo>
                  <a:pt x="1" y="36"/>
                  <a:pt x="1" y="36"/>
                  <a:pt x="1" y="36"/>
                </a:cubicBezTo>
                <a:cubicBezTo>
                  <a:pt x="1" y="37"/>
                  <a:pt x="1" y="37"/>
                  <a:pt x="1" y="37"/>
                </a:cubicBezTo>
                <a:cubicBezTo>
                  <a:pt x="1" y="37"/>
                  <a:pt x="1" y="37"/>
                  <a:pt x="1" y="37"/>
                </a:cubicBezTo>
                <a:cubicBezTo>
                  <a:pt x="1" y="37"/>
                  <a:pt x="2" y="37"/>
                  <a:pt x="2" y="37"/>
                </a:cubicBezTo>
                <a:cubicBezTo>
                  <a:pt x="3" y="37"/>
                  <a:pt x="3" y="37"/>
                  <a:pt x="3" y="37"/>
                </a:cubicBezTo>
                <a:cubicBezTo>
                  <a:pt x="3" y="37"/>
                  <a:pt x="4" y="37"/>
                  <a:pt x="4" y="37"/>
                </a:cubicBezTo>
                <a:cubicBezTo>
                  <a:pt x="4" y="37"/>
                  <a:pt x="4" y="37"/>
                  <a:pt x="4" y="37"/>
                </a:cubicBezTo>
                <a:cubicBezTo>
                  <a:pt x="5" y="37"/>
                  <a:pt x="5" y="37"/>
                  <a:pt x="5" y="36"/>
                </a:cubicBezTo>
                <a:cubicBezTo>
                  <a:pt x="6" y="36"/>
                  <a:pt x="6" y="36"/>
                  <a:pt x="6" y="36"/>
                </a:cubicBezTo>
                <a:cubicBezTo>
                  <a:pt x="7" y="35"/>
                  <a:pt x="7" y="35"/>
                  <a:pt x="7" y="35"/>
                </a:cubicBezTo>
                <a:cubicBezTo>
                  <a:pt x="8" y="34"/>
                  <a:pt x="8" y="34"/>
                  <a:pt x="8" y="34"/>
                </a:cubicBezTo>
                <a:cubicBezTo>
                  <a:pt x="9" y="35"/>
                  <a:pt x="9" y="35"/>
                  <a:pt x="9" y="35"/>
                </a:cubicBezTo>
                <a:cubicBezTo>
                  <a:pt x="9" y="35"/>
                  <a:pt x="9"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1" y="35"/>
                  <a:pt x="12" y="33"/>
                  <a:pt x="12" y="32"/>
                </a:cubicBezTo>
                <a:cubicBezTo>
                  <a:pt x="12" y="32"/>
                  <a:pt x="12" y="32"/>
                  <a:pt x="12" y="32"/>
                </a:cubicBezTo>
                <a:cubicBezTo>
                  <a:pt x="12" y="32"/>
                  <a:pt x="12" y="32"/>
                  <a:pt x="12" y="32"/>
                </a:cubicBezTo>
                <a:cubicBezTo>
                  <a:pt x="14" y="29"/>
                  <a:pt x="14" y="29"/>
                  <a:pt x="14" y="29"/>
                </a:cubicBezTo>
                <a:cubicBezTo>
                  <a:pt x="15" y="30"/>
                  <a:pt x="15" y="30"/>
                  <a:pt x="15" y="30"/>
                </a:cubicBezTo>
                <a:cubicBezTo>
                  <a:pt x="15" y="31"/>
                  <a:pt x="15" y="31"/>
                  <a:pt x="15" y="31"/>
                </a:cubicBezTo>
                <a:cubicBezTo>
                  <a:pt x="16" y="31"/>
                  <a:pt x="16" y="31"/>
                  <a:pt x="16" y="31"/>
                </a:cubicBezTo>
                <a:cubicBezTo>
                  <a:pt x="16" y="31"/>
                  <a:pt x="16" y="31"/>
                  <a:pt x="16" y="31"/>
                </a:cubicBezTo>
                <a:cubicBezTo>
                  <a:pt x="16" y="31"/>
                  <a:pt x="16" y="32"/>
                  <a:pt x="16" y="32"/>
                </a:cubicBezTo>
                <a:cubicBezTo>
                  <a:pt x="16" y="32"/>
                  <a:pt x="16" y="32"/>
                  <a:pt x="16" y="32"/>
                </a:cubicBezTo>
                <a:cubicBezTo>
                  <a:pt x="17" y="32"/>
                  <a:pt x="17" y="32"/>
                  <a:pt x="17" y="32"/>
                </a:cubicBezTo>
                <a:cubicBezTo>
                  <a:pt x="18" y="32"/>
                  <a:pt x="19" y="33"/>
                  <a:pt x="20" y="33"/>
                </a:cubicBezTo>
                <a:cubicBezTo>
                  <a:pt x="20" y="34"/>
                  <a:pt x="20" y="34"/>
                  <a:pt x="20" y="34"/>
                </a:cubicBezTo>
                <a:cubicBezTo>
                  <a:pt x="20" y="34"/>
                  <a:pt x="20" y="34"/>
                  <a:pt x="20" y="35"/>
                </a:cubicBezTo>
                <a:cubicBezTo>
                  <a:pt x="21" y="35"/>
                  <a:pt x="21" y="35"/>
                  <a:pt x="21" y="35"/>
                </a:cubicBezTo>
                <a:cubicBezTo>
                  <a:pt x="21" y="35"/>
                  <a:pt x="22" y="34"/>
                  <a:pt x="22" y="34"/>
                </a:cubicBezTo>
                <a:cubicBezTo>
                  <a:pt x="23" y="34"/>
                  <a:pt x="23" y="34"/>
                  <a:pt x="23" y="34"/>
                </a:cubicBezTo>
                <a:cubicBezTo>
                  <a:pt x="23" y="34"/>
                  <a:pt x="23" y="34"/>
                  <a:pt x="24" y="34"/>
                </a:cubicBezTo>
                <a:cubicBezTo>
                  <a:pt x="24" y="34"/>
                  <a:pt x="24" y="34"/>
                  <a:pt x="24" y="34"/>
                </a:cubicBezTo>
                <a:cubicBezTo>
                  <a:pt x="24" y="34"/>
                  <a:pt x="24" y="34"/>
                  <a:pt x="24" y="34"/>
                </a:cubicBezTo>
                <a:cubicBezTo>
                  <a:pt x="25" y="34"/>
                  <a:pt x="25" y="33"/>
                  <a:pt x="25" y="33"/>
                </a:cubicBezTo>
                <a:cubicBezTo>
                  <a:pt x="25" y="33"/>
                  <a:pt x="26" y="33"/>
                  <a:pt x="26" y="33"/>
                </a:cubicBezTo>
                <a:cubicBezTo>
                  <a:pt x="26" y="33"/>
                  <a:pt x="26" y="33"/>
                  <a:pt x="26" y="33"/>
                </a:cubicBezTo>
                <a:cubicBezTo>
                  <a:pt x="26" y="33"/>
                  <a:pt x="26" y="33"/>
                  <a:pt x="27" y="33"/>
                </a:cubicBezTo>
                <a:cubicBezTo>
                  <a:pt x="27" y="33"/>
                  <a:pt x="27" y="33"/>
                  <a:pt x="27" y="33"/>
                </a:cubicBezTo>
                <a:cubicBezTo>
                  <a:pt x="27" y="33"/>
                  <a:pt x="27" y="33"/>
                  <a:pt x="27" y="33"/>
                </a:cubicBezTo>
                <a:cubicBezTo>
                  <a:pt x="27" y="33"/>
                  <a:pt x="27" y="33"/>
                  <a:pt x="27" y="33"/>
                </a:cubicBezTo>
                <a:cubicBezTo>
                  <a:pt x="27" y="33"/>
                  <a:pt x="28" y="33"/>
                  <a:pt x="28" y="33"/>
                </a:cubicBezTo>
                <a:cubicBezTo>
                  <a:pt x="28" y="33"/>
                  <a:pt x="28" y="33"/>
                  <a:pt x="28" y="33"/>
                </a:cubicBezTo>
                <a:cubicBezTo>
                  <a:pt x="28" y="33"/>
                  <a:pt x="28" y="33"/>
                  <a:pt x="28" y="33"/>
                </a:cubicBezTo>
                <a:cubicBezTo>
                  <a:pt x="31" y="32"/>
                  <a:pt x="31" y="32"/>
                  <a:pt x="31" y="32"/>
                </a:cubicBezTo>
                <a:cubicBezTo>
                  <a:pt x="29" y="34"/>
                  <a:pt x="29" y="34"/>
                  <a:pt x="29" y="34"/>
                </a:cubicBezTo>
                <a:cubicBezTo>
                  <a:pt x="29" y="34"/>
                  <a:pt x="29" y="34"/>
                  <a:pt x="29" y="34"/>
                </a:cubicBezTo>
                <a:cubicBezTo>
                  <a:pt x="29" y="34"/>
                  <a:pt x="29" y="34"/>
                  <a:pt x="29" y="34"/>
                </a:cubicBezTo>
                <a:cubicBezTo>
                  <a:pt x="29" y="34"/>
                  <a:pt x="29" y="34"/>
                  <a:pt x="29" y="34"/>
                </a:cubicBezTo>
                <a:cubicBezTo>
                  <a:pt x="29" y="34"/>
                  <a:pt x="29" y="34"/>
                  <a:pt x="29" y="34"/>
                </a:cubicBezTo>
                <a:cubicBezTo>
                  <a:pt x="30" y="34"/>
                  <a:pt x="30" y="34"/>
                  <a:pt x="30" y="34"/>
                </a:cubicBezTo>
                <a:cubicBezTo>
                  <a:pt x="30" y="34"/>
                  <a:pt x="30" y="34"/>
                  <a:pt x="30" y="34"/>
                </a:cubicBezTo>
                <a:cubicBezTo>
                  <a:pt x="31" y="34"/>
                  <a:pt x="31" y="34"/>
                  <a:pt x="31" y="34"/>
                </a:cubicBezTo>
                <a:cubicBezTo>
                  <a:pt x="31" y="34"/>
                  <a:pt x="31" y="34"/>
                  <a:pt x="31" y="34"/>
                </a:cubicBezTo>
                <a:cubicBezTo>
                  <a:pt x="31" y="33"/>
                  <a:pt x="32" y="33"/>
                  <a:pt x="33" y="33"/>
                </a:cubicBezTo>
                <a:cubicBezTo>
                  <a:pt x="33" y="34"/>
                  <a:pt x="34" y="34"/>
                  <a:pt x="34" y="34"/>
                </a:cubicBezTo>
                <a:cubicBezTo>
                  <a:pt x="34" y="34"/>
                  <a:pt x="34" y="34"/>
                  <a:pt x="34" y="34"/>
                </a:cubicBezTo>
                <a:cubicBezTo>
                  <a:pt x="35" y="34"/>
                  <a:pt x="35" y="34"/>
                  <a:pt x="35" y="34"/>
                </a:cubicBezTo>
                <a:cubicBezTo>
                  <a:pt x="36" y="34"/>
                  <a:pt x="37" y="33"/>
                  <a:pt x="38" y="34"/>
                </a:cubicBezTo>
                <a:cubicBezTo>
                  <a:pt x="39" y="35"/>
                  <a:pt x="39" y="35"/>
                  <a:pt x="39" y="35"/>
                </a:cubicBezTo>
                <a:cubicBezTo>
                  <a:pt x="40" y="33"/>
                  <a:pt x="40" y="33"/>
                  <a:pt x="40" y="33"/>
                </a:cubicBezTo>
                <a:cubicBezTo>
                  <a:pt x="39" y="35"/>
                  <a:pt x="39" y="35"/>
                  <a:pt x="39" y="35"/>
                </a:cubicBezTo>
                <a:cubicBezTo>
                  <a:pt x="39" y="35"/>
                  <a:pt x="39" y="35"/>
                  <a:pt x="39" y="35"/>
                </a:cubicBezTo>
                <a:cubicBezTo>
                  <a:pt x="40" y="35"/>
                  <a:pt x="40" y="36"/>
                  <a:pt x="40" y="36"/>
                </a:cubicBezTo>
                <a:cubicBezTo>
                  <a:pt x="40" y="36"/>
                  <a:pt x="41" y="36"/>
                  <a:pt x="41" y="36"/>
                </a:cubicBezTo>
                <a:cubicBezTo>
                  <a:pt x="41" y="36"/>
                  <a:pt x="41" y="36"/>
                  <a:pt x="42" y="36"/>
                </a:cubicBezTo>
                <a:cubicBezTo>
                  <a:pt x="42" y="37"/>
                  <a:pt x="42" y="37"/>
                  <a:pt x="42" y="37"/>
                </a:cubicBezTo>
                <a:cubicBezTo>
                  <a:pt x="43" y="37"/>
                  <a:pt x="45" y="37"/>
                  <a:pt x="45" y="38"/>
                </a:cubicBezTo>
                <a:cubicBezTo>
                  <a:pt x="48" y="41"/>
                  <a:pt x="50" y="43"/>
                  <a:pt x="52" y="46"/>
                </a:cubicBezTo>
                <a:cubicBezTo>
                  <a:pt x="54" y="47"/>
                  <a:pt x="54" y="47"/>
                  <a:pt x="54" y="47"/>
                </a:cubicBezTo>
                <a:cubicBezTo>
                  <a:pt x="55" y="48"/>
                  <a:pt x="56" y="50"/>
                  <a:pt x="57" y="51"/>
                </a:cubicBezTo>
                <a:cubicBezTo>
                  <a:pt x="61" y="56"/>
                  <a:pt x="61" y="56"/>
                  <a:pt x="61" y="56"/>
                </a:cubicBezTo>
                <a:cubicBezTo>
                  <a:pt x="62" y="56"/>
                  <a:pt x="63" y="56"/>
                  <a:pt x="63" y="56"/>
                </a:cubicBezTo>
                <a:cubicBezTo>
                  <a:pt x="64" y="55"/>
                  <a:pt x="66" y="54"/>
                  <a:pt x="66" y="53"/>
                </a:cubicBezTo>
                <a:cubicBezTo>
                  <a:pt x="67" y="53"/>
                  <a:pt x="67" y="53"/>
                  <a:pt x="67" y="53"/>
                </a:cubicBezTo>
                <a:cubicBezTo>
                  <a:pt x="66" y="52"/>
                  <a:pt x="66" y="52"/>
                  <a:pt x="66" y="52"/>
                </a:cubicBezTo>
                <a:cubicBezTo>
                  <a:pt x="63" y="54"/>
                  <a:pt x="62" y="49"/>
                  <a:pt x="60" y="49"/>
                </a:cubicBezTo>
                <a:cubicBezTo>
                  <a:pt x="60" y="48"/>
                  <a:pt x="60" y="48"/>
                  <a:pt x="59" y="47"/>
                </a:cubicBezTo>
                <a:cubicBezTo>
                  <a:pt x="59" y="45"/>
                  <a:pt x="58" y="43"/>
                  <a:pt x="56" y="42"/>
                </a:cubicBezTo>
                <a:cubicBezTo>
                  <a:pt x="55" y="42"/>
                  <a:pt x="53" y="41"/>
                  <a:pt x="52" y="41"/>
                </a:cubicBezTo>
                <a:cubicBezTo>
                  <a:pt x="50" y="39"/>
                  <a:pt x="49" y="35"/>
                  <a:pt x="47" y="34"/>
                </a:cubicBezTo>
                <a:cubicBezTo>
                  <a:pt x="45" y="33"/>
                  <a:pt x="43" y="32"/>
                  <a:pt x="42" y="31"/>
                </a:cubicBezTo>
                <a:cubicBezTo>
                  <a:pt x="40" y="30"/>
                  <a:pt x="38" y="31"/>
                  <a:pt x="37" y="30"/>
                </a:cubicBezTo>
                <a:cubicBezTo>
                  <a:pt x="36" y="29"/>
                  <a:pt x="35" y="26"/>
                  <a:pt x="34" y="25"/>
                </a:cubicBezTo>
                <a:cubicBezTo>
                  <a:pt x="33" y="25"/>
                  <a:pt x="33" y="26"/>
                  <a:pt x="33" y="26"/>
                </a:cubicBezTo>
                <a:cubicBezTo>
                  <a:pt x="33" y="27"/>
                  <a:pt x="34" y="27"/>
                  <a:pt x="34" y="28"/>
                </a:cubicBezTo>
                <a:cubicBezTo>
                  <a:pt x="34" y="29"/>
                  <a:pt x="33" y="29"/>
                  <a:pt x="32" y="28"/>
                </a:cubicBezTo>
                <a:cubicBezTo>
                  <a:pt x="32" y="28"/>
                  <a:pt x="33" y="28"/>
                  <a:pt x="33" y="27"/>
                </a:cubicBezTo>
                <a:cubicBezTo>
                  <a:pt x="32" y="27"/>
                  <a:pt x="29" y="24"/>
                  <a:pt x="30" y="24"/>
                </a:cubicBezTo>
                <a:cubicBezTo>
                  <a:pt x="30" y="22"/>
                  <a:pt x="28" y="20"/>
                  <a:pt x="28" y="18"/>
                </a:cubicBezTo>
                <a:cubicBezTo>
                  <a:pt x="27" y="16"/>
                  <a:pt x="27" y="14"/>
                  <a:pt x="27" y="12"/>
                </a:cubicBezTo>
                <a:cubicBezTo>
                  <a:pt x="26" y="8"/>
                  <a:pt x="24" y="4"/>
                  <a:pt x="22" y="0"/>
                </a:cubicBezTo>
                <a:cubicBezTo>
                  <a:pt x="22" y="0"/>
                  <a:pt x="22" y="0"/>
                  <a:pt x="21"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91" name="Freeform 3048">
            <a:extLst>
              <a:ext uri="{FF2B5EF4-FFF2-40B4-BE49-F238E27FC236}">
                <a16:creationId xmlns:a16="http://schemas.microsoft.com/office/drawing/2014/main" id="{7242269C-D2F7-4CCE-8E5E-ABA352CF54B9}"/>
              </a:ext>
            </a:extLst>
          </p:cNvPr>
          <p:cNvSpPr>
            <a:spLocks noEditPoints="1"/>
          </p:cNvSpPr>
          <p:nvPr/>
        </p:nvSpPr>
        <p:spPr bwMode="auto">
          <a:xfrm>
            <a:off x="3832581" y="3585849"/>
            <a:ext cx="122899" cy="195293"/>
          </a:xfrm>
          <a:custGeom>
            <a:avLst/>
            <a:gdLst>
              <a:gd name="T0" fmla="*/ 102 w 105"/>
              <a:gd name="T1" fmla="*/ 16 h 139"/>
              <a:gd name="T2" fmla="*/ 102 w 105"/>
              <a:gd name="T3" fmla="*/ 14 h 139"/>
              <a:gd name="T4" fmla="*/ 104 w 105"/>
              <a:gd name="T5" fmla="*/ 2 h 139"/>
              <a:gd name="T6" fmla="*/ 96 w 105"/>
              <a:gd name="T7" fmla="*/ 2 h 139"/>
              <a:gd name="T8" fmla="*/ 79 w 105"/>
              <a:gd name="T9" fmla="*/ 8 h 139"/>
              <a:gd name="T10" fmla="*/ 61 w 105"/>
              <a:gd name="T11" fmla="*/ 10 h 139"/>
              <a:gd name="T12" fmla="*/ 53 w 105"/>
              <a:gd name="T13" fmla="*/ 14 h 139"/>
              <a:gd name="T14" fmla="*/ 48 w 105"/>
              <a:gd name="T15" fmla="*/ 12 h 139"/>
              <a:gd name="T16" fmla="*/ 35 w 105"/>
              <a:gd name="T17" fmla="*/ 17 h 139"/>
              <a:gd name="T18" fmla="*/ 26 w 105"/>
              <a:gd name="T19" fmla="*/ 11 h 139"/>
              <a:gd name="T20" fmla="*/ 23 w 105"/>
              <a:gd name="T21" fmla="*/ 6 h 139"/>
              <a:gd name="T22" fmla="*/ 21 w 105"/>
              <a:gd name="T23" fmla="*/ 10 h 139"/>
              <a:gd name="T24" fmla="*/ 18 w 105"/>
              <a:gd name="T25" fmla="*/ 13 h 139"/>
              <a:gd name="T26" fmla="*/ 17 w 105"/>
              <a:gd name="T27" fmla="*/ 14 h 139"/>
              <a:gd name="T28" fmla="*/ 18 w 105"/>
              <a:gd name="T29" fmla="*/ 16 h 139"/>
              <a:gd name="T30" fmla="*/ 21 w 105"/>
              <a:gd name="T31" fmla="*/ 21 h 139"/>
              <a:gd name="T32" fmla="*/ 22 w 105"/>
              <a:gd name="T33" fmla="*/ 23 h 139"/>
              <a:gd name="T34" fmla="*/ 28 w 105"/>
              <a:gd name="T35" fmla="*/ 28 h 139"/>
              <a:gd name="T36" fmla="*/ 30 w 105"/>
              <a:gd name="T37" fmla="*/ 30 h 139"/>
              <a:gd name="T38" fmla="*/ 36 w 105"/>
              <a:gd name="T39" fmla="*/ 32 h 139"/>
              <a:gd name="T40" fmla="*/ 55 w 105"/>
              <a:gd name="T41" fmla="*/ 38 h 139"/>
              <a:gd name="T42" fmla="*/ 60 w 105"/>
              <a:gd name="T43" fmla="*/ 40 h 139"/>
              <a:gd name="T44" fmla="*/ 63 w 105"/>
              <a:gd name="T45" fmla="*/ 40 h 139"/>
              <a:gd name="T46" fmla="*/ 66 w 105"/>
              <a:gd name="T47" fmla="*/ 40 h 139"/>
              <a:gd name="T48" fmla="*/ 70 w 105"/>
              <a:gd name="T49" fmla="*/ 40 h 139"/>
              <a:gd name="T50" fmla="*/ 71 w 105"/>
              <a:gd name="T51" fmla="*/ 42 h 139"/>
              <a:gd name="T52" fmla="*/ 47 w 105"/>
              <a:gd name="T53" fmla="*/ 66 h 139"/>
              <a:gd name="T54" fmla="*/ 45 w 105"/>
              <a:gd name="T55" fmla="*/ 68 h 139"/>
              <a:gd name="T56" fmla="*/ 43 w 105"/>
              <a:gd name="T57" fmla="*/ 71 h 139"/>
              <a:gd name="T58" fmla="*/ 41 w 105"/>
              <a:gd name="T59" fmla="*/ 73 h 139"/>
              <a:gd name="T60" fmla="*/ 39 w 105"/>
              <a:gd name="T61" fmla="*/ 74 h 139"/>
              <a:gd name="T62" fmla="*/ 38 w 105"/>
              <a:gd name="T63" fmla="*/ 74 h 139"/>
              <a:gd name="T64" fmla="*/ 35 w 105"/>
              <a:gd name="T65" fmla="*/ 74 h 139"/>
              <a:gd name="T66" fmla="*/ 34 w 105"/>
              <a:gd name="T67" fmla="*/ 74 h 139"/>
              <a:gd name="T68" fmla="*/ 32 w 105"/>
              <a:gd name="T69" fmla="*/ 74 h 139"/>
              <a:gd name="T70" fmla="*/ 30 w 105"/>
              <a:gd name="T71" fmla="*/ 74 h 139"/>
              <a:gd name="T72" fmla="*/ 29 w 105"/>
              <a:gd name="T73" fmla="*/ 74 h 139"/>
              <a:gd name="T74" fmla="*/ 20 w 105"/>
              <a:gd name="T75" fmla="*/ 79 h 139"/>
              <a:gd name="T76" fmla="*/ 15 w 105"/>
              <a:gd name="T77" fmla="*/ 81 h 139"/>
              <a:gd name="T78" fmla="*/ 13 w 105"/>
              <a:gd name="T79" fmla="*/ 81 h 139"/>
              <a:gd name="T80" fmla="*/ 10 w 105"/>
              <a:gd name="T81" fmla="*/ 82 h 139"/>
              <a:gd name="T82" fmla="*/ 9 w 105"/>
              <a:gd name="T83" fmla="*/ 84 h 139"/>
              <a:gd name="T84" fmla="*/ 2 w 105"/>
              <a:gd name="T85" fmla="*/ 92 h 139"/>
              <a:gd name="T86" fmla="*/ 1 w 105"/>
              <a:gd name="T87" fmla="*/ 93 h 139"/>
              <a:gd name="T88" fmla="*/ 0 w 105"/>
              <a:gd name="T89" fmla="*/ 95 h 139"/>
              <a:gd name="T90" fmla="*/ 0 w 105"/>
              <a:gd name="T91" fmla="*/ 97 h 139"/>
              <a:gd name="T92" fmla="*/ 0 w 105"/>
              <a:gd name="T93" fmla="*/ 103 h 139"/>
              <a:gd name="T94" fmla="*/ 0 w 105"/>
              <a:gd name="T95" fmla="*/ 114 h 139"/>
              <a:gd name="T96" fmla="*/ 0 w 105"/>
              <a:gd name="T97" fmla="*/ 127 h 139"/>
              <a:gd name="T98" fmla="*/ 1 w 105"/>
              <a:gd name="T99" fmla="*/ 133 h 139"/>
              <a:gd name="T100" fmla="*/ 3 w 105"/>
              <a:gd name="T101" fmla="*/ 136 h 139"/>
              <a:gd name="T102" fmla="*/ 8 w 105"/>
              <a:gd name="T103" fmla="*/ 133 h 139"/>
              <a:gd name="T104" fmla="*/ 27 w 105"/>
              <a:gd name="T105" fmla="*/ 115 h 139"/>
              <a:gd name="T106" fmla="*/ 41 w 105"/>
              <a:gd name="T107" fmla="*/ 104 h 139"/>
              <a:gd name="T108" fmla="*/ 68 w 105"/>
              <a:gd name="T109" fmla="*/ 80 h 139"/>
              <a:gd name="T110" fmla="*/ 85 w 105"/>
              <a:gd name="T111" fmla="*/ 52 h 139"/>
              <a:gd name="T112" fmla="*/ 92 w 105"/>
              <a:gd name="T113" fmla="*/ 39 h 139"/>
              <a:gd name="T114" fmla="*/ 99 w 105"/>
              <a:gd name="T115" fmla="*/ 26 h 139"/>
              <a:gd name="T116" fmla="*/ 101 w 105"/>
              <a:gd name="T117" fmla="*/ 17 h 139"/>
              <a:gd name="T118" fmla="*/ 103 w 105"/>
              <a:gd name="T119" fmla="*/ 15 h 139"/>
              <a:gd name="T120" fmla="*/ 102 w 105"/>
              <a:gd name="T121" fmla="*/ 16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5" h="139">
                <a:moveTo>
                  <a:pt x="103" y="15"/>
                </a:moveTo>
                <a:cubicBezTo>
                  <a:pt x="102" y="15"/>
                  <a:pt x="102" y="16"/>
                  <a:pt x="102" y="16"/>
                </a:cubicBezTo>
                <a:cubicBezTo>
                  <a:pt x="102" y="15"/>
                  <a:pt x="102" y="15"/>
                  <a:pt x="102" y="15"/>
                </a:cubicBezTo>
                <a:cubicBezTo>
                  <a:pt x="102" y="15"/>
                  <a:pt x="102" y="14"/>
                  <a:pt x="102" y="14"/>
                </a:cubicBezTo>
                <a:cubicBezTo>
                  <a:pt x="102" y="12"/>
                  <a:pt x="102" y="10"/>
                  <a:pt x="102" y="8"/>
                </a:cubicBezTo>
                <a:cubicBezTo>
                  <a:pt x="102" y="6"/>
                  <a:pt x="103" y="4"/>
                  <a:pt x="104" y="2"/>
                </a:cubicBezTo>
                <a:cubicBezTo>
                  <a:pt x="102" y="1"/>
                  <a:pt x="98" y="0"/>
                  <a:pt x="97" y="1"/>
                </a:cubicBezTo>
                <a:cubicBezTo>
                  <a:pt x="96" y="1"/>
                  <a:pt x="96" y="2"/>
                  <a:pt x="96" y="2"/>
                </a:cubicBezTo>
                <a:cubicBezTo>
                  <a:pt x="95" y="4"/>
                  <a:pt x="91" y="4"/>
                  <a:pt x="89" y="5"/>
                </a:cubicBezTo>
                <a:cubicBezTo>
                  <a:pt x="86" y="6"/>
                  <a:pt x="82" y="7"/>
                  <a:pt x="79" y="8"/>
                </a:cubicBezTo>
                <a:cubicBezTo>
                  <a:pt x="75" y="8"/>
                  <a:pt x="70" y="8"/>
                  <a:pt x="65" y="9"/>
                </a:cubicBezTo>
                <a:cubicBezTo>
                  <a:pt x="64" y="9"/>
                  <a:pt x="63" y="9"/>
                  <a:pt x="61" y="10"/>
                </a:cubicBezTo>
                <a:cubicBezTo>
                  <a:pt x="61" y="11"/>
                  <a:pt x="60" y="11"/>
                  <a:pt x="59" y="11"/>
                </a:cubicBezTo>
                <a:cubicBezTo>
                  <a:pt x="58" y="12"/>
                  <a:pt x="55" y="14"/>
                  <a:pt x="53" y="14"/>
                </a:cubicBezTo>
                <a:cubicBezTo>
                  <a:pt x="53" y="14"/>
                  <a:pt x="52" y="13"/>
                  <a:pt x="52" y="13"/>
                </a:cubicBezTo>
                <a:cubicBezTo>
                  <a:pt x="51" y="13"/>
                  <a:pt x="49" y="12"/>
                  <a:pt x="48" y="12"/>
                </a:cubicBezTo>
                <a:cubicBezTo>
                  <a:pt x="45" y="14"/>
                  <a:pt x="43" y="15"/>
                  <a:pt x="40" y="16"/>
                </a:cubicBezTo>
                <a:cubicBezTo>
                  <a:pt x="38" y="17"/>
                  <a:pt x="36" y="17"/>
                  <a:pt x="35" y="17"/>
                </a:cubicBezTo>
                <a:cubicBezTo>
                  <a:pt x="34" y="17"/>
                  <a:pt x="32" y="16"/>
                  <a:pt x="31" y="15"/>
                </a:cubicBezTo>
                <a:cubicBezTo>
                  <a:pt x="29" y="14"/>
                  <a:pt x="27" y="12"/>
                  <a:pt x="26" y="11"/>
                </a:cubicBezTo>
                <a:cubicBezTo>
                  <a:pt x="25" y="10"/>
                  <a:pt x="25" y="9"/>
                  <a:pt x="25" y="9"/>
                </a:cubicBezTo>
                <a:cubicBezTo>
                  <a:pt x="24" y="8"/>
                  <a:pt x="23" y="7"/>
                  <a:pt x="23" y="6"/>
                </a:cubicBezTo>
                <a:cubicBezTo>
                  <a:pt x="22" y="7"/>
                  <a:pt x="22" y="9"/>
                  <a:pt x="21" y="10"/>
                </a:cubicBezTo>
                <a:cubicBezTo>
                  <a:pt x="21" y="10"/>
                  <a:pt x="21" y="10"/>
                  <a:pt x="21" y="10"/>
                </a:cubicBezTo>
                <a:cubicBezTo>
                  <a:pt x="19" y="11"/>
                  <a:pt x="19" y="11"/>
                  <a:pt x="19" y="11"/>
                </a:cubicBezTo>
                <a:cubicBezTo>
                  <a:pt x="19" y="12"/>
                  <a:pt x="19" y="13"/>
                  <a:pt x="18" y="13"/>
                </a:cubicBezTo>
                <a:cubicBezTo>
                  <a:pt x="18" y="13"/>
                  <a:pt x="18" y="14"/>
                  <a:pt x="17" y="14"/>
                </a:cubicBezTo>
                <a:cubicBezTo>
                  <a:pt x="17" y="14"/>
                  <a:pt x="17" y="14"/>
                  <a:pt x="17" y="14"/>
                </a:cubicBezTo>
                <a:cubicBezTo>
                  <a:pt x="17" y="15"/>
                  <a:pt x="17" y="15"/>
                  <a:pt x="17" y="15"/>
                </a:cubicBezTo>
                <a:cubicBezTo>
                  <a:pt x="17" y="15"/>
                  <a:pt x="18" y="15"/>
                  <a:pt x="18" y="16"/>
                </a:cubicBezTo>
                <a:cubicBezTo>
                  <a:pt x="18" y="16"/>
                  <a:pt x="18" y="16"/>
                  <a:pt x="18" y="16"/>
                </a:cubicBezTo>
                <a:cubicBezTo>
                  <a:pt x="19" y="18"/>
                  <a:pt x="20" y="19"/>
                  <a:pt x="21" y="21"/>
                </a:cubicBezTo>
                <a:cubicBezTo>
                  <a:pt x="22" y="22"/>
                  <a:pt x="22" y="22"/>
                  <a:pt x="22" y="22"/>
                </a:cubicBezTo>
                <a:cubicBezTo>
                  <a:pt x="22" y="22"/>
                  <a:pt x="22" y="23"/>
                  <a:pt x="22" y="23"/>
                </a:cubicBezTo>
                <a:cubicBezTo>
                  <a:pt x="23" y="24"/>
                  <a:pt x="24" y="25"/>
                  <a:pt x="24" y="26"/>
                </a:cubicBezTo>
                <a:cubicBezTo>
                  <a:pt x="25" y="27"/>
                  <a:pt x="26" y="28"/>
                  <a:pt x="28" y="28"/>
                </a:cubicBezTo>
                <a:cubicBezTo>
                  <a:pt x="29" y="29"/>
                  <a:pt x="29" y="29"/>
                  <a:pt x="29" y="29"/>
                </a:cubicBezTo>
                <a:cubicBezTo>
                  <a:pt x="29" y="30"/>
                  <a:pt x="30" y="30"/>
                  <a:pt x="30" y="30"/>
                </a:cubicBezTo>
                <a:cubicBezTo>
                  <a:pt x="31" y="31"/>
                  <a:pt x="33" y="31"/>
                  <a:pt x="34" y="31"/>
                </a:cubicBezTo>
                <a:cubicBezTo>
                  <a:pt x="35" y="32"/>
                  <a:pt x="36" y="32"/>
                  <a:pt x="36" y="32"/>
                </a:cubicBezTo>
                <a:cubicBezTo>
                  <a:pt x="36" y="32"/>
                  <a:pt x="36" y="32"/>
                  <a:pt x="36" y="32"/>
                </a:cubicBezTo>
                <a:cubicBezTo>
                  <a:pt x="55" y="38"/>
                  <a:pt x="55" y="38"/>
                  <a:pt x="55" y="38"/>
                </a:cubicBezTo>
                <a:cubicBezTo>
                  <a:pt x="55" y="39"/>
                  <a:pt x="56" y="39"/>
                  <a:pt x="56" y="39"/>
                </a:cubicBezTo>
                <a:cubicBezTo>
                  <a:pt x="58" y="40"/>
                  <a:pt x="59" y="40"/>
                  <a:pt x="60" y="40"/>
                </a:cubicBezTo>
                <a:cubicBezTo>
                  <a:pt x="61" y="40"/>
                  <a:pt x="61" y="40"/>
                  <a:pt x="62" y="40"/>
                </a:cubicBezTo>
                <a:cubicBezTo>
                  <a:pt x="62" y="40"/>
                  <a:pt x="63" y="40"/>
                  <a:pt x="63" y="40"/>
                </a:cubicBezTo>
                <a:cubicBezTo>
                  <a:pt x="63" y="41"/>
                  <a:pt x="63" y="41"/>
                  <a:pt x="63" y="41"/>
                </a:cubicBezTo>
                <a:cubicBezTo>
                  <a:pt x="64" y="41"/>
                  <a:pt x="65" y="40"/>
                  <a:pt x="66" y="40"/>
                </a:cubicBezTo>
                <a:cubicBezTo>
                  <a:pt x="67" y="40"/>
                  <a:pt x="67" y="40"/>
                  <a:pt x="67" y="40"/>
                </a:cubicBezTo>
                <a:cubicBezTo>
                  <a:pt x="68" y="40"/>
                  <a:pt x="69" y="40"/>
                  <a:pt x="70" y="40"/>
                </a:cubicBezTo>
                <a:cubicBezTo>
                  <a:pt x="73" y="40"/>
                  <a:pt x="73" y="40"/>
                  <a:pt x="73" y="40"/>
                </a:cubicBezTo>
                <a:cubicBezTo>
                  <a:pt x="71" y="42"/>
                  <a:pt x="71" y="42"/>
                  <a:pt x="71" y="42"/>
                </a:cubicBezTo>
                <a:cubicBezTo>
                  <a:pt x="69" y="44"/>
                  <a:pt x="67" y="47"/>
                  <a:pt x="64" y="49"/>
                </a:cubicBezTo>
                <a:cubicBezTo>
                  <a:pt x="59" y="54"/>
                  <a:pt x="53" y="59"/>
                  <a:pt x="47" y="66"/>
                </a:cubicBezTo>
                <a:cubicBezTo>
                  <a:pt x="45" y="68"/>
                  <a:pt x="45" y="68"/>
                  <a:pt x="45" y="68"/>
                </a:cubicBezTo>
                <a:cubicBezTo>
                  <a:pt x="45" y="68"/>
                  <a:pt x="45" y="68"/>
                  <a:pt x="45" y="68"/>
                </a:cubicBezTo>
                <a:cubicBezTo>
                  <a:pt x="44" y="70"/>
                  <a:pt x="44" y="70"/>
                  <a:pt x="44" y="70"/>
                </a:cubicBezTo>
                <a:cubicBezTo>
                  <a:pt x="44" y="70"/>
                  <a:pt x="44" y="70"/>
                  <a:pt x="43" y="71"/>
                </a:cubicBezTo>
                <a:cubicBezTo>
                  <a:pt x="42" y="71"/>
                  <a:pt x="42" y="71"/>
                  <a:pt x="42" y="71"/>
                </a:cubicBezTo>
                <a:cubicBezTo>
                  <a:pt x="42" y="72"/>
                  <a:pt x="41" y="73"/>
                  <a:pt x="41" y="73"/>
                </a:cubicBezTo>
                <a:cubicBezTo>
                  <a:pt x="41" y="73"/>
                  <a:pt x="40" y="74"/>
                  <a:pt x="40" y="74"/>
                </a:cubicBezTo>
                <a:cubicBezTo>
                  <a:pt x="40" y="74"/>
                  <a:pt x="39" y="74"/>
                  <a:pt x="39" y="74"/>
                </a:cubicBezTo>
                <a:cubicBezTo>
                  <a:pt x="39" y="74"/>
                  <a:pt x="39" y="74"/>
                  <a:pt x="38" y="74"/>
                </a:cubicBezTo>
                <a:cubicBezTo>
                  <a:pt x="38" y="74"/>
                  <a:pt x="38" y="74"/>
                  <a:pt x="38" y="74"/>
                </a:cubicBezTo>
                <a:cubicBezTo>
                  <a:pt x="38" y="74"/>
                  <a:pt x="37" y="74"/>
                  <a:pt x="37" y="74"/>
                </a:cubicBezTo>
                <a:cubicBezTo>
                  <a:pt x="36" y="74"/>
                  <a:pt x="36" y="74"/>
                  <a:pt x="35" y="74"/>
                </a:cubicBezTo>
                <a:cubicBezTo>
                  <a:pt x="35" y="74"/>
                  <a:pt x="35" y="74"/>
                  <a:pt x="35" y="74"/>
                </a:cubicBezTo>
                <a:cubicBezTo>
                  <a:pt x="35" y="74"/>
                  <a:pt x="35" y="74"/>
                  <a:pt x="34" y="74"/>
                </a:cubicBezTo>
                <a:cubicBezTo>
                  <a:pt x="34" y="74"/>
                  <a:pt x="34" y="74"/>
                  <a:pt x="34" y="74"/>
                </a:cubicBezTo>
                <a:cubicBezTo>
                  <a:pt x="33" y="74"/>
                  <a:pt x="33" y="74"/>
                  <a:pt x="32" y="74"/>
                </a:cubicBezTo>
                <a:cubicBezTo>
                  <a:pt x="32" y="74"/>
                  <a:pt x="32" y="74"/>
                  <a:pt x="32" y="74"/>
                </a:cubicBezTo>
                <a:cubicBezTo>
                  <a:pt x="31" y="74"/>
                  <a:pt x="31" y="74"/>
                  <a:pt x="30" y="74"/>
                </a:cubicBezTo>
                <a:cubicBezTo>
                  <a:pt x="30" y="74"/>
                  <a:pt x="30" y="74"/>
                  <a:pt x="30" y="74"/>
                </a:cubicBezTo>
                <a:cubicBezTo>
                  <a:pt x="30" y="74"/>
                  <a:pt x="29" y="74"/>
                  <a:pt x="29" y="74"/>
                </a:cubicBezTo>
                <a:cubicBezTo>
                  <a:pt x="28" y="74"/>
                  <a:pt x="28" y="74"/>
                  <a:pt x="27" y="74"/>
                </a:cubicBezTo>
                <a:cubicBezTo>
                  <a:pt x="25" y="75"/>
                  <a:pt x="22" y="77"/>
                  <a:pt x="20" y="79"/>
                </a:cubicBezTo>
                <a:cubicBezTo>
                  <a:pt x="19" y="79"/>
                  <a:pt x="19" y="80"/>
                  <a:pt x="18" y="80"/>
                </a:cubicBezTo>
                <a:cubicBezTo>
                  <a:pt x="17" y="81"/>
                  <a:pt x="16" y="81"/>
                  <a:pt x="15" y="81"/>
                </a:cubicBezTo>
                <a:cubicBezTo>
                  <a:pt x="15" y="81"/>
                  <a:pt x="14" y="81"/>
                  <a:pt x="13" y="81"/>
                </a:cubicBezTo>
                <a:cubicBezTo>
                  <a:pt x="13" y="81"/>
                  <a:pt x="13" y="81"/>
                  <a:pt x="13" y="81"/>
                </a:cubicBezTo>
                <a:cubicBezTo>
                  <a:pt x="12" y="81"/>
                  <a:pt x="11" y="81"/>
                  <a:pt x="11" y="82"/>
                </a:cubicBezTo>
                <a:cubicBezTo>
                  <a:pt x="11" y="82"/>
                  <a:pt x="10" y="82"/>
                  <a:pt x="10" y="82"/>
                </a:cubicBezTo>
                <a:cubicBezTo>
                  <a:pt x="10" y="83"/>
                  <a:pt x="9" y="83"/>
                  <a:pt x="9" y="83"/>
                </a:cubicBezTo>
                <a:cubicBezTo>
                  <a:pt x="9" y="84"/>
                  <a:pt x="9" y="84"/>
                  <a:pt x="9" y="84"/>
                </a:cubicBezTo>
                <a:cubicBezTo>
                  <a:pt x="8" y="85"/>
                  <a:pt x="3" y="91"/>
                  <a:pt x="3" y="91"/>
                </a:cubicBezTo>
                <a:cubicBezTo>
                  <a:pt x="2" y="92"/>
                  <a:pt x="2" y="92"/>
                  <a:pt x="2" y="92"/>
                </a:cubicBezTo>
                <a:cubicBezTo>
                  <a:pt x="2" y="92"/>
                  <a:pt x="2" y="92"/>
                  <a:pt x="2" y="92"/>
                </a:cubicBezTo>
                <a:cubicBezTo>
                  <a:pt x="1" y="93"/>
                  <a:pt x="1" y="93"/>
                  <a:pt x="1" y="93"/>
                </a:cubicBezTo>
                <a:cubicBezTo>
                  <a:pt x="1" y="94"/>
                  <a:pt x="0" y="94"/>
                  <a:pt x="0" y="95"/>
                </a:cubicBezTo>
                <a:cubicBezTo>
                  <a:pt x="0" y="95"/>
                  <a:pt x="0" y="95"/>
                  <a:pt x="0" y="95"/>
                </a:cubicBezTo>
                <a:cubicBezTo>
                  <a:pt x="0" y="95"/>
                  <a:pt x="0" y="96"/>
                  <a:pt x="0" y="97"/>
                </a:cubicBezTo>
                <a:cubicBezTo>
                  <a:pt x="0" y="97"/>
                  <a:pt x="0" y="97"/>
                  <a:pt x="0" y="97"/>
                </a:cubicBezTo>
                <a:cubicBezTo>
                  <a:pt x="0" y="97"/>
                  <a:pt x="0" y="98"/>
                  <a:pt x="0" y="98"/>
                </a:cubicBezTo>
                <a:cubicBezTo>
                  <a:pt x="0" y="103"/>
                  <a:pt x="0" y="103"/>
                  <a:pt x="0" y="103"/>
                </a:cubicBezTo>
                <a:cubicBezTo>
                  <a:pt x="0" y="106"/>
                  <a:pt x="0" y="109"/>
                  <a:pt x="0" y="113"/>
                </a:cubicBezTo>
                <a:cubicBezTo>
                  <a:pt x="0" y="114"/>
                  <a:pt x="0" y="114"/>
                  <a:pt x="0" y="114"/>
                </a:cubicBezTo>
                <a:cubicBezTo>
                  <a:pt x="0" y="118"/>
                  <a:pt x="0" y="121"/>
                  <a:pt x="0" y="125"/>
                </a:cubicBezTo>
                <a:cubicBezTo>
                  <a:pt x="0" y="126"/>
                  <a:pt x="0" y="126"/>
                  <a:pt x="0" y="127"/>
                </a:cubicBezTo>
                <a:cubicBezTo>
                  <a:pt x="0" y="129"/>
                  <a:pt x="0" y="131"/>
                  <a:pt x="0" y="132"/>
                </a:cubicBezTo>
                <a:cubicBezTo>
                  <a:pt x="0" y="132"/>
                  <a:pt x="0" y="132"/>
                  <a:pt x="1" y="133"/>
                </a:cubicBezTo>
                <a:cubicBezTo>
                  <a:pt x="1" y="134"/>
                  <a:pt x="2" y="135"/>
                  <a:pt x="3" y="136"/>
                </a:cubicBezTo>
                <a:cubicBezTo>
                  <a:pt x="3" y="136"/>
                  <a:pt x="3" y="136"/>
                  <a:pt x="3" y="136"/>
                </a:cubicBezTo>
                <a:cubicBezTo>
                  <a:pt x="4" y="137"/>
                  <a:pt x="4" y="138"/>
                  <a:pt x="5" y="139"/>
                </a:cubicBezTo>
                <a:cubicBezTo>
                  <a:pt x="6" y="137"/>
                  <a:pt x="7" y="135"/>
                  <a:pt x="8" y="133"/>
                </a:cubicBezTo>
                <a:cubicBezTo>
                  <a:pt x="8" y="133"/>
                  <a:pt x="8" y="133"/>
                  <a:pt x="8" y="133"/>
                </a:cubicBezTo>
                <a:cubicBezTo>
                  <a:pt x="15" y="128"/>
                  <a:pt x="20" y="120"/>
                  <a:pt x="27" y="115"/>
                </a:cubicBezTo>
                <a:cubicBezTo>
                  <a:pt x="30" y="112"/>
                  <a:pt x="33" y="110"/>
                  <a:pt x="36" y="107"/>
                </a:cubicBezTo>
                <a:cubicBezTo>
                  <a:pt x="38" y="106"/>
                  <a:pt x="39" y="105"/>
                  <a:pt x="41" y="104"/>
                </a:cubicBezTo>
                <a:cubicBezTo>
                  <a:pt x="47" y="101"/>
                  <a:pt x="50" y="97"/>
                  <a:pt x="55" y="93"/>
                </a:cubicBezTo>
                <a:cubicBezTo>
                  <a:pt x="60" y="89"/>
                  <a:pt x="64" y="84"/>
                  <a:pt x="68" y="80"/>
                </a:cubicBezTo>
                <a:cubicBezTo>
                  <a:pt x="72" y="75"/>
                  <a:pt x="75" y="69"/>
                  <a:pt x="78" y="64"/>
                </a:cubicBezTo>
                <a:cubicBezTo>
                  <a:pt x="81" y="61"/>
                  <a:pt x="83" y="56"/>
                  <a:pt x="85" y="52"/>
                </a:cubicBezTo>
                <a:cubicBezTo>
                  <a:pt x="86" y="50"/>
                  <a:pt x="87" y="47"/>
                  <a:pt x="88" y="44"/>
                </a:cubicBezTo>
                <a:cubicBezTo>
                  <a:pt x="89" y="42"/>
                  <a:pt x="90" y="41"/>
                  <a:pt x="92" y="39"/>
                </a:cubicBezTo>
                <a:cubicBezTo>
                  <a:pt x="94" y="37"/>
                  <a:pt x="95" y="34"/>
                  <a:pt x="96" y="31"/>
                </a:cubicBezTo>
                <a:cubicBezTo>
                  <a:pt x="97" y="30"/>
                  <a:pt x="99" y="28"/>
                  <a:pt x="99" y="26"/>
                </a:cubicBezTo>
                <a:cubicBezTo>
                  <a:pt x="99" y="25"/>
                  <a:pt x="99" y="23"/>
                  <a:pt x="100" y="22"/>
                </a:cubicBezTo>
                <a:cubicBezTo>
                  <a:pt x="100" y="20"/>
                  <a:pt x="99" y="18"/>
                  <a:pt x="101" y="17"/>
                </a:cubicBezTo>
                <a:cubicBezTo>
                  <a:pt x="102" y="16"/>
                  <a:pt x="104" y="17"/>
                  <a:pt x="105" y="16"/>
                </a:cubicBezTo>
                <a:cubicBezTo>
                  <a:pt x="104" y="16"/>
                  <a:pt x="103" y="15"/>
                  <a:pt x="103" y="15"/>
                </a:cubicBezTo>
                <a:close/>
                <a:moveTo>
                  <a:pt x="101" y="16"/>
                </a:moveTo>
                <a:cubicBezTo>
                  <a:pt x="101" y="16"/>
                  <a:pt x="101" y="16"/>
                  <a:pt x="102" y="16"/>
                </a:cubicBezTo>
                <a:cubicBezTo>
                  <a:pt x="101" y="16"/>
                  <a:pt x="101" y="16"/>
                  <a:pt x="101" y="16"/>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92" name="Freeform 3049">
            <a:extLst>
              <a:ext uri="{FF2B5EF4-FFF2-40B4-BE49-F238E27FC236}">
                <a16:creationId xmlns:a16="http://schemas.microsoft.com/office/drawing/2014/main" id="{BF626A2A-34BE-4324-89FC-9E3600B4CA4A}"/>
              </a:ext>
            </a:extLst>
          </p:cNvPr>
          <p:cNvSpPr>
            <a:spLocks/>
          </p:cNvSpPr>
          <p:nvPr/>
        </p:nvSpPr>
        <p:spPr bwMode="auto">
          <a:xfrm>
            <a:off x="3695807" y="3701006"/>
            <a:ext cx="61945" cy="77167"/>
          </a:xfrm>
          <a:custGeom>
            <a:avLst/>
            <a:gdLst>
              <a:gd name="T0" fmla="*/ 43 w 53"/>
              <a:gd name="T1" fmla="*/ 39 h 55"/>
              <a:gd name="T2" fmla="*/ 44 w 53"/>
              <a:gd name="T3" fmla="*/ 37 h 55"/>
              <a:gd name="T4" fmla="*/ 46 w 53"/>
              <a:gd name="T5" fmla="*/ 33 h 55"/>
              <a:gd name="T6" fmla="*/ 47 w 53"/>
              <a:gd name="T7" fmla="*/ 32 h 55"/>
              <a:gd name="T8" fmla="*/ 48 w 53"/>
              <a:gd name="T9" fmla="*/ 30 h 55"/>
              <a:gd name="T10" fmla="*/ 49 w 53"/>
              <a:gd name="T11" fmla="*/ 28 h 55"/>
              <a:gd name="T12" fmla="*/ 51 w 53"/>
              <a:gd name="T13" fmla="*/ 28 h 55"/>
              <a:gd name="T14" fmla="*/ 52 w 53"/>
              <a:gd name="T15" fmla="*/ 26 h 55"/>
              <a:gd name="T16" fmla="*/ 52 w 53"/>
              <a:gd name="T17" fmla="*/ 24 h 55"/>
              <a:gd name="T18" fmla="*/ 53 w 53"/>
              <a:gd name="T19" fmla="*/ 21 h 55"/>
              <a:gd name="T20" fmla="*/ 50 w 53"/>
              <a:gd name="T21" fmla="*/ 13 h 55"/>
              <a:gd name="T22" fmla="*/ 48 w 53"/>
              <a:gd name="T23" fmla="*/ 8 h 55"/>
              <a:gd name="T24" fmla="*/ 47 w 53"/>
              <a:gd name="T25" fmla="*/ 4 h 55"/>
              <a:gd name="T26" fmla="*/ 44 w 53"/>
              <a:gd name="T27" fmla="*/ 1 h 55"/>
              <a:gd name="T28" fmla="*/ 41 w 53"/>
              <a:gd name="T29" fmla="*/ 3 h 55"/>
              <a:gd name="T30" fmla="*/ 34 w 53"/>
              <a:gd name="T31" fmla="*/ 3 h 55"/>
              <a:gd name="T32" fmla="*/ 28 w 53"/>
              <a:gd name="T33" fmla="*/ 5 h 55"/>
              <a:gd name="T34" fmla="*/ 24 w 53"/>
              <a:gd name="T35" fmla="*/ 6 h 55"/>
              <a:gd name="T36" fmla="*/ 24 w 53"/>
              <a:gd name="T37" fmla="*/ 6 h 55"/>
              <a:gd name="T38" fmla="*/ 20 w 53"/>
              <a:gd name="T39" fmla="*/ 5 h 55"/>
              <a:gd name="T40" fmla="*/ 17 w 53"/>
              <a:gd name="T41" fmla="*/ 5 h 55"/>
              <a:gd name="T42" fmla="*/ 15 w 53"/>
              <a:gd name="T43" fmla="*/ 4 h 55"/>
              <a:gd name="T44" fmla="*/ 15 w 53"/>
              <a:gd name="T45" fmla="*/ 4 h 55"/>
              <a:gd name="T46" fmla="*/ 15 w 53"/>
              <a:gd name="T47" fmla="*/ 5 h 55"/>
              <a:gd name="T48" fmla="*/ 13 w 53"/>
              <a:gd name="T49" fmla="*/ 6 h 55"/>
              <a:gd name="T50" fmla="*/ 13 w 53"/>
              <a:gd name="T51" fmla="*/ 10 h 55"/>
              <a:gd name="T52" fmla="*/ 12 w 53"/>
              <a:gd name="T53" fmla="*/ 14 h 55"/>
              <a:gd name="T54" fmla="*/ 12 w 53"/>
              <a:gd name="T55" fmla="*/ 16 h 55"/>
              <a:gd name="T56" fmla="*/ 13 w 53"/>
              <a:gd name="T57" fmla="*/ 16 h 55"/>
              <a:gd name="T58" fmla="*/ 15 w 53"/>
              <a:gd name="T59" fmla="*/ 17 h 55"/>
              <a:gd name="T60" fmla="*/ 18 w 53"/>
              <a:gd name="T61" fmla="*/ 20 h 55"/>
              <a:gd name="T62" fmla="*/ 6 w 53"/>
              <a:gd name="T63" fmla="*/ 32 h 55"/>
              <a:gd name="T64" fmla="*/ 5 w 53"/>
              <a:gd name="T65" fmla="*/ 33 h 55"/>
              <a:gd name="T66" fmla="*/ 3 w 53"/>
              <a:gd name="T67" fmla="*/ 39 h 55"/>
              <a:gd name="T68" fmla="*/ 1 w 53"/>
              <a:gd name="T69" fmla="*/ 48 h 55"/>
              <a:gd name="T70" fmla="*/ 2 w 53"/>
              <a:gd name="T71" fmla="*/ 54 h 55"/>
              <a:gd name="T72" fmla="*/ 4 w 53"/>
              <a:gd name="T73" fmla="*/ 54 h 55"/>
              <a:gd name="T74" fmla="*/ 6 w 53"/>
              <a:gd name="T75" fmla="*/ 51 h 55"/>
              <a:gd name="T76" fmla="*/ 9 w 53"/>
              <a:gd name="T77" fmla="*/ 51 h 55"/>
              <a:gd name="T78" fmla="*/ 24 w 53"/>
              <a:gd name="T79" fmla="*/ 45 h 55"/>
              <a:gd name="T80" fmla="*/ 30 w 53"/>
              <a:gd name="T81" fmla="*/ 38 h 55"/>
              <a:gd name="T82" fmla="*/ 36 w 53"/>
              <a:gd name="T83" fmla="*/ 37 h 55"/>
              <a:gd name="T84" fmla="*/ 41 w 53"/>
              <a:gd name="T85" fmla="*/ 3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55">
                <a:moveTo>
                  <a:pt x="43" y="40"/>
                </a:moveTo>
                <a:cubicBezTo>
                  <a:pt x="43" y="39"/>
                  <a:pt x="43" y="39"/>
                  <a:pt x="43" y="39"/>
                </a:cubicBezTo>
                <a:cubicBezTo>
                  <a:pt x="43" y="39"/>
                  <a:pt x="43" y="39"/>
                  <a:pt x="43" y="39"/>
                </a:cubicBezTo>
                <a:cubicBezTo>
                  <a:pt x="43" y="39"/>
                  <a:pt x="43" y="38"/>
                  <a:pt x="43" y="38"/>
                </a:cubicBezTo>
                <a:cubicBezTo>
                  <a:pt x="43" y="38"/>
                  <a:pt x="43" y="38"/>
                  <a:pt x="43" y="38"/>
                </a:cubicBezTo>
                <a:cubicBezTo>
                  <a:pt x="43" y="37"/>
                  <a:pt x="44" y="37"/>
                  <a:pt x="44" y="37"/>
                </a:cubicBezTo>
                <a:cubicBezTo>
                  <a:pt x="44" y="36"/>
                  <a:pt x="44" y="36"/>
                  <a:pt x="44" y="36"/>
                </a:cubicBezTo>
                <a:cubicBezTo>
                  <a:pt x="45" y="35"/>
                  <a:pt x="45" y="34"/>
                  <a:pt x="46" y="34"/>
                </a:cubicBezTo>
                <a:cubicBezTo>
                  <a:pt x="46" y="33"/>
                  <a:pt x="46" y="33"/>
                  <a:pt x="46" y="33"/>
                </a:cubicBezTo>
                <a:cubicBezTo>
                  <a:pt x="46" y="33"/>
                  <a:pt x="46" y="33"/>
                  <a:pt x="46" y="33"/>
                </a:cubicBezTo>
                <a:cubicBezTo>
                  <a:pt x="47" y="33"/>
                  <a:pt x="47" y="32"/>
                  <a:pt x="47" y="32"/>
                </a:cubicBezTo>
                <a:cubicBezTo>
                  <a:pt x="47" y="32"/>
                  <a:pt x="47" y="32"/>
                  <a:pt x="47" y="32"/>
                </a:cubicBezTo>
                <a:cubicBezTo>
                  <a:pt x="47" y="31"/>
                  <a:pt x="48" y="31"/>
                  <a:pt x="48" y="30"/>
                </a:cubicBezTo>
                <a:cubicBezTo>
                  <a:pt x="48" y="30"/>
                  <a:pt x="48" y="30"/>
                  <a:pt x="48" y="30"/>
                </a:cubicBezTo>
                <a:cubicBezTo>
                  <a:pt x="48" y="30"/>
                  <a:pt x="48" y="30"/>
                  <a:pt x="48" y="30"/>
                </a:cubicBezTo>
                <a:cubicBezTo>
                  <a:pt x="49" y="29"/>
                  <a:pt x="49" y="29"/>
                  <a:pt x="49" y="29"/>
                </a:cubicBezTo>
                <a:cubicBezTo>
                  <a:pt x="49" y="29"/>
                  <a:pt x="49" y="29"/>
                  <a:pt x="49" y="29"/>
                </a:cubicBezTo>
                <a:cubicBezTo>
                  <a:pt x="49" y="28"/>
                  <a:pt x="49" y="28"/>
                  <a:pt x="49" y="28"/>
                </a:cubicBezTo>
                <a:cubicBezTo>
                  <a:pt x="50" y="28"/>
                  <a:pt x="50" y="28"/>
                  <a:pt x="50" y="28"/>
                </a:cubicBezTo>
                <a:cubicBezTo>
                  <a:pt x="50" y="28"/>
                  <a:pt x="51" y="28"/>
                  <a:pt x="51" y="28"/>
                </a:cubicBezTo>
                <a:cubicBezTo>
                  <a:pt x="51" y="28"/>
                  <a:pt x="51" y="28"/>
                  <a:pt x="51" y="28"/>
                </a:cubicBezTo>
                <a:cubicBezTo>
                  <a:pt x="51" y="28"/>
                  <a:pt x="51" y="28"/>
                  <a:pt x="51" y="28"/>
                </a:cubicBezTo>
                <a:cubicBezTo>
                  <a:pt x="51" y="28"/>
                  <a:pt x="51" y="27"/>
                  <a:pt x="51" y="27"/>
                </a:cubicBezTo>
                <a:cubicBezTo>
                  <a:pt x="51" y="27"/>
                  <a:pt x="51" y="26"/>
                  <a:pt x="52" y="26"/>
                </a:cubicBezTo>
                <a:cubicBezTo>
                  <a:pt x="52" y="26"/>
                  <a:pt x="52" y="26"/>
                  <a:pt x="52" y="26"/>
                </a:cubicBezTo>
                <a:cubicBezTo>
                  <a:pt x="52" y="25"/>
                  <a:pt x="52" y="25"/>
                  <a:pt x="52" y="25"/>
                </a:cubicBezTo>
                <a:cubicBezTo>
                  <a:pt x="52" y="24"/>
                  <a:pt x="52" y="24"/>
                  <a:pt x="52" y="24"/>
                </a:cubicBezTo>
                <a:cubicBezTo>
                  <a:pt x="53" y="23"/>
                  <a:pt x="53" y="22"/>
                  <a:pt x="53" y="22"/>
                </a:cubicBezTo>
                <a:cubicBezTo>
                  <a:pt x="53" y="21"/>
                  <a:pt x="53" y="21"/>
                  <a:pt x="53" y="21"/>
                </a:cubicBezTo>
                <a:cubicBezTo>
                  <a:pt x="53" y="21"/>
                  <a:pt x="53" y="21"/>
                  <a:pt x="53" y="21"/>
                </a:cubicBezTo>
                <a:cubicBezTo>
                  <a:pt x="53" y="19"/>
                  <a:pt x="52" y="18"/>
                  <a:pt x="52" y="16"/>
                </a:cubicBezTo>
                <a:cubicBezTo>
                  <a:pt x="52" y="16"/>
                  <a:pt x="52" y="15"/>
                  <a:pt x="51" y="14"/>
                </a:cubicBezTo>
                <a:cubicBezTo>
                  <a:pt x="51" y="13"/>
                  <a:pt x="51" y="13"/>
                  <a:pt x="50" y="13"/>
                </a:cubicBezTo>
                <a:cubicBezTo>
                  <a:pt x="50" y="12"/>
                  <a:pt x="50" y="12"/>
                  <a:pt x="50" y="12"/>
                </a:cubicBezTo>
                <a:cubicBezTo>
                  <a:pt x="49" y="11"/>
                  <a:pt x="49" y="10"/>
                  <a:pt x="48" y="9"/>
                </a:cubicBezTo>
                <a:cubicBezTo>
                  <a:pt x="48" y="8"/>
                  <a:pt x="48" y="8"/>
                  <a:pt x="48" y="8"/>
                </a:cubicBezTo>
                <a:cubicBezTo>
                  <a:pt x="48" y="7"/>
                  <a:pt x="48" y="6"/>
                  <a:pt x="48" y="5"/>
                </a:cubicBezTo>
                <a:cubicBezTo>
                  <a:pt x="47" y="5"/>
                  <a:pt x="47" y="5"/>
                  <a:pt x="47" y="5"/>
                </a:cubicBezTo>
                <a:cubicBezTo>
                  <a:pt x="47" y="4"/>
                  <a:pt x="47" y="4"/>
                  <a:pt x="47" y="4"/>
                </a:cubicBezTo>
                <a:cubicBezTo>
                  <a:pt x="46" y="4"/>
                  <a:pt x="45" y="4"/>
                  <a:pt x="45" y="4"/>
                </a:cubicBezTo>
                <a:cubicBezTo>
                  <a:pt x="45" y="3"/>
                  <a:pt x="45" y="3"/>
                  <a:pt x="44" y="3"/>
                </a:cubicBezTo>
                <a:cubicBezTo>
                  <a:pt x="44" y="2"/>
                  <a:pt x="44" y="1"/>
                  <a:pt x="44" y="1"/>
                </a:cubicBezTo>
                <a:cubicBezTo>
                  <a:pt x="44" y="1"/>
                  <a:pt x="44" y="1"/>
                  <a:pt x="44" y="1"/>
                </a:cubicBezTo>
                <a:cubicBezTo>
                  <a:pt x="44" y="1"/>
                  <a:pt x="44" y="0"/>
                  <a:pt x="44" y="0"/>
                </a:cubicBezTo>
                <a:cubicBezTo>
                  <a:pt x="41" y="3"/>
                  <a:pt x="41" y="3"/>
                  <a:pt x="41" y="3"/>
                </a:cubicBezTo>
                <a:cubicBezTo>
                  <a:pt x="40" y="4"/>
                  <a:pt x="40" y="4"/>
                  <a:pt x="37" y="4"/>
                </a:cubicBezTo>
                <a:cubicBezTo>
                  <a:pt x="36" y="4"/>
                  <a:pt x="36" y="4"/>
                  <a:pt x="35" y="4"/>
                </a:cubicBezTo>
                <a:cubicBezTo>
                  <a:pt x="34" y="3"/>
                  <a:pt x="34" y="3"/>
                  <a:pt x="34" y="3"/>
                </a:cubicBezTo>
                <a:cubicBezTo>
                  <a:pt x="33" y="3"/>
                  <a:pt x="32" y="3"/>
                  <a:pt x="30" y="4"/>
                </a:cubicBezTo>
                <a:cubicBezTo>
                  <a:pt x="29" y="4"/>
                  <a:pt x="29" y="4"/>
                  <a:pt x="28" y="4"/>
                </a:cubicBezTo>
                <a:cubicBezTo>
                  <a:pt x="28" y="5"/>
                  <a:pt x="28" y="5"/>
                  <a:pt x="28" y="5"/>
                </a:cubicBezTo>
                <a:cubicBezTo>
                  <a:pt x="28" y="5"/>
                  <a:pt x="28" y="5"/>
                  <a:pt x="27" y="5"/>
                </a:cubicBezTo>
                <a:cubicBezTo>
                  <a:pt x="27" y="6"/>
                  <a:pt x="27" y="6"/>
                  <a:pt x="27" y="6"/>
                </a:cubicBezTo>
                <a:cubicBezTo>
                  <a:pt x="26" y="7"/>
                  <a:pt x="25" y="7"/>
                  <a:pt x="24" y="6"/>
                </a:cubicBezTo>
                <a:cubicBezTo>
                  <a:pt x="24" y="6"/>
                  <a:pt x="24" y="6"/>
                  <a:pt x="24" y="6"/>
                </a:cubicBezTo>
                <a:cubicBezTo>
                  <a:pt x="24" y="6"/>
                  <a:pt x="24" y="6"/>
                  <a:pt x="24" y="6"/>
                </a:cubicBezTo>
                <a:cubicBezTo>
                  <a:pt x="24" y="6"/>
                  <a:pt x="24" y="6"/>
                  <a:pt x="24" y="6"/>
                </a:cubicBezTo>
                <a:cubicBezTo>
                  <a:pt x="23" y="6"/>
                  <a:pt x="23" y="6"/>
                  <a:pt x="22" y="5"/>
                </a:cubicBezTo>
                <a:cubicBezTo>
                  <a:pt x="21" y="4"/>
                  <a:pt x="21" y="4"/>
                  <a:pt x="21" y="4"/>
                </a:cubicBezTo>
                <a:cubicBezTo>
                  <a:pt x="20" y="5"/>
                  <a:pt x="20" y="5"/>
                  <a:pt x="20" y="5"/>
                </a:cubicBezTo>
                <a:cubicBezTo>
                  <a:pt x="19" y="5"/>
                  <a:pt x="19" y="5"/>
                  <a:pt x="18" y="5"/>
                </a:cubicBezTo>
                <a:cubicBezTo>
                  <a:pt x="17" y="5"/>
                  <a:pt x="17" y="5"/>
                  <a:pt x="17" y="5"/>
                </a:cubicBezTo>
                <a:cubicBezTo>
                  <a:pt x="17" y="5"/>
                  <a:pt x="17" y="5"/>
                  <a:pt x="17" y="5"/>
                </a:cubicBezTo>
                <a:cubicBezTo>
                  <a:pt x="16" y="5"/>
                  <a:pt x="16" y="4"/>
                  <a:pt x="16" y="4"/>
                </a:cubicBezTo>
                <a:cubicBezTo>
                  <a:pt x="15" y="4"/>
                  <a:pt x="15" y="4"/>
                  <a:pt x="15" y="4"/>
                </a:cubicBezTo>
                <a:cubicBezTo>
                  <a:pt x="15" y="4"/>
                  <a:pt x="15" y="4"/>
                  <a:pt x="15" y="4"/>
                </a:cubicBezTo>
                <a:cubicBezTo>
                  <a:pt x="15" y="4"/>
                  <a:pt x="15" y="4"/>
                  <a:pt x="15" y="4"/>
                </a:cubicBezTo>
                <a:cubicBezTo>
                  <a:pt x="15" y="4"/>
                  <a:pt x="15" y="4"/>
                  <a:pt x="15" y="4"/>
                </a:cubicBezTo>
                <a:cubicBezTo>
                  <a:pt x="15" y="4"/>
                  <a:pt x="15" y="4"/>
                  <a:pt x="15" y="4"/>
                </a:cubicBezTo>
                <a:cubicBezTo>
                  <a:pt x="15" y="4"/>
                  <a:pt x="15" y="4"/>
                  <a:pt x="15" y="4"/>
                </a:cubicBezTo>
                <a:cubicBezTo>
                  <a:pt x="15" y="5"/>
                  <a:pt x="15" y="5"/>
                  <a:pt x="15" y="5"/>
                </a:cubicBezTo>
                <a:cubicBezTo>
                  <a:pt x="15" y="5"/>
                  <a:pt x="15" y="5"/>
                  <a:pt x="15" y="5"/>
                </a:cubicBezTo>
                <a:cubicBezTo>
                  <a:pt x="14" y="5"/>
                  <a:pt x="14" y="5"/>
                  <a:pt x="14" y="5"/>
                </a:cubicBezTo>
                <a:cubicBezTo>
                  <a:pt x="14" y="6"/>
                  <a:pt x="13" y="6"/>
                  <a:pt x="13" y="6"/>
                </a:cubicBezTo>
                <a:cubicBezTo>
                  <a:pt x="13" y="6"/>
                  <a:pt x="13" y="6"/>
                  <a:pt x="13" y="6"/>
                </a:cubicBezTo>
                <a:cubicBezTo>
                  <a:pt x="14" y="10"/>
                  <a:pt x="14" y="10"/>
                  <a:pt x="14" y="10"/>
                </a:cubicBezTo>
                <a:cubicBezTo>
                  <a:pt x="13" y="9"/>
                  <a:pt x="13" y="9"/>
                  <a:pt x="13" y="9"/>
                </a:cubicBezTo>
                <a:cubicBezTo>
                  <a:pt x="13" y="9"/>
                  <a:pt x="13" y="9"/>
                  <a:pt x="13" y="10"/>
                </a:cubicBezTo>
                <a:cubicBezTo>
                  <a:pt x="12" y="10"/>
                  <a:pt x="12" y="11"/>
                  <a:pt x="12" y="12"/>
                </a:cubicBezTo>
                <a:cubicBezTo>
                  <a:pt x="13" y="12"/>
                  <a:pt x="13" y="12"/>
                  <a:pt x="13" y="13"/>
                </a:cubicBezTo>
                <a:cubicBezTo>
                  <a:pt x="13" y="13"/>
                  <a:pt x="12" y="14"/>
                  <a:pt x="12" y="14"/>
                </a:cubicBezTo>
                <a:cubicBezTo>
                  <a:pt x="12" y="14"/>
                  <a:pt x="12" y="14"/>
                  <a:pt x="12" y="14"/>
                </a:cubicBezTo>
                <a:cubicBezTo>
                  <a:pt x="12" y="15"/>
                  <a:pt x="12" y="15"/>
                  <a:pt x="12" y="15"/>
                </a:cubicBezTo>
                <a:cubicBezTo>
                  <a:pt x="12" y="16"/>
                  <a:pt x="12" y="16"/>
                  <a:pt x="12" y="16"/>
                </a:cubicBezTo>
                <a:cubicBezTo>
                  <a:pt x="12" y="16"/>
                  <a:pt x="12" y="16"/>
                  <a:pt x="12" y="16"/>
                </a:cubicBezTo>
                <a:cubicBezTo>
                  <a:pt x="13" y="16"/>
                  <a:pt x="13" y="16"/>
                  <a:pt x="13" y="16"/>
                </a:cubicBezTo>
                <a:cubicBezTo>
                  <a:pt x="13" y="16"/>
                  <a:pt x="13" y="16"/>
                  <a:pt x="13" y="16"/>
                </a:cubicBezTo>
                <a:cubicBezTo>
                  <a:pt x="14" y="16"/>
                  <a:pt x="14" y="16"/>
                  <a:pt x="14" y="16"/>
                </a:cubicBezTo>
                <a:cubicBezTo>
                  <a:pt x="14" y="16"/>
                  <a:pt x="14" y="16"/>
                  <a:pt x="14" y="17"/>
                </a:cubicBezTo>
                <a:cubicBezTo>
                  <a:pt x="15" y="17"/>
                  <a:pt x="15" y="17"/>
                  <a:pt x="15" y="17"/>
                </a:cubicBezTo>
                <a:cubicBezTo>
                  <a:pt x="15" y="17"/>
                  <a:pt x="16" y="17"/>
                  <a:pt x="16" y="17"/>
                </a:cubicBezTo>
                <a:cubicBezTo>
                  <a:pt x="18" y="19"/>
                  <a:pt x="18" y="19"/>
                  <a:pt x="18" y="19"/>
                </a:cubicBezTo>
                <a:cubicBezTo>
                  <a:pt x="18" y="20"/>
                  <a:pt x="18" y="20"/>
                  <a:pt x="18" y="20"/>
                </a:cubicBezTo>
                <a:cubicBezTo>
                  <a:pt x="17" y="21"/>
                  <a:pt x="16" y="22"/>
                  <a:pt x="15" y="23"/>
                </a:cubicBezTo>
                <a:cubicBezTo>
                  <a:pt x="14" y="25"/>
                  <a:pt x="12" y="26"/>
                  <a:pt x="11" y="28"/>
                </a:cubicBezTo>
                <a:cubicBezTo>
                  <a:pt x="9" y="29"/>
                  <a:pt x="7" y="31"/>
                  <a:pt x="6" y="32"/>
                </a:cubicBezTo>
                <a:cubicBezTo>
                  <a:pt x="7" y="34"/>
                  <a:pt x="7" y="34"/>
                  <a:pt x="7" y="34"/>
                </a:cubicBezTo>
                <a:cubicBezTo>
                  <a:pt x="5" y="33"/>
                  <a:pt x="5" y="33"/>
                  <a:pt x="5" y="33"/>
                </a:cubicBezTo>
                <a:cubicBezTo>
                  <a:pt x="5" y="33"/>
                  <a:pt x="5" y="33"/>
                  <a:pt x="5" y="33"/>
                </a:cubicBezTo>
                <a:cubicBezTo>
                  <a:pt x="4" y="33"/>
                  <a:pt x="4" y="33"/>
                  <a:pt x="4" y="34"/>
                </a:cubicBezTo>
                <a:cubicBezTo>
                  <a:pt x="4" y="35"/>
                  <a:pt x="4" y="35"/>
                  <a:pt x="4" y="36"/>
                </a:cubicBezTo>
                <a:cubicBezTo>
                  <a:pt x="4" y="37"/>
                  <a:pt x="4" y="38"/>
                  <a:pt x="3" y="39"/>
                </a:cubicBezTo>
                <a:cubicBezTo>
                  <a:pt x="3" y="39"/>
                  <a:pt x="3" y="39"/>
                  <a:pt x="3" y="39"/>
                </a:cubicBezTo>
                <a:cubicBezTo>
                  <a:pt x="2" y="41"/>
                  <a:pt x="1" y="43"/>
                  <a:pt x="1" y="45"/>
                </a:cubicBezTo>
                <a:cubicBezTo>
                  <a:pt x="1" y="46"/>
                  <a:pt x="1" y="47"/>
                  <a:pt x="1" y="48"/>
                </a:cubicBezTo>
                <a:cubicBezTo>
                  <a:pt x="0" y="50"/>
                  <a:pt x="0" y="52"/>
                  <a:pt x="0" y="53"/>
                </a:cubicBezTo>
                <a:cubicBezTo>
                  <a:pt x="0" y="53"/>
                  <a:pt x="0" y="54"/>
                  <a:pt x="0" y="54"/>
                </a:cubicBezTo>
                <a:cubicBezTo>
                  <a:pt x="1" y="54"/>
                  <a:pt x="2" y="54"/>
                  <a:pt x="2" y="54"/>
                </a:cubicBezTo>
                <a:cubicBezTo>
                  <a:pt x="3" y="54"/>
                  <a:pt x="3" y="54"/>
                  <a:pt x="3" y="55"/>
                </a:cubicBezTo>
                <a:cubicBezTo>
                  <a:pt x="3" y="55"/>
                  <a:pt x="3" y="55"/>
                  <a:pt x="4" y="55"/>
                </a:cubicBezTo>
                <a:cubicBezTo>
                  <a:pt x="4" y="54"/>
                  <a:pt x="4" y="54"/>
                  <a:pt x="4" y="54"/>
                </a:cubicBezTo>
                <a:cubicBezTo>
                  <a:pt x="5" y="53"/>
                  <a:pt x="5" y="53"/>
                  <a:pt x="5" y="53"/>
                </a:cubicBezTo>
                <a:cubicBezTo>
                  <a:pt x="5" y="53"/>
                  <a:pt x="6" y="52"/>
                  <a:pt x="7" y="52"/>
                </a:cubicBezTo>
                <a:cubicBezTo>
                  <a:pt x="6" y="51"/>
                  <a:pt x="6" y="51"/>
                  <a:pt x="6" y="51"/>
                </a:cubicBezTo>
                <a:cubicBezTo>
                  <a:pt x="8" y="51"/>
                  <a:pt x="8" y="51"/>
                  <a:pt x="8" y="51"/>
                </a:cubicBezTo>
                <a:cubicBezTo>
                  <a:pt x="9" y="51"/>
                  <a:pt x="9" y="51"/>
                  <a:pt x="9" y="51"/>
                </a:cubicBezTo>
                <a:cubicBezTo>
                  <a:pt x="9" y="51"/>
                  <a:pt x="9" y="51"/>
                  <a:pt x="9" y="51"/>
                </a:cubicBezTo>
                <a:cubicBezTo>
                  <a:pt x="13" y="51"/>
                  <a:pt x="17" y="50"/>
                  <a:pt x="21" y="50"/>
                </a:cubicBezTo>
                <a:cubicBezTo>
                  <a:pt x="21" y="50"/>
                  <a:pt x="21" y="49"/>
                  <a:pt x="21" y="49"/>
                </a:cubicBezTo>
                <a:cubicBezTo>
                  <a:pt x="22" y="48"/>
                  <a:pt x="23" y="46"/>
                  <a:pt x="24" y="45"/>
                </a:cubicBezTo>
                <a:cubicBezTo>
                  <a:pt x="24" y="44"/>
                  <a:pt x="24" y="44"/>
                  <a:pt x="23" y="43"/>
                </a:cubicBezTo>
                <a:cubicBezTo>
                  <a:pt x="23" y="41"/>
                  <a:pt x="27" y="41"/>
                  <a:pt x="29" y="41"/>
                </a:cubicBezTo>
                <a:cubicBezTo>
                  <a:pt x="30" y="41"/>
                  <a:pt x="30" y="40"/>
                  <a:pt x="30" y="38"/>
                </a:cubicBezTo>
                <a:cubicBezTo>
                  <a:pt x="30" y="40"/>
                  <a:pt x="31" y="41"/>
                  <a:pt x="33" y="41"/>
                </a:cubicBezTo>
                <a:cubicBezTo>
                  <a:pt x="34" y="40"/>
                  <a:pt x="34" y="40"/>
                  <a:pt x="34" y="40"/>
                </a:cubicBezTo>
                <a:cubicBezTo>
                  <a:pt x="35" y="39"/>
                  <a:pt x="37" y="38"/>
                  <a:pt x="36" y="37"/>
                </a:cubicBezTo>
                <a:cubicBezTo>
                  <a:pt x="37" y="37"/>
                  <a:pt x="38" y="36"/>
                  <a:pt x="38" y="38"/>
                </a:cubicBezTo>
                <a:cubicBezTo>
                  <a:pt x="39" y="38"/>
                  <a:pt x="39" y="40"/>
                  <a:pt x="40" y="40"/>
                </a:cubicBezTo>
                <a:cubicBezTo>
                  <a:pt x="40" y="40"/>
                  <a:pt x="41" y="38"/>
                  <a:pt x="41" y="38"/>
                </a:cubicBezTo>
                <a:cubicBezTo>
                  <a:pt x="41" y="39"/>
                  <a:pt x="41" y="40"/>
                  <a:pt x="42" y="40"/>
                </a:cubicBezTo>
                <a:cubicBezTo>
                  <a:pt x="43" y="40"/>
                  <a:pt x="43" y="40"/>
                  <a:pt x="43" y="4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93" name="Freeform 3050">
            <a:extLst>
              <a:ext uri="{FF2B5EF4-FFF2-40B4-BE49-F238E27FC236}">
                <a16:creationId xmlns:a16="http://schemas.microsoft.com/office/drawing/2014/main" id="{3AFE21EB-C9A8-471C-A928-995D0624E3CA}"/>
              </a:ext>
            </a:extLst>
          </p:cNvPr>
          <p:cNvSpPr>
            <a:spLocks/>
          </p:cNvSpPr>
          <p:nvPr/>
        </p:nvSpPr>
        <p:spPr bwMode="auto">
          <a:xfrm>
            <a:off x="3488167" y="3684385"/>
            <a:ext cx="224984" cy="266524"/>
          </a:xfrm>
          <a:custGeom>
            <a:avLst/>
            <a:gdLst>
              <a:gd name="T0" fmla="*/ 173 w 192"/>
              <a:gd name="T1" fmla="*/ 95 h 190"/>
              <a:gd name="T2" fmla="*/ 171 w 192"/>
              <a:gd name="T3" fmla="*/ 89 h 190"/>
              <a:gd name="T4" fmla="*/ 169 w 192"/>
              <a:gd name="T5" fmla="*/ 77 h 190"/>
              <a:gd name="T6" fmla="*/ 172 w 192"/>
              <a:gd name="T7" fmla="*/ 69 h 190"/>
              <a:gd name="T8" fmla="*/ 178 w 192"/>
              <a:gd name="T9" fmla="*/ 47 h 190"/>
              <a:gd name="T10" fmla="*/ 192 w 192"/>
              <a:gd name="T11" fmla="*/ 32 h 190"/>
              <a:gd name="T12" fmla="*/ 187 w 192"/>
              <a:gd name="T13" fmla="*/ 25 h 190"/>
              <a:gd name="T14" fmla="*/ 185 w 192"/>
              <a:gd name="T15" fmla="*/ 16 h 190"/>
              <a:gd name="T16" fmla="*/ 178 w 192"/>
              <a:gd name="T17" fmla="*/ 10 h 190"/>
              <a:gd name="T18" fmla="*/ 166 w 192"/>
              <a:gd name="T19" fmla="*/ 10 h 190"/>
              <a:gd name="T20" fmla="*/ 153 w 192"/>
              <a:gd name="T21" fmla="*/ 3 h 190"/>
              <a:gd name="T22" fmla="*/ 145 w 192"/>
              <a:gd name="T23" fmla="*/ 3 h 190"/>
              <a:gd name="T24" fmla="*/ 135 w 192"/>
              <a:gd name="T25" fmla="*/ 0 h 190"/>
              <a:gd name="T26" fmla="*/ 134 w 192"/>
              <a:gd name="T27" fmla="*/ 2 h 190"/>
              <a:gd name="T28" fmla="*/ 124 w 192"/>
              <a:gd name="T29" fmla="*/ 4 h 190"/>
              <a:gd name="T30" fmla="*/ 109 w 192"/>
              <a:gd name="T31" fmla="*/ 6 h 190"/>
              <a:gd name="T32" fmla="*/ 105 w 192"/>
              <a:gd name="T33" fmla="*/ 11 h 190"/>
              <a:gd name="T34" fmla="*/ 99 w 192"/>
              <a:gd name="T35" fmla="*/ 11 h 190"/>
              <a:gd name="T36" fmla="*/ 90 w 192"/>
              <a:gd name="T37" fmla="*/ 12 h 190"/>
              <a:gd name="T38" fmla="*/ 81 w 192"/>
              <a:gd name="T39" fmla="*/ 7 h 190"/>
              <a:gd name="T40" fmla="*/ 75 w 192"/>
              <a:gd name="T41" fmla="*/ 2 h 190"/>
              <a:gd name="T42" fmla="*/ 68 w 192"/>
              <a:gd name="T43" fmla="*/ 7 h 190"/>
              <a:gd name="T44" fmla="*/ 65 w 192"/>
              <a:gd name="T45" fmla="*/ 14 h 190"/>
              <a:gd name="T46" fmla="*/ 65 w 192"/>
              <a:gd name="T47" fmla="*/ 22 h 190"/>
              <a:gd name="T48" fmla="*/ 62 w 192"/>
              <a:gd name="T49" fmla="*/ 28 h 190"/>
              <a:gd name="T50" fmla="*/ 59 w 192"/>
              <a:gd name="T51" fmla="*/ 37 h 190"/>
              <a:gd name="T52" fmla="*/ 58 w 192"/>
              <a:gd name="T53" fmla="*/ 51 h 190"/>
              <a:gd name="T54" fmla="*/ 47 w 192"/>
              <a:gd name="T55" fmla="*/ 67 h 190"/>
              <a:gd name="T56" fmla="*/ 41 w 192"/>
              <a:gd name="T57" fmla="*/ 82 h 190"/>
              <a:gd name="T58" fmla="*/ 41 w 192"/>
              <a:gd name="T59" fmla="*/ 87 h 190"/>
              <a:gd name="T60" fmla="*/ 27 w 192"/>
              <a:gd name="T61" fmla="*/ 102 h 190"/>
              <a:gd name="T62" fmla="*/ 20 w 192"/>
              <a:gd name="T63" fmla="*/ 99 h 190"/>
              <a:gd name="T64" fmla="*/ 9 w 192"/>
              <a:gd name="T65" fmla="*/ 103 h 190"/>
              <a:gd name="T66" fmla="*/ 3 w 192"/>
              <a:gd name="T67" fmla="*/ 107 h 190"/>
              <a:gd name="T68" fmla="*/ 12 w 192"/>
              <a:gd name="T69" fmla="*/ 112 h 190"/>
              <a:gd name="T70" fmla="*/ 40 w 192"/>
              <a:gd name="T71" fmla="*/ 112 h 190"/>
              <a:gd name="T72" fmla="*/ 55 w 192"/>
              <a:gd name="T73" fmla="*/ 135 h 190"/>
              <a:gd name="T74" fmla="*/ 71 w 192"/>
              <a:gd name="T75" fmla="*/ 134 h 190"/>
              <a:gd name="T76" fmla="*/ 75 w 192"/>
              <a:gd name="T77" fmla="*/ 124 h 190"/>
              <a:gd name="T78" fmla="*/ 81 w 192"/>
              <a:gd name="T79" fmla="*/ 123 h 190"/>
              <a:gd name="T80" fmla="*/ 87 w 192"/>
              <a:gd name="T81" fmla="*/ 127 h 190"/>
              <a:gd name="T82" fmla="*/ 98 w 192"/>
              <a:gd name="T83" fmla="*/ 132 h 190"/>
              <a:gd name="T84" fmla="*/ 98 w 192"/>
              <a:gd name="T85" fmla="*/ 150 h 190"/>
              <a:gd name="T86" fmla="*/ 102 w 192"/>
              <a:gd name="T87" fmla="*/ 165 h 190"/>
              <a:gd name="T88" fmla="*/ 119 w 192"/>
              <a:gd name="T89" fmla="*/ 163 h 190"/>
              <a:gd name="T90" fmla="*/ 127 w 192"/>
              <a:gd name="T91" fmla="*/ 168 h 190"/>
              <a:gd name="T92" fmla="*/ 134 w 192"/>
              <a:gd name="T93" fmla="*/ 172 h 190"/>
              <a:gd name="T94" fmla="*/ 148 w 192"/>
              <a:gd name="T95" fmla="*/ 174 h 190"/>
              <a:gd name="T96" fmla="*/ 155 w 192"/>
              <a:gd name="T97" fmla="*/ 175 h 190"/>
              <a:gd name="T98" fmla="*/ 165 w 192"/>
              <a:gd name="T99" fmla="*/ 181 h 190"/>
              <a:gd name="T100" fmla="*/ 177 w 192"/>
              <a:gd name="T101" fmla="*/ 180 h 190"/>
              <a:gd name="T102" fmla="*/ 172 w 192"/>
              <a:gd name="T103" fmla="*/ 182 h 190"/>
              <a:gd name="T104" fmla="*/ 168 w 192"/>
              <a:gd name="T105" fmla="*/ 179 h 190"/>
              <a:gd name="T106" fmla="*/ 165 w 192"/>
              <a:gd name="T107" fmla="*/ 156 h 190"/>
              <a:gd name="T108" fmla="*/ 164 w 192"/>
              <a:gd name="T109" fmla="*/ 151 h 190"/>
              <a:gd name="T110" fmla="*/ 168 w 192"/>
              <a:gd name="T111" fmla="*/ 142 h 190"/>
              <a:gd name="T112" fmla="*/ 181 w 192"/>
              <a:gd name="T113" fmla="*/ 127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2" h="190">
                <a:moveTo>
                  <a:pt x="181" y="127"/>
                </a:moveTo>
                <a:cubicBezTo>
                  <a:pt x="178" y="124"/>
                  <a:pt x="176" y="120"/>
                  <a:pt x="173" y="117"/>
                </a:cubicBezTo>
                <a:cubicBezTo>
                  <a:pt x="172" y="116"/>
                  <a:pt x="172" y="116"/>
                  <a:pt x="172" y="115"/>
                </a:cubicBezTo>
                <a:cubicBezTo>
                  <a:pt x="172" y="114"/>
                  <a:pt x="172" y="114"/>
                  <a:pt x="173" y="114"/>
                </a:cubicBezTo>
                <a:cubicBezTo>
                  <a:pt x="173" y="113"/>
                  <a:pt x="173" y="113"/>
                  <a:pt x="173" y="113"/>
                </a:cubicBezTo>
                <a:cubicBezTo>
                  <a:pt x="174" y="111"/>
                  <a:pt x="172" y="108"/>
                  <a:pt x="172" y="107"/>
                </a:cubicBezTo>
                <a:cubicBezTo>
                  <a:pt x="171" y="104"/>
                  <a:pt x="172" y="102"/>
                  <a:pt x="172" y="99"/>
                </a:cubicBezTo>
                <a:cubicBezTo>
                  <a:pt x="172" y="98"/>
                  <a:pt x="173" y="96"/>
                  <a:pt x="173" y="95"/>
                </a:cubicBezTo>
                <a:cubicBezTo>
                  <a:pt x="172" y="95"/>
                  <a:pt x="172" y="97"/>
                  <a:pt x="172" y="97"/>
                </a:cubicBezTo>
                <a:cubicBezTo>
                  <a:pt x="171" y="98"/>
                  <a:pt x="171" y="97"/>
                  <a:pt x="171" y="96"/>
                </a:cubicBezTo>
                <a:cubicBezTo>
                  <a:pt x="171" y="95"/>
                  <a:pt x="171" y="93"/>
                  <a:pt x="172" y="92"/>
                </a:cubicBezTo>
                <a:cubicBezTo>
                  <a:pt x="172" y="91"/>
                  <a:pt x="172" y="91"/>
                  <a:pt x="172" y="90"/>
                </a:cubicBezTo>
                <a:cubicBezTo>
                  <a:pt x="172" y="90"/>
                  <a:pt x="172" y="90"/>
                  <a:pt x="172" y="90"/>
                </a:cubicBezTo>
                <a:cubicBezTo>
                  <a:pt x="171" y="90"/>
                  <a:pt x="171" y="90"/>
                  <a:pt x="171" y="90"/>
                </a:cubicBezTo>
                <a:cubicBezTo>
                  <a:pt x="171" y="90"/>
                  <a:pt x="171" y="90"/>
                  <a:pt x="171" y="90"/>
                </a:cubicBezTo>
                <a:cubicBezTo>
                  <a:pt x="171" y="89"/>
                  <a:pt x="171" y="89"/>
                  <a:pt x="171" y="89"/>
                </a:cubicBezTo>
                <a:cubicBezTo>
                  <a:pt x="170" y="89"/>
                  <a:pt x="170" y="89"/>
                  <a:pt x="170" y="89"/>
                </a:cubicBezTo>
                <a:cubicBezTo>
                  <a:pt x="171" y="87"/>
                  <a:pt x="171" y="87"/>
                  <a:pt x="171" y="87"/>
                </a:cubicBezTo>
                <a:cubicBezTo>
                  <a:pt x="171" y="86"/>
                  <a:pt x="171" y="85"/>
                  <a:pt x="171" y="84"/>
                </a:cubicBezTo>
                <a:cubicBezTo>
                  <a:pt x="171" y="85"/>
                  <a:pt x="171" y="85"/>
                  <a:pt x="171" y="85"/>
                </a:cubicBezTo>
                <a:cubicBezTo>
                  <a:pt x="169" y="81"/>
                  <a:pt x="169" y="81"/>
                  <a:pt x="169" y="81"/>
                </a:cubicBezTo>
                <a:cubicBezTo>
                  <a:pt x="168" y="80"/>
                  <a:pt x="168" y="79"/>
                  <a:pt x="168" y="78"/>
                </a:cubicBezTo>
                <a:cubicBezTo>
                  <a:pt x="168" y="78"/>
                  <a:pt x="169" y="77"/>
                  <a:pt x="169" y="77"/>
                </a:cubicBezTo>
                <a:cubicBezTo>
                  <a:pt x="169" y="77"/>
                  <a:pt x="169" y="77"/>
                  <a:pt x="169" y="77"/>
                </a:cubicBezTo>
                <a:cubicBezTo>
                  <a:pt x="169" y="76"/>
                  <a:pt x="170" y="76"/>
                  <a:pt x="170" y="76"/>
                </a:cubicBezTo>
                <a:cubicBezTo>
                  <a:pt x="170" y="76"/>
                  <a:pt x="170" y="75"/>
                  <a:pt x="170" y="75"/>
                </a:cubicBezTo>
                <a:cubicBezTo>
                  <a:pt x="170" y="75"/>
                  <a:pt x="171" y="74"/>
                  <a:pt x="171" y="73"/>
                </a:cubicBezTo>
                <a:cubicBezTo>
                  <a:pt x="171" y="72"/>
                  <a:pt x="171" y="71"/>
                  <a:pt x="172" y="70"/>
                </a:cubicBezTo>
                <a:cubicBezTo>
                  <a:pt x="172" y="69"/>
                  <a:pt x="172" y="69"/>
                  <a:pt x="172" y="69"/>
                </a:cubicBezTo>
                <a:cubicBezTo>
                  <a:pt x="171" y="69"/>
                  <a:pt x="171" y="69"/>
                  <a:pt x="171" y="69"/>
                </a:cubicBezTo>
                <a:cubicBezTo>
                  <a:pt x="172" y="69"/>
                  <a:pt x="172" y="69"/>
                  <a:pt x="172" y="69"/>
                </a:cubicBezTo>
                <a:cubicBezTo>
                  <a:pt x="172" y="69"/>
                  <a:pt x="172" y="69"/>
                  <a:pt x="172" y="69"/>
                </a:cubicBezTo>
                <a:cubicBezTo>
                  <a:pt x="173" y="69"/>
                  <a:pt x="174" y="68"/>
                  <a:pt x="174" y="68"/>
                </a:cubicBezTo>
                <a:cubicBezTo>
                  <a:pt x="174" y="67"/>
                  <a:pt x="175" y="67"/>
                  <a:pt x="175" y="67"/>
                </a:cubicBezTo>
                <a:cubicBezTo>
                  <a:pt x="175" y="67"/>
                  <a:pt x="175" y="66"/>
                  <a:pt x="175" y="65"/>
                </a:cubicBezTo>
                <a:cubicBezTo>
                  <a:pt x="175" y="63"/>
                  <a:pt x="175" y="61"/>
                  <a:pt x="175" y="60"/>
                </a:cubicBezTo>
                <a:cubicBezTo>
                  <a:pt x="175" y="59"/>
                  <a:pt x="176" y="58"/>
                  <a:pt x="176" y="57"/>
                </a:cubicBezTo>
                <a:cubicBezTo>
                  <a:pt x="176" y="54"/>
                  <a:pt x="177" y="52"/>
                  <a:pt x="178" y="50"/>
                </a:cubicBezTo>
                <a:cubicBezTo>
                  <a:pt x="178" y="50"/>
                  <a:pt x="178" y="50"/>
                  <a:pt x="178" y="50"/>
                </a:cubicBezTo>
                <a:cubicBezTo>
                  <a:pt x="178" y="49"/>
                  <a:pt x="178" y="48"/>
                  <a:pt x="178" y="47"/>
                </a:cubicBezTo>
                <a:cubicBezTo>
                  <a:pt x="179" y="47"/>
                  <a:pt x="179" y="46"/>
                  <a:pt x="179" y="45"/>
                </a:cubicBezTo>
                <a:cubicBezTo>
                  <a:pt x="179" y="44"/>
                  <a:pt x="180" y="44"/>
                  <a:pt x="180" y="43"/>
                </a:cubicBezTo>
                <a:cubicBezTo>
                  <a:pt x="180" y="43"/>
                  <a:pt x="180" y="43"/>
                  <a:pt x="180" y="43"/>
                </a:cubicBezTo>
                <a:cubicBezTo>
                  <a:pt x="181" y="43"/>
                  <a:pt x="181" y="43"/>
                  <a:pt x="181" y="43"/>
                </a:cubicBezTo>
                <a:cubicBezTo>
                  <a:pt x="183" y="41"/>
                  <a:pt x="184" y="40"/>
                  <a:pt x="186" y="38"/>
                </a:cubicBezTo>
                <a:cubicBezTo>
                  <a:pt x="186" y="38"/>
                  <a:pt x="186" y="38"/>
                  <a:pt x="186" y="38"/>
                </a:cubicBezTo>
                <a:cubicBezTo>
                  <a:pt x="188" y="36"/>
                  <a:pt x="189" y="35"/>
                  <a:pt x="191" y="33"/>
                </a:cubicBezTo>
                <a:cubicBezTo>
                  <a:pt x="191" y="33"/>
                  <a:pt x="191" y="32"/>
                  <a:pt x="192" y="32"/>
                </a:cubicBezTo>
                <a:cubicBezTo>
                  <a:pt x="191" y="31"/>
                  <a:pt x="191" y="31"/>
                  <a:pt x="191" y="31"/>
                </a:cubicBezTo>
                <a:cubicBezTo>
                  <a:pt x="190" y="31"/>
                  <a:pt x="190" y="31"/>
                  <a:pt x="190" y="31"/>
                </a:cubicBezTo>
                <a:cubicBezTo>
                  <a:pt x="189" y="31"/>
                  <a:pt x="189" y="31"/>
                  <a:pt x="189" y="31"/>
                </a:cubicBezTo>
                <a:cubicBezTo>
                  <a:pt x="188" y="30"/>
                  <a:pt x="187" y="30"/>
                  <a:pt x="187" y="29"/>
                </a:cubicBezTo>
                <a:cubicBezTo>
                  <a:pt x="187" y="28"/>
                  <a:pt x="187" y="28"/>
                  <a:pt x="187" y="27"/>
                </a:cubicBezTo>
                <a:cubicBezTo>
                  <a:pt x="187" y="27"/>
                  <a:pt x="187" y="26"/>
                  <a:pt x="187" y="26"/>
                </a:cubicBezTo>
                <a:cubicBezTo>
                  <a:pt x="187" y="26"/>
                  <a:pt x="187" y="26"/>
                  <a:pt x="187" y="26"/>
                </a:cubicBezTo>
                <a:cubicBezTo>
                  <a:pt x="187" y="26"/>
                  <a:pt x="187" y="25"/>
                  <a:pt x="187" y="25"/>
                </a:cubicBezTo>
                <a:cubicBezTo>
                  <a:pt x="187" y="25"/>
                  <a:pt x="187" y="24"/>
                  <a:pt x="187" y="24"/>
                </a:cubicBezTo>
                <a:cubicBezTo>
                  <a:pt x="187" y="23"/>
                  <a:pt x="187" y="22"/>
                  <a:pt x="187" y="21"/>
                </a:cubicBezTo>
                <a:cubicBezTo>
                  <a:pt x="187" y="21"/>
                  <a:pt x="187" y="21"/>
                  <a:pt x="187" y="21"/>
                </a:cubicBezTo>
                <a:cubicBezTo>
                  <a:pt x="187" y="20"/>
                  <a:pt x="188" y="19"/>
                  <a:pt x="188" y="19"/>
                </a:cubicBezTo>
                <a:cubicBezTo>
                  <a:pt x="188" y="18"/>
                  <a:pt x="188" y="18"/>
                  <a:pt x="188" y="18"/>
                </a:cubicBezTo>
                <a:cubicBezTo>
                  <a:pt x="188" y="18"/>
                  <a:pt x="188" y="18"/>
                  <a:pt x="188" y="18"/>
                </a:cubicBezTo>
                <a:cubicBezTo>
                  <a:pt x="188" y="18"/>
                  <a:pt x="187" y="18"/>
                  <a:pt x="187" y="18"/>
                </a:cubicBezTo>
                <a:cubicBezTo>
                  <a:pt x="186" y="18"/>
                  <a:pt x="185" y="18"/>
                  <a:pt x="185" y="16"/>
                </a:cubicBezTo>
                <a:cubicBezTo>
                  <a:pt x="185" y="16"/>
                  <a:pt x="185" y="15"/>
                  <a:pt x="185" y="15"/>
                </a:cubicBezTo>
                <a:cubicBezTo>
                  <a:pt x="185" y="15"/>
                  <a:pt x="185" y="15"/>
                  <a:pt x="185" y="15"/>
                </a:cubicBezTo>
                <a:cubicBezTo>
                  <a:pt x="185" y="15"/>
                  <a:pt x="185" y="15"/>
                  <a:pt x="184" y="15"/>
                </a:cubicBezTo>
                <a:cubicBezTo>
                  <a:pt x="184" y="14"/>
                  <a:pt x="184" y="14"/>
                  <a:pt x="184" y="14"/>
                </a:cubicBezTo>
                <a:cubicBezTo>
                  <a:pt x="183" y="14"/>
                  <a:pt x="183" y="14"/>
                  <a:pt x="183" y="14"/>
                </a:cubicBezTo>
                <a:cubicBezTo>
                  <a:pt x="181" y="14"/>
                  <a:pt x="181" y="13"/>
                  <a:pt x="180" y="12"/>
                </a:cubicBezTo>
                <a:cubicBezTo>
                  <a:pt x="179" y="11"/>
                  <a:pt x="179" y="11"/>
                  <a:pt x="179" y="11"/>
                </a:cubicBezTo>
                <a:cubicBezTo>
                  <a:pt x="178" y="10"/>
                  <a:pt x="178" y="10"/>
                  <a:pt x="178" y="10"/>
                </a:cubicBezTo>
                <a:cubicBezTo>
                  <a:pt x="178" y="10"/>
                  <a:pt x="177" y="9"/>
                  <a:pt x="177" y="8"/>
                </a:cubicBezTo>
                <a:cubicBezTo>
                  <a:pt x="176" y="8"/>
                  <a:pt x="175" y="8"/>
                  <a:pt x="175" y="9"/>
                </a:cubicBezTo>
                <a:cubicBezTo>
                  <a:pt x="175" y="9"/>
                  <a:pt x="175" y="9"/>
                  <a:pt x="175" y="9"/>
                </a:cubicBezTo>
                <a:cubicBezTo>
                  <a:pt x="175" y="9"/>
                  <a:pt x="175" y="9"/>
                  <a:pt x="174" y="9"/>
                </a:cubicBezTo>
                <a:cubicBezTo>
                  <a:pt x="173" y="11"/>
                  <a:pt x="171" y="10"/>
                  <a:pt x="169" y="10"/>
                </a:cubicBezTo>
                <a:cubicBezTo>
                  <a:pt x="168" y="10"/>
                  <a:pt x="168" y="9"/>
                  <a:pt x="167" y="9"/>
                </a:cubicBezTo>
                <a:cubicBezTo>
                  <a:pt x="167" y="9"/>
                  <a:pt x="167" y="9"/>
                  <a:pt x="166" y="9"/>
                </a:cubicBezTo>
                <a:cubicBezTo>
                  <a:pt x="166" y="10"/>
                  <a:pt x="166" y="10"/>
                  <a:pt x="166" y="10"/>
                </a:cubicBezTo>
                <a:cubicBezTo>
                  <a:pt x="165" y="11"/>
                  <a:pt x="164" y="11"/>
                  <a:pt x="162" y="10"/>
                </a:cubicBezTo>
                <a:cubicBezTo>
                  <a:pt x="162" y="10"/>
                  <a:pt x="162" y="10"/>
                  <a:pt x="161" y="10"/>
                </a:cubicBezTo>
                <a:cubicBezTo>
                  <a:pt x="159" y="9"/>
                  <a:pt x="157" y="8"/>
                  <a:pt x="156" y="6"/>
                </a:cubicBezTo>
                <a:cubicBezTo>
                  <a:pt x="156" y="5"/>
                  <a:pt x="155" y="4"/>
                  <a:pt x="154" y="3"/>
                </a:cubicBezTo>
                <a:cubicBezTo>
                  <a:pt x="154" y="3"/>
                  <a:pt x="154" y="3"/>
                  <a:pt x="154" y="3"/>
                </a:cubicBezTo>
                <a:cubicBezTo>
                  <a:pt x="154" y="3"/>
                  <a:pt x="154" y="3"/>
                  <a:pt x="153" y="3"/>
                </a:cubicBezTo>
                <a:cubicBezTo>
                  <a:pt x="153" y="3"/>
                  <a:pt x="153" y="3"/>
                  <a:pt x="153" y="3"/>
                </a:cubicBezTo>
                <a:cubicBezTo>
                  <a:pt x="153" y="3"/>
                  <a:pt x="153" y="3"/>
                  <a:pt x="153" y="3"/>
                </a:cubicBezTo>
                <a:cubicBezTo>
                  <a:pt x="153" y="3"/>
                  <a:pt x="153" y="3"/>
                  <a:pt x="152" y="3"/>
                </a:cubicBezTo>
                <a:cubicBezTo>
                  <a:pt x="152" y="2"/>
                  <a:pt x="152" y="2"/>
                  <a:pt x="152" y="2"/>
                </a:cubicBezTo>
                <a:cubicBezTo>
                  <a:pt x="152" y="2"/>
                  <a:pt x="151" y="2"/>
                  <a:pt x="151" y="2"/>
                </a:cubicBezTo>
                <a:cubicBezTo>
                  <a:pt x="151" y="2"/>
                  <a:pt x="151" y="2"/>
                  <a:pt x="151" y="2"/>
                </a:cubicBezTo>
                <a:cubicBezTo>
                  <a:pt x="150" y="1"/>
                  <a:pt x="149" y="2"/>
                  <a:pt x="148" y="2"/>
                </a:cubicBezTo>
                <a:cubicBezTo>
                  <a:pt x="147" y="2"/>
                  <a:pt x="147" y="2"/>
                  <a:pt x="147" y="2"/>
                </a:cubicBezTo>
                <a:cubicBezTo>
                  <a:pt x="146" y="3"/>
                  <a:pt x="146" y="3"/>
                  <a:pt x="145" y="3"/>
                </a:cubicBezTo>
                <a:cubicBezTo>
                  <a:pt x="145" y="3"/>
                  <a:pt x="145" y="3"/>
                  <a:pt x="145" y="3"/>
                </a:cubicBezTo>
                <a:cubicBezTo>
                  <a:pt x="145" y="3"/>
                  <a:pt x="144" y="3"/>
                  <a:pt x="144" y="3"/>
                </a:cubicBezTo>
                <a:cubicBezTo>
                  <a:pt x="144" y="3"/>
                  <a:pt x="144" y="3"/>
                  <a:pt x="144" y="3"/>
                </a:cubicBezTo>
                <a:cubicBezTo>
                  <a:pt x="143" y="2"/>
                  <a:pt x="143" y="2"/>
                  <a:pt x="142" y="2"/>
                </a:cubicBezTo>
                <a:cubicBezTo>
                  <a:pt x="142" y="2"/>
                  <a:pt x="141" y="1"/>
                  <a:pt x="141" y="1"/>
                </a:cubicBezTo>
                <a:cubicBezTo>
                  <a:pt x="141" y="1"/>
                  <a:pt x="140" y="1"/>
                  <a:pt x="140" y="1"/>
                </a:cubicBezTo>
                <a:cubicBezTo>
                  <a:pt x="140" y="1"/>
                  <a:pt x="139" y="2"/>
                  <a:pt x="139" y="2"/>
                </a:cubicBezTo>
                <a:cubicBezTo>
                  <a:pt x="138" y="2"/>
                  <a:pt x="137" y="1"/>
                  <a:pt x="136" y="1"/>
                </a:cubicBezTo>
                <a:cubicBezTo>
                  <a:pt x="136" y="0"/>
                  <a:pt x="135" y="0"/>
                  <a:pt x="135" y="0"/>
                </a:cubicBezTo>
                <a:cubicBezTo>
                  <a:pt x="135" y="0"/>
                  <a:pt x="135" y="0"/>
                  <a:pt x="135" y="0"/>
                </a:cubicBezTo>
                <a:cubicBezTo>
                  <a:pt x="135" y="0"/>
                  <a:pt x="135" y="0"/>
                  <a:pt x="134" y="0"/>
                </a:cubicBezTo>
                <a:cubicBezTo>
                  <a:pt x="134" y="0"/>
                  <a:pt x="134" y="0"/>
                  <a:pt x="134" y="0"/>
                </a:cubicBezTo>
                <a:cubicBezTo>
                  <a:pt x="134" y="0"/>
                  <a:pt x="134" y="0"/>
                  <a:pt x="134" y="0"/>
                </a:cubicBezTo>
                <a:cubicBezTo>
                  <a:pt x="134" y="0"/>
                  <a:pt x="134" y="0"/>
                  <a:pt x="134" y="0"/>
                </a:cubicBezTo>
                <a:cubicBezTo>
                  <a:pt x="134" y="1"/>
                  <a:pt x="134" y="1"/>
                  <a:pt x="134" y="1"/>
                </a:cubicBezTo>
                <a:cubicBezTo>
                  <a:pt x="134" y="2"/>
                  <a:pt x="134" y="2"/>
                  <a:pt x="134" y="2"/>
                </a:cubicBezTo>
                <a:cubicBezTo>
                  <a:pt x="134" y="2"/>
                  <a:pt x="134" y="2"/>
                  <a:pt x="134" y="2"/>
                </a:cubicBezTo>
                <a:cubicBezTo>
                  <a:pt x="133" y="3"/>
                  <a:pt x="131" y="4"/>
                  <a:pt x="130" y="4"/>
                </a:cubicBezTo>
                <a:cubicBezTo>
                  <a:pt x="130" y="4"/>
                  <a:pt x="130" y="4"/>
                  <a:pt x="130" y="4"/>
                </a:cubicBezTo>
                <a:cubicBezTo>
                  <a:pt x="130" y="4"/>
                  <a:pt x="129" y="4"/>
                  <a:pt x="129" y="4"/>
                </a:cubicBezTo>
                <a:cubicBezTo>
                  <a:pt x="129" y="4"/>
                  <a:pt x="129" y="4"/>
                  <a:pt x="129" y="4"/>
                </a:cubicBezTo>
                <a:cubicBezTo>
                  <a:pt x="128" y="4"/>
                  <a:pt x="127" y="4"/>
                  <a:pt x="127" y="4"/>
                </a:cubicBezTo>
                <a:cubicBezTo>
                  <a:pt x="126" y="4"/>
                  <a:pt x="126" y="4"/>
                  <a:pt x="126" y="4"/>
                </a:cubicBezTo>
                <a:cubicBezTo>
                  <a:pt x="126" y="4"/>
                  <a:pt x="126" y="4"/>
                  <a:pt x="125" y="4"/>
                </a:cubicBezTo>
                <a:cubicBezTo>
                  <a:pt x="124" y="4"/>
                  <a:pt x="124" y="4"/>
                  <a:pt x="124" y="4"/>
                </a:cubicBezTo>
                <a:cubicBezTo>
                  <a:pt x="124" y="3"/>
                  <a:pt x="124" y="3"/>
                  <a:pt x="124" y="3"/>
                </a:cubicBezTo>
                <a:cubicBezTo>
                  <a:pt x="124" y="3"/>
                  <a:pt x="124" y="3"/>
                  <a:pt x="124" y="3"/>
                </a:cubicBezTo>
                <a:cubicBezTo>
                  <a:pt x="124" y="3"/>
                  <a:pt x="123" y="3"/>
                  <a:pt x="123" y="3"/>
                </a:cubicBezTo>
                <a:cubicBezTo>
                  <a:pt x="122" y="4"/>
                  <a:pt x="122" y="4"/>
                  <a:pt x="122" y="4"/>
                </a:cubicBezTo>
                <a:cubicBezTo>
                  <a:pt x="117" y="6"/>
                  <a:pt x="117" y="6"/>
                  <a:pt x="117" y="6"/>
                </a:cubicBezTo>
                <a:cubicBezTo>
                  <a:pt x="117" y="6"/>
                  <a:pt x="116" y="6"/>
                  <a:pt x="116" y="7"/>
                </a:cubicBezTo>
                <a:cubicBezTo>
                  <a:pt x="115" y="7"/>
                  <a:pt x="113" y="8"/>
                  <a:pt x="112" y="8"/>
                </a:cubicBezTo>
                <a:cubicBezTo>
                  <a:pt x="111" y="7"/>
                  <a:pt x="110" y="7"/>
                  <a:pt x="109" y="6"/>
                </a:cubicBezTo>
                <a:cubicBezTo>
                  <a:pt x="109" y="6"/>
                  <a:pt x="109" y="6"/>
                  <a:pt x="109" y="6"/>
                </a:cubicBezTo>
                <a:cubicBezTo>
                  <a:pt x="110" y="7"/>
                  <a:pt x="110" y="7"/>
                  <a:pt x="110" y="7"/>
                </a:cubicBezTo>
                <a:cubicBezTo>
                  <a:pt x="108" y="6"/>
                  <a:pt x="108" y="6"/>
                  <a:pt x="108" y="6"/>
                </a:cubicBezTo>
                <a:cubicBezTo>
                  <a:pt x="108" y="6"/>
                  <a:pt x="108" y="6"/>
                  <a:pt x="108" y="6"/>
                </a:cubicBezTo>
                <a:cubicBezTo>
                  <a:pt x="107" y="7"/>
                  <a:pt x="107" y="7"/>
                  <a:pt x="107" y="7"/>
                </a:cubicBezTo>
                <a:cubicBezTo>
                  <a:pt x="107" y="8"/>
                  <a:pt x="107" y="8"/>
                  <a:pt x="107" y="8"/>
                </a:cubicBezTo>
                <a:cubicBezTo>
                  <a:pt x="106" y="8"/>
                  <a:pt x="106" y="8"/>
                  <a:pt x="106" y="8"/>
                </a:cubicBezTo>
                <a:cubicBezTo>
                  <a:pt x="105" y="10"/>
                  <a:pt x="105" y="11"/>
                  <a:pt x="105" y="11"/>
                </a:cubicBezTo>
                <a:cubicBezTo>
                  <a:pt x="105" y="11"/>
                  <a:pt x="105" y="11"/>
                  <a:pt x="105" y="11"/>
                </a:cubicBezTo>
                <a:cubicBezTo>
                  <a:pt x="103" y="13"/>
                  <a:pt x="103" y="13"/>
                  <a:pt x="103" y="13"/>
                </a:cubicBezTo>
                <a:cubicBezTo>
                  <a:pt x="103" y="12"/>
                  <a:pt x="103" y="12"/>
                  <a:pt x="103" y="12"/>
                </a:cubicBezTo>
                <a:cubicBezTo>
                  <a:pt x="103" y="12"/>
                  <a:pt x="102" y="12"/>
                  <a:pt x="102" y="12"/>
                </a:cubicBezTo>
                <a:cubicBezTo>
                  <a:pt x="102" y="12"/>
                  <a:pt x="102" y="12"/>
                  <a:pt x="101" y="12"/>
                </a:cubicBezTo>
                <a:cubicBezTo>
                  <a:pt x="101" y="12"/>
                  <a:pt x="100" y="12"/>
                  <a:pt x="100" y="12"/>
                </a:cubicBezTo>
                <a:cubicBezTo>
                  <a:pt x="100" y="12"/>
                  <a:pt x="100" y="12"/>
                  <a:pt x="100" y="12"/>
                </a:cubicBezTo>
                <a:cubicBezTo>
                  <a:pt x="99" y="12"/>
                  <a:pt x="99" y="12"/>
                  <a:pt x="99" y="11"/>
                </a:cubicBezTo>
                <a:cubicBezTo>
                  <a:pt x="99" y="11"/>
                  <a:pt x="99" y="11"/>
                  <a:pt x="99" y="11"/>
                </a:cubicBezTo>
                <a:cubicBezTo>
                  <a:pt x="98" y="11"/>
                  <a:pt x="98" y="11"/>
                  <a:pt x="98" y="11"/>
                </a:cubicBezTo>
                <a:cubicBezTo>
                  <a:pt x="97" y="11"/>
                  <a:pt x="97" y="11"/>
                  <a:pt x="96" y="11"/>
                </a:cubicBezTo>
                <a:cubicBezTo>
                  <a:pt x="95" y="11"/>
                  <a:pt x="95" y="11"/>
                  <a:pt x="95" y="11"/>
                </a:cubicBezTo>
                <a:cubicBezTo>
                  <a:pt x="94" y="11"/>
                  <a:pt x="93" y="11"/>
                  <a:pt x="92" y="11"/>
                </a:cubicBezTo>
                <a:cubicBezTo>
                  <a:pt x="91" y="11"/>
                  <a:pt x="91" y="11"/>
                  <a:pt x="91" y="11"/>
                </a:cubicBezTo>
                <a:cubicBezTo>
                  <a:pt x="91" y="11"/>
                  <a:pt x="91" y="11"/>
                  <a:pt x="90" y="11"/>
                </a:cubicBezTo>
                <a:cubicBezTo>
                  <a:pt x="90" y="12"/>
                  <a:pt x="90" y="12"/>
                  <a:pt x="90" y="12"/>
                </a:cubicBezTo>
                <a:cubicBezTo>
                  <a:pt x="90" y="10"/>
                  <a:pt x="90" y="10"/>
                  <a:pt x="90" y="10"/>
                </a:cubicBezTo>
                <a:cubicBezTo>
                  <a:pt x="90" y="10"/>
                  <a:pt x="90" y="10"/>
                  <a:pt x="90" y="10"/>
                </a:cubicBezTo>
                <a:cubicBezTo>
                  <a:pt x="89" y="10"/>
                  <a:pt x="88" y="10"/>
                  <a:pt x="88" y="10"/>
                </a:cubicBezTo>
                <a:cubicBezTo>
                  <a:pt x="87" y="10"/>
                  <a:pt x="87" y="10"/>
                  <a:pt x="87" y="10"/>
                </a:cubicBezTo>
                <a:cubicBezTo>
                  <a:pt x="86" y="9"/>
                  <a:pt x="86" y="9"/>
                  <a:pt x="85" y="9"/>
                </a:cubicBezTo>
                <a:cubicBezTo>
                  <a:pt x="85" y="9"/>
                  <a:pt x="85" y="9"/>
                  <a:pt x="85" y="9"/>
                </a:cubicBezTo>
                <a:cubicBezTo>
                  <a:pt x="84" y="9"/>
                  <a:pt x="84" y="9"/>
                  <a:pt x="84" y="9"/>
                </a:cubicBezTo>
                <a:cubicBezTo>
                  <a:pt x="82" y="8"/>
                  <a:pt x="82" y="8"/>
                  <a:pt x="81" y="7"/>
                </a:cubicBezTo>
                <a:cubicBezTo>
                  <a:pt x="78" y="4"/>
                  <a:pt x="78" y="4"/>
                  <a:pt x="78" y="4"/>
                </a:cubicBezTo>
                <a:cubicBezTo>
                  <a:pt x="78" y="4"/>
                  <a:pt x="78" y="4"/>
                  <a:pt x="77" y="4"/>
                </a:cubicBezTo>
                <a:cubicBezTo>
                  <a:pt x="77" y="3"/>
                  <a:pt x="77" y="3"/>
                  <a:pt x="77" y="3"/>
                </a:cubicBezTo>
                <a:cubicBezTo>
                  <a:pt x="76" y="3"/>
                  <a:pt x="76" y="3"/>
                  <a:pt x="76" y="3"/>
                </a:cubicBezTo>
                <a:cubicBezTo>
                  <a:pt x="76" y="3"/>
                  <a:pt x="76" y="3"/>
                  <a:pt x="76" y="3"/>
                </a:cubicBezTo>
                <a:cubicBezTo>
                  <a:pt x="75" y="2"/>
                  <a:pt x="75" y="2"/>
                  <a:pt x="75" y="2"/>
                </a:cubicBezTo>
                <a:cubicBezTo>
                  <a:pt x="75" y="2"/>
                  <a:pt x="75" y="2"/>
                  <a:pt x="75" y="2"/>
                </a:cubicBezTo>
                <a:cubicBezTo>
                  <a:pt x="75" y="2"/>
                  <a:pt x="75" y="2"/>
                  <a:pt x="75" y="2"/>
                </a:cubicBezTo>
                <a:cubicBezTo>
                  <a:pt x="75" y="2"/>
                  <a:pt x="75" y="2"/>
                  <a:pt x="75" y="2"/>
                </a:cubicBezTo>
                <a:cubicBezTo>
                  <a:pt x="74" y="2"/>
                  <a:pt x="74" y="2"/>
                  <a:pt x="74" y="2"/>
                </a:cubicBezTo>
                <a:cubicBezTo>
                  <a:pt x="74" y="2"/>
                  <a:pt x="74" y="2"/>
                  <a:pt x="74" y="2"/>
                </a:cubicBezTo>
                <a:cubicBezTo>
                  <a:pt x="73" y="2"/>
                  <a:pt x="73" y="2"/>
                  <a:pt x="73" y="2"/>
                </a:cubicBezTo>
                <a:cubicBezTo>
                  <a:pt x="72" y="2"/>
                  <a:pt x="71" y="3"/>
                  <a:pt x="70" y="4"/>
                </a:cubicBezTo>
                <a:cubicBezTo>
                  <a:pt x="70" y="4"/>
                  <a:pt x="69" y="5"/>
                  <a:pt x="69" y="5"/>
                </a:cubicBezTo>
                <a:cubicBezTo>
                  <a:pt x="69" y="6"/>
                  <a:pt x="69" y="6"/>
                  <a:pt x="69" y="6"/>
                </a:cubicBezTo>
                <a:cubicBezTo>
                  <a:pt x="68" y="6"/>
                  <a:pt x="68" y="7"/>
                  <a:pt x="68" y="7"/>
                </a:cubicBezTo>
                <a:cubicBezTo>
                  <a:pt x="67" y="8"/>
                  <a:pt x="67" y="8"/>
                  <a:pt x="67" y="8"/>
                </a:cubicBezTo>
                <a:cubicBezTo>
                  <a:pt x="67" y="8"/>
                  <a:pt x="67" y="8"/>
                  <a:pt x="67" y="8"/>
                </a:cubicBezTo>
                <a:cubicBezTo>
                  <a:pt x="67" y="9"/>
                  <a:pt x="66" y="9"/>
                  <a:pt x="66" y="10"/>
                </a:cubicBezTo>
                <a:cubicBezTo>
                  <a:pt x="66" y="10"/>
                  <a:pt x="65" y="10"/>
                  <a:pt x="65" y="10"/>
                </a:cubicBezTo>
                <a:cubicBezTo>
                  <a:pt x="65" y="11"/>
                  <a:pt x="65" y="11"/>
                  <a:pt x="65" y="11"/>
                </a:cubicBezTo>
                <a:cubicBezTo>
                  <a:pt x="65" y="12"/>
                  <a:pt x="65" y="12"/>
                  <a:pt x="65" y="13"/>
                </a:cubicBezTo>
                <a:cubicBezTo>
                  <a:pt x="65" y="13"/>
                  <a:pt x="65" y="13"/>
                  <a:pt x="65" y="13"/>
                </a:cubicBezTo>
                <a:cubicBezTo>
                  <a:pt x="65" y="13"/>
                  <a:pt x="65" y="14"/>
                  <a:pt x="65" y="14"/>
                </a:cubicBezTo>
                <a:cubicBezTo>
                  <a:pt x="65" y="15"/>
                  <a:pt x="65" y="15"/>
                  <a:pt x="65" y="16"/>
                </a:cubicBezTo>
                <a:cubicBezTo>
                  <a:pt x="65" y="17"/>
                  <a:pt x="65" y="17"/>
                  <a:pt x="65" y="18"/>
                </a:cubicBezTo>
                <a:cubicBezTo>
                  <a:pt x="65" y="19"/>
                  <a:pt x="65" y="19"/>
                  <a:pt x="65" y="19"/>
                </a:cubicBezTo>
                <a:cubicBezTo>
                  <a:pt x="65" y="19"/>
                  <a:pt x="65" y="19"/>
                  <a:pt x="65" y="20"/>
                </a:cubicBezTo>
                <a:cubicBezTo>
                  <a:pt x="65" y="21"/>
                  <a:pt x="65" y="21"/>
                  <a:pt x="65" y="21"/>
                </a:cubicBezTo>
                <a:cubicBezTo>
                  <a:pt x="65" y="21"/>
                  <a:pt x="65" y="21"/>
                  <a:pt x="65" y="21"/>
                </a:cubicBezTo>
                <a:cubicBezTo>
                  <a:pt x="65" y="21"/>
                  <a:pt x="65" y="21"/>
                  <a:pt x="65" y="22"/>
                </a:cubicBezTo>
                <a:cubicBezTo>
                  <a:pt x="65" y="22"/>
                  <a:pt x="65" y="22"/>
                  <a:pt x="65" y="22"/>
                </a:cubicBezTo>
                <a:cubicBezTo>
                  <a:pt x="65" y="22"/>
                  <a:pt x="65" y="23"/>
                  <a:pt x="64" y="23"/>
                </a:cubicBezTo>
                <a:cubicBezTo>
                  <a:pt x="64" y="23"/>
                  <a:pt x="64" y="23"/>
                  <a:pt x="64" y="24"/>
                </a:cubicBezTo>
                <a:cubicBezTo>
                  <a:pt x="64" y="24"/>
                  <a:pt x="64" y="24"/>
                  <a:pt x="64" y="25"/>
                </a:cubicBezTo>
                <a:cubicBezTo>
                  <a:pt x="64" y="25"/>
                  <a:pt x="64" y="25"/>
                  <a:pt x="64" y="25"/>
                </a:cubicBezTo>
                <a:cubicBezTo>
                  <a:pt x="63" y="25"/>
                  <a:pt x="63" y="25"/>
                  <a:pt x="63" y="25"/>
                </a:cubicBezTo>
                <a:cubicBezTo>
                  <a:pt x="63" y="26"/>
                  <a:pt x="63" y="26"/>
                  <a:pt x="63" y="26"/>
                </a:cubicBezTo>
                <a:cubicBezTo>
                  <a:pt x="62" y="27"/>
                  <a:pt x="62" y="27"/>
                  <a:pt x="62" y="27"/>
                </a:cubicBezTo>
                <a:cubicBezTo>
                  <a:pt x="62" y="27"/>
                  <a:pt x="62" y="28"/>
                  <a:pt x="62" y="28"/>
                </a:cubicBezTo>
                <a:cubicBezTo>
                  <a:pt x="63" y="29"/>
                  <a:pt x="63" y="29"/>
                  <a:pt x="63" y="29"/>
                </a:cubicBezTo>
                <a:cubicBezTo>
                  <a:pt x="61" y="28"/>
                  <a:pt x="61" y="28"/>
                  <a:pt x="61" y="28"/>
                </a:cubicBezTo>
                <a:cubicBezTo>
                  <a:pt x="61" y="29"/>
                  <a:pt x="61" y="29"/>
                  <a:pt x="61" y="29"/>
                </a:cubicBezTo>
                <a:cubicBezTo>
                  <a:pt x="60" y="30"/>
                  <a:pt x="60" y="31"/>
                  <a:pt x="60" y="32"/>
                </a:cubicBezTo>
                <a:cubicBezTo>
                  <a:pt x="60" y="32"/>
                  <a:pt x="60" y="33"/>
                  <a:pt x="60" y="33"/>
                </a:cubicBezTo>
                <a:cubicBezTo>
                  <a:pt x="60" y="33"/>
                  <a:pt x="60" y="33"/>
                  <a:pt x="60" y="33"/>
                </a:cubicBezTo>
                <a:cubicBezTo>
                  <a:pt x="60" y="33"/>
                  <a:pt x="60" y="34"/>
                  <a:pt x="60" y="34"/>
                </a:cubicBezTo>
                <a:cubicBezTo>
                  <a:pt x="60" y="35"/>
                  <a:pt x="59" y="36"/>
                  <a:pt x="59" y="37"/>
                </a:cubicBezTo>
                <a:cubicBezTo>
                  <a:pt x="59" y="38"/>
                  <a:pt x="59" y="38"/>
                  <a:pt x="59" y="38"/>
                </a:cubicBezTo>
                <a:cubicBezTo>
                  <a:pt x="58" y="40"/>
                  <a:pt x="58" y="41"/>
                  <a:pt x="58" y="42"/>
                </a:cubicBezTo>
                <a:cubicBezTo>
                  <a:pt x="58" y="43"/>
                  <a:pt x="58" y="43"/>
                  <a:pt x="58" y="44"/>
                </a:cubicBezTo>
                <a:cubicBezTo>
                  <a:pt x="58" y="44"/>
                  <a:pt x="58" y="45"/>
                  <a:pt x="58" y="45"/>
                </a:cubicBezTo>
                <a:cubicBezTo>
                  <a:pt x="58" y="45"/>
                  <a:pt x="58" y="45"/>
                  <a:pt x="58" y="45"/>
                </a:cubicBezTo>
                <a:cubicBezTo>
                  <a:pt x="58" y="46"/>
                  <a:pt x="58" y="46"/>
                  <a:pt x="58" y="47"/>
                </a:cubicBezTo>
                <a:cubicBezTo>
                  <a:pt x="58" y="47"/>
                  <a:pt x="58" y="48"/>
                  <a:pt x="58" y="48"/>
                </a:cubicBezTo>
                <a:cubicBezTo>
                  <a:pt x="58" y="49"/>
                  <a:pt x="58" y="50"/>
                  <a:pt x="58" y="51"/>
                </a:cubicBezTo>
                <a:cubicBezTo>
                  <a:pt x="55" y="61"/>
                  <a:pt x="55" y="61"/>
                  <a:pt x="55" y="61"/>
                </a:cubicBezTo>
                <a:cubicBezTo>
                  <a:pt x="54" y="62"/>
                  <a:pt x="53" y="63"/>
                  <a:pt x="52" y="63"/>
                </a:cubicBezTo>
                <a:cubicBezTo>
                  <a:pt x="52" y="63"/>
                  <a:pt x="52" y="63"/>
                  <a:pt x="52" y="64"/>
                </a:cubicBezTo>
                <a:cubicBezTo>
                  <a:pt x="52" y="64"/>
                  <a:pt x="52" y="64"/>
                  <a:pt x="52" y="64"/>
                </a:cubicBezTo>
                <a:cubicBezTo>
                  <a:pt x="51" y="64"/>
                  <a:pt x="51" y="64"/>
                  <a:pt x="50" y="65"/>
                </a:cubicBezTo>
                <a:cubicBezTo>
                  <a:pt x="49" y="65"/>
                  <a:pt x="49" y="66"/>
                  <a:pt x="48" y="67"/>
                </a:cubicBezTo>
                <a:cubicBezTo>
                  <a:pt x="47" y="67"/>
                  <a:pt x="47" y="67"/>
                  <a:pt x="47" y="67"/>
                </a:cubicBezTo>
                <a:cubicBezTo>
                  <a:pt x="47" y="67"/>
                  <a:pt x="47" y="67"/>
                  <a:pt x="47" y="67"/>
                </a:cubicBezTo>
                <a:cubicBezTo>
                  <a:pt x="47" y="68"/>
                  <a:pt x="46" y="68"/>
                  <a:pt x="46" y="68"/>
                </a:cubicBezTo>
                <a:cubicBezTo>
                  <a:pt x="46" y="69"/>
                  <a:pt x="46" y="69"/>
                  <a:pt x="45" y="70"/>
                </a:cubicBezTo>
                <a:cubicBezTo>
                  <a:pt x="44" y="72"/>
                  <a:pt x="43" y="74"/>
                  <a:pt x="41" y="76"/>
                </a:cubicBezTo>
                <a:cubicBezTo>
                  <a:pt x="41" y="76"/>
                  <a:pt x="41" y="76"/>
                  <a:pt x="41" y="76"/>
                </a:cubicBezTo>
                <a:cubicBezTo>
                  <a:pt x="41" y="76"/>
                  <a:pt x="41" y="76"/>
                  <a:pt x="41" y="76"/>
                </a:cubicBezTo>
                <a:cubicBezTo>
                  <a:pt x="40" y="77"/>
                  <a:pt x="40" y="77"/>
                  <a:pt x="40" y="77"/>
                </a:cubicBezTo>
                <a:cubicBezTo>
                  <a:pt x="40" y="79"/>
                  <a:pt x="40" y="79"/>
                  <a:pt x="40" y="79"/>
                </a:cubicBezTo>
                <a:cubicBezTo>
                  <a:pt x="40" y="80"/>
                  <a:pt x="40" y="81"/>
                  <a:pt x="41" y="82"/>
                </a:cubicBezTo>
                <a:cubicBezTo>
                  <a:pt x="40" y="83"/>
                  <a:pt x="40" y="83"/>
                  <a:pt x="41" y="84"/>
                </a:cubicBezTo>
                <a:cubicBezTo>
                  <a:pt x="41" y="84"/>
                  <a:pt x="41" y="84"/>
                  <a:pt x="41" y="84"/>
                </a:cubicBezTo>
                <a:cubicBezTo>
                  <a:pt x="41" y="84"/>
                  <a:pt x="41" y="84"/>
                  <a:pt x="41" y="84"/>
                </a:cubicBezTo>
                <a:cubicBezTo>
                  <a:pt x="41" y="85"/>
                  <a:pt x="41" y="85"/>
                  <a:pt x="41" y="85"/>
                </a:cubicBezTo>
                <a:cubicBezTo>
                  <a:pt x="42" y="85"/>
                  <a:pt x="42" y="85"/>
                  <a:pt x="42" y="85"/>
                </a:cubicBezTo>
                <a:cubicBezTo>
                  <a:pt x="41" y="85"/>
                  <a:pt x="41" y="85"/>
                  <a:pt x="41" y="85"/>
                </a:cubicBezTo>
                <a:cubicBezTo>
                  <a:pt x="41" y="86"/>
                  <a:pt x="41" y="86"/>
                  <a:pt x="41" y="86"/>
                </a:cubicBezTo>
                <a:cubicBezTo>
                  <a:pt x="41" y="86"/>
                  <a:pt x="41" y="86"/>
                  <a:pt x="41" y="87"/>
                </a:cubicBezTo>
                <a:cubicBezTo>
                  <a:pt x="41" y="87"/>
                  <a:pt x="41" y="87"/>
                  <a:pt x="41" y="88"/>
                </a:cubicBezTo>
                <a:cubicBezTo>
                  <a:pt x="41" y="88"/>
                  <a:pt x="41" y="88"/>
                  <a:pt x="40" y="88"/>
                </a:cubicBezTo>
                <a:cubicBezTo>
                  <a:pt x="40" y="89"/>
                  <a:pt x="40" y="89"/>
                  <a:pt x="40" y="90"/>
                </a:cubicBezTo>
                <a:cubicBezTo>
                  <a:pt x="39" y="91"/>
                  <a:pt x="39" y="91"/>
                  <a:pt x="39" y="91"/>
                </a:cubicBezTo>
                <a:cubicBezTo>
                  <a:pt x="39" y="92"/>
                  <a:pt x="38" y="93"/>
                  <a:pt x="38" y="94"/>
                </a:cubicBezTo>
                <a:cubicBezTo>
                  <a:pt x="37" y="95"/>
                  <a:pt x="35" y="97"/>
                  <a:pt x="33" y="98"/>
                </a:cubicBezTo>
                <a:cubicBezTo>
                  <a:pt x="32" y="98"/>
                  <a:pt x="32" y="98"/>
                  <a:pt x="31" y="98"/>
                </a:cubicBezTo>
                <a:cubicBezTo>
                  <a:pt x="29" y="100"/>
                  <a:pt x="29" y="101"/>
                  <a:pt x="27" y="102"/>
                </a:cubicBezTo>
                <a:cubicBezTo>
                  <a:pt x="27" y="103"/>
                  <a:pt x="27" y="103"/>
                  <a:pt x="27" y="103"/>
                </a:cubicBezTo>
                <a:cubicBezTo>
                  <a:pt x="26" y="103"/>
                  <a:pt x="25" y="104"/>
                  <a:pt x="24" y="105"/>
                </a:cubicBezTo>
                <a:cubicBezTo>
                  <a:pt x="24" y="105"/>
                  <a:pt x="24" y="105"/>
                  <a:pt x="23" y="105"/>
                </a:cubicBezTo>
                <a:cubicBezTo>
                  <a:pt x="23" y="105"/>
                  <a:pt x="23" y="105"/>
                  <a:pt x="23" y="105"/>
                </a:cubicBezTo>
                <a:cubicBezTo>
                  <a:pt x="23" y="105"/>
                  <a:pt x="23" y="105"/>
                  <a:pt x="22" y="105"/>
                </a:cubicBezTo>
                <a:cubicBezTo>
                  <a:pt x="22" y="105"/>
                  <a:pt x="22" y="105"/>
                  <a:pt x="22" y="105"/>
                </a:cubicBezTo>
                <a:cubicBezTo>
                  <a:pt x="22" y="105"/>
                  <a:pt x="21" y="105"/>
                  <a:pt x="21" y="105"/>
                </a:cubicBezTo>
                <a:cubicBezTo>
                  <a:pt x="20" y="105"/>
                  <a:pt x="20" y="103"/>
                  <a:pt x="20" y="99"/>
                </a:cubicBezTo>
                <a:cubicBezTo>
                  <a:pt x="20" y="99"/>
                  <a:pt x="20" y="99"/>
                  <a:pt x="20" y="99"/>
                </a:cubicBezTo>
                <a:cubicBezTo>
                  <a:pt x="20" y="99"/>
                  <a:pt x="19" y="99"/>
                  <a:pt x="19" y="99"/>
                </a:cubicBezTo>
                <a:cubicBezTo>
                  <a:pt x="19" y="100"/>
                  <a:pt x="18" y="100"/>
                  <a:pt x="18" y="100"/>
                </a:cubicBezTo>
                <a:cubicBezTo>
                  <a:pt x="18" y="100"/>
                  <a:pt x="18" y="100"/>
                  <a:pt x="18" y="100"/>
                </a:cubicBezTo>
                <a:cubicBezTo>
                  <a:pt x="16" y="100"/>
                  <a:pt x="16" y="100"/>
                  <a:pt x="15" y="100"/>
                </a:cubicBezTo>
                <a:cubicBezTo>
                  <a:pt x="15" y="100"/>
                  <a:pt x="15" y="100"/>
                  <a:pt x="15" y="100"/>
                </a:cubicBezTo>
                <a:cubicBezTo>
                  <a:pt x="15" y="102"/>
                  <a:pt x="14" y="103"/>
                  <a:pt x="13" y="104"/>
                </a:cubicBezTo>
                <a:cubicBezTo>
                  <a:pt x="11" y="105"/>
                  <a:pt x="10" y="104"/>
                  <a:pt x="9" y="103"/>
                </a:cubicBezTo>
                <a:cubicBezTo>
                  <a:pt x="9" y="103"/>
                  <a:pt x="8" y="103"/>
                  <a:pt x="8" y="102"/>
                </a:cubicBezTo>
                <a:cubicBezTo>
                  <a:pt x="8" y="102"/>
                  <a:pt x="8" y="102"/>
                  <a:pt x="8" y="102"/>
                </a:cubicBezTo>
                <a:cubicBezTo>
                  <a:pt x="8" y="102"/>
                  <a:pt x="8" y="102"/>
                  <a:pt x="8" y="102"/>
                </a:cubicBezTo>
                <a:cubicBezTo>
                  <a:pt x="6" y="103"/>
                  <a:pt x="4" y="104"/>
                  <a:pt x="3" y="105"/>
                </a:cubicBezTo>
                <a:cubicBezTo>
                  <a:pt x="3" y="105"/>
                  <a:pt x="3" y="105"/>
                  <a:pt x="3" y="105"/>
                </a:cubicBezTo>
                <a:cubicBezTo>
                  <a:pt x="4" y="106"/>
                  <a:pt x="4" y="106"/>
                  <a:pt x="4" y="106"/>
                </a:cubicBezTo>
                <a:cubicBezTo>
                  <a:pt x="2" y="106"/>
                  <a:pt x="2" y="106"/>
                  <a:pt x="2" y="106"/>
                </a:cubicBezTo>
                <a:cubicBezTo>
                  <a:pt x="3" y="106"/>
                  <a:pt x="3" y="106"/>
                  <a:pt x="3" y="107"/>
                </a:cubicBezTo>
                <a:cubicBezTo>
                  <a:pt x="3" y="110"/>
                  <a:pt x="3" y="112"/>
                  <a:pt x="3" y="113"/>
                </a:cubicBezTo>
                <a:cubicBezTo>
                  <a:pt x="2" y="113"/>
                  <a:pt x="2" y="113"/>
                  <a:pt x="0" y="114"/>
                </a:cubicBezTo>
                <a:cubicBezTo>
                  <a:pt x="1" y="114"/>
                  <a:pt x="1" y="114"/>
                  <a:pt x="1" y="114"/>
                </a:cubicBezTo>
                <a:cubicBezTo>
                  <a:pt x="1" y="114"/>
                  <a:pt x="2" y="113"/>
                  <a:pt x="3" y="113"/>
                </a:cubicBezTo>
                <a:cubicBezTo>
                  <a:pt x="4" y="112"/>
                  <a:pt x="5" y="111"/>
                  <a:pt x="7" y="112"/>
                </a:cubicBezTo>
                <a:cubicBezTo>
                  <a:pt x="8" y="112"/>
                  <a:pt x="10" y="112"/>
                  <a:pt x="11" y="112"/>
                </a:cubicBezTo>
                <a:cubicBezTo>
                  <a:pt x="11" y="112"/>
                  <a:pt x="11" y="112"/>
                  <a:pt x="11" y="112"/>
                </a:cubicBezTo>
                <a:cubicBezTo>
                  <a:pt x="12" y="112"/>
                  <a:pt x="12" y="112"/>
                  <a:pt x="12" y="112"/>
                </a:cubicBezTo>
                <a:cubicBezTo>
                  <a:pt x="13" y="112"/>
                  <a:pt x="14" y="112"/>
                  <a:pt x="15" y="112"/>
                </a:cubicBezTo>
                <a:cubicBezTo>
                  <a:pt x="16" y="112"/>
                  <a:pt x="17" y="112"/>
                  <a:pt x="18" y="112"/>
                </a:cubicBezTo>
                <a:cubicBezTo>
                  <a:pt x="20" y="112"/>
                  <a:pt x="20" y="112"/>
                  <a:pt x="20" y="112"/>
                </a:cubicBezTo>
                <a:cubicBezTo>
                  <a:pt x="21" y="112"/>
                  <a:pt x="23" y="112"/>
                  <a:pt x="25" y="112"/>
                </a:cubicBezTo>
                <a:cubicBezTo>
                  <a:pt x="37" y="112"/>
                  <a:pt x="37" y="112"/>
                  <a:pt x="37" y="112"/>
                </a:cubicBezTo>
                <a:cubicBezTo>
                  <a:pt x="38" y="112"/>
                  <a:pt x="38" y="112"/>
                  <a:pt x="39" y="112"/>
                </a:cubicBezTo>
                <a:cubicBezTo>
                  <a:pt x="39" y="112"/>
                  <a:pt x="40" y="112"/>
                  <a:pt x="40" y="112"/>
                </a:cubicBezTo>
                <a:cubicBezTo>
                  <a:pt x="40" y="112"/>
                  <a:pt x="40" y="112"/>
                  <a:pt x="40" y="112"/>
                </a:cubicBezTo>
                <a:cubicBezTo>
                  <a:pt x="42" y="112"/>
                  <a:pt x="43" y="112"/>
                  <a:pt x="44" y="113"/>
                </a:cubicBezTo>
                <a:cubicBezTo>
                  <a:pt x="45" y="113"/>
                  <a:pt x="46" y="115"/>
                  <a:pt x="46" y="117"/>
                </a:cubicBezTo>
                <a:cubicBezTo>
                  <a:pt x="46" y="117"/>
                  <a:pt x="46" y="118"/>
                  <a:pt x="46" y="118"/>
                </a:cubicBezTo>
                <a:cubicBezTo>
                  <a:pt x="47" y="121"/>
                  <a:pt x="48" y="124"/>
                  <a:pt x="49" y="127"/>
                </a:cubicBezTo>
                <a:cubicBezTo>
                  <a:pt x="49" y="128"/>
                  <a:pt x="50" y="129"/>
                  <a:pt x="50" y="129"/>
                </a:cubicBezTo>
                <a:cubicBezTo>
                  <a:pt x="51" y="130"/>
                  <a:pt x="51" y="130"/>
                  <a:pt x="51" y="131"/>
                </a:cubicBezTo>
                <a:cubicBezTo>
                  <a:pt x="53" y="134"/>
                  <a:pt x="53" y="134"/>
                  <a:pt x="53" y="134"/>
                </a:cubicBezTo>
                <a:cubicBezTo>
                  <a:pt x="54" y="135"/>
                  <a:pt x="54" y="135"/>
                  <a:pt x="55" y="135"/>
                </a:cubicBezTo>
                <a:cubicBezTo>
                  <a:pt x="58" y="135"/>
                  <a:pt x="58" y="135"/>
                  <a:pt x="58" y="135"/>
                </a:cubicBezTo>
                <a:cubicBezTo>
                  <a:pt x="58" y="135"/>
                  <a:pt x="59" y="135"/>
                  <a:pt x="59" y="134"/>
                </a:cubicBezTo>
                <a:cubicBezTo>
                  <a:pt x="59" y="134"/>
                  <a:pt x="59" y="134"/>
                  <a:pt x="59" y="134"/>
                </a:cubicBezTo>
                <a:cubicBezTo>
                  <a:pt x="60" y="134"/>
                  <a:pt x="60" y="134"/>
                  <a:pt x="60" y="134"/>
                </a:cubicBezTo>
                <a:cubicBezTo>
                  <a:pt x="60" y="134"/>
                  <a:pt x="60" y="134"/>
                  <a:pt x="60" y="134"/>
                </a:cubicBezTo>
                <a:cubicBezTo>
                  <a:pt x="61" y="134"/>
                  <a:pt x="62" y="133"/>
                  <a:pt x="64" y="133"/>
                </a:cubicBezTo>
                <a:cubicBezTo>
                  <a:pt x="64" y="133"/>
                  <a:pt x="64" y="133"/>
                  <a:pt x="64" y="133"/>
                </a:cubicBezTo>
                <a:cubicBezTo>
                  <a:pt x="71" y="134"/>
                  <a:pt x="71" y="134"/>
                  <a:pt x="71" y="134"/>
                </a:cubicBezTo>
                <a:cubicBezTo>
                  <a:pt x="71" y="134"/>
                  <a:pt x="71" y="134"/>
                  <a:pt x="71" y="133"/>
                </a:cubicBezTo>
                <a:cubicBezTo>
                  <a:pt x="71" y="133"/>
                  <a:pt x="71" y="133"/>
                  <a:pt x="71" y="133"/>
                </a:cubicBezTo>
                <a:cubicBezTo>
                  <a:pt x="71" y="133"/>
                  <a:pt x="71" y="133"/>
                  <a:pt x="71" y="132"/>
                </a:cubicBezTo>
                <a:cubicBezTo>
                  <a:pt x="72" y="129"/>
                  <a:pt x="72" y="129"/>
                  <a:pt x="72" y="129"/>
                </a:cubicBezTo>
                <a:cubicBezTo>
                  <a:pt x="72" y="126"/>
                  <a:pt x="72" y="124"/>
                  <a:pt x="74" y="124"/>
                </a:cubicBezTo>
                <a:cubicBezTo>
                  <a:pt x="74" y="124"/>
                  <a:pt x="74" y="124"/>
                  <a:pt x="74" y="124"/>
                </a:cubicBezTo>
                <a:cubicBezTo>
                  <a:pt x="74" y="124"/>
                  <a:pt x="75" y="124"/>
                  <a:pt x="75" y="124"/>
                </a:cubicBezTo>
                <a:cubicBezTo>
                  <a:pt x="75" y="124"/>
                  <a:pt x="75" y="124"/>
                  <a:pt x="75" y="124"/>
                </a:cubicBezTo>
                <a:cubicBezTo>
                  <a:pt x="76" y="124"/>
                  <a:pt x="76" y="124"/>
                  <a:pt x="76" y="124"/>
                </a:cubicBezTo>
                <a:cubicBezTo>
                  <a:pt x="76" y="124"/>
                  <a:pt x="76" y="124"/>
                  <a:pt x="76" y="124"/>
                </a:cubicBezTo>
                <a:cubicBezTo>
                  <a:pt x="75" y="117"/>
                  <a:pt x="75" y="117"/>
                  <a:pt x="75" y="117"/>
                </a:cubicBezTo>
                <a:cubicBezTo>
                  <a:pt x="79" y="124"/>
                  <a:pt x="79" y="124"/>
                  <a:pt x="79" y="124"/>
                </a:cubicBezTo>
                <a:cubicBezTo>
                  <a:pt x="79" y="124"/>
                  <a:pt x="79" y="124"/>
                  <a:pt x="79" y="124"/>
                </a:cubicBezTo>
                <a:cubicBezTo>
                  <a:pt x="80" y="124"/>
                  <a:pt x="80" y="124"/>
                  <a:pt x="80" y="124"/>
                </a:cubicBezTo>
                <a:cubicBezTo>
                  <a:pt x="80" y="124"/>
                  <a:pt x="80" y="123"/>
                  <a:pt x="80" y="123"/>
                </a:cubicBezTo>
                <a:cubicBezTo>
                  <a:pt x="81" y="123"/>
                  <a:pt x="81" y="123"/>
                  <a:pt x="81" y="123"/>
                </a:cubicBezTo>
                <a:cubicBezTo>
                  <a:pt x="81" y="123"/>
                  <a:pt x="81" y="123"/>
                  <a:pt x="81" y="123"/>
                </a:cubicBezTo>
                <a:cubicBezTo>
                  <a:pt x="82" y="123"/>
                  <a:pt x="82" y="123"/>
                  <a:pt x="82" y="123"/>
                </a:cubicBezTo>
                <a:cubicBezTo>
                  <a:pt x="82" y="123"/>
                  <a:pt x="82" y="123"/>
                  <a:pt x="82" y="123"/>
                </a:cubicBezTo>
                <a:cubicBezTo>
                  <a:pt x="84" y="123"/>
                  <a:pt x="85" y="123"/>
                  <a:pt x="85" y="123"/>
                </a:cubicBezTo>
                <a:cubicBezTo>
                  <a:pt x="86" y="124"/>
                  <a:pt x="86" y="125"/>
                  <a:pt x="85" y="126"/>
                </a:cubicBezTo>
                <a:cubicBezTo>
                  <a:pt x="85" y="127"/>
                  <a:pt x="85" y="127"/>
                  <a:pt x="85" y="127"/>
                </a:cubicBezTo>
                <a:cubicBezTo>
                  <a:pt x="85" y="127"/>
                  <a:pt x="85" y="127"/>
                  <a:pt x="85" y="127"/>
                </a:cubicBezTo>
                <a:cubicBezTo>
                  <a:pt x="86" y="127"/>
                  <a:pt x="86" y="127"/>
                  <a:pt x="87" y="127"/>
                </a:cubicBezTo>
                <a:cubicBezTo>
                  <a:pt x="87" y="127"/>
                  <a:pt x="87" y="127"/>
                  <a:pt x="87" y="127"/>
                </a:cubicBezTo>
                <a:cubicBezTo>
                  <a:pt x="88" y="127"/>
                  <a:pt x="88" y="127"/>
                  <a:pt x="89" y="127"/>
                </a:cubicBezTo>
                <a:cubicBezTo>
                  <a:pt x="94" y="127"/>
                  <a:pt x="94" y="127"/>
                  <a:pt x="94" y="127"/>
                </a:cubicBezTo>
                <a:cubicBezTo>
                  <a:pt x="94" y="127"/>
                  <a:pt x="94" y="127"/>
                  <a:pt x="94" y="127"/>
                </a:cubicBezTo>
                <a:cubicBezTo>
                  <a:pt x="95" y="127"/>
                  <a:pt x="95" y="127"/>
                  <a:pt x="95" y="127"/>
                </a:cubicBezTo>
                <a:cubicBezTo>
                  <a:pt x="95" y="127"/>
                  <a:pt x="96" y="126"/>
                  <a:pt x="97" y="127"/>
                </a:cubicBezTo>
                <a:cubicBezTo>
                  <a:pt x="98" y="128"/>
                  <a:pt x="98" y="130"/>
                  <a:pt x="98" y="130"/>
                </a:cubicBezTo>
                <a:cubicBezTo>
                  <a:pt x="98" y="131"/>
                  <a:pt x="98" y="132"/>
                  <a:pt x="98" y="132"/>
                </a:cubicBezTo>
                <a:cubicBezTo>
                  <a:pt x="97" y="135"/>
                  <a:pt x="97" y="135"/>
                  <a:pt x="99" y="138"/>
                </a:cubicBezTo>
                <a:cubicBezTo>
                  <a:pt x="99" y="139"/>
                  <a:pt x="99" y="140"/>
                  <a:pt x="99" y="142"/>
                </a:cubicBezTo>
                <a:cubicBezTo>
                  <a:pt x="99" y="142"/>
                  <a:pt x="99" y="142"/>
                  <a:pt x="99" y="143"/>
                </a:cubicBezTo>
                <a:cubicBezTo>
                  <a:pt x="99" y="143"/>
                  <a:pt x="99" y="143"/>
                  <a:pt x="99" y="144"/>
                </a:cubicBezTo>
                <a:cubicBezTo>
                  <a:pt x="98" y="144"/>
                  <a:pt x="98" y="144"/>
                  <a:pt x="98" y="144"/>
                </a:cubicBezTo>
                <a:cubicBezTo>
                  <a:pt x="98" y="145"/>
                  <a:pt x="98" y="146"/>
                  <a:pt x="98" y="147"/>
                </a:cubicBezTo>
                <a:cubicBezTo>
                  <a:pt x="98" y="149"/>
                  <a:pt x="98" y="149"/>
                  <a:pt x="98" y="149"/>
                </a:cubicBezTo>
                <a:cubicBezTo>
                  <a:pt x="98" y="150"/>
                  <a:pt x="98" y="150"/>
                  <a:pt x="98" y="150"/>
                </a:cubicBezTo>
                <a:cubicBezTo>
                  <a:pt x="98" y="151"/>
                  <a:pt x="98" y="151"/>
                  <a:pt x="98" y="151"/>
                </a:cubicBezTo>
                <a:cubicBezTo>
                  <a:pt x="98" y="152"/>
                  <a:pt x="99" y="152"/>
                  <a:pt x="100" y="153"/>
                </a:cubicBezTo>
                <a:cubicBezTo>
                  <a:pt x="100" y="153"/>
                  <a:pt x="101" y="154"/>
                  <a:pt x="101" y="154"/>
                </a:cubicBezTo>
                <a:cubicBezTo>
                  <a:pt x="101" y="155"/>
                  <a:pt x="102" y="155"/>
                  <a:pt x="102" y="156"/>
                </a:cubicBezTo>
                <a:cubicBezTo>
                  <a:pt x="102" y="157"/>
                  <a:pt x="102" y="158"/>
                  <a:pt x="103" y="159"/>
                </a:cubicBezTo>
                <a:cubicBezTo>
                  <a:pt x="103" y="161"/>
                  <a:pt x="103" y="162"/>
                  <a:pt x="103" y="162"/>
                </a:cubicBezTo>
                <a:cubicBezTo>
                  <a:pt x="103" y="163"/>
                  <a:pt x="102" y="164"/>
                  <a:pt x="102" y="164"/>
                </a:cubicBezTo>
                <a:cubicBezTo>
                  <a:pt x="102" y="165"/>
                  <a:pt x="102" y="165"/>
                  <a:pt x="102" y="165"/>
                </a:cubicBezTo>
                <a:cubicBezTo>
                  <a:pt x="101" y="165"/>
                  <a:pt x="102" y="166"/>
                  <a:pt x="102" y="167"/>
                </a:cubicBezTo>
                <a:cubicBezTo>
                  <a:pt x="105" y="166"/>
                  <a:pt x="108" y="166"/>
                  <a:pt x="110" y="166"/>
                </a:cubicBezTo>
                <a:cubicBezTo>
                  <a:pt x="111" y="166"/>
                  <a:pt x="112" y="165"/>
                  <a:pt x="113" y="165"/>
                </a:cubicBezTo>
                <a:cubicBezTo>
                  <a:pt x="113" y="165"/>
                  <a:pt x="114" y="165"/>
                  <a:pt x="115" y="165"/>
                </a:cubicBezTo>
                <a:cubicBezTo>
                  <a:pt x="115" y="165"/>
                  <a:pt x="116" y="165"/>
                  <a:pt x="117" y="165"/>
                </a:cubicBezTo>
                <a:cubicBezTo>
                  <a:pt x="117" y="165"/>
                  <a:pt x="117" y="165"/>
                  <a:pt x="118" y="164"/>
                </a:cubicBezTo>
                <a:cubicBezTo>
                  <a:pt x="118" y="162"/>
                  <a:pt x="118" y="162"/>
                  <a:pt x="118" y="162"/>
                </a:cubicBezTo>
                <a:cubicBezTo>
                  <a:pt x="119" y="163"/>
                  <a:pt x="119" y="163"/>
                  <a:pt x="119" y="163"/>
                </a:cubicBezTo>
                <a:cubicBezTo>
                  <a:pt x="120" y="161"/>
                  <a:pt x="120" y="161"/>
                  <a:pt x="120" y="161"/>
                </a:cubicBezTo>
                <a:cubicBezTo>
                  <a:pt x="120" y="164"/>
                  <a:pt x="120" y="164"/>
                  <a:pt x="120" y="164"/>
                </a:cubicBezTo>
                <a:cubicBezTo>
                  <a:pt x="120" y="164"/>
                  <a:pt x="121" y="165"/>
                  <a:pt x="121" y="165"/>
                </a:cubicBezTo>
                <a:cubicBezTo>
                  <a:pt x="122" y="166"/>
                  <a:pt x="124" y="166"/>
                  <a:pt x="124" y="168"/>
                </a:cubicBezTo>
                <a:cubicBezTo>
                  <a:pt x="124" y="168"/>
                  <a:pt x="125" y="169"/>
                  <a:pt x="124" y="169"/>
                </a:cubicBezTo>
                <a:cubicBezTo>
                  <a:pt x="125" y="169"/>
                  <a:pt x="125" y="169"/>
                  <a:pt x="125" y="169"/>
                </a:cubicBezTo>
                <a:cubicBezTo>
                  <a:pt x="125" y="169"/>
                  <a:pt x="125" y="169"/>
                  <a:pt x="125" y="169"/>
                </a:cubicBezTo>
                <a:cubicBezTo>
                  <a:pt x="126" y="169"/>
                  <a:pt x="126" y="168"/>
                  <a:pt x="127" y="168"/>
                </a:cubicBezTo>
                <a:cubicBezTo>
                  <a:pt x="127" y="168"/>
                  <a:pt x="128" y="168"/>
                  <a:pt x="128" y="168"/>
                </a:cubicBezTo>
                <a:cubicBezTo>
                  <a:pt x="128" y="168"/>
                  <a:pt x="129" y="168"/>
                  <a:pt x="129" y="168"/>
                </a:cubicBezTo>
                <a:cubicBezTo>
                  <a:pt x="130" y="168"/>
                  <a:pt x="130" y="168"/>
                  <a:pt x="130" y="168"/>
                </a:cubicBezTo>
                <a:cubicBezTo>
                  <a:pt x="130" y="168"/>
                  <a:pt x="131" y="168"/>
                  <a:pt x="131" y="167"/>
                </a:cubicBezTo>
                <a:cubicBezTo>
                  <a:pt x="131" y="167"/>
                  <a:pt x="131" y="167"/>
                  <a:pt x="132" y="167"/>
                </a:cubicBezTo>
                <a:cubicBezTo>
                  <a:pt x="134" y="166"/>
                  <a:pt x="134" y="166"/>
                  <a:pt x="134" y="166"/>
                </a:cubicBezTo>
                <a:cubicBezTo>
                  <a:pt x="134" y="170"/>
                  <a:pt x="134" y="170"/>
                  <a:pt x="134" y="170"/>
                </a:cubicBezTo>
                <a:cubicBezTo>
                  <a:pt x="134" y="171"/>
                  <a:pt x="134" y="171"/>
                  <a:pt x="134" y="172"/>
                </a:cubicBezTo>
                <a:cubicBezTo>
                  <a:pt x="134" y="172"/>
                  <a:pt x="135" y="172"/>
                  <a:pt x="135" y="173"/>
                </a:cubicBezTo>
                <a:cubicBezTo>
                  <a:pt x="136" y="173"/>
                  <a:pt x="136" y="173"/>
                  <a:pt x="136" y="173"/>
                </a:cubicBezTo>
                <a:cubicBezTo>
                  <a:pt x="136" y="173"/>
                  <a:pt x="136" y="173"/>
                  <a:pt x="136" y="173"/>
                </a:cubicBezTo>
                <a:cubicBezTo>
                  <a:pt x="136" y="173"/>
                  <a:pt x="136" y="173"/>
                  <a:pt x="137" y="173"/>
                </a:cubicBezTo>
                <a:cubicBezTo>
                  <a:pt x="137" y="173"/>
                  <a:pt x="137" y="173"/>
                  <a:pt x="137" y="173"/>
                </a:cubicBezTo>
                <a:cubicBezTo>
                  <a:pt x="137" y="173"/>
                  <a:pt x="138" y="173"/>
                  <a:pt x="138" y="173"/>
                </a:cubicBezTo>
                <a:cubicBezTo>
                  <a:pt x="148" y="175"/>
                  <a:pt x="148" y="175"/>
                  <a:pt x="148" y="175"/>
                </a:cubicBezTo>
                <a:cubicBezTo>
                  <a:pt x="148" y="175"/>
                  <a:pt x="148" y="175"/>
                  <a:pt x="148" y="174"/>
                </a:cubicBezTo>
                <a:cubicBezTo>
                  <a:pt x="148" y="174"/>
                  <a:pt x="148" y="174"/>
                  <a:pt x="148" y="174"/>
                </a:cubicBezTo>
                <a:cubicBezTo>
                  <a:pt x="148" y="174"/>
                  <a:pt x="148" y="174"/>
                  <a:pt x="148" y="174"/>
                </a:cubicBezTo>
                <a:cubicBezTo>
                  <a:pt x="148" y="173"/>
                  <a:pt x="148" y="173"/>
                  <a:pt x="148" y="173"/>
                </a:cubicBezTo>
                <a:cubicBezTo>
                  <a:pt x="149" y="172"/>
                  <a:pt x="149" y="172"/>
                  <a:pt x="149" y="172"/>
                </a:cubicBezTo>
                <a:cubicBezTo>
                  <a:pt x="149" y="171"/>
                  <a:pt x="150" y="171"/>
                  <a:pt x="151" y="171"/>
                </a:cubicBezTo>
                <a:cubicBezTo>
                  <a:pt x="151" y="171"/>
                  <a:pt x="151" y="171"/>
                  <a:pt x="151" y="171"/>
                </a:cubicBezTo>
                <a:cubicBezTo>
                  <a:pt x="153" y="171"/>
                  <a:pt x="154" y="173"/>
                  <a:pt x="155" y="174"/>
                </a:cubicBezTo>
                <a:cubicBezTo>
                  <a:pt x="155" y="175"/>
                  <a:pt x="155" y="175"/>
                  <a:pt x="155" y="175"/>
                </a:cubicBezTo>
                <a:cubicBezTo>
                  <a:pt x="155" y="175"/>
                  <a:pt x="155" y="176"/>
                  <a:pt x="156" y="176"/>
                </a:cubicBezTo>
                <a:cubicBezTo>
                  <a:pt x="156" y="177"/>
                  <a:pt x="156" y="178"/>
                  <a:pt x="157" y="178"/>
                </a:cubicBezTo>
                <a:cubicBezTo>
                  <a:pt x="157" y="178"/>
                  <a:pt x="157" y="178"/>
                  <a:pt x="157" y="178"/>
                </a:cubicBezTo>
                <a:cubicBezTo>
                  <a:pt x="158" y="178"/>
                  <a:pt x="158" y="178"/>
                  <a:pt x="159" y="178"/>
                </a:cubicBezTo>
                <a:cubicBezTo>
                  <a:pt x="159" y="178"/>
                  <a:pt x="160" y="178"/>
                  <a:pt x="161" y="179"/>
                </a:cubicBezTo>
                <a:cubicBezTo>
                  <a:pt x="161" y="179"/>
                  <a:pt x="162" y="179"/>
                  <a:pt x="162" y="180"/>
                </a:cubicBezTo>
                <a:cubicBezTo>
                  <a:pt x="163" y="180"/>
                  <a:pt x="163" y="180"/>
                  <a:pt x="163" y="180"/>
                </a:cubicBezTo>
                <a:cubicBezTo>
                  <a:pt x="163" y="180"/>
                  <a:pt x="164" y="180"/>
                  <a:pt x="165" y="181"/>
                </a:cubicBezTo>
                <a:cubicBezTo>
                  <a:pt x="171" y="190"/>
                  <a:pt x="171" y="190"/>
                  <a:pt x="171" y="190"/>
                </a:cubicBezTo>
                <a:cubicBezTo>
                  <a:pt x="172" y="190"/>
                  <a:pt x="172" y="190"/>
                  <a:pt x="173" y="190"/>
                </a:cubicBezTo>
                <a:cubicBezTo>
                  <a:pt x="173" y="190"/>
                  <a:pt x="173" y="190"/>
                  <a:pt x="173" y="190"/>
                </a:cubicBezTo>
                <a:cubicBezTo>
                  <a:pt x="173" y="189"/>
                  <a:pt x="173" y="189"/>
                  <a:pt x="173" y="189"/>
                </a:cubicBezTo>
                <a:cubicBezTo>
                  <a:pt x="173" y="189"/>
                  <a:pt x="174" y="189"/>
                  <a:pt x="174" y="189"/>
                </a:cubicBezTo>
                <a:cubicBezTo>
                  <a:pt x="175" y="188"/>
                  <a:pt x="175" y="188"/>
                  <a:pt x="176" y="188"/>
                </a:cubicBezTo>
                <a:cubicBezTo>
                  <a:pt x="176" y="188"/>
                  <a:pt x="177" y="188"/>
                  <a:pt x="177" y="188"/>
                </a:cubicBezTo>
                <a:cubicBezTo>
                  <a:pt x="177" y="180"/>
                  <a:pt x="177" y="180"/>
                  <a:pt x="177" y="180"/>
                </a:cubicBezTo>
                <a:cubicBezTo>
                  <a:pt x="177" y="180"/>
                  <a:pt x="177" y="180"/>
                  <a:pt x="177" y="180"/>
                </a:cubicBezTo>
                <a:cubicBezTo>
                  <a:pt x="177" y="180"/>
                  <a:pt x="176" y="180"/>
                  <a:pt x="176" y="180"/>
                </a:cubicBezTo>
                <a:cubicBezTo>
                  <a:pt x="176" y="180"/>
                  <a:pt x="176" y="180"/>
                  <a:pt x="176" y="180"/>
                </a:cubicBezTo>
                <a:cubicBezTo>
                  <a:pt x="176" y="180"/>
                  <a:pt x="176" y="181"/>
                  <a:pt x="176" y="182"/>
                </a:cubicBezTo>
                <a:cubicBezTo>
                  <a:pt x="175" y="182"/>
                  <a:pt x="175" y="182"/>
                  <a:pt x="175" y="182"/>
                </a:cubicBezTo>
                <a:cubicBezTo>
                  <a:pt x="174" y="182"/>
                  <a:pt x="174" y="182"/>
                  <a:pt x="173" y="182"/>
                </a:cubicBezTo>
                <a:cubicBezTo>
                  <a:pt x="173" y="182"/>
                  <a:pt x="173" y="182"/>
                  <a:pt x="173" y="182"/>
                </a:cubicBezTo>
                <a:cubicBezTo>
                  <a:pt x="173" y="182"/>
                  <a:pt x="173" y="182"/>
                  <a:pt x="172" y="182"/>
                </a:cubicBezTo>
                <a:cubicBezTo>
                  <a:pt x="172" y="182"/>
                  <a:pt x="172" y="182"/>
                  <a:pt x="172" y="182"/>
                </a:cubicBezTo>
                <a:cubicBezTo>
                  <a:pt x="172" y="182"/>
                  <a:pt x="172" y="182"/>
                  <a:pt x="172" y="182"/>
                </a:cubicBezTo>
                <a:cubicBezTo>
                  <a:pt x="171" y="182"/>
                  <a:pt x="171" y="182"/>
                  <a:pt x="171" y="182"/>
                </a:cubicBezTo>
                <a:cubicBezTo>
                  <a:pt x="171" y="182"/>
                  <a:pt x="171" y="182"/>
                  <a:pt x="171" y="182"/>
                </a:cubicBezTo>
                <a:cubicBezTo>
                  <a:pt x="170" y="181"/>
                  <a:pt x="170" y="181"/>
                  <a:pt x="169" y="181"/>
                </a:cubicBezTo>
                <a:cubicBezTo>
                  <a:pt x="169" y="181"/>
                  <a:pt x="169" y="181"/>
                  <a:pt x="169" y="180"/>
                </a:cubicBezTo>
                <a:cubicBezTo>
                  <a:pt x="169" y="180"/>
                  <a:pt x="169" y="180"/>
                  <a:pt x="169" y="180"/>
                </a:cubicBezTo>
                <a:cubicBezTo>
                  <a:pt x="169" y="180"/>
                  <a:pt x="169" y="179"/>
                  <a:pt x="168" y="179"/>
                </a:cubicBezTo>
                <a:cubicBezTo>
                  <a:pt x="167" y="178"/>
                  <a:pt x="166" y="177"/>
                  <a:pt x="165" y="177"/>
                </a:cubicBezTo>
                <a:cubicBezTo>
                  <a:pt x="164" y="176"/>
                  <a:pt x="164" y="175"/>
                  <a:pt x="163" y="174"/>
                </a:cubicBezTo>
                <a:cubicBezTo>
                  <a:pt x="162" y="171"/>
                  <a:pt x="163" y="168"/>
                  <a:pt x="164" y="166"/>
                </a:cubicBezTo>
                <a:cubicBezTo>
                  <a:pt x="164" y="165"/>
                  <a:pt x="164" y="164"/>
                  <a:pt x="164" y="164"/>
                </a:cubicBezTo>
                <a:cubicBezTo>
                  <a:pt x="165" y="162"/>
                  <a:pt x="165" y="160"/>
                  <a:pt x="165" y="159"/>
                </a:cubicBezTo>
                <a:cubicBezTo>
                  <a:pt x="165" y="159"/>
                  <a:pt x="165" y="159"/>
                  <a:pt x="165" y="159"/>
                </a:cubicBezTo>
                <a:cubicBezTo>
                  <a:pt x="165" y="159"/>
                  <a:pt x="165" y="159"/>
                  <a:pt x="165" y="159"/>
                </a:cubicBezTo>
                <a:cubicBezTo>
                  <a:pt x="165" y="158"/>
                  <a:pt x="165" y="157"/>
                  <a:pt x="165" y="156"/>
                </a:cubicBezTo>
                <a:cubicBezTo>
                  <a:pt x="165" y="156"/>
                  <a:pt x="165" y="156"/>
                  <a:pt x="165" y="156"/>
                </a:cubicBezTo>
                <a:cubicBezTo>
                  <a:pt x="165" y="155"/>
                  <a:pt x="165" y="155"/>
                  <a:pt x="165" y="155"/>
                </a:cubicBezTo>
                <a:cubicBezTo>
                  <a:pt x="165" y="154"/>
                  <a:pt x="165" y="154"/>
                  <a:pt x="165" y="154"/>
                </a:cubicBezTo>
                <a:cubicBezTo>
                  <a:pt x="165" y="154"/>
                  <a:pt x="165" y="153"/>
                  <a:pt x="165" y="153"/>
                </a:cubicBezTo>
                <a:cubicBezTo>
                  <a:pt x="165" y="152"/>
                  <a:pt x="165" y="152"/>
                  <a:pt x="165" y="152"/>
                </a:cubicBezTo>
                <a:cubicBezTo>
                  <a:pt x="165" y="152"/>
                  <a:pt x="165" y="152"/>
                  <a:pt x="165" y="152"/>
                </a:cubicBezTo>
                <a:cubicBezTo>
                  <a:pt x="165" y="152"/>
                  <a:pt x="165" y="152"/>
                  <a:pt x="165" y="152"/>
                </a:cubicBezTo>
                <a:cubicBezTo>
                  <a:pt x="165" y="151"/>
                  <a:pt x="164" y="151"/>
                  <a:pt x="164" y="151"/>
                </a:cubicBezTo>
                <a:cubicBezTo>
                  <a:pt x="164" y="151"/>
                  <a:pt x="164" y="150"/>
                  <a:pt x="164" y="150"/>
                </a:cubicBezTo>
                <a:cubicBezTo>
                  <a:pt x="164" y="150"/>
                  <a:pt x="163" y="150"/>
                  <a:pt x="163" y="149"/>
                </a:cubicBezTo>
                <a:cubicBezTo>
                  <a:pt x="162" y="149"/>
                  <a:pt x="163" y="148"/>
                  <a:pt x="163" y="147"/>
                </a:cubicBezTo>
                <a:cubicBezTo>
                  <a:pt x="164" y="146"/>
                  <a:pt x="165" y="145"/>
                  <a:pt x="166" y="144"/>
                </a:cubicBezTo>
                <a:cubicBezTo>
                  <a:pt x="167" y="144"/>
                  <a:pt x="167" y="143"/>
                  <a:pt x="167" y="143"/>
                </a:cubicBezTo>
                <a:cubicBezTo>
                  <a:pt x="167" y="143"/>
                  <a:pt x="167" y="143"/>
                  <a:pt x="167" y="143"/>
                </a:cubicBezTo>
                <a:cubicBezTo>
                  <a:pt x="168" y="142"/>
                  <a:pt x="168" y="142"/>
                  <a:pt x="168" y="142"/>
                </a:cubicBezTo>
                <a:cubicBezTo>
                  <a:pt x="168" y="142"/>
                  <a:pt x="168" y="142"/>
                  <a:pt x="168" y="142"/>
                </a:cubicBezTo>
                <a:cubicBezTo>
                  <a:pt x="168" y="142"/>
                  <a:pt x="168" y="141"/>
                  <a:pt x="168" y="141"/>
                </a:cubicBezTo>
                <a:cubicBezTo>
                  <a:pt x="168" y="141"/>
                  <a:pt x="168" y="141"/>
                  <a:pt x="168" y="141"/>
                </a:cubicBezTo>
                <a:cubicBezTo>
                  <a:pt x="167" y="139"/>
                  <a:pt x="167" y="139"/>
                  <a:pt x="167" y="139"/>
                </a:cubicBezTo>
                <a:cubicBezTo>
                  <a:pt x="169" y="139"/>
                  <a:pt x="169" y="139"/>
                  <a:pt x="169" y="139"/>
                </a:cubicBezTo>
                <a:cubicBezTo>
                  <a:pt x="173" y="138"/>
                  <a:pt x="178" y="137"/>
                  <a:pt x="182" y="137"/>
                </a:cubicBezTo>
                <a:cubicBezTo>
                  <a:pt x="185" y="136"/>
                  <a:pt x="185" y="136"/>
                  <a:pt x="185" y="136"/>
                </a:cubicBezTo>
                <a:cubicBezTo>
                  <a:pt x="184" y="135"/>
                  <a:pt x="183" y="133"/>
                  <a:pt x="183" y="131"/>
                </a:cubicBezTo>
                <a:cubicBezTo>
                  <a:pt x="182" y="130"/>
                  <a:pt x="182" y="128"/>
                  <a:pt x="181" y="127"/>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94" name="Freeform 3051">
            <a:extLst>
              <a:ext uri="{FF2B5EF4-FFF2-40B4-BE49-F238E27FC236}">
                <a16:creationId xmlns:a16="http://schemas.microsoft.com/office/drawing/2014/main" id="{79B8FB7F-F539-4621-A8F5-1828461578F0}"/>
              </a:ext>
            </a:extLst>
          </p:cNvPr>
          <p:cNvSpPr>
            <a:spLocks/>
          </p:cNvSpPr>
          <p:nvPr/>
        </p:nvSpPr>
        <p:spPr bwMode="auto">
          <a:xfrm>
            <a:off x="3487176" y="384465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95" name="Freeform 3052">
            <a:extLst>
              <a:ext uri="{FF2B5EF4-FFF2-40B4-BE49-F238E27FC236}">
                <a16:creationId xmlns:a16="http://schemas.microsoft.com/office/drawing/2014/main" id="{50EAA320-A861-4B20-AAA7-C1073115A675}"/>
              </a:ext>
            </a:extLst>
          </p:cNvPr>
          <p:cNvSpPr>
            <a:spLocks/>
          </p:cNvSpPr>
          <p:nvPr/>
        </p:nvSpPr>
        <p:spPr bwMode="auto">
          <a:xfrm>
            <a:off x="3514927" y="3603063"/>
            <a:ext cx="151146" cy="119313"/>
          </a:xfrm>
          <a:custGeom>
            <a:avLst/>
            <a:gdLst>
              <a:gd name="T0" fmla="*/ 41 w 129"/>
              <a:gd name="T1" fmla="*/ 30 h 85"/>
              <a:gd name="T2" fmla="*/ 38 w 129"/>
              <a:gd name="T3" fmla="*/ 30 h 85"/>
              <a:gd name="T4" fmla="*/ 31 w 129"/>
              <a:gd name="T5" fmla="*/ 32 h 85"/>
              <a:gd name="T6" fmla="*/ 27 w 129"/>
              <a:gd name="T7" fmla="*/ 33 h 85"/>
              <a:gd name="T8" fmla="*/ 24 w 129"/>
              <a:gd name="T9" fmla="*/ 35 h 85"/>
              <a:gd name="T10" fmla="*/ 22 w 129"/>
              <a:gd name="T11" fmla="*/ 35 h 85"/>
              <a:gd name="T12" fmla="*/ 19 w 129"/>
              <a:gd name="T13" fmla="*/ 34 h 85"/>
              <a:gd name="T14" fmla="*/ 10 w 129"/>
              <a:gd name="T15" fmla="*/ 36 h 85"/>
              <a:gd name="T16" fmla="*/ 6 w 129"/>
              <a:gd name="T17" fmla="*/ 41 h 85"/>
              <a:gd name="T18" fmla="*/ 4 w 129"/>
              <a:gd name="T19" fmla="*/ 46 h 85"/>
              <a:gd name="T20" fmla="*/ 2 w 129"/>
              <a:gd name="T21" fmla="*/ 52 h 85"/>
              <a:gd name="T22" fmla="*/ 1 w 129"/>
              <a:gd name="T23" fmla="*/ 58 h 85"/>
              <a:gd name="T24" fmla="*/ 4 w 129"/>
              <a:gd name="T25" fmla="*/ 65 h 85"/>
              <a:gd name="T26" fmla="*/ 7 w 129"/>
              <a:gd name="T27" fmla="*/ 71 h 85"/>
              <a:gd name="T28" fmla="*/ 15 w 129"/>
              <a:gd name="T29" fmla="*/ 80 h 85"/>
              <a:gd name="T30" fmla="*/ 17 w 129"/>
              <a:gd name="T31" fmla="*/ 85 h 85"/>
              <a:gd name="T32" fmla="*/ 18 w 129"/>
              <a:gd name="T33" fmla="*/ 80 h 85"/>
              <a:gd name="T34" fmla="*/ 19 w 129"/>
              <a:gd name="T35" fmla="*/ 76 h 85"/>
              <a:gd name="T36" fmla="*/ 24 w 129"/>
              <a:gd name="T37" fmla="*/ 74 h 85"/>
              <a:gd name="T38" fmla="*/ 34 w 129"/>
              <a:gd name="T39" fmla="*/ 73 h 85"/>
              <a:gd name="T40" fmla="*/ 39 w 129"/>
              <a:gd name="T41" fmla="*/ 73 h 85"/>
              <a:gd name="T42" fmla="*/ 40 w 129"/>
              <a:gd name="T43" fmla="*/ 71 h 85"/>
              <a:gd name="T44" fmla="*/ 39 w 129"/>
              <a:gd name="T45" fmla="*/ 67 h 85"/>
              <a:gd name="T46" fmla="*/ 42 w 129"/>
              <a:gd name="T47" fmla="*/ 65 h 85"/>
              <a:gd name="T48" fmla="*/ 50 w 129"/>
              <a:gd name="T49" fmla="*/ 58 h 85"/>
              <a:gd name="T50" fmla="*/ 52 w 129"/>
              <a:gd name="T51" fmla="*/ 58 h 85"/>
              <a:gd name="T52" fmla="*/ 55 w 129"/>
              <a:gd name="T53" fmla="*/ 59 h 85"/>
              <a:gd name="T54" fmla="*/ 62 w 129"/>
              <a:gd name="T55" fmla="*/ 65 h 85"/>
              <a:gd name="T56" fmla="*/ 67 w 129"/>
              <a:gd name="T57" fmla="*/ 66 h 85"/>
              <a:gd name="T58" fmla="*/ 70 w 129"/>
              <a:gd name="T59" fmla="*/ 66 h 85"/>
              <a:gd name="T60" fmla="*/ 77 w 129"/>
              <a:gd name="T61" fmla="*/ 67 h 85"/>
              <a:gd name="T62" fmla="*/ 81 w 129"/>
              <a:gd name="T63" fmla="*/ 65 h 85"/>
              <a:gd name="T64" fmla="*/ 83 w 129"/>
              <a:gd name="T65" fmla="*/ 62 h 85"/>
              <a:gd name="T66" fmla="*/ 85 w 129"/>
              <a:gd name="T67" fmla="*/ 61 h 85"/>
              <a:gd name="T68" fmla="*/ 89 w 129"/>
              <a:gd name="T69" fmla="*/ 63 h 85"/>
              <a:gd name="T70" fmla="*/ 99 w 129"/>
              <a:gd name="T71" fmla="*/ 59 h 85"/>
              <a:gd name="T72" fmla="*/ 101 w 129"/>
              <a:gd name="T73" fmla="*/ 58 h 85"/>
              <a:gd name="T74" fmla="*/ 105 w 129"/>
              <a:gd name="T75" fmla="*/ 60 h 85"/>
              <a:gd name="T76" fmla="*/ 110 w 129"/>
              <a:gd name="T77" fmla="*/ 56 h 85"/>
              <a:gd name="T78" fmla="*/ 112 w 129"/>
              <a:gd name="T79" fmla="*/ 55 h 85"/>
              <a:gd name="T80" fmla="*/ 116 w 129"/>
              <a:gd name="T81" fmla="*/ 57 h 85"/>
              <a:gd name="T82" fmla="*/ 122 w 129"/>
              <a:gd name="T83" fmla="*/ 58 h 85"/>
              <a:gd name="T84" fmla="*/ 122 w 129"/>
              <a:gd name="T85" fmla="*/ 58 h 85"/>
              <a:gd name="T86" fmla="*/ 128 w 129"/>
              <a:gd name="T87" fmla="*/ 57 h 85"/>
              <a:gd name="T88" fmla="*/ 126 w 129"/>
              <a:gd name="T89" fmla="*/ 53 h 85"/>
              <a:gd name="T90" fmla="*/ 120 w 129"/>
              <a:gd name="T91" fmla="*/ 50 h 85"/>
              <a:gd name="T92" fmla="*/ 118 w 129"/>
              <a:gd name="T93" fmla="*/ 45 h 85"/>
              <a:gd name="T94" fmla="*/ 108 w 129"/>
              <a:gd name="T95" fmla="*/ 33 h 85"/>
              <a:gd name="T96" fmla="*/ 107 w 129"/>
              <a:gd name="T97" fmla="*/ 31 h 85"/>
              <a:gd name="T98" fmla="*/ 100 w 129"/>
              <a:gd name="T99" fmla="*/ 28 h 85"/>
              <a:gd name="T100" fmla="*/ 96 w 129"/>
              <a:gd name="T101" fmla="*/ 23 h 85"/>
              <a:gd name="T102" fmla="*/ 92 w 129"/>
              <a:gd name="T103" fmla="*/ 23 h 85"/>
              <a:gd name="T104" fmla="*/ 90 w 129"/>
              <a:gd name="T105" fmla="*/ 20 h 85"/>
              <a:gd name="T106" fmla="*/ 91 w 129"/>
              <a:gd name="T107" fmla="*/ 16 h 85"/>
              <a:gd name="T108" fmla="*/ 90 w 129"/>
              <a:gd name="T109" fmla="*/ 8 h 85"/>
              <a:gd name="T110" fmla="*/ 83 w 129"/>
              <a:gd name="T111" fmla="*/ 0 h 85"/>
              <a:gd name="T112" fmla="*/ 74 w 129"/>
              <a:gd name="T113" fmla="*/ 3 h 85"/>
              <a:gd name="T114" fmla="*/ 67 w 129"/>
              <a:gd name="T115" fmla="*/ 13 h 85"/>
              <a:gd name="T116" fmla="*/ 47 w 129"/>
              <a:gd name="T117" fmla="*/ 20 h 85"/>
              <a:gd name="T118" fmla="*/ 46 w 129"/>
              <a:gd name="T119" fmla="*/ 2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9" h="85">
                <a:moveTo>
                  <a:pt x="45" y="26"/>
                </a:moveTo>
                <a:cubicBezTo>
                  <a:pt x="45" y="27"/>
                  <a:pt x="44" y="28"/>
                  <a:pt x="43" y="29"/>
                </a:cubicBezTo>
                <a:cubicBezTo>
                  <a:pt x="42" y="29"/>
                  <a:pt x="42" y="29"/>
                  <a:pt x="42" y="29"/>
                </a:cubicBezTo>
                <a:cubicBezTo>
                  <a:pt x="42" y="30"/>
                  <a:pt x="42" y="30"/>
                  <a:pt x="41" y="30"/>
                </a:cubicBezTo>
                <a:cubicBezTo>
                  <a:pt x="41" y="30"/>
                  <a:pt x="41" y="30"/>
                  <a:pt x="41" y="30"/>
                </a:cubicBezTo>
                <a:cubicBezTo>
                  <a:pt x="41" y="30"/>
                  <a:pt x="41" y="30"/>
                  <a:pt x="41" y="30"/>
                </a:cubicBezTo>
                <a:cubicBezTo>
                  <a:pt x="40" y="30"/>
                  <a:pt x="40" y="30"/>
                  <a:pt x="40" y="30"/>
                </a:cubicBezTo>
                <a:cubicBezTo>
                  <a:pt x="40" y="30"/>
                  <a:pt x="40" y="30"/>
                  <a:pt x="40" y="30"/>
                </a:cubicBezTo>
                <a:cubicBezTo>
                  <a:pt x="39" y="30"/>
                  <a:pt x="39" y="30"/>
                  <a:pt x="39" y="30"/>
                </a:cubicBezTo>
                <a:cubicBezTo>
                  <a:pt x="39" y="30"/>
                  <a:pt x="39" y="30"/>
                  <a:pt x="38" y="30"/>
                </a:cubicBezTo>
                <a:cubicBezTo>
                  <a:pt x="37" y="31"/>
                  <a:pt x="37" y="31"/>
                  <a:pt x="37" y="31"/>
                </a:cubicBezTo>
                <a:cubicBezTo>
                  <a:pt x="37" y="31"/>
                  <a:pt x="37" y="31"/>
                  <a:pt x="37" y="31"/>
                </a:cubicBezTo>
                <a:cubicBezTo>
                  <a:pt x="36" y="31"/>
                  <a:pt x="36" y="31"/>
                  <a:pt x="36" y="31"/>
                </a:cubicBezTo>
                <a:cubicBezTo>
                  <a:pt x="36" y="31"/>
                  <a:pt x="35" y="31"/>
                  <a:pt x="34" y="31"/>
                </a:cubicBezTo>
                <a:cubicBezTo>
                  <a:pt x="33" y="31"/>
                  <a:pt x="32" y="31"/>
                  <a:pt x="31" y="32"/>
                </a:cubicBezTo>
                <a:cubicBezTo>
                  <a:pt x="30" y="32"/>
                  <a:pt x="30" y="32"/>
                  <a:pt x="30" y="32"/>
                </a:cubicBezTo>
                <a:cubicBezTo>
                  <a:pt x="30" y="32"/>
                  <a:pt x="30" y="32"/>
                  <a:pt x="29" y="32"/>
                </a:cubicBezTo>
                <a:cubicBezTo>
                  <a:pt x="29" y="32"/>
                  <a:pt x="29" y="32"/>
                  <a:pt x="29" y="32"/>
                </a:cubicBezTo>
                <a:cubicBezTo>
                  <a:pt x="28" y="33"/>
                  <a:pt x="28" y="33"/>
                  <a:pt x="27" y="33"/>
                </a:cubicBezTo>
                <a:cubicBezTo>
                  <a:pt x="27" y="33"/>
                  <a:pt x="27" y="33"/>
                  <a:pt x="27" y="33"/>
                </a:cubicBezTo>
                <a:cubicBezTo>
                  <a:pt x="26" y="33"/>
                  <a:pt x="26" y="34"/>
                  <a:pt x="26" y="34"/>
                </a:cubicBezTo>
                <a:cubicBezTo>
                  <a:pt x="25" y="34"/>
                  <a:pt x="25" y="34"/>
                  <a:pt x="25" y="34"/>
                </a:cubicBezTo>
                <a:cubicBezTo>
                  <a:pt x="25" y="34"/>
                  <a:pt x="25" y="34"/>
                  <a:pt x="25" y="34"/>
                </a:cubicBezTo>
                <a:cubicBezTo>
                  <a:pt x="24" y="35"/>
                  <a:pt x="24" y="35"/>
                  <a:pt x="24" y="35"/>
                </a:cubicBezTo>
                <a:cubicBezTo>
                  <a:pt x="24" y="35"/>
                  <a:pt x="24" y="35"/>
                  <a:pt x="24" y="35"/>
                </a:cubicBezTo>
                <a:cubicBezTo>
                  <a:pt x="23" y="35"/>
                  <a:pt x="23" y="35"/>
                  <a:pt x="23" y="35"/>
                </a:cubicBezTo>
                <a:cubicBezTo>
                  <a:pt x="23" y="35"/>
                  <a:pt x="23" y="35"/>
                  <a:pt x="23" y="35"/>
                </a:cubicBezTo>
                <a:cubicBezTo>
                  <a:pt x="23" y="35"/>
                  <a:pt x="23" y="35"/>
                  <a:pt x="23" y="35"/>
                </a:cubicBezTo>
                <a:cubicBezTo>
                  <a:pt x="23" y="35"/>
                  <a:pt x="22" y="35"/>
                  <a:pt x="22" y="35"/>
                </a:cubicBezTo>
                <a:cubicBezTo>
                  <a:pt x="22" y="35"/>
                  <a:pt x="22" y="35"/>
                  <a:pt x="22" y="35"/>
                </a:cubicBezTo>
                <a:cubicBezTo>
                  <a:pt x="22" y="35"/>
                  <a:pt x="22" y="35"/>
                  <a:pt x="22" y="35"/>
                </a:cubicBezTo>
                <a:cubicBezTo>
                  <a:pt x="20" y="32"/>
                  <a:pt x="20" y="32"/>
                  <a:pt x="20" y="32"/>
                </a:cubicBezTo>
                <a:cubicBezTo>
                  <a:pt x="20" y="32"/>
                  <a:pt x="20" y="33"/>
                  <a:pt x="20" y="33"/>
                </a:cubicBezTo>
                <a:cubicBezTo>
                  <a:pt x="20" y="33"/>
                  <a:pt x="19" y="33"/>
                  <a:pt x="19" y="34"/>
                </a:cubicBezTo>
                <a:cubicBezTo>
                  <a:pt x="19" y="34"/>
                  <a:pt x="19" y="34"/>
                  <a:pt x="19" y="34"/>
                </a:cubicBezTo>
                <a:cubicBezTo>
                  <a:pt x="18" y="34"/>
                  <a:pt x="17" y="34"/>
                  <a:pt x="17" y="34"/>
                </a:cubicBezTo>
                <a:cubicBezTo>
                  <a:pt x="16" y="35"/>
                  <a:pt x="16" y="35"/>
                  <a:pt x="15" y="35"/>
                </a:cubicBezTo>
                <a:cubicBezTo>
                  <a:pt x="13" y="35"/>
                  <a:pt x="13" y="35"/>
                  <a:pt x="13" y="35"/>
                </a:cubicBezTo>
                <a:cubicBezTo>
                  <a:pt x="12" y="35"/>
                  <a:pt x="12" y="35"/>
                  <a:pt x="11" y="35"/>
                </a:cubicBezTo>
                <a:cubicBezTo>
                  <a:pt x="10" y="36"/>
                  <a:pt x="10" y="36"/>
                  <a:pt x="10" y="36"/>
                </a:cubicBezTo>
                <a:cubicBezTo>
                  <a:pt x="10" y="36"/>
                  <a:pt x="10" y="36"/>
                  <a:pt x="10" y="36"/>
                </a:cubicBezTo>
                <a:cubicBezTo>
                  <a:pt x="9" y="36"/>
                  <a:pt x="9" y="36"/>
                  <a:pt x="9" y="36"/>
                </a:cubicBezTo>
                <a:cubicBezTo>
                  <a:pt x="9" y="37"/>
                  <a:pt x="8" y="37"/>
                  <a:pt x="8" y="38"/>
                </a:cubicBezTo>
                <a:cubicBezTo>
                  <a:pt x="8" y="38"/>
                  <a:pt x="8" y="38"/>
                  <a:pt x="8" y="38"/>
                </a:cubicBezTo>
                <a:cubicBezTo>
                  <a:pt x="7" y="39"/>
                  <a:pt x="6" y="40"/>
                  <a:pt x="6" y="41"/>
                </a:cubicBezTo>
                <a:cubicBezTo>
                  <a:pt x="6" y="42"/>
                  <a:pt x="6" y="42"/>
                  <a:pt x="6" y="42"/>
                </a:cubicBezTo>
                <a:cubicBezTo>
                  <a:pt x="5" y="42"/>
                  <a:pt x="5" y="42"/>
                  <a:pt x="5" y="43"/>
                </a:cubicBezTo>
                <a:cubicBezTo>
                  <a:pt x="5" y="43"/>
                  <a:pt x="5" y="44"/>
                  <a:pt x="4" y="44"/>
                </a:cubicBezTo>
                <a:cubicBezTo>
                  <a:pt x="4" y="45"/>
                  <a:pt x="4" y="45"/>
                  <a:pt x="4" y="45"/>
                </a:cubicBezTo>
                <a:cubicBezTo>
                  <a:pt x="4" y="45"/>
                  <a:pt x="4" y="45"/>
                  <a:pt x="4" y="46"/>
                </a:cubicBezTo>
                <a:cubicBezTo>
                  <a:pt x="3" y="48"/>
                  <a:pt x="2" y="49"/>
                  <a:pt x="0" y="49"/>
                </a:cubicBezTo>
                <a:cubicBezTo>
                  <a:pt x="0" y="50"/>
                  <a:pt x="1" y="50"/>
                  <a:pt x="1" y="50"/>
                </a:cubicBezTo>
                <a:cubicBezTo>
                  <a:pt x="1" y="50"/>
                  <a:pt x="1" y="50"/>
                  <a:pt x="1" y="50"/>
                </a:cubicBezTo>
                <a:cubicBezTo>
                  <a:pt x="1" y="50"/>
                  <a:pt x="1" y="51"/>
                  <a:pt x="1" y="51"/>
                </a:cubicBezTo>
                <a:cubicBezTo>
                  <a:pt x="1" y="51"/>
                  <a:pt x="1" y="52"/>
                  <a:pt x="2" y="52"/>
                </a:cubicBezTo>
                <a:cubicBezTo>
                  <a:pt x="2" y="53"/>
                  <a:pt x="1" y="54"/>
                  <a:pt x="1" y="54"/>
                </a:cubicBezTo>
                <a:cubicBezTo>
                  <a:pt x="1" y="55"/>
                  <a:pt x="1" y="55"/>
                  <a:pt x="1" y="55"/>
                </a:cubicBezTo>
                <a:cubicBezTo>
                  <a:pt x="1" y="56"/>
                  <a:pt x="1" y="56"/>
                  <a:pt x="1" y="56"/>
                </a:cubicBezTo>
                <a:cubicBezTo>
                  <a:pt x="1" y="56"/>
                  <a:pt x="1" y="57"/>
                  <a:pt x="1" y="57"/>
                </a:cubicBezTo>
                <a:cubicBezTo>
                  <a:pt x="1" y="57"/>
                  <a:pt x="1" y="57"/>
                  <a:pt x="1" y="58"/>
                </a:cubicBezTo>
                <a:cubicBezTo>
                  <a:pt x="1" y="58"/>
                  <a:pt x="1" y="58"/>
                  <a:pt x="1" y="58"/>
                </a:cubicBezTo>
                <a:cubicBezTo>
                  <a:pt x="1" y="58"/>
                  <a:pt x="1" y="58"/>
                  <a:pt x="2" y="59"/>
                </a:cubicBezTo>
                <a:cubicBezTo>
                  <a:pt x="2" y="60"/>
                  <a:pt x="2" y="61"/>
                  <a:pt x="3" y="63"/>
                </a:cubicBezTo>
                <a:cubicBezTo>
                  <a:pt x="3" y="64"/>
                  <a:pt x="3" y="64"/>
                  <a:pt x="3" y="64"/>
                </a:cubicBezTo>
                <a:cubicBezTo>
                  <a:pt x="3" y="64"/>
                  <a:pt x="3" y="64"/>
                  <a:pt x="4" y="65"/>
                </a:cubicBezTo>
                <a:cubicBezTo>
                  <a:pt x="4" y="66"/>
                  <a:pt x="5" y="66"/>
                  <a:pt x="5" y="66"/>
                </a:cubicBezTo>
                <a:cubicBezTo>
                  <a:pt x="6" y="68"/>
                  <a:pt x="6" y="68"/>
                  <a:pt x="6" y="68"/>
                </a:cubicBezTo>
                <a:cubicBezTo>
                  <a:pt x="6" y="68"/>
                  <a:pt x="7" y="69"/>
                  <a:pt x="7" y="69"/>
                </a:cubicBezTo>
                <a:cubicBezTo>
                  <a:pt x="8" y="71"/>
                  <a:pt x="8" y="71"/>
                  <a:pt x="8" y="71"/>
                </a:cubicBezTo>
                <a:cubicBezTo>
                  <a:pt x="7" y="71"/>
                  <a:pt x="7" y="71"/>
                  <a:pt x="7" y="71"/>
                </a:cubicBezTo>
                <a:cubicBezTo>
                  <a:pt x="7" y="73"/>
                  <a:pt x="8" y="74"/>
                  <a:pt x="9" y="75"/>
                </a:cubicBezTo>
                <a:cubicBezTo>
                  <a:pt x="11" y="76"/>
                  <a:pt x="11" y="76"/>
                  <a:pt x="11" y="76"/>
                </a:cubicBezTo>
                <a:cubicBezTo>
                  <a:pt x="11" y="76"/>
                  <a:pt x="11" y="76"/>
                  <a:pt x="11" y="76"/>
                </a:cubicBezTo>
                <a:cubicBezTo>
                  <a:pt x="11" y="76"/>
                  <a:pt x="11" y="76"/>
                  <a:pt x="11" y="76"/>
                </a:cubicBezTo>
                <a:cubicBezTo>
                  <a:pt x="13" y="77"/>
                  <a:pt x="14" y="78"/>
                  <a:pt x="15" y="80"/>
                </a:cubicBezTo>
                <a:cubicBezTo>
                  <a:pt x="16" y="80"/>
                  <a:pt x="16" y="80"/>
                  <a:pt x="16" y="81"/>
                </a:cubicBezTo>
                <a:cubicBezTo>
                  <a:pt x="16" y="81"/>
                  <a:pt x="16" y="81"/>
                  <a:pt x="16" y="81"/>
                </a:cubicBezTo>
                <a:cubicBezTo>
                  <a:pt x="16" y="81"/>
                  <a:pt x="16" y="81"/>
                  <a:pt x="17" y="81"/>
                </a:cubicBezTo>
                <a:cubicBezTo>
                  <a:pt x="17" y="82"/>
                  <a:pt x="17" y="82"/>
                  <a:pt x="17" y="83"/>
                </a:cubicBezTo>
                <a:cubicBezTo>
                  <a:pt x="17" y="84"/>
                  <a:pt x="17" y="84"/>
                  <a:pt x="17" y="85"/>
                </a:cubicBezTo>
                <a:cubicBezTo>
                  <a:pt x="17" y="85"/>
                  <a:pt x="17" y="85"/>
                  <a:pt x="17" y="85"/>
                </a:cubicBezTo>
                <a:cubicBezTo>
                  <a:pt x="17" y="84"/>
                  <a:pt x="17" y="84"/>
                  <a:pt x="17" y="84"/>
                </a:cubicBezTo>
                <a:cubicBezTo>
                  <a:pt x="18" y="84"/>
                  <a:pt x="18" y="83"/>
                  <a:pt x="18" y="82"/>
                </a:cubicBezTo>
                <a:cubicBezTo>
                  <a:pt x="18" y="81"/>
                  <a:pt x="18" y="81"/>
                  <a:pt x="18" y="80"/>
                </a:cubicBezTo>
                <a:cubicBezTo>
                  <a:pt x="18" y="80"/>
                  <a:pt x="18" y="80"/>
                  <a:pt x="18" y="80"/>
                </a:cubicBezTo>
                <a:cubicBezTo>
                  <a:pt x="18" y="79"/>
                  <a:pt x="18" y="78"/>
                  <a:pt x="19" y="78"/>
                </a:cubicBezTo>
                <a:cubicBezTo>
                  <a:pt x="19" y="77"/>
                  <a:pt x="19" y="77"/>
                  <a:pt x="19" y="77"/>
                </a:cubicBezTo>
                <a:cubicBezTo>
                  <a:pt x="19" y="77"/>
                  <a:pt x="19" y="77"/>
                  <a:pt x="19" y="77"/>
                </a:cubicBezTo>
                <a:cubicBezTo>
                  <a:pt x="19" y="77"/>
                  <a:pt x="19" y="77"/>
                  <a:pt x="19" y="76"/>
                </a:cubicBezTo>
                <a:cubicBezTo>
                  <a:pt x="19" y="76"/>
                  <a:pt x="19" y="76"/>
                  <a:pt x="19" y="76"/>
                </a:cubicBezTo>
                <a:cubicBezTo>
                  <a:pt x="19" y="76"/>
                  <a:pt x="19" y="76"/>
                  <a:pt x="19" y="76"/>
                </a:cubicBezTo>
                <a:cubicBezTo>
                  <a:pt x="20" y="75"/>
                  <a:pt x="20" y="75"/>
                  <a:pt x="21" y="74"/>
                </a:cubicBezTo>
                <a:cubicBezTo>
                  <a:pt x="22" y="74"/>
                  <a:pt x="22" y="74"/>
                  <a:pt x="23" y="74"/>
                </a:cubicBezTo>
                <a:cubicBezTo>
                  <a:pt x="23" y="72"/>
                  <a:pt x="23" y="72"/>
                  <a:pt x="23" y="72"/>
                </a:cubicBezTo>
                <a:cubicBezTo>
                  <a:pt x="24" y="74"/>
                  <a:pt x="24" y="74"/>
                  <a:pt x="24" y="74"/>
                </a:cubicBezTo>
                <a:cubicBezTo>
                  <a:pt x="24" y="74"/>
                  <a:pt x="24" y="74"/>
                  <a:pt x="24" y="74"/>
                </a:cubicBezTo>
                <a:cubicBezTo>
                  <a:pt x="25" y="73"/>
                  <a:pt x="25" y="73"/>
                  <a:pt x="26" y="73"/>
                </a:cubicBezTo>
                <a:cubicBezTo>
                  <a:pt x="28" y="73"/>
                  <a:pt x="30" y="73"/>
                  <a:pt x="33" y="73"/>
                </a:cubicBezTo>
                <a:cubicBezTo>
                  <a:pt x="33" y="73"/>
                  <a:pt x="33" y="73"/>
                  <a:pt x="34" y="73"/>
                </a:cubicBezTo>
                <a:cubicBezTo>
                  <a:pt x="34" y="73"/>
                  <a:pt x="34" y="73"/>
                  <a:pt x="34" y="73"/>
                </a:cubicBezTo>
                <a:cubicBezTo>
                  <a:pt x="35" y="73"/>
                  <a:pt x="35" y="73"/>
                  <a:pt x="35" y="73"/>
                </a:cubicBezTo>
                <a:cubicBezTo>
                  <a:pt x="36" y="73"/>
                  <a:pt x="36" y="73"/>
                  <a:pt x="36" y="73"/>
                </a:cubicBezTo>
                <a:cubicBezTo>
                  <a:pt x="36" y="73"/>
                  <a:pt x="36" y="73"/>
                  <a:pt x="36" y="73"/>
                </a:cubicBezTo>
                <a:cubicBezTo>
                  <a:pt x="38" y="73"/>
                  <a:pt x="38" y="73"/>
                  <a:pt x="39" y="73"/>
                </a:cubicBezTo>
                <a:cubicBezTo>
                  <a:pt x="39" y="73"/>
                  <a:pt x="39" y="73"/>
                  <a:pt x="39" y="73"/>
                </a:cubicBezTo>
                <a:cubicBezTo>
                  <a:pt x="39" y="73"/>
                  <a:pt x="39" y="73"/>
                  <a:pt x="39" y="73"/>
                </a:cubicBezTo>
                <a:cubicBezTo>
                  <a:pt x="40" y="73"/>
                  <a:pt x="40" y="73"/>
                  <a:pt x="40" y="73"/>
                </a:cubicBezTo>
                <a:cubicBezTo>
                  <a:pt x="40" y="73"/>
                  <a:pt x="40" y="72"/>
                  <a:pt x="40" y="72"/>
                </a:cubicBezTo>
                <a:cubicBezTo>
                  <a:pt x="40" y="72"/>
                  <a:pt x="40" y="71"/>
                  <a:pt x="40" y="71"/>
                </a:cubicBezTo>
                <a:cubicBezTo>
                  <a:pt x="40" y="71"/>
                  <a:pt x="40" y="71"/>
                  <a:pt x="40" y="71"/>
                </a:cubicBezTo>
                <a:cubicBezTo>
                  <a:pt x="40" y="70"/>
                  <a:pt x="40" y="70"/>
                  <a:pt x="40" y="70"/>
                </a:cubicBezTo>
                <a:cubicBezTo>
                  <a:pt x="40" y="69"/>
                  <a:pt x="40" y="69"/>
                  <a:pt x="40" y="69"/>
                </a:cubicBezTo>
                <a:cubicBezTo>
                  <a:pt x="40" y="69"/>
                  <a:pt x="40" y="69"/>
                  <a:pt x="40" y="69"/>
                </a:cubicBezTo>
                <a:cubicBezTo>
                  <a:pt x="40" y="69"/>
                  <a:pt x="40" y="69"/>
                  <a:pt x="40" y="69"/>
                </a:cubicBezTo>
                <a:cubicBezTo>
                  <a:pt x="39" y="68"/>
                  <a:pt x="39" y="68"/>
                  <a:pt x="39" y="67"/>
                </a:cubicBezTo>
                <a:cubicBezTo>
                  <a:pt x="39" y="67"/>
                  <a:pt x="39" y="66"/>
                  <a:pt x="39" y="66"/>
                </a:cubicBezTo>
                <a:cubicBezTo>
                  <a:pt x="40" y="66"/>
                  <a:pt x="41" y="66"/>
                  <a:pt x="41" y="66"/>
                </a:cubicBezTo>
                <a:cubicBezTo>
                  <a:pt x="41" y="66"/>
                  <a:pt x="41" y="66"/>
                  <a:pt x="41" y="66"/>
                </a:cubicBezTo>
                <a:cubicBezTo>
                  <a:pt x="41" y="66"/>
                  <a:pt x="42" y="66"/>
                  <a:pt x="42" y="66"/>
                </a:cubicBezTo>
                <a:cubicBezTo>
                  <a:pt x="42" y="65"/>
                  <a:pt x="42" y="65"/>
                  <a:pt x="42" y="65"/>
                </a:cubicBezTo>
                <a:cubicBezTo>
                  <a:pt x="43" y="64"/>
                  <a:pt x="43" y="64"/>
                  <a:pt x="43" y="64"/>
                </a:cubicBezTo>
                <a:cubicBezTo>
                  <a:pt x="43" y="63"/>
                  <a:pt x="43" y="63"/>
                  <a:pt x="44" y="62"/>
                </a:cubicBezTo>
                <a:cubicBezTo>
                  <a:pt x="44" y="62"/>
                  <a:pt x="44" y="62"/>
                  <a:pt x="44" y="62"/>
                </a:cubicBezTo>
                <a:cubicBezTo>
                  <a:pt x="44" y="61"/>
                  <a:pt x="45" y="61"/>
                  <a:pt x="45" y="60"/>
                </a:cubicBezTo>
                <a:cubicBezTo>
                  <a:pt x="47" y="59"/>
                  <a:pt x="48" y="58"/>
                  <a:pt x="50" y="58"/>
                </a:cubicBezTo>
                <a:cubicBezTo>
                  <a:pt x="50" y="58"/>
                  <a:pt x="50" y="58"/>
                  <a:pt x="51" y="58"/>
                </a:cubicBezTo>
                <a:cubicBezTo>
                  <a:pt x="51" y="58"/>
                  <a:pt x="51" y="58"/>
                  <a:pt x="51" y="58"/>
                </a:cubicBezTo>
                <a:cubicBezTo>
                  <a:pt x="51" y="58"/>
                  <a:pt x="51" y="58"/>
                  <a:pt x="51" y="58"/>
                </a:cubicBezTo>
                <a:cubicBezTo>
                  <a:pt x="51" y="58"/>
                  <a:pt x="51" y="58"/>
                  <a:pt x="52" y="58"/>
                </a:cubicBezTo>
                <a:cubicBezTo>
                  <a:pt x="52" y="58"/>
                  <a:pt x="52" y="58"/>
                  <a:pt x="52" y="58"/>
                </a:cubicBezTo>
                <a:cubicBezTo>
                  <a:pt x="53" y="58"/>
                  <a:pt x="53" y="58"/>
                  <a:pt x="53" y="58"/>
                </a:cubicBezTo>
                <a:cubicBezTo>
                  <a:pt x="53" y="58"/>
                  <a:pt x="53" y="58"/>
                  <a:pt x="53" y="58"/>
                </a:cubicBezTo>
                <a:cubicBezTo>
                  <a:pt x="54" y="58"/>
                  <a:pt x="54" y="58"/>
                  <a:pt x="54" y="58"/>
                </a:cubicBezTo>
                <a:cubicBezTo>
                  <a:pt x="54" y="59"/>
                  <a:pt x="54" y="59"/>
                  <a:pt x="54" y="59"/>
                </a:cubicBezTo>
                <a:cubicBezTo>
                  <a:pt x="54" y="59"/>
                  <a:pt x="55" y="59"/>
                  <a:pt x="55" y="59"/>
                </a:cubicBezTo>
                <a:cubicBezTo>
                  <a:pt x="55" y="59"/>
                  <a:pt x="56" y="59"/>
                  <a:pt x="56" y="60"/>
                </a:cubicBezTo>
                <a:cubicBezTo>
                  <a:pt x="60" y="63"/>
                  <a:pt x="60" y="63"/>
                  <a:pt x="60" y="63"/>
                </a:cubicBezTo>
                <a:cubicBezTo>
                  <a:pt x="60" y="64"/>
                  <a:pt x="61" y="64"/>
                  <a:pt x="61" y="64"/>
                </a:cubicBezTo>
                <a:cubicBezTo>
                  <a:pt x="61" y="64"/>
                  <a:pt x="61" y="64"/>
                  <a:pt x="61" y="64"/>
                </a:cubicBezTo>
                <a:cubicBezTo>
                  <a:pt x="62" y="64"/>
                  <a:pt x="62" y="64"/>
                  <a:pt x="62" y="65"/>
                </a:cubicBezTo>
                <a:cubicBezTo>
                  <a:pt x="62" y="65"/>
                  <a:pt x="63" y="65"/>
                  <a:pt x="63" y="65"/>
                </a:cubicBezTo>
                <a:cubicBezTo>
                  <a:pt x="64" y="65"/>
                  <a:pt x="64" y="65"/>
                  <a:pt x="65" y="65"/>
                </a:cubicBezTo>
                <a:cubicBezTo>
                  <a:pt x="65" y="65"/>
                  <a:pt x="65" y="65"/>
                  <a:pt x="65" y="65"/>
                </a:cubicBezTo>
                <a:cubicBezTo>
                  <a:pt x="66" y="65"/>
                  <a:pt x="66" y="66"/>
                  <a:pt x="67" y="66"/>
                </a:cubicBezTo>
                <a:cubicBezTo>
                  <a:pt x="67" y="66"/>
                  <a:pt x="67" y="66"/>
                  <a:pt x="67" y="66"/>
                </a:cubicBezTo>
                <a:cubicBezTo>
                  <a:pt x="68" y="66"/>
                  <a:pt x="68" y="66"/>
                  <a:pt x="68" y="66"/>
                </a:cubicBezTo>
                <a:cubicBezTo>
                  <a:pt x="68" y="66"/>
                  <a:pt x="68" y="66"/>
                  <a:pt x="68" y="66"/>
                </a:cubicBezTo>
                <a:cubicBezTo>
                  <a:pt x="68" y="66"/>
                  <a:pt x="68" y="66"/>
                  <a:pt x="68" y="66"/>
                </a:cubicBezTo>
                <a:cubicBezTo>
                  <a:pt x="68" y="66"/>
                  <a:pt x="69" y="66"/>
                  <a:pt x="69" y="66"/>
                </a:cubicBezTo>
                <a:cubicBezTo>
                  <a:pt x="70" y="66"/>
                  <a:pt x="70" y="66"/>
                  <a:pt x="70" y="66"/>
                </a:cubicBezTo>
                <a:cubicBezTo>
                  <a:pt x="70" y="67"/>
                  <a:pt x="71" y="67"/>
                  <a:pt x="72" y="67"/>
                </a:cubicBezTo>
                <a:cubicBezTo>
                  <a:pt x="72" y="67"/>
                  <a:pt x="73" y="67"/>
                  <a:pt x="73" y="67"/>
                </a:cubicBezTo>
                <a:cubicBezTo>
                  <a:pt x="74" y="67"/>
                  <a:pt x="75" y="67"/>
                  <a:pt x="76" y="67"/>
                </a:cubicBezTo>
                <a:cubicBezTo>
                  <a:pt x="77" y="67"/>
                  <a:pt x="77" y="67"/>
                  <a:pt x="77" y="67"/>
                </a:cubicBezTo>
                <a:cubicBezTo>
                  <a:pt x="77" y="67"/>
                  <a:pt x="77" y="67"/>
                  <a:pt x="77" y="67"/>
                </a:cubicBezTo>
                <a:cubicBezTo>
                  <a:pt x="77" y="67"/>
                  <a:pt x="77" y="67"/>
                  <a:pt x="77" y="67"/>
                </a:cubicBezTo>
                <a:cubicBezTo>
                  <a:pt x="78" y="67"/>
                  <a:pt x="79" y="68"/>
                  <a:pt x="79" y="68"/>
                </a:cubicBezTo>
                <a:cubicBezTo>
                  <a:pt x="80" y="67"/>
                  <a:pt x="80" y="67"/>
                  <a:pt x="80" y="67"/>
                </a:cubicBezTo>
                <a:cubicBezTo>
                  <a:pt x="80" y="66"/>
                  <a:pt x="81" y="66"/>
                  <a:pt x="81" y="65"/>
                </a:cubicBezTo>
                <a:cubicBezTo>
                  <a:pt x="81" y="65"/>
                  <a:pt x="81" y="65"/>
                  <a:pt x="81" y="65"/>
                </a:cubicBezTo>
                <a:cubicBezTo>
                  <a:pt x="81" y="65"/>
                  <a:pt x="81" y="64"/>
                  <a:pt x="81" y="64"/>
                </a:cubicBezTo>
                <a:cubicBezTo>
                  <a:pt x="82" y="64"/>
                  <a:pt x="82" y="64"/>
                  <a:pt x="82" y="64"/>
                </a:cubicBezTo>
                <a:cubicBezTo>
                  <a:pt x="82" y="64"/>
                  <a:pt x="82" y="63"/>
                  <a:pt x="83" y="62"/>
                </a:cubicBezTo>
                <a:cubicBezTo>
                  <a:pt x="83" y="62"/>
                  <a:pt x="83" y="62"/>
                  <a:pt x="83" y="62"/>
                </a:cubicBezTo>
                <a:cubicBezTo>
                  <a:pt x="83" y="62"/>
                  <a:pt x="83" y="62"/>
                  <a:pt x="83" y="62"/>
                </a:cubicBezTo>
                <a:cubicBezTo>
                  <a:pt x="84" y="62"/>
                  <a:pt x="84" y="62"/>
                  <a:pt x="84" y="62"/>
                </a:cubicBezTo>
                <a:cubicBezTo>
                  <a:pt x="84" y="62"/>
                  <a:pt x="84" y="62"/>
                  <a:pt x="84" y="62"/>
                </a:cubicBezTo>
                <a:cubicBezTo>
                  <a:pt x="84" y="61"/>
                  <a:pt x="84" y="61"/>
                  <a:pt x="84" y="61"/>
                </a:cubicBezTo>
                <a:cubicBezTo>
                  <a:pt x="84" y="61"/>
                  <a:pt x="84" y="61"/>
                  <a:pt x="84" y="61"/>
                </a:cubicBezTo>
                <a:cubicBezTo>
                  <a:pt x="84" y="61"/>
                  <a:pt x="84" y="61"/>
                  <a:pt x="85" y="61"/>
                </a:cubicBezTo>
                <a:cubicBezTo>
                  <a:pt x="85" y="61"/>
                  <a:pt x="85" y="61"/>
                  <a:pt x="85" y="61"/>
                </a:cubicBezTo>
                <a:cubicBezTo>
                  <a:pt x="85" y="61"/>
                  <a:pt x="85" y="61"/>
                  <a:pt x="85" y="61"/>
                </a:cubicBezTo>
                <a:cubicBezTo>
                  <a:pt x="85" y="61"/>
                  <a:pt x="86" y="61"/>
                  <a:pt x="86" y="61"/>
                </a:cubicBezTo>
                <a:cubicBezTo>
                  <a:pt x="86" y="61"/>
                  <a:pt x="87" y="62"/>
                  <a:pt x="88" y="62"/>
                </a:cubicBezTo>
                <a:cubicBezTo>
                  <a:pt x="88" y="63"/>
                  <a:pt x="89" y="63"/>
                  <a:pt x="89" y="63"/>
                </a:cubicBezTo>
                <a:cubicBezTo>
                  <a:pt x="90" y="63"/>
                  <a:pt x="91" y="63"/>
                  <a:pt x="92" y="62"/>
                </a:cubicBezTo>
                <a:cubicBezTo>
                  <a:pt x="92" y="62"/>
                  <a:pt x="92" y="62"/>
                  <a:pt x="93" y="62"/>
                </a:cubicBezTo>
                <a:cubicBezTo>
                  <a:pt x="98" y="59"/>
                  <a:pt x="98" y="59"/>
                  <a:pt x="98" y="59"/>
                </a:cubicBezTo>
                <a:cubicBezTo>
                  <a:pt x="98" y="59"/>
                  <a:pt x="98" y="59"/>
                  <a:pt x="99" y="59"/>
                </a:cubicBezTo>
                <a:cubicBezTo>
                  <a:pt x="99" y="59"/>
                  <a:pt x="99" y="59"/>
                  <a:pt x="99" y="59"/>
                </a:cubicBezTo>
                <a:cubicBezTo>
                  <a:pt x="99" y="59"/>
                  <a:pt x="100" y="59"/>
                  <a:pt x="100" y="58"/>
                </a:cubicBezTo>
                <a:cubicBezTo>
                  <a:pt x="100" y="58"/>
                  <a:pt x="100" y="58"/>
                  <a:pt x="100" y="58"/>
                </a:cubicBezTo>
                <a:cubicBezTo>
                  <a:pt x="100" y="58"/>
                  <a:pt x="101" y="58"/>
                  <a:pt x="101" y="58"/>
                </a:cubicBezTo>
                <a:cubicBezTo>
                  <a:pt x="101" y="58"/>
                  <a:pt x="101" y="58"/>
                  <a:pt x="101" y="58"/>
                </a:cubicBezTo>
                <a:cubicBezTo>
                  <a:pt x="101" y="58"/>
                  <a:pt x="101" y="58"/>
                  <a:pt x="101" y="58"/>
                </a:cubicBezTo>
                <a:cubicBezTo>
                  <a:pt x="102" y="58"/>
                  <a:pt x="102" y="58"/>
                  <a:pt x="102" y="58"/>
                </a:cubicBezTo>
                <a:cubicBezTo>
                  <a:pt x="102" y="58"/>
                  <a:pt x="102" y="59"/>
                  <a:pt x="102" y="59"/>
                </a:cubicBezTo>
                <a:cubicBezTo>
                  <a:pt x="103" y="59"/>
                  <a:pt x="103" y="59"/>
                  <a:pt x="104" y="60"/>
                </a:cubicBezTo>
                <a:cubicBezTo>
                  <a:pt x="104" y="60"/>
                  <a:pt x="104" y="60"/>
                  <a:pt x="105" y="60"/>
                </a:cubicBezTo>
                <a:cubicBezTo>
                  <a:pt x="105" y="60"/>
                  <a:pt x="105" y="60"/>
                  <a:pt x="105" y="60"/>
                </a:cubicBezTo>
                <a:cubicBezTo>
                  <a:pt x="105" y="60"/>
                  <a:pt x="105" y="59"/>
                  <a:pt x="106" y="59"/>
                </a:cubicBezTo>
                <a:cubicBezTo>
                  <a:pt x="106" y="59"/>
                  <a:pt x="106" y="59"/>
                  <a:pt x="107" y="59"/>
                </a:cubicBezTo>
                <a:cubicBezTo>
                  <a:pt x="107" y="59"/>
                  <a:pt x="108" y="59"/>
                  <a:pt x="108" y="59"/>
                </a:cubicBezTo>
                <a:cubicBezTo>
                  <a:pt x="108" y="58"/>
                  <a:pt x="108" y="58"/>
                  <a:pt x="109" y="57"/>
                </a:cubicBezTo>
                <a:cubicBezTo>
                  <a:pt x="109" y="56"/>
                  <a:pt x="109" y="56"/>
                  <a:pt x="110" y="56"/>
                </a:cubicBezTo>
                <a:cubicBezTo>
                  <a:pt x="110" y="56"/>
                  <a:pt x="110" y="56"/>
                  <a:pt x="110" y="56"/>
                </a:cubicBezTo>
                <a:cubicBezTo>
                  <a:pt x="110" y="56"/>
                  <a:pt x="111" y="55"/>
                  <a:pt x="111" y="55"/>
                </a:cubicBezTo>
                <a:cubicBezTo>
                  <a:pt x="111" y="55"/>
                  <a:pt x="111" y="55"/>
                  <a:pt x="111" y="55"/>
                </a:cubicBezTo>
                <a:cubicBezTo>
                  <a:pt x="111" y="55"/>
                  <a:pt x="112" y="55"/>
                  <a:pt x="112" y="55"/>
                </a:cubicBezTo>
                <a:cubicBezTo>
                  <a:pt x="112" y="55"/>
                  <a:pt x="112" y="55"/>
                  <a:pt x="112" y="55"/>
                </a:cubicBezTo>
                <a:cubicBezTo>
                  <a:pt x="113" y="55"/>
                  <a:pt x="113" y="56"/>
                  <a:pt x="113" y="56"/>
                </a:cubicBezTo>
                <a:cubicBezTo>
                  <a:pt x="114" y="56"/>
                  <a:pt x="114" y="56"/>
                  <a:pt x="114" y="56"/>
                </a:cubicBezTo>
                <a:cubicBezTo>
                  <a:pt x="115" y="57"/>
                  <a:pt x="115" y="57"/>
                  <a:pt x="115" y="57"/>
                </a:cubicBezTo>
                <a:cubicBezTo>
                  <a:pt x="115" y="57"/>
                  <a:pt x="115" y="57"/>
                  <a:pt x="115" y="57"/>
                </a:cubicBezTo>
                <a:cubicBezTo>
                  <a:pt x="115" y="57"/>
                  <a:pt x="115" y="57"/>
                  <a:pt x="116" y="57"/>
                </a:cubicBezTo>
                <a:cubicBezTo>
                  <a:pt x="116" y="57"/>
                  <a:pt x="116" y="57"/>
                  <a:pt x="116" y="57"/>
                </a:cubicBezTo>
                <a:cubicBezTo>
                  <a:pt x="116" y="57"/>
                  <a:pt x="116" y="57"/>
                  <a:pt x="116" y="57"/>
                </a:cubicBezTo>
                <a:cubicBezTo>
                  <a:pt x="117" y="57"/>
                  <a:pt x="118" y="57"/>
                  <a:pt x="119" y="57"/>
                </a:cubicBezTo>
                <a:cubicBezTo>
                  <a:pt x="119" y="57"/>
                  <a:pt x="120" y="57"/>
                  <a:pt x="121" y="58"/>
                </a:cubicBezTo>
                <a:cubicBezTo>
                  <a:pt x="121" y="58"/>
                  <a:pt x="121" y="58"/>
                  <a:pt x="122" y="58"/>
                </a:cubicBezTo>
                <a:cubicBezTo>
                  <a:pt x="122" y="58"/>
                  <a:pt x="122" y="58"/>
                  <a:pt x="122" y="58"/>
                </a:cubicBezTo>
                <a:cubicBezTo>
                  <a:pt x="122" y="58"/>
                  <a:pt x="122" y="58"/>
                  <a:pt x="122" y="58"/>
                </a:cubicBezTo>
                <a:cubicBezTo>
                  <a:pt x="122" y="59"/>
                  <a:pt x="122" y="59"/>
                  <a:pt x="122" y="59"/>
                </a:cubicBezTo>
                <a:cubicBezTo>
                  <a:pt x="122" y="58"/>
                  <a:pt x="122" y="58"/>
                  <a:pt x="122" y="58"/>
                </a:cubicBezTo>
                <a:cubicBezTo>
                  <a:pt x="122" y="58"/>
                  <a:pt x="122" y="58"/>
                  <a:pt x="122" y="58"/>
                </a:cubicBezTo>
                <a:cubicBezTo>
                  <a:pt x="122" y="58"/>
                  <a:pt x="123" y="58"/>
                  <a:pt x="123" y="58"/>
                </a:cubicBezTo>
                <a:cubicBezTo>
                  <a:pt x="123" y="58"/>
                  <a:pt x="123" y="58"/>
                  <a:pt x="124" y="58"/>
                </a:cubicBezTo>
                <a:cubicBezTo>
                  <a:pt x="124" y="58"/>
                  <a:pt x="124" y="58"/>
                  <a:pt x="124" y="58"/>
                </a:cubicBezTo>
                <a:cubicBezTo>
                  <a:pt x="124" y="58"/>
                  <a:pt x="124" y="58"/>
                  <a:pt x="124" y="58"/>
                </a:cubicBezTo>
                <a:cubicBezTo>
                  <a:pt x="126" y="57"/>
                  <a:pt x="127" y="57"/>
                  <a:pt x="128" y="57"/>
                </a:cubicBezTo>
                <a:cubicBezTo>
                  <a:pt x="129" y="57"/>
                  <a:pt x="129" y="57"/>
                  <a:pt x="129" y="57"/>
                </a:cubicBezTo>
                <a:cubicBezTo>
                  <a:pt x="129" y="57"/>
                  <a:pt x="129" y="57"/>
                  <a:pt x="128" y="56"/>
                </a:cubicBezTo>
                <a:cubicBezTo>
                  <a:pt x="128" y="56"/>
                  <a:pt x="128" y="56"/>
                  <a:pt x="128" y="55"/>
                </a:cubicBezTo>
                <a:cubicBezTo>
                  <a:pt x="128" y="55"/>
                  <a:pt x="128" y="55"/>
                  <a:pt x="128" y="55"/>
                </a:cubicBezTo>
                <a:cubicBezTo>
                  <a:pt x="128" y="54"/>
                  <a:pt x="126" y="53"/>
                  <a:pt x="126" y="53"/>
                </a:cubicBezTo>
                <a:cubicBezTo>
                  <a:pt x="125" y="52"/>
                  <a:pt x="124" y="51"/>
                  <a:pt x="123" y="51"/>
                </a:cubicBezTo>
                <a:cubicBezTo>
                  <a:pt x="122" y="51"/>
                  <a:pt x="122" y="51"/>
                  <a:pt x="122" y="51"/>
                </a:cubicBezTo>
                <a:cubicBezTo>
                  <a:pt x="122" y="51"/>
                  <a:pt x="121" y="50"/>
                  <a:pt x="120" y="50"/>
                </a:cubicBezTo>
                <a:cubicBezTo>
                  <a:pt x="120" y="50"/>
                  <a:pt x="120" y="50"/>
                  <a:pt x="120" y="50"/>
                </a:cubicBezTo>
                <a:cubicBezTo>
                  <a:pt x="120" y="50"/>
                  <a:pt x="120" y="50"/>
                  <a:pt x="120" y="50"/>
                </a:cubicBezTo>
                <a:cubicBezTo>
                  <a:pt x="120" y="50"/>
                  <a:pt x="120" y="50"/>
                  <a:pt x="120" y="49"/>
                </a:cubicBezTo>
                <a:cubicBezTo>
                  <a:pt x="120" y="49"/>
                  <a:pt x="119" y="49"/>
                  <a:pt x="119" y="48"/>
                </a:cubicBezTo>
                <a:cubicBezTo>
                  <a:pt x="119" y="48"/>
                  <a:pt x="119" y="48"/>
                  <a:pt x="119" y="48"/>
                </a:cubicBezTo>
                <a:cubicBezTo>
                  <a:pt x="119" y="48"/>
                  <a:pt x="119" y="47"/>
                  <a:pt x="119" y="47"/>
                </a:cubicBezTo>
                <a:cubicBezTo>
                  <a:pt x="118" y="46"/>
                  <a:pt x="118" y="46"/>
                  <a:pt x="118" y="45"/>
                </a:cubicBezTo>
                <a:cubicBezTo>
                  <a:pt x="118" y="45"/>
                  <a:pt x="118" y="45"/>
                  <a:pt x="119" y="44"/>
                </a:cubicBezTo>
                <a:cubicBezTo>
                  <a:pt x="119" y="44"/>
                  <a:pt x="119" y="44"/>
                  <a:pt x="119" y="44"/>
                </a:cubicBezTo>
                <a:cubicBezTo>
                  <a:pt x="119" y="44"/>
                  <a:pt x="119" y="44"/>
                  <a:pt x="119" y="44"/>
                </a:cubicBezTo>
                <a:cubicBezTo>
                  <a:pt x="110" y="35"/>
                  <a:pt x="110" y="35"/>
                  <a:pt x="110" y="35"/>
                </a:cubicBezTo>
                <a:cubicBezTo>
                  <a:pt x="109" y="35"/>
                  <a:pt x="108" y="34"/>
                  <a:pt x="108" y="33"/>
                </a:cubicBezTo>
                <a:cubicBezTo>
                  <a:pt x="108" y="33"/>
                  <a:pt x="108" y="33"/>
                  <a:pt x="108" y="32"/>
                </a:cubicBezTo>
                <a:cubicBezTo>
                  <a:pt x="108" y="32"/>
                  <a:pt x="108" y="32"/>
                  <a:pt x="108" y="32"/>
                </a:cubicBezTo>
                <a:cubicBezTo>
                  <a:pt x="108" y="32"/>
                  <a:pt x="108" y="32"/>
                  <a:pt x="108" y="32"/>
                </a:cubicBezTo>
                <a:cubicBezTo>
                  <a:pt x="108" y="32"/>
                  <a:pt x="108" y="32"/>
                  <a:pt x="108" y="32"/>
                </a:cubicBezTo>
                <a:cubicBezTo>
                  <a:pt x="108" y="32"/>
                  <a:pt x="108" y="32"/>
                  <a:pt x="107" y="31"/>
                </a:cubicBezTo>
                <a:cubicBezTo>
                  <a:pt x="107" y="31"/>
                  <a:pt x="107" y="31"/>
                  <a:pt x="107" y="31"/>
                </a:cubicBezTo>
                <a:cubicBezTo>
                  <a:pt x="107" y="31"/>
                  <a:pt x="107" y="31"/>
                  <a:pt x="107" y="31"/>
                </a:cubicBezTo>
                <a:cubicBezTo>
                  <a:pt x="106" y="30"/>
                  <a:pt x="105" y="29"/>
                  <a:pt x="104" y="29"/>
                </a:cubicBezTo>
                <a:cubicBezTo>
                  <a:pt x="103" y="29"/>
                  <a:pt x="103" y="29"/>
                  <a:pt x="102" y="28"/>
                </a:cubicBezTo>
                <a:cubicBezTo>
                  <a:pt x="100" y="28"/>
                  <a:pt x="100" y="28"/>
                  <a:pt x="100" y="28"/>
                </a:cubicBezTo>
                <a:cubicBezTo>
                  <a:pt x="99" y="28"/>
                  <a:pt x="98" y="28"/>
                  <a:pt x="98" y="27"/>
                </a:cubicBezTo>
                <a:cubicBezTo>
                  <a:pt x="97" y="27"/>
                  <a:pt x="97" y="26"/>
                  <a:pt x="97" y="25"/>
                </a:cubicBezTo>
                <a:cubicBezTo>
                  <a:pt x="97" y="25"/>
                  <a:pt x="97" y="25"/>
                  <a:pt x="97" y="24"/>
                </a:cubicBezTo>
                <a:cubicBezTo>
                  <a:pt x="97" y="24"/>
                  <a:pt x="97" y="24"/>
                  <a:pt x="97" y="24"/>
                </a:cubicBezTo>
                <a:cubicBezTo>
                  <a:pt x="97" y="24"/>
                  <a:pt x="96" y="23"/>
                  <a:pt x="96" y="23"/>
                </a:cubicBezTo>
                <a:cubicBezTo>
                  <a:pt x="95" y="23"/>
                  <a:pt x="95" y="23"/>
                  <a:pt x="95" y="23"/>
                </a:cubicBezTo>
                <a:cubicBezTo>
                  <a:pt x="95" y="23"/>
                  <a:pt x="95" y="23"/>
                  <a:pt x="94" y="23"/>
                </a:cubicBezTo>
                <a:cubicBezTo>
                  <a:pt x="94" y="23"/>
                  <a:pt x="94" y="23"/>
                  <a:pt x="94" y="23"/>
                </a:cubicBezTo>
                <a:cubicBezTo>
                  <a:pt x="93" y="23"/>
                  <a:pt x="93" y="23"/>
                  <a:pt x="93" y="23"/>
                </a:cubicBezTo>
                <a:cubicBezTo>
                  <a:pt x="93" y="23"/>
                  <a:pt x="93" y="23"/>
                  <a:pt x="92" y="23"/>
                </a:cubicBezTo>
                <a:cubicBezTo>
                  <a:pt x="92" y="23"/>
                  <a:pt x="92" y="23"/>
                  <a:pt x="92" y="23"/>
                </a:cubicBezTo>
                <a:cubicBezTo>
                  <a:pt x="92" y="23"/>
                  <a:pt x="92" y="23"/>
                  <a:pt x="92" y="23"/>
                </a:cubicBezTo>
                <a:cubicBezTo>
                  <a:pt x="91" y="24"/>
                  <a:pt x="91" y="24"/>
                  <a:pt x="91" y="24"/>
                </a:cubicBezTo>
                <a:cubicBezTo>
                  <a:pt x="90" y="23"/>
                  <a:pt x="90" y="23"/>
                  <a:pt x="90" y="23"/>
                </a:cubicBezTo>
                <a:cubicBezTo>
                  <a:pt x="90" y="22"/>
                  <a:pt x="90" y="21"/>
                  <a:pt x="90" y="20"/>
                </a:cubicBezTo>
                <a:cubicBezTo>
                  <a:pt x="90" y="19"/>
                  <a:pt x="90" y="19"/>
                  <a:pt x="90" y="19"/>
                </a:cubicBezTo>
                <a:cubicBezTo>
                  <a:pt x="89" y="18"/>
                  <a:pt x="89" y="18"/>
                  <a:pt x="90" y="17"/>
                </a:cubicBezTo>
                <a:cubicBezTo>
                  <a:pt x="91" y="16"/>
                  <a:pt x="91" y="16"/>
                  <a:pt x="91" y="16"/>
                </a:cubicBezTo>
                <a:cubicBezTo>
                  <a:pt x="91" y="16"/>
                  <a:pt x="91" y="16"/>
                  <a:pt x="91" y="16"/>
                </a:cubicBezTo>
                <a:cubicBezTo>
                  <a:pt x="91" y="16"/>
                  <a:pt x="91" y="16"/>
                  <a:pt x="91" y="16"/>
                </a:cubicBezTo>
                <a:cubicBezTo>
                  <a:pt x="91" y="15"/>
                  <a:pt x="91" y="15"/>
                  <a:pt x="91" y="15"/>
                </a:cubicBezTo>
                <a:cubicBezTo>
                  <a:pt x="91" y="14"/>
                  <a:pt x="91" y="14"/>
                  <a:pt x="91" y="13"/>
                </a:cubicBezTo>
                <a:cubicBezTo>
                  <a:pt x="91" y="13"/>
                  <a:pt x="91" y="13"/>
                  <a:pt x="91" y="13"/>
                </a:cubicBezTo>
                <a:cubicBezTo>
                  <a:pt x="92" y="13"/>
                  <a:pt x="92" y="12"/>
                  <a:pt x="92" y="12"/>
                </a:cubicBezTo>
                <a:cubicBezTo>
                  <a:pt x="92" y="11"/>
                  <a:pt x="90" y="9"/>
                  <a:pt x="90" y="8"/>
                </a:cubicBezTo>
                <a:cubicBezTo>
                  <a:pt x="89" y="8"/>
                  <a:pt x="89" y="7"/>
                  <a:pt x="88" y="6"/>
                </a:cubicBezTo>
                <a:cubicBezTo>
                  <a:pt x="88" y="6"/>
                  <a:pt x="88" y="6"/>
                  <a:pt x="88" y="6"/>
                </a:cubicBezTo>
                <a:cubicBezTo>
                  <a:pt x="87" y="5"/>
                  <a:pt x="87" y="4"/>
                  <a:pt x="86" y="4"/>
                </a:cubicBezTo>
                <a:cubicBezTo>
                  <a:pt x="84" y="0"/>
                  <a:pt x="84" y="0"/>
                  <a:pt x="84" y="0"/>
                </a:cubicBezTo>
                <a:cubicBezTo>
                  <a:pt x="83" y="0"/>
                  <a:pt x="83" y="0"/>
                  <a:pt x="83" y="0"/>
                </a:cubicBezTo>
                <a:cubicBezTo>
                  <a:pt x="82" y="0"/>
                  <a:pt x="82" y="0"/>
                  <a:pt x="82" y="0"/>
                </a:cubicBezTo>
                <a:cubicBezTo>
                  <a:pt x="81" y="0"/>
                  <a:pt x="80" y="0"/>
                  <a:pt x="80" y="0"/>
                </a:cubicBezTo>
                <a:cubicBezTo>
                  <a:pt x="80" y="0"/>
                  <a:pt x="80" y="0"/>
                  <a:pt x="80" y="0"/>
                </a:cubicBezTo>
                <a:cubicBezTo>
                  <a:pt x="79" y="0"/>
                  <a:pt x="79" y="1"/>
                  <a:pt x="78" y="1"/>
                </a:cubicBezTo>
                <a:cubicBezTo>
                  <a:pt x="77" y="1"/>
                  <a:pt x="75" y="2"/>
                  <a:pt x="74" y="3"/>
                </a:cubicBezTo>
                <a:cubicBezTo>
                  <a:pt x="74" y="3"/>
                  <a:pt x="74" y="3"/>
                  <a:pt x="74" y="3"/>
                </a:cubicBezTo>
                <a:cubicBezTo>
                  <a:pt x="74" y="3"/>
                  <a:pt x="74" y="3"/>
                  <a:pt x="74" y="3"/>
                </a:cubicBezTo>
                <a:cubicBezTo>
                  <a:pt x="74" y="3"/>
                  <a:pt x="74" y="3"/>
                  <a:pt x="74" y="3"/>
                </a:cubicBezTo>
                <a:cubicBezTo>
                  <a:pt x="74" y="4"/>
                  <a:pt x="74" y="5"/>
                  <a:pt x="74" y="5"/>
                </a:cubicBezTo>
                <a:cubicBezTo>
                  <a:pt x="67" y="13"/>
                  <a:pt x="67" y="13"/>
                  <a:pt x="67" y="13"/>
                </a:cubicBezTo>
                <a:cubicBezTo>
                  <a:pt x="65" y="15"/>
                  <a:pt x="63" y="17"/>
                  <a:pt x="61" y="18"/>
                </a:cubicBezTo>
                <a:cubicBezTo>
                  <a:pt x="60" y="19"/>
                  <a:pt x="59" y="19"/>
                  <a:pt x="58" y="19"/>
                </a:cubicBezTo>
                <a:cubicBezTo>
                  <a:pt x="57" y="20"/>
                  <a:pt x="55" y="20"/>
                  <a:pt x="54" y="20"/>
                </a:cubicBezTo>
                <a:cubicBezTo>
                  <a:pt x="53" y="20"/>
                  <a:pt x="53" y="20"/>
                  <a:pt x="53" y="20"/>
                </a:cubicBezTo>
                <a:cubicBezTo>
                  <a:pt x="52" y="20"/>
                  <a:pt x="49" y="20"/>
                  <a:pt x="47" y="20"/>
                </a:cubicBezTo>
                <a:cubicBezTo>
                  <a:pt x="47" y="22"/>
                  <a:pt x="47" y="22"/>
                  <a:pt x="47" y="22"/>
                </a:cubicBezTo>
                <a:cubicBezTo>
                  <a:pt x="46" y="20"/>
                  <a:pt x="46" y="20"/>
                  <a:pt x="46" y="20"/>
                </a:cubicBezTo>
                <a:cubicBezTo>
                  <a:pt x="46" y="21"/>
                  <a:pt x="46" y="21"/>
                  <a:pt x="46" y="21"/>
                </a:cubicBezTo>
                <a:cubicBezTo>
                  <a:pt x="46" y="21"/>
                  <a:pt x="46" y="21"/>
                  <a:pt x="46" y="21"/>
                </a:cubicBezTo>
                <a:cubicBezTo>
                  <a:pt x="46" y="21"/>
                  <a:pt x="46" y="21"/>
                  <a:pt x="46" y="21"/>
                </a:cubicBezTo>
                <a:cubicBezTo>
                  <a:pt x="46" y="21"/>
                  <a:pt x="47" y="22"/>
                  <a:pt x="47" y="23"/>
                </a:cubicBezTo>
                <a:cubicBezTo>
                  <a:pt x="47" y="23"/>
                  <a:pt x="47" y="24"/>
                  <a:pt x="47" y="24"/>
                </a:cubicBezTo>
                <a:cubicBezTo>
                  <a:pt x="47" y="24"/>
                  <a:pt x="46" y="24"/>
                  <a:pt x="46" y="25"/>
                </a:cubicBezTo>
                <a:cubicBezTo>
                  <a:pt x="46" y="25"/>
                  <a:pt x="46" y="25"/>
                  <a:pt x="45" y="26"/>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96" name="Freeform 3053">
            <a:extLst>
              <a:ext uri="{FF2B5EF4-FFF2-40B4-BE49-F238E27FC236}">
                <a16:creationId xmlns:a16="http://schemas.microsoft.com/office/drawing/2014/main" id="{C56DD98D-1F54-43EC-AE92-E0EF25331525}"/>
              </a:ext>
            </a:extLst>
          </p:cNvPr>
          <p:cNvSpPr>
            <a:spLocks/>
          </p:cNvSpPr>
          <p:nvPr/>
        </p:nvSpPr>
        <p:spPr bwMode="auto">
          <a:xfrm>
            <a:off x="3475282" y="3708129"/>
            <a:ext cx="87714" cy="121093"/>
          </a:xfrm>
          <a:custGeom>
            <a:avLst/>
            <a:gdLst>
              <a:gd name="T0" fmla="*/ 11 w 75"/>
              <a:gd name="T1" fmla="*/ 83 h 86"/>
              <a:gd name="T2" fmla="*/ 15 w 75"/>
              <a:gd name="T3" fmla="*/ 80 h 86"/>
              <a:gd name="T4" fmla="*/ 20 w 75"/>
              <a:gd name="T5" fmla="*/ 83 h 86"/>
              <a:gd name="T6" fmla="*/ 22 w 75"/>
              <a:gd name="T7" fmla="*/ 84 h 86"/>
              <a:gd name="T8" fmla="*/ 24 w 75"/>
              <a:gd name="T9" fmla="*/ 82 h 86"/>
              <a:gd name="T10" fmla="*/ 26 w 75"/>
              <a:gd name="T11" fmla="*/ 81 h 86"/>
              <a:gd name="T12" fmla="*/ 30 w 75"/>
              <a:gd name="T13" fmla="*/ 80 h 86"/>
              <a:gd name="T14" fmla="*/ 33 w 75"/>
              <a:gd name="T15" fmla="*/ 82 h 86"/>
              <a:gd name="T16" fmla="*/ 34 w 75"/>
              <a:gd name="T17" fmla="*/ 85 h 86"/>
              <a:gd name="T18" fmla="*/ 41 w 75"/>
              <a:gd name="T19" fmla="*/ 79 h 86"/>
              <a:gd name="T20" fmla="*/ 49 w 75"/>
              <a:gd name="T21" fmla="*/ 71 h 86"/>
              <a:gd name="T22" fmla="*/ 49 w 75"/>
              <a:gd name="T23" fmla="*/ 69 h 86"/>
              <a:gd name="T24" fmla="*/ 48 w 75"/>
              <a:gd name="T25" fmla="*/ 68 h 86"/>
              <a:gd name="T26" fmla="*/ 49 w 75"/>
              <a:gd name="T27" fmla="*/ 62 h 86"/>
              <a:gd name="T28" fmla="*/ 50 w 75"/>
              <a:gd name="T29" fmla="*/ 57 h 86"/>
              <a:gd name="T30" fmla="*/ 56 w 75"/>
              <a:gd name="T31" fmla="*/ 48 h 86"/>
              <a:gd name="T32" fmla="*/ 61 w 75"/>
              <a:gd name="T33" fmla="*/ 45 h 86"/>
              <a:gd name="T34" fmla="*/ 67 w 75"/>
              <a:gd name="T35" fmla="*/ 33 h 86"/>
              <a:gd name="T36" fmla="*/ 66 w 75"/>
              <a:gd name="T37" fmla="*/ 28 h 86"/>
              <a:gd name="T38" fmla="*/ 68 w 75"/>
              <a:gd name="T39" fmla="*/ 20 h 86"/>
              <a:gd name="T40" fmla="*/ 70 w 75"/>
              <a:gd name="T41" fmla="*/ 11 h 86"/>
              <a:gd name="T42" fmla="*/ 70 w 75"/>
              <a:gd name="T43" fmla="*/ 10 h 86"/>
              <a:gd name="T44" fmla="*/ 68 w 75"/>
              <a:gd name="T45" fmla="*/ 0 h 86"/>
              <a:gd name="T46" fmla="*/ 58 w 75"/>
              <a:gd name="T47" fmla="*/ 1 h 86"/>
              <a:gd name="T48" fmla="*/ 55 w 75"/>
              <a:gd name="T49" fmla="*/ 3 h 86"/>
              <a:gd name="T50" fmla="*/ 54 w 75"/>
              <a:gd name="T51" fmla="*/ 8 h 86"/>
              <a:gd name="T52" fmla="*/ 50 w 75"/>
              <a:gd name="T53" fmla="*/ 17 h 86"/>
              <a:gd name="T54" fmla="*/ 48 w 75"/>
              <a:gd name="T55" fmla="*/ 20 h 86"/>
              <a:gd name="T56" fmla="*/ 44 w 75"/>
              <a:gd name="T57" fmla="*/ 18 h 86"/>
              <a:gd name="T58" fmla="*/ 40 w 75"/>
              <a:gd name="T59" fmla="*/ 17 h 86"/>
              <a:gd name="T60" fmla="*/ 34 w 75"/>
              <a:gd name="T61" fmla="*/ 15 h 86"/>
              <a:gd name="T62" fmla="*/ 22 w 75"/>
              <a:gd name="T63" fmla="*/ 16 h 86"/>
              <a:gd name="T64" fmla="*/ 21 w 75"/>
              <a:gd name="T65" fmla="*/ 18 h 86"/>
              <a:gd name="T66" fmla="*/ 25 w 75"/>
              <a:gd name="T67" fmla="*/ 21 h 86"/>
              <a:gd name="T68" fmla="*/ 27 w 75"/>
              <a:gd name="T69" fmla="*/ 21 h 86"/>
              <a:gd name="T70" fmla="*/ 29 w 75"/>
              <a:gd name="T71" fmla="*/ 21 h 86"/>
              <a:gd name="T72" fmla="*/ 33 w 75"/>
              <a:gd name="T73" fmla="*/ 29 h 86"/>
              <a:gd name="T74" fmla="*/ 29 w 75"/>
              <a:gd name="T75" fmla="*/ 35 h 86"/>
              <a:gd name="T76" fmla="*/ 28 w 75"/>
              <a:gd name="T77" fmla="*/ 38 h 86"/>
              <a:gd name="T78" fmla="*/ 34 w 75"/>
              <a:gd name="T79" fmla="*/ 45 h 86"/>
              <a:gd name="T80" fmla="*/ 34 w 75"/>
              <a:gd name="T81" fmla="*/ 48 h 86"/>
              <a:gd name="T82" fmla="*/ 34 w 75"/>
              <a:gd name="T83" fmla="*/ 51 h 86"/>
              <a:gd name="T84" fmla="*/ 32 w 75"/>
              <a:gd name="T85" fmla="*/ 58 h 86"/>
              <a:gd name="T86" fmla="*/ 25 w 75"/>
              <a:gd name="T87" fmla="*/ 62 h 86"/>
              <a:gd name="T88" fmla="*/ 25 w 75"/>
              <a:gd name="T89" fmla="*/ 61 h 86"/>
              <a:gd name="T90" fmla="*/ 18 w 75"/>
              <a:gd name="T91" fmla="*/ 62 h 86"/>
              <a:gd name="T92" fmla="*/ 15 w 75"/>
              <a:gd name="T93" fmla="*/ 57 h 86"/>
              <a:gd name="T94" fmla="*/ 13 w 75"/>
              <a:gd name="T95" fmla="*/ 57 h 86"/>
              <a:gd name="T96" fmla="*/ 8 w 75"/>
              <a:gd name="T97" fmla="*/ 62 h 86"/>
              <a:gd name="T98" fmla="*/ 7 w 75"/>
              <a:gd name="T99" fmla="*/ 62 h 86"/>
              <a:gd name="T100" fmla="*/ 5 w 75"/>
              <a:gd name="T101" fmla="*/ 64 h 86"/>
              <a:gd name="T102" fmla="*/ 6 w 75"/>
              <a:gd name="T103" fmla="*/ 66 h 86"/>
              <a:gd name="T104" fmla="*/ 6 w 75"/>
              <a:gd name="T105" fmla="*/ 68 h 86"/>
              <a:gd name="T106" fmla="*/ 8 w 75"/>
              <a:gd name="T107" fmla="*/ 71 h 86"/>
              <a:gd name="T108" fmla="*/ 8 w 75"/>
              <a:gd name="T109" fmla="*/ 72 h 86"/>
              <a:gd name="T110" fmla="*/ 8 w 75"/>
              <a:gd name="T111" fmla="*/ 74 h 86"/>
              <a:gd name="T112" fmla="*/ 4 w 75"/>
              <a:gd name="T113" fmla="*/ 74 h 86"/>
              <a:gd name="T114" fmla="*/ 2 w 75"/>
              <a:gd name="T115" fmla="*/ 74 h 86"/>
              <a:gd name="T116" fmla="*/ 0 w 75"/>
              <a:gd name="T117" fmla="*/ 77 h 86"/>
              <a:gd name="T118" fmla="*/ 8 w 75"/>
              <a:gd name="T119"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 h="86">
                <a:moveTo>
                  <a:pt x="8" y="86"/>
                </a:moveTo>
                <a:cubicBezTo>
                  <a:pt x="8" y="86"/>
                  <a:pt x="9" y="85"/>
                  <a:pt x="9" y="85"/>
                </a:cubicBezTo>
                <a:cubicBezTo>
                  <a:pt x="9" y="84"/>
                  <a:pt x="9" y="84"/>
                  <a:pt x="9" y="84"/>
                </a:cubicBezTo>
                <a:cubicBezTo>
                  <a:pt x="10" y="84"/>
                  <a:pt x="11" y="83"/>
                  <a:pt x="11" y="83"/>
                </a:cubicBezTo>
                <a:cubicBezTo>
                  <a:pt x="12" y="83"/>
                  <a:pt x="12" y="83"/>
                  <a:pt x="12" y="83"/>
                </a:cubicBezTo>
                <a:cubicBezTo>
                  <a:pt x="12" y="82"/>
                  <a:pt x="13" y="82"/>
                  <a:pt x="14" y="81"/>
                </a:cubicBezTo>
                <a:cubicBezTo>
                  <a:pt x="13" y="79"/>
                  <a:pt x="13" y="79"/>
                  <a:pt x="13" y="79"/>
                </a:cubicBezTo>
                <a:cubicBezTo>
                  <a:pt x="15" y="80"/>
                  <a:pt x="15" y="80"/>
                  <a:pt x="15" y="80"/>
                </a:cubicBezTo>
                <a:cubicBezTo>
                  <a:pt x="15" y="79"/>
                  <a:pt x="15" y="79"/>
                  <a:pt x="15" y="79"/>
                </a:cubicBezTo>
                <a:cubicBezTo>
                  <a:pt x="17" y="81"/>
                  <a:pt x="17" y="81"/>
                  <a:pt x="17" y="81"/>
                </a:cubicBezTo>
                <a:cubicBezTo>
                  <a:pt x="18" y="82"/>
                  <a:pt x="18" y="82"/>
                  <a:pt x="19" y="82"/>
                </a:cubicBezTo>
                <a:cubicBezTo>
                  <a:pt x="20" y="83"/>
                  <a:pt x="20" y="83"/>
                  <a:pt x="20" y="83"/>
                </a:cubicBezTo>
                <a:cubicBezTo>
                  <a:pt x="21" y="84"/>
                  <a:pt x="21" y="84"/>
                  <a:pt x="21" y="84"/>
                </a:cubicBezTo>
                <a:cubicBezTo>
                  <a:pt x="21" y="84"/>
                  <a:pt x="21" y="84"/>
                  <a:pt x="21" y="84"/>
                </a:cubicBezTo>
                <a:cubicBezTo>
                  <a:pt x="21" y="84"/>
                  <a:pt x="21" y="84"/>
                  <a:pt x="21" y="84"/>
                </a:cubicBezTo>
                <a:cubicBezTo>
                  <a:pt x="21" y="84"/>
                  <a:pt x="21" y="84"/>
                  <a:pt x="22" y="84"/>
                </a:cubicBezTo>
                <a:cubicBezTo>
                  <a:pt x="22" y="85"/>
                  <a:pt x="22" y="85"/>
                  <a:pt x="22" y="85"/>
                </a:cubicBezTo>
                <a:cubicBezTo>
                  <a:pt x="22" y="85"/>
                  <a:pt x="22" y="85"/>
                  <a:pt x="22" y="84"/>
                </a:cubicBezTo>
                <a:cubicBezTo>
                  <a:pt x="23" y="84"/>
                  <a:pt x="23" y="83"/>
                  <a:pt x="24" y="83"/>
                </a:cubicBezTo>
                <a:cubicBezTo>
                  <a:pt x="24" y="82"/>
                  <a:pt x="24" y="82"/>
                  <a:pt x="24" y="82"/>
                </a:cubicBezTo>
                <a:cubicBezTo>
                  <a:pt x="24" y="82"/>
                  <a:pt x="24" y="82"/>
                  <a:pt x="24" y="82"/>
                </a:cubicBezTo>
                <a:cubicBezTo>
                  <a:pt x="24" y="81"/>
                  <a:pt x="24" y="81"/>
                  <a:pt x="24" y="81"/>
                </a:cubicBezTo>
                <a:cubicBezTo>
                  <a:pt x="25" y="81"/>
                  <a:pt x="25" y="81"/>
                  <a:pt x="25" y="81"/>
                </a:cubicBezTo>
                <a:cubicBezTo>
                  <a:pt x="25" y="81"/>
                  <a:pt x="26" y="81"/>
                  <a:pt x="26" y="81"/>
                </a:cubicBezTo>
                <a:cubicBezTo>
                  <a:pt x="27" y="81"/>
                  <a:pt x="27" y="81"/>
                  <a:pt x="27" y="81"/>
                </a:cubicBezTo>
                <a:cubicBezTo>
                  <a:pt x="28" y="80"/>
                  <a:pt x="28" y="80"/>
                  <a:pt x="28" y="80"/>
                </a:cubicBezTo>
                <a:cubicBezTo>
                  <a:pt x="29" y="80"/>
                  <a:pt x="29" y="80"/>
                  <a:pt x="29" y="80"/>
                </a:cubicBezTo>
                <a:cubicBezTo>
                  <a:pt x="30" y="80"/>
                  <a:pt x="30" y="80"/>
                  <a:pt x="30" y="80"/>
                </a:cubicBezTo>
                <a:cubicBezTo>
                  <a:pt x="31" y="79"/>
                  <a:pt x="31" y="79"/>
                  <a:pt x="32" y="79"/>
                </a:cubicBezTo>
                <a:cubicBezTo>
                  <a:pt x="33" y="78"/>
                  <a:pt x="33" y="78"/>
                  <a:pt x="33" y="78"/>
                </a:cubicBezTo>
                <a:cubicBezTo>
                  <a:pt x="33" y="80"/>
                  <a:pt x="33" y="80"/>
                  <a:pt x="33" y="80"/>
                </a:cubicBezTo>
                <a:cubicBezTo>
                  <a:pt x="33" y="80"/>
                  <a:pt x="33" y="81"/>
                  <a:pt x="33" y="82"/>
                </a:cubicBezTo>
                <a:cubicBezTo>
                  <a:pt x="33" y="82"/>
                  <a:pt x="33" y="82"/>
                  <a:pt x="33" y="82"/>
                </a:cubicBezTo>
                <a:cubicBezTo>
                  <a:pt x="33" y="83"/>
                  <a:pt x="33" y="84"/>
                  <a:pt x="33" y="85"/>
                </a:cubicBezTo>
                <a:cubicBezTo>
                  <a:pt x="33" y="85"/>
                  <a:pt x="33" y="85"/>
                  <a:pt x="33" y="85"/>
                </a:cubicBezTo>
                <a:cubicBezTo>
                  <a:pt x="34" y="85"/>
                  <a:pt x="34" y="85"/>
                  <a:pt x="34" y="85"/>
                </a:cubicBezTo>
                <a:cubicBezTo>
                  <a:pt x="34" y="85"/>
                  <a:pt x="34" y="85"/>
                  <a:pt x="35" y="85"/>
                </a:cubicBezTo>
                <a:cubicBezTo>
                  <a:pt x="35" y="85"/>
                  <a:pt x="36" y="84"/>
                  <a:pt x="36" y="84"/>
                </a:cubicBezTo>
                <a:cubicBezTo>
                  <a:pt x="36" y="84"/>
                  <a:pt x="36" y="84"/>
                  <a:pt x="36" y="84"/>
                </a:cubicBezTo>
                <a:cubicBezTo>
                  <a:pt x="38" y="82"/>
                  <a:pt x="39" y="81"/>
                  <a:pt x="41" y="79"/>
                </a:cubicBezTo>
                <a:cubicBezTo>
                  <a:pt x="41" y="79"/>
                  <a:pt x="42" y="79"/>
                  <a:pt x="43" y="78"/>
                </a:cubicBezTo>
                <a:cubicBezTo>
                  <a:pt x="44" y="77"/>
                  <a:pt x="46" y="77"/>
                  <a:pt x="46" y="75"/>
                </a:cubicBezTo>
                <a:cubicBezTo>
                  <a:pt x="47" y="74"/>
                  <a:pt x="48" y="73"/>
                  <a:pt x="48" y="72"/>
                </a:cubicBezTo>
                <a:cubicBezTo>
                  <a:pt x="49" y="71"/>
                  <a:pt x="49" y="71"/>
                  <a:pt x="49" y="71"/>
                </a:cubicBezTo>
                <a:cubicBezTo>
                  <a:pt x="49" y="71"/>
                  <a:pt x="49" y="71"/>
                  <a:pt x="49" y="70"/>
                </a:cubicBezTo>
                <a:cubicBezTo>
                  <a:pt x="49" y="70"/>
                  <a:pt x="49" y="70"/>
                  <a:pt x="49" y="70"/>
                </a:cubicBezTo>
                <a:cubicBezTo>
                  <a:pt x="49" y="70"/>
                  <a:pt x="49" y="70"/>
                  <a:pt x="49" y="70"/>
                </a:cubicBezTo>
                <a:cubicBezTo>
                  <a:pt x="49" y="69"/>
                  <a:pt x="49" y="69"/>
                  <a:pt x="49" y="69"/>
                </a:cubicBezTo>
                <a:cubicBezTo>
                  <a:pt x="49" y="69"/>
                  <a:pt x="49" y="69"/>
                  <a:pt x="49" y="69"/>
                </a:cubicBezTo>
                <a:cubicBezTo>
                  <a:pt x="49" y="69"/>
                  <a:pt x="49" y="69"/>
                  <a:pt x="49" y="69"/>
                </a:cubicBezTo>
                <a:cubicBezTo>
                  <a:pt x="49" y="68"/>
                  <a:pt x="49" y="68"/>
                  <a:pt x="49" y="68"/>
                </a:cubicBezTo>
                <a:cubicBezTo>
                  <a:pt x="48" y="68"/>
                  <a:pt x="48" y="68"/>
                  <a:pt x="48" y="68"/>
                </a:cubicBezTo>
                <a:cubicBezTo>
                  <a:pt x="49" y="67"/>
                  <a:pt x="49" y="67"/>
                  <a:pt x="49" y="67"/>
                </a:cubicBezTo>
                <a:cubicBezTo>
                  <a:pt x="49" y="67"/>
                  <a:pt x="49" y="67"/>
                  <a:pt x="49" y="67"/>
                </a:cubicBezTo>
                <a:cubicBezTo>
                  <a:pt x="49" y="66"/>
                  <a:pt x="49" y="66"/>
                  <a:pt x="49" y="65"/>
                </a:cubicBezTo>
                <a:cubicBezTo>
                  <a:pt x="49" y="64"/>
                  <a:pt x="49" y="63"/>
                  <a:pt x="49" y="62"/>
                </a:cubicBezTo>
                <a:cubicBezTo>
                  <a:pt x="49" y="60"/>
                  <a:pt x="49" y="60"/>
                  <a:pt x="49" y="60"/>
                </a:cubicBezTo>
                <a:cubicBezTo>
                  <a:pt x="49" y="60"/>
                  <a:pt x="49" y="59"/>
                  <a:pt x="49" y="59"/>
                </a:cubicBezTo>
                <a:cubicBezTo>
                  <a:pt x="49" y="58"/>
                  <a:pt x="49" y="58"/>
                  <a:pt x="50" y="58"/>
                </a:cubicBezTo>
                <a:cubicBezTo>
                  <a:pt x="50" y="57"/>
                  <a:pt x="50" y="57"/>
                  <a:pt x="50" y="57"/>
                </a:cubicBezTo>
                <a:cubicBezTo>
                  <a:pt x="52" y="56"/>
                  <a:pt x="53" y="54"/>
                  <a:pt x="54" y="52"/>
                </a:cubicBezTo>
                <a:cubicBezTo>
                  <a:pt x="54" y="51"/>
                  <a:pt x="55" y="51"/>
                  <a:pt x="55" y="50"/>
                </a:cubicBezTo>
                <a:cubicBezTo>
                  <a:pt x="55" y="50"/>
                  <a:pt x="56" y="49"/>
                  <a:pt x="56" y="49"/>
                </a:cubicBezTo>
                <a:cubicBezTo>
                  <a:pt x="56" y="49"/>
                  <a:pt x="56" y="49"/>
                  <a:pt x="56" y="48"/>
                </a:cubicBezTo>
                <a:cubicBezTo>
                  <a:pt x="56" y="48"/>
                  <a:pt x="57" y="48"/>
                  <a:pt x="57" y="48"/>
                </a:cubicBezTo>
                <a:cubicBezTo>
                  <a:pt x="58" y="47"/>
                  <a:pt x="59" y="46"/>
                  <a:pt x="59" y="46"/>
                </a:cubicBezTo>
                <a:cubicBezTo>
                  <a:pt x="60" y="46"/>
                  <a:pt x="60" y="46"/>
                  <a:pt x="60" y="46"/>
                </a:cubicBezTo>
                <a:cubicBezTo>
                  <a:pt x="60" y="45"/>
                  <a:pt x="61" y="45"/>
                  <a:pt x="61" y="45"/>
                </a:cubicBezTo>
                <a:cubicBezTo>
                  <a:pt x="61" y="45"/>
                  <a:pt x="61" y="45"/>
                  <a:pt x="61" y="45"/>
                </a:cubicBezTo>
                <a:cubicBezTo>
                  <a:pt x="62" y="44"/>
                  <a:pt x="62" y="44"/>
                  <a:pt x="62" y="44"/>
                </a:cubicBezTo>
                <a:cubicBezTo>
                  <a:pt x="63" y="44"/>
                  <a:pt x="63" y="44"/>
                  <a:pt x="63" y="43"/>
                </a:cubicBezTo>
                <a:cubicBezTo>
                  <a:pt x="67" y="33"/>
                  <a:pt x="67" y="33"/>
                  <a:pt x="67" y="33"/>
                </a:cubicBezTo>
                <a:cubicBezTo>
                  <a:pt x="67" y="33"/>
                  <a:pt x="67" y="32"/>
                  <a:pt x="67" y="32"/>
                </a:cubicBezTo>
                <a:cubicBezTo>
                  <a:pt x="67" y="31"/>
                  <a:pt x="66" y="31"/>
                  <a:pt x="66" y="30"/>
                </a:cubicBezTo>
                <a:cubicBezTo>
                  <a:pt x="66" y="30"/>
                  <a:pt x="66" y="29"/>
                  <a:pt x="66" y="28"/>
                </a:cubicBezTo>
                <a:cubicBezTo>
                  <a:pt x="66" y="28"/>
                  <a:pt x="66" y="28"/>
                  <a:pt x="66" y="28"/>
                </a:cubicBezTo>
                <a:cubicBezTo>
                  <a:pt x="66" y="28"/>
                  <a:pt x="66" y="27"/>
                  <a:pt x="66" y="27"/>
                </a:cubicBezTo>
                <a:cubicBezTo>
                  <a:pt x="66" y="26"/>
                  <a:pt x="66" y="25"/>
                  <a:pt x="66" y="24"/>
                </a:cubicBezTo>
                <a:cubicBezTo>
                  <a:pt x="67" y="23"/>
                  <a:pt x="67" y="22"/>
                  <a:pt x="67" y="21"/>
                </a:cubicBezTo>
                <a:cubicBezTo>
                  <a:pt x="68" y="20"/>
                  <a:pt x="68" y="20"/>
                  <a:pt x="68" y="20"/>
                </a:cubicBezTo>
                <a:cubicBezTo>
                  <a:pt x="68" y="19"/>
                  <a:pt x="68" y="18"/>
                  <a:pt x="68" y="17"/>
                </a:cubicBezTo>
                <a:cubicBezTo>
                  <a:pt x="68" y="17"/>
                  <a:pt x="68" y="16"/>
                  <a:pt x="68" y="16"/>
                </a:cubicBezTo>
                <a:cubicBezTo>
                  <a:pt x="68" y="16"/>
                  <a:pt x="68" y="15"/>
                  <a:pt x="68" y="15"/>
                </a:cubicBezTo>
                <a:cubicBezTo>
                  <a:pt x="68" y="13"/>
                  <a:pt x="69" y="12"/>
                  <a:pt x="70" y="11"/>
                </a:cubicBezTo>
                <a:cubicBezTo>
                  <a:pt x="70" y="11"/>
                  <a:pt x="70" y="11"/>
                  <a:pt x="70" y="11"/>
                </a:cubicBezTo>
                <a:cubicBezTo>
                  <a:pt x="67" y="9"/>
                  <a:pt x="67" y="9"/>
                  <a:pt x="67" y="9"/>
                </a:cubicBezTo>
                <a:cubicBezTo>
                  <a:pt x="70" y="10"/>
                  <a:pt x="70" y="10"/>
                  <a:pt x="70" y="10"/>
                </a:cubicBezTo>
                <a:cubicBezTo>
                  <a:pt x="70" y="10"/>
                  <a:pt x="70" y="10"/>
                  <a:pt x="70" y="10"/>
                </a:cubicBezTo>
                <a:cubicBezTo>
                  <a:pt x="71" y="9"/>
                  <a:pt x="71" y="9"/>
                  <a:pt x="71" y="8"/>
                </a:cubicBezTo>
                <a:cubicBezTo>
                  <a:pt x="73" y="5"/>
                  <a:pt x="75" y="3"/>
                  <a:pt x="73" y="1"/>
                </a:cubicBezTo>
                <a:cubicBezTo>
                  <a:pt x="72" y="1"/>
                  <a:pt x="70" y="1"/>
                  <a:pt x="68" y="0"/>
                </a:cubicBezTo>
                <a:cubicBezTo>
                  <a:pt x="68" y="0"/>
                  <a:pt x="68" y="0"/>
                  <a:pt x="68" y="0"/>
                </a:cubicBezTo>
                <a:cubicBezTo>
                  <a:pt x="67" y="0"/>
                  <a:pt x="67" y="0"/>
                  <a:pt x="67" y="0"/>
                </a:cubicBezTo>
                <a:cubicBezTo>
                  <a:pt x="64" y="0"/>
                  <a:pt x="63" y="0"/>
                  <a:pt x="61" y="1"/>
                </a:cubicBezTo>
                <a:cubicBezTo>
                  <a:pt x="60" y="1"/>
                  <a:pt x="59" y="1"/>
                  <a:pt x="59" y="1"/>
                </a:cubicBezTo>
                <a:cubicBezTo>
                  <a:pt x="58" y="1"/>
                  <a:pt x="58" y="1"/>
                  <a:pt x="58" y="1"/>
                </a:cubicBezTo>
                <a:cubicBezTo>
                  <a:pt x="58" y="1"/>
                  <a:pt x="58" y="1"/>
                  <a:pt x="58" y="1"/>
                </a:cubicBezTo>
                <a:cubicBezTo>
                  <a:pt x="57" y="1"/>
                  <a:pt x="56" y="2"/>
                  <a:pt x="56" y="2"/>
                </a:cubicBezTo>
                <a:cubicBezTo>
                  <a:pt x="56" y="2"/>
                  <a:pt x="55" y="2"/>
                  <a:pt x="55" y="2"/>
                </a:cubicBezTo>
                <a:cubicBezTo>
                  <a:pt x="55" y="2"/>
                  <a:pt x="55" y="2"/>
                  <a:pt x="55" y="3"/>
                </a:cubicBezTo>
                <a:cubicBezTo>
                  <a:pt x="55" y="3"/>
                  <a:pt x="55" y="3"/>
                  <a:pt x="55" y="3"/>
                </a:cubicBezTo>
                <a:cubicBezTo>
                  <a:pt x="55" y="4"/>
                  <a:pt x="55" y="4"/>
                  <a:pt x="55" y="4"/>
                </a:cubicBezTo>
                <a:cubicBezTo>
                  <a:pt x="55" y="5"/>
                  <a:pt x="55" y="5"/>
                  <a:pt x="55" y="5"/>
                </a:cubicBezTo>
                <a:cubicBezTo>
                  <a:pt x="55" y="6"/>
                  <a:pt x="54" y="7"/>
                  <a:pt x="54" y="8"/>
                </a:cubicBezTo>
                <a:cubicBezTo>
                  <a:pt x="54" y="10"/>
                  <a:pt x="53" y="12"/>
                  <a:pt x="52" y="14"/>
                </a:cubicBezTo>
                <a:cubicBezTo>
                  <a:pt x="52" y="14"/>
                  <a:pt x="52" y="14"/>
                  <a:pt x="52" y="14"/>
                </a:cubicBezTo>
                <a:cubicBezTo>
                  <a:pt x="51" y="14"/>
                  <a:pt x="51" y="14"/>
                  <a:pt x="51" y="14"/>
                </a:cubicBezTo>
                <a:cubicBezTo>
                  <a:pt x="50" y="17"/>
                  <a:pt x="50" y="17"/>
                  <a:pt x="50" y="17"/>
                </a:cubicBezTo>
                <a:cubicBezTo>
                  <a:pt x="50" y="18"/>
                  <a:pt x="50" y="18"/>
                  <a:pt x="50" y="18"/>
                </a:cubicBezTo>
                <a:cubicBezTo>
                  <a:pt x="50" y="18"/>
                  <a:pt x="50" y="19"/>
                  <a:pt x="50" y="20"/>
                </a:cubicBezTo>
                <a:cubicBezTo>
                  <a:pt x="50" y="22"/>
                  <a:pt x="50" y="22"/>
                  <a:pt x="50" y="22"/>
                </a:cubicBezTo>
                <a:cubicBezTo>
                  <a:pt x="48" y="20"/>
                  <a:pt x="48" y="20"/>
                  <a:pt x="48" y="20"/>
                </a:cubicBezTo>
                <a:cubicBezTo>
                  <a:pt x="47" y="20"/>
                  <a:pt x="47" y="20"/>
                  <a:pt x="47" y="19"/>
                </a:cubicBezTo>
                <a:cubicBezTo>
                  <a:pt x="47" y="19"/>
                  <a:pt x="46" y="19"/>
                  <a:pt x="46" y="19"/>
                </a:cubicBezTo>
                <a:cubicBezTo>
                  <a:pt x="46" y="18"/>
                  <a:pt x="46" y="18"/>
                  <a:pt x="45" y="18"/>
                </a:cubicBezTo>
                <a:cubicBezTo>
                  <a:pt x="45" y="18"/>
                  <a:pt x="44" y="18"/>
                  <a:pt x="44" y="18"/>
                </a:cubicBezTo>
                <a:cubicBezTo>
                  <a:pt x="43" y="18"/>
                  <a:pt x="43" y="18"/>
                  <a:pt x="43" y="18"/>
                </a:cubicBezTo>
                <a:cubicBezTo>
                  <a:pt x="42" y="18"/>
                  <a:pt x="41" y="18"/>
                  <a:pt x="41" y="17"/>
                </a:cubicBezTo>
                <a:cubicBezTo>
                  <a:pt x="41" y="17"/>
                  <a:pt x="40" y="17"/>
                  <a:pt x="40" y="17"/>
                </a:cubicBezTo>
                <a:cubicBezTo>
                  <a:pt x="40" y="17"/>
                  <a:pt x="40" y="17"/>
                  <a:pt x="40" y="17"/>
                </a:cubicBezTo>
                <a:cubicBezTo>
                  <a:pt x="38" y="17"/>
                  <a:pt x="37" y="17"/>
                  <a:pt x="36" y="17"/>
                </a:cubicBezTo>
                <a:cubicBezTo>
                  <a:pt x="36" y="17"/>
                  <a:pt x="36" y="16"/>
                  <a:pt x="35" y="16"/>
                </a:cubicBezTo>
                <a:cubicBezTo>
                  <a:pt x="35" y="16"/>
                  <a:pt x="35" y="16"/>
                  <a:pt x="34" y="16"/>
                </a:cubicBezTo>
                <a:cubicBezTo>
                  <a:pt x="34" y="16"/>
                  <a:pt x="34" y="15"/>
                  <a:pt x="34" y="15"/>
                </a:cubicBezTo>
                <a:cubicBezTo>
                  <a:pt x="31" y="15"/>
                  <a:pt x="31" y="15"/>
                  <a:pt x="31" y="15"/>
                </a:cubicBezTo>
                <a:cubicBezTo>
                  <a:pt x="29" y="15"/>
                  <a:pt x="27" y="16"/>
                  <a:pt x="24" y="16"/>
                </a:cubicBezTo>
                <a:cubicBezTo>
                  <a:pt x="24" y="16"/>
                  <a:pt x="24" y="16"/>
                  <a:pt x="24" y="16"/>
                </a:cubicBezTo>
                <a:cubicBezTo>
                  <a:pt x="23" y="16"/>
                  <a:pt x="23" y="16"/>
                  <a:pt x="22" y="16"/>
                </a:cubicBezTo>
                <a:cubicBezTo>
                  <a:pt x="22" y="16"/>
                  <a:pt x="22" y="16"/>
                  <a:pt x="21" y="16"/>
                </a:cubicBezTo>
                <a:cubicBezTo>
                  <a:pt x="21" y="16"/>
                  <a:pt x="21" y="16"/>
                  <a:pt x="21" y="16"/>
                </a:cubicBezTo>
                <a:cubicBezTo>
                  <a:pt x="21" y="17"/>
                  <a:pt x="21" y="17"/>
                  <a:pt x="21" y="17"/>
                </a:cubicBezTo>
                <a:cubicBezTo>
                  <a:pt x="21" y="18"/>
                  <a:pt x="21" y="18"/>
                  <a:pt x="21" y="18"/>
                </a:cubicBezTo>
                <a:cubicBezTo>
                  <a:pt x="20" y="19"/>
                  <a:pt x="21" y="20"/>
                  <a:pt x="21" y="22"/>
                </a:cubicBezTo>
                <a:cubicBezTo>
                  <a:pt x="21" y="22"/>
                  <a:pt x="21" y="22"/>
                  <a:pt x="21" y="22"/>
                </a:cubicBezTo>
                <a:cubicBezTo>
                  <a:pt x="21" y="22"/>
                  <a:pt x="21" y="22"/>
                  <a:pt x="21" y="22"/>
                </a:cubicBezTo>
                <a:cubicBezTo>
                  <a:pt x="22" y="22"/>
                  <a:pt x="23" y="21"/>
                  <a:pt x="25" y="21"/>
                </a:cubicBezTo>
                <a:cubicBezTo>
                  <a:pt x="25" y="21"/>
                  <a:pt x="26" y="21"/>
                  <a:pt x="26" y="21"/>
                </a:cubicBezTo>
                <a:cubicBezTo>
                  <a:pt x="26" y="21"/>
                  <a:pt x="27" y="21"/>
                  <a:pt x="27" y="21"/>
                </a:cubicBezTo>
                <a:cubicBezTo>
                  <a:pt x="27" y="21"/>
                  <a:pt x="27" y="21"/>
                  <a:pt x="27" y="21"/>
                </a:cubicBezTo>
                <a:cubicBezTo>
                  <a:pt x="27" y="21"/>
                  <a:pt x="27" y="21"/>
                  <a:pt x="27" y="21"/>
                </a:cubicBezTo>
                <a:cubicBezTo>
                  <a:pt x="27" y="21"/>
                  <a:pt x="28" y="21"/>
                  <a:pt x="29" y="21"/>
                </a:cubicBezTo>
                <a:cubicBezTo>
                  <a:pt x="29" y="21"/>
                  <a:pt x="29" y="21"/>
                  <a:pt x="29" y="21"/>
                </a:cubicBezTo>
                <a:cubicBezTo>
                  <a:pt x="29" y="21"/>
                  <a:pt x="29" y="21"/>
                  <a:pt x="29" y="21"/>
                </a:cubicBezTo>
                <a:cubicBezTo>
                  <a:pt x="29" y="21"/>
                  <a:pt x="29" y="21"/>
                  <a:pt x="29" y="21"/>
                </a:cubicBezTo>
                <a:cubicBezTo>
                  <a:pt x="30" y="21"/>
                  <a:pt x="31" y="21"/>
                  <a:pt x="32" y="22"/>
                </a:cubicBezTo>
                <a:cubicBezTo>
                  <a:pt x="33" y="26"/>
                  <a:pt x="33" y="26"/>
                  <a:pt x="33" y="26"/>
                </a:cubicBezTo>
                <a:cubicBezTo>
                  <a:pt x="33" y="26"/>
                  <a:pt x="33" y="27"/>
                  <a:pt x="34" y="27"/>
                </a:cubicBezTo>
                <a:cubicBezTo>
                  <a:pt x="34" y="28"/>
                  <a:pt x="34" y="28"/>
                  <a:pt x="33" y="29"/>
                </a:cubicBezTo>
                <a:cubicBezTo>
                  <a:pt x="33" y="31"/>
                  <a:pt x="32" y="31"/>
                  <a:pt x="31" y="32"/>
                </a:cubicBezTo>
                <a:cubicBezTo>
                  <a:pt x="30" y="32"/>
                  <a:pt x="30" y="32"/>
                  <a:pt x="30" y="32"/>
                </a:cubicBezTo>
                <a:cubicBezTo>
                  <a:pt x="30" y="33"/>
                  <a:pt x="30" y="34"/>
                  <a:pt x="29" y="34"/>
                </a:cubicBezTo>
                <a:cubicBezTo>
                  <a:pt x="29" y="35"/>
                  <a:pt x="29" y="35"/>
                  <a:pt x="29" y="35"/>
                </a:cubicBezTo>
                <a:cubicBezTo>
                  <a:pt x="29" y="35"/>
                  <a:pt x="29" y="35"/>
                  <a:pt x="29" y="35"/>
                </a:cubicBezTo>
                <a:cubicBezTo>
                  <a:pt x="29" y="36"/>
                  <a:pt x="29" y="36"/>
                  <a:pt x="29" y="36"/>
                </a:cubicBezTo>
                <a:cubicBezTo>
                  <a:pt x="29" y="36"/>
                  <a:pt x="28" y="37"/>
                  <a:pt x="28" y="38"/>
                </a:cubicBezTo>
                <a:cubicBezTo>
                  <a:pt x="28" y="38"/>
                  <a:pt x="28" y="38"/>
                  <a:pt x="28" y="38"/>
                </a:cubicBezTo>
                <a:cubicBezTo>
                  <a:pt x="28" y="39"/>
                  <a:pt x="29" y="39"/>
                  <a:pt x="30" y="39"/>
                </a:cubicBezTo>
                <a:cubicBezTo>
                  <a:pt x="32" y="40"/>
                  <a:pt x="34" y="41"/>
                  <a:pt x="34" y="43"/>
                </a:cubicBezTo>
                <a:cubicBezTo>
                  <a:pt x="34" y="43"/>
                  <a:pt x="34" y="44"/>
                  <a:pt x="34" y="45"/>
                </a:cubicBezTo>
                <a:cubicBezTo>
                  <a:pt x="34" y="45"/>
                  <a:pt x="34" y="45"/>
                  <a:pt x="34" y="45"/>
                </a:cubicBezTo>
                <a:cubicBezTo>
                  <a:pt x="34" y="46"/>
                  <a:pt x="34" y="46"/>
                  <a:pt x="34" y="46"/>
                </a:cubicBezTo>
                <a:cubicBezTo>
                  <a:pt x="33" y="46"/>
                  <a:pt x="33" y="46"/>
                  <a:pt x="33" y="46"/>
                </a:cubicBezTo>
                <a:cubicBezTo>
                  <a:pt x="34" y="47"/>
                  <a:pt x="34" y="47"/>
                  <a:pt x="34" y="47"/>
                </a:cubicBezTo>
                <a:cubicBezTo>
                  <a:pt x="34" y="48"/>
                  <a:pt x="34" y="48"/>
                  <a:pt x="34" y="48"/>
                </a:cubicBezTo>
                <a:cubicBezTo>
                  <a:pt x="34" y="48"/>
                  <a:pt x="34" y="48"/>
                  <a:pt x="34" y="49"/>
                </a:cubicBezTo>
                <a:cubicBezTo>
                  <a:pt x="34" y="49"/>
                  <a:pt x="34" y="49"/>
                  <a:pt x="34" y="49"/>
                </a:cubicBezTo>
                <a:cubicBezTo>
                  <a:pt x="34" y="49"/>
                  <a:pt x="34" y="49"/>
                  <a:pt x="34" y="49"/>
                </a:cubicBezTo>
                <a:cubicBezTo>
                  <a:pt x="34" y="50"/>
                  <a:pt x="34" y="51"/>
                  <a:pt x="34" y="51"/>
                </a:cubicBezTo>
                <a:cubicBezTo>
                  <a:pt x="34" y="52"/>
                  <a:pt x="34" y="52"/>
                  <a:pt x="34" y="53"/>
                </a:cubicBezTo>
                <a:cubicBezTo>
                  <a:pt x="34" y="53"/>
                  <a:pt x="34" y="53"/>
                  <a:pt x="34" y="53"/>
                </a:cubicBezTo>
                <a:cubicBezTo>
                  <a:pt x="34" y="54"/>
                  <a:pt x="34" y="54"/>
                  <a:pt x="34" y="54"/>
                </a:cubicBezTo>
                <a:cubicBezTo>
                  <a:pt x="33" y="56"/>
                  <a:pt x="33" y="57"/>
                  <a:pt x="32" y="58"/>
                </a:cubicBezTo>
                <a:cubicBezTo>
                  <a:pt x="30" y="62"/>
                  <a:pt x="30" y="62"/>
                  <a:pt x="30" y="62"/>
                </a:cubicBezTo>
                <a:cubicBezTo>
                  <a:pt x="30" y="63"/>
                  <a:pt x="29" y="63"/>
                  <a:pt x="28" y="63"/>
                </a:cubicBezTo>
                <a:cubicBezTo>
                  <a:pt x="28" y="63"/>
                  <a:pt x="28" y="63"/>
                  <a:pt x="27" y="63"/>
                </a:cubicBezTo>
                <a:cubicBezTo>
                  <a:pt x="27" y="63"/>
                  <a:pt x="26" y="63"/>
                  <a:pt x="25" y="62"/>
                </a:cubicBezTo>
                <a:cubicBezTo>
                  <a:pt x="25" y="61"/>
                  <a:pt x="25" y="61"/>
                  <a:pt x="25" y="61"/>
                </a:cubicBezTo>
                <a:cubicBezTo>
                  <a:pt x="25" y="61"/>
                  <a:pt x="25" y="61"/>
                  <a:pt x="25" y="61"/>
                </a:cubicBezTo>
                <a:cubicBezTo>
                  <a:pt x="25" y="61"/>
                  <a:pt x="25" y="61"/>
                  <a:pt x="25" y="61"/>
                </a:cubicBezTo>
                <a:cubicBezTo>
                  <a:pt x="25" y="61"/>
                  <a:pt x="25" y="61"/>
                  <a:pt x="25" y="61"/>
                </a:cubicBezTo>
                <a:cubicBezTo>
                  <a:pt x="23" y="62"/>
                  <a:pt x="21" y="62"/>
                  <a:pt x="20" y="62"/>
                </a:cubicBezTo>
                <a:cubicBezTo>
                  <a:pt x="19" y="62"/>
                  <a:pt x="19" y="62"/>
                  <a:pt x="19" y="62"/>
                </a:cubicBezTo>
                <a:cubicBezTo>
                  <a:pt x="19" y="62"/>
                  <a:pt x="19" y="62"/>
                  <a:pt x="18" y="62"/>
                </a:cubicBezTo>
                <a:cubicBezTo>
                  <a:pt x="18" y="62"/>
                  <a:pt x="18" y="62"/>
                  <a:pt x="18" y="62"/>
                </a:cubicBezTo>
                <a:cubicBezTo>
                  <a:pt x="16" y="62"/>
                  <a:pt x="16" y="60"/>
                  <a:pt x="15" y="58"/>
                </a:cubicBezTo>
                <a:cubicBezTo>
                  <a:pt x="16" y="58"/>
                  <a:pt x="16" y="58"/>
                  <a:pt x="16" y="58"/>
                </a:cubicBezTo>
                <a:cubicBezTo>
                  <a:pt x="15" y="58"/>
                  <a:pt x="15" y="58"/>
                  <a:pt x="15" y="58"/>
                </a:cubicBezTo>
                <a:cubicBezTo>
                  <a:pt x="15" y="58"/>
                  <a:pt x="15" y="57"/>
                  <a:pt x="15" y="57"/>
                </a:cubicBezTo>
                <a:cubicBezTo>
                  <a:pt x="15" y="57"/>
                  <a:pt x="14" y="57"/>
                  <a:pt x="14" y="57"/>
                </a:cubicBezTo>
                <a:cubicBezTo>
                  <a:pt x="14" y="57"/>
                  <a:pt x="14" y="57"/>
                  <a:pt x="13" y="57"/>
                </a:cubicBezTo>
                <a:cubicBezTo>
                  <a:pt x="13" y="57"/>
                  <a:pt x="13" y="57"/>
                  <a:pt x="13" y="57"/>
                </a:cubicBezTo>
                <a:cubicBezTo>
                  <a:pt x="13" y="57"/>
                  <a:pt x="13" y="57"/>
                  <a:pt x="13" y="57"/>
                </a:cubicBezTo>
                <a:cubicBezTo>
                  <a:pt x="13" y="59"/>
                  <a:pt x="12" y="60"/>
                  <a:pt x="11" y="61"/>
                </a:cubicBezTo>
                <a:cubicBezTo>
                  <a:pt x="11" y="61"/>
                  <a:pt x="11" y="61"/>
                  <a:pt x="11" y="61"/>
                </a:cubicBezTo>
                <a:cubicBezTo>
                  <a:pt x="10" y="62"/>
                  <a:pt x="10" y="62"/>
                  <a:pt x="10" y="62"/>
                </a:cubicBezTo>
                <a:cubicBezTo>
                  <a:pt x="9" y="62"/>
                  <a:pt x="8" y="62"/>
                  <a:pt x="8" y="62"/>
                </a:cubicBezTo>
                <a:cubicBezTo>
                  <a:pt x="7" y="62"/>
                  <a:pt x="7" y="62"/>
                  <a:pt x="7" y="62"/>
                </a:cubicBezTo>
                <a:cubicBezTo>
                  <a:pt x="7" y="62"/>
                  <a:pt x="7" y="62"/>
                  <a:pt x="7" y="62"/>
                </a:cubicBezTo>
                <a:cubicBezTo>
                  <a:pt x="7" y="62"/>
                  <a:pt x="7" y="62"/>
                  <a:pt x="7" y="62"/>
                </a:cubicBezTo>
                <a:cubicBezTo>
                  <a:pt x="7" y="62"/>
                  <a:pt x="7" y="62"/>
                  <a:pt x="7" y="62"/>
                </a:cubicBezTo>
                <a:cubicBezTo>
                  <a:pt x="6" y="62"/>
                  <a:pt x="6" y="62"/>
                  <a:pt x="6" y="62"/>
                </a:cubicBezTo>
                <a:cubicBezTo>
                  <a:pt x="6" y="62"/>
                  <a:pt x="5" y="62"/>
                  <a:pt x="5" y="62"/>
                </a:cubicBezTo>
                <a:cubicBezTo>
                  <a:pt x="5" y="62"/>
                  <a:pt x="5" y="63"/>
                  <a:pt x="5" y="63"/>
                </a:cubicBezTo>
                <a:cubicBezTo>
                  <a:pt x="5" y="63"/>
                  <a:pt x="5" y="63"/>
                  <a:pt x="5" y="64"/>
                </a:cubicBezTo>
                <a:cubicBezTo>
                  <a:pt x="5" y="64"/>
                  <a:pt x="5" y="64"/>
                  <a:pt x="4" y="64"/>
                </a:cubicBezTo>
                <a:cubicBezTo>
                  <a:pt x="4" y="64"/>
                  <a:pt x="4" y="65"/>
                  <a:pt x="4" y="65"/>
                </a:cubicBezTo>
                <a:cubicBezTo>
                  <a:pt x="5" y="65"/>
                  <a:pt x="5" y="65"/>
                  <a:pt x="5" y="65"/>
                </a:cubicBezTo>
                <a:cubicBezTo>
                  <a:pt x="5" y="66"/>
                  <a:pt x="6" y="66"/>
                  <a:pt x="6" y="66"/>
                </a:cubicBezTo>
                <a:cubicBezTo>
                  <a:pt x="7" y="67"/>
                  <a:pt x="7" y="67"/>
                  <a:pt x="7" y="67"/>
                </a:cubicBezTo>
                <a:cubicBezTo>
                  <a:pt x="6" y="68"/>
                  <a:pt x="6" y="68"/>
                  <a:pt x="6" y="68"/>
                </a:cubicBezTo>
                <a:cubicBezTo>
                  <a:pt x="6" y="68"/>
                  <a:pt x="6" y="68"/>
                  <a:pt x="6" y="68"/>
                </a:cubicBezTo>
                <a:cubicBezTo>
                  <a:pt x="6" y="68"/>
                  <a:pt x="6" y="68"/>
                  <a:pt x="6" y="68"/>
                </a:cubicBezTo>
                <a:cubicBezTo>
                  <a:pt x="6" y="68"/>
                  <a:pt x="6" y="68"/>
                  <a:pt x="6" y="68"/>
                </a:cubicBezTo>
                <a:cubicBezTo>
                  <a:pt x="7" y="69"/>
                  <a:pt x="7" y="69"/>
                  <a:pt x="8" y="69"/>
                </a:cubicBezTo>
                <a:cubicBezTo>
                  <a:pt x="8" y="69"/>
                  <a:pt x="8" y="69"/>
                  <a:pt x="8" y="69"/>
                </a:cubicBezTo>
                <a:cubicBezTo>
                  <a:pt x="8" y="70"/>
                  <a:pt x="8" y="70"/>
                  <a:pt x="8" y="71"/>
                </a:cubicBezTo>
                <a:cubicBezTo>
                  <a:pt x="8" y="71"/>
                  <a:pt x="8" y="71"/>
                  <a:pt x="8" y="71"/>
                </a:cubicBezTo>
                <a:cubicBezTo>
                  <a:pt x="8" y="72"/>
                  <a:pt x="8" y="72"/>
                  <a:pt x="8" y="72"/>
                </a:cubicBezTo>
                <a:cubicBezTo>
                  <a:pt x="8" y="72"/>
                  <a:pt x="8" y="72"/>
                  <a:pt x="8" y="72"/>
                </a:cubicBezTo>
                <a:cubicBezTo>
                  <a:pt x="8" y="72"/>
                  <a:pt x="8" y="72"/>
                  <a:pt x="8" y="72"/>
                </a:cubicBezTo>
                <a:cubicBezTo>
                  <a:pt x="8" y="72"/>
                  <a:pt x="8" y="72"/>
                  <a:pt x="8" y="72"/>
                </a:cubicBezTo>
                <a:cubicBezTo>
                  <a:pt x="8" y="72"/>
                  <a:pt x="8" y="72"/>
                  <a:pt x="8" y="72"/>
                </a:cubicBezTo>
                <a:cubicBezTo>
                  <a:pt x="8" y="73"/>
                  <a:pt x="8" y="73"/>
                  <a:pt x="8" y="73"/>
                </a:cubicBezTo>
                <a:cubicBezTo>
                  <a:pt x="8" y="74"/>
                  <a:pt x="8" y="74"/>
                  <a:pt x="8" y="74"/>
                </a:cubicBezTo>
                <a:cubicBezTo>
                  <a:pt x="8" y="74"/>
                  <a:pt x="8" y="74"/>
                  <a:pt x="8" y="74"/>
                </a:cubicBezTo>
                <a:cubicBezTo>
                  <a:pt x="7" y="75"/>
                  <a:pt x="7" y="75"/>
                  <a:pt x="6" y="75"/>
                </a:cubicBezTo>
                <a:cubicBezTo>
                  <a:pt x="5" y="76"/>
                  <a:pt x="5" y="75"/>
                  <a:pt x="4" y="75"/>
                </a:cubicBezTo>
                <a:cubicBezTo>
                  <a:pt x="4" y="74"/>
                  <a:pt x="4" y="74"/>
                  <a:pt x="4" y="74"/>
                </a:cubicBezTo>
                <a:cubicBezTo>
                  <a:pt x="4" y="74"/>
                  <a:pt x="3" y="74"/>
                  <a:pt x="3" y="74"/>
                </a:cubicBezTo>
                <a:cubicBezTo>
                  <a:pt x="3" y="74"/>
                  <a:pt x="3" y="74"/>
                  <a:pt x="2" y="74"/>
                </a:cubicBezTo>
                <a:cubicBezTo>
                  <a:pt x="2" y="74"/>
                  <a:pt x="2" y="74"/>
                  <a:pt x="2" y="74"/>
                </a:cubicBezTo>
                <a:cubicBezTo>
                  <a:pt x="2" y="74"/>
                  <a:pt x="2" y="74"/>
                  <a:pt x="2" y="74"/>
                </a:cubicBezTo>
                <a:cubicBezTo>
                  <a:pt x="1" y="74"/>
                  <a:pt x="1" y="74"/>
                  <a:pt x="1" y="74"/>
                </a:cubicBezTo>
                <a:cubicBezTo>
                  <a:pt x="1" y="75"/>
                  <a:pt x="1" y="75"/>
                  <a:pt x="1" y="75"/>
                </a:cubicBezTo>
                <a:cubicBezTo>
                  <a:pt x="0" y="75"/>
                  <a:pt x="0" y="76"/>
                  <a:pt x="0" y="77"/>
                </a:cubicBezTo>
                <a:cubicBezTo>
                  <a:pt x="0" y="77"/>
                  <a:pt x="0" y="77"/>
                  <a:pt x="0" y="77"/>
                </a:cubicBezTo>
                <a:cubicBezTo>
                  <a:pt x="0" y="78"/>
                  <a:pt x="0" y="78"/>
                  <a:pt x="0" y="78"/>
                </a:cubicBezTo>
                <a:cubicBezTo>
                  <a:pt x="1" y="79"/>
                  <a:pt x="3" y="80"/>
                  <a:pt x="4" y="82"/>
                </a:cubicBezTo>
                <a:cubicBezTo>
                  <a:pt x="5" y="83"/>
                  <a:pt x="6" y="85"/>
                  <a:pt x="7" y="86"/>
                </a:cubicBezTo>
                <a:lnTo>
                  <a:pt x="8" y="86"/>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97" name="Freeform 3054">
            <a:extLst>
              <a:ext uri="{FF2B5EF4-FFF2-40B4-BE49-F238E27FC236}">
                <a16:creationId xmlns:a16="http://schemas.microsoft.com/office/drawing/2014/main" id="{48A17EB7-5C9D-426B-A933-EB5E93E41340}"/>
              </a:ext>
            </a:extLst>
          </p:cNvPr>
          <p:cNvSpPr>
            <a:spLocks/>
          </p:cNvSpPr>
          <p:nvPr/>
        </p:nvSpPr>
        <p:spPr bwMode="auto">
          <a:xfrm>
            <a:off x="3481229" y="3844656"/>
            <a:ext cx="146190" cy="173923"/>
          </a:xfrm>
          <a:custGeom>
            <a:avLst/>
            <a:gdLst>
              <a:gd name="T0" fmla="*/ 17 w 125"/>
              <a:gd name="T1" fmla="*/ 113 h 124"/>
              <a:gd name="T2" fmla="*/ 20 w 125"/>
              <a:gd name="T3" fmla="*/ 115 h 124"/>
              <a:gd name="T4" fmla="*/ 21 w 125"/>
              <a:gd name="T5" fmla="*/ 117 h 124"/>
              <a:gd name="T6" fmla="*/ 24 w 125"/>
              <a:gd name="T7" fmla="*/ 118 h 124"/>
              <a:gd name="T8" fmla="*/ 27 w 125"/>
              <a:gd name="T9" fmla="*/ 117 h 124"/>
              <a:gd name="T10" fmla="*/ 42 w 125"/>
              <a:gd name="T11" fmla="*/ 118 h 124"/>
              <a:gd name="T12" fmla="*/ 63 w 125"/>
              <a:gd name="T13" fmla="*/ 117 h 124"/>
              <a:gd name="T14" fmla="*/ 70 w 125"/>
              <a:gd name="T15" fmla="*/ 119 h 124"/>
              <a:gd name="T16" fmla="*/ 75 w 125"/>
              <a:gd name="T17" fmla="*/ 122 h 124"/>
              <a:gd name="T18" fmla="*/ 78 w 125"/>
              <a:gd name="T19" fmla="*/ 122 h 124"/>
              <a:gd name="T20" fmla="*/ 83 w 125"/>
              <a:gd name="T21" fmla="*/ 122 h 124"/>
              <a:gd name="T22" fmla="*/ 102 w 125"/>
              <a:gd name="T23" fmla="*/ 123 h 124"/>
              <a:gd name="T24" fmla="*/ 106 w 125"/>
              <a:gd name="T25" fmla="*/ 111 h 124"/>
              <a:gd name="T26" fmla="*/ 104 w 125"/>
              <a:gd name="T27" fmla="*/ 106 h 124"/>
              <a:gd name="T28" fmla="*/ 103 w 125"/>
              <a:gd name="T29" fmla="*/ 101 h 124"/>
              <a:gd name="T30" fmla="*/ 104 w 125"/>
              <a:gd name="T31" fmla="*/ 72 h 124"/>
              <a:gd name="T32" fmla="*/ 113 w 125"/>
              <a:gd name="T33" fmla="*/ 72 h 124"/>
              <a:gd name="T34" fmla="*/ 123 w 125"/>
              <a:gd name="T35" fmla="*/ 70 h 124"/>
              <a:gd name="T36" fmla="*/ 124 w 125"/>
              <a:gd name="T37" fmla="*/ 67 h 124"/>
              <a:gd name="T38" fmla="*/ 124 w 125"/>
              <a:gd name="T39" fmla="*/ 60 h 124"/>
              <a:gd name="T40" fmla="*/ 121 w 125"/>
              <a:gd name="T41" fmla="*/ 54 h 124"/>
              <a:gd name="T42" fmla="*/ 117 w 125"/>
              <a:gd name="T43" fmla="*/ 54 h 124"/>
              <a:gd name="T44" fmla="*/ 106 w 125"/>
              <a:gd name="T45" fmla="*/ 55 h 124"/>
              <a:gd name="T46" fmla="*/ 105 w 125"/>
              <a:gd name="T47" fmla="*/ 50 h 124"/>
              <a:gd name="T48" fmla="*/ 106 w 125"/>
              <a:gd name="T49" fmla="*/ 48 h 124"/>
              <a:gd name="T50" fmla="*/ 107 w 125"/>
              <a:gd name="T51" fmla="*/ 48 h 124"/>
              <a:gd name="T52" fmla="*/ 105 w 125"/>
              <a:gd name="T53" fmla="*/ 42 h 124"/>
              <a:gd name="T54" fmla="*/ 102 w 125"/>
              <a:gd name="T55" fmla="*/ 38 h 124"/>
              <a:gd name="T56" fmla="*/ 101 w 125"/>
              <a:gd name="T57" fmla="*/ 35 h 124"/>
              <a:gd name="T58" fmla="*/ 102 w 125"/>
              <a:gd name="T59" fmla="*/ 30 h 124"/>
              <a:gd name="T60" fmla="*/ 102 w 125"/>
              <a:gd name="T61" fmla="*/ 27 h 124"/>
              <a:gd name="T62" fmla="*/ 102 w 125"/>
              <a:gd name="T63" fmla="*/ 16 h 124"/>
              <a:gd name="T64" fmla="*/ 100 w 125"/>
              <a:gd name="T65" fmla="*/ 15 h 124"/>
              <a:gd name="T66" fmla="*/ 94 w 125"/>
              <a:gd name="T67" fmla="*/ 15 h 124"/>
              <a:gd name="T68" fmla="*/ 89 w 125"/>
              <a:gd name="T69" fmla="*/ 11 h 124"/>
              <a:gd name="T70" fmla="*/ 88 w 125"/>
              <a:gd name="T71" fmla="*/ 11 h 124"/>
              <a:gd name="T72" fmla="*/ 85 w 125"/>
              <a:gd name="T73" fmla="*/ 12 h 124"/>
              <a:gd name="T74" fmla="*/ 83 w 125"/>
              <a:gd name="T75" fmla="*/ 12 h 124"/>
              <a:gd name="T76" fmla="*/ 81 w 125"/>
              <a:gd name="T77" fmla="*/ 13 h 124"/>
              <a:gd name="T78" fmla="*/ 80 w 125"/>
              <a:gd name="T79" fmla="*/ 16 h 124"/>
              <a:gd name="T80" fmla="*/ 79 w 125"/>
              <a:gd name="T81" fmla="*/ 20 h 124"/>
              <a:gd name="T82" fmla="*/ 77 w 125"/>
              <a:gd name="T83" fmla="*/ 22 h 124"/>
              <a:gd name="T84" fmla="*/ 67 w 125"/>
              <a:gd name="T85" fmla="*/ 22 h 124"/>
              <a:gd name="T86" fmla="*/ 64 w 125"/>
              <a:gd name="T87" fmla="*/ 24 h 124"/>
              <a:gd name="T88" fmla="*/ 55 w 125"/>
              <a:gd name="T89" fmla="*/ 18 h 124"/>
              <a:gd name="T90" fmla="*/ 53 w 125"/>
              <a:gd name="T91" fmla="*/ 14 h 124"/>
              <a:gd name="T92" fmla="*/ 47 w 125"/>
              <a:gd name="T93" fmla="*/ 1 h 124"/>
              <a:gd name="T94" fmla="*/ 43 w 125"/>
              <a:gd name="T95" fmla="*/ 1 h 124"/>
              <a:gd name="T96" fmla="*/ 24 w 125"/>
              <a:gd name="T97" fmla="*/ 1 h 124"/>
              <a:gd name="T98" fmla="*/ 17 w 125"/>
              <a:gd name="T99" fmla="*/ 0 h 124"/>
              <a:gd name="T100" fmla="*/ 10 w 125"/>
              <a:gd name="T101" fmla="*/ 1 h 124"/>
              <a:gd name="T102" fmla="*/ 5 w 125"/>
              <a:gd name="T103" fmla="*/ 2 h 124"/>
              <a:gd name="T104" fmla="*/ 13 w 125"/>
              <a:gd name="T105" fmla="*/ 18 h 124"/>
              <a:gd name="T106" fmla="*/ 13 w 125"/>
              <a:gd name="T107" fmla="*/ 32 h 124"/>
              <a:gd name="T108" fmla="*/ 21 w 125"/>
              <a:gd name="T109" fmla="*/ 52 h 124"/>
              <a:gd name="T110" fmla="*/ 15 w 125"/>
              <a:gd name="T111" fmla="*/ 69 h 124"/>
              <a:gd name="T112" fmla="*/ 4 w 125"/>
              <a:gd name="T113" fmla="*/ 93 h 124"/>
              <a:gd name="T114" fmla="*/ 0 w 125"/>
              <a:gd name="T115" fmla="*/ 104 h 124"/>
              <a:gd name="T116" fmla="*/ 7 w 125"/>
              <a:gd name="T117" fmla="*/ 116 h 124"/>
              <a:gd name="T118" fmla="*/ 12 w 125"/>
              <a:gd name="T119" fmla="*/ 114 h 124"/>
              <a:gd name="T120" fmla="*/ 13 w 125"/>
              <a:gd name="T121" fmla="*/ 11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 h="124">
                <a:moveTo>
                  <a:pt x="14" y="113"/>
                </a:moveTo>
                <a:cubicBezTo>
                  <a:pt x="14" y="113"/>
                  <a:pt x="15" y="113"/>
                  <a:pt x="15" y="113"/>
                </a:cubicBezTo>
                <a:cubicBezTo>
                  <a:pt x="17" y="113"/>
                  <a:pt x="17" y="113"/>
                  <a:pt x="17" y="113"/>
                </a:cubicBezTo>
                <a:cubicBezTo>
                  <a:pt x="17" y="113"/>
                  <a:pt x="17" y="113"/>
                  <a:pt x="17" y="113"/>
                </a:cubicBezTo>
                <a:cubicBezTo>
                  <a:pt x="18" y="114"/>
                  <a:pt x="19" y="115"/>
                  <a:pt x="20" y="115"/>
                </a:cubicBezTo>
                <a:cubicBezTo>
                  <a:pt x="20" y="115"/>
                  <a:pt x="20" y="115"/>
                  <a:pt x="20" y="115"/>
                </a:cubicBezTo>
                <a:cubicBezTo>
                  <a:pt x="20" y="116"/>
                  <a:pt x="20" y="116"/>
                  <a:pt x="20" y="116"/>
                </a:cubicBezTo>
                <a:cubicBezTo>
                  <a:pt x="21" y="116"/>
                  <a:pt x="21" y="116"/>
                  <a:pt x="21" y="116"/>
                </a:cubicBezTo>
                <a:cubicBezTo>
                  <a:pt x="21" y="116"/>
                  <a:pt x="21" y="116"/>
                  <a:pt x="21" y="117"/>
                </a:cubicBezTo>
                <a:cubicBezTo>
                  <a:pt x="21" y="117"/>
                  <a:pt x="21" y="117"/>
                  <a:pt x="21" y="117"/>
                </a:cubicBezTo>
                <a:cubicBezTo>
                  <a:pt x="22" y="117"/>
                  <a:pt x="23" y="118"/>
                  <a:pt x="23" y="118"/>
                </a:cubicBezTo>
                <a:cubicBezTo>
                  <a:pt x="23" y="118"/>
                  <a:pt x="23" y="118"/>
                  <a:pt x="24" y="118"/>
                </a:cubicBezTo>
                <a:cubicBezTo>
                  <a:pt x="24" y="118"/>
                  <a:pt x="25" y="117"/>
                  <a:pt x="25" y="117"/>
                </a:cubicBezTo>
                <a:cubicBezTo>
                  <a:pt x="25" y="117"/>
                  <a:pt x="25" y="117"/>
                  <a:pt x="25" y="117"/>
                </a:cubicBezTo>
                <a:cubicBezTo>
                  <a:pt x="26" y="117"/>
                  <a:pt x="26" y="117"/>
                  <a:pt x="27" y="117"/>
                </a:cubicBezTo>
                <a:cubicBezTo>
                  <a:pt x="30" y="117"/>
                  <a:pt x="30" y="117"/>
                  <a:pt x="30" y="117"/>
                </a:cubicBezTo>
                <a:cubicBezTo>
                  <a:pt x="33" y="117"/>
                  <a:pt x="35" y="118"/>
                  <a:pt x="38" y="118"/>
                </a:cubicBezTo>
                <a:cubicBezTo>
                  <a:pt x="42" y="118"/>
                  <a:pt x="42" y="118"/>
                  <a:pt x="42" y="118"/>
                </a:cubicBezTo>
                <a:cubicBezTo>
                  <a:pt x="48" y="118"/>
                  <a:pt x="55" y="118"/>
                  <a:pt x="62" y="117"/>
                </a:cubicBezTo>
                <a:cubicBezTo>
                  <a:pt x="62" y="117"/>
                  <a:pt x="63" y="117"/>
                  <a:pt x="63" y="117"/>
                </a:cubicBezTo>
                <a:cubicBezTo>
                  <a:pt x="63" y="117"/>
                  <a:pt x="63" y="117"/>
                  <a:pt x="63" y="117"/>
                </a:cubicBezTo>
                <a:cubicBezTo>
                  <a:pt x="65" y="117"/>
                  <a:pt x="68" y="117"/>
                  <a:pt x="69" y="118"/>
                </a:cubicBezTo>
                <a:cubicBezTo>
                  <a:pt x="69" y="118"/>
                  <a:pt x="70" y="118"/>
                  <a:pt x="70" y="119"/>
                </a:cubicBezTo>
                <a:cubicBezTo>
                  <a:pt x="70" y="119"/>
                  <a:pt x="70" y="119"/>
                  <a:pt x="70" y="119"/>
                </a:cubicBezTo>
                <a:cubicBezTo>
                  <a:pt x="71" y="119"/>
                  <a:pt x="71" y="120"/>
                  <a:pt x="71" y="120"/>
                </a:cubicBezTo>
                <a:cubicBezTo>
                  <a:pt x="72" y="120"/>
                  <a:pt x="72" y="121"/>
                  <a:pt x="73" y="122"/>
                </a:cubicBezTo>
                <a:cubicBezTo>
                  <a:pt x="74" y="122"/>
                  <a:pt x="74" y="122"/>
                  <a:pt x="75" y="122"/>
                </a:cubicBezTo>
                <a:cubicBezTo>
                  <a:pt x="76" y="122"/>
                  <a:pt x="76" y="122"/>
                  <a:pt x="76" y="122"/>
                </a:cubicBezTo>
                <a:cubicBezTo>
                  <a:pt x="76" y="122"/>
                  <a:pt x="76" y="122"/>
                  <a:pt x="76" y="122"/>
                </a:cubicBezTo>
                <a:cubicBezTo>
                  <a:pt x="78" y="122"/>
                  <a:pt x="78" y="122"/>
                  <a:pt x="78" y="122"/>
                </a:cubicBezTo>
                <a:cubicBezTo>
                  <a:pt x="79" y="122"/>
                  <a:pt x="79" y="122"/>
                  <a:pt x="80" y="122"/>
                </a:cubicBezTo>
                <a:cubicBezTo>
                  <a:pt x="80" y="122"/>
                  <a:pt x="81" y="122"/>
                  <a:pt x="81" y="122"/>
                </a:cubicBezTo>
                <a:cubicBezTo>
                  <a:pt x="83" y="122"/>
                  <a:pt x="83" y="122"/>
                  <a:pt x="83" y="122"/>
                </a:cubicBezTo>
                <a:cubicBezTo>
                  <a:pt x="83" y="122"/>
                  <a:pt x="83" y="122"/>
                  <a:pt x="84" y="122"/>
                </a:cubicBezTo>
                <a:cubicBezTo>
                  <a:pt x="87" y="123"/>
                  <a:pt x="87" y="123"/>
                  <a:pt x="87" y="123"/>
                </a:cubicBezTo>
                <a:cubicBezTo>
                  <a:pt x="92" y="123"/>
                  <a:pt x="97" y="124"/>
                  <a:pt x="102" y="123"/>
                </a:cubicBezTo>
                <a:cubicBezTo>
                  <a:pt x="117" y="121"/>
                  <a:pt x="117" y="121"/>
                  <a:pt x="117" y="121"/>
                </a:cubicBezTo>
                <a:cubicBezTo>
                  <a:pt x="117" y="120"/>
                  <a:pt x="117" y="120"/>
                  <a:pt x="117" y="120"/>
                </a:cubicBezTo>
                <a:cubicBezTo>
                  <a:pt x="106" y="111"/>
                  <a:pt x="106" y="111"/>
                  <a:pt x="106" y="111"/>
                </a:cubicBezTo>
                <a:cubicBezTo>
                  <a:pt x="105" y="110"/>
                  <a:pt x="104" y="109"/>
                  <a:pt x="104" y="107"/>
                </a:cubicBezTo>
                <a:cubicBezTo>
                  <a:pt x="102" y="107"/>
                  <a:pt x="102" y="107"/>
                  <a:pt x="102" y="107"/>
                </a:cubicBezTo>
                <a:cubicBezTo>
                  <a:pt x="104" y="106"/>
                  <a:pt x="104" y="106"/>
                  <a:pt x="104" y="106"/>
                </a:cubicBezTo>
                <a:cubicBezTo>
                  <a:pt x="103" y="105"/>
                  <a:pt x="103" y="105"/>
                  <a:pt x="103" y="105"/>
                </a:cubicBezTo>
                <a:cubicBezTo>
                  <a:pt x="103" y="104"/>
                  <a:pt x="103" y="103"/>
                  <a:pt x="103" y="102"/>
                </a:cubicBezTo>
                <a:cubicBezTo>
                  <a:pt x="103" y="101"/>
                  <a:pt x="103" y="101"/>
                  <a:pt x="103" y="101"/>
                </a:cubicBezTo>
                <a:cubicBezTo>
                  <a:pt x="103" y="75"/>
                  <a:pt x="103" y="75"/>
                  <a:pt x="103" y="75"/>
                </a:cubicBezTo>
                <a:cubicBezTo>
                  <a:pt x="103" y="74"/>
                  <a:pt x="103" y="74"/>
                  <a:pt x="103" y="74"/>
                </a:cubicBezTo>
                <a:cubicBezTo>
                  <a:pt x="103" y="73"/>
                  <a:pt x="103" y="73"/>
                  <a:pt x="104" y="72"/>
                </a:cubicBezTo>
                <a:cubicBezTo>
                  <a:pt x="104" y="72"/>
                  <a:pt x="105" y="71"/>
                  <a:pt x="106" y="71"/>
                </a:cubicBezTo>
                <a:cubicBezTo>
                  <a:pt x="108" y="71"/>
                  <a:pt x="111" y="71"/>
                  <a:pt x="113" y="72"/>
                </a:cubicBezTo>
                <a:cubicBezTo>
                  <a:pt x="113" y="72"/>
                  <a:pt x="113" y="72"/>
                  <a:pt x="113" y="72"/>
                </a:cubicBezTo>
                <a:cubicBezTo>
                  <a:pt x="114" y="72"/>
                  <a:pt x="114" y="72"/>
                  <a:pt x="115" y="72"/>
                </a:cubicBezTo>
                <a:cubicBezTo>
                  <a:pt x="123" y="72"/>
                  <a:pt x="123" y="72"/>
                  <a:pt x="123" y="72"/>
                </a:cubicBezTo>
                <a:cubicBezTo>
                  <a:pt x="123" y="71"/>
                  <a:pt x="123" y="71"/>
                  <a:pt x="123" y="70"/>
                </a:cubicBezTo>
                <a:cubicBezTo>
                  <a:pt x="123" y="70"/>
                  <a:pt x="123" y="70"/>
                  <a:pt x="123" y="70"/>
                </a:cubicBezTo>
                <a:cubicBezTo>
                  <a:pt x="123" y="69"/>
                  <a:pt x="123" y="68"/>
                  <a:pt x="124" y="68"/>
                </a:cubicBezTo>
                <a:cubicBezTo>
                  <a:pt x="124" y="67"/>
                  <a:pt x="124" y="67"/>
                  <a:pt x="124" y="67"/>
                </a:cubicBezTo>
                <a:cubicBezTo>
                  <a:pt x="124" y="67"/>
                  <a:pt x="124" y="67"/>
                  <a:pt x="124" y="66"/>
                </a:cubicBezTo>
                <a:cubicBezTo>
                  <a:pt x="125" y="65"/>
                  <a:pt x="124" y="63"/>
                  <a:pt x="124" y="62"/>
                </a:cubicBezTo>
                <a:cubicBezTo>
                  <a:pt x="124" y="61"/>
                  <a:pt x="124" y="60"/>
                  <a:pt x="124" y="60"/>
                </a:cubicBezTo>
                <a:cubicBezTo>
                  <a:pt x="124" y="53"/>
                  <a:pt x="124" y="53"/>
                  <a:pt x="124" y="53"/>
                </a:cubicBezTo>
                <a:cubicBezTo>
                  <a:pt x="124" y="53"/>
                  <a:pt x="124" y="54"/>
                  <a:pt x="123" y="54"/>
                </a:cubicBezTo>
                <a:cubicBezTo>
                  <a:pt x="123" y="54"/>
                  <a:pt x="122" y="54"/>
                  <a:pt x="121" y="54"/>
                </a:cubicBezTo>
                <a:cubicBezTo>
                  <a:pt x="120" y="54"/>
                  <a:pt x="120" y="54"/>
                  <a:pt x="120" y="54"/>
                </a:cubicBezTo>
                <a:cubicBezTo>
                  <a:pt x="120" y="54"/>
                  <a:pt x="120" y="54"/>
                  <a:pt x="119" y="54"/>
                </a:cubicBezTo>
                <a:cubicBezTo>
                  <a:pt x="118" y="54"/>
                  <a:pt x="117" y="54"/>
                  <a:pt x="117" y="54"/>
                </a:cubicBezTo>
                <a:cubicBezTo>
                  <a:pt x="113" y="54"/>
                  <a:pt x="110" y="55"/>
                  <a:pt x="108" y="56"/>
                </a:cubicBezTo>
                <a:cubicBezTo>
                  <a:pt x="106" y="56"/>
                  <a:pt x="106" y="56"/>
                  <a:pt x="106" y="56"/>
                </a:cubicBezTo>
                <a:cubicBezTo>
                  <a:pt x="106" y="55"/>
                  <a:pt x="106" y="55"/>
                  <a:pt x="106" y="55"/>
                </a:cubicBezTo>
                <a:cubicBezTo>
                  <a:pt x="106" y="55"/>
                  <a:pt x="106" y="54"/>
                  <a:pt x="106" y="54"/>
                </a:cubicBezTo>
                <a:cubicBezTo>
                  <a:pt x="106" y="54"/>
                  <a:pt x="106" y="54"/>
                  <a:pt x="106" y="54"/>
                </a:cubicBezTo>
                <a:cubicBezTo>
                  <a:pt x="105" y="53"/>
                  <a:pt x="105" y="52"/>
                  <a:pt x="105" y="50"/>
                </a:cubicBezTo>
                <a:cubicBezTo>
                  <a:pt x="105" y="50"/>
                  <a:pt x="106" y="49"/>
                  <a:pt x="106" y="49"/>
                </a:cubicBezTo>
                <a:cubicBezTo>
                  <a:pt x="106" y="49"/>
                  <a:pt x="106" y="49"/>
                  <a:pt x="106" y="49"/>
                </a:cubicBezTo>
                <a:cubicBezTo>
                  <a:pt x="106" y="48"/>
                  <a:pt x="106" y="48"/>
                  <a:pt x="106" y="48"/>
                </a:cubicBezTo>
                <a:cubicBezTo>
                  <a:pt x="106" y="48"/>
                  <a:pt x="106" y="48"/>
                  <a:pt x="106" y="48"/>
                </a:cubicBezTo>
                <a:cubicBezTo>
                  <a:pt x="106" y="48"/>
                  <a:pt x="106" y="48"/>
                  <a:pt x="106" y="48"/>
                </a:cubicBezTo>
                <a:cubicBezTo>
                  <a:pt x="107" y="48"/>
                  <a:pt x="107" y="48"/>
                  <a:pt x="107" y="48"/>
                </a:cubicBezTo>
                <a:cubicBezTo>
                  <a:pt x="107" y="48"/>
                  <a:pt x="106" y="47"/>
                  <a:pt x="106" y="46"/>
                </a:cubicBezTo>
                <a:cubicBezTo>
                  <a:pt x="106" y="45"/>
                  <a:pt x="106" y="43"/>
                  <a:pt x="105" y="42"/>
                </a:cubicBezTo>
                <a:cubicBezTo>
                  <a:pt x="105" y="42"/>
                  <a:pt x="105" y="42"/>
                  <a:pt x="105" y="42"/>
                </a:cubicBezTo>
                <a:cubicBezTo>
                  <a:pt x="105" y="42"/>
                  <a:pt x="105" y="42"/>
                  <a:pt x="105" y="42"/>
                </a:cubicBezTo>
                <a:cubicBezTo>
                  <a:pt x="105" y="41"/>
                  <a:pt x="104" y="41"/>
                  <a:pt x="104" y="41"/>
                </a:cubicBezTo>
                <a:cubicBezTo>
                  <a:pt x="103" y="40"/>
                  <a:pt x="102" y="39"/>
                  <a:pt x="102" y="38"/>
                </a:cubicBezTo>
                <a:cubicBezTo>
                  <a:pt x="102" y="38"/>
                  <a:pt x="102" y="37"/>
                  <a:pt x="102" y="37"/>
                </a:cubicBezTo>
                <a:cubicBezTo>
                  <a:pt x="101" y="36"/>
                  <a:pt x="101" y="36"/>
                  <a:pt x="101" y="35"/>
                </a:cubicBezTo>
                <a:cubicBezTo>
                  <a:pt x="101" y="35"/>
                  <a:pt x="101" y="35"/>
                  <a:pt x="101" y="35"/>
                </a:cubicBezTo>
                <a:cubicBezTo>
                  <a:pt x="101" y="34"/>
                  <a:pt x="101" y="34"/>
                  <a:pt x="101" y="34"/>
                </a:cubicBezTo>
                <a:cubicBezTo>
                  <a:pt x="102" y="33"/>
                  <a:pt x="102" y="33"/>
                  <a:pt x="102" y="33"/>
                </a:cubicBezTo>
                <a:cubicBezTo>
                  <a:pt x="102" y="32"/>
                  <a:pt x="102" y="31"/>
                  <a:pt x="102" y="30"/>
                </a:cubicBezTo>
                <a:cubicBezTo>
                  <a:pt x="102" y="28"/>
                  <a:pt x="102" y="28"/>
                  <a:pt x="102" y="28"/>
                </a:cubicBezTo>
                <a:cubicBezTo>
                  <a:pt x="102" y="28"/>
                  <a:pt x="102" y="28"/>
                  <a:pt x="102" y="27"/>
                </a:cubicBezTo>
                <a:cubicBezTo>
                  <a:pt x="102" y="27"/>
                  <a:pt x="102" y="27"/>
                  <a:pt x="102" y="27"/>
                </a:cubicBezTo>
                <a:cubicBezTo>
                  <a:pt x="102" y="27"/>
                  <a:pt x="103" y="25"/>
                  <a:pt x="102" y="25"/>
                </a:cubicBezTo>
                <a:cubicBezTo>
                  <a:pt x="101" y="22"/>
                  <a:pt x="101" y="21"/>
                  <a:pt x="101" y="18"/>
                </a:cubicBezTo>
                <a:cubicBezTo>
                  <a:pt x="102" y="18"/>
                  <a:pt x="102" y="17"/>
                  <a:pt x="102" y="16"/>
                </a:cubicBezTo>
                <a:cubicBezTo>
                  <a:pt x="102" y="15"/>
                  <a:pt x="102" y="15"/>
                  <a:pt x="101" y="15"/>
                </a:cubicBezTo>
                <a:cubicBezTo>
                  <a:pt x="101" y="15"/>
                  <a:pt x="101" y="15"/>
                  <a:pt x="101" y="15"/>
                </a:cubicBezTo>
                <a:cubicBezTo>
                  <a:pt x="100" y="15"/>
                  <a:pt x="100" y="15"/>
                  <a:pt x="100" y="15"/>
                </a:cubicBezTo>
                <a:cubicBezTo>
                  <a:pt x="100" y="15"/>
                  <a:pt x="100" y="15"/>
                  <a:pt x="100" y="15"/>
                </a:cubicBezTo>
                <a:cubicBezTo>
                  <a:pt x="95" y="15"/>
                  <a:pt x="95" y="15"/>
                  <a:pt x="95" y="15"/>
                </a:cubicBezTo>
                <a:cubicBezTo>
                  <a:pt x="94" y="15"/>
                  <a:pt x="94" y="15"/>
                  <a:pt x="94" y="15"/>
                </a:cubicBezTo>
                <a:cubicBezTo>
                  <a:pt x="92" y="15"/>
                  <a:pt x="91" y="15"/>
                  <a:pt x="90" y="15"/>
                </a:cubicBezTo>
                <a:cubicBezTo>
                  <a:pt x="89" y="15"/>
                  <a:pt x="89" y="14"/>
                  <a:pt x="89" y="14"/>
                </a:cubicBezTo>
                <a:cubicBezTo>
                  <a:pt x="88" y="13"/>
                  <a:pt x="88" y="12"/>
                  <a:pt x="89" y="11"/>
                </a:cubicBezTo>
                <a:cubicBezTo>
                  <a:pt x="89" y="11"/>
                  <a:pt x="89" y="11"/>
                  <a:pt x="89" y="11"/>
                </a:cubicBezTo>
                <a:cubicBezTo>
                  <a:pt x="89" y="11"/>
                  <a:pt x="89" y="11"/>
                  <a:pt x="89" y="11"/>
                </a:cubicBezTo>
                <a:cubicBezTo>
                  <a:pt x="89" y="11"/>
                  <a:pt x="88" y="11"/>
                  <a:pt x="88" y="11"/>
                </a:cubicBezTo>
                <a:cubicBezTo>
                  <a:pt x="88" y="11"/>
                  <a:pt x="88" y="11"/>
                  <a:pt x="88" y="11"/>
                </a:cubicBezTo>
                <a:cubicBezTo>
                  <a:pt x="88" y="12"/>
                  <a:pt x="87" y="12"/>
                  <a:pt x="87" y="12"/>
                </a:cubicBezTo>
                <a:cubicBezTo>
                  <a:pt x="86" y="12"/>
                  <a:pt x="86" y="12"/>
                  <a:pt x="85" y="12"/>
                </a:cubicBezTo>
                <a:cubicBezTo>
                  <a:pt x="84" y="12"/>
                  <a:pt x="84" y="12"/>
                  <a:pt x="84" y="12"/>
                </a:cubicBezTo>
                <a:cubicBezTo>
                  <a:pt x="84" y="12"/>
                  <a:pt x="84" y="12"/>
                  <a:pt x="84" y="12"/>
                </a:cubicBezTo>
                <a:cubicBezTo>
                  <a:pt x="84" y="12"/>
                  <a:pt x="84" y="12"/>
                  <a:pt x="83" y="12"/>
                </a:cubicBezTo>
                <a:cubicBezTo>
                  <a:pt x="83" y="12"/>
                  <a:pt x="83" y="12"/>
                  <a:pt x="83" y="12"/>
                </a:cubicBezTo>
                <a:cubicBezTo>
                  <a:pt x="82" y="12"/>
                  <a:pt x="82" y="12"/>
                  <a:pt x="82" y="12"/>
                </a:cubicBezTo>
                <a:cubicBezTo>
                  <a:pt x="82" y="12"/>
                  <a:pt x="82" y="13"/>
                  <a:pt x="81" y="13"/>
                </a:cubicBezTo>
                <a:cubicBezTo>
                  <a:pt x="81" y="13"/>
                  <a:pt x="81" y="13"/>
                  <a:pt x="81" y="13"/>
                </a:cubicBezTo>
                <a:cubicBezTo>
                  <a:pt x="81" y="13"/>
                  <a:pt x="81" y="13"/>
                  <a:pt x="81" y="13"/>
                </a:cubicBezTo>
                <a:cubicBezTo>
                  <a:pt x="81" y="13"/>
                  <a:pt x="80" y="14"/>
                  <a:pt x="80" y="16"/>
                </a:cubicBezTo>
                <a:cubicBezTo>
                  <a:pt x="80" y="16"/>
                  <a:pt x="80" y="16"/>
                  <a:pt x="80" y="16"/>
                </a:cubicBezTo>
                <a:cubicBezTo>
                  <a:pt x="80" y="19"/>
                  <a:pt x="80" y="19"/>
                  <a:pt x="80" y="19"/>
                </a:cubicBezTo>
                <a:cubicBezTo>
                  <a:pt x="79" y="19"/>
                  <a:pt x="79" y="19"/>
                  <a:pt x="79" y="20"/>
                </a:cubicBezTo>
                <a:cubicBezTo>
                  <a:pt x="79" y="20"/>
                  <a:pt x="79" y="20"/>
                  <a:pt x="79" y="20"/>
                </a:cubicBezTo>
                <a:cubicBezTo>
                  <a:pt x="79" y="20"/>
                  <a:pt x="79" y="22"/>
                  <a:pt x="77" y="22"/>
                </a:cubicBezTo>
                <a:cubicBezTo>
                  <a:pt x="77" y="22"/>
                  <a:pt x="77" y="22"/>
                  <a:pt x="77" y="22"/>
                </a:cubicBezTo>
                <a:cubicBezTo>
                  <a:pt x="70" y="22"/>
                  <a:pt x="70" y="22"/>
                  <a:pt x="70" y="22"/>
                </a:cubicBezTo>
                <a:cubicBezTo>
                  <a:pt x="70" y="22"/>
                  <a:pt x="70" y="22"/>
                  <a:pt x="70" y="22"/>
                </a:cubicBezTo>
                <a:cubicBezTo>
                  <a:pt x="69" y="22"/>
                  <a:pt x="68" y="22"/>
                  <a:pt x="67" y="22"/>
                </a:cubicBezTo>
                <a:cubicBezTo>
                  <a:pt x="66" y="22"/>
                  <a:pt x="66" y="22"/>
                  <a:pt x="66" y="22"/>
                </a:cubicBezTo>
                <a:cubicBezTo>
                  <a:pt x="66" y="22"/>
                  <a:pt x="66" y="23"/>
                  <a:pt x="66" y="23"/>
                </a:cubicBezTo>
                <a:cubicBezTo>
                  <a:pt x="66" y="23"/>
                  <a:pt x="65" y="24"/>
                  <a:pt x="64" y="24"/>
                </a:cubicBezTo>
                <a:cubicBezTo>
                  <a:pt x="61" y="23"/>
                  <a:pt x="61" y="23"/>
                  <a:pt x="61" y="23"/>
                </a:cubicBezTo>
                <a:cubicBezTo>
                  <a:pt x="59" y="23"/>
                  <a:pt x="58" y="23"/>
                  <a:pt x="57" y="21"/>
                </a:cubicBezTo>
                <a:cubicBezTo>
                  <a:pt x="55" y="18"/>
                  <a:pt x="55" y="18"/>
                  <a:pt x="55" y="18"/>
                </a:cubicBezTo>
                <a:cubicBezTo>
                  <a:pt x="55" y="18"/>
                  <a:pt x="55" y="17"/>
                  <a:pt x="55" y="17"/>
                </a:cubicBezTo>
                <a:cubicBezTo>
                  <a:pt x="54" y="17"/>
                  <a:pt x="54" y="17"/>
                  <a:pt x="54" y="17"/>
                </a:cubicBezTo>
                <a:cubicBezTo>
                  <a:pt x="54" y="16"/>
                  <a:pt x="53" y="15"/>
                  <a:pt x="53" y="14"/>
                </a:cubicBezTo>
                <a:cubicBezTo>
                  <a:pt x="51" y="11"/>
                  <a:pt x="50" y="8"/>
                  <a:pt x="50" y="5"/>
                </a:cubicBezTo>
                <a:cubicBezTo>
                  <a:pt x="49" y="1"/>
                  <a:pt x="49" y="1"/>
                  <a:pt x="49" y="1"/>
                </a:cubicBezTo>
                <a:cubicBezTo>
                  <a:pt x="48" y="1"/>
                  <a:pt x="48" y="1"/>
                  <a:pt x="47" y="1"/>
                </a:cubicBezTo>
                <a:cubicBezTo>
                  <a:pt x="46" y="1"/>
                  <a:pt x="46" y="1"/>
                  <a:pt x="46" y="1"/>
                </a:cubicBezTo>
                <a:cubicBezTo>
                  <a:pt x="46" y="1"/>
                  <a:pt x="45" y="1"/>
                  <a:pt x="45" y="1"/>
                </a:cubicBezTo>
                <a:cubicBezTo>
                  <a:pt x="44" y="1"/>
                  <a:pt x="44" y="1"/>
                  <a:pt x="43" y="1"/>
                </a:cubicBezTo>
                <a:cubicBezTo>
                  <a:pt x="31" y="1"/>
                  <a:pt x="31" y="1"/>
                  <a:pt x="31" y="1"/>
                </a:cubicBezTo>
                <a:cubicBezTo>
                  <a:pt x="29" y="1"/>
                  <a:pt x="27" y="1"/>
                  <a:pt x="25" y="1"/>
                </a:cubicBezTo>
                <a:cubicBezTo>
                  <a:pt x="24" y="1"/>
                  <a:pt x="24" y="1"/>
                  <a:pt x="24" y="1"/>
                </a:cubicBezTo>
                <a:cubicBezTo>
                  <a:pt x="23" y="1"/>
                  <a:pt x="22" y="1"/>
                  <a:pt x="21" y="1"/>
                </a:cubicBezTo>
                <a:cubicBezTo>
                  <a:pt x="20" y="0"/>
                  <a:pt x="19" y="0"/>
                  <a:pt x="18" y="0"/>
                </a:cubicBezTo>
                <a:cubicBezTo>
                  <a:pt x="17" y="0"/>
                  <a:pt x="17" y="0"/>
                  <a:pt x="17" y="0"/>
                </a:cubicBezTo>
                <a:cubicBezTo>
                  <a:pt x="17" y="0"/>
                  <a:pt x="17" y="0"/>
                  <a:pt x="17" y="0"/>
                </a:cubicBezTo>
                <a:cubicBezTo>
                  <a:pt x="16" y="0"/>
                  <a:pt x="14" y="0"/>
                  <a:pt x="12" y="0"/>
                </a:cubicBezTo>
                <a:cubicBezTo>
                  <a:pt x="12" y="0"/>
                  <a:pt x="11" y="0"/>
                  <a:pt x="10" y="1"/>
                </a:cubicBezTo>
                <a:cubicBezTo>
                  <a:pt x="9" y="2"/>
                  <a:pt x="8" y="2"/>
                  <a:pt x="7" y="2"/>
                </a:cubicBezTo>
                <a:cubicBezTo>
                  <a:pt x="7" y="2"/>
                  <a:pt x="7" y="2"/>
                  <a:pt x="7" y="2"/>
                </a:cubicBezTo>
                <a:cubicBezTo>
                  <a:pt x="5" y="2"/>
                  <a:pt x="5" y="2"/>
                  <a:pt x="5" y="2"/>
                </a:cubicBezTo>
                <a:cubicBezTo>
                  <a:pt x="6" y="3"/>
                  <a:pt x="7" y="5"/>
                  <a:pt x="7" y="6"/>
                </a:cubicBezTo>
                <a:cubicBezTo>
                  <a:pt x="8" y="7"/>
                  <a:pt x="9" y="8"/>
                  <a:pt x="9" y="9"/>
                </a:cubicBezTo>
                <a:cubicBezTo>
                  <a:pt x="11" y="12"/>
                  <a:pt x="12" y="15"/>
                  <a:pt x="13" y="18"/>
                </a:cubicBezTo>
                <a:cubicBezTo>
                  <a:pt x="14" y="21"/>
                  <a:pt x="16" y="23"/>
                  <a:pt x="16" y="25"/>
                </a:cubicBezTo>
                <a:cubicBezTo>
                  <a:pt x="16" y="27"/>
                  <a:pt x="17" y="28"/>
                  <a:pt x="15" y="29"/>
                </a:cubicBezTo>
                <a:cubicBezTo>
                  <a:pt x="15" y="30"/>
                  <a:pt x="13" y="31"/>
                  <a:pt x="13" y="32"/>
                </a:cubicBezTo>
                <a:cubicBezTo>
                  <a:pt x="12" y="33"/>
                  <a:pt x="14" y="35"/>
                  <a:pt x="14" y="35"/>
                </a:cubicBezTo>
                <a:cubicBezTo>
                  <a:pt x="15" y="38"/>
                  <a:pt x="16" y="41"/>
                  <a:pt x="18" y="44"/>
                </a:cubicBezTo>
                <a:cubicBezTo>
                  <a:pt x="19" y="47"/>
                  <a:pt x="21" y="49"/>
                  <a:pt x="21" y="52"/>
                </a:cubicBezTo>
                <a:cubicBezTo>
                  <a:pt x="21" y="54"/>
                  <a:pt x="22" y="58"/>
                  <a:pt x="20" y="61"/>
                </a:cubicBezTo>
                <a:cubicBezTo>
                  <a:pt x="20" y="63"/>
                  <a:pt x="19" y="65"/>
                  <a:pt x="18" y="67"/>
                </a:cubicBezTo>
                <a:cubicBezTo>
                  <a:pt x="17" y="68"/>
                  <a:pt x="17" y="68"/>
                  <a:pt x="15" y="69"/>
                </a:cubicBezTo>
                <a:cubicBezTo>
                  <a:pt x="13" y="70"/>
                  <a:pt x="11" y="73"/>
                  <a:pt x="10" y="75"/>
                </a:cubicBezTo>
                <a:cubicBezTo>
                  <a:pt x="8" y="77"/>
                  <a:pt x="8" y="79"/>
                  <a:pt x="7" y="81"/>
                </a:cubicBezTo>
                <a:cubicBezTo>
                  <a:pt x="6" y="85"/>
                  <a:pt x="5" y="89"/>
                  <a:pt x="4" y="93"/>
                </a:cubicBezTo>
                <a:cubicBezTo>
                  <a:pt x="4" y="95"/>
                  <a:pt x="4" y="98"/>
                  <a:pt x="2" y="100"/>
                </a:cubicBezTo>
                <a:cubicBezTo>
                  <a:pt x="2" y="100"/>
                  <a:pt x="0" y="102"/>
                  <a:pt x="0" y="103"/>
                </a:cubicBezTo>
                <a:cubicBezTo>
                  <a:pt x="0" y="103"/>
                  <a:pt x="0" y="104"/>
                  <a:pt x="0" y="104"/>
                </a:cubicBezTo>
                <a:cubicBezTo>
                  <a:pt x="0" y="108"/>
                  <a:pt x="0" y="112"/>
                  <a:pt x="0" y="116"/>
                </a:cubicBezTo>
                <a:cubicBezTo>
                  <a:pt x="1" y="116"/>
                  <a:pt x="2" y="116"/>
                  <a:pt x="3" y="116"/>
                </a:cubicBezTo>
                <a:cubicBezTo>
                  <a:pt x="4" y="116"/>
                  <a:pt x="6" y="116"/>
                  <a:pt x="7" y="116"/>
                </a:cubicBezTo>
                <a:cubicBezTo>
                  <a:pt x="8" y="116"/>
                  <a:pt x="9" y="115"/>
                  <a:pt x="10" y="115"/>
                </a:cubicBezTo>
                <a:cubicBezTo>
                  <a:pt x="10" y="115"/>
                  <a:pt x="11" y="114"/>
                  <a:pt x="11" y="114"/>
                </a:cubicBezTo>
                <a:cubicBezTo>
                  <a:pt x="12" y="114"/>
                  <a:pt x="12" y="114"/>
                  <a:pt x="12" y="114"/>
                </a:cubicBezTo>
                <a:cubicBezTo>
                  <a:pt x="13" y="114"/>
                  <a:pt x="13" y="114"/>
                  <a:pt x="13" y="114"/>
                </a:cubicBezTo>
                <a:cubicBezTo>
                  <a:pt x="12" y="112"/>
                  <a:pt x="12" y="112"/>
                  <a:pt x="12" y="112"/>
                </a:cubicBezTo>
                <a:cubicBezTo>
                  <a:pt x="13" y="113"/>
                  <a:pt x="13" y="113"/>
                  <a:pt x="13" y="113"/>
                </a:cubicBezTo>
                <a:lnTo>
                  <a:pt x="14" y="113"/>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98" name="Freeform 3055">
            <a:extLst>
              <a:ext uri="{FF2B5EF4-FFF2-40B4-BE49-F238E27FC236}">
                <a16:creationId xmlns:a16="http://schemas.microsoft.com/office/drawing/2014/main" id="{937BA3F0-65D2-4427-A7D7-6FCC4D48CA03}"/>
              </a:ext>
            </a:extLst>
          </p:cNvPr>
          <p:cNvSpPr>
            <a:spLocks/>
          </p:cNvSpPr>
          <p:nvPr/>
        </p:nvSpPr>
        <p:spPr bwMode="auto">
          <a:xfrm>
            <a:off x="3605119" y="3879678"/>
            <a:ext cx="136279" cy="140088"/>
          </a:xfrm>
          <a:custGeom>
            <a:avLst/>
            <a:gdLst>
              <a:gd name="T0" fmla="*/ 108 w 116"/>
              <a:gd name="T1" fmla="*/ 56 h 100"/>
              <a:gd name="T2" fmla="*/ 108 w 116"/>
              <a:gd name="T3" fmla="*/ 52 h 100"/>
              <a:gd name="T4" fmla="*/ 109 w 116"/>
              <a:gd name="T5" fmla="*/ 51 h 100"/>
              <a:gd name="T6" fmla="*/ 110 w 116"/>
              <a:gd name="T7" fmla="*/ 43 h 100"/>
              <a:gd name="T8" fmla="*/ 113 w 116"/>
              <a:gd name="T9" fmla="*/ 42 h 100"/>
              <a:gd name="T10" fmla="*/ 112 w 116"/>
              <a:gd name="T11" fmla="*/ 36 h 100"/>
              <a:gd name="T12" fmla="*/ 113 w 116"/>
              <a:gd name="T13" fmla="*/ 30 h 100"/>
              <a:gd name="T14" fmla="*/ 113 w 116"/>
              <a:gd name="T15" fmla="*/ 27 h 100"/>
              <a:gd name="T16" fmla="*/ 113 w 116"/>
              <a:gd name="T17" fmla="*/ 24 h 100"/>
              <a:gd name="T18" fmla="*/ 116 w 116"/>
              <a:gd name="T19" fmla="*/ 22 h 100"/>
              <a:gd name="T20" fmla="*/ 109 w 116"/>
              <a:gd name="T21" fmla="*/ 11 h 100"/>
              <a:gd name="T22" fmla="*/ 99 w 116"/>
              <a:gd name="T23" fmla="*/ 8 h 100"/>
              <a:gd name="T24" fmla="*/ 97 w 116"/>
              <a:gd name="T25" fmla="*/ 6 h 100"/>
              <a:gd name="T26" fmla="*/ 92 w 116"/>
              <a:gd name="T27" fmla="*/ 4 h 100"/>
              <a:gd name="T28" fmla="*/ 86 w 116"/>
              <a:gd name="T29" fmla="*/ 2 h 100"/>
              <a:gd name="T30" fmla="*/ 71 w 116"/>
              <a:gd name="T31" fmla="*/ 2 h 100"/>
              <a:gd name="T32" fmla="*/ 68 w 116"/>
              <a:gd name="T33" fmla="*/ 7 h 100"/>
              <a:gd name="T34" fmla="*/ 67 w 116"/>
              <a:gd name="T35" fmla="*/ 11 h 100"/>
              <a:gd name="T36" fmla="*/ 67 w 116"/>
              <a:gd name="T37" fmla="*/ 12 h 100"/>
              <a:gd name="T38" fmla="*/ 68 w 116"/>
              <a:gd name="T39" fmla="*/ 17 h 100"/>
              <a:gd name="T40" fmla="*/ 67 w 116"/>
              <a:gd name="T41" fmla="*/ 20 h 100"/>
              <a:gd name="T42" fmla="*/ 67 w 116"/>
              <a:gd name="T43" fmla="*/ 36 h 100"/>
              <a:gd name="T44" fmla="*/ 71 w 116"/>
              <a:gd name="T45" fmla="*/ 40 h 100"/>
              <a:gd name="T46" fmla="*/ 74 w 116"/>
              <a:gd name="T47" fmla="*/ 40 h 100"/>
              <a:gd name="T48" fmla="*/ 78 w 116"/>
              <a:gd name="T49" fmla="*/ 38 h 100"/>
              <a:gd name="T50" fmla="*/ 78 w 116"/>
              <a:gd name="T51" fmla="*/ 54 h 100"/>
              <a:gd name="T52" fmla="*/ 76 w 116"/>
              <a:gd name="T53" fmla="*/ 54 h 100"/>
              <a:gd name="T54" fmla="*/ 74 w 116"/>
              <a:gd name="T55" fmla="*/ 53 h 100"/>
              <a:gd name="T56" fmla="*/ 62 w 116"/>
              <a:gd name="T57" fmla="*/ 43 h 100"/>
              <a:gd name="T58" fmla="*/ 57 w 116"/>
              <a:gd name="T59" fmla="*/ 41 h 100"/>
              <a:gd name="T60" fmla="*/ 53 w 116"/>
              <a:gd name="T61" fmla="*/ 38 h 100"/>
              <a:gd name="T62" fmla="*/ 51 w 116"/>
              <a:gd name="T63" fmla="*/ 36 h 100"/>
              <a:gd name="T64" fmla="*/ 37 w 116"/>
              <a:gd name="T65" fmla="*/ 37 h 100"/>
              <a:gd name="T66" fmla="*/ 32 w 116"/>
              <a:gd name="T67" fmla="*/ 34 h 100"/>
              <a:gd name="T68" fmla="*/ 28 w 116"/>
              <a:gd name="T69" fmla="*/ 31 h 100"/>
              <a:gd name="T70" fmla="*/ 22 w 116"/>
              <a:gd name="T71" fmla="*/ 33 h 100"/>
              <a:gd name="T72" fmla="*/ 22 w 116"/>
              <a:gd name="T73" fmla="*/ 30 h 100"/>
              <a:gd name="T74" fmla="*/ 21 w 116"/>
              <a:gd name="T75" fmla="*/ 37 h 100"/>
              <a:gd name="T76" fmla="*/ 19 w 116"/>
              <a:gd name="T77" fmla="*/ 45 h 100"/>
              <a:gd name="T78" fmla="*/ 21 w 116"/>
              <a:gd name="T79" fmla="*/ 49 h 100"/>
              <a:gd name="T80" fmla="*/ 0 w 116"/>
              <a:gd name="T81" fmla="*/ 49 h 100"/>
              <a:gd name="T82" fmla="*/ 0 w 116"/>
              <a:gd name="T83" fmla="*/ 53 h 100"/>
              <a:gd name="T84" fmla="*/ 0 w 116"/>
              <a:gd name="T85" fmla="*/ 81 h 100"/>
              <a:gd name="T86" fmla="*/ 13 w 116"/>
              <a:gd name="T87" fmla="*/ 94 h 100"/>
              <a:gd name="T88" fmla="*/ 14 w 116"/>
              <a:gd name="T89" fmla="*/ 95 h 100"/>
              <a:gd name="T90" fmla="*/ 23 w 116"/>
              <a:gd name="T91" fmla="*/ 94 h 100"/>
              <a:gd name="T92" fmla="*/ 31 w 116"/>
              <a:gd name="T93" fmla="*/ 96 h 100"/>
              <a:gd name="T94" fmla="*/ 33 w 116"/>
              <a:gd name="T95" fmla="*/ 97 h 100"/>
              <a:gd name="T96" fmla="*/ 46 w 116"/>
              <a:gd name="T97" fmla="*/ 100 h 100"/>
              <a:gd name="T98" fmla="*/ 48 w 116"/>
              <a:gd name="T99" fmla="*/ 99 h 100"/>
              <a:gd name="T100" fmla="*/ 51 w 116"/>
              <a:gd name="T101" fmla="*/ 96 h 100"/>
              <a:gd name="T102" fmla="*/ 54 w 116"/>
              <a:gd name="T103" fmla="*/ 94 h 100"/>
              <a:gd name="T104" fmla="*/ 55 w 116"/>
              <a:gd name="T105" fmla="*/ 92 h 100"/>
              <a:gd name="T106" fmla="*/ 61 w 116"/>
              <a:gd name="T107" fmla="*/ 87 h 100"/>
              <a:gd name="T108" fmla="*/ 67 w 116"/>
              <a:gd name="T109" fmla="*/ 83 h 100"/>
              <a:gd name="T110" fmla="*/ 68 w 116"/>
              <a:gd name="T111" fmla="*/ 81 h 100"/>
              <a:gd name="T112" fmla="*/ 70 w 116"/>
              <a:gd name="T113" fmla="*/ 77 h 100"/>
              <a:gd name="T114" fmla="*/ 81 w 116"/>
              <a:gd name="T115" fmla="*/ 74 h 100"/>
              <a:gd name="T116" fmla="*/ 81 w 116"/>
              <a:gd name="T117" fmla="*/ 69 h 100"/>
              <a:gd name="T118" fmla="*/ 109 w 116"/>
              <a:gd name="T119" fmla="*/ 5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 h="100">
                <a:moveTo>
                  <a:pt x="109" y="58"/>
                </a:moveTo>
                <a:cubicBezTo>
                  <a:pt x="109" y="58"/>
                  <a:pt x="109" y="58"/>
                  <a:pt x="109" y="58"/>
                </a:cubicBezTo>
                <a:cubicBezTo>
                  <a:pt x="109" y="58"/>
                  <a:pt x="109" y="57"/>
                  <a:pt x="108" y="57"/>
                </a:cubicBezTo>
                <a:cubicBezTo>
                  <a:pt x="108" y="56"/>
                  <a:pt x="108" y="56"/>
                  <a:pt x="108" y="56"/>
                </a:cubicBezTo>
                <a:cubicBezTo>
                  <a:pt x="107" y="56"/>
                  <a:pt x="107" y="56"/>
                  <a:pt x="107" y="55"/>
                </a:cubicBezTo>
                <a:cubicBezTo>
                  <a:pt x="107" y="55"/>
                  <a:pt x="107" y="55"/>
                  <a:pt x="107" y="54"/>
                </a:cubicBezTo>
                <a:cubicBezTo>
                  <a:pt x="107" y="54"/>
                  <a:pt x="107" y="53"/>
                  <a:pt x="107" y="53"/>
                </a:cubicBezTo>
                <a:cubicBezTo>
                  <a:pt x="108" y="53"/>
                  <a:pt x="108" y="52"/>
                  <a:pt x="108" y="52"/>
                </a:cubicBezTo>
                <a:cubicBezTo>
                  <a:pt x="108" y="52"/>
                  <a:pt x="108" y="52"/>
                  <a:pt x="108" y="52"/>
                </a:cubicBezTo>
                <a:cubicBezTo>
                  <a:pt x="109" y="52"/>
                  <a:pt x="109" y="52"/>
                  <a:pt x="109" y="52"/>
                </a:cubicBezTo>
                <a:cubicBezTo>
                  <a:pt x="109" y="52"/>
                  <a:pt x="109" y="51"/>
                  <a:pt x="109" y="51"/>
                </a:cubicBezTo>
                <a:cubicBezTo>
                  <a:pt x="109" y="51"/>
                  <a:pt x="109" y="51"/>
                  <a:pt x="109" y="51"/>
                </a:cubicBezTo>
                <a:cubicBezTo>
                  <a:pt x="110" y="50"/>
                  <a:pt x="110" y="48"/>
                  <a:pt x="110" y="47"/>
                </a:cubicBezTo>
                <a:cubicBezTo>
                  <a:pt x="110" y="46"/>
                  <a:pt x="110" y="45"/>
                  <a:pt x="110" y="44"/>
                </a:cubicBezTo>
                <a:cubicBezTo>
                  <a:pt x="110" y="44"/>
                  <a:pt x="110" y="44"/>
                  <a:pt x="110" y="44"/>
                </a:cubicBezTo>
                <a:cubicBezTo>
                  <a:pt x="110" y="44"/>
                  <a:pt x="110" y="43"/>
                  <a:pt x="110" y="43"/>
                </a:cubicBezTo>
                <a:cubicBezTo>
                  <a:pt x="111" y="42"/>
                  <a:pt x="111" y="42"/>
                  <a:pt x="111" y="42"/>
                </a:cubicBezTo>
                <a:cubicBezTo>
                  <a:pt x="112" y="42"/>
                  <a:pt x="112" y="42"/>
                  <a:pt x="112" y="42"/>
                </a:cubicBezTo>
                <a:cubicBezTo>
                  <a:pt x="112" y="42"/>
                  <a:pt x="112" y="42"/>
                  <a:pt x="112" y="42"/>
                </a:cubicBezTo>
                <a:cubicBezTo>
                  <a:pt x="113" y="42"/>
                  <a:pt x="113" y="42"/>
                  <a:pt x="113" y="42"/>
                </a:cubicBezTo>
                <a:cubicBezTo>
                  <a:pt x="113" y="42"/>
                  <a:pt x="114" y="42"/>
                  <a:pt x="114" y="41"/>
                </a:cubicBezTo>
                <a:cubicBezTo>
                  <a:pt x="113" y="40"/>
                  <a:pt x="113" y="39"/>
                  <a:pt x="113" y="38"/>
                </a:cubicBezTo>
                <a:cubicBezTo>
                  <a:pt x="113" y="37"/>
                  <a:pt x="113" y="37"/>
                  <a:pt x="113" y="37"/>
                </a:cubicBezTo>
                <a:cubicBezTo>
                  <a:pt x="113" y="37"/>
                  <a:pt x="112" y="36"/>
                  <a:pt x="112" y="36"/>
                </a:cubicBezTo>
                <a:cubicBezTo>
                  <a:pt x="112" y="36"/>
                  <a:pt x="112" y="36"/>
                  <a:pt x="112" y="36"/>
                </a:cubicBezTo>
                <a:cubicBezTo>
                  <a:pt x="112" y="35"/>
                  <a:pt x="112" y="34"/>
                  <a:pt x="112" y="33"/>
                </a:cubicBezTo>
                <a:cubicBezTo>
                  <a:pt x="112" y="33"/>
                  <a:pt x="112" y="32"/>
                  <a:pt x="112" y="32"/>
                </a:cubicBezTo>
                <a:cubicBezTo>
                  <a:pt x="112" y="32"/>
                  <a:pt x="112" y="31"/>
                  <a:pt x="113" y="30"/>
                </a:cubicBezTo>
                <a:cubicBezTo>
                  <a:pt x="113" y="29"/>
                  <a:pt x="113" y="29"/>
                  <a:pt x="113" y="28"/>
                </a:cubicBezTo>
                <a:cubicBezTo>
                  <a:pt x="113" y="28"/>
                  <a:pt x="113" y="28"/>
                  <a:pt x="113" y="27"/>
                </a:cubicBezTo>
                <a:cubicBezTo>
                  <a:pt x="113" y="27"/>
                  <a:pt x="113" y="27"/>
                  <a:pt x="113" y="27"/>
                </a:cubicBezTo>
                <a:cubicBezTo>
                  <a:pt x="113" y="27"/>
                  <a:pt x="113" y="27"/>
                  <a:pt x="113" y="27"/>
                </a:cubicBezTo>
                <a:cubicBezTo>
                  <a:pt x="113" y="27"/>
                  <a:pt x="113" y="27"/>
                  <a:pt x="113" y="27"/>
                </a:cubicBezTo>
                <a:cubicBezTo>
                  <a:pt x="113" y="26"/>
                  <a:pt x="113" y="26"/>
                  <a:pt x="113" y="26"/>
                </a:cubicBezTo>
                <a:cubicBezTo>
                  <a:pt x="113" y="26"/>
                  <a:pt x="113" y="26"/>
                  <a:pt x="113" y="26"/>
                </a:cubicBezTo>
                <a:cubicBezTo>
                  <a:pt x="113" y="25"/>
                  <a:pt x="113" y="25"/>
                  <a:pt x="113" y="24"/>
                </a:cubicBezTo>
                <a:cubicBezTo>
                  <a:pt x="114" y="24"/>
                  <a:pt x="114" y="24"/>
                  <a:pt x="114" y="24"/>
                </a:cubicBezTo>
                <a:cubicBezTo>
                  <a:pt x="114" y="24"/>
                  <a:pt x="114" y="24"/>
                  <a:pt x="114" y="24"/>
                </a:cubicBezTo>
                <a:cubicBezTo>
                  <a:pt x="116" y="22"/>
                  <a:pt x="116" y="22"/>
                  <a:pt x="116" y="22"/>
                </a:cubicBezTo>
                <a:cubicBezTo>
                  <a:pt x="116" y="22"/>
                  <a:pt x="116" y="22"/>
                  <a:pt x="116" y="22"/>
                </a:cubicBezTo>
                <a:cubicBezTo>
                  <a:pt x="115" y="20"/>
                  <a:pt x="113" y="19"/>
                  <a:pt x="113" y="16"/>
                </a:cubicBezTo>
                <a:cubicBezTo>
                  <a:pt x="113" y="15"/>
                  <a:pt x="113" y="15"/>
                  <a:pt x="113" y="14"/>
                </a:cubicBezTo>
                <a:cubicBezTo>
                  <a:pt x="112" y="14"/>
                  <a:pt x="111" y="13"/>
                  <a:pt x="110" y="11"/>
                </a:cubicBezTo>
                <a:cubicBezTo>
                  <a:pt x="110" y="11"/>
                  <a:pt x="109" y="11"/>
                  <a:pt x="109" y="11"/>
                </a:cubicBezTo>
                <a:cubicBezTo>
                  <a:pt x="108" y="11"/>
                  <a:pt x="107" y="11"/>
                  <a:pt x="106" y="10"/>
                </a:cubicBezTo>
                <a:cubicBezTo>
                  <a:pt x="106" y="10"/>
                  <a:pt x="106" y="10"/>
                  <a:pt x="106" y="10"/>
                </a:cubicBezTo>
                <a:cubicBezTo>
                  <a:pt x="104" y="10"/>
                  <a:pt x="101" y="9"/>
                  <a:pt x="100" y="8"/>
                </a:cubicBezTo>
                <a:cubicBezTo>
                  <a:pt x="99" y="8"/>
                  <a:pt x="99" y="8"/>
                  <a:pt x="99" y="8"/>
                </a:cubicBezTo>
                <a:cubicBezTo>
                  <a:pt x="99" y="8"/>
                  <a:pt x="99" y="8"/>
                  <a:pt x="99" y="7"/>
                </a:cubicBezTo>
                <a:cubicBezTo>
                  <a:pt x="99" y="7"/>
                  <a:pt x="99" y="7"/>
                  <a:pt x="99" y="7"/>
                </a:cubicBezTo>
                <a:cubicBezTo>
                  <a:pt x="99" y="7"/>
                  <a:pt x="99" y="7"/>
                  <a:pt x="99" y="7"/>
                </a:cubicBezTo>
                <a:cubicBezTo>
                  <a:pt x="98" y="7"/>
                  <a:pt x="97" y="7"/>
                  <a:pt x="97" y="6"/>
                </a:cubicBezTo>
                <a:cubicBezTo>
                  <a:pt x="96" y="6"/>
                  <a:pt x="95" y="6"/>
                  <a:pt x="94" y="5"/>
                </a:cubicBezTo>
                <a:cubicBezTo>
                  <a:pt x="94" y="5"/>
                  <a:pt x="94" y="5"/>
                  <a:pt x="94" y="5"/>
                </a:cubicBezTo>
                <a:cubicBezTo>
                  <a:pt x="94" y="5"/>
                  <a:pt x="93" y="4"/>
                  <a:pt x="92" y="4"/>
                </a:cubicBezTo>
                <a:cubicBezTo>
                  <a:pt x="92" y="4"/>
                  <a:pt x="92" y="4"/>
                  <a:pt x="92" y="4"/>
                </a:cubicBezTo>
                <a:cubicBezTo>
                  <a:pt x="92" y="4"/>
                  <a:pt x="92" y="4"/>
                  <a:pt x="92" y="4"/>
                </a:cubicBezTo>
                <a:cubicBezTo>
                  <a:pt x="92" y="4"/>
                  <a:pt x="91" y="4"/>
                  <a:pt x="91" y="4"/>
                </a:cubicBezTo>
                <a:cubicBezTo>
                  <a:pt x="90" y="4"/>
                  <a:pt x="88" y="2"/>
                  <a:pt x="87" y="1"/>
                </a:cubicBezTo>
                <a:cubicBezTo>
                  <a:pt x="87" y="2"/>
                  <a:pt x="87" y="2"/>
                  <a:pt x="86" y="2"/>
                </a:cubicBezTo>
                <a:cubicBezTo>
                  <a:pt x="85" y="2"/>
                  <a:pt x="85" y="1"/>
                  <a:pt x="85" y="0"/>
                </a:cubicBezTo>
                <a:cubicBezTo>
                  <a:pt x="82" y="0"/>
                  <a:pt x="82" y="0"/>
                  <a:pt x="82" y="0"/>
                </a:cubicBezTo>
                <a:cubicBezTo>
                  <a:pt x="78" y="1"/>
                  <a:pt x="75" y="1"/>
                  <a:pt x="71" y="2"/>
                </a:cubicBezTo>
                <a:cubicBezTo>
                  <a:pt x="71" y="2"/>
                  <a:pt x="71" y="2"/>
                  <a:pt x="71" y="2"/>
                </a:cubicBezTo>
                <a:cubicBezTo>
                  <a:pt x="71" y="2"/>
                  <a:pt x="71" y="3"/>
                  <a:pt x="71" y="3"/>
                </a:cubicBezTo>
                <a:cubicBezTo>
                  <a:pt x="71" y="4"/>
                  <a:pt x="70" y="5"/>
                  <a:pt x="69" y="6"/>
                </a:cubicBezTo>
                <a:cubicBezTo>
                  <a:pt x="69" y="6"/>
                  <a:pt x="69" y="6"/>
                  <a:pt x="69" y="6"/>
                </a:cubicBezTo>
                <a:cubicBezTo>
                  <a:pt x="69" y="6"/>
                  <a:pt x="68" y="6"/>
                  <a:pt x="68" y="7"/>
                </a:cubicBezTo>
                <a:cubicBezTo>
                  <a:pt x="67" y="7"/>
                  <a:pt x="66" y="8"/>
                  <a:pt x="66" y="9"/>
                </a:cubicBezTo>
                <a:cubicBezTo>
                  <a:pt x="66" y="9"/>
                  <a:pt x="66" y="9"/>
                  <a:pt x="66" y="9"/>
                </a:cubicBezTo>
                <a:cubicBezTo>
                  <a:pt x="67" y="11"/>
                  <a:pt x="67" y="11"/>
                  <a:pt x="67" y="11"/>
                </a:cubicBezTo>
                <a:cubicBezTo>
                  <a:pt x="67" y="11"/>
                  <a:pt x="67" y="11"/>
                  <a:pt x="67" y="11"/>
                </a:cubicBezTo>
                <a:cubicBezTo>
                  <a:pt x="67" y="11"/>
                  <a:pt x="67" y="11"/>
                  <a:pt x="67" y="11"/>
                </a:cubicBezTo>
                <a:cubicBezTo>
                  <a:pt x="67" y="11"/>
                  <a:pt x="67" y="11"/>
                  <a:pt x="67" y="11"/>
                </a:cubicBezTo>
                <a:cubicBezTo>
                  <a:pt x="67" y="11"/>
                  <a:pt x="67" y="11"/>
                  <a:pt x="67" y="11"/>
                </a:cubicBezTo>
                <a:cubicBezTo>
                  <a:pt x="67" y="12"/>
                  <a:pt x="67" y="12"/>
                  <a:pt x="67" y="12"/>
                </a:cubicBezTo>
                <a:cubicBezTo>
                  <a:pt x="67" y="13"/>
                  <a:pt x="67" y="13"/>
                  <a:pt x="67" y="13"/>
                </a:cubicBezTo>
                <a:cubicBezTo>
                  <a:pt x="68" y="14"/>
                  <a:pt x="68" y="14"/>
                  <a:pt x="68" y="15"/>
                </a:cubicBezTo>
                <a:cubicBezTo>
                  <a:pt x="68" y="15"/>
                  <a:pt x="68" y="16"/>
                  <a:pt x="68" y="16"/>
                </a:cubicBezTo>
                <a:cubicBezTo>
                  <a:pt x="68" y="16"/>
                  <a:pt x="68" y="17"/>
                  <a:pt x="68" y="17"/>
                </a:cubicBezTo>
                <a:cubicBezTo>
                  <a:pt x="68" y="17"/>
                  <a:pt x="68" y="18"/>
                  <a:pt x="67" y="18"/>
                </a:cubicBezTo>
                <a:cubicBezTo>
                  <a:pt x="67" y="19"/>
                  <a:pt x="67" y="19"/>
                  <a:pt x="67" y="19"/>
                </a:cubicBezTo>
                <a:cubicBezTo>
                  <a:pt x="67" y="19"/>
                  <a:pt x="67" y="19"/>
                  <a:pt x="67" y="19"/>
                </a:cubicBezTo>
                <a:cubicBezTo>
                  <a:pt x="67" y="20"/>
                  <a:pt x="67" y="20"/>
                  <a:pt x="67" y="20"/>
                </a:cubicBezTo>
                <a:cubicBezTo>
                  <a:pt x="68" y="22"/>
                  <a:pt x="67" y="23"/>
                  <a:pt x="67" y="25"/>
                </a:cubicBezTo>
                <a:cubicBezTo>
                  <a:pt x="67" y="26"/>
                  <a:pt x="66" y="27"/>
                  <a:pt x="66" y="28"/>
                </a:cubicBezTo>
                <a:cubicBezTo>
                  <a:pt x="65" y="30"/>
                  <a:pt x="65" y="32"/>
                  <a:pt x="65" y="34"/>
                </a:cubicBezTo>
                <a:cubicBezTo>
                  <a:pt x="66" y="35"/>
                  <a:pt x="66" y="35"/>
                  <a:pt x="67" y="36"/>
                </a:cubicBezTo>
                <a:cubicBezTo>
                  <a:pt x="68" y="36"/>
                  <a:pt x="69" y="37"/>
                  <a:pt x="70" y="39"/>
                </a:cubicBezTo>
                <a:cubicBezTo>
                  <a:pt x="71" y="39"/>
                  <a:pt x="71" y="39"/>
                  <a:pt x="71" y="40"/>
                </a:cubicBezTo>
                <a:cubicBezTo>
                  <a:pt x="71" y="40"/>
                  <a:pt x="71" y="40"/>
                  <a:pt x="71" y="40"/>
                </a:cubicBezTo>
                <a:cubicBezTo>
                  <a:pt x="71" y="40"/>
                  <a:pt x="71" y="40"/>
                  <a:pt x="71" y="40"/>
                </a:cubicBezTo>
                <a:cubicBezTo>
                  <a:pt x="71" y="40"/>
                  <a:pt x="71" y="40"/>
                  <a:pt x="71" y="40"/>
                </a:cubicBezTo>
                <a:cubicBezTo>
                  <a:pt x="71" y="40"/>
                  <a:pt x="71" y="40"/>
                  <a:pt x="72" y="40"/>
                </a:cubicBezTo>
                <a:cubicBezTo>
                  <a:pt x="72" y="40"/>
                  <a:pt x="72" y="40"/>
                  <a:pt x="73" y="40"/>
                </a:cubicBezTo>
                <a:cubicBezTo>
                  <a:pt x="73" y="40"/>
                  <a:pt x="73" y="40"/>
                  <a:pt x="74" y="40"/>
                </a:cubicBezTo>
                <a:cubicBezTo>
                  <a:pt x="74" y="40"/>
                  <a:pt x="74" y="40"/>
                  <a:pt x="74" y="40"/>
                </a:cubicBezTo>
                <a:cubicBezTo>
                  <a:pt x="74" y="40"/>
                  <a:pt x="74" y="39"/>
                  <a:pt x="74" y="39"/>
                </a:cubicBezTo>
                <a:cubicBezTo>
                  <a:pt x="75" y="38"/>
                  <a:pt x="76" y="38"/>
                  <a:pt x="77" y="38"/>
                </a:cubicBezTo>
                <a:cubicBezTo>
                  <a:pt x="77" y="38"/>
                  <a:pt x="78" y="38"/>
                  <a:pt x="78" y="38"/>
                </a:cubicBezTo>
                <a:cubicBezTo>
                  <a:pt x="80" y="37"/>
                  <a:pt x="80" y="37"/>
                  <a:pt x="80" y="37"/>
                </a:cubicBezTo>
                <a:cubicBezTo>
                  <a:pt x="80" y="53"/>
                  <a:pt x="80" y="53"/>
                  <a:pt x="80" y="53"/>
                </a:cubicBezTo>
                <a:cubicBezTo>
                  <a:pt x="79" y="54"/>
                  <a:pt x="79" y="54"/>
                  <a:pt x="79" y="54"/>
                </a:cubicBezTo>
                <a:cubicBezTo>
                  <a:pt x="79" y="54"/>
                  <a:pt x="78" y="54"/>
                  <a:pt x="78" y="54"/>
                </a:cubicBezTo>
                <a:cubicBezTo>
                  <a:pt x="78" y="54"/>
                  <a:pt x="78" y="54"/>
                  <a:pt x="78" y="54"/>
                </a:cubicBezTo>
                <a:cubicBezTo>
                  <a:pt x="78" y="54"/>
                  <a:pt x="77" y="54"/>
                  <a:pt x="77" y="54"/>
                </a:cubicBezTo>
                <a:cubicBezTo>
                  <a:pt x="77" y="54"/>
                  <a:pt x="77" y="54"/>
                  <a:pt x="77" y="54"/>
                </a:cubicBezTo>
                <a:cubicBezTo>
                  <a:pt x="77" y="54"/>
                  <a:pt x="77" y="54"/>
                  <a:pt x="76" y="54"/>
                </a:cubicBezTo>
                <a:cubicBezTo>
                  <a:pt x="76" y="53"/>
                  <a:pt x="76" y="53"/>
                  <a:pt x="75" y="52"/>
                </a:cubicBezTo>
                <a:cubicBezTo>
                  <a:pt x="75" y="52"/>
                  <a:pt x="75" y="52"/>
                  <a:pt x="75" y="52"/>
                </a:cubicBezTo>
                <a:cubicBezTo>
                  <a:pt x="75" y="52"/>
                  <a:pt x="75" y="52"/>
                  <a:pt x="75" y="52"/>
                </a:cubicBezTo>
                <a:cubicBezTo>
                  <a:pt x="75" y="52"/>
                  <a:pt x="75" y="53"/>
                  <a:pt x="74" y="53"/>
                </a:cubicBezTo>
                <a:cubicBezTo>
                  <a:pt x="74" y="53"/>
                  <a:pt x="74" y="53"/>
                  <a:pt x="74" y="53"/>
                </a:cubicBezTo>
                <a:cubicBezTo>
                  <a:pt x="73" y="53"/>
                  <a:pt x="71" y="54"/>
                  <a:pt x="69" y="52"/>
                </a:cubicBezTo>
                <a:cubicBezTo>
                  <a:pt x="63" y="43"/>
                  <a:pt x="63" y="43"/>
                  <a:pt x="63" y="43"/>
                </a:cubicBezTo>
                <a:cubicBezTo>
                  <a:pt x="63" y="43"/>
                  <a:pt x="62" y="43"/>
                  <a:pt x="62" y="43"/>
                </a:cubicBezTo>
                <a:cubicBezTo>
                  <a:pt x="62" y="43"/>
                  <a:pt x="62" y="43"/>
                  <a:pt x="62" y="43"/>
                </a:cubicBezTo>
                <a:cubicBezTo>
                  <a:pt x="61" y="43"/>
                  <a:pt x="60" y="42"/>
                  <a:pt x="60" y="42"/>
                </a:cubicBezTo>
                <a:cubicBezTo>
                  <a:pt x="59" y="42"/>
                  <a:pt x="59" y="42"/>
                  <a:pt x="58" y="41"/>
                </a:cubicBezTo>
                <a:cubicBezTo>
                  <a:pt x="58" y="41"/>
                  <a:pt x="58" y="41"/>
                  <a:pt x="57" y="41"/>
                </a:cubicBezTo>
                <a:cubicBezTo>
                  <a:pt x="57" y="41"/>
                  <a:pt x="56" y="41"/>
                  <a:pt x="56" y="41"/>
                </a:cubicBezTo>
                <a:cubicBezTo>
                  <a:pt x="55" y="41"/>
                  <a:pt x="54" y="39"/>
                  <a:pt x="53" y="38"/>
                </a:cubicBezTo>
                <a:cubicBezTo>
                  <a:pt x="53" y="38"/>
                  <a:pt x="53" y="38"/>
                  <a:pt x="53" y="38"/>
                </a:cubicBezTo>
                <a:cubicBezTo>
                  <a:pt x="53" y="38"/>
                  <a:pt x="53" y="38"/>
                  <a:pt x="53" y="38"/>
                </a:cubicBezTo>
                <a:cubicBezTo>
                  <a:pt x="53" y="37"/>
                  <a:pt x="53" y="37"/>
                  <a:pt x="52" y="37"/>
                </a:cubicBezTo>
                <a:cubicBezTo>
                  <a:pt x="52" y="35"/>
                  <a:pt x="51" y="35"/>
                  <a:pt x="51" y="35"/>
                </a:cubicBezTo>
                <a:cubicBezTo>
                  <a:pt x="51" y="35"/>
                  <a:pt x="51" y="35"/>
                  <a:pt x="51" y="35"/>
                </a:cubicBezTo>
                <a:cubicBezTo>
                  <a:pt x="51" y="36"/>
                  <a:pt x="51" y="36"/>
                  <a:pt x="51" y="36"/>
                </a:cubicBezTo>
                <a:cubicBezTo>
                  <a:pt x="51" y="36"/>
                  <a:pt x="51" y="37"/>
                  <a:pt x="50" y="38"/>
                </a:cubicBezTo>
                <a:cubicBezTo>
                  <a:pt x="49" y="38"/>
                  <a:pt x="49" y="39"/>
                  <a:pt x="48" y="38"/>
                </a:cubicBezTo>
                <a:cubicBezTo>
                  <a:pt x="38" y="37"/>
                  <a:pt x="38" y="37"/>
                  <a:pt x="38" y="37"/>
                </a:cubicBezTo>
                <a:cubicBezTo>
                  <a:pt x="38" y="37"/>
                  <a:pt x="37" y="37"/>
                  <a:pt x="37" y="37"/>
                </a:cubicBezTo>
                <a:cubicBezTo>
                  <a:pt x="37" y="37"/>
                  <a:pt x="37" y="37"/>
                  <a:pt x="37" y="37"/>
                </a:cubicBezTo>
                <a:cubicBezTo>
                  <a:pt x="36" y="37"/>
                  <a:pt x="35" y="37"/>
                  <a:pt x="34" y="36"/>
                </a:cubicBezTo>
                <a:cubicBezTo>
                  <a:pt x="33" y="36"/>
                  <a:pt x="33" y="36"/>
                  <a:pt x="33" y="35"/>
                </a:cubicBezTo>
                <a:cubicBezTo>
                  <a:pt x="33" y="35"/>
                  <a:pt x="32" y="35"/>
                  <a:pt x="32" y="34"/>
                </a:cubicBezTo>
                <a:cubicBezTo>
                  <a:pt x="31" y="33"/>
                  <a:pt x="31" y="32"/>
                  <a:pt x="31" y="31"/>
                </a:cubicBezTo>
                <a:cubicBezTo>
                  <a:pt x="31" y="31"/>
                  <a:pt x="30" y="31"/>
                  <a:pt x="30" y="31"/>
                </a:cubicBezTo>
                <a:cubicBezTo>
                  <a:pt x="30" y="31"/>
                  <a:pt x="30" y="31"/>
                  <a:pt x="30" y="31"/>
                </a:cubicBezTo>
                <a:cubicBezTo>
                  <a:pt x="29" y="31"/>
                  <a:pt x="29" y="31"/>
                  <a:pt x="28" y="31"/>
                </a:cubicBezTo>
                <a:cubicBezTo>
                  <a:pt x="28" y="31"/>
                  <a:pt x="28" y="31"/>
                  <a:pt x="28" y="32"/>
                </a:cubicBezTo>
                <a:cubicBezTo>
                  <a:pt x="27" y="32"/>
                  <a:pt x="27" y="32"/>
                  <a:pt x="27" y="32"/>
                </a:cubicBezTo>
                <a:cubicBezTo>
                  <a:pt x="26" y="32"/>
                  <a:pt x="26" y="32"/>
                  <a:pt x="26" y="32"/>
                </a:cubicBezTo>
                <a:cubicBezTo>
                  <a:pt x="26" y="33"/>
                  <a:pt x="24" y="33"/>
                  <a:pt x="22" y="33"/>
                </a:cubicBezTo>
                <a:cubicBezTo>
                  <a:pt x="22" y="33"/>
                  <a:pt x="21" y="32"/>
                  <a:pt x="21" y="31"/>
                </a:cubicBezTo>
                <a:cubicBezTo>
                  <a:pt x="21" y="31"/>
                  <a:pt x="21" y="31"/>
                  <a:pt x="21" y="31"/>
                </a:cubicBezTo>
                <a:cubicBezTo>
                  <a:pt x="21" y="30"/>
                  <a:pt x="21" y="30"/>
                  <a:pt x="21" y="30"/>
                </a:cubicBezTo>
                <a:cubicBezTo>
                  <a:pt x="22" y="30"/>
                  <a:pt x="22" y="30"/>
                  <a:pt x="22" y="30"/>
                </a:cubicBezTo>
                <a:cubicBezTo>
                  <a:pt x="22" y="30"/>
                  <a:pt x="22" y="30"/>
                  <a:pt x="22" y="30"/>
                </a:cubicBezTo>
                <a:cubicBezTo>
                  <a:pt x="22" y="29"/>
                  <a:pt x="21" y="29"/>
                  <a:pt x="20" y="28"/>
                </a:cubicBezTo>
                <a:cubicBezTo>
                  <a:pt x="21" y="34"/>
                  <a:pt x="21" y="34"/>
                  <a:pt x="21" y="34"/>
                </a:cubicBezTo>
                <a:cubicBezTo>
                  <a:pt x="21" y="35"/>
                  <a:pt x="21" y="36"/>
                  <a:pt x="21" y="37"/>
                </a:cubicBezTo>
                <a:cubicBezTo>
                  <a:pt x="21" y="38"/>
                  <a:pt x="21" y="40"/>
                  <a:pt x="21" y="42"/>
                </a:cubicBezTo>
                <a:cubicBezTo>
                  <a:pt x="21" y="42"/>
                  <a:pt x="21" y="43"/>
                  <a:pt x="20" y="43"/>
                </a:cubicBezTo>
                <a:cubicBezTo>
                  <a:pt x="20" y="43"/>
                  <a:pt x="20" y="44"/>
                  <a:pt x="20" y="44"/>
                </a:cubicBezTo>
                <a:cubicBezTo>
                  <a:pt x="20" y="44"/>
                  <a:pt x="20" y="45"/>
                  <a:pt x="19" y="45"/>
                </a:cubicBezTo>
                <a:cubicBezTo>
                  <a:pt x="19" y="45"/>
                  <a:pt x="19" y="45"/>
                  <a:pt x="19" y="45"/>
                </a:cubicBezTo>
                <a:cubicBezTo>
                  <a:pt x="19" y="46"/>
                  <a:pt x="19" y="46"/>
                  <a:pt x="19" y="46"/>
                </a:cubicBezTo>
                <a:cubicBezTo>
                  <a:pt x="20" y="46"/>
                  <a:pt x="20" y="47"/>
                  <a:pt x="20" y="48"/>
                </a:cubicBezTo>
                <a:cubicBezTo>
                  <a:pt x="21" y="49"/>
                  <a:pt x="21" y="49"/>
                  <a:pt x="21" y="49"/>
                </a:cubicBezTo>
                <a:cubicBezTo>
                  <a:pt x="9" y="49"/>
                  <a:pt x="9" y="49"/>
                  <a:pt x="9" y="49"/>
                </a:cubicBezTo>
                <a:cubicBezTo>
                  <a:pt x="8" y="49"/>
                  <a:pt x="7" y="49"/>
                  <a:pt x="7" y="49"/>
                </a:cubicBezTo>
                <a:cubicBezTo>
                  <a:pt x="4" y="49"/>
                  <a:pt x="2" y="49"/>
                  <a:pt x="0" y="49"/>
                </a:cubicBezTo>
                <a:cubicBezTo>
                  <a:pt x="0" y="49"/>
                  <a:pt x="0" y="49"/>
                  <a:pt x="0" y="49"/>
                </a:cubicBezTo>
                <a:cubicBezTo>
                  <a:pt x="0" y="49"/>
                  <a:pt x="0" y="49"/>
                  <a:pt x="0" y="49"/>
                </a:cubicBezTo>
                <a:cubicBezTo>
                  <a:pt x="0" y="50"/>
                  <a:pt x="0" y="50"/>
                  <a:pt x="0" y="50"/>
                </a:cubicBezTo>
                <a:cubicBezTo>
                  <a:pt x="0" y="50"/>
                  <a:pt x="0" y="50"/>
                  <a:pt x="0" y="50"/>
                </a:cubicBezTo>
                <a:cubicBezTo>
                  <a:pt x="0" y="53"/>
                  <a:pt x="0" y="53"/>
                  <a:pt x="0" y="53"/>
                </a:cubicBezTo>
                <a:cubicBezTo>
                  <a:pt x="0" y="76"/>
                  <a:pt x="0" y="76"/>
                  <a:pt x="0" y="76"/>
                </a:cubicBezTo>
                <a:cubicBezTo>
                  <a:pt x="0" y="77"/>
                  <a:pt x="0" y="77"/>
                  <a:pt x="0" y="77"/>
                </a:cubicBezTo>
                <a:cubicBezTo>
                  <a:pt x="0" y="78"/>
                  <a:pt x="0" y="79"/>
                  <a:pt x="0" y="80"/>
                </a:cubicBezTo>
                <a:cubicBezTo>
                  <a:pt x="0" y="81"/>
                  <a:pt x="0" y="81"/>
                  <a:pt x="0" y="81"/>
                </a:cubicBezTo>
                <a:cubicBezTo>
                  <a:pt x="0" y="82"/>
                  <a:pt x="1" y="83"/>
                  <a:pt x="2" y="84"/>
                </a:cubicBezTo>
                <a:cubicBezTo>
                  <a:pt x="13" y="94"/>
                  <a:pt x="13" y="94"/>
                  <a:pt x="13" y="94"/>
                </a:cubicBezTo>
                <a:cubicBezTo>
                  <a:pt x="13" y="94"/>
                  <a:pt x="13" y="94"/>
                  <a:pt x="13" y="94"/>
                </a:cubicBezTo>
                <a:cubicBezTo>
                  <a:pt x="13" y="94"/>
                  <a:pt x="13" y="94"/>
                  <a:pt x="13" y="94"/>
                </a:cubicBezTo>
                <a:cubicBezTo>
                  <a:pt x="13" y="94"/>
                  <a:pt x="13" y="94"/>
                  <a:pt x="13" y="94"/>
                </a:cubicBezTo>
                <a:cubicBezTo>
                  <a:pt x="14" y="95"/>
                  <a:pt x="14" y="95"/>
                  <a:pt x="14" y="95"/>
                </a:cubicBezTo>
                <a:cubicBezTo>
                  <a:pt x="14" y="95"/>
                  <a:pt x="14" y="95"/>
                  <a:pt x="14" y="95"/>
                </a:cubicBezTo>
                <a:cubicBezTo>
                  <a:pt x="14" y="95"/>
                  <a:pt x="14" y="95"/>
                  <a:pt x="14" y="95"/>
                </a:cubicBezTo>
                <a:cubicBezTo>
                  <a:pt x="14" y="95"/>
                  <a:pt x="15" y="95"/>
                  <a:pt x="16" y="95"/>
                </a:cubicBezTo>
                <a:cubicBezTo>
                  <a:pt x="16" y="94"/>
                  <a:pt x="16" y="94"/>
                  <a:pt x="16" y="94"/>
                </a:cubicBezTo>
                <a:cubicBezTo>
                  <a:pt x="18" y="94"/>
                  <a:pt x="20" y="93"/>
                  <a:pt x="22" y="94"/>
                </a:cubicBezTo>
                <a:cubicBezTo>
                  <a:pt x="23" y="94"/>
                  <a:pt x="23" y="94"/>
                  <a:pt x="23" y="94"/>
                </a:cubicBezTo>
                <a:cubicBezTo>
                  <a:pt x="25" y="94"/>
                  <a:pt x="27" y="94"/>
                  <a:pt x="29" y="94"/>
                </a:cubicBezTo>
                <a:cubicBezTo>
                  <a:pt x="29" y="94"/>
                  <a:pt x="30" y="95"/>
                  <a:pt x="30" y="95"/>
                </a:cubicBezTo>
                <a:cubicBezTo>
                  <a:pt x="31" y="95"/>
                  <a:pt x="31" y="95"/>
                  <a:pt x="31" y="95"/>
                </a:cubicBezTo>
                <a:cubicBezTo>
                  <a:pt x="31" y="96"/>
                  <a:pt x="31" y="96"/>
                  <a:pt x="31" y="96"/>
                </a:cubicBezTo>
                <a:cubicBezTo>
                  <a:pt x="31" y="96"/>
                  <a:pt x="31" y="96"/>
                  <a:pt x="31" y="96"/>
                </a:cubicBezTo>
                <a:cubicBezTo>
                  <a:pt x="32" y="97"/>
                  <a:pt x="32" y="97"/>
                  <a:pt x="32" y="97"/>
                </a:cubicBezTo>
                <a:cubicBezTo>
                  <a:pt x="32" y="97"/>
                  <a:pt x="32" y="97"/>
                  <a:pt x="33" y="97"/>
                </a:cubicBezTo>
                <a:cubicBezTo>
                  <a:pt x="33" y="97"/>
                  <a:pt x="33" y="97"/>
                  <a:pt x="33" y="97"/>
                </a:cubicBezTo>
                <a:cubicBezTo>
                  <a:pt x="44" y="99"/>
                  <a:pt x="44" y="99"/>
                  <a:pt x="44" y="99"/>
                </a:cubicBezTo>
                <a:cubicBezTo>
                  <a:pt x="44" y="99"/>
                  <a:pt x="44" y="99"/>
                  <a:pt x="45" y="99"/>
                </a:cubicBezTo>
                <a:cubicBezTo>
                  <a:pt x="45" y="99"/>
                  <a:pt x="45" y="99"/>
                  <a:pt x="46" y="100"/>
                </a:cubicBezTo>
                <a:cubicBezTo>
                  <a:pt x="46" y="100"/>
                  <a:pt x="46" y="100"/>
                  <a:pt x="46" y="100"/>
                </a:cubicBezTo>
                <a:cubicBezTo>
                  <a:pt x="46" y="97"/>
                  <a:pt x="46" y="97"/>
                  <a:pt x="46" y="97"/>
                </a:cubicBezTo>
                <a:cubicBezTo>
                  <a:pt x="47" y="99"/>
                  <a:pt x="47" y="99"/>
                  <a:pt x="47" y="99"/>
                </a:cubicBezTo>
                <a:cubicBezTo>
                  <a:pt x="47" y="99"/>
                  <a:pt x="47" y="99"/>
                  <a:pt x="47" y="99"/>
                </a:cubicBezTo>
                <a:cubicBezTo>
                  <a:pt x="47" y="99"/>
                  <a:pt x="47" y="99"/>
                  <a:pt x="48" y="99"/>
                </a:cubicBezTo>
                <a:cubicBezTo>
                  <a:pt x="48" y="99"/>
                  <a:pt x="48" y="99"/>
                  <a:pt x="48" y="99"/>
                </a:cubicBezTo>
                <a:cubicBezTo>
                  <a:pt x="49" y="99"/>
                  <a:pt x="49" y="98"/>
                  <a:pt x="50" y="98"/>
                </a:cubicBezTo>
                <a:cubicBezTo>
                  <a:pt x="50" y="98"/>
                  <a:pt x="50" y="98"/>
                  <a:pt x="50" y="97"/>
                </a:cubicBezTo>
                <a:cubicBezTo>
                  <a:pt x="50" y="97"/>
                  <a:pt x="51" y="96"/>
                  <a:pt x="51" y="96"/>
                </a:cubicBezTo>
                <a:cubicBezTo>
                  <a:pt x="51" y="96"/>
                  <a:pt x="51" y="96"/>
                  <a:pt x="51" y="96"/>
                </a:cubicBezTo>
                <a:cubicBezTo>
                  <a:pt x="52" y="95"/>
                  <a:pt x="53" y="95"/>
                  <a:pt x="53" y="94"/>
                </a:cubicBezTo>
                <a:cubicBezTo>
                  <a:pt x="54" y="94"/>
                  <a:pt x="54" y="94"/>
                  <a:pt x="54" y="94"/>
                </a:cubicBezTo>
                <a:cubicBezTo>
                  <a:pt x="54" y="94"/>
                  <a:pt x="54" y="94"/>
                  <a:pt x="54" y="94"/>
                </a:cubicBezTo>
                <a:cubicBezTo>
                  <a:pt x="54" y="93"/>
                  <a:pt x="54" y="93"/>
                  <a:pt x="54" y="93"/>
                </a:cubicBezTo>
                <a:cubicBezTo>
                  <a:pt x="55" y="93"/>
                  <a:pt x="55" y="93"/>
                  <a:pt x="55" y="93"/>
                </a:cubicBezTo>
                <a:cubicBezTo>
                  <a:pt x="55" y="92"/>
                  <a:pt x="55" y="92"/>
                  <a:pt x="55" y="92"/>
                </a:cubicBezTo>
                <a:cubicBezTo>
                  <a:pt x="55" y="92"/>
                  <a:pt x="55" y="92"/>
                  <a:pt x="55" y="92"/>
                </a:cubicBezTo>
                <a:cubicBezTo>
                  <a:pt x="55" y="91"/>
                  <a:pt x="55" y="91"/>
                  <a:pt x="56" y="91"/>
                </a:cubicBezTo>
                <a:cubicBezTo>
                  <a:pt x="56" y="90"/>
                  <a:pt x="57" y="89"/>
                  <a:pt x="58" y="89"/>
                </a:cubicBezTo>
                <a:cubicBezTo>
                  <a:pt x="58" y="88"/>
                  <a:pt x="59" y="88"/>
                  <a:pt x="60" y="87"/>
                </a:cubicBezTo>
                <a:cubicBezTo>
                  <a:pt x="61" y="87"/>
                  <a:pt x="61" y="87"/>
                  <a:pt x="61" y="87"/>
                </a:cubicBezTo>
                <a:cubicBezTo>
                  <a:pt x="61" y="87"/>
                  <a:pt x="61" y="87"/>
                  <a:pt x="61" y="87"/>
                </a:cubicBezTo>
                <a:cubicBezTo>
                  <a:pt x="62" y="86"/>
                  <a:pt x="62" y="86"/>
                  <a:pt x="63" y="86"/>
                </a:cubicBezTo>
                <a:cubicBezTo>
                  <a:pt x="63" y="86"/>
                  <a:pt x="63" y="86"/>
                  <a:pt x="63" y="86"/>
                </a:cubicBezTo>
                <a:cubicBezTo>
                  <a:pt x="65" y="85"/>
                  <a:pt x="67" y="84"/>
                  <a:pt x="67" y="83"/>
                </a:cubicBezTo>
                <a:cubicBezTo>
                  <a:pt x="67" y="82"/>
                  <a:pt x="67" y="82"/>
                  <a:pt x="67" y="82"/>
                </a:cubicBezTo>
                <a:cubicBezTo>
                  <a:pt x="67" y="82"/>
                  <a:pt x="67" y="82"/>
                  <a:pt x="67" y="82"/>
                </a:cubicBezTo>
                <a:cubicBezTo>
                  <a:pt x="67" y="81"/>
                  <a:pt x="67" y="81"/>
                  <a:pt x="67" y="81"/>
                </a:cubicBezTo>
                <a:cubicBezTo>
                  <a:pt x="68" y="81"/>
                  <a:pt x="68" y="81"/>
                  <a:pt x="68" y="81"/>
                </a:cubicBezTo>
                <a:cubicBezTo>
                  <a:pt x="68" y="80"/>
                  <a:pt x="68" y="79"/>
                  <a:pt x="68" y="78"/>
                </a:cubicBezTo>
                <a:cubicBezTo>
                  <a:pt x="68" y="78"/>
                  <a:pt x="68" y="78"/>
                  <a:pt x="68" y="78"/>
                </a:cubicBezTo>
                <a:cubicBezTo>
                  <a:pt x="69" y="78"/>
                  <a:pt x="69" y="78"/>
                  <a:pt x="69" y="78"/>
                </a:cubicBezTo>
                <a:cubicBezTo>
                  <a:pt x="69" y="77"/>
                  <a:pt x="70" y="77"/>
                  <a:pt x="70" y="77"/>
                </a:cubicBezTo>
                <a:cubicBezTo>
                  <a:pt x="71" y="77"/>
                  <a:pt x="71" y="77"/>
                  <a:pt x="71" y="77"/>
                </a:cubicBezTo>
                <a:cubicBezTo>
                  <a:pt x="73" y="76"/>
                  <a:pt x="75" y="74"/>
                  <a:pt x="78" y="74"/>
                </a:cubicBezTo>
                <a:cubicBezTo>
                  <a:pt x="79" y="74"/>
                  <a:pt x="79" y="74"/>
                  <a:pt x="80" y="74"/>
                </a:cubicBezTo>
                <a:cubicBezTo>
                  <a:pt x="80" y="74"/>
                  <a:pt x="81" y="74"/>
                  <a:pt x="81" y="74"/>
                </a:cubicBezTo>
                <a:cubicBezTo>
                  <a:pt x="82" y="74"/>
                  <a:pt x="82" y="74"/>
                  <a:pt x="83" y="74"/>
                </a:cubicBezTo>
                <a:cubicBezTo>
                  <a:pt x="83" y="74"/>
                  <a:pt x="83" y="74"/>
                  <a:pt x="83" y="74"/>
                </a:cubicBezTo>
                <a:cubicBezTo>
                  <a:pt x="82" y="73"/>
                  <a:pt x="81" y="71"/>
                  <a:pt x="81" y="69"/>
                </a:cubicBezTo>
                <a:cubicBezTo>
                  <a:pt x="81" y="69"/>
                  <a:pt x="81" y="69"/>
                  <a:pt x="81" y="69"/>
                </a:cubicBezTo>
                <a:cubicBezTo>
                  <a:pt x="81" y="69"/>
                  <a:pt x="81" y="68"/>
                  <a:pt x="81" y="68"/>
                </a:cubicBezTo>
                <a:cubicBezTo>
                  <a:pt x="82" y="67"/>
                  <a:pt x="82" y="67"/>
                  <a:pt x="83" y="67"/>
                </a:cubicBezTo>
                <a:cubicBezTo>
                  <a:pt x="109" y="58"/>
                  <a:pt x="109" y="58"/>
                  <a:pt x="109" y="58"/>
                </a:cubicBezTo>
                <a:cubicBezTo>
                  <a:pt x="109" y="58"/>
                  <a:pt x="109" y="58"/>
                  <a:pt x="109" y="58"/>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99" name="Freeform 3056">
            <a:extLst>
              <a:ext uri="{FF2B5EF4-FFF2-40B4-BE49-F238E27FC236}">
                <a16:creationId xmlns:a16="http://schemas.microsoft.com/office/drawing/2014/main" id="{7E2B7B92-C544-4E30-84B4-71B69E9C5BE9}"/>
              </a:ext>
            </a:extLst>
          </p:cNvPr>
          <p:cNvSpPr>
            <a:spLocks/>
          </p:cNvSpPr>
          <p:nvPr/>
        </p:nvSpPr>
        <p:spPr bwMode="auto">
          <a:xfrm>
            <a:off x="3646251" y="3986525"/>
            <a:ext cx="88210" cy="97943"/>
          </a:xfrm>
          <a:custGeom>
            <a:avLst/>
            <a:gdLst>
              <a:gd name="T0" fmla="*/ 75 w 75"/>
              <a:gd name="T1" fmla="*/ 43 h 70"/>
              <a:gd name="T2" fmla="*/ 73 w 75"/>
              <a:gd name="T3" fmla="*/ 38 h 70"/>
              <a:gd name="T4" fmla="*/ 73 w 75"/>
              <a:gd name="T5" fmla="*/ 36 h 70"/>
              <a:gd name="T6" fmla="*/ 72 w 75"/>
              <a:gd name="T7" fmla="*/ 32 h 70"/>
              <a:gd name="T8" fmla="*/ 74 w 75"/>
              <a:gd name="T9" fmla="*/ 29 h 70"/>
              <a:gd name="T10" fmla="*/ 75 w 75"/>
              <a:gd name="T11" fmla="*/ 28 h 70"/>
              <a:gd name="T12" fmla="*/ 75 w 75"/>
              <a:gd name="T13" fmla="*/ 22 h 70"/>
              <a:gd name="T14" fmla="*/ 74 w 75"/>
              <a:gd name="T15" fmla="*/ 14 h 70"/>
              <a:gd name="T16" fmla="*/ 74 w 75"/>
              <a:gd name="T17" fmla="*/ 12 h 70"/>
              <a:gd name="T18" fmla="*/ 66 w 75"/>
              <a:gd name="T19" fmla="*/ 9 h 70"/>
              <a:gd name="T20" fmla="*/ 54 w 75"/>
              <a:gd name="T21" fmla="*/ 5 h 70"/>
              <a:gd name="T22" fmla="*/ 49 w 75"/>
              <a:gd name="T23" fmla="*/ 4 h 70"/>
              <a:gd name="T24" fmla="*/ 46 w 75"/>
              <a:gd name="T25" fmla="*/ 1 h 70"/>
              <a:gd name="T26" fmla="*/ 37 w 75"/>
              <a:gd name="T27" fmla="*/ 3 h 70"/>
              <a:gd name="T28" fmla="*/ 35 w 75"/>
              <a:gd name="T29" fmla="*/ 6 h 70"/>
              <a:gd name="T30" fmla="*/ 35 w 75"/>
              <a:gd name="T31" fmla="*/ 7 h 70"/>
              <a:gd name="T32" fmla="*/ 27 w 75"/>
              <a:gd name="T33" fmla="*/ 13 h 70"/>
              <a:gd name="T34" fmla="*/ 24 w 75"/>
              <a:gd name="T35" fmla="*/ 15 h 70"/>
              <a:gd name="T36" fmla="*/ 22 w 75"/>
              <a:gd name="T37" fmla="*/ 17 h 70"/>
              <a:gd name="T38" fmla="*/ 20 w 75"/>
              <a:gd name="T39" fmla="*/ 19 h 70"/>
              <a:gd name="T40" fmla="*/ 17 w 75"/>
              <a:gd name="T41" fmla="*/ 23 h 70"/>
              <a:gd name="T42" fmla="*/ 13 w 75"/>
              <a:gd name="T43" fmla="*/ 26 h 70"/>
              <a:gd name="T44" fmla="*/ 13 w 75"/>
              <a:gd name="T45" fmla="*/ 26 h 70"/>
              <a:gd name="T46" fmla="*/ 12 w 75"/>
              <a:gd name="T47" fmla="*/ 26 h 70"/>
              <a:gd name="T48" fmla="*/ 8 w 75"/>
              <a:gd name="T49" fmla="*/ 26 h 70"/>
              <a:gd name="T50" fmla="*/ 0 w 75"/>
              <a:gd name="T51" fmla="*/ 24 h 70"/>
              <a:gd name="T52" fmla="*/ 6 w 75"/>
              <a:gd name="T53" fmla="*/ 36 h 70"/>
              <a:gd name="T54" fmla="*/ 8 w 75"/>
              <a:gd name="T55" fmla="*/ 40 h 70"/>
              <a:gd name="T56" fmla="*/ 14 w 75"/>
              <a:gd name="T57" fmla="*/ 44 h 70"/>
              <a:gd name="T58" fmla="*/ 19 w 75"/>
              <a:gd name="T59" fmla="*/ 48 h 70"/>
              <a:gd name="T60" fmla="*/ 19 w 75"/>
              <a:gd name="T61" fmla="*/ 49 h 70"/>
              <a:gd name="T62" fmla="*/ 23 w 75"/>
              <a:gd name="T63" fmla="*/ 51 h 70"/>
              <a:gd name="T64" fmla="*/ 23 w 75"/>
              <a:gd name="T65" fmla="*/ 53 h 70"/>
              <a:gd name="T66" fmla="*/ 24 w 75"/>
              <a:gd name="T67" fmla="*/ 57 h 70"/>
              <a:gd name="T68" fmla="*/ 26 w 75"/>
              <a:gd name="T69" fmla="*/ 61 h 70"/>
              <a:gd name="T70" fmla="*/ 31 w 75"/>
              <a:gd name="T71" fmla="*/ 62 h 70"/>
              <a:gd name="T72" fmla="*/ 37 w 75"/>
              <a:gd name="T73" fmla="*/ 65 h 70"/>
              <a:gd name="T74" fmla="*/ 39 w 75"/>
              <a:gd name="T75" fmla="*/ 68 h 70"/>
              <a:gd name="T76" fmla="*/ 44 w 75"/>
              <a:gd name="T77" fmla="*/ 68 h 70"/>
              <a:gd name="T78" fmla="*/ 58 w 75"/>
              <a:gd name="T79" fmla="*/ 70 h 70"/>
              <a:gd name="T80" fmla="*/ 59 w 75"/>
              <a:gd name="T81" fmla="*/ 69 h 70"/>
              <a:gd name="T82" fmla="*/ 59 w 75"/>
              <a:gd name="T83" fmla="*/ 69 h 70"/>
              <a:gd name="T84" fmla="*/ 64 w 75"/>
              <a:gd name="T85" fmla="*/ 63 h 70"/>
              <a:gd name="T86" fmla="*/ 68 w 75"/>
              <a:gd name="T87" fmla="*/ 57 h 70"/>
              <a:gd name="T88" fmla="*/ 71 w 75"/>
              <a:gd name="T89" fmla="*/ 50 h 70"/>
              <a:gd name="T90" fmla="*/ 74 w 75"/>
              <a:gd name="T91" fmla="*/ 4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 h="70">
                <a:moveTo>
                  <a:pt x="75" y="43"/>
                </a:moveTo>
                <a:cubicBezTo>
                  <a:pt x="75" y="43"/>
                  <a:pt x="75" y="43"/>
                  <a:pt x="75" y="43"/>
                </a:cubicBezTo>
                <a:cubicBezTo>
                  <a:pt x="75" y="43"/>
                  <a:pt x="75" y="43"/>
                  <a:pt x="75" y="43"/>
                </a:cubicBezTo>
                <a:cubicBezTo>
                  <a:pt x="74" y="43"/>
                  <a:pt x="74" y="43"/>
                  <a:pt x="74" y="43"/>
                </a:cubicBezTo>
                <a:cubicBezTo>
                  <a:pt x="73" y="43"/>
                  <a:pt x="73" y="42"/>
                  <a:pt x="73" y="41"/>
                </a:cubicBezTo>
                <a:cubicBezTo>
                  <a:pt x="73" y="40"/>
                  <a:pt x="73" y="39"/>
                  <a:pt x="73" y="38"/>
                </a:cubicBezTo>
                <a:cubicBezTo>
                  <a:pt x="73" y="38"/>
                  <a:pt x="73" y="37"/>
                  <a:pt x="73" y="36"/>
                </a:cubicBezTo>
                <a:cubicBezTo>
                  <a:pt x="73" y="36"/>
                  <a:pt x="73" y="36"/>
                  <a:pt x="73" y="36"/>
                </a:cubicBezTo>
                <a:cubicBezTo>
                  <a:pt x="73" y="36"/>
                  <a:pt x="73" y="36"/>
                  <a:pt x="73" y="36"/>
                </a:cubicBezTo>
                <a:cubicBezTo>
                  <a:pt x="73" y="35"/>
                  <a:pt x="73" y="35"/>
                  <a:pt x="73" y="35"/>
                </a:cubicBezTo>
                <a:cubicBezTo>
                  <a:pt x="73" y="35"/>
                  <a:pt x="72" y="35"/>
                  <a:pt x="72" y="35"/>
                </a:cubicBezTo>
                <a:cubicBezTo>
                  <a:pt x="72" y="34"/>
                  <a:pt x="72" y="33"/>
                  <a:pt x="72" y="32"/>
                </a:cubicBezTo>
                <a:cubicBezTo>
                  <a:pt x="72" y="32"/>
                  <a:pt x="72" y="32"/>
                  <a:pt x="73" y="32"/>
                </a:cubicBezTo>
                <a:cubicBezTo>
                  <a:pt x="73" y="32"/>
                  <a:pt x="73" y="31"/>
                  <a:pt x="73" y="31"/>
                </a:cubicBezTo>
                <a:cubicBezTo>
                  <a:pt x="73" y="30"/>
                  <a:pt x="73" y="30"/>
                  <a:pt x="74" y="29"/>
                </a:cubicBezTo>
                <a:cubicBezTo>
                  <a:pt x="74" y="29"/>
                  <a:pt x="74" y="29"/>
                  <a:pt x="74" y="28"/>
                </a:cubicBezTo>
                <a:cubicBezTo>
                  <a:pt x="75" y="28"/>
                  <a:pt x="75" y="28"/>
                  <a:pt x="75" y="28"/>
                </a:cubicBezTo>
                <a:cubicBezTo>
                  <a:pt x="75" y="28"/>
                  <a:pt x="75" y="28"/>
                  <a:pt x="75" y="28"/>
                </a:cubicBezTo>
                <a:cubicBezTo>
                  <a:pt x="75" y="28"/>
                  <a:pt x="75" y="27"/>
                  <a:pt x="75" y="27"/>
                </a:cubicBezTo>
                <a:cubicBezTo>
                  <a:pt x="75" y="27"/>
                  <a:pt x="75" y="26"/>
                  <a:pt x="75" y="25"/>
                </a:cubicBezTo>
                <a:cubicBezTo>
                  <a:pt x="75" y="24"/>
                  <a:pt x="75" y="23"/>
                  <a:pt x="75" y="22"/>
                </a:cubicBezTo>
                <a:cubicBezTo>
                  <a:pt x="75" y="22"/>
                  <a:pt x="75" y="21"/>
                  <a:pt x="75" y="20"/>
                </a:cubicBezTo>
                <a:cubicBezTo>
                  <a:pt x="75" y="19"/>
                  <a:pt x="75" y="17"/>
                  <a:pt x="75" y="16"/>
                </a:cubicBezTo>
                <a:cubicBezTo>
                  <a:pt x="74" y="15"/>
                  <a:pt x="74" y="15"/>
                  <a:pt x="74" y="14"/>
                </a:cubicBezTo>
                <a:cubicBezTo>
                  <a:pt x="74" y="14"/>
                  <a:pt x="74" y="14"/>
                  <a:pt x="74" y="13"/>
                </a:cubicBezTo>
                <a:cubicBezTo>
                  <a:pt x="74" y="13"/>
                  <a:pt x="74" y="13"/>
                  <a:pt x="74" y="13"/>
                </a:cubicBezTo>
                <a:cubicBezTo>
                  <a:pt x="74" y="13"/>
                  <a:pt x="74" y="12"/>
                  <a:pt x="74" y="12"/>
                </a:cubicBezTo>
                <a:cubicBezTo>
                  <a:pt x="74" y="12"/>
                  <a:pt x="74" y="12"/>
                  <a:pt x="74" y="12"/>
                </a:cubicBezTo>
                <a:cubicBezTo>
                  <a:pt x="72" y="12"/>
                  <a:pt x="70" y="11"/>
                  <a:pt x="68" y="10"/>
                </a:cubicBezTo>
                <a:cubicBezTo>
                  <a:pt x="68" y="10"/>
                  <a:pt x="67" y="9"/>
                  <a:pt x="66" y="9"/>
                </a:cubicBezTo>
                <a:cubicBezTo>
                  <a:pt x="57" y="5"/>
                  <a:pt x="57" y="5"/>
                  <a:pt x="57" y="5"/>
                </a:cubicBezTo>
                <a:cubicBezTo>
                  <a:pt x="56" y="5"/>
                  <a:pt x="56" y="5"/>
                  <a:pt x="55" y="5"/>
                </a:cubicBezTo>
                <a:cubicBezTo>
                  <a:pt x="55" y="5"/>
                  <a:pt x="55" y="5"/>
                  <a:pt x="54" y="5"/>
                </a:cubicBezTo>
                <a:cubicBezTo>
                  <a:pt x="54" y="5"/>
                  <a:pt x="54" y="5"/>
                  <a:pt x="54" y="5"/>
                </a:cubicBezTo>
                <a:cubicBezTo>
                  <a:pt x="53" y="5"/>
                  <a:pt x="53" y="5"/>
                  <a:pt x="53" y="5"/>
                </a:cubicBezTo>
                <a:cubicBezTo>
                  <a:pt x="51" y="5"/>
                  <a:pt x="50" y="4"/>
                  <a:pt x="49" y="4"/>
                </a:cubicBezTo>
                <a:cubicBezTo>
                  <a:pt x="48" y="3"/>
                  <a:pt x="48" y="2"/>
                  <a:pt x="48" y="1"/>
                </a:cubicBezTo>
                <a:cubicBezTo>
                  <a:pt x="48" y="1"/>
                  <a:pt x="48" y="1"/>
                  <a:pt x="47" y="1"/>
                </a:cubicBezTo>
                <a:cubicBezTo>
                  <a:pt x="47" y="1"/>
                  <a:pt x="47" y="1"/>
                  <a:pt x="46" y="1"/>
                </a:cubicBezTo>
                <a:cubicBezTo>
                  <a:pt x="46" y="1"/>
                  <a:pt x="46" y="1"/>
                  <a:pt x="46" y="1"/>
                </a:cubicBezTo>
                <a:cubicBezTo>
                  <a:pt x="45" y="0"/>
                  <a:pt x="44" y="0"/>
                  <a:pt x="43" y="0"/>
                </a:cubicBezTo>
                <a:cubicBezTo>
                  <a:pt x="41" y="1"/>
                  <a:pt x="39" y="2"/>
                  <a:pt x="37" y="3"/>
                </a:cubicBezTo>
                <a:cubicBezTo>
                  <a:pt x="36" y="3"/>
                  <a:pt x="36" y="3"/>
                  <a:pt x="35" y="4"/>
                </a:cubicBezTo>
                <a:cubicBezTo>
                  <a:pt x="35" y="4"/>
                  <a:pt x="35" y="5"/>
                  <a:pt x="35" y="5"/>
                </a:cubicBezTo>
                <a:cubicBezTo>
                  <a:pt x="35" y="6"/>
                  <a:pt x="35" y="6"/>
                  <a:pt x="35" y="6"/>
                </a:cubicBezTo>
                <a:cubicBezTo>
                  <a:pt x="35" y="6"/>
                  <a:pt x="35" y="6"/>
                  <a:pt x="35" y="6"/>
                </a:cubicBezTo>
                <a:cubicBezTo>
                  <a:pt x="35" y="6"/>
                  <a:pt x="35" y="6"/>
                  <a:pt x="35" y="6"/>
                </a:cubicBezTo>
                <a:cubicBezTo>
                  <a:pt x="35" y="6"/>
                  <a:pt x="35" y="7"/>
                  <a:pt x="35" y="7"/>
                </a:cubicBezTo>
                <a:cubicBezTo>
                  <a:pt x="34" y="10"/>
                  <a:pt x="31" y="11"/>
                  <a:pt x="29" y="12"/>
                </a:cubicBezTo>
                <a:cubicBezTo>
                  <a:pt x="28" y="12"/>
                  <a:pt x="28" y="13"/>
                  <a:pt x="27" y="13"/>
                </a:cubicBezTo>
                <a:cubicBezTo>
                  <a:pt x="27" y="13"/>
                  <a:pt x="27" y="13"/>
                  <a:pt x="27" y="13"/>
                </a:cubicBezTo>
                <a:cubicBezTo>
                  <a:pt x="26" y="13"/>
                  <a:pt x="26" y="13"/>
                  <a:pt x="26" y="13"/>
                </a:cubicBezTo>
                <a:cubicBezTo>
                  <a:pt x="26" y="13"/>
                  <a:pt x="26" y="13"/>
                  <a:pt x="26" y="13"/>
                </a:cubicBezTo>
                <a:cubicBezTo>
                  <a:pt x="25" y="14"/>
                  <a:pt x="25" y="14"/>
                  <a:pt x="24" y="15"/>
                </a:cubicBezTo>
                <a:cubicBezTo>
                  <a:pt x="23" y="15"/>
                  <a:pt x="23" y="16"/>
                  <a:pt x="23" y="16"/>
                </a:cubicBezTo>
                <a:cubicBezTo>
                  <a:pt x="23" y="16"/>
                  <a:pt x="22" y="17"/>
                  <a:pt x="22" y="17"/>
                </a:cubicBezTo>
                <a:cubicBezTo>
                  <a:pt x="22" y="17"/>
                  <a:pt x="22" y="17"/>
                  <a:pt x="22" y="17"/>
                </a:cubicBezTo>
                <a:cubicBezTo>
                  <a:pt x="22" y="17"/>
                  <a:pt x="22" y="18"/>
                  <a:pt x="22" y="18"/>
                </a:cubicBezTo>
                <a:cubicBezTo>
                  <a:pt x="21" y="18"/>
                  <a:pt x="21" y="18"/>
                  <a:pt x="21" y="18"/>
                </a:cubicBezTo>
                <a:cubicBezTo>
                  <a:pt x="21" y="19"/>
                  <a:pt x="21" y="19"/>
                  <a:pt x="20" y="19"/>
                </a:cubicBezTo>
                <a:cubicBezTo>
                  <a:pt x="20" y="20"/>
                  <a:pt x="20" y="20"/>
                  <a:pt x="20" y="20"/>
                </a:cubicBezTo>
                <a:cubicBezTo>
                  <a:pt x="19" y="21"/>
                  <a:pt x="18" y="22"/>
                  <a:pt x="17" y="23"/>
                </a:cubicBezTo>
                <a:cubicBezTo>
                  <a:pt x="17" y="23"/>
                  <a:pt x="17" y="23"/>
                  <a:pt x="17" y="23"/>
                </a:cubicBezTo>
                <a:cubicBezTo>
                  <a:pt x="16" y="24"/>
                  <a:pt x="15" y="25"/>
                  <a:pt x="14" y="25"/>
                </a:cubicBezTo>
                <a:cubicBezTo>
                  <a:pt x="14" y="25"/>
                  <a:pt x="14" y="25"/>
                  <a:pt x="13" y="26"/>
                </a:cubicBezTo>
                <a:cubicBezTo>
                  <a:pt x="13" y="26"/>
                  <a:pt x="13" y="26"/>
                  <a:pt x="13" y="26"/>
                </a:cubicBezTo>
                <a:cubicBezTo>
                  <a:pt x="13" y="26"/>
                  <a:pt x="13" y="26"/>
                  <a:pt x="13" y="26"/>
                </a:cubicBezTo>
                <a:cubicBezTo>
                  <a:pt x="13" y="26"/>
                  <a:pt x="13" y="26"/>
                  <a:pt x="13" y="26"/>
                </a:cubicBezTo>
                <a:cubicBezTo>
                  <a:pt x="13" y="26"/>
                  <a:pt x="13" y="26"/>
                  <a:pt x="13" y="26"/>
                </a:cubicBezTo>
                <a:cubicBezTo>
                  <a:pt x="12" y="26"/>
                  <a:pt x="12" y="26"/>
                  <a:pt x="12" y="26"/>
                </a:cubicBezTo>
                <a:cubicBezTo>
                  <a:pt x="12" y="26"/>
                  <a:pt x="12" y="26"/>
                  <a:pt x="12" y="26"/>
                </a:cubicBezTo>
                <a:cubicBezTo>
                  <a:pt x="12" y="26"/>
                  <a:pt x="12" y="26"/>
                  <a:pt x="12" y="26"/>
                </a:cubicBezTo>
                <a:cubicBezTo>
                  <a:pt x="12" y="26"/>
                  <a:pt x="11" y="26"/>
                  <a:pt x="11" y="26"/>
                </a:cubicBezTo>
                <a:cubicBezTo>
                  <a:pt x="10" y="26"/>
                  <a:pt x="10" y="26"/>
                  <a:pt x="9" y="26"/>
                </a:cubicBezTo>
                <a:cubicBezTo>
                  <a:pt x="8" y="26"/>
                  <a:pt x="8" y="26"/>
                  <a:pt x="8" y="26"/>
                </a:cubicBezTo>
                <a:cubicBezTo>
                  <a:pt x="1" y="24"/>
                  <a:pt x="1" y="24"/>
                  <a:pt x="1" y="24"/>
                </a:cubicBezTo>
                <a:cubicBezTo>
                  <a:pt x="1" y="24"/>
                  <a:pt x="1" y="24"/>
                  <a:pt x="1" y="24"/>
                </a:cubicBezTo>
                <a:cubicBezTo>
                  <a:pt x="0" y="24"/>
                  <a:pt x="0" y="24"/>
                  <a:pt x="0" y="24"/>
                </a:cubicBezTo>
                <a:cubicBezTo>
                  <a:pt x="2" y="28"/>
                  <a:pt x="2" y="28"/>
                  <a:pt x="2" y="28"/>
                </a:cubicBezTo>
                <a:cubicBezTo>
                  <a:pt x="2" y="28"/>
                  <a:pt x="2" y="29"/>
                  <a:pt x="3" y="30"/>
                </a:cubicBezTo>
                <a:cubicBezTo>
                  <a:pt x="4" y="32"/>
                  <a:pt x="5" y="34"/>
                  <a:pt x="6" y="36"/>
                </a:cubicBezTo>
                <a:cubicBezTo>
                  <a:pt x="6" y="36"/>
                  <a:pt x="6" y="36"/>
                  <a:pt x="6" y="36"/>
                </a:cubicBezTo>
                <a:cubicBezTo>
                  <a:pt x="7" y="38"/>
                  <a:pt x="7" y="38"/>
                  <a:pt x="7" y="38"/>
                </a:cubicBezTo>
                <a:cubicBezTo>
                  <a:pt x="7" y="39"/>
                  <a:pt x="7" y="40"/>
                  <a:pt x="8" y="40"/>
                </a:cubicBezTo>
                <a:cubicBezTo>
                  <a:pt x="8" y="40"/>
                  <a:pt x="9" y="41"/>
                  <a:pt x="10" y="41"/>
                </a:cubicBezTo>
                <a:cubicBezTo>
                  <a:pt x="11" y="42"/>
                  <a:pt x="12" y="43"/>
                  <a:pt x="14" y="44"/>
                </a:cubicBezTo>
                <a:cubicBezTo>
                  <a:pt x="14" y="44"/>
                  <a:pt x="14" y="44"/>
                  <a:pt x="14" y="44"/>
                </a:cubicBezTo>
                <a:cubicBezTo>
                  <a:pt x="15" y="44"/>
                  <a:pt x="16" y="44"/>
                  <a:pt x="17" y="45"/>
                </a:cubicBezTo>
                <a:cubicBezTo>
                  <a:pt x="18" y="46"/>
                  <a:pt x="18" y="46"/>
                  <a:pt x="19" y="47"/>
                </a:cubicBezTo>
                <a:cubicBezTo>
                  <a:pt x="19" y="47"/>
                  <a:pt x="19" y="47"/>
                  <a:pt x="19" y="48"/>
                </a:cubicBezTo>
                <a:cubicBezTo>
                  <a:pt x="19" y="48"/>
                  <a:pt x="19" y="48"/>
                  <a:pt x="19" y="48"/>
                </a:cubicBezTo>
                <a:cubicBezTo>
                  <a:pt x="19" y="48"/>
                  <a:pt x="19" y="49"/>
                  <a:pt x="19" y="49"/>
                </a:cubicBezTo>
                <a:cubicBezTo>
                  <a:pt x="19" y="49"/>
                  <a:pt x="19" y="49"/>
                  <a:pt x="19" y="49"/>
                </a:cubicBezTo>
                <a:cubicBezTo>
                  <a:pt x="19" y="49"/>
                  <a:pt x="19" y="49"/>
                  <a:pt x="19" y="49"/>
                </a:cubicBezTo>
                <a:cubicBezTo>
                  <a:pt x="20" y="50"/>
                  <a:pt x="20" y="50"/>
                  <a:pt x="20" y="50"/>
                </a:cubicBezTo>
                <a:cubicBezTo>
                  <a:pt x="21" y="50"/>
                  <a:pt x="23" y="50"/>
                  <a:pt x="23" y="51"/>
                </a:cubicBezTo>
                <a:cubicBezTo>
                  <a:pt x="23" y="51"/>
                  <a:pt x="23" y="51"/>
                  <a:pt x="23" y="52"/>
                </a:cubicBezTo>
                <a:cubicBezTo>
                  <a:pt x="23" y="52"/>
                  <a:pt x="23" y="52"/>
                  <a:pt x="23" y="52"/>
                </a:cubicBezTo>
                <a:cubicBezTo>
                  <a:pt x="23" y="52"/>
                  <a:pt x="23" y="53"/>
                  <a:pt x="23" y="53"/>
                </a:cubicBezTo>
                <a:cubicBezTo>
                  <a:pt x="23" y="53"/>
                  <a:pt x="23" y="53"/>
                  <a:pt x="23" y="54"/>
                </a:cubicBezTo>
                <a:cubicBezTo>
                  <a:pt x="23" y="54"/>
                  <a:pt x="23" y="54"/>
                  <a:pt x="23" y="54"/>
                </a:cubicBezTo>
                <a:cubicBezTo>
                  <a:pt x="23" y="55"/>
                  <a:pt x="24" y="56"/>
                  <a:pt x="24" y="57"/>
                </a:cubicBezTo>
                <a:cubicBezTo>
                  <a:pt x="24" y="57"/>
                  <a:pt x="24" y="57"/>
                  <a:pt x="24" y="57"/>
                </a:cubicBezTo>
                <a:cubicBezTo>
                  <a:pt x="24" y="58"/>
                  <a:pt x="25" y="58"/>
                  <a:pt x="25" y="59"/>
                </a:cubicBezTo>
                <a:cubicBezTo>
                  <a:pt x="25" y="59"/>
                  <a:pt x="25" y="61"/>
                  <a:pt x="26" y="61"/>
                </a:cubicBezTo>
                <a:cubicBezTo>
                  <a:pt x="26" y="61"/>
                  <a:pt x="27" y="61"/>
                  <a:pt x="28" y="62"/>
                </a:cubicBezTo>
                <a:cubicBezTo>
                  <a:pt x="29" y="62"/>
                  <a:pt x="29" y="62"/>
                  <a:pt x="30" y="62"/>
                </a:cubicBezTo>
                <a:cubicBezTo>
                  <a:pt x="30" y="62"/>
                  <a:pt x="30" y="62"/>
                  <a:pt x="31" y="62"/>
                </a:cubicBezTo>
                <a:cubicBezTo>
                  <a:pt x="33" y="62"/>
                  <a:pt x="35" y="63"/>
                  <a:pt x="36" y="63"/>
                </a:cubicBezTo>
                <a:cubicBezTo>
                  <a:pt x="37" y="64"/>
                  <a:pt x="37" y="64"/>
                  <a:pt x="37" y="64"/>
                </a:cubicBezTo>
                <a:cubicBezTo>
                  <a:pt x="37" y="64"/>
                  <a:pt x="37" y="65"/>
                  <a:pt x="37" y="65"/>
                </a:cubicBezTo>
                <a:cubicBezTo>
                  <a:pt x="37" y="66"/>
                  <a:pt x="37" y="66"/>
                  <a:pt x="37" y="66"/>
                </a:cubicBezTo>
                <a:cubicBezTo>
                  <a:pt x="37" y="66"/>
                  <a:pt x="37" y="66"/>
                  <a:pt x="37" y="66"/>
                </a:cubicBezTo>
                <a:cubicBezTo>
                  <a:pt x="39" y="68"/>
                  <a:pt x="39" y="68"/>
                  <a:pt x="39" y="68"/>
                </a:cubicBezTo>
                <a:cubicBezTo>
                  <a:pt x="40" y="68"/>
                  <a:pt x="40" y="68"/>
                  <a:pt x="40" y="68"/>
                </a:cubicBezTo>
                <a:cubicBezTo>
                  <a:pt x="41" y="68"/>
                  <a:pt x="42" y="68"/>
                  <a:pt x="43" y="68"/>
                </a:cubicBezTo>
                <a:cubicBezTo>
                  <a:pt x="44" y="68"/>
                  <a:pt x="44" y="68"/>
                  <a:pt x="44" y="68"/>
                </a:cubicBezTo>
                <a:cubicBezTo>
                  <a:pt x="47" y="68"/>
                  <a:pt x="51" y="68"/>
                  <a:pt x="54" y="69"/>
                </a:cubicBezTo>
                <a:cubicBezTo>
                  <a:pt x="55" y="69"/>
                  <a:pt x="55" y="69"/>
                  <a:pt x="55" y="69"/>
                </a:cubicBezTo>
                <a:cubicBezTo>
                  <a:pt x="56" y="69"/>
                  <a:pt x="57" y="69"/>
                  <a:pt x="58" y="70"/>
                </a:cubicBezTo>
                <a:cubicBezTo>
                  <a:pt x="58" y="70"/>
                  <a:pt x="58" y="69"/>
                  <a:pt x="58" y="69"/>
                </a:cubicBezTo>
                <a:cubicBezTo>
                  <a:pt x="58" y="69"/>
                  <a:pt x="58" y="69"/>
                  <a:pt x="58" y="69"/>
                </a:cubicBezTo>
                <a:cubicBezTo>
                  <a:pt x="59" y="69"/>
                  <a:pt x="59" y="69"/>
                  <a:pt x="59" y="69"/>
                </a:cubicBezTo>
                <a:cubicBezTo>
                  <a:pt x="59" y="69"/>
                  <a:pt x="59" y="69"/>
                  <a:pt x="59" y="69"/>
                </a:cubicBezTo>
                <a:cubicBezTo>
                  <a:pt x="59" y="69"/>
                  <a:pt x="59" y="69"/>
                  <a:pt x="59" y="69"/>
                </a:cubicBezTo>
                <a:cubicBezTo>
                  <a:pt x="59" y="69"/>
                  <a:pt x="59" y="69"/>
                  <a:pt x="59" y="69"/>
                </a:cubicBezTo>
                <a:cubicBezTo>
                  <a:pt x="64" y="64"/>
                  <a:pt x="64" y="64"/>
                  <a:pt x="64" y="64"/>
                </a:cubicBezTo>
                <a:cubicBezTo>
                  <a:pt x="64" y="64"/>
                  <a:pt x="64" y="64"/>
                  <a:pt x="64" y="64"/>
                </a:cubicBezTo>
                <a:cubicBezTo>
                  <a:pt x="64" y="63"/>
                  <a:pt x="64" y="63"/>
                  <a:pt x="64" y="63"/>
                </a:cubicBezTo>
                <a:cubicBezTo>
                  <a:pt x="65" y="62"/>
                  <a:pt x="66" y="61"/>
                  <a:pt x="68" y="60"/>
                </a:cubicBezTo>
                <a:cubicBezTo>
                  <a:pt x="68" y="59"/>
                  <a:pt x="68" y="59"/>
                  <a:pt x="69" y="59"/>
                </a:cubicBezTo>
                <a:cubicBezTo>
                  <a:pt x="68" y="58"/>
                  <a:pt x="68" y="58"/>
                  <a:pt x="68" y="57"/>
                </a:cubicBezTo>
                <a:cubicBezTo>
                  <a:pt x="68" y="56"/>
                  <a:pt x="69" y="55"/>
                  <a:pt x="69" y="54"/>
                </a:cubicBezTo>
                <a:cubicBezTo>
                  <a:pt x="69" y="54"/>
                  <a:pt x="69" y="54"/>
                  <a:pt x="69" y="54"/>
                </a:cubicBezTo>
                <a:cubicBezTo>
                  <a:pt x="69" y="52"/>
                  <a:pt x="70" y="51"/>
                  <a:pt x="71" y="50"/>
                </a:cubicBezTo>
                <a:cubicBezTo>
                  <a:pt x="71" y="50"/>
                  <a:pt x="72" y="50"/>
                  <a:pt x="72" y="50"/>
                </a:cubicBezTo>
                <a:cubicBezTo>
                  <a:pt x="72" y="50"/>
                  <a:pt x="72" y="50"/>
                  <a:pt x="72" y="50"/>
                </a:cubicBezTo>
                <a:cubicBezTo>
                  <a:pt x="72" y="49"/>
                  <a:pt x="73" y="48"/>
                  <a:pt x="74" y="47"/>
                </a:cubicBezTo>
                <a:cubicBezTo>
                  <a:pt x="74" y="46"/>
                  <a:pt x="75" y="45"/>
                  <a:pt x="75" y="44"/>
                </a:cubicBezTo>
                <a:cubicBezTo>
                  <a:pt x="75" y="44"/>
                  <a:pt x="75" y="44"/>
                  <a:pt x="75" y="43"/>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00" name="Freeform 3057">
            <a:extLst>
              <a:ext uri="{FF2B5EF4-FFF2-40B4-BE49-F238E27FC236}">
                <a16:creationId xmlns:a16="http://schemas.microsoft.com/office/drawing/2014/main" id="{BF016B2D-BD09-4C0C-B1A9-3537AA222DFC}"/>
              </a:ext>
            </a:extLst>
          </p:cNvPr>
          <p:cNvSpPr>
            <a:spLocks/>
          </p:cNvSpPr>
          <p:nvPr/>
        </p:nvSpPr>
        <p:spPr bwMode="auto">
          <a:xfrm>
            <a:off x="3580837" y="4019767"/>
            <a:ext cx="107537" cy="132372"/>
          </a:xfrm>
          <a:custGeom>
            <a:avLst/>
            <a:gdLst>
              <a:gd name="T0" fmla="*/ 91 w 92"/>
              <a:gd name="T1" fmla="*/ 44 h 94"/>
              <a:gd name="T2" fmla="*/ 91 w 92"/>
              <a:gd name="T3" fmla="*/ 43 h 94"/>
              <a:gd name="T4" fmla="*/ 90 w 92"/>
              <a:gd name="T5" fmla="*/ 41 h 94"/>
              <a:gd name="T6" fmla="*/ 85 w 92"/>
              <a:gd name="T7" fmla="*/ 40 h 94"/>
              <a:gd name="T8" fmla="*/ 80 w 92"/>
              <a:gd name="T9" fmla="*/ 39 h 94"/>
              <a:gd name="T10" fmla="*/ 78 w 92"/>
              <a:gd name="T11" fmla="*/ 34 h 94"/>
              <a:gd name="T12" fmla="*/ 77 w 92"/>
              <a:gd name="T13" fmla="*/ 28 h 94"/>
              <a:gd name="T14" fmla="*/ 75 w 92"/>
              <a:gd name="T15" fmla="*/ 28 h 94"/>
              <a:gd name="T16" fmla="*/ 72 w 92"/>
              <a:gd name="T17" fmla="*/ 24 h 94"/>
              <a:gd name="T18" fmla="*/ 72 w 92"/>
              <a:gd name="T19" fmla="*/ 23 h 94"/>
              <a:gd name="T20" fmla="*/ 64 w 92"/>
              <a:gd name="T21" fmla="*/ 20 h 94"/>
              <a:gd name="T22" fmla="*/ 60 w 92"/>
              <a:gd name="T23" fmla="*/ 13 h 94"/>
              <a:gd name="T24" fmla="*/ 52 w 92"/>
              <a:gd name="T25" fmla="*/ 0 h 94"/>
              <a:gd name="T26" fmla="*/ 40 w 92"/>
              <a:gd name="T27" fmla="*/ 4 h 94"/>
              <a:gd name="T28" fmla="*/ 35 w 92"/>
              <a:gd name="T29" fmla="*/ 6 h 94"/>
              <a:gd name="T30" fmla="*/ 33 w 92"/>
              <a:gd name="T31" fmla="*/ 2 h 94"/>
              <a:gd name="T32" fmla="*/ 32 w 92"/>
              <a:gd name="T33" fmla="*/ 2 h 94"/>
              <a:gd name="T34" fmla="*/ 11 w 92"/>
              <a:gd name="T35" fmla="*/ 20 h 94"/>
              <a:gd name="T36" fmla="*/ 11 w 92"/>
              <a:gd name="T37" fmla="*/ 39 h 94"/>
              <a:gd name="T38" fmla="*/ 11 w 92"/>
              <a:gd name="T39" fmla="*/ 42 h 94"/>
              <a:gd name="T40" fmla="*/ 0 w 92"/>
              <a:gd name="T41" fmla="*/ 44 h 94"/>
              <a:gd name="T42" fmla="*/ 2 w 92"/>
              <a:gd name="T43" fmla="*/ 73 h 94"/>
              <a:gd name="T44" fmla="*/ 7 w 92"/>
              <a:gd name="T45" fmla="*/ 80 h 94"/>
              <a:gd name="T46" fmla="*/ 9 w 92"/>
              <a:gd name="T47" fmla="*/ 87 h 94"/>
              <a:gd name="T48" fmla="*/ 8 w 92"/>
              <a:gd name="T49" fmla="*/ 90 h 94"/>
              <a:gd name="T50" fmla="*/ 7 w 92"/>
              <a:gd name="T51" fmla="*/ 93 h 94"/>
              <a:gd name="T52" fmla="*/ 7 w 92"/>
              <a:gd name="T53" fmla="*/ 94 h 94"/>
              <a:gd name="T54" fmla="*/ 10 w 92"/>
              <a:gd name="T55" fmla="*/ 94 h 94"/>
              <a:gd name="T56" fmla="*/ 13 w 92"/>
              <a:gd name="T57" fmla="*/ 94 h 94"/>
              <a:gd name="T58" fmla="*/ 15 w 92"/>
              <a:gd name="T59" fmla="*/ 94 h 94"/>
              <a:gd name="T60" fmla="*/ 18 w 92"/>
              <a:gd name="T61" fmla="*/ 92 h 94"/>
              <a:gd name="T62" fmla="*/ 19 w 92"/>
              <a:gd name="T63" fmla="*/ 92 h 94"/>
              <a:gd name="T64" fmla="*/ 25 w 92"/>
              <a:gd name="T65" fmla="*/ 86 h 94"/>
              <a:gd name="T66" fmla="*/ 26 w 92"/>
              <a:gd name="T67" fmla="*/ 84 h 94"/>
              <a:gd name="T68" fmla="*/ 26 w 92"/>
              <a:gd name="T69" fmla="*/ 83 h 94"/>
              <a:gd name="T70" fmla="*/ 27 w 92"/>
              <a:gd name="T71" fmla="*/ 82 h 94"/>
              <a:gd name="T72" fmla="*/ 27 w 92"/>
              <a:gd name="T73" fmla="*/ 80 h 94"/>
              <a:gd name="T74" fmla="*/ 35 w 92"/>
              <a:gd name="T75" fmla="*/ 78 h 94"/>
              <a:gd name="T76" fmla="*/ 41 w 92"/>
              <a:gd name="T77" fmla="*/ 80 h 94"/>
              <a:gd name="T78" fmla="*/ 50 w 92"/>
              <a:gd name="T79" fmla="*/ 83 h 94"/>
              <a:gd name="T80" fmla="*/ 54 w 92"/>
              <a:gd name="T81" fmla="*/ 82 h 94"/>
              <a:gd name="T82" fmla="*/ 56 w 92"/>
              <a:gd name="T83" fmla="*/ 80 h 94"/>
              <a:gd name="T84" fmla="*/ 58 w 92"/>
              <a:gd name="T85" fmla="*/ 73 h 94"/>
              <a:gd name="T86" fmla="*/ 59 w 92"/>
              <a:gd name="T87" fmla="*/ 71 h 94"/>
              <a:gd name="T88" fmla="*/ 66 w 92"/>
              <a:gd name="T89" fmla="*/ 68 h 94"/>
              <a:gd name="T90" fmla="*/ 67 w 92"/>
              <a:gd name="T91" fmla="*/ 67 h 94"/>
              <a:gd name="T92" fmla="*/ 68 w 92"/>
              <a:gd name="T93" fmla="*/ 65 h 94"/>
              <a:gd name="T94" fmla="*/ 69 w 92"/>
              <a:gd name="T95" fmla="*/ 63 h 94"/>
              <a:gd name="T96" fmla="*/ 76 w 92"/>
              <a:gd name="T97" fmla="*/ 55 h 94"/>
              <a:gd name="T98" fmla="*/ 84 w 92"/>
              <a:gd name="T99" fmla="*/ 48 h 94"/>
              <a:gd name="T100" fmla="*/ 88 w 92"/>
              <a:gd name="T101" fmla="*/ 4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 h="94">
                <a:moveTo>
                  <a:pt x="89" y="47"/>
                </a:moveTo>
                <a:cubicBezTo>
                  <a:pt x="89" y="47"/>
                  <a:pt x="89" y="46"/>
                  <a:pt x="90" y="46"/>
                </a:cubicBezTo>
                <a:cubicBezTo>
                  <a:pt x="90" y="45"/>
                  <a:pt x="90" y="45"/>
                  <a:pt x="91" y="44"/>
                </a:cubicBezTo>
                <a:cubicBezTo>
                  <a:pt x="91" y="44"/>
                  <a:pt x="91" y="44"/>
                  <a:pt x="92" y="44"/>
                </a:cubicBezTo>
                <a:cubicBezTo>
                  <a:pt x="91" y="43"/>
                  <a:pt x="91" y="43"/>
                  <a:pt x="91" y="43"/>
                </a:cubicBezTo>
                <a:cubicBezTo>
                  <a:pt x="91" y="43"/>
                  <a:pt x="91" y="43"/>
                  <a:pt x="91" y="43"/>
                </a:cubicBezTo>
                <a:cubicBezTo>
                  <a:pt x="91" y="43"/>
                  <a:pt x="91" y="43"/>
                  <a:pt x="91" y="43"/>
                </a:cubicBezTo>
                <a:cubicBezTo>
                  <a:pt x="91" y="42"/>
                  <a:pt x="90" y="42"/>
                  <a:pt x="90" y="42"/>
                </a:cubicBezTo>
                <a:cubicBezTo>
                  <a:pt x="90" y="42"/>
                  <a:pt x="90" y="41"/>
                  <a:pt x="90" y="41"/>
                </a:cubicBezTo>
                <a:cubicBezTo>
                  <a:pt x="89" y="41"/>
                  <a:pt x="88" y="41"/>
                  <a:pt x="87" y="41"/>
                </a:cubicBezTo>
                <a:cubicBezTo>
                  <a:pt x="86" y="40"/>
                  <a:pt x="86" y="40"/>
                  <a:pt x="86" y="40"/>
                </a:cubicBezTo>
                <a:cubicBezTo>
                  <a:pt x="86" y="40"/>
                  <a:pt x="85" y="40"/>
                  <a:pt x="85" y="40"/>
                </a:cubicBezTo>
                <a:cubicBezTo>
                  <a:pt x="85" y="40"/>
                  <a:pt x="85" y="40"/>
                  <a:pt x="84" y="40"/>
                </a:cubicBezTo>
                <a:cubicBezTo>
                  <a:pt x="84" y="40"/>
                  <a:pt x="84" y="40"/>
                  <a:pt x="84" y="40"/>
                </a:cubicBezTo>
                <a:cubicBezTo>
                  <a:pt x="83" y="40"/>
                  <a:pt x="81" y="40"/>
                  <a:pt x="80" y="39"/>
                </a:cubicBezTo>
                <a:cubicBezTo>
                  <a:pt x="79" y="38"/>
                  <a:pt x="79" y="37"/>
                  <a:pt x="78" y="35"/>
                </a:cubicBezTo>
                <a:cubicBezTo>
                  <a:pt x="78" y="35"/>
                  <a:pt x="78" y="35"/>
                  <a:pt x="78" y="34"/>
                </a:cubicBezTo>
                <a:cubicBezTo>
                  <a:pt x="78" y="34"/>
                  <a:pt x="78" y="34"/>
                  <a:pt x="78" y="34"/>
                </a:cubicBezTo>
                <a:cubicBezTo>
                  <a:pt x="77" y="33"/>
                  <a:pt x="77" y="32"/>
                  <a:pt x="77" y="30"/>
                </a:cubicBezTo>
                <a:cubicBezTo>
                  <a:pt x="77" y="29"/>
                  <a:pt x="77" y="29"/>
                  <a:pt x="77" y="29"/>
                </a:cubicBezTo>
                <a:cubicBezTo>
                  <a:pt x="77" y="29"/>
                  <a:pt x="77" y="28"/>
                  <a:pt x="77" y="28"/>
                </a:cubicBezTo>
                <a:cubicBezTo>
                  <a:pt x="77" y="28"/>
                  <a:pt x="76" y="28"/>
                  <a:pt x="76" y="28"/>
                </a:cubicBezTo>
                <a:cubicBezTo>
                  <a:pt x="76" y="28"/>
                  <a:pt x="76" y="28"/>
                  <a:pt x="76" y="28"/>
                </a:cubicBezTo>
                <a:cubicBezTo>
                  <a:pt x="75" y="28"/>
                  <a:pt x="75" y="28"/>
                  <a:pt x="75" y="28"/>
                </a:cubicBezTo>
                <a:cubicBezTo>
                  <a:pt x="74" y="28"/>
                  <a:pt x="73" y="28"/>
                  <a:pt x="73" y="27"/>
                </a:cubicBezTo>
                <a:cubicBezTo>
                  <a:pt x="72" y="27"/>
                  <a:pt x="72" y="26"/>
                  <a:pt x="72" y="25"/>
                </a:cubicBezTo>
                <a:cubicBezTo>
                  <a:pt x="72" y="25"/>
                  <a:pt x="72" y="25"/>
                  <a:pt x="72" y="24"/>
                </a:cubicBezTo>
                <a:cubicBezTo>
                  <a:pt x="72" y="24"/>
                  <a:pt x="72" y="24"/>
                  <a:pt x="72" y="24"/>
                </a:cubicBezTo>
                <a:cubicBezTo>
                  <a:pt x="72" y="24"/>
                  <a:pt x="72" y="24"/>
                  <a:pt x="72" y="24"/>
                </a:cubicBezTo>
                <a:cubicBezTo>
                  <a:pt x="72" y="23"/>
                  <a:pt x="72" y="23"/>
                  <a:pt x="72" y="23"/>
                </a:cubicBezTo>
                <a:cubicBezTo>
                  <a:pt x="71" y="23"/>
                  <a:pt x="70" y="22"/>
                  <a:pt x="69" y="22"/>
                </a:cubicBezTo>
                <a:cubicBezTo>
                  <a:pt x="69" y="22"/>
                  <a:pt x="69" y="22"/>
                  <a:pt x="69" y="22"/>
                </a:cubicBezTo>
                <a:cubicBezTo>
                  <a:pt x="67" y="21"/>
                  <a:pt x="66" y="21"/>
                  <a:pt x="64" y="20"/>
                </a:cubicBezTo>
                <a:cubicBezTo>
                  <a:pt x="64" y="19"/>
                  <a:pt x="63" y="18"/>
                  <a:pt x="62" y="18"/>
                </a:cubicBezTo>
                <a:cubicBezTo>
                  <a:pt x="61" y="17"/>
                  <a:pt x="61" y="16"/>
                  <a:pt x="60" y="15"/>
                </a:cubicBezTo>
                <a:cubicBezTo>
                  <a:pt x="60" y="13"/>
                  <a:pt x="60" y="13"/>
                  <a:pt x="60" y="13"/>
                </a:cubicBezTo>
                <a:cubicBezTo>
                  <a:pt x="59" y="11"/>
                  <a:pt x="58" y="9"/>
                  <a:pt x="57" y="7"/>
                </a:cubicBezTo>
                <a:cubicBezTo>
                  <a:pt x="56" y="6"/>
                  <a:pt x="56" y="6"/>
                  <a:pt x="56" y="5"/>
                </a:cubicBezTo>
                <a:cubicBezTo>
                  <a:pt x="52" y="0"/>
                  <a:pt x="52" y="0"/>
                  <a:pt x="52" y="0"/>
                </a:cubicBezTo>
                <a:cubicBezTo>
                  <a:pt x="48" y="0"/>
                  <a:pt x="45" y="1"/>
                  <a:pt x="41" y="3"/>
                </a:cubicBezTo>
                <a:cubicBezTo>
                  <a:pt x="41" y="3"/>
                  <a:pt x="41" y="3"/>
                  <a:pt x="41" y="3"/>
                </a:cubicBezTo>
                <a:cubicBezTo>
                  <a:pt x="41" y="3"/>
                  <a:pt x="40" y="4"/>
                  <a:pt x="40" y="4"/>
                </a:cubicBezTo>
                <a:cubicBezTo>
                  <a:pt x="38" y="5"/>
                  <a:pt x="37" y="6"/>
                  <a:pt x="36" y="6"/>
                </a:cubicBezTo>
                <a:cubicBezTo>
                  <a:pt x="36" y="6"/>
                  <a:pt x="36" y="6"/>
                  <a:pt x="36" y="6"/>
                </a:cubicBezTo>
                <a:cubicBezTo>
                  <a:pt x="36" y="6"/>
                  <a:pt x="35" y="6"/>
                  <a:pt x="35" y="6"/>
                </a:cubicBezTo>
                <a:cubicBezTo>
                  <a:pt x="35" y="6"/>
                  <a:pt x="34" y="5"/>
                  <a:pt x="34" y="5"/>
                </a:cubicBezTo>
                <a:cubicBezTo>
                  <a:pt x="34" y="5"/>
                  <a:pt x="33" y="4"/>
                  <a:pt x="33" y="3"/>
                </a:cubicBezTo>
                <a:cubicBezTo>
                  <a:pt x="33" y="3"/>
                  <a:pt x="33" y="3"/>
                  <a:pt x="33" y="2"/>
                </a:cubicBezTo>
                <a:cubicBezTo>
                  <a:pt x="33" y="2"/>
                  <a:pt x="32" y="2"/>
                  <a:pt x="32" y="2"/>
                </a:cubicBezTo>
                <a:cubicBezTo>
                  <a:pt x="32" y="2"/>
                  <a:pt x="32" y="2"/>
                  <a:pt x="32" y="2"/>
                </a:cubicBezTo>
                <a:cubicBezTo>
                  <a:pt x="32" y="2"/>
                  <a:pt x="32" y="2"/>
                  <a:pt x="32" y="2"/>
                </a:cubicBezTo>
                <a:cubicBezTo>
                  <a:pt x="11" y="5"/>
                  <a:pt x="11" y="5"/>
                  <a:pt x="11" y="5"/>
                </a:cubicBezTo>
                <a:cubicBezTo>
                  <a:pt x="11" y="5"/>
                  <a:pt x="11" y="5"/>
                  <a:pt x="11" y="5"/>
                </a:cubicBezTo>
                <a:cubicBezTo>
                  <a:pt x="11" y="20"/>
                  <a:pt x="11" y="20"/>
                  <a:pt x="11" y="20"/>
                </a:cubicBezTo>
                <a:cubicBezTo>
                  <a:pt x="11" y="20"/>
                  <a:pt x="11" y="20"/>
                  <a:pt x="11" y="20"/>
                </a:cubicBezTo>
                <a:cubicBezTo>
                  <a:pt x="11" y="25"/>
                  <a:pt x="11" y="30"/>
                  <a:pt x="11" y="35"/>
                </a:cubicBezTo>
                <a:cubicBezTo>
                  <a:pt x="11" y="39"/>
                  <a:pt x="11" y="39"/>
                  <a:pt x="11" y="39"/>
                </a:cubicBezTo>
                <a:cubicBezTo>
                  <a:pt x="11" y="40"/>
                  <a:pt x="11" y="40"/>
                  <a:pt x="11" y="40"/>
                </a:cubicBezTo>
                <a:cubicBezTo>
                  <a:pt x="11" y="41"/>
                  <a:pt x="11" y="41"/>
                  <a:pt x="11" y="42"/>
                </a:cubicBezTo>
                <a:cubicBezTo>
                  <a:pt x="11" y="42"/>
                  <a:pt x="11" y="42"/>
                  <a:pt x="11" y="42"/>
                </a:cubicBezTo>
                <a:cubicBezTo>
                  <a:pt x="11" y="42"/>
                  <a:pt x="10" y="43"/>
                  <a:pt x="8" y="44"/>
                </a:cubicBezTo>
                <a:cubicBezTo>
                  <a:pt x="6" y="44"/>
                  <a:pt x="4" y="44"/>
                  <a:pt x="2" y="44"/>
                </a:cubicBezTo>
                <a:cubicBezTo>
                  <a:pt x="1" y="44"/>
                  <a:pt x="1" y="44"/>
                  <a:pt x="0" y="44"/>
                </a:cubicBezTo>
                <a:cubicBezTo>
                  <a:pt x="0" y="44"/>
                  <a:pt x="0" y="44"/>
                  <a:pt x="0" y="45"/>
                </a:cubicBezTo>
                <a:cubicBezTo>
                  <a:pt x="0" y="72"/>
                  <a:pt x="0" y="72"/>
                  <a:pt x="0" y="72"/>
                </a:cubicBezTo>
                <a:cubicBezTo>
                  <a:pt x="2" y="73"/>
                  <a:pt x="2" y="73"/>
                  <a:pt x="2" y="73"/>
                </a:cubicBezTo>
                <a:cubicBezTo>
                  <a:pt x="2" y="73"/>
                  <a:pt x="3" y="74"/>
                  <a:pt x="4" y="74"/>
                </a:cubicBezTo>
                <a:cubicBezTo>
                  <a:pt x="5" y="75"/>
                  <a:pt x="6" y="77"/>
                  <a:pt x="7" y="79"/>
                </a:cubicBezTo>
                <a:cubicBezTo>
                  <a:pt x="7" y="80"/>
                  <a:pt x="7" y="80"/>
                  <a:pt x="7" y="80"/>
                </a:cubicBezTo>
                <a:cubicBezTo>
                  <a:pt x="7" y="80"/>
                  <a:pt x="7" y="80"/>
                  <a:pt x="8" y="81"/>
                </a:cubicBezTo>
                <a:cubicBezTo>
                  <a:pt x="8" y="81"/>
                  <a:pt x="8" y="81"/>
                  <a:pt x="8" y="81"/>
                </a:cubicBezTo>
                <a:cubicBezTo>
                  <a:pt x="8" y="83"/>
                  <a:pt x="9" y="85"/>
                  <a:pt x="9" y="87"/>
                </a:cubicBezTo>
                <a:cubicBezTo>
                  <a:pt x="9" y="87"/>
                  <a:pt x="9" y="88"/>
                  <a:pt x="9" y="88"/>
                </a:cubicBezTo>
                <a:cubicBezTo>
                  <a:pt x="9" y="89"/>
                  <a:pt x="9" y="89"/>
                  <a:pt x="8" y="90"/>
                </a:cubicBezTo>
                <a:cubicBezTo>
                  <a:pt x="8" y="90"/>
                  <a:pt x="8" y="90"/>
                  <a:pt x="8" y="90"/>
                </a:cubicBezTo>
                <a:cubicBezTo>
                  <a:pt x="8" y="90"/>
                  <a:pt x="8" y="90"/>
                  <a:pt x="8" y="91"/>
                </a:cubicBezTo>
                <a:cubicBezTo>
                  <a:pt x="7" y="91"/>
                  <a:pt x="7" y="92"/>
                  <a:pt x="7" y="92"/>
                </a:cubicBezTo>
                <a:cubicBezTo>
                  <a:pt x="7" y="93"/>
                  <a:pt x="7" y="93"/>
                  <a:pt x="7" y="93"/>
                </a:cubicBezTo>
                <a:cubicBezTo>
                  <a:pt x="7" y="93"/>
                  <a:pt x="7" y="93"/>
                  <a:pt x="7" y="93"/>
                </a:cubicBezTo>
                <a:cubicBezTo>
                  <a:pt x="7" y="94"/>
                  <a:pt x="7" y="94"/>
                  <a:pt x="7" y="94"/>
                </a:cubicBezTo>
                <a:cubicBezTo>
                  <a:pt x="7" y="94"/>
                  <a:pt x="7" y="94"/>
                  <a:pt x="7" y="94"/>
                </a:cubicBezTo>
                <a:cubicBezTo>
                  <a:pt x="7" y="94"/>
                  <a:pt x="7" y="94"/>
                  <a:pt x="7" y="94"/>
                </a:cubicBezTo>
                <a:cubicBezTo>
                  <a:pt x="8" y="94"/>
                  <a:pt x="8" y="93"/>
                  <a:pt x="9" y="94"/>
                </a:cubicBezTo>
                <a:cubicBezTo>
                  <a:pt x="9" y="94"/>
                  <a:pt x="10" y="94"/>
                  <a:pt x="10" y="94"/>
                </a:cubicBezTo>
                <a:cubicBezTo>
                  <a:pt x="10" y="94"/>
                  <a:pt x="10" y="94"/>
                  <a:pt x="10" y="94"/>
                </a:cubicBezTo>
                <a:cubicBezTo>
                  <a:pt x="11" y="94"/>
                  <a:pt x="11" y="94"/>
                  <a:pt x="12" y="94"/>
                </a:cubicBezTo>
                <a:cubicBezTo>
                  <a:pt x="12" y="94"/>
                  <a:pt x="13" y="94"/>
                  <a:pt x="13" y="94"/>
                </a:cubicBezTo>
                <a:cubicBezTo>
                  <a:pt x="13" y="94"/>
                  <a:pt x="13" y="94"/>
                  <a:pt x="13" y="94"/>
                </a:cubicBezTo>
                <a:cubicBezTo>
                  <a:pt x="14" y="94"/>
                  <a:pt x="14" y="94"/>
                  <a:pt x="15" y="94"/>
                </a:cubicBezTo>
                <a:cubicBezTo>
                  <a:pt x="15" y="94"/>
                  <a:pt x="15" y="94"/>
                  <a:pt x="15" y="94"/>
                </a:cubicBezTo>
                <a:cubicBezTo>
                  <a:pt x="15" y="94"/>
                  <a:pt x="16" y="94"/>
                  <a:pt x="16" y="94"/>
                </a:cubicBezTo>
                <a:cubicBezTo>
                  <a:pt x="16" y="94"/>
                  <a:pt x="17" y="94"/>
                  <a:pt x="17" y="93"/>
                </a:cubicBezTo>
                <a:cubicBezTo>
                  <a:pt x="18" y="93"/>
                  <a:pt x="18" y="93"/>
                  <a:pt x="18" y="92"/>
                </a:cubicBezTo>
                <a:cubicBezTo>
                  <a:pt x="18" y="92"/>
                  <a:pt x="18" y="92"/>
                  <a:pt x="18" y="92"/>
                </a:cubicBezTo>
                <a:cubicBezTo>
                  <a:pt x="18" y="92"/>
                  <a:pt x="18" y="92"/>
                  <a:pt x="18" y="92"/>
                </a:cubicBezTo>
                <a:cubicBezTo>
                  <a:pt x="19" y="92"/>
                  <a:pt x="19" y="92"/>
                  <a:pt x="19" y="92"/>
                </a:cubicBezTo>
                <a:cubicBezTo>
                  <a:pt x="19" y="92"/>
                  <a:pt x="19" y="91"/>
                  <a:pt x="19" y="91"/>
                </a:cubicBezTo>
                <a:cubicBezTo>
                  <a:pt x="25" y="86"/>
                  <a:pt x="25" y="86"/>
                  <a:pt x="25" y="86"/>
                </a:cubicBezTo>
                <a:cubicBezTo>
                  <a:pt x="25" y="86"/>
                  <a:pt x="25" y="86"/>
                  <a:pt x="25" y="86"/>
                </a:cubicBezTo>
                <a:cubicBezTo>
                  <a:pt x="26" y="86"/>
                  <a:pt x="26" y="86"/>
                  <a:pt x="26" y="85"/>
                </a:cubicBezTo>
                <a:cubicBezTo>
                  <a:pt x="26" y="85"/>
                  <a:pt x="26" y="85"/>
                  <a:pt x="26" y="85"/>
                </a:cubicBezTo>
                <a:cubicBezTo>
                  <a:pt x="26" y="85"/>
                  <a:pt x="26" y="85"/>
                  <a:pt x="26" y="84"/>
                </a:cubicBezTo>
                <a:cubicBezTo>
                  <a:pt x="26" y="84"/>
                  <a:pt x="26" y="84"/>
                  <a:pt x="26" y="84"/>
                </a:cubicBezTo>
                <a:cubicBezTo>
                  <a:pt x="26" y="84"/>
                  <a:pt x="26" y="84"/>
                  <a:pt x="26" y="84"/>
                </a:cubicBezTo>
                <a:cubicBezTo>
                  <a:pt x="26" y="83"/>
                  <a:pt x="26" y="83"/>
                  <a:pt x="26" y="83"/>
                </a:cubicBezTo>
                <a:cubicBezTo>
                  <a:pt x="26" y="83"/>
                  <a:pt x="26" y="82"/>
                  <a:pt x="27" y="82"/>
                </a:cubicBezTo>
                <a:cubicBezTo>
                  <a:pt x="27" y="82"/>
                  <a:pt x="27" y="82"/>
                  <a:pt x="27" y="82"/>
                </a:cubicBezTo>
                <a:cubicBezTo>
                  <a:pt x="27" y="82"/>
                  <a:pt x="27" y="82"/>
                  <a:pt x="27" y="82"/>
                </a:cubicBezTo>
                <a:cubicBezTo>
                  <a:pt x="27" y="82"/>
                  <a:pt x="27" y="82"/>
                  <a:pt x="27" y="82"/>
                </a:cubicBezTo>
                <a:cubicBezTo>
                  <a:pt x="27" y="81"/>
                  <a:pt x="27" y="81"/>
                  <a:pt x="27" y="81"/>
                </a:cubicBezTo>
                <a:cubicBezTo>
                  <a:pt x="27" y="81"/>
                  <a:pt x="27" y="81"/>
                  <a:pt x="27" y="80"/>
                </a:cubicBezTo>
                <a:cubicBezTo>
                  <a:pt x="27" y="80"/>
                  <a:pt x="27" y="80"/>
                  <a:pt x="27" y="80"/>
                </a:cubicBezTo>
                <a:cubicBezTo>
                  <a:pt x="27" y="79"/>
                  <a:pt x="29" y="78"/>
                  <a:pt x="30" y="77"/>
                </a:cubicBezTo>
                <a:cubicBezTo>
                  <a:pt x="31" y="76"/>
                  <a:pt x="33" y="77"/>
                  <a:pt x="35" y="78"/>
                </a:cubicBezTo>
                <a:cubicBezTo>
                  <a:pt x="36" y="78"/>
                  <a:pt x="37" y="79"/>
                  <a:pt x="38" y="79"/>
                </a:cubicBezTo>
                <a:cubicBezTo>
                  <a:pt x="39" y="79"/>
                  <a:pt x="39" y="79"/>
                  <a:pt x="39" y="79"/>
                </a:cubicBezTo>
                <a:cubicBezTo>
                  <a:pt x="39" y="80"/>
                  <a:pt x="40" y="80"/>
                  <a:pt x="41" y="80"/>
                </a:cubicBezTo>
                <a:cubicBezTo>
                  <a:pt x="41" y="80"/>
                  <a:pt x="41" y="80"/>
                  <a:pt x="41" y="80"/>
                </a:cubicBezTo>
                <a:cubicBezTo>
                  <a:pt x="43" y="81"/>
                  <a:pt x="44" y="82"/>
                  <a:pt x="46" y="82"/>
                </a:cubicBezTo>
                <a:cubicBezTo>
                  <a:pt x="47" y="83"/>
                  <a:pt x="48" y="83"/>
                  <a:pt x="50" y="83"/>
                </a:cubicBezTo>
                <a:cubicBezTo>
                  <a:pt x="50" y="82"/>
                  <a:pt x="51" y="82"/>
                  <a:pt x="52" y="82"/>
                </a:cubicBezTo>
                <a:cubicBezTo>
                  <a:pt x="52" y="82"/>
                  <a:pt x="52" y="82"/>
                  <a:pt x="52" y="82"/>
                </a:cubicBezTo>
                <a:cubicBezTo>
                  <a:pt x="53" y="82"/>
                  <a:pt x="53" y="82"/>
                  <a:pt x="54" y="82"/>
                </a:cubicBezTo>
                <a:cubicBezTo>
                  <a:pt x="54" y="82"/>
                  <a:pt x="54" y="81"/>
                  <a:pt x="55" y="81"/>
                </a:cubicBezTo>
                <a:cubicBezTo>
                  <a:pt x="55" y="80"/>
                  <a:pt x="55" y="80"/>
                  <a:pt x="55" y="80"/>
                </a:cubicBezTo>
                <a:cubicBezTo>
                  <a:pt x="55" y="80"/>
                  <a:pt x="56" y="80"/>
                  <a:pt x="56" y="80"/>
                </a:cubicBezTo>
                <a:cubicBezTo>
                  <a:pt x="57" y="78"/>
                  <a:pt x="57" y="77"/>
                  <a:pt x="58" y="74"/>
                </a:cubicBezTo>
                <a:cubicBezTo>
                  <a:pt x="58" y="74"/>
                  <a:pt x="58" y="74"/>
                  <a:pt x="58" y="74"/>
                </a:cubicBezTo>
                <a:cubicBezTo>
                  <a:pt x="58" y="73"/>
                  <a:pt x="58" y="73"/>
                  <a:pt x="58" y="73"/>
                </a:cubicBezTo>
                <a:cubicBezTo>
                  <a:pt x="58" y="73"/>
                  <a:pt x="58" y="73"/>
                  <a:pt x="58" y="73"/>
                </a:cubicBezTo>
                <a:cubicBezTo>
                  <a:pt x="58" y="72"/>
                  <a:pt x="58" y="71"/>
                  <a:pt x="59" y="71"/>
                </a:cubicBezTo>
                <a:cubicBezTo>
                  <a:pt x="59" y="71"/>
                  <a:pt x="59" y="71"/>
                  <a:pt x="59" y="71"/>
                </a:cubicBezTo>
                <a:cubicBezTo>
                  <a:pt x="59" y="71"/>
                  <a:pt x="59" y="71"/>
                  <a:pt x="59" y="71"/>
                </a:cubicBezTo>
                <a:cubicBezTo>
                  <a:pt x="60" y="71"/>
                  <a:pt x="61" y="70"/>
                  <a:pt x="62" y="70"/>
                </a:cubicBezTo>
                <a:cubicBezTo>
                  <a:pt x="64" y="70"/>
                  <a:pt x="64" y="70"/>
                  <a:pt x="66" y="68"/>
                </a:cubicBezTo>
                <a:cubicBezTo>
                  <a:pt x="66" y="68"/>
                  <a:pt x="66" y="68"/>
                  <a:pt x="66" y="68"/>
                </a:cubicBezTo>
                <a:cubicBezTo>
                  <a:pt x="67" y="68"/>
                  <a:pt x="67" y="68"/>
                  <a:pt x="67" y="68"/>
                </a:cubicBezTo>
                <a:cubicBezTo>
                  <a:pt x="67" y="68"/>
                  <a:pt x="67" y="67"/>
                  <a:pt x="67" y="67"/>
                </a:cubicBezTo>
                <a:cubicBezTo>
                  <a:pt x="67" y="67"/>
                  <a:pt x="67" y="67"/>
                  <a:pt x="67" y="67"/>
                </a:cubicBezTo>
                <a:cubicBezTo>
                  <a:pt x="68" y="66"/>
                  <a:pt x="68" y="66"/>
                  <a:pt x="68" y="66"/>
                </a:cubicBezTo>
                <a:cubicBezTo>
                  <a:pt x="68" y="65"/>
                  <a:pt x="68" y="65"/>
                  <a:pt x="68" y="65"/>
                </a:cubicBezTo>
                <a:cubicBezTo>
                  <a:pt x="68" y="64"/>
                  <a:pt x="68" y="64"/>
                  <a:pt x="68" y="64"/>
                </a:cubicBezTo>
                <a:cubicBezTo>
                  <a:pt x="68" y="64"/>
                  <a:pt x="68" y="64"/>
                  <a:pt x="69" y="64"/>
                </a:cubicBezTo>
                <a:cubicBezTo>
                  <a:pt x="69" y="63"/>
                  <a:pt x="69" y="63"/>
                  <a:pt x="69" y="63"/>
                </a:cubicBezTo>
                <a:cubicBezTo>
                  <a:pt x="69" y="62"/>
                  <a:pt x="69" y="62"/>
                  <a:pt x="69" y="62"/>
                </a:cubicBezTo>
                <a:cubicBezTo>
                  <a:pt x="69" y="60"/>
                  <a:pt x="72" y="58"/>
                  <a:pt x="74" y="57"/>
                </a:cubicBezTo>
                <a:cubicBezTo>
                  <a:pt x="75" y="56"/>
                  <a:pt x="76" y="56"/>
                  <a:pt x="76" y="55"/>
                </a:cubicBezTo>
                <a:cubicBezTo>
                  <a:pt x="78" y="54"/>
                  <a:pt x="80" y="52"/>
                  <a:pt x="81" y="51"/>
                </a:cubicBezTo>
                <a:cubicBezTo>
                  <a:pt x="81" y="51"/>
                  <a:pt x="81" y="51"/>
                  <a:pt x="81" y="51"/>
                </a:cubicBezTo>
                <a:cubicBezTo>
                  <a:pt x="82" y="50"/>
                  <a:pt x="83" y="48"/>
                  <a:pt x="84" y="48"/>
                </a:cubicBezTo>
                <a:cubicBezTo>
                  <a:pt x="85" y="48"/>
                  <a:pt x="85" y="48"/>
                  <a:pt x="85" y="48"/>
                </a:cubicBezTo>
                <a:cubicBezTo>
                  <a:pt x="85" y="48"/>
                  <a:pt x="85" y="48"/>
                  <a:pt x="86" y="48"/>
                </a:cubicBezTo>
                <a:cubicBezTo>
                  <a:pt x="86" y="47"/>
                  <a:pt x="87" y="47"/>
                  <a:pt x="88" y="47"/>
                </a:cubicBezTo>
                <a:lnTo>
                  <a:pt x="89" y="47"/>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01" name="Rectangle 3058">
            <a:extLst>
              <a:ext uri="{FF2B5EF4-FFF2-40B4-BE49-F238E27FC236}">
                <a16:creationId xmlns:a16="http://schemas.microsoft.com/office/drawing/2014/main" id="{DCEA28F8-92AA-4804-AF9D-10981A944C69}"/>
              </a:ext>
            </a:extLst>
          </p:cNvPr>
          <p:cNvSpPr>
            <a:spLocks noChangeArrowheads="1"/>
          </p:cNvSpPr>
          <p:nvPr/>
        </p:nvSpPr>
        <p:spPr bwMode="auto">
          <a:xfrm>
            <a:off x="3620481" y="4021547"/>
            <a:ext cx="496" cy="594"/>
          </a:xfrm>
          <a:prstGeom prst="rect">
            <a:avLst/>
          </a:prstGeom>
          <a:solidFill>
            <a:schemeClr val="tx1">
              <a:lumMod val="40000"/>
              <a:lumOff val="60000"/>
            </a:schemeClr>
          </a:solid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02" name="Freeform 3059">
            <a:extLst>
              <a:ext uri="{FF2B5EF4-FFF2-40B4-BE49-F238E27FC236}">
                <a16:creationId xmlns:a16="http://schemas.microsoft.com/office/drawing/2014/main" id="{2CC80AA8-C714-4EA9-B958-BEED989D4E11}"/>
              </a:ext>
            </a:extLst>
          </p:cNvPr>
          <p:cNvSpPr>
            <a:spLocks/>
          </p:cNvSpPr>
          <p:nvPr/>
        </p:nvSpPr>
        <p:spPr bwMode="auto">
          <a:xfrm>
            <a:off x="3481229" y="4007301"/>
            <a:ext cx="158084" cy="176891"/>
          </a:xfrm>
          <a:custGeom>
            <a:avLst/>
            <a:gdLst>
              <a:gd name="T0" fmla="*/ 50 w 135"/>
              <a:gd name="T1" fmla="*/ 120 h 126"/>
              <a:gd name="T2" fmla="*/ 51 w 135"/>
              <a:gd name="T3" fmla="*/ 118 h 126"/>
              <a:gd name="T4" fmla="*/ 53 w 135"/>
              <a:gd name="T5" fmla="*/ 117 h 126"/>
              <a:gd name="T6" fmla="*/ 57 w 135"/>
              <a:gd name="T7" fmla="*/ 118 h 126"/>
              <a:gd name="T8" fmla="*/ 57 w 135"/>
              <a:gd name="T9" fmla="*/ 119 h 126"/>
              <a:gd name="T10" fmla="*/ 59 w 135"/>
              <a:gd name="T11" fmla="*/ 120 h 126"/>
              <a:gd name="T12" fmla="*/ 58 w 135"/>
              <a:gd name="T13" fmla="*/ 122 h 126"/>
              <a:gd name="T14" fmla="*/ 60 w 135"/>
              <a:gd name="T15" fmla="*/ 124 h 126"/>
              <a:gd name="T16" fmla="*/ 62 w 135"/>
              <a:gd name="T17" fmla="*/ 125 h 126"/>
              <a:gd name="T18" fmla="*/ 68 w 135"/>
              <a:gd name="T19" fmla="*/ 126 h 126"/>
              <a:gd name="T20" fmla="*/ 76 w 135"/>
              <a:gd name="T21" fmla="*/ 124 h 126"/>
              <a:gd name="T22" fmla="*/ 83 w 135"/>
              <a:gd name="T23" fmla="*/ 121 h 126"/>
              <a:gd name="T24" fmla="*/ 83 w 135"/>
              <a:gd name="T25" fmla="*/ 86 h 126"/>
              <a:gd name="T26" fmla="*/ 83 w 135"/>
              <a:gd name="T27" fmla="*/ 82 h 126"/>
              <a:gd name="T28" fmla="*/ 83 w 135"/>
              <a:gd name="T29" fmla="*/ 54 h 126"/>
              <a:gd name="T30" fmla="*/ 85 w 135"/>
              <a:gd name="T31" fmla="*/ 50 h 126"/>
              <a:gd name="T32" fmla="*/ 93 w 135"/>
              <a:gd name="T33" fmla="*/ 50 h 126"/>
              <a:gd name="T34" fmla="*/ 93 w 135"/>
              <a:gd name="T35" fmla="*/ 48 h 126"/>
              <a:gd name="T36" fmla="*/ 93 w 135"/>
              <a:gd name="T37" fmla="*/ 29 h 126"/>
              <a:gd name="T38" fmla="*/ 94 w 135"/>
              <a:gd name="T39" fmla="*/ 12 h 126"/>
              <a:gd name="T40" fmla="*/ 116 w 135"/>
              <a:gd name="T41" fmla="*/ 8 h 126"/>
              <a:gd name="T42" fmla="*/ 120 w 135"/>
              <a:gd name="T43" fmla="*/ 10 h 126"/>
              <a:gd name="T44" fmla="*/ 121 w 135"/>
              <a:gd name="T45" fmla="*/ 13 h 126"/>
              <a:gd name="T46" fmla="*/ 124 w 135"/>
              <a:gd name="T47" fmla="*/ 11 h 126"/>
              <a:gd name="T48" fmla="*/ 124 w 135"/>
              <a:gd name="T49" fmla="*/ 10 h 126"/>
              <a:gd name="T50" fmla="*/ 134 w 135"/>
              <a:gd name="T51" fmla="*/ 6 h 126"/>
              <a:gd name="T52" fmla="*/ 128 w 135"/>
              <a:gd name="T53" fmla="*/ 5 h 126"/>
              <a:gd name="T54" fmla="*/ 120 w 135"/>
              <a:gd name="T55" fmla="*/ 7 h 126"/>
              <a:gd name="T56" fmla="*/ 87 w 135"/>
              <a:gd name="T57" fmla="*/ 9 h 126"/>
              <a:gd name="T58" fmla="*/ 82 w 135"/>
              <a:gd name="T59" fmla="*/ 9 h 126"/>
              <a:gd name="T60" fmla="*/ 77 w 135"/>
              <a:gd name="T61" fmla="*/ 9 h 126"/>
              <a:gd name="T62" fmla="*/ 75 w 135"/>
              <a:gd name="T63" fmla="*/ 9 h 126"/>
              <a:gd name="T64" fmla="*/ 68 w 135"/>
              <a:gd name="T65" fmla="*/ 5 h 126"/>
              <a:gd name="T66" fmla="*/ 68 w 135"/>
              <a:gd name="T67" fmla="*/ 4 h 126"/>
              <a:gd name="T68" fmla="*/ 62 w 135"/>
              <a:gd name="T69" fmla="*/ 4 h 126"/>
              <a:gd name="T70" fmla="*/ 30 w 135"/>
              <a:gd name="T71" fmla="*/ 4 h 126"/>
              <a:gd name="T72" fmla="*/ 25 w 135"/>
              <a:gd name="T73" fmla="*/ 4 h 126"/>
              <a:gd name="T74" fmla="*/ 20 w 135"/>
              <a:gd name="T75" fmla="*/ 3 h 126"/>
              <a:gd name="T76" fmla="*/ 18 w 135"/>
              <a:gd name="T77" fmla="*/ 1 h 126"/>
              <a:gd name="T78" fmla="*/ 16 w 135"/>
              <a:gd name="T79" fmla="*/ 0 h 126"/>
              <a:gd name="T80" fmla="*/ 14 w 135"/>
              <a:gd name="T81" fmla="*/ 0 h 126"/>
              <a:gd name="T82" fmla="*/ 11 w 135"/>
              <a:gd name="T83" fmla="*/ 1 h 126"/>
              <a:gd name="T84" fmla="*/ 0 w 135"/>
              <a:gd name="T85" fmla="*/ 3 h 126"/>
              <a:gd name="T86" fmla="*/ 15 w 135"/>
              <a:gd name="T87" fmla="*/ 34 h 126"/>
              <a:gd name="T88" fmla="*/ 28 w 135"/>
              <a:gd name="T89" fmla="*/ 62 h 126"/>
              <a:gd name="T90" fmla="*/ 29 w 135"/>
              <a:gd name="T91" fmla="*/ 78 h 126"/>
              <a:gd name="T92" fmla="*/ 34 w 135"/>
              <a:gd name="T93" fmla="*/ 103 h 126"/>
              <a:gd name="T94" fmla="*/ 47 w 135"/>
              <a:gd name="T95" fmla="*/ 12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5" h="126">
                <a:moveTo>
                  <a:pt x="48" y="122"/>
                </a:moveTo>
                <a:cubicBezTo>
                  <a:pt x="48" y="122"/>
                  <a:pt x="49" y="121"/>
                  <a:pt x="49" y="121"/>
                </a:cubicBezTo>
                <a:cubicBezTo>
                  <a:pt x="49" y="120"/>
                  <a:pt x="49" y="120"/>
                  <a:pt x="50" y="120"/>
                </a:cubicBezTo>
                <a:cubicBezTo>
                  <a:pt x="50" y="120"/>
                  <a:pt x="50" y="119"/>
                  <a:pt x="50" y="119"/>
                </a:cubicBezTo>
                <a:cubicBezTo>
                  <a:pt x="50" y="119"/>
                  <a:pt x="50" y="119"/>
                  <a:pt x="50" y="119"/>
                </a:cubicBezTo>
                <a:cubicBezTo>
                  <a:pt x="50" y="118"/>
                  <a:pt x="51" y="118"/>
                  <a:pt x="51" y="118"/>
                </a:cubicBezTo>
                <a:cubicBezTo>
                  <a:pt x="51" y="117"/>
                  <a:pt x="51" y="117"/>
                  <a:pt x="52" y="117"/>
                </a:cubicBezTo>
                <a:cubicBezTo>
                  <a:pt x="52" y="117"/>
                  <a:pt x="52" y="117"/>
                  <a:pt x="52" y="117"/>
                </a:cubicBezTo>
                <a:cubicBezTo>
                  <a:pt x="52" y="117"/>
                  <a:pt x="53" y="117"/>
                  <a:pt x="53" y="117"/>
                </a:cubicBezTo>
                <a:cubicBezTo>
                  <a:pt x="54" y="117"/>
                  <a:pt x="54" y="117"/>
                  <a:pt x="54" y="117"/>
                </a:cubicBezTo>
                <a:cubicBezTo>
                  <a:pt x="55" y="117"/>
                  <a:pt x="55" y="117"/>
                  <a:pt x="55" y="117"/>
                </a:cubicBezTo>
                <a:cubicBezTo>
                  <a:pt x="56" y="117"/>
                  <a:pt x="56" y="118"/>
                  <a:pt x="57" y="118"/>
                </a:cubicBezTo>
                <a:cubicBezTo>
                  <a:pt x="57" y="119"/>
                  <a:pt x="57" y="119"/>
                  <a:pt x="57" y="119"/>
                </a:cubicBezTo>
                <a:cubicBezTo>
                  <a:pt x="57" y="119"/>
                  <a:pt x="57" y="119"/>
                  <a:pt x="57" y="119"/>
                </a:cubicBezTo>
                <a:cubicBezTo>
                  <a:pt x="57" y="119"/>
                  <a:pt x="57" y="119"/>
                  <a:pt x="57" y="119"/>
                </a:cubicBezTo>
                <a:cubicBezTo>
                  <a:pt x="57" y="119"/>
                  <a:pt x="57" y="119"/>
                  <a:pt x="57" y="119"/>
                </a:cubicBezTo>
                <a:cubicBezTo>
                  <a:pt x="57" y="119"/>
                  <a:pt x="58" y="119"/>
                  <a:pt x="58" y="120"/>
                </a:cubicBezTo>
                <a:cubicBezTo>
                  <a:pt x="59" y="120"/>
                  <a:pt x="59" y="120"/>
                  <a:pt x="59" y="120"/>
                </a:cubicBezTo>
                <a:cubicBezTo>
                  <a:pt x="59" y="120"/>
                  <a:pt x="59" y="121"/>
                  <a:pt x="59" y="121"/>
                </a:cubicBezTo>
                <a:cubicBezTo>
                  <a:pt x="59" y="122"/>
                  <a:pt x="59" y="122"/>
                  <a:pt x="58" y="122"/>
                </a:cubicBezTo>
                <a:cubicBezTo>
                  <a:pt x="58" y="122"/>
                  <a:pt x="58" y="122"/>
                  <a:pt x="58" y="122"/>
                </a:cubicBezTo>
                <a:cubicBezTo>
                  <a:pt x="59" y="123"/>
                  <a:pt x="59" y="123"/>
                  <a:pt x="59" y="123"/>
                </a:cubicBezTo>
                <a:cubicBezTo>
                  <a:pt x="59" y="124"/>
                  <a:pt x="59" y="124"/>
                  <a:pt x="59" y="124"/>
                </a:cubicBezTo>
                <a:cubicBezTo>
                  <a:pt x="59" y="124"/>
                  <a:pt x="59" y="124"/>
                  <a:pt x="60" y="124"/>
                </a:cubicBezTo>
                <a:cubicBezTo>
                  <a:pt x="60" y="124"/>
                  <a:pt x="60" y="124"/>
                  <a:pt x="60" y="124"/>
                </a:cubicBezTo>
                <a:cubicBezTo>
                  <a:pt x="60" y="124"/>
                  <a:pt x="61" y="124"/>
                  <a:pt x="61" y="124"/>
                </a:cubicBezTo>
                <a:cubicBezTo>
                  <a:pt x="62" y="125"/>
                  <a:pt x="62" y="125"/>
                  <a:pt x="62" y="125"/>
                </a:cubicBezTo>
                <a:cubicBezTo>
                  <a:pt x="63" y="125"/>
                  <a:pt x="65" y="126"/>
                  <a:pt x="67" y="126"/>
                </a:cubicBezTo>
                <a:cubicBezTo>
                  <a:pt x="67" y="126"/>
                  <a:pt x="68" y="126"/>
                  <a:pt x="68" y="126"/>
                </a:cubicBezTo>
                <a:cubicBezTo>
                  <a:pt x="68" y="126"/>
                  <a:pt x="68" y="126"/>
                  <a:pt x="68" y="126"/>
                </a:cubicBezTo>
                <a:cubicBezTo>
                  <a:pt x="70" y="126"/>
                  <a:pt x="74" y="126"/>
                  <a:pt x="75" y="126"/>
                </a:cubicBezTo>
                <a:cubicBezTo>
                  <a:pt x="75" y="126"/>
                  <a:pt x="75" y="126"/>
                  <a:pt x="75" y="126"/>
                </a:cubicBezTo>
                <a:cubicBezTo>
                  <a:pt x="75" y="125"/>
                  <a:pt x="76" y="124"/>
                  <a:pt x="76" y="124"/>
                </a:cubicBezTo>
                <a:cubicBezTo>
                  <a:pt x="77" y="123"/>
                  <a:pt x="78" y="122"/>
                  <a:pt x="80" y="122"/>
                </a:cubicBezTo>
                <a:cubicBezTo>
                  <a:pt x="80" y="121"/>
                  <a:pt x="81" y="121"/>
                  <a:pt x="82" y="121"/>
                </a:cubicBezTo>
                <a:cubicBezTo>
                  <a:pt x="82" y="121"/>
                  <a:pt x="83" y="121"/>
                  <a:pt x="83" y="121"/>
                </a:cubicBezTo>
                <a:cubicBezTo>
                  <a:pt x="83" y="121"/>
                  <a:pt x="83" y="120"/>
                  <a:pt x="83" y="119"/>
                </a:cubicBezTo>
                <a:cubicBezTo>
                  <a:pt x="83" y="119"/>
                  <a:pt x="83" y="118"/>
                  <a:pt x="83" y="118"/>
                </a:cubicBezTo>
                <a:cubicBezTo>
                  <a:pt x="83" y="86"/>
                  <a:pt x="83" y="86"/>
                  <a:pt x="83" y="86"/>
                </a:cubicBezTo>
                <a:cubicBezTo>
                  <a:pt x="83" y="86"/>
                  <a:pt x="83" y="85"/>
                  <a:pt x="83" y="84"/>
                </a:cubicBezTo>
                <a:cubicBezTo>
                  <a:pt x="83" y="84"/>
                  <a:pt x="83" y="84"/>
                  <a:pt x="83" y="84"/>
                </a:cubicBezTo>
                <a:cubicBezTo>
                  <a:pt x="83" y="83"/>
                  <a:pt x="83" y="83"/>
                  <a:pt x="83" y="82"/>
                </a:cubicBezTo>
                <a:cubicBezTo>
                  <a:pt x="82" y="82"/>
                  <a:pt x="82" y="82"/>
                  <a:pt x="82" y="82"/>
                </a:cubicBezTo>
                <a:cubicBezTo>
                  <a:pt x="83" y="81"/>
                  <a:pt x="83" y="81"/>
                  <a:pt x="83" y="81"/>
                </a:cubicBezTo>
                <a:cubicBezTo>
                  <a:pt x="83" y="54"/>
                  <a:pt x="83" y="54"/>
                  <a:pt x="83" y="54"/>
                </a:cubicBezTo>
                <a:cubicBezTo>
                  <a:pt x="83" y="53"/>
                  <a:pt x="83" y="52"/>
                  <a:pt x="83" y="52"/>
                </a:cubicBezTo>
                <a:cubicBezTo>
                  <a:pt x="83" y="51"/>
                  <a:pt x="83" y="51"/>
                  <a:pt x="83" y="51"/>
                </a:cubicBezTo>
                <a:cubicBezTo>
                  <a:pt x="84" y="51"/>
                  <a:pt x="84" y="50"/>
                  <a:pt x="85" y="50"/>
                </a:cubicBezTo>
                <a:cubicBezTo>
                  <a:pt x="85" y="50"/>
                  <a:pt x="86" y="50"/>
                  <a:pt x="87" y="51"/>
                </a:cubicBezTo>
                <a:cubicBezTo>
                  <a:pt x="87" y="51"/>
                  <a:pt x="87" y="51"/>
                  <a:pt x="87" y="51"/>
                </a:cubicBezTo>
                <a:cubicBezTo>
                  <a:pt x="89" y="51"/>
                  <a:pt x="91" y="51"/>
                  <a:pt x="93" y="50"/>
                </a:cubicBezTo>
                <a:cubicBezTo>
                  <a:pt x="93" y="50"/>
                  <a:pt x="93" y="50"/>
                  <a:pt x="93" y="50"/>
                </a:cubicBezTo>
                <a:cubicBezTo>
                  <a:pt x="93" y="50"/>
                  <a:pt x="93" y="50"/>
                  <a:pt x="93" y="49"/>
                </a:cubicBezTo>
                <a:cubicBezTo>
                  <a:pt x="93" y="49"/>
                  <a:pt x="93" y="49"/>
                  <a:pt x="93" y="48"/>
                </a:cubicBezTo>
                <a:cubicBezTo>
                  <a:pt x="93" y="44"/>
                  <a:pt x="93" y="44"/>
                  <a:pt x="93" y="44"/>
                </a:cubicBezTo>
                <a:cubicBezTo>
                  <a:pt x="93" y="39"/>
                  <a:pt x="93" y="34"/>
                  <a:pt x="93" y="29"/>
                </a:cubicBezTo>
                <a:cubicBezTo>
                  <a:pt x="93" y="29"/>
                  <a:pt x="93" y="29"/>
                  <a:pt x="93" y="29"/>
                </a:cubicBezTo>
                <a:cubicBezTo>
                  <a:pt x="93" y="24"/>
                  <a:pt x="93" y="19"/>
                  <a:pt x="93" y="14"/>
                </a:cubicBezTo>
                <a:cubicBezTo>
                  <a:pt x="93" y="13"/>
                  <a:pt x="93" y="13"/>
                  <a:pt x="93" y="12"/>
                </a:cubicBezTo>
                <a:cubicBezTo>
                  <a:pt x="94" y="12"/>
                  <a:pt x="94" y="12"/>
                  <a:pt x="94" y="12"/>
                </a:cubicBezTo>
                <a:cubicBezTo>
                  <a:pt x="94" y="12"/>
                  <a:pt x="94" y="11"/>
                  <a:pt x="94" y="11"/>
                </a:cubicBezTo>
                <a:cubicBezTo>
                  <a:pt x="95" y="11"/>
                  <a:pt x="95" y="11"/>
                  <a:pt x="95" y="11"/>
                </a:cubicBezTo>
                <a:cubicBezTo>
                  <a:pt x="116" y="8"/>
                  <a:pt x="116" y="8"/>
                  <a:pt x="116" y="8"/>
                </a:cubicBezTo>
                <a:cubicBezTo>
                  <a:pt x="117" y="8"/>
                  <a:pt x="118" y="8"/>
                  <a:pt x="119" y="9"/>
                </a:cubicBezTo>
                <a:cubicBezTo>
                  <a:pt x="119" y="9"/>
                  <a:pt x="120" y="9"/>
                  <a:pt x="120" y="10"/>
                </a:cubicBezTo>
                <a:cubicBezTo>
                  <a:pt x="120" y="10"/>
                  <a:pt x="120" y="10"/>
                  <a:pt x="120" y="10"/>
                </a:cubicBezTo>
                <a:cubicBezTo>
                  <a:pt x="120" y="10"/>
                  <a:pt x="120" y="10"/>
                  <a:pt x="120" y="10"/>
                </a:cubicBezTo>
                <a:cubicBezTo>
                  <a:pt x="120" y="10"/>
                  <a:pt x="120" y="11"/>
                  <a:pt x="120" y="11"/>
                </a:cubicBezTo>
                <a:cubicBezTo>
                  <a:pt x="121" y="12"/>
                  <a:pt x="121" y="12"/>
                  <a:pt x="121" y="13"/>
                </a:cubicBezTo>
                <a:cubicBezTo>
                  <a:pt x="121" y="13"/>
                  <a:pt x="121" y="13"/>
                  <a:pt x="121" y="13"/>
                </a:cubicBezTo>
                <a:cubicBezTo>
                  <a:pt x="122" y="13"/>
                  <a:pt x="122" y="12"/>
                  <a:pt x="123" y="11"/>
                </a:cubicBezTo>
                <a:cubicBezTo>
                  <a:pt x="123" y="11"/>
                  <a:pt x="124" y="11"/>
                  <a:pt x="124" y="11"/>
                </a:cubicBezTo>
                <a:cubicBezTo>
                  <a:pt x="123" y="9"/>
                  <a:pt x="123" y="9"/>
                  <a:pt x="123" y="9"/>
                </a:cubicBezTo>
                <a:cubicBezTo>
                  <a:pt x="124" y="10"/>
                  <a:pt x="124" y="10"/>
                  <a:pt x="124" y="10"/>
                </a:cubicBezTo>
                <a:cubicBezTo>
                  <a:pt x="124" y="10"/>
                  <a:pt x="124" y="10"/>
                  <a:pt x="124" y="10"/>
                </a:cubicBezTo>
                <a:cubicBezTo>
                  <a:pt x="128" y="8"/>
                  <a:pt x="131" y="7"/>
                  <a:pt x="135" y="6"/>
                </a:cubicBezTo>
                <a:cubicBezTo>
                  <a:pt x="135" y="6"/>
                  <a:pt x="135" y="6"/>
                  <a:pt x="135" y="6"/>
                </a:cubicBezTo>
                <a:cubicBezTo>
                  <a:pt x="135" y="6"/>
                  <a:pt x="134" y="6"/>
                  <a:pt x="134" y="6"/>
                </a:cubicBezTo>
                <a:cubicBezTo>
                  <a:pt x="133" y="5"/>
                  <a:pt x="131" y="5"/>
                  <a:pt x="130" y="5"/>
                </a:cubicBezTo>
                <a:cubicBezTo>
                  <a:pt x="129" y="5"/>
                  <a:pt x="129" y="5"/>
                  <a:pt x="129" y="5"/>
                </a:cubicBezTo>
                <a:cubicBezTo>
                  <a:pt x="129" y="5"/>
                  <a:pt x="128" y="5"/>
                  <a:pt x="128" y="5"/>
                </a:cubicBezTo>
                <a:cubicBezTo>
                  <a:pt x="126" y="5"/>
                  <a:pt x="124" y="5"/>
                  <a:pt x="122" y="6"/>
                </a:cubicBezTo>
                <a:cubicBezTo>
                  <a:pt x="122" y="6"/>
                  <a:pt x="121" y="6"/>
                  <a:pt x="120" y="6"/>
                </a:cubicBezTo>
                <a:cubicBezTo>
                  <a:pt x="120" y="7"/>
                  <a:pt x="120" y="7"/>
                  <a:pt x="120" y="7"/>
                </a:cubicBezTo>
                <a:cubicBezTo>
                  <a:pt x="102" y="10"/>
                  <a:pt x="102" y="10"/>
                  <a:pt x="102" y="10"/>
                </a:cubicBezTo>
                <a:cubicBezTo>
                  <a:pt x="101" y="10"/>
                  <a:pt x="99" y="10"/>
                  <a:pt x="98" y="10"/>
                </a:cubicBezTo>
                <a:cubicBezTo>
                  <a:pt x="94" y="10"/>
                  <a:pt x="90" y="10"/>
                  <a:pt x="87" y="9"/>
                </a:cubicBezTo>
                <a:cubicBezTo>
                  <a:pt x="84" y="9"/>
                  <a:pt x="84" y="9"/>
                  <a:pt x="84" y="9"/>
                </a:cubicBezTo>
                <a:cubicBezTo>
                  <a:pt x="83" y="9"/>
                  <a:pt x="83" y="9"/>
                  <a:pt x="83" y="9"/>
                </a:cubicBezTo>
                <a:cubicBezTo>
                  <a:pt x="82" y="9"/>
                  <a:pt x="82" y="9"/>
                  <a:pt x="82" y="9"/>
                </a:cubicBezTo>
                <a:cubicBezTo>
                  <a:pt x="81" y="9"/>
                  <a:pt x="80" y="9"/>
                  <a:pt x="80" y="9"/>
                </a:cubicBezTo>
                <a:cubicBezTo>
                  <a:pt x="79" y="9"/>
                  <a:pt x="79" y="9"/>
                  <a:pt x="78" y="9"/>
                </a:cubicBezTo>
                <a:cubicBezTo>
                  <a:pt x="77" y="9"/>
                  <a:pt x="77" y="9"/>
                  <a:pt x="77" y="9"/>
                </a:cubicBezTo>
                <a:cubicBezTo>
                  <a:pt x="77" y="9"/>
                  <a:pt x="77" y="9"/>
                  <a:pt x="76" y="9"/>
                </a:cubicBezTo>
                <a:cubicBezTo>
                  <a:pt x="76" y="9"/>
                  <a:pt x="76" y="9"/>
                  <a:pt x="76" y="9"/>
                </a:cubicBezTo>
                <a:cubicBezTo>
                  <a:pt x="75" y="9"/>
                  <a:pt x="75" y="9"/>
                  <a:pt x="75" y="9"/>
                </a:cubicBezTo>
                <a:cubicBezTo>
                  <a:pt x="74" y="9"/>
                  <a:pt x="73" y="8"/>
                  <a:pt x="72" y="8"/>
                </a:cubicBezTo>
                <a:cubicBezTo>
                  <a:pt x="71" y="7"/>
                  <a:pt x="70" y="6"/>
                  <a:pt x="69" y="6"/>
                </a:cubicBezTo>
                <a:cubicBezTo>
                  <a:pt x="69" y="6"/>
                  <a:pt x="69" y="5"/>
                  <a:pt x="68" y="5"/>
                </a:cubicBezTo>
                <a:cubicBezTo>
                  <a:pt x="68" y="5"/>
                  <a:pt x="68" y="5"/>
                  <a:pt x="68" y="5"/>
                </a:cubicBezTo>
                <a:cubicBezTo>
                  <a:pt x="68" y="5"/>
                  <a:pt x="68" y="4"/>
                  <a:pt x="68" y="4"/>
                </a:cubicBezTo>
                <a:cubicBezTo>
                  <a:pt x="68" y="4"/>
                  <a:pt x="68" y="4"/>
                  <a:pt x="68" y="4"/>
                </a:cubicBezTo>
                <a:cubicBezTo>
                  <a:pt x="68" y="4"/>
                  <a:pt x="68" y="4"/>
                  <a:pt x="68" y="4"/>
                </a:cubicBezTo>
                <a:cubicBezTo>
                  <a:pt x="67" y="4"/>
                  <a:pt x="65" y="4"/>
                  <a:pt x="64" y="4"/>
                </a:cubicBezTo>
                <a:cubicBezTo>
                  <a:pt x="63" y="4"/>
                  <a:pt x="63" y="4"/>
                  <a:pt x="62" y="4"/>
                </a:cubicBezTo>
                <a:cubicBezTo>
                  <a:pt x="56" y="4"/>
                  <a:pt x="50" y="4"/>
                  <a:pt x="44" y="4"/>
                </a:cubicBezTo>
                <a:cubicBezTo>
                  <a:pt x="35" y="4"/>
                  <a:pt x="35" y="4"/>
                  <a:pt x="35" y="4"/>
                </a:cubicBezTo>
                <a:cubicBezTo>
                  <a:pt x="33" y="4"/>
                  <a:pt x="32" y="4"/>
                  <a:pt x="30" y="4"/>
                </a:cubicBezTo>
                <a:cubicBezTo>
                  <a:pt x="28" y="4"/>
                  <a:pt x="28" y="4"/>
                  <a:pt x="28" y="4"/>
                </a:cubicBezTo>
                <a:cubicBezTo>
                  <a:pt x="27" y="4"/>
                  <a:pt x="26" y="4"/>
                  <a:pt x="25" y="4"/>
                </a:cubicBezTo>
                <a:cubicBezTo>
                  <a:pt x="25" y="4"/>
                  <a:pt x="25" y="4"/>
                  <a:pt x="25" y="4"/>
                </a:cubicBezTo>
                <a:cubicBezTo>
                  <a:pt x="25" y="4"/>
                  <a:pt x="25" y="4"/>
                  <a:pt x="24" y="4"/>
                </a:cubicBezTo>
                <a:cubicBezTo>
                  <a:pt x="24" y="4"/>
                  <a:pt x="23" y="4"/>
                  <a:pt x="22" y="4"/>
                </a:cubicBezTo>
                <a:cubicBezTo>
                  <a:pt x="21" y="4"/>
                  <a:pt x="20" y="3"/>
                  <a:pt x="20" y="3"/>
                </a:cubicBezTo>
                <a:cubicBezTo>
                  <a:pt x="20" y="3"/>
                  <a:pt x="19" y="2"/>
                  <a:pt x="19" y="2"/>
                </a:cubicBezTo>
                <a:cubicBezTo>
                  <a:pt x="19" y="2"/>
                  <a:pt x="19" y="2"/>
                  <a:pt x="19" y="2"/>
                </a:cubicBezTo>
                <a:cubicBezTo>
                  <a:pt x="19" y="2"/>
                  <a:pt x="18" y="2"/>
                  <a:pt x="18" y="1"/>
                </a:cubicBezTo>
                <a:cubicBezTo>
                  <a:pt x="18" y="1"/>
                  <a:pt x="18" y="1"/>
                  <a:pt x="18" y="1"/>
                </a:cubicBezTo>
                <a:cubicBezTo>
                  <a:pt x="17" y="1"/>
                  <a:pt x="16" y="0"/>
                  <a:pt x="16" y="0"/>
                </a:cubicBezTo>
                <a:cubicBezTo>
                  <a:pt x="16" y="0"/>
                  <a:pt x="16" y="0"/>
                  <a:pt x="16" y="0"/>
                </a:cubicBezTo>
                <a:cubicBezTo>
                  <a:pt x="15" y="0"/>
                  <a:pt x="15" y="0"/>
                  <a:pt x="15" y="0"/>
                </a:cubicBezTo>
                <a:cubicBezTo>
                  <a:pt x="15" y="0"/>
                  <a:pt x="15" y="0"/>
                  <a:pt x="14" y="0"/>
                </a:cubicBezTo>
                <a:cubicBezTo>
                  <a:pt x="14" y="0"/>
                  <a:pt x="14" y="0"/>
                  <a:pt x="14" y="0"/>
                </a:cubicBezTo>
                <a:cubicBezTo>
                  <a:pt x="14" y="0"/>
                  <a:pt x="13" y="0"/>
                  <a:pt x="13" y="0"/>
                </a:cubicBezTo>
                <a:cubicBezTo>
                  <a:pt x="13" y="0"/>
                  <a:pt x="13" y="0"/>
                  <a:pt x="12" y="0"/>
                </a:cubicBezTo>
                <a:cubicBezTo>
                  <a:pt x="12" y="1"/>
                  <a:pt x="12" y="1"/>
                  <a:pt x="11" y="1"/>
                </a:cubicBezTo>
                <a:cubicBezTo>
                  <a:pt x="10" y="2"/>
                  <a:pt x="9" y="2"/>
                  <a:pt x="8" y="3"/>
                </a:cubicBezTo>
                <a:cubicBezTo>
                  <a:pt x="6" y="3"/>
                  <a:pt x="4" y="3"/>
                  <a:pt x="3" y="3"/>
                </a:cubicBezTo>
                <a:cubicBezTo>
                  <a:pt x="2" y="3"/>
                  <a:pt x="1" y="3"/>
                  <a:pt x="0" y="3"/>
                </a:cubicBezTo>
                <a:cubicBezTo>
                  <a:pt x="0" y="3"/>
                  <a:pt x="0" y="3"/>
                  <a:pt x="0" y="3"/>
                </a:cubicBezTo>
                <a:cubicBezTo>
                  <a:pt x="0" y="7"/>
                  <a:pt x="0" y="12"/>
                  <a:pt x="4" y="15"/>
                </a:cubicBezTo>
                <a:cubicBezTo>
                  <a:pt x="9" y="20"/>
                  <a:pt x="12" y="28"/>
                  <a:pt x="15" y="34"/>
                </a:cubicBezTo>
                <a:cubicBezTo>
                  <a:pt x="17" y="40"/>
                  <a:pt x="20" y="45"/>
                  <a:pt x="23" y="50"/>
                </a:cubicBezTo>
                <a:cubicBezTo>
                  <a:pt x="25" y="53"/>
                  <a:pt x="26" y="56"/>
                  <a:pt x="28" y="59"/>
                </a:cubicBezTo>
                <a:cubicBezTo>
                  <a:pt x="29" y="60"/>
                  <a:pt x="28" y="61"/>
                  <a:pt x="28" y="62"/>
                </a:cubicBezTo>
                <a:cubicBezTo>
                  <a:pt x="28" y="64"/>
                  <a:pt x="28" y="66"/>
                  <a:pt x="28" y="68"/>
                </a:cubicBezTo>
                <a:cubicBezTo>
                  <a:pt x="28" y="70"/>
                  <a:pt x="27" y="73"/>
                  <a:pt x="28" y="75"/>
                </a:cubicBezTo>
                <a:cubicBezTo>
                  <a:pt x="28" y="76"/>
                  <a:pt x="28" y="77"/>
                  <a:pt x="29" y="78"/>
                </a:cubicBezTo>
                <a:cubicBezTo>
                  <a:pt x="29" y="80"/>
                  <a:pt x="30" y="81"/>
                  <a:pt x="31" y="83"/>
                </a:cubicBezTo>
                <a:cubicBezTo>
                  <a:pt x="32" y="86"/>
                  <a:pt x="31" y="89"/>
                  <a:pt x="31" y="92"/>
                </a:cubicBezTo>
                <a:cubicBezTo>
                  <a:pt x="32" y="96"/>
                  <a:pt x="33" y="100"/>
                  <a:pt x="34" y="103"/>
                </a:cubicBezTo>
                <a:cubicBezTo>
                  <a:pt x="35" y="107"/>
                  <a:pt x="36" y="111"/>
                  <a:pt x="39" y="114"/>
                </a:cubicBezTo>
                <a:cubicBezTo>
                  <a:pt x="40" y="116"/>
                  <a:pt x="41" y="118"/>
                  <a:pt x="43" y="119"/>
                </a:cubicBezTo>
                <a:cubicBezTo>
                  <a:pt x="44" y="120"/>
                  <a:pt x="45" y="122"/>
                  <a:pt x="47" y="123"/>
                </a:cubicBezTo>
                <a:cubicBezTo>
                  <a:pt x="47" y="123"/>
                  <a:pt x="47" y="123"/>
                  <a:pt x="47" y="123"/>
                </a:cubicBezTo>
                <a:lnTo>
                  <a:pt x="48" y="122"/>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03" name="Freeform 3060">
            <a:extLst>
              <a:ext uri="{FF2B5EF4-FFF2-40B4-BE49-F238E27FC236}">
                <a16:creationId xmlns:a16="http://schemas.microsoft.com/office/drawing/2014/main" id="{BB2A29E9-44CB-4605-A500-06445C6D5B14}"/>
              </a:ext>
            </a:extLst>
          </p:cNvPr>
          <p:cNvSpPr>
            <a:spLocks/>
          </p:cNvSpPr>
          <p:nvPr/>
        </p:nvSpPr>
        <p:spPr bwMode="auto">
          <a:xfrm>
            <a:off x="3734460" y="3898080"/>
            <a:ext cx="33698" cy="102098"/>
          </a:xfrm>
          <a:custGeom>
            <a:avLst/>
            <a:gdLst>
              <a:gd name="T0" fmla="*/ 29 w 29"/>
              <a:gd name="T1" fmla="*/ 54 h 73"/>
              <a:gd name="T2" fmla="*/ 27 w 29"/>
              <a:gd name="T3" fmla="*/ 51 h 73"/>
              <a:gd name="T4" fmla="*/ 23 w 29"/>
              <a:gd name="T5" fmla="*/ 45 h 73"/>
              <a:gd name="T6" fmla="*/ 24 w 29"/>
              <a:gd name="T7" fmla="*/ 49 h 73"/>
              <a:gd name="T8" fmla="*/ 20 w 29"/>
              <a:gd name="T9" fmla="*/ 45 h 73"/>
              <a:gd name="T10" fmla="*/ 17 w 29"/>
              <a:gd name="T11" fmla="*/ 46 h 73"/>
              <a:gd name="T12" fmla="*/ 14 w 29"/>
              <a:gd name="T13" fmla="*/ 44 h 73"/>
              <a:gd name="T14" fmla="*/ 17 w 29"/>
              <a:gd name="T15" fmla="*/ 42 h 73"/>
              <a:gd name="T16" fmla="*/ 15 w 29"/>
              <a:gd name="T17" fmla="*/ 35 h 73"/>
              <a:gd name="T18" fmla="*/ 14 w 29"/>
              <a:gd name="T19" fmla="*/ 22 h 73"/>
              <a:gd name="T20" fmla="*/ 13 w 29"/>
              <a:gd name="T21" fmla="*/ 10 h 73"/>
              <a:gd name="T22" fmla="*/ 11 w 29"/>
              <a:gd name="T23" fmla="*/ 2 h 73"/>
              <a:gd name="T24" fmla="*/ 11 w 29"/>
              <a:gd name="T25" fmla="*/ 2 h 73"/>
              <a:gd name="T26" fmla="*/ 10 w 29"/>
              <a:gd name="T27" fmla="*/ 2 h 73"/>
              <a:gd name="T28" fmla="*/ 9 w 29"/>
              <a:gd name="T29" fmla="*/ 2 h 73"/>
              <a:gd name="T30" fmla="*/ 8 w 29"/>
              <a:gd name="T31" fmla="*/ 1 h 73"/>
              <a:gd name="T32" fmla="*/ 6 w 29"/>
              <a:gd name="T33" fmla="*/ 1 h 73"/>
              <a:gd name="T34" fmla="*/ 6 w 29"/>
              <a:gd name="T35" fmla="*/ 3 h 73"/>
              <a:gd name="T36" fmla="*/ 9 w 29"/>
              <a:gd name="T37" fmla="*/ 9 h 73"/>
              <a:gd name="T38" fmla="*/ 5 w 29"/>
              <a:gd name="T39" fmla="*/ 13 h 73"/>
              <a:gd name="T40" fmla="*/ 5 w 29"/>
              <a:gd name="T41" fmla="*/ 14 h 73"/>
              <a:gd name="T42" fmla="*/ 5 w 29"/>
              <a:gd name="T43" fmla="*/ 18 h 73"/>
              <a:gd name="T44" fmla="*/ 5 w 29"/>
              <a:gd name="T45" fmla="*/ 20 h 73"/>
              <a:gd name="T46" fmla="*/ 5 w 29"/>
              <a:gd name="T47" fmla="*/ 23 h 73"/>
              <a:gd name="T48" fmla="*/ 5 w 29"/>
              <a:gd name="T49" fmla="*/ 24 h 73"/>
              <a:gd name="T50" fmla="*/ 5 w 29"/>
              <a:gd name="T51" fmla="*/ 25 h 73"/>
              <a:gd name="T52" fmla="*/ 6 w 29"/>
              <a:gd name="T53" fmla="*/ 27 h 73"/>
              <a:gd name="T54" fmla="*/ 7 w 29"/>
              <a:gd name="T55" fmla="*/ 29 h 73"/>
              <a:gd name="T56" fmla="*/ 6 w 29"/>
              <a:gd name="T57" fmla="*/ 30 h 73"/>
              <a:gd name="T58" fmla="*/ 3 w 29"/>
              <a:gd name="T59" fmla="*/ 32 h 73"/>
              <a:gd name="T60" fmla="*/ 2 w 29"/>
              <a:gd name="T61" fmla="*/ 34 h 73"/>
              <a:gd name="T62" fmla="*/ 1 w 29"/>
              <a:gd name="T63" fmla="*/ 39 h 73"/>
              <a:gd name="T64" fmla="*/ 0 w 29"/>
              <a:gd name="T65" fmla="*/ 41 h 73"/>
              <a:gd name="T66" fmla="*/ 0 w 29"/>
              <a:gd name="T67" fmla="*/ 42 h 73"/>
              <a:gd name="T68" fmla="*/ 1 w 29"/>
              <a:gd name="T69" fmla="*/ 43 h 73"/>
              <a:gd name="T70" fmla="*/ 1 w 29"/>
              <a:gd name="T71" fmla="*/ 44 h 73"/>
              <a:gd name="T72" fmla="*/ 3 w 29"/>
              <a:gd name="T73" fmla="*/ 44 h 73"/>
              <a:gd name="T74" fmla="*/ 4 w 29"/>
              <a:gd name="T75" fmla="*/ 44 h 73"/>
              <a:gd name="T76" fmla="*/ 6 w 29"/>
              <a:gd name="T77" fmla="*/ 47 h 73"/>
              <a:gd name="T78" fmla="*/ 8 w 29"/>
              <a:gd name="T79" fmla="*/ 50 h 73"/>
              <a:gd name="T80" fmla="*/ 16 w 29"/>
              <a:gd name="T81" fmla="*/ 49 h 73"/>
              <a:gd name="T82" fmla="*/ 18 w 29"/>
              <a:gd name="T83" fmla="*/ 55 h 73"/>
              <a:gd name="T84" fmla="*/ 19 w 29"/>
              <a:gd name="T85" fmla="*/ 56 h 73"/>
              <a:gd name="T86" fmla="*/ 18 w 29"/>
              <a:gd name="T87" fmla="*/ 60 h 73"/>
              <a:gd name="T88" fmla="*/ 15 w 29"/>
              <a:gd name="T89" fmla="*/ 65 h 73"/>
              <a:gd name="T90" fmla="*/ 16 w 29"/>
              <a:gd name="T91" fmla="*/ 67 h 73"/>
              <a:gd name="T92" fmla="*/ 17 w 29"/>
              <a:gd name="T93" fmla="*/ 68 h 73"/>
              <a:gd name="T94" fmla="*/ 17 w 29"/>
              <a:gd name="T95" fmla="*/ 69 h 73"/>
              <a:gd name="T96" fmla="*/ 20 w 29"/>
              <a:gd name="T97" fmla="*/ 72 h 73"/>
              <a:gd name="T98" fmla="*/ 21 w 29"/>
              <a:gd name="T99" fmla="*/ 72 h 73"/>
              <a:gd name="T100" fmla="*/ 22 w 29"/>
              <a:gd name="T101" fmla="*/ 72 h 73"/>
              <a:gd name="T102" fmla="*/ 22 w 29"/>
              <a:gd name="T103" fmla="*/ 71 h 73"/>
              <a:gd name="T104" fmla="*/ 24 w 29"/>
              <a:gd name="T105" fmla="*/ 68 h 73"/>
              <a:gd name="T106" fmla="*/ 25 w 29"/>
              <a:gd name="T107" fmla="*/ 67 h 73"/>
              <a:gd name="T108" fmla="*/ 26 w 29"/>
              <a:gd name="T109" fmla="*/ 67 h 73"/>
              <a:gd name="T110" fmla="*/ 27 w 29"/>
              <a:gd name="T111" fmla="*/ 66 h 73"/>
              <a:gd name="T112" fmla="*/ 29 w 29"/>
              <a:gd name="T113" fmla="*/ 65 h 73"/>
              <a:gd name="T114" fmla="*/ 29 w 29"/>
              <a:gd name="T115" fmla="*/ 61 h 73"/>
              <a:gd name="T116" fmla="*/ 29 w 29"/>
              <a:gd name="T117" fmla="*/ 58 h 73"/>
              <a:gd name="T118" fmla="*/ 29 w 29"/>
              <a:gd name="T119" fmla="*/ 58 h 73"/>
              <a:gd name="T120" fmla="*/ 29 w 29"/>
              <a:gd name="T121" fmla="*/ 5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 h="73">
                <a:moveTo>
                  <a:pt x="29" y="56"/>
                </a:moveTo>
                <a:cubicBezTo>
                  <a:pt x="29" y="55"/>
                  <a:pt x="29" y="55"/>
                  <a:pt x="29" y="54"/>
                </a:cubicBezTo>
                <a:cubicBezTo>
                  <a:pt x="29" y="53"/>
                  <a:pt x="29" y="52"/>
                  <a:pt x="28" y="51"/>
                </a:cubicBezTo>
                <a:cubicBezTo>
                  <a:pt x="27" y="51"/>
                  <a:pt x="27" y="51"/>
                  <a:pt x="27" y="51"/>
                </a:cubicBezTo>
                <a:cubicBezTo>
                  <a:pt x="27" y="51"/>
                  <a:pt x="27" y="51"/>
                  <a:pt x="27" y="51"/>
                </a:cubicBezTo>
                <a:cubicBezTo>
                  <a:pt x="23" y="45"/>
                  <a:pt x="23" y="45"/>
                  <a:pt x="23" y="45"/>
                </a:cubicBezTo>
                <a:cubicBezTo>
                  <a:pt x="23" y="45"/>
                  <a:pt x="23" y="45"/>
                  <a:pt x="23" y="45"/>
                </a:cubicBezTo>
                <a:cubicBezTo>
                  <a:pt x="23" y="46"/>
                  <a:pt x="24" y="47"/>
                  <a:pt x="24" y="49"/>
                </a:cubicBezTo>
                <a:cubicBezTo>
                  <a:pt x="23" y="48"/>
                  <a:pt x="22" y="48"/>
                  <a:pt x="21" y="47"/>
                </a:cubicBezTo>
                <a:cubicBezTo>
                  <a:pt x="21" y="46"/>
                  <a:pt x="21" y="46"/>
                  <a:pt x="20" y="45"/>
                </a:cubicBezTo>
                <a:cubicBezTo>
                  <a:pt x="20" y="46"/>
                  <a:pt x="19" y="47"/>
                  <a:pt x="19" y="48"/>
                </a:cubicBezTo>
                <a:cubicBezTo>
                  <a:pt x="18" y="48"/>
                  <a:pt x="17" y="46"/>
                  <a:pt x="17" y="46"/>
                </a:cubicBezTo>
                <a:cubicBezTo>
                  <a:pt x="17" y="45"/>
                  <a:pt x="17" y="44"/>
                  <a:pt x="17" y="43"/>
                </a:cubicBezTo>
                <a:cubicBezTo>
                  <a:pt x="14" y="44"/>
                  <a:pt x="14" y="44"/>
                  <a:pt x="14" y="44"/>
                </a:cubicBezTo>
                <a:cubicBezTo>
                  <a:pt x="17" y="42"/>
                  <a:pt x="17" y="42"/>
                  <a:pt x="17" y="42"/>
                </a:cubicBezTo>
                <a:cubicBezTo>
                  <a:pt x="17" y="42"/>
                  <a:pt x="17" y="42"/>
                  <a:pt x="17" y="42"/>
                </a:cubicBezTo>
                <a:cubicBezTo>
                  <a:pt x="16" y="40"/>
                  <a:pt x="15" y="40"/>
                  <a:pt x="15" y="38"/>
                </a:cubicBezTo>
                <a:cubicBezTo>
                  <a:pt x="15" y="37"/>
                  <a:pt x="15" y="36"/>
                  <a:pt x="15" y="35"/>
                </a:cubicBezTo>
                <a:cubicBezTo>
                  <a:pt x="14" y="32"/>
                  <a:pt x="12" y="30"/>
                  <a:pt x="12" y="27"/>
                </a:cubicBezTo>
                <a:cubicBezTo>
                  <a:pt x="11" y="25"/>
                  <a:pt x="13" y="23"/>
                  <a:pt x="14" y="22"/>
                </a:cubicBezTo>
                <a:cubicBezTo>
                  <a:pt x="15" y="20"/>
                  <a:pt x="14" y="16"/>
                  <a:pt x="14" y="14"/>
                </a:cubicBezTo>
                <a:cubicBezTo>
                  <a:pt x="13" y="13"/>
                  <a:pt x="13" y="11"/>
                  <a:pt x="13" y="10"/>
                </a:cubicBezTo>
                <a:cubicBezTo>
                  <a:pt x="13" y="8"/>
                  <a:pt x="14" y="9"/>
                  <a:pt x="13" y="7"/>
                </a:cubicBezTo>
                <a:cubicBezTo>
                  <a:pt x="13" y="5"/>
                  <a:pt x="12" y="4"/>
                  <a:pt x="11" y="2"/>
                </a:cubicBezTo>
                <a:cubicBezTo>
                  <a:pt x="11" y="2"/>
                  <a:pt x="11" y="2"/>
                  <a:pt x="11" y="2"/>
                </a:cubicBezTo>
                <a:cubicBezTo>
                  <a:pt x="11" y="2"/>
                  <a:pt x="11" y="2"/>
                  <a:pt x="11" y="2"/>
                </a:cubicBezTo>
                <a:cubicBezTo>
                  <a:pt x="10" y="2"/>
                  <a:pt x="10" y="2"/>
                  <a:pt x="10" y="2"/>
                </a:cubicBezTo>
                <a:cubicBezTo>
                  <a:pt x="10" y="2"/>
                  <a:pt x="10" y="2"/>
                  <a:pt x="10" y="2"/>
                </a:cubicBezTo>
                <a:cubicBezTo>
                  <a:pt x="10" y="2"/>
                  <a:pt x="10" y="2"/>
                  <a:pt x="10" y="2"/>
                </a:cubicBezTo>
                <a:cubicBezTo>
                  <a:pt x="9" y="2"/>
                  <a:pt x="9" y="2"/>
                  <a:pt x="9" y="2"/>
                </a:cubicBezTo>
                <a:cubicBezTo>
                  <a:pt x="9" y="2"/>
                  <a:pt x="8" y="1"/>
                  <a:pt x="8" y="1"/>
                </a:cubicBezTo>
                <a:cubicBezTo>
                  <a:pt x="8" y="1"/>
                  <a:pt x="8" y="1"/>
                  <a:pt x="8" y="1"/>
                </a:cubicBezTo>
                <a:cubicBezTo>
                  <a:pt x="7" y="1"/>
                  <a:pt x="7" y="1"/>
                  <a:pt x="7" y="1"/>
                </a:cubicBezTo>
                <a:cubicBezTo>
                  <a:pt x="6" y="1"/>
                  <a:pt x="6" y="1"/>
                  <a:pt x="6" y="1"/>
                </a:cubicBezTo>
                <a:cubicBezTo>
                  <a:pt x="6" y="0"/>
                  <a:pt x="5" y="0"/>
                  <a:pt x="5" y="0"/>
                </a:cubicBezTo>
                <a:cubicBezTo>
                  <a:pt x="5" y="1"/>
                  <a:pt x="6" y="2"/>
                  <a:pt x="6" y="3"/>
                </a:cubicBezTo>
                <a:cubicBezTo>
                  <a:pt x="6" y="5"/>
                  <a:pt x="7" y="6"/>
                  <a:pt x="8" y="7"/>
                </a:cubicBezTo>
                <a:cubicBezTo>
                  <a:pt x="8" y="8"/>
                  <a:pt x="9" y="8"/>
                  <a:pt x="9" y="9"/>
                </a:cubicBezTo>
                <a:cubicBezTo>
                  <a:pt x="10" y="10"/>
                  <a:pt x="10" y="10"/>
                  <a:pt x="10" y="10"/>
                </a:cubicBezTo>
                <a:cubicBezTo>
                  <a:pt x="5" y="13"/>
                  <a:pt x="5" y="13"/>
                  <a:pt x="5" y="13"/>
                </a:cubicBezTo>
                <a:cubicBezTo>
                  <a:pt x="5" y="13"/>
                  <a:pt x="5" y="13"/>
                  <a:pt x="5" y="13"/>
                </a:cubicBezTo>
                <a:cubicBezTo>
                  <a:pt x="5" y="13"/>
                  <a:pt x="5" y="14"/>
                  <a:pt x="5" y="14"/>
                </a:cubicBezTo>
                <a:cubicBezTo>
                  <a:pt x="5" y="14"/>
                  <a:pt x="5" y="15"/>
                  <a:pt x="5" y="15"/>
                </a:cubicBezTo>
                <a:cubicBezTo>
                  <a:pt x="5" y="16"/>
                  <a:pt x="5" y="17"/>
                  <a:pt x="5" y="18"/>
                </a:cubicBezTo>
                <a:cubicBezTo>
                  <a:pt x="5" y="18"/>
                  <a:pt x="5" y="19"/>
                  <a:pt x="5" y="19"/>
                </a:cubicBezTo>
                <a:cubicBezTo>
                  <a:pt x="5" y="20"/>
                  <a:pt x="5" y="20"/>
                  <a:pt x="5" y="20"/>
                </a:cubicBezTo>
                <a:cubicBezTo>
                  <a:pt x="5" y="21"/>
                  <a:pt x="5" y="22"/>
                  <a:pt x="5" y="22"/>
                </a:cubicBezTo>
                <a:cubicBezTo>
                  <a:pt x="5" y="23"/>
                  <a:pt x="5" y="23"/>
                  <a:pt x="5" y="23"/>
                </a:cubicBezTo>
                <a:cubicBezTo>
                  <a:pt x="5" y="23"/>
                  <a:pt x="5" y="23"/>
                  <a:pt x="5" y="24"/>
                </a:cubicBezTo>
                <a:cubicBezTo>
                  <a:pt x="5" y="24"/>
                  <a:pt x="5" y="24"/>
                  <a:pt x="5" y="24"/>
                </a:cubicBezTo>
                <a:cubicBezTo>
                  <a:pt x="7" y="24"/>
                  <a:pt x="7" y="24"/>
                  <a:pt x="7" y="24"/>
                </a:cubicBezTo>
                <a:cubicBezTo>
                  <a:pt x="5" y="25"/>
                  <a:pt x="5" y="25"/>
                  <a:pt x="5" y="25"/>
                </a:cubicBezTo>
                <a:cubicBezTo>
                  <a:pt x="5" y="25"/>
                  <a:pt x="5" y="25"/>
                  <a:pt x="5" y="25"/>
                </a:cubicBezTo>
                <a:cubicBezTo>
                  <a:pt x="5" y="26"/>
                  <a:pt x="5" y="26"/>
                  <a:pt x="6" y="27"/>
                </a:cubicBezTo>
                <a:cubicBezTo>
                  <a:pt x="8" y="29"/>
                  <a:pt x="8" y="29"/>
                  <a:pt x="8" y="29"/>
                </a:cubicBezTo>
                <a:cubicBezTo>
                  <a:pt x="7" y="29"/>
                  <a:pt x="7" y="29"/>
                  <a:pt x="7" y="29"/>
                </a:cubicBezTo>
                <a:cubicBezTo>
                  <a:pt x="7" y="30"/>
                  <a:pt x="7" y="30"/>
                  <a:pt x="6" y="30"/>
                </a:cubicBezTo>
                <a:cubicBezTo>
                  <a:pt x="6" y="30"/>
                  <a:pt x="6" y="30"/>
                  <a:pt x="6" y="30"/>
                </a:cubicBezTo>
                <a:cubicBezTo>
                  <a:pt x="5" y="31"/>
                  <a:pt x="5" y="31"/>
                  <a:pt x="4" y="32"/>
                </a:cubicBezTo>
                <a:cubicBezTo>
                  <a:pt x="3" y="32"/>
                  <a:pt x="3" y="32"/>
                  <a:pt x="3" y="32"/>
                </a:cubicBezTo>
                <a:cubicBezTo>
                  <a:pt x="3" y="32"/>
                  <a:pt x="3" y="32"/>
                  <a:pt x="3" y="32"/>
                </a:cubicBezTo>
                <a:cubicBezTo>
                  <a:pt x="3" y="32"/>
                  <a:pt x="3" y="33"/>
                  <a:pt x="2" y="34"/>
                </a:cubicBezTo>
                <a:cubicBezTo>
                  <a:pt x="2" y="34"/>
                  <a:pt x="2" y="34"/>
                  <a:pt x="2" y="34"/>
                </a:cubicBezTo>
                <a:cubicBezTo>
                  <a:pt x="2" y="36"/>
                  <a:pt x="2" y="37"/>
                  <a:pt x="1" y="39"/>
                </a:cubicBezTo>
                <a:cubicBezTo>
                  <a:pt x="1" y="39"/>
                  <a:pt x="1" y="40"/>
                  <a:pt x="1" y="40"/>
                </a:cubicBezTo>
                <a:cubicBezTo>
                  <a:pt x="1" y="41"/>
                  <a:pt x="0" y="41"/>
                  <a:pt x="0" y="41"/>
                </a:cubicBezTo>
                <a:cubicBezTo>
                  <a:pt x="0" y="41"/>
                  <a:pt x="0" y="41"/>
                  <a:pt x="0" y="42"/>
                </a:cubicBezTo>
                <a:cubicBezTo>
                  <a:pt x="0" y="42"/>
                  <a:pt x="0" y="42"/>
                  <a:pt x="0" y="42"/>
                </a:cubicBezTo>
                <a:cubicBezTo>
                  <a:pt x="0" y="42"/>
                  <a:pt x="0" y="42"/>
                  <a:pt x="0" y="42"/>
                </a:cubicBezTo>
                <a:cubicBezTo>
                  <a:pt x="0" y="43"/>
                  <a:pt x="1" y="43"/>
                  <a:pt x="1" y="43"/>
                </a:cubicBezTo>
                <a:cubicBezTo>
                  <a:pt x="1" y="43"/>
                  <a:pt x="1" y="44"/>
                  <a:pt x="1" y="44"/>
                </a:cubicBezTo>
                <a:cubicBezTo>
                  <a:pt x="1" y="44"/>
                  <a:pt x="1" y="44"/>
                  <a:pt x="1" y="44"/>
                </a:cubicBezTo>
                <a:cubicBezTo>
                  <a:pt x="2" y="44"/>
                  <a:pt x="2" y="44"/>
                  <a:pt x="2" y="44"/>
                </a:cubicBezTo>
                <a:cubicBezTo>
                  <a:pt x="3" y="44"/>
                  <a:pt x="3" y="44"/>
                  <a:pt x="3" y="44"/>
                </a:cubicBezTo>
                <a:cubicBezTo>
                  <a:pt x="3" y="44"/>
                  <a:pt x="3" y="44"/>
                  <a:pt x="3" y="44"/>
                </a:cubicBezTo>
                <a:cubicBezTo>
                  <a:pt x="4" y="44"/>
                  <a:pt x="4" y="44"/>
                  <a:pt x="4" y="44"/>
                </a:cubicBezTo>
                <a:cubicBezTo>
                  <a:pt x="7" y="47"/>
                  <a:pt x="7" y="47"/>
                  <a:pt x="7" y="47"/>
                </a:cubicBezTo>
                <a:cubicBezTo>
                  <a:pt x="6" y="47"/>
                  <a:pt x="6" y="47"/>
                  <a:pt x="6" y="47"/>
                </a:cubicBezTo>
                <a:cubicBezTo>
                  <a:pt x="7" y="48"/>
                  <a:pt x="7" y="49"/>
                  <a:pt x="8" y="49"/>
                </a:cubicBezTo>
                <a:cubicBezTo>
                  <a:pt x="8" y="49"/>
                  <a:pt x="8" y="50"/>
                  <a:pt x="8" y="50"/>
                </a:cubicBezTo>
                <a:cubicBezTo>
                  <a:pt x="11" y="49"/>
                  <a:pt x="11" y="49"/>
                  <a:pt x="11" y="49"/>
                </a:cubicBezTo>
                <a:cubicBezTo>
                  <a:pt x="14" y="48"/>
                  <a:pt x="16" y="48"/>
                  <a:pt x="16" y="49"/>
                </a:cubicBezTo>
                <a:cubicBezTo>
                  <a:pt x="17" y="50"/>
                  <a:pt x="17" y="50"/>
                  <a:pt x="17" y="51"/>
                </a:cubicBezTo>
                <a:cubicBezTo>
                  <a:pt x="18" y="52"/>
                  <a:pt x="18" y="54"/>
                  <a:pt x="18" y="55"/>
                </a:cubicBezTo>
                <a:cubicBezTo>
                  <a:pt x="18" y="55"/>
                  <a:pt x="18" y="55"/>
                  <a:pt x="18" y="55"/>
                </a:cubicBezTo>
                <a:cubicBezTo>
                  <a:pt x="19" y="55"/>
                  <a:pt x="19" y="56"/>
                  <a:pt x="19" y="56"/>
                </a:cubicBezTo>
                <a:cubicBezTo>
                  <a:pt x="19" y="57"/>
                  <a:pt x="18" y="59"/>
                  <a:pt x="18" y="59"/>
                </a:cubicBezTo>
                <a:cubicBezTo>
                  <a:pt x="18" y="60"/>
                  <a:pt x="18" y="60"/>
                  <a:pt x="18" y="60"/>
                </a:cubicBezTo>
                <a:cubicBezTo>
                  <a:pt x="17" y="60"/>
                  <a:pt x="17" y="61"/>
                  <a:pt x="17" y="61"/>
                </a:cubicBezTo>
                <a:cubicBezTo>
                  <a:pt x="17" y="62"/>
                  <a:pt x="16" y="64"/>
                  <a:pt x="15" y="65"/>
                </a:cubicBezTo>
                <a:cubicBezTo>
                  <a:pt x="15" y="65"/>
                  <a:pt x="15" y="65"/>
                  <a:pt x="15" y="65"/>
                </a:cubicBezTo>
                <a:cubicBezTo>
                  <a:pt x="15" y="66"/>
                  <a:pt x="16" y="66"/>
                  <a:pt x="16" y="67"/>
                </a:cubicBezTo>
                <a:cubicBezTo>
                  <a:pt x="16" y="68"/>
                  <a:pt x="16" y="68"/>
                  <a:pt x="16" y="68"/>
                </a:cubicBezTo>
                <a:cubicBezTo>
                  <a:pt x="17" y="68"/>
                  <a:pt x="17" y="68"/>
                  <a:pt x="17" y="68"/>
                </a:cubicBezTo>
                <a:cubicBezTo>
                  <a:pt x="17" y="68"/>
                  <a:pt x="17" y="68"/>
                  <a:pt x="17" y="68"/>
                </a:cubicBezTo>
                <a:cubicBezTo>
                  <a:pt x="17" y="68"/>
                  <a:pt x="17" y="69"/>
                  <a:pt x="17" y="69"/>
                </a:cubicBezTo>
                <a:cubicBezTo>
                  <a:pt x="18" y="69"/>
                  <a:pt x="18" y="70"/>
                  <a:pt x="19" y="71"/>
                </a:cubicBezTo>
                <a:cubicBezTo>
                  <a:pt x="20" y="72"/>
                  <a:pt x="20" y="72"/>
                  <a:pt x="20" y="72"/>
                </a:cubicBezTo>
                <a:cubicBezTo>
                  <a:pt x="20" y="72"/>
                  <a:pt x="20" y="72"/>
                  <a:pt x="20" y="72"/>
                </a:cubicBezTo>
                <a:cubicBezTo>
                  <a:pt x="21" y="72"/>
                  <a:pt x="21" y="72"/>
                  <a:pt x="21" y="72"/>
                </a:cubicBezTo>
                <a:cubicBezTo>
                  <a:pt x="21" y="72"/>
                  <a:pt x="21" y="73"/>
                  <a:pt x="22" y="73"/>
                </a:cubicBezTo>
                <a:cubicBezTo>
                  <a:pt x="22" y="73"/>
                  <a:pt x="22" y="72"/>
                  <a:pt x="22" y="72"/>
                </a:cubicBezTo>
                <a:cubicBezTo>
                  <a:pt x="22" y="72"/>
                  <a:pt x="22" y="72"/>
                  <a:pt x="22" y="72"/>
                </a:cubicBezTo>
                <a:cubicBezTo>
                  <a:pt x="22" y="71"/>
                  <a:pt x="22" y="71"/>
                  <a:pt x="22" y="71"/>
                </a:cubicBezTo>
                <a:cubicBezTo>
                  <a:pt x="22" y="71"/>
                  <a:pt x="23" y="69"/>
                  <a:pt x="23" y="69"/>
                </a:cubicBezTo>
                <a:cubicBezTo>
                  <a:pt x="23" y="68"/>
                  <a:pt x="24" y="68"/>
                  <a:pt x="24" y="68"/>
                </a:cubicBezTo>
                <a:cubicBezTo>
                  <a:pt x="24" y="67"/>
                  <a:pt x="24" y="67"/>
                  <a:pt x="25" y="67"/>
                </a:cubicBezTo>
                <a:cubicBezTo>
                  <a:pt x="25" y="67"/>
                  <a:pt x="25" y="67"/>
                  <a:pt x="25" y="67"/>
                </a:cubicBezTo>
                <a:cubicBezTo>
                  <a:pt x="25" y="67"/>
                  <a:pt x="25" y="67"/>
                  <a:pt x="26" y="67"/>
                </a:cubicBezTo>
                <a:cubicBezTo>
                  <a:pt x="26" y="67"/>
                  <a:pt x="26" y="67"/>
                  <a:pt x="26" y="67"/>
                </a:cubicBezTo>
                <a:cubicBezTo>
                  <a:pt x="27" y="66"/>
                  <a:pt x="27" y="66"/>
                  <a:pt x="27" y="66"/>
                </a:cubicBezTo>
                <a:cubicBezTo>
                  <a:pt x="27" y="66"/>
                  <a:pt x="27" y="66"/>
                  <a:pt x="27" y="66"/>
                </a:cubicBezTo>
                <a:cubicBezTo>
                  <a:pt x="28" y="66"/>
                  <a:pt x="28" y="66"/>
                  <a:pt x="28" y="66"/>
                </a:cubicBezTo>
                <a:cubicBezTo>
                  <a:pt x="28" y="66"/>
                  <a:pt x="28" y="66"/>
                  <a:pt x="29" y="65"/>
                </a:cubicBezTo>
                <a:cubicBezTo>
                  <a:pt x="29" y="61"/>
                  <a:pt x="29" y="61"/>
                  <a:pt x="29" y="61"/>
                </a:cubicBezTo>
                <a:cubicBezTo>
                  <a:pt x="29" y="61"/>
                  <a:pt x="29" y="61"/>
                  <a:pt x="29" y="61"/>
                </a:cubicBezTo>
                <a:cubicBezTo>
                  <a:pt x="29" y="60"/>
                  <a:pt x="29" y="60"/>
                  <a:pt x="29" y="60"/>
                </a:cubicBezTo>
                <a:cubicBezTo>
                  <a:pt x="29" y="59"/>
                  <a:pt x="29" y="59"/>
                  <a:pt x="29" y="58"/>
                </a:cubicBezTo>
                <a:cubicBezTo>
                  <a:pt x="29" y="58"/>
                  <a:pt x="29" y="58"/>
                  <a:pt x="29" y="58"/>
                </a:cubicBezTo>
                <a:cubicBezTo>
                  <a:pt x="29" y="58"/>
                  <a:pt x="29" y="58"/>
                  <a:pt x="29" y="58"/>
                </a:cubicBezTo>
                <a:cubicBezTo>
                  <a:pt x="29" y="58"/>
                  <a:pt x="29" y="58"/>
                  <a:pt x="29" y="58"/>
                </a:cubicBezTo>
                <a:cubicBezTo>
                  <a:pt x="29" y="57"/>
                  <a:pt x="29" y="57"/>
                  <a:pt x="29" y="56"/>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04" name="Freeform 3061">
            <a:extLst>
              <a:ext uri="{FF2B5EF4-FFF2-40B4-BE49-F238E27FC236}">
                <a16:creationId xmlns:a16="http://schemas.microsoft.com/office/drawing/2014/main" id="{292C0F05-855B-4603-9954-5FFB085905F2}"/>
              </a:ext>
            </a:extLst>
          </p:cNvPr>
          <p:cNvSpPr>
            <a:spLocks/>
          </p:cNvSpPr>
          <p:nvPr/>
        </p:nvSpPr>
        <p:spPr bwMode="auto">
          <a:xfrm>
            <a:off x="3520874" y="359178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05" name="Freeform 3062">
            <a:extLst>
              <a:ext uri="{FF2B5EF4-FFF2-40B4-BE49-F238E27FC236}">
                <a16:creationId xmlns:a16="http://schemas.microsoft.com/office/drawing/2014/main" id="{9E1B7682-8E48-4831-B5C8-D2DF63F68A51}"/>
              </a:ext>
            </a:extLst>
          </p:cNvPr>
          <p:cNvSpPr>
            <a:spLocks/>
          </p:cNvSpPr>
          <p:nvPr/>
        </p:nvSpPr>
        <p:spPr bwMode="auto">
          <a:xfrm>
            <a:off x="3442575" y="3692696"/>
            <a:ext cx="991" cy="2968"/>
          </a:xfrm>
          <a:custGeom>
            <a:avLst/>
            <a:gdLst>
              <a:gd name="T0" fmla="*/ 1 w 1"/>
              <a:gd name="T1" fmla="*/ 0 h 2"/>
              <a:gd name="T2" fmla="*/ 0 w 1"/>
              <a:gd name="T3" fmla="*/ 1 h 2"/>
              <a:gd name="T4" fmla="*/ 0 w 1"/>
              <a:gd name="T5" fmla="*/ 1 h 2"/>
              <a:gd name="T6" fmla="*/ 0 w 1"/>
              <a:gd name="T7" fmla="*/ 1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1" y="0"/>
                  <a:pt x="1" y="0"/>
                  <a:pt x="0" y="1"/>
                </a:cubicBezTo>
                <a:cubicBezTo>
                  <a:pt x="0" y="1"/>
                  <a:pt x="0" y="1"/>
                  <a:pt x="0" y="1"/>
                </a:cubicBezTo>
                <a:cubicBezTo>
                  <a:pt x="0" y="1"/>
                  <a:pt x="0" y="1"/>
                  <a:pt x="0" y="1"/>
                </a:cubicBezTo>
                <a:cubicBezTo>
                  <a:pt x="1" y="2"/>
                  <a:pt x="1" y="1"/>
                  <a:pt x="1"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06" name="Freeform 3063">
            <a:extLst>
              <a:ext uri="{FF2B5EF4-FFF2-40B4-BE49-F238E27FC236}">
                <a16:creationId xmlns:a16="http://schemas.microsoft.com/office/drawing/2014/main" id="{5C9DCBB2-96DC-41BF-9D74-A916ACC35D81}"/>
              </a:ext>
            </a:extLst>
          </p:cNvPr>
          <p:cNvSpPr>
            <a:spLocks/>
          </p:cNvSpPr>
          <p:nvPr/>
        </p:nvSpPr>
        <p:spPr bwMode="auto">
          <a:xfrm>
            <a:off x="3445053" y="3573383"/>
            <a:ext cx="87714" cy="158490"/>
          </a:xfrm>
          <a:custGeom>
            <a:avLst/>
            <a:gdLst>
              <a:gd name="T0" fmla="*/ 12 w 75"/>
              <a:gd name="T1" fmla="*/ 108 h 113"/>
              <a:gd name="T2" fmla="*/ 24 w 75"/>
              <a:gd name="T3" fmla="*/ 109 h 113"/>
              <a:gd name="T4" fmla="*/ 31 w 75"/>
              <a:gd name="T5" fmla="*/ 108 h 113"/>
              <a:gd name="T6" fmla="*/ 40 w 75"/>
              <a:gd name="T7" fmla="*/ 108 h 113"/>
              <a:gd name="T8" fmla="*/ 46 w 75"/>
              <a:gd name="T9" fmla="*/ 108 h 113"/>
              <a:gd name="T10" fmla="*/ 50 w 75"/>
              <a:gd name="T11" fmla="*/ 108 h 113"/>
              <a:gd name="T12" fmla="*/ 60 w 75"/>
              <a:gd name="T13" fmla="*/ 109 h 113"/>
              <a:gd name="T14" fmla="*/ 62 w 75"/>
              <a:gd name="T15" fmla="*/ 110 h 113"/>
              <a:gd name="T16" fmla="*/ 65 w 75"/>
              <a:gd name="T17" fmla="*/ 111 h 113"/>
              <a:gd name="T18" fmla="*/ 68 w 75"/>
              <a:gd name="T19" fmla="*/ 111 h 113"/>
              <a:gd name="T20" fmla="*/ 74 w 75"/>
              <a:gd name="T21" fmla="*/ 113 h 113"/>
              <a:gd name="T22" fmla="*/ 75 w 75"/>
              <a:gd name="T23" fmla="*/ 108 h 113"/>
              <a:gd name="T24" fmla="*/ 70 w 75"/>
              <a:gd name="T25" fmla="*/ 99 h 113"/>
              <a:gd name="T26" fmla="*/ 64 w 75"/>
              <a:gd name="T27" fmla="*/ 90 h 113"/>
              <a:gd name="T28" fmla="*/ 59 w 75"/>
              <a:gd name="T29" fmla="*/ 80 h 113"/>
              <a:gd name="T30" fmla="*/ 59 w 75"/>
              <a:gd name="T31" fmla="*/ 76 h 113"/>
              <a:gd name="T32" fmla="*/ 59 w 75"/>
              <a:gd name="T33" fmla="*/ 72 h 113"/>
              <a:gd name="T34" fmla="*/ 61 w 75"/>
              <a:gd name="T35" fmla="*/ 66 h 113"/>
              <a:gd name="T36" fmla="*/ 64 w 75"/>
              <a:gd name="T37" fmla="*/ 61 h 113"/>
              <a:gd name="T38" fmla="*/ 68 w 75"/>
              <a:gd name="T39" fmla="*/ 55 h 113"/>
              <a:gd name="T40" fmla="*/ 68 w 75"/>
              <a:gd name="T41" fmla="*/ 53 h 113"/>
              <a:gd name="T42" fmla="*/ 64 w 75"/>
              <a:gd name="T43" fmla="*/ 46 h 113"/>
              <a:gd name="T44" fmla="*/ 54 w 75"/>
              <a:gd name="T45" fmla="*/ 36 h 113"/>
              <a:gd name="T46" fmla="*/ 57 w 75"/>
              <a:gd name="T47" fmla="*/ 29 h 113"/>
              <a:gd name="T48" fmla="*/ 62 w 75"/>
              <a:gd name="T49" fmla="*/ 29 h 113"/>
              <a:gd name="T50" fmla="*/ 67 w 75"/>
              <a:gd name="T51" fmla="*/ 29 h 113"/>
              <a:gd name="T52" fmla="*/ 64 w 75"/>
              <a:gd name="T53" fmla="*/ 16 h 113"/>
              <a:gd name="T54" fmla="*/ 64 w 75"/>
              <a:gd name="T55" fmla="*/ 13 h 113"/>
              <a:gd name="T56" fmla="*/ 62 w 75"/>
              <a:gd name="T57" fmla="*/ 6 h 113"/>
              <a:gd name="T58" fmla="*/ 59 w 75"/>
              <a:gd name="T59" fmla="*/ 2 h 113"/>
              <a:gd name="T60" fmla="*/ 57 w 75"/>
              <a:gd name="T61" fmla="*/ 3 h 113"/>
              <a:gd name="T62" fmla="*/ 59 w 75"/>
              <a:gd name="T63" fmla="*/ 5 h 113"/>
              <a:gd name="T64" fmla="*/ 61 w 75"/>
              <a:gd name="T65" fmla="*/ 7 h 113"/>
              <a:gd name="T66" fmla="*/ 61 w 75"/>
              <a:gd name="T67" fmla="*/ 15 h 113"/>
              <a:gd name="T68" fmla="*/ 55 w 75"/>
              <a:gd name="T69" fmla="*/ 18 h 113"/>
              <a:gd name="T70" fmla="*/ 54 w 75"/>
              <a:gd name="T71" fmla="*/ 19 h 113"/>
              <a:gd name="T72" fmla="*/ 52 w 75"/>
              <a:gd name="T73" fmla="*/ 21 h 113"/>
              <a:gd name="T74" fmla="*/ 50 w 75"/>
              <a:gd name="T75" fmla="*/ 26 h 113"/>
              <a:gd name="T76" fmla="*/ 48 w 75"/>
              <a:gd name="T77" fmla="*/ 31 h 113"/>
              <a:gd name="T78" fmla="*/ 45 w 75"/>
              <a:gd name="T79" fmla="*/ 36 h 113"/>
              <a:gd name="T80" fmla="*/ 43 w 75"/>
              <a:gd name="T81" fmla="*/ 40 h 113"/>
              <a:gd name="T82" fmla="*/ 37 w 75"/>
              <a:gd name="T83" fmla="*/ 47 h 113"/>
              <a:gd name="T84" fmla="*/ 33 w 75"/>
              <a:gd name="T85" fmla="*/ 58 h 113"/>
              <a:gd name="T86" fmla="*/ 32 w 75"/>
              <a:gd name="T87" fmla="*/ 61 h 113"/>
              <a:gd name="T88" fmla="*/ 27 w 75"/>
              <a:gd name="T89" fmla="*/ 67 h 113"/>
              <a:gd name="T90" fmla="*/ 20 w 75"/>
              <a:gd name="T91" fmla="*/ 61 h 113"/>
              <a:gd name="T92" fmla="*/ 16 w 75"/>
              <a:gd name="T93" fmla="*/ 62 h 113"/>
              <a:gd name="T94" fmla="*/ 12 w 75"/>
              <a:gd name="T95" fmla="*/ 65 h 113"/>
              <a:gd name="T96" fmla="*/ 5 w 75"/>
              <a:gd name="T97" fmla="*/ 72 h 113"/>
              <a:gd name="T98" fmla="*/ 2 w 75"/>
              <a:gd name="T99" fmla="*/ 78 h 113"/>
              <a:gd name="T100" fmla="*/ 0 w 75"/>
              <a:gd name="T101" fmla="*/ 84 h 113"/>
              <a:gd name="T102" fmla="*/ 2 w 75"/>
              <a:gd name="T103" fmla="*/ 89 h 113"/>
              <a:gd name="T104" fmla="*/ 8 w 75"/>
              <a:gd name="T105" fmla="*/ 91 h 113"/>
              <a:gd name="T106" fmla="*/ 9 w 75"/>
              <a:gd name="T107" fmla="*/ 9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 h="113">
                <a:moveTo>
                  <a:pt x="12" y="103"/>
                </a:moveTo>
                <a:cubicBezTo>
                  <a:pt x="12" y="105"/>
                  <a:pt x="11" y="106"/>
                  <a:pt x="11" y="107"/>
                </a:cubicBezTo>
                <a:cubicBezTo>
                  <a:pt x="11" y="107"/>
                  <a:pt x="11" y="107"/>
                  <a:pt x="11" y="107"/>
                </a:cubicBezTo>
                <a:cubicBezTo>
                  <a:pt x="12" y="107"/>
                  <a:pt x="12" y="107"/>
                  <a:pt x="12" y="107"/>
                </a:cubicBezTo>
                <a:cubicBezTo>
                  <a:pt x="12" y="107"/>
                  <a:pt x="12" y="107"/>
                  <a:pt x="12" y="108"/>
                </a:cubicBezTo>
                <a:cubicBezTo>
                  <a:pt x="13" y="108"/>
                  <a:pt x="13" y="108"/>
                  <a:pt x="13" y="108"/>
                </a:cubicBezTo>
                <a:cubicBezTo>
                  <a:pt x="13" y="108"/>
                  <a:pt x="14" y="109"/>
                  <a:pt x="17" y="109"/>
                </a:cubicBezTo>
                <a:cubicBezTo>
                  <a:pt x="23" y="109"/>
                  <a:pt x="23" y="109"/>
                  <a:pt x="23" y="109"/>
                </a:cubicBezTo>
                <a:cubicBezTo>
                  <a:pt x="23" y="109"/>
                  <a:pt x="23" y="109"/>
                  <a:pt x="24" y="109"/>
                </a:cubicBezTo>
                <a:cubicBezTo>
                  <a:pt x="24" y="109"/>
                  <a:pt x="24" y="109"/>
                  <a:pt x="24" y="109"/>
                </a:cubicBezTo>
                <a:cubicBezTo>
                  <a:pt x="24" y="109"/>
                  <a:pt x="25" y="109"/>
                  <a:pt x="26" y="109"/>
                </a:cubicBezTo>
                <a:cubicBezTo>
                  <a:pt x="26" y="109"/>
                  <a:pt x="26" y="108"/>
                  <a:pt x="27" y="108"/>
                </a:cubicBezTo>
                <a:cubicBezTo>
                  <a:pt x="27" y="107"/>
                  <a:pt x="28" y="107"/>
                  <a:pt x="29" y="107"/>
                </a:cubicBezTo>
                <a:cubicBezTo>
                  <a:pt x="29" y="108"/>
                  <a:pt x="29" y="107"/>
                  <a:pt x="29" y="108"/>
                </a:cubicBezTo>
                <a:cubicBezTo>
                  <a:pt x="30" y="107"/>
                  <a:pt x="31" y="108"/>
                  <a:pt x="31" y="108"/>
                </a:cubicBezTo>
                <a:cubicBezTo>
                  <a:pt x="32" y="108"/>
                  <a:pt x="32" y="108"/>
                  <a:pt x="33" y="108"/>
                </a:cubicBezTo>
                <a:cubicBezTo>
                  <a:pt x="33" y="108"/>
                  <a:pt x="33" y="108"/>
                  <a:pt x="33" y="108"/>
                </a:cubicBezTo>
                <a:cubicBezTo>
                  <a:pt x="34" y="108"/>
                  <a:pt x="34" y="108"/>
                  <a:pt x="34" y="108"/>
                </a:cubicBezTo>
                <a:cubicBezTo>
                  <a:pt x="36" y="108"/>
                  <a:pt x="37" y="108"/>
                  <a:pt x="39" y="108"/>
                </a:cubicBezTo>
                <a:cubicBezTo>
                  <a:pt x="40" y="108"/>
                  <a:pt x="40" y="108"/>
                  <a:pt x="40" y="108"/>
                </a:cubicBezTo>
                <a:cubicBezTo>
                  <a:pt x="41" y="108"/>
                  <a:pt x="43" y="108"/>
                  <a:pt x="44" y="108"/>
                </a:cubicBezTo>
                <a:cubicBezTo>
                  <a:pt x="44" y="108"/>
                  <a:pt x="44" y="108"/>
                  <a:pt x="44" y="108"/>
                </a:cubicBezTo>
                <a:cubicBezTo>
                  <a:pt x="44" y="108"/>
                  <a:pt x="45" y="108"/>
                  <a:pt x="45" y="108"/>
                </a:cubicBezTo>
                <a:cubicBezTo>
                  <a:pt x="45" y="108"/>
                  <a:pt x="45" y="108"/>
                  <a:pt x="45" y="108"/>
                </a:cubicBezTo>
                <a:cubicBezTo>
                  <a:pt x="45" y="108"/>
                  <a:pt x="45" y="108"/>
                  <a:pt x="46" y="108"/>
                </a:cubicBezTo>
                <a:cubicBezTo>
                  <a:pt x="46" y="108"/>
                  <a:pt x="46" y="108"/>
                  <a:pt x="46" y="108"/>
                </a:cubicBezTo>
                <a:cubicBezTo>
                  <a:pt x="46" y="108"/>
                  <a:pt x="46" y="108"/>
                  <a:pt x="47" y="108"/>
                </a:cubicBezTo>
                <a:cubicBezTo>
                  <a:pt x="47" y="109"/>
                  <a:pt x="47" y="109"/>
                  <a:pt x="47" y="109"/>
                </a:cubicBezTo>
                <a:cubicBezTo>
                  <a:pt x="47" y="109"/>
                  <a:pt x="47" y="109"/>
                  <a:pt x="47" y="109"/>
                </a:cubicBezTo>
                <a:cubicBezTo>
                  <a:pt x="50" y="108"/>
                  <a:pt x="50" y="108"/>
                  <a:pt x="50" y="108"/>
                </a:cubicBezTo>
                <a:cubicBezTo>
                  <a:pt x="49" y="109"/>
                  <a:pt x="49" y="109"/>
                  <a:pt x="49" y="109"/>
                </a:cubicBezTo>
                <a:cubicBezTo>
                  <a:pt x="49" y="109"/>
                  <a:pt x="49" y="109"/>
                  <a:pt x="50" y="109"/>
                </a:cubicBezTo>
                <a:cubicBezTo>
                  <a:pt x="50" y="109"/>
                  <a:pt x="50" y="109"/>
                  <a:pt x="50" y="109"/>
                </a:cubicBezTo>
                <a:cubicBezTo>
                  <a:pt x="53" y="109"/>
                  <a:pt x="55" y="109"/>
                  <a:pt x="57" y="109"/>
                </a:cubicBezTo>
                <a:cubicBezTo>
                  <a:pt x="60" y="109"/>
                  <a:pt x="60" y="109"/>
                  <a:pt x="60" y="109"/>
                </a:cubicBezTo>
                <a:cubicBezTo>
                  <a:pt x="60" y="109"/>
                  <a:pt x="60" y="109"/>
                  <a:pt x="60" y="109"/>
                </a:cubicBezTo>
                <a:cubicBezTo>
                  <a:pt x="60" y="109"/>
                  <a:pt x="61" y="109"/>
                  <a:pt x="61" y="109"/>
                </a:cubicBezTo>
                <a:cubicBezTo>
                  <a:pt x="61" y="109"/>
                  <a:pt x="61" y="110"/>
                  <a:pt x="62" y="110"/>
                </a:cubicBezTo>
                <a:cubicBezTo>
                  <a:pt x="62" y="110"/>
                  <a:pt x="62" y="110"/>
                  <a:pt x="62" y="110"/>
                </a:cubicBezTo>
                <a:cubicBezTo>
                  <a:pt x="62" y="110"/>
                  <a:pt x="62" y="110"/>
                  <a:pt x="62" y="110"/>
                </a:cubicBezTo>
                <a:cubicBezTo>
                  <a:pt x="62" y="110"/>
                  <a:pt x="62" y="110"/>
                  <a:pt x="63" y="110"/>
                </a:cubicBezTo>
                <a:cubicBezTo>
                  <a:pt x="63" y="110"/>
                  <a:pt x="63" y="110"/>
                  <a:pt x="63" y="110"/>
                </a:cubicBezTo>
                <a:cubicBezTo>
                  <a:pt x="63" y="110"/>
                  <a:pt x="63" y="110"/>
                  <a:pt x="63" y="110"/>
                </a:cubicBezTo>
                <a:cubicBezTo>
                  <a:pt x="65" y="110"/>
                  <a:pt x="65" y="110"/>
                  <a:pt x="65" y="110"/>
                </a:cubicBezTo>
                <a:cubicBezTo>
                  <a:pt x="65" y="111"/>
                  <a:pt x="65" y="111"/>
                  <a:pt x="65" y="111"/>
                </a:cubicBezTo>
                <a:cubicBezTo>
                  <a:pt x="65" y="111"/>
                  <a:pt x="65" y="111"/>
                  <a:pt x="65" y="111"/>
                </a:cubicBezTo>
                <a:cubicBezTo>
                  <a:pt x="65" y="111"/>
                  <a:pt x="66" y="111"/>
                  <a:pt x="66" y="111"/>
                </a:cubicBezTo>
                <a:cubicBezTo>
                  <a:pt x="66" y="111"/>
                  <a:pt x="66" y="111"/>
                  <a:pt x="66" y="111"/>
                </a:cubicBezTo>
                <a:cubicBezTo>
                  <a:pt x="67" y="111"/>
                  <a:pt x="67" y="111"/>
                  <a:pt x="67" y="111"/>
                </a:cubicBezTo>
                <a:cubicBezTo>
                  <a:pt x="68" y="111"/>
                  <a:pt x="68" y="111"/>
                  <a:pt x="68" y="111"/>
                </a:cubicBezTo>
                <a:cubicBezTo>
                  <a:pt x="68" y="111"/>
                  <a:pt x="68" y="111"/>
                  <a:pt x="69" y="111"/>
                </a:cubicBezTo>
                <a:cubicBezTo>
                  <a:pt x="69" y="111"/>
                  <a:pt x="69" y="111"/>
                  <a:pt x="69" y="111"/>
                </a:cubicBezTo>
                <a:cubicBezTo>
                  <a:pt x="70" y="111"/>
                  <a:pt x="71" y="111"/>
                  <a:pt x="72" y="112"/>
                </a:cubicBezTo>
                <a:cubicBezTo>
                  <a:pt x="73" y="112"/>
                  <a:pt x="73" y="112"/>
                  <a:pt x="74" y="113"/>
                </a:cubicBezTo>
                <a:cubicBezTo>
                  <a:pt x="74" y="113"/>
                  <a:pt x="74" y="113"/>
                  <a:pt x="74" y="113"/>
                </a:cubicBezTo>
                <a:cubicBezTo>
                  <a:pt x="74" y="113"/>
                  <a:pt x="74" y="112"/>
                  <a:pt x="74" y="112"/>
                </a:cubicBezTo>
                <a:cubicBezTo>
                  <a:pt x="74" y="111"/>
                  <a:pt x="74" y="110"/>
                  <a:pt x="75" y="109"/>
                </a:cubicBezTo>
                <a:cubicBezTo>
                  <a:pt x="75" y="109"/>
                  <a:pt x="75" y="109"/>
                  <a:pt x="75" y="109"/>
                </a:cubicBezTo>
                <a:cubicBezTo>
                  <a:pt x="75" y="109"/>
                  <a:pt x="75" y="109"/>
                  <a:pt x="75" y="109"/>
                </a:cubicBezTo>
                <a:cubicBezTo>
                  <a:pt x="75" y="108"/>
                  <a:pt x="75" y="108"/>
                  <a:pt x="75" y="108"/>
                </a:cubicBezTo>
                <a:cubicBezTo>
                  <a:pt x="74" y="107"/>
                  <a:pt x="74" y="105"/>
                  <a:pt x="74" y="104"/>
                </a:cubicBezTo>
                <a:cubicBezTo>
                  <a:pt x="74" y="103"/>
                  <a:pt x="74" y="103"/>
                  <a:pt x="74" y="103"/>
                </a:cubicBezTo>
                <a:cubicBezTo>
                  <a:pt x="74" y="103"/>
                  <a:pt x="74" y="103"/>
                  <a:pt x="74" y="103"/>
                </a:cubicBezTo>
                <a:cubicBezTo>
                  <a:pt x="74" y="103"/>
                  <a:pt x="74" y="103"/>
                  <a:pt x="74" y="103"/>
                </a:cubicBezTo>
                <a:cubicBezTo>
                  <a:pt x="72" y="101"/>
                  <a:pt x="71" y="100"/>
                  <a:pt x="70" y="99"/>
                </a:cubicBezTo>
                <a:cubicBezTo>
                  <a:pt x="70" y="99"/>
                  <a:pt x="69" y="99"/>
                  <a:pt x="69" y="99"/>
                </a:cubicBezTo>
                <a:cubicBezTo>
                  <a:pt x="68" y="98"/>
                  <a:pt x="68" y="98"/>
                  <a:pt x="68" y="98"/>
                </a:cubicBezTo>
                <a:cubicBezTo>
                  <a:pt x="66" y="96"/>
                  <a:pt x="65" y="95"/>
                  <a:pt x="64" y="93"/>
                </a:cubicBezTo>
                <a:cubicBezTo>
                  <a:pt x="63" y="90"/>
                  <a:pt x="63" y="90"/>
                  <a:pt x="63" y="90"/>
                </a:cubicBezTo>
                <a:cubicBezTo>
                  <a:pt x="64" y="90"/>
                  <a:pt x="64" y="90"/>
                  <a:pt x="64" y="90"/>
                </a:cubicBezTo>
                <a:cubicBezTo>
                  <a:pt x="63" y="89"/>
                  <a:pt x="63" y="89"/>
                  <a:pt x="63" y="89"/>
                </a:cubicBezTo>
                <a:cubicBezTo>
                  <a:pt x="63" y="89"/>
                  <a:pt x="62" y="88"/>
                  <a:pt x="62" y="88"/>
                </a:cubicBezTo>
                <a:cubicBezTo>
                  <a:pt x="61" y="87"/>
                  <a:pt x="60" y="86"/>
                  <a:pt x="60" y="85"/>
                </a:cubicBezTo>
                <a:cubicBezTo>
                  <a:pt x="60" y="84"/>
                  <a:pt x="60" y="84"/>
                  <a:pt x="60" y="84"/>
                </a:cubicBezTo>
                <a:cubicBezTo>
                  <a:pt x="60" y="83"/>
                  <a:pt x="60" y="82"/>
                  <a:pt x="59" y="80"/>
                </a:cubicBezTo>
                <a:cubicBezTo>
                  <a:pt x="59" y="80"/>
                  <a:pt x="59" y="80"/>
                  <a:pt x="59" y="80"/>
                </a:cubicBezTo>
                <a:cubicBezTo>
                  <a:pt x="59" y="79"/>
                  <a:pt x="58" y="79"/>
                  <a:pt x="58" y="78"/>
                </a:cubicBezTo>
                <a:cubicBezTo>
                  <a:pt x="58" y="77"/>
                  <a:pt x="58" y="77"/>
                  <a:pt x="59" y="76"/>
                </a:cubicBezTo>
                <a:cubicBezTo>
                  <a:pt x="59" y="76"/>
                  <a:pt x="59" y="76"/>
                  <a:pt x="59" y="76"/>
                </a:cubicBezTo>
                <a:cubicBezTo>
                  <a:pt x="59" y="76"/>
                  <a:pt x="59" y="76"/>
                  <a:pt x="59" y="76"/>
                </a:cubicBezTo>
                <a:cubicBezTo>
                  <a:pt x="59" y="75"/>
                  <a:pt x="59" y="75"/>
                  <a:pt x="59" y="75"/>
                </a:cubicBezTo>
                <a:cubicBezTo>
                  <a:pt x="59" y="74"/>
                  <a:pt x="59" y="74"/>
                  <a:pt x="59" y="74"/>
                </a:cubicBezTo>
                <a:cubicBezTo>
                  <a:pt x="59" y="73"/>
                  <a:pt x="59" y="73"/>
                  <a:pt x="59" y="73"/>
                </a:cubicBezTo>
                <a:cubicBezTo>
                  <a:pt x="59" y="73"/>
                  <a:pt x="59" y="73"/>
                  <a:pt x="59" y="73"/>
                </a:cubicBezTo>
                <a:cubicBezTo>
                  <a:pt x="59" y="72"/>
                  <a:pt x="59" y="72"/>
                  <a:pt x="59" y="72"/>
                </a:cubicBezTo>
                <a:cubicBezTo>
                  <a:pt x="59" y="72"/>
                  <a:pt x="58" y="72"/>
                  <a:pt x="58" y="72"/>
                </a:cubicBezTo>
                <a:cubicBezTo>
                  <a:pt x="58" y="72"/>
                  <a:pt x="58" y="71"/>
                  <a:pt x="57" y="71"/>
                </a:cubicBezTo>
                <a:cubicBezTo>
                  <a:pt x="56" y="70"/>
                  <a:pt x="56" y="70"/>
                  <a:pt x="56" y="70"/>
                </a:cubicBezTo>
                <a:cubicBezTo>
                  <a:pt x="58" y="69"/>
                  <a:pt x="58" y="69"/>
                  <a:pt x="58" y="69"/>
                </a:cubicBezTo>
                <a:cubicBezTo>
                  <a:pt x="60" y="68"/>
                  <a:pt x="61" y="67"/>
                  <a:pt x="61" y="66"/>
                </a:cubicBezTo>
                <a:cubicBezTo>
                  <a:pt x="62" y="65"/>
                  <a:pt x="62" y="65"/>
                  <a:pt x="62" y="65"/>
                </a:cubicBezTo>
                <a:cubicBezTo>
                  <a:pt x="62" y="64"/>
                  <a:pt x="62" y="64"/>
                  <a:pt x="62" y="64"/>
                </a:cubicBezTo>
                <a:cubicBezTo>
                  <a:pt x="62" y="64"/>
                  <a:pt x="62" y="63"/>
                  <a:pt x="63" y="63"/>
                </a:cubicBezTo>
                <a:cubicBezTo>
                  <a:pt x="63" y="62"/>
                  <a:pt x="63" y="62"/>
                  <a:pt x="64" y="61"/>
                </a:cubicBezTo>
                <a:cubicBezTo>
                  <a:pt x="64" y="61"/>
                  <a:pt x="64" y="61"/>
                  <a:pt x="64" y="61"/>
                </a:cubicBezTo>
                <a:cubicBezTo>
                  <a:pt x="64" y="60"/>
                  <a:pt x="65" y="59"/>
                  <a:pt x="65" y="58"/>
                </a:cubicBezTo>
                <a:cubicBezTo>
                  <a:pt x="66" y="58"/>
                  <a:pt x="66" y="58"/>
                  <a:pt x="66" y="58"/>
                </a:cubicBezTo>
                <a:cubicBezTo>
                  <a:pt x="66" y="57"/>
                  <a:pt x="67" y="56"/>
                  <a:pt x="68" y="55"/>
                </a:cubicBezTo>
                <a:cubicBezTo>
                  <a:pt x="68" y="55"/>
                  <a:pt x="68" y="55"/>
                  <a:pt x="68" y="55"/>
                </a:cubicBezTo>
                <a:cubicBezTo>
                  <a:pt x="68" y="55"/>
                  <a:pt x="68" y="55"/>
                  <a:pt x="68" y="55"/>
                </a:cubicBezTo>
                <a:cubicBezTo>
                  <a:pt x="68" y="55"/>
                  <a:pt x="68" y="55"/>
                  <a:pt x="68" y="55"/>
                </a:cubicBezTo>
                <a:cubicBezTo>
                  <a:pt x="68" y="55"/>
                  <a:pt x="68" y="55"/>
                  <a:pt x="68" y="55"/>
                </a:cubicBezTo>
                <a:cubicBezTo>
                  <a:pt x="68" y="54"/>
                  <a:pt x="68" y="54"/>
                  <a:pt x="68" y="54"/>
                </a:cubicBezTo>
                <a:cubicBezTo>
                  <a:pt x="68" y="54"/>
                  <a:pt x="68" y="54"/>
                  <a:pt x="69" y="53"/>
                </a:cubicBezTo>
                <a:cubicBezTo>
                  <a:pt x="68" y="53"/>
                  <a:pt x="68" y="53"/>
                  <a:pt x="68" y="53"/>
                </a:cubicBezTo>
                <a:cubicBezTo>
                  <a:pt x="68" y="53"/>
                  <a:pt x="68" y="52"/>
                  <a:pt x="67" y="51"/>
                </a:cubicBezTo>
                <a:cubicBezTo>
                  <a:pt x="67" y="51"/>
                  <a:pt x="67" y="50"/>
                  <a:pt x="67" y="50"/>
                </a:cubicBezTo>
                <a:cubicBezTo>
                  <a:pt x="67" y="50"/>
                  <a:pt x="67" y="50"/>
                  <a:pt x="67" y="49"/>
                </a:cubicBezTo>
                <a:cubicBezTo>
                  <a:pt x="66" y="49"/>
                  <a:pt x="66" y="49"/>
                  <a:pt x="66" y="49"/>
                </a:cubicBezTo>
                <a:cubicBezTo>
                  <a:pt x="66" y="48"/>
                  <a:pt x="65" y="46"/>
                  <a:pt x="64" y="46"/>
                </a:cubicBezTo>
                <a:cubicBezTo>
                  <a:pt x="63" y="44"/>
                  <a:pt x="62" y="43"/>
                  <a:pt x="60" y="41"/>
                </a:cubicBezTo>
                <a:cubicBezTo>
                  <a:pt x="59" y="40"/>
                  <a:pt x="57" y="39"/>
                  <a:pt x="56" y="37"/>
                </a:cubicBezTo>
                <a:cubicBezTo>
                  <a:pt x="55" y="37"/>
                  <a:pt x="55" y="37"/>
                  <a:pt x="55" y="37"/>
                </a:cubicBezTo>
                <a:cubicBezTo>
                  <a:pt x="55" y="37"/>
                  <a:pt x="55" y="36"/>
                  <a:pt x="54" y="36"/>
                </a:cubicBezTo>
                <a:cubicBezTo>
                  <a:pt x="54" y="36"/>
                  <a:pt x="54" y="36"/>
                  <a:pt x="54" y="36"/>
                </a:cubicBezTo>
                <a:cubicBezTo>
                  <a:pt x="54" y="35"/>
                  <a:pt x="54" y="35"/>
                  <a:pt x="54" y="35"/>
                </a:cubicBezTo>
                <a:cubicBezTo>
                  <a:pt x="52" y="34"/>
                  <a:pt x="52" y="33"/>
                  <a:pt x="53" y="31"/>
                </a:cubicBezTo>
                <a:cubicBezTo>
                  <a:pt x="54" y="31"/>
                  <a:pt x="54" y="31"/>
                  <a:pt x="54" y="31"/>
                </a:cubicBezTo>
                <a:cubicBezTo>
                  <a:pt x="54" y="30"/>
                  <a:pt x="55" y="29"/>
                  <a:pt x="57" y="29"/>
                </a:cubicBezTo>
                <a:cubicBezTo>
                  <a:pt x="57" y="29"/>
                  <a:pt x="57" y="29"/>
                  <a:pt x="57" y="29"/>
                </a:cubicBezTo>
                <a:cubicBezTo>
                  <a:pt x="58" y="29"/>
                  <a:pt x="59" y="29"/>
                  <a:pt x="60" y="29"/>
                </a:cubicBezTo>
                <a:cubicBezTo>
                  <a:pt x="60" y="29"/>
                  <a:pt x="60" y="29"/>
                  <a:pt x="60" y="29"/>
                </a:cubicBezTo>
                <a:cubicBezTo>
                  <a:pt x="61" y="29"/>
                  <a:pt x="61" y="29"/>
                  <a:pt x="61" y="29"/>
                </a:cubicBezTo>
                <a:cubicBezTo>
                  <a:pt x="61" y="29"/>
                  <a:pt x="61" y="29"/>
                  <a:pt x="61" y="29"/>
                </a:cubicBezTo>
                <a:cubicBezTo>
                  <a:pt x="62" y="29"/>
                  <a:pt x="62" y="29"/>
                  <a:pt x="62" y="29"/>
                </a:cubicBezTo>
                <a:cubicBezTo>
                  <a:pt x="63" y="29"/>
                  <a:pt x="64" y="29"/>
                  <a:pt x="65" y="29"/>
                </a:cubicBezTo>
                <a:cubicBezTo>
                  <a:pt x="65" y="26"/>
                  <a:pt x="65" y="26"/>
                  <a:pt x="65" y="26"/>
                </a:cubicBezTo>
                <a:cubicBezTo>
                  <a:pt x="66" y="29"/>
                  <a:pt x="66" y="29"/>
                  <a:pt x="66" y="29"/>
                </a:cubicBezTo>
                <a:cubicBezTo>
                  <a:pt x="66" y="29"/>
                  <a:pt x="66" y="29"/>
                  <a:pt x="66" y="29"/>
                </a:cubicBezTo>
                <a:cubicBezTo>
                  <a:pt x="66" y="29"/>
                  <a:pt x="67" y="29"/>
                  <a:pt x="67" y="29"/>
                </a:cubicBezTo>
                <a:cubicBezTo>
                  <a:pt x="67" y="29"/>
                  <a:pt x="67" y="29"/>
                  <a:pt x="67" y="29"/>
                </a:cubicBezTo>
                <a:cubicBezTo>
                  <a:pt x="67" y="28"/>
                  <a:pt x="67" y="28"/>
                  <a:pt x="66" y="27"/>
                </a:cubicBezTo>
                <a:cubicBezTo>
                  <a:pt x="65" y="25"/>
                  <a:pt x="64" y="22"/>
                  <a:pt x="63" y="20"/>
                </a:cubicBezTo>
                <a:cubicBezTo>
                  <a:pt x="63" y="19"/>
                  <a:pt x="63" y="18"/>
                  <a:pt x="63" y="17"/>
                </a:cubicBezTo>
                <a:cubicBezTo>
                  <a:pt x="64" y="17"/>
                  <a:pt x="64" y="17"/>
                  <a:pt x="64" y="16"/>
                </a:cubicBezTo>
                <a:cubicBezTo>
                  <a:pt x="64" y="16"/>
                  <a:pt x="64" y="16"/>
                  <a:pt x="64" y="15"/>
                </a:cubicBezTo>
                <a:cubicBezTo>
                  <a:pt x="64" y="15"/>
                  <a:pt x="64" y="14"/>
                  <a:pt x="64" y="14"/>
                </a:cubicBezTo>
                <a:cubicBezTo>
                  <a:pt x="64" y="13"/>
                  <a:pt x="64" y="13"/>
                  <a:pt x="64" y="13"/>
                </a:cubicBezTo>
                <a:cubicBezTo>
                  <a:pt x="64" y="13"/>
                  <a:pt x="64" y="13"/>
                  <a:pt x="64" y="13"/>
                </a:cubicBezTo>
                <a:cubicBezTo>
                  <a:pt x="64" y="13"/>
                  <a:pt x="64" y="13"/>
                  <a:pt x="64" y="13"/>
                </a:cubicBezTo>
                <a:cubicBezTo>
                  <a:pt x="64" y="13"/>
                  <a:pt x="64" y="13"/>
                  <a:pt x="64" y="13"/>
                </a:cubicBezTo>
                <a:cubicBezTo>
                  <a:pt x="64" y="12"/>
                  <a:pt x="64" y="12"/>
                  <a:pt x="64" y="11"/>
                </a:cubicBezTo>
                <a:cubicBezTo>
                  <a:pt x="64" y="11"/>
                  <a:pt x="63" y="11"/>
                  <a:pt x="63" y="10"/>
                </a:cubicBezTo>
                <a:cubicBezTo>
                  <a:pt x="63" y="10"/>
                  <a:pt x="63" y="10"/>
                  <a:pt x="63" y="10"/>
                </a:cubicBezTo>
                <a:cubicBezTo>
                  <a:pt x="62" y="8"/>
                  <a:pt x="62" y="7"/>
                  <a:pt x="62" y="6"/>
                </a:cubicBezTo>
                <a:cubicBezTo>
                  <a:pt x="61" y="5"/>
                  <a:pt x="61" y="4"/>
                  <a:pt x="61" y="4"/>
                </a:cubicBezTo>
                <a:cubicBezTo>
                  <a:pt x="61" y="4"/>
                  <a:pt x="61" y="4"/>
                  <a:pt x="61" y="4"/>
                </a:cubicBezTo>
                <a:cubicBezTo>
                  <a:pt x="61" y="4"/>
                  <a:pt x="61" y="4"/>
                  <a:pt x="60" y="3"/>
                </a:cubicBezTo>
                <a:cubicBezTo>
                  <a:pt x="60" y="3"/>
                  <a:pt x="60" y="3"/>
                  <a:pt x="60" y="3"/>
                </a:cubicBezTo>
                <a:cubicBezTo>
                  <a:pt x="59" y="2"/>
                  <a:pt x="59" y="2"/>
                  <a:pt x="59" y="2"/>
                </a:cubicBezTo>
                <a:cubicBezTo>
                  <a:pt x="58" y="2"/>
                  <a:pt x="58" y="1"/>
                  <a:pt x="58" y="1"/>
                </a:cubicBezTo>
                <a:cubicBezTo>
                  <a:pt x="58" y="1"/>
                  <a:pt x="58" y="1"/>
                  <a:pt x="58" y="1"/>
                </a:cubicBezTo>
                <a:cubicBezTo>
                  <a:pt x="58" y="0"/>
                  <a:pt x="58" y="0"/>
                  <a:pt x="58" y="0"/>
                </a:cubicBezTo>
                <a:cubicBezTo>
                  <a:pt x="56" y="0"/>
                  <a:pt x="56" y="0"/>
                  <a:pt x="56" y="0"/>
                </a:cubicBezTo>
                <a:cubicBezTo>
                  <a:pt x="57" y="3"/>
                  <a:pt x="57" y="3"/>
                  <a:pt x="57" y="3"/>
                </a:cubicBezTo>
                <a:cubicBezTo>
                  <a:pt x="57" y="3"/>
                  <a:pt x="57" y="4"/>
                  <a:pt x="57" y="4"/>
                </a:cubicBezTo>
                <a:cubicBezTo>
                  <a:pt x="57" y="4"/>
                  <a:pt x="57" y="4"/>
                  <a:pt x="57" y="4"/>
                </a:cubicBezTo>
                <a:cubicBezTo>
                  <a:pt x="57" y="4"/>
                  <a:pt x="58" y="4"/>
                  <a:pt x="58" y="4"/>
                </a:cubicBezTo>
                <a:cubicBezTo>
                  <a:pt x="58" y="5"/>
                  <a:pt x="58" y="5"/>
                  <a:pt x="58" y="5"/>
                </a:cubicBezTo>
                <a:cubicBezTo>
                  <a:pt x="59" y="5"/>
                  <a:pt x="59" y="5"/>
                  <a:pt x="59" y="5"/>
                </a:cubicBezTo>
                <a:cubicBezTo>
                  <a:pt x="59" y="5"/>
                  <a:pt x="59" y="5"/>
                  <a:pt x="59" y="5"/>
                </a:cubicBezTo>
                <a:cubicBezTo>
                  <a:pt x="60" y="6"/>
                  <a:pt x="61" y="6"/>
                  <a:pt x="61" y="7"/>
                </a:cubicBezTo>
                <a:cubicBezTo>
                  <a:pt x="61" y="7"/>
                  <a:pt x="61" y="7"/>
                  <a:pt x="61" y="7"/>
                </a:cubicBezTo>
                <a:cubicBezTo>
                  <a:pt x="61" y="7"/>
                  <a:pt x="61" y="7"/>
                  <a:pt x="61" y="7"/>
                </a:cubicBezTo>
                <a:cubicBezTo>
                  <a:pt x="61" y="7"/>
                  <a:pt x="61" y="7"/>
                  <a:pt x="61" y="7"/>
                </a:cubicBezTo>
                <a:cubicBezTo>
                  <a:pt x="62" y="8"/>
                  <a:pt x="62" y="9"/>
                  <a:pt x="62" y="9"/>
                </a:cubicBezTo>
                <a:cubicBezTo>
                  <a:pt x="62" y="10"/>
                  <a:pt x="62" y="10"/>
                  <a:pt x="62" y="10"/>
                </a:cubicBezTo>
                <a:cubicBezTo>
                  <a:pt x="62" y="11"/>
                  <a:pt x="62" y="11"/>
                  <a:pt x="62" y="11"/>
                </a:cubicBezTo>
                <a:cubicBezTo>
                  <a:pt x="62" y="11"/>
                  <a:pt x="62" y="12"/>
                  <a:pt x="62" y="13"/>
                </a:cubicBezTo>
                <a:cubicBezTo>
                  <a:pt x="62" y="14"/>
                  <a:pt x="61" y="14"/>
                  <a:pt x="61" y="15"/>
                </a:cubicBezTo>
                <a:cubicBezTo>
                  <a:pt x="60" y="16"/>
                  <a:pt x="60" y="16"/>
                  <a:pt x="59" y="16"/>
                </a:cubicBezTo>
                <a:cubicBezTo>
                  <a:pt x="59" y="16"/>
                  <a:pt x="59" y="16"/>
                  <a:pt x="59" y="16"/>
                </a:cubicBezTo>
                <a:cubicBezTo>
                  <a:pt x="59" y="17"/>
                  <a:pt x="58" y="17"/>
                  <a:pt x="57" y="17"/>
                </a:cubicBezTo>
                <a:cubicBezTo>
                  <a:pt x="57" y="18"/>
                  <a:pt x="57" y="18"/>
                  <a:pt x="57" y="18"/>
                </a:cubicBezTo>
                <a:cubicBezTo>
                  <a:pt x="56" y="18"/>
                  <a:pt x="55" y="18"/>
                  <a:pt x="55" y="18"/>
                </a:cubicBezTo>
                <a:cubicBezTo>
                  <a:pt x="55" y="18"/>
                  <a:pt x="55" y="18"/>
                  <a:pt x="54" y="18"/>
                </a:cubicBezTo>
                <a:cubicBezTo>
                  <a:pt x="54" y="18"/>
                  <a:pt x="54" y="18"/>
                  <a:pt x="54" y="18"/>
                </a:cubicBezTo>
                <a:cubicBezTo>
                  <a:pt x="54" y="18"/>
                  <a:pt x="54" y="18"/>
                  <a:pt x="54" y="18"/>
                </a:cubicBezTo>
                <a:cubicBezTo>
                  <a:pt x="54" y="18"/>
                  <a:pt x="54" y="18"/>
                  <a:pt x="54" y="18"/>
                </a:cubicBezTo>
                <a:cubicBezTo>
                  <a:pt x="54" y="18"/>
                  <a:pt x="54" y="19"/>
                  <a:pt x="54" y="19"/>
                </a:cubicBezTo>
                <a:cubicBezTo>
                  <a:pt x="53" y="19"/>
                  <a:pt x="53" y="20"/>
                  <a:pt x="53" y="20"/>
                </a:cubicBezTo>
                <a:cubicBezTo>
                  <a:pt x="53" y="20"/>
                  <a:pt x="53" y="20"/>
                  <a:pt x="53" y="20"/>
                </a:cubicBezTo>
                <a:cubicBezTo>
                  <a:pt x="53" y="21"/>
                  <a:pt x="53" y="21"/>
                  <a:pt x="53" y="21"/>
                </a:cubicBezTo>
                <a:cubicBezTo>
                  <a:pt x="53" y="21"/>
                  <a:pt x="53" y="21"/>
                  <a:pt x="53" y="21"/>
                </a:cubicBezTo>
                <a:cubicBezTo>
                  <a:pt x="52" y="21"/>
                  <a:pt x="52" y="21"/>
                  <a:pt x="52" y="21"/>
                </a:cubicBezTo>
                <a:cubicBezTo>
                  <a:pt x="52" y="22"/>
                  <a:pt x="52" y="22"/>
                  <a:pt x="51" y="22"/>
                </a:cubicBezTo>
                <a:cubicBezTo>
                  <a:pt x="51" y="23"/>
                  <a:pt x="51" y="23"/>
                  <a:pt x="51" y="24"/>
                </a:cubicBezTo>
                <a:cubicBezTo>
                  <a:pt x="50" y="24"/>
                  <a:pt x="50" y="24"/>
                  <a:pt x="50" y="24"/>
                </a:cubicBezTo>
                <a:cubicBezTo>
                  <a:pt x="50" y="25"/>
                  <a:pt x="50" y="25"/>
                  <a:pt x="50" y="26"/>
                </a:cubicBezTo>
                <a:cubicBezTo>
                  <a:pt x="50" y="26"/>
                  <a:pt x="50" y="26"/>
                  <a:pt x="50" y="26"/>
                </a:cubicBezTo>
                <a:cubicBezTo>
                  <a:pt x="50" y="27"/>
                  <a:pt x="49" y="28"/>
                  <a:pt x="49" y="28"/>
                </a:cubicBezTo>
                <a:cubicBezTo>
                  <a:pt x="49" y="29"/>
                  <a:pt x="49" y="30"/>
                  <a:pt x="48" y="30"/>
                </a:cubicBezTo>
                <a:cubicBezTo>
                  <a:pt x="48" y="30"/>
                  <a:pt x="48" y="30"/>
                  <a:pt x="48" y="30"/>
                </a:cubicBezTo>
                <a:cubicBezTo>
                  <a:pt x="48" y="30"/>
                  <a:pt x="48" y="31"/>
                  <a:pt x="48" y="31"/>
                </a:cubicBezTo>
                <a:cubicBezTo>
                  <a:pt x="48" y="31"/>
                  <a:pt x="48" y="31"/>
                  <a:pt x="48" y="31"/>
                </a:cubicBezTo>
                <a:cubicBezTo>
                  <a:pt x="48" y="32"/>
                  <a:pt x="48" y="32"/>
                  <a:pt x="48" y="32"/>
                </a:cubicBezTo>
                <a:cubicBezTo>
                  <a:pt x="48" y="32"/>
                  <a:pt x="48" y="32"/>
                  <a:pt x="48" y="32"/>
                </a:cubicBezTo>
                <a:cubicBezTo>
                  <a:pt x="48" y="33"/>
                  <a:pt x="47" y="35"/>
                  <a:pt x="46" y="36"/>
                </a:cubicBezTo>
                <a:cubicBezTo>
                  <a:pt x="46" y="36"/>
                  <a:pt x="46" y="36"/>
                  <a:pt x="46" y="36"/>
                </a:cubicBezTo>
                <a:cubicBezTo>
                  <a:pt x="46" y="36"/>
                  <a:pt x="45" y="36"/>
                  <a:pt x="45" y="36"/>
                </a:cubicBezTo>
                <a:cubicBezTo>
                  <a:pt x="45" y="36"/>
                  <a:pt x="45" y="36"/>
                  <a:pt x="45" y="36"/>
                </a:cubicBezTo>
                <a:cubicBezTo>
                  <a:pt x="45" y="36"/>
                  <a:pt x="45" y="36"/>
                  <a:pt x="45" y="36"/>
                </a:cubicBezTo>
                <a:cubicBezTo>
                  <a:pt x="45" y="36"/>
                  <a:pt x="45" y="36"/>
                  <a:pt x="45" y="36"/>
                </a:cubicBezTo>
                <a:cubicBezTo>
                  <a:pt x="44" y="37"/>
                  <a:pt x="44" y="37"/>
                  <a:pt x="44" y="37"/>
                </a:cubicBezTo>
                <a:cubicBezTo>
                  <a:pt x="44" y="38"/>
                  <a:pt x="44" y="39"/>
                  <a:pt x="43" y="40"/>
                </a:cubicBezTo>
                <a:cubicBezTo>
                  <a:pt x="43" y="41"/>
                  <a:pt x="43" y="42"/>
                  <a:pt x="43" y="43"/>
                </a:cubicBezTo>
                <a:cubicBezTo>
                  <a:pt x="42" y="43"/>
                  <a:pt x="42" y="43"/>
                  <a:pt x="42" y="44"/>
                </a:cubicBezTo>
                <a:cubicBezTo>
                  <a:pt x="41" y="45"/>
                  <a:pt x="40" y="45"/>
                  <a:pt x="39" y="46"/>
                </a:cubicBezTo>
                <a:cubicBezTo>
                  <a:pt x="38" y="46"/>
                  <a:pt x="37" y="46"/>
                  <a:pt x="37" y="47"/>
                </a:cubicBezTo>
                <a:cubicBezTo>
                  <a:pt x="37" y="47"/>
                  <a:pt x="37" y="47"/>
                  <a:pt x="37" y="47"/>
                </a:cubicBezTo>
                <a:cubicBezTo>
                  <a:pt x="37" y="47"/>
                  <a:pt x="37" y="48"/>
                  <a:pt x="37" y="48"/>
                </a:cubicBezTo>
                <a:cubicBezTo>
                  <a:pt x="37" y="49"/>
                  <a:pt x="37" y="49"/>
                  <a:pt x="37" y="50"/>
                </a:cubicBezTo>
                <a:cubicBezTo>
                  <a:pt x="34" y="55"/>
                  <a:pt x="34" y="55"/>
                  <a:pt x="34" y="55"/>
                </a:cubicBezTo>
                <a:cubicBezTo>
                  <a:pt x="34" y="56"/>
                  <a:pt x="33" y="57"/>
                  <a:pt x="33" y="57"/>
                </a:cubicBezTo>
                <a:cubicBezTo>
                  <a:pt x="33" y="58"/>
                  <a:pt x="33" y="58"/>
                  <a:pt x="33" y="58"/>
                </a:cubicBezTo>
                <a:cubicBezTo>
                  <a:pt x="33" y="58"/>
                  <a:pt x="33" y="58"/>
                  <a:pt x="33" y="58"/>
                </a:cubicBezTo>
                <a:cubicBezTo>
                  <a:pt x="33" y="59"/>
                  <a:pt x="33" y="59"/>
                  <a:pt x="33" y="59"/>
                </a:cubicBezTo>
                <a:cubicBezTo>
                  <a:pt x="33" y="59"/>
                  <a:pt x="33" y="59"/>
                  <a:pt x="33" y="60"/>
                </a:cubicBezTo>
                <a:cubicBezTo>
                  <a:pt x="34" y="62"/>
                  <a:pt x="34" y="62"/>
                  <a:pt x="34" y="62"/>
                </a:cubicBezTo>
                <a:cubicBezTo>
                  <a:pt x="32" y="61"/>
                  <a:pt x="32" y="61"/>
                  <a:pt x="32" y="61"/>
                </a:cubicBezTo>
                <a:cubicBezTo>
                  <a:pt x="32" y="61"/>
                  <a:pt x="31" y="63"/>
                  <a:pt x="31" y="63"/>
                </a:cubicBezTo>
                <a:cubicBezTo>
                  <a:pt x="31" y="64"/>
                  <a:pt x="31" y="64"/>
                  <a:pt x="31" y="64"/>
                </a:cubicBezTo>
                <a:cubicBezTo>
                  <a:pt x="30" y="65"/>
                  <a:pt x="29" y="67"/>
                  <a:pt x="28" y="67"/>
                </a:cubicBezTo>
                <a:cubicBezTo>
                  <a:pt x="28" y="67"/>
                  <a:pt x="27" y="67"/>
                  <a:pt x="27" y="67"/>
                </a:cubicBezTo>
                <a:cubicBezTo>
                  <a:pt x="27" y="67"/>
                  <a:pt x="27" y="67"/>
                  <a:pt x="27" y="67"/>
                </a:cubicBezTo>
                <a:cubicBezTo>
                  <a:pt x="27" y="67"/>
                  <a:pt x="27" y="68"/>
                  <a:pt x="27" y="68"/>
                </a:cubicBezTo>
                <a:cubicBezTo>
                  <a:pt x="26" y="68"/>
                  <a:pt x="26" y="68"/>
                  <a:pt x="26" y="68"/>
                </a:cubicBezTo>
                <a:cubicBezTo>
                  <a:pt x="25" y="68"/>
                  <a:pt x="24" y="67"/>
                  <a:pt x="24" y="67"/>
                </a:cubicBezTo>
                <a:cubicBezTo>
                  <a:pt x="21" y="63"/>
                  <a:pt x="21" y="63"/>
                  <a:pt x="21" y="63"/>
                </a:cubicBezTo>
                <a:cubicBezTo>
                  <a:pt x="21" y="63"/>
                  <a:pt x="20" y="62"/>
                  <a:pt x="20" y="61"/>
                </a:cubicBezTo>
                <a:cubicBezTo>
                  <a:pt x="20" y="62"/>
                  <a:pt x="19" y="62"/>
                  <a:pt x="19" y="62"/>
                </a:cubicBezTo>
                <a:cubicBezTo>
                  <a:pt x="19" y="62"/>
                  <a:pt x="19" y="62"/>
                  <a:pt x="19" y="63"/>
                </a:cubicBezTo>
                <a:cubicBezTo>
                  <a:pt x="18" y="63"/>
                  <a:pt x="18" y="63"/>
                  <a:pt x="18" y="63"/>
                </a:cubicBezTo>
                <a:cubicBezTo>
                  <a:pt x="18" y="63"/>
                  <a:pt x="17" y="63"/>
                  <a:pt x="17" y="63"/>
                </a:cubicBezTo>
                <a:cubicBezTo>
                  <a:pt x="17" y="63"/>
                  <a:pt x="16" y="63"/>
                  <a:pt x="16" y="62"/>
                </a:cubicBezTo>
                <a:cubicBezTo>
                  <a:pt x="15" y="62"/>
                  <a:pt x="15" y="62"/>
                  <a:pt x="15" y="62"/>
                </a:cubicBezTo>
                <a:cubicBezTo>
                  <a:pt x="14" y="62"/>
                  <a:pt x="14" y="62"/>
                  <a:pt x="12" y="64"/>
                </a:cubicBezTo>
                <a:cubicBezTo>
                  <a:pt x="12" y="64"/>
                  <a:pt x="12" y="65"/>
                  <a:pt x="12" y="65"/>
                </a:cubicBezTo>
                <a:cubicBezTo>
                  <a:pt x="12" y="65"/>
                  <a:pt x="12" y="65"/>
                  <a:pt x="12" y="65"/>
                </a:cubicBezTo>
                <a:cubicBezTo>
                  <a:pt x="12" y="65"/>
                  <a:pt x="12" y="65"/>
                  <a:pt x="12" y="65"/>
                </a:cubicBezTo>
                <a:cubicBezTo>
                  <a:pt x="12" y="65"/>
                  <a:pt x="11" y="65"/>
                  <a:pt x="11" y="65"/>
                </a:cubicBezTo>
                <a:cubicBezTo>
                  <a:pt x="11" y="66"/>
                  <a:pt x="11" y="67"/>
                  <a:pt x="10" y="67"/>
                </a:cubicBezTo>
                <a:cubicBezTo>
                  <a:pt x="10" y="67"/>
                  <a:pt x="10" y="67"/>
                  <a:pt x="10" y="67"/>
                </a:cubicBezTo>
                <a:cubicBezTo>
                  <a:pt x="9" y="67"/>
                  <a:pt x="8" y="68"/>
                  <a:pt x="8" y="68"/>
                </a:cubicBezTo>
                <a:cubicBezTo>
                  <a:pt x="5" y="72"/>
                  <a:pt x="5" y="72"/>
                  <a:pt x="5" y="72"/>
                </a:cubicBezTo>
                <a:cubicBezTo>
                  <a:pt x="4" y="72"/>
                  <a:pt x="4" y="73"/>
                  <a:pt x="3" y="73"/>
                </a:cubicBezTo>
                <a:cubicBezTo>
                  <a:pt x="3" y="73"/>
                  <a:pt x="3" y="73"/>
                  <a:pt x="3" y="73"/>
                </a:cubicBezTo>
                <a:cubicBezTo>
                  <a:pt x="3" y="73"/>
                  <a:pt x="2" y="74"/>
                  <a:pt x="2" y="74"/>
                </a:cubicBezTo>
                <a:cubicBezTo>
                  <a:pt x="2" y="74"/>
                  <a:pt x="2" y="75"/>
                  <a:pt x="2" y="75"/>
                </a:cubicBezTo>
                <a:cubicBezTo>
                  <a:pt x="2" y="76"/>
                  <a:pt x="2" y="77"/>
                  <a:pt x="2" y="78"/>
                </a:cubicBezTo>
                <a:cubicBezTo>
                  <a:pt x="2" y="79"/>
                  <a:pt x="2" y="79"/>
                  <a:pt x="2" y="79"/>
                </a:cubicBezTo>
                <a:cubicBezTo>
                  <a:pt x="2" y="80"/>
                  <a:pt x="2" y="80"/>
                  <a:pt x="2" y="80"/>
                </a:cubicBezTo>
                <a:cubicBezTo>
                  <a:pt x="1" y="81"/>
                  <a:pt x="1" y="81"/>
                  <a:pt x="1" y="82"/>
                </a:cubicBezTo>
                <a:cubicBezTo>
                  <a:pt x="1" y="82"/>
                  <a:pt x="1" y="82"/>
                  <a:pt x="1" y="82"/>
                </a:cubicBezTo>
                <a:cubicBezTo>
                  <a:pt x="0" y="82"/>
                  <a:pt x="0" y="83"/>
                  <a:pt x="0" y="84"/>
                </a:cubicBezTo>
                <a:cubicBezTo>
                  <a:pt x="0" y="84"/>
                  <a:pt x="0" y="84"/>
                  <a:pt x="0" y="84"/>
                </a:cubicBezTo>
                <a:cubicBezTo>
                  <a:pt x="0" y="84"/>
                  <a:pt x="0" y="84"/>
                  <a:pt x="0" y="84"/>
                </a:cubicBezTo>
                <a:cubicBezTo>
                  <a:pt x="0" y="85"/>
                  <a:pt x="1" y="85"/>
                  <a:pt x="1" y="86"/>
                </a:cubicBezTo>
                <a:cubicBezTo>
                  <a:pt x="1" y="85"/>
                  <a:pt x="1" y="85"/>
                  <a:pt x="1" y="85"/>
                </a:cubicBezTo>
                <a:cubicBezTo>
                  <a:pt x="1" y="86"/>
                  <a:pt x="2" y="87"/>
                  <a:pt x="2" y="89"/>
                </a:cubicBezTo>
                <a:cubicBezTo>
                  <a:pt x="3" y="91"/>
                  <a:pt x="3" y="91"/>
                  <a:pt x="5" y="92"/>
                </a:cubicBezTo>
                <a:cubicBezTo>
                  <a:pt x="6" y="92"/>
                  <a:pt x="7" y="92"/>
                  <a:pt x="8" y="92"/>
                </a:cubicBezTo>
                <a:cubicBezTo>
                  <a:pt x="8" y="92"/>
                  <a:pt x="8" y="91"/>
                  <a:pt x="7" y="91"/>
                </a:cubicBezTo>
                <a:cubicBezTo>
                  <a:pt x="8" y="91"/>
                  <a:pt x="8" y="91"/>
                  <a:pt x="8" y="90"/>
                </a:cubicBezTo>
                <a:cubicBezTo>
                  <a:pt x="8" y="91"/>
                  <a:pt x="8" y="91"/>
                  <a:pt x="8" y="91"/>
                </a:cubicBezTo>
                <a:cubicBezTo>
                  <a:pt x="9" y="91"/>
                  <a:pt x="10" y="90"/>
                  <a:pt x="11" y="90"/>
                </a:cubicBezTo>
                <a:cubicBezTo>
                  <a:pt x="10" y="91"/>
                  <a:pt x="10" y="91"/>
                  <a:pt x="9" y="92"/>
                </a:cubicBezTo>
                <a:cubicBezTo>
                  <a:pt x="10" y="92"/>
                  <a:pt x="10" y="92"/>
                  <a:pt x="11" y="92"/>
                </a:cubicBezTo>
                <a:cubicBezTo>
                  <a:pt x="10" y="93"/>
                  <a:pt x="10" y="93"/>
                  <a:pt x="8" y="94"/>
                </a:cubicBezTo>
                <a:cubicBezTo>
                  <a:pt x="9" y="94"/>
                  <a:pt x="9" y="94"/>
                  <a:pt x="9" y="94"/>
                </a:cubicBezTo>
                <a:cubicBezTo>
                  <a:pt x="9" y="96"/>
                  <a:pt x="11" y="97"/>
                  <a:pt x="12" y="99"/>
                </a:cubicBezTo>
                <a:cubicBezTo>
                  <a:pt x="13" y="100"/>
                  <a:pt x="12" y="102"/>
                  <a:pt x="12" y="103"/>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07" name="Freeform 3064">
            <a:extLst>
              <a:ext uri="{FF2B5EF4-FFF2-40B4-BE49-F238E27FC236}">
                <a16:creationId xmlns:a16="http://schemas.microsoft.com/office/drawing/2014/main" id="{C0F2CAA4-D5CE-428E-A009-3CB649827DEA}"/>
              </a:ext>
            </a:extLst>
          </p:cNvPr>
          <p:cNvSpPr>
            <a:spLocks noEditPoints="1"/>
          </p:cNvSpPr>
          <p:nvPr/>
        </p:nvSpPr>
        <p:spPr bwMode="auto">
          <a:xfrm>
            <a:off x="3373197" y="3560918"/>
            <a:ext cx="140739" cy="137714"/>
          </a:xfrm>
          <a:custGeom>
            <a:avLst/>
            <a:gdLst>
              <a:gd name="T0" fmla="*/ 58 w 120"/>
              <a:gd name="T1" fmla="*/ 92 h 98"/>
              <a:gd name="T2" fmla="*/ 61 w 120"/>
              <a:gd name="T3" fmla="*/ 85 h 98"/>
              <a:gd name="T4" fmla="*/ 67 w 120"/>
              <a:gd name="T5" fmla="*/ 76 h 98"/>
              <a:gd name="T6" fmla="*/ 71 w 120"/>
              <a:gd name="T7" fmla="*/ 72 h 98"/>
              <a:gd name="T8" fmla="*/ 78 w 120"/>
              <a:gd name="T9" fmla="*/ 69 h 98"/>
              <a:gd name="T10" fmla="*/ 84 w 120"/>
              <a:gd name="T11" fmla="*/ 71 h 98"/>
              <a:gd name="T12" fmla="*/ 89 w 120"/>
              <a:gd name="T13" fmla="*/ 72 h 98"/>
              <a:gd name="T14" fmla="*/ 95 w 120"/>
              <a:gd name="T15" fmla="*/ 58 h 98"/>
              <a:gd name="T16" fmla="*/ 99 w 120"/>
              <a:gd name="T17" fmla="*/ 52 h 98"/>
              <a:gd name="T18" fmla="*/ 104 w 120"/>
              <a:gd name="T19" fmla="*/ 44 h 98"/>
              <a:gd name="T20" fmla="*/ 106 w 120"/>
              <a:gd name="T21" fmla="*/ 41 h 98"/>
              <a:gd name="T22" fmla="*/ 108 w 120"/>
              <a:gd name="T23" fmla="*/ 37 h 98"/>
              <a:gd name="T24" fmla="*/ 110 w 120"/>
              <a:gd name="T25" fmla="*/ 30 h 98"/>
              <a:gd name="T26" fmla="*/ 112 w 120"/>
              <a:gd name="T27" fmla="*/ 28 h 98"/>
              <a:gd name="T28" fmla="*/ 114 w 120"/>
              <a:gd name="T29" fmla="*/ 25 h 98"/>
              <a:gd name="T30" fmla="*/ 119 w 120"/>
              <a:gd name="T31" fmla="*/ 23 h 98"/>
              <a:gd name="T32" fmla="*/ 120 w 120"/>
              <a:gd name="T33" fmla="*/ 19 h 98"/>
              <a:gd name="T34" fmla="*/ 119 w 120"/>
              <a:gd name="T35" fmla="*/ 16 h 98"/>
              <a:gd name="T36" fmla="*/ 112 w 120"/>
              <a:gd name="T37" fmla="*/ 4 h 98"/>
              <a:gd name="T38" fmla="*/ 110 w 120"/>
              <a:gd name="T39" fmla="*/ 2 h 98"/>
              <a:gd name="T40" fmla="*/ 107 w 120"/>
              <a:gd name="T41" fmla="*/ 2 h 98"/>
              <a:gd name="T42" fmla="*/ 104 w 120"/>
              <a:gd name="T43" fmla="*/ 4 h 98"/>
              <a:gd name="T44" fmla="*/ 98 w 120"/>
              <a:gd name="T45" fmla="*/ 8 h 98"/>
              <a:gd name="T46" fmla="*/ 85 w 120"/>
              <a:gd name="T47" fmla="*/ 5 h 98"/>
              <a:gd name="T48" fmla="*/ 75 w 120"/>
              <a:gd name="T49" fmla="*/ 7 h 98"/>
              <a:gd name="T50" fmla="*/ 70 w 120"/>
              <a:gd name="T51" fmla="*/ 11 h 98"/>
              <a:gd name="T52" fmla="*/ 67 w 120"/>
              <a:gd name="T53" fmla="*/ 11 h 98"/>
              <a:gd name="T54" fmla="*/ 57 w 120"/>
              <a:gd name="T55" fmla="*/ 7 h 98"/>
              <a:gd name="T56" fmla="*/ 53 w 120"/>
              <a:gd name="T57" fmla="*/ 6 h 98"/>
              <a:gd name="T58" fmla="*/ 46 w 120"/>
              <a:gd name="T59" fmla="*/ 8 h 98"/>
              <a:gd name="T60" fmla="*/ 36 w 120"/>
              <a:gd name="T61" fmla="*/ 2 h 98"/>
              <a:gd name="T62" fmla="*/ 29 w 120"/>
              <a:gd name="T63" fmla="*/ 0 h 98"/>
              <a:gd name="T64" fmla="*/ 15 w 120"/>
              <a:gd name="T65" fmla="*/ 4 h 98"/>
              <a:gd name="T66" fmla="*/ 15 w 120"/>
              <a:gd name="T67" fmla="*/ 6 h 98"/>
              <a:gd name="T68" fmla="*/ 12 w 120"/>
              <a:gd name="T69" fmla="*/ 12 h 98"/>
              <a:gd name="T70" fmla="*/ 10 w 120"/>
              <a:gd name="T71" fmla="*/ 15 h 98"/>
              <a:gd name="T72" fmla="*/ 10 w 120"/>
              <a:gd name="T73" fmla="*/ 23 h 98"/>
              <a:gd name="T74" fmla="*/ 10 w 120"/>
              <a:gd name="T75" fmla="*/ 26 h 98"/>
              <a:gd name="T76" fmla="*/ 12 w 120"/>
              <a:gd name="T77" fmla="*/ 32 h 98"/>
              <a:gd name="T78" fmla="*/ 10 w 120"/>
              <a:gd name="T79" fmla="*/ 36 h 98"/>
              <a:gd name="T80" fmla="*/ 6 w 120"/>
              <a:gd name="T81" fmla="*/ 44 h 98"/>
              <a:gd name="T82" fmla="*/ 1 w 120"/>
              <a:gd name="T83" fmla="*/ 50 h 98"/>
              <a:gd name="T84" fmla="*/ 1 w 120"/>
              <a:gd name="T85" fmla="*/ 61 h 98"/>
              <a:gd name="T86" fmla="*/ 1 w 120"/>
              <a:gd name="T87" fmla="*/ 71 h 98"/>
              <a:gd name="T88" fmla="*/ 6 w 120"/>
              <a:gd name="T89" fmla="*/ 73 h 98"/>
              <a:gd name="T90" fmla="*/ 9 w 120"/>
              <a:gd name="T91" fmla="*/ 75 h 98"/>
              <a:gd name="T92" fmla="*/ 23 w 120"/>
              <a:gd name="T93" fmla="*/ 82 h 98"/>
              <a:gd name="T94" fmla="*/ 28 w 120"/>
              <a:gd name="T95" fmla="*/ 84 h 98"/>
              <a:gd name="T96" fmla="*/ 28 w 120"/>
              <a:gd name="T97" fmla="*/ 91 h 98"/>
              <a:gd name="T98" fmla="*/ 37 w 120"/>
              <a:gd name="T99" fmla="*/ 97 h 98"/>
              <a:gd name="T100" fmla="*/ 41 w 120"/>
              <a:gd name="T101" fmla="*/ 95 h 98"/>
              <a:gd name="T102" fmla="*/ 42 w 120"/>
              <a:gd name="T103" fmla="*/ 94 h 98"/>
              <a:gd name="T104" fmla="*/ 45 w 120"/>
              <a:gd name="T105" fmla="*/ 96 h 98"/>
              <a:gd name="T106" fmla="*/ 47 w 120"/>
              <a:gd name="T107" fmla="*/ 95 h 98"/>
              <a:gd name="T108" fmla="*/ 55 w 120"/>
              <a:gd name="T109"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0" h="98">
                <a:moveTo>
                  <a:pt x="58" y="93"/>
                </a:moveTo>
                <a:cubicBezTo>
                  <a:pt x="58" y="93"/>
                  <a:pt x="58" y="93"/>
                  <a:pt x="58" y="93"/>
                </a:cubicBezTo>
                <a:cubicBezTo>
                  <a:pt x="58" y="92"/>
                  <a:pt x="58" y="92"/>
                  <a:pt x="58" y="92"/>
                </a:cubicBezTo>
                <a:cubicBezTo>
                  <a:pt x="58" y="92"/>
                  <a:pt x="58" y="92"/>
                  <a:pt x="58" y="92"/>
                </a:cubicBezTo>
                <a:cubicBezTo>
                  <a:pt x="58" y="92"/>
                  <a:pt x="58" y="92"/>
                  <a:pt x="58" y="92"/>
                </a:cubicBezTo>
                <a:cubicBezTo>
                  <a:pt x="59" y="91"/>
                  <a:pt x="59" y="90"/>
                  <a:pt x="60" y="89"/>
                </a:cubicBezTo>
                <a:cubicBezTo>
                  <a:pt x="60" y="89"/>
                  <a:pt x="60" y="89"/>
                  <a:pt x="60" y="88"/>
                </a:cubicBezTo>
                <a:cubicBezTo>
                  <a:pt x="60" y="88"/>
                  <a:pt x="60" y="88"/>
                  <a:pt x="60" y="88"/>
                </a:cubicBezTo>
                <a:cubicBezTo>
                  <a:pt x="61" y="87"/>
                  <a:pt x="61" y="87"/>
                  <a:pt x="61" y="86"/>
                </a:cubicBezTo>
                <a:cubicBezTo>
                  <a:pt x="61" y="86"/>
                  <a:pt x="61" y="85"/>
                  <a:pt x="61" y="85"/>
                </a:cubicBezTo>
                <a:cubicBezTo>
                  <a:pt x="61" y="84"/>
                  <a:pt x="61" y="82"/>
                  <a:pt x="61" y="81"/>
                </a:cubicBezTo>
                <a:cubicBezTo>
                  <a:pt x="62" y="81"/>
                  <a:pt x="62" y="80"/>
                  <a:pt x="63" y="80"/>
                </a:cubicBezTo>
                <a:cubicBezTo>
                  <a:pt x="63" y="80"/>
                  <a:pt x="63" y="80"/>
                  <a:pt x="63" y="80"/>
                </a:cubicBezTo>
                <a:cubicBezTo>
                  <a:pt x="63" y="80"/>
                  <a:pt x="64" y="79"/>
                  <a:pt x="64" y="79"/>
                </a:cubicBezTo>
                <a:cubicBezTo>
                  <a:pt x="67" y="76"/>
                  <a:pt x="67" y="76"/>
                  <a:pt x="67" y="76"/>
                </a:cubicBezTo>
                <a:cubicBezTo>
                  <a:pt x="68" y="75"/>
                  <a:pt x="68" y="74"/>
                  <a:pt x="69" y="74"/>
                </a:cubicBezTo>
                <a:cubicBezTo>
                  <a:pt x="69" y="74"/>
                  <a:pt x="69" y="74"/>
                  <a:pt x="69" y="74"/>
                </a:cubicBezTo>
                <a:cubicBezTo>
                  <a:pt x="70" y="74"/>
                  <a:pt x="70" y="73"/>
                  <a:pt x="70" y="73"/>
                </a:cubicBezTo>
                <a:cubicBezTo>
                  <a:pt x="70" y="73"/>
                  <a:pt x="70" y="73"/>
                  <a:pt x="70" y="73"/>
                </a:cubicBezTo>
                <a:cubicBezTo>
                  <a:pt x="70" y="73"/>
                  <a:pt x="70" y="73"/>
                  <a:pt x="71" y="72"/>
                </a:cubicBezTo>
                <a:cubicBezTo>
                  <a:pt x="71" y="72"/>
                  <a:pt x="71" y="72"/>
                  <a:pt x="71" y="72"/>
                </a:cubicBezTo>
                <a:cubicBezTo>
                  <a:pt x="71" y="72"/>
                  <a:pt x="71" y="72"/>
                  <a:pt x="72" y="71"/>
                </a:cubicBezTo>
                <a:cubicBezTo>
                  <a:pt x="73" y="70"/>
                  <a:pt x="74" y="69"/>
                  <a:pt x="75" y="68"/>
                </a:cubicBezTo>
                <a:cubicBezTo>
                  <a:pt x="77" y="68"/>
                  <a:pt x="78" y="69"/>
                  <a:pt x="78" y="69"/>
                </a:cubicBezTo>
                <a:cubicBezTo>
                  <a:pt x="78" y="69"/>
                  <a:pt x="78" y="69"/>
                  <a:pt x="78" y="69"/>
                </a:cubicBezTo>
                <a:cubicBezTo>
                  <a:pt x="78" y="69"/>
                  <a:pt x="79" y="69"/>
                  <a:pt x="79" y="69"/>
                </a:cubicBezTo>
                <a:cubicBezTo>
                  <a:pt x="79" y="69"/>
                  <a:pt x="79" y="69"/>
                  <a:pt x="79" y="69"/>
                </a:cubicBezTo>
                <a:cubicBezTo>
                  <a:pt x="79" y="66"/>
                  <a:pt x="79" y="66"/>
                  <a:pt x="79" y="66"/>
                </a:cubicBezTo>
                <a:cubicBezTo>
                  <a:pt x="81" y="67"/>
                  <a:pt x="81" y="67"/>
                  <a:pt x="81" y="67"/>
                </a:cubicBezTo>
                <a:cubicBezTo>
                  <a:pt x="82" y="68"/>
                  <a:pt x="84" y="70"/>
                  <a:pt x="84" y="71"/>
                </a:cubicBezTo>
                <a:cubicBezTo>
                  <a:pt x="87" y="74"/>
                  <a:pt x="87" y="74"/>
                  <a:pt x="87" y="74"/>
                </a:cubicBezTo>
                <a:cubicBezTo>
                  <a:pt x="87" y="74"/>
                  <a:pt x="87" y="74"/>
                  <a:pt x="87" y="74"/>
                </a:cubicBezTo>
                <a:cubicBezTo>
                  <a:pt x="87" y="74"/>
                  <a:pt x="87" y="74"/>
                  <a:pt x="87" y="74"/>
                </a:cubicBezTo>
                <a:cubicBezTo>
                  <a:pt x="88" y="74"/>
                  <a:pt x="88" y="74"/>
                  <a:pt x="88" y="74"/>
                </a:cubicBezTo>
                <a:cubicBezTo>
                  <a:pt x="88" y="74"/>
                  <a:pt x="89" y="72"/>
                  <a:pt x="89" y="72"/>
                </a:cubicBezTo>
                <a:cubicBezTo>
                  <a:pt x="90" y="70"/>
                  <a:pt x="91" y="69"/>
                  <a:pt x="91" y="68"/>
                </a:cubicBezTo>
                <a:cubicBezTo>
                  <a:pt x="91" y="68"/>
                  <a:pt x="91" y="67"/>
                  <a:pt x="91" y="66"/>
                </a:cubicBezTo>
                <a:cubicBezTo>
                  <a:pt x="92" y="65"/>
                  <a:pt x="92" y="65"/>
                  <a:pt x="92" y="65"/>
                </a:cubicBezTo>
                <a:cubicBezTo>
                  <a:pt x="92" y="65"/>
                  <a:pt x="93" y="64"/>
                  <a:pt x="93" y="63"/>
                </a:cubicBezTo>
                <a:cubicBezTo>
                  <a:pt x="95" y="58"/>
                  <a:pt x="95" y="58"/>
                  <a:pt x="95" y="58"/>
                </a:cubicBezTo>
                <a:cubicBezTo>
                  <a:pt x="96" y="58"/>
                  <a:pt x="96" y="57"/>
                  <a:pt x="96" y="57"/>
                </a:cubicBezTo>
                <a:cubicBezTo>
                  <a:pt x="96" y="57"/>
                  <a:pt x="96" y="56"/>
                  <a:pt x="96" y="55"/>
                </a:cubicBezTo>
                <a:cubicBezTo>
                  <a:pt x="96" y="55"/>
                  <a:pt x="96" y="55"/>
                  <a:pt x="96" y="55"/>
                </a:cubicBezTo>
                <a:cubicBezTo>
                  <a:pt x="96" y="55"/>
                  <a:pt x="96" y="55"/>
                  <a:pt x="96" y="55"/>
                </a:cubicBezTo>
                <a:cubicBezTo>
                  <a:pt x="97" y="54"/>
                  <a:pt x="98" y="53"/>
                  <a:pt x="99" y="52"/>
                </a:cubicBezTo>
                <a:cubicBezTo>
                  <a:pt x="100" y="52"/>
                  <a:pt x="101" y="52"/>
                  <a:pt x="101" y="51"/>
                </a:cubicBezTo>
                <a:cubicBezTo>
                  <a:pt x="101" y="51"/>
                  <a:pt x="101" y="51"/>
                  <a:pt x="101" y="50"/>
                </a:cubicBezTo>
                <a:cubicBezTo>
                  <a:pt x="102" y="50"/>
                  <a:pt x="102" y="49"/>
                  <a:pt x="102" y="48"/>
                </a:cubicBezTo>
                <a:cubicBezTo>
                  <a:pt x="102" y="47"/>
                  <a:pt x="102" y="47"/>
                  <a:pt x="103" y="46"/>
                </a:cubicBezTo>
                <a:cubicBezTo>
                  <a:pt x="103" y="45"/>
                  <a:pt x="103" y="44"/>
                  <a:pt x="104" y="44"/>
                </a:cubicBezTo>
                <a:cubicBezTo>
                  <a:pt x="104" y="43"/>
                  <a:pt x="104" y="43"/>
                  <a:pt x="105" y="43"/>
                </a:cubicBezTo>
                <a:cubicBezTo>
                  <a:pt x="105" y="43"/>
                  <a:pt x="105" y="43"/>
                  <a:pt x="105" y="43"/>
                </a:cubicBezTo>
                <a:cubicBezTo>
                  <a:pt x="105" y="43"/>
                  <a:pt x="106" y="43"/>
                  <a:pt x="106" y="43"/>
                </a:cubicBezTo>
                <a:cubicBezTo>
                  <a:pt x="106" y="42"/>
                  <a:pt x="106" y="42"/>
                  <a:pt x="106" y="41"/>
                </a:cubicBezTo>
                <a:cubicBezTo>
                  <a:pt x="106" y="41"/>
                  <a:pt x="106" y="41"/>
                  <a:pt x="106" y="41"/>
                </a:cubicBezTo>
                <a:cubicBezTo>
                  <a:pt x="106" y="41"/>
                  <a:pt x="106" y="40"/>
                  <a:pt x="106" y="40"/>
                </a:cubicBezTo>
                <a:cubicBezTo>
                  <a:pt x="106" y="40"/>
                  <a:pt x="106" y="40"/>
                  <a:pt x="106" y="40"/>
                </a:cubicBezTo>
                <a:cubicBezTo>
                  <a:pt x="106" y="40"/>
                  <a:pt x="106" y="40"/>
                  <a:pt x="106" y="40"/>
                </a:cubicBezTo>
                <a:cubicBezTo>
                  <a:pt x="106" y="39"/>
                  <a:pt x="107" y="38"/>
                  <a:pt x="107" y="37"/>
                </a:cubicBezTo>
                <a:cubicBezTo>
                  <a:pt x="108" y="37"/>
                  <a:pt x="108" y="37"/>
                  <a:pt x="108" y="37"/>
                </a:cubicBezTo>
                <a:cubicBezTo>
                  <a:pt x="108" y="36"/>
                  <a:pt x="108" y="35"/>
                  <a:pt x="108" y="35"/>
                </a:cubicBezTo>
                <a:cubicBezTo>
                  <a:pt x="109" y="34"/>
                  <a:pt x="109" y="34"/>
                  <a:pt x="109" y="34"/>
                </a:cubicBezTo>
                <a:cubicBezTo>
                  <a:pt x="109" y="34"/>
                  <a:pt x="109" y="33"/>
                  <a:pt x="109" y="33"/>
                </a:cubicBezTo>
                <a:cubicBezTo>
                  <a:pt x="109" y="32"/>
                  <a:pt x="109" y="32"/>
                  <a:pt x="109" y="32"/>
                </a:cubicBezTo>
                <a:cubicBezTo>
                  <a:pt x="109" y="31"/>
                  <a:pt x="110" y="30"/>
                  <a:pt x="110" y="30"/>
                </a:cubicBezTo>
                <a:cubicBezTo>
                  <a:pt x="111" y="30"/>
                  <a:pt x="111" y="29"/>
                  <a:pt x="111" y="29"/>
                </a:cubicBezTo>
                <a:cubicBezTo>
                  <a:pt x="109" y="28"/>
                  <a:pt x="109" y="28"/>
                  <a:pt x="109" y="28"/>
                </a:cubicBezTo>
                <a:cubicBezTo>
                  <a:pt x="111" y="29"/>
                  <a:pt x="111" y="29"/>
                  <a:pt x="111" y="29"/>
                </a:cubicBezTo>
                <a:cubicBezTo>
                  <a:pt x="111" y="29"/>
                  <a:pt x="111" y="29"/>
                  <a:pt x="111" y="29"/>
                </a:cubicBezTo>
                <a:cubicBezTo>
                  <a:pt x="112" y="28"/>
                  <a:pt x="112" y="28"/>
                  <a:pt x="112" y="28"/>
                </a:cubicBezTo>
                <a:cubicBezTo>
                  <a:pt x="112" y="28"/>
                  <a:pt x="112" y="28"/>
                  <a:pt x="112" y="28"/>
                </a:cubicBezTo>
                <a:cubicBezTo>
                  <a:pt x="112" y="28"/>
                  <a:pt x="112" y="27"/>
                  <a:pt x="112" y="27"/>
                </a:cubicBezTo>
                <a:cubicBezTo>
                  <a:pt x="113" y="26"/>
                  <a:pt x="113" y="26"/>
                  <a:pt x="113" y="25"/>
                </a:cubicBezTo>
                <a:cubicBezTo>
                  <a:pt x="113" y="25"/>
                  <a:pt x="114" y="25"/>
                  <a:pt x="114" y="25"/>
                </a:cubicBezTo>
                <a:cubicBezTo>
                  <a:pt x="114" y="25"/>
                  <a:pt x="114" y="25"/>
                  <a:pt x="114" y="25"/>
                </a:cubicBezTo>
                <a:cubicBezTo>
                  <a:pt x="115" y="25"/>
                  <a:pt x="115" y="25"/>
                  <a:pt x="115" y="24"/>
                </a:cubicBezTo>
                <a:cubicBezTo>
                  <a:pt x="116" y="24"/>
                  <a:pt x="116" y="25"/>
                  <a:pt x="116" y="25"/>
                </a:cubicBezTo>
                <a:cubicBezTo>
                  <a:pt x="117" y="25"/>
                  <a:pt x="117" y="25"/>
                  <a:pt x="117" y="25"/>
                </a:cubicBezTo>
                <a:cubicBezTo>
                  <a:pt x="117" y="24"/>
                  <a:pt x="117" y="24"/>
                  <a:pt x="117" y="24"/>
                </a:cubicBezTo>
                <a:cubicBezTo>
                  <a:pt x="118" y="24"/>
                  <a:pt x="118" y="24"/>
                  <a:pt x="119" y="23"/>
                </a:cubicBezTo>
                <a:cubicBezTo>
                  <a:pt x="119" y="23"/>
                  <a:pt x="119" y="23"/>
                  <a:pt x="119" y="23"/>
                </a:cubicBezTo>
                <a:cubicBezTo>
                  <a:pt x="119" y="23"/>
                  <a:pt x="120" y="23"/>
                  <a:pt x="120" y="22"/>
                </a:cubicBezTo>
                <a:cubicBezTo>
                  <a:pt x="120" y="22"/>
                  <a:pt x="120" y="22"/>
                  <a:pt x="120" y="22"/>
                </a:cubicBezTo>
                <a:cubicBezTo>
                  <a:pt x="120" y="21"/>
                  <a:pt x="120" y="20"/>
                  <a:pt x="120" y="20"/>
                </a:cubicBezTo>
                <a:cubicBezTo>
                  <a:pt x="120" y="19"/>
                  <a:pt x="120" y="19"/>
                  <a:pt x="120" y="19"/>
                </a:cubicBezTo>
                <a:cubicBezTo>
                  <a:pt x="120" y="19"/>
                  <a:pt x="120" y="19"/>
                  <a:pt x="120" y="18"/>
                </a:cubicBezTo>
                <a:cubicBezTo>
                  <a:pt x="120" y="18"/>
                  <a:pt x="120" y="18"/>
                  <a:pt x="120" y="17"/>
                </a:cubicBezTo>
                <a:cubicBezTo>
                  <a:pt x="120" y="17"/>
                  <a:pt x="120" y="17"/>
                  <a:pt x="120" y="17"/>
                </a:cubicBezTo>
                <a:cubicBezTo>
                  <a:pt x="120" y="17"/>
                  <a:pt x="119" y="16"/>
                  <a:pt x="119" y="16"/>
                </a:cubicBezTo>
                <a:cubicBezTo>
                  <a:pt x="119" y="16"/>
                  <a:pt x="119" y="16"/>
                  <a:pt x="119" y="16"/>
                </a:cubicBezTo>
                <a:cubicBezTo>
                  <a:pt x="118" y="16"/>
                  <a:pt x="118" y="16"/>
                  <a:pt x="118" y="16"/>
                </a:cubicBezTo>
                <a:cubicBezTo>
                  <a:pt x="117" y="15"/>
                  <a:pt x="116" y="15"/>
                  <a:pt x="115" y="13"/>
                </a:cubicBezTo>
                <a:cubicBezTo>
                  <a:pt x="115" y="13"/>
                  <a:pt x="115" y="13"/>
                  <a:pt x="115" y="13"/>
                </a:cubicBezTo>
                <a:cubicBezTo>
                  <a:pt x="114" y="7"/>
                  <a:pt x="114" y="7"/>
                  <a:pt x="114" y="7"/>
                </a:cubicBezTo>
                <a:cubicBezTo>
                  <a:pt x="112" y="4"/>
                  <a:pt x="112" y="4"/>
                  <a:pt x="112" y="4"/>
                </a:cubicBezTo>
                <a:cubicBezTo>
                  <a:pt x="112" y="4"/>
                  <a:pt x="112" y="4"/>
                  <a:pt x="112" y="3"/>
                </a:cubicBezTo>
                <a:cubicBezTo>
                  <a:pt x="111" y="3"/>
                  <a:pt x="111" y="3"/>
                  <a:pt x="111" y="2"/>
                </a:cubicBezTo>
                <a:cubicBezTo>
                  <a:pt x="111" y="2"/>
                  <a:pt x="111" y="2"/>
                  <a:pt x="111" y="2"/>
                </a:cubicBezTo>
                <a:cubicBezTo>
                  <a:pt x="110" y="2"/>
                  <a:pt x="110" y="2"/>
                  <a:pt x="110" y="2"/>
                </a:cubicBezTo>
                <a:cubicBezTo>
                  <a:pt x="110" y="2"/>
                  <a:pt x="110" y="2"/>
                  <a:pt x="110" y="2"/>
                </a:cubicBezTo>
                <a:cubicBezTo>
                  <a:pt x="110" y="2"/>
                  <a:pt x="110" y="2"/>
                  <a:pt x="110" y="2"/>
                </a:cubicBezTo>
                <a:cubicBezTo>
                  <a:pt x="110" y="2"/>
                  <a:pt x="109" y="2"/>
                  <a:pt x="109" y="2"/>
                </a:cubicBezTo>
                <a:cubicBezTo>
                  <a:pt x="109" y="2"/>
                  <a:pt x="109" y="2"/>
                  <a:pt x="109" y="2"/>
                </a:cubicBezTo>
                <a:cubicBezTo>
                  <a:pt x="109" y="2"/>
                  <a:pt x="108" y="2"/>
                  <a:pt x="108" y="2"/>
                </a:cubicBezTo>
                <a:cubicBezTo>
                  <a:pt x="108" y="2"/>
                  <a:pt x="107" y="2"/>
                  <a:pt x="107" y="2"/>
                </a:cubicBezTo>
                <a:cubicBezTo>
                  <a:pt x="106" y="3"/>
                  <a:pt x="106" y="3"/>
                  <a:pt x="106" y="3"/>
                </a:cubicBezTo>
                <a:cubicBezTo>
                  <a:pt x="106" y="3"/>
                  <a:pt x="106" y="3"/>
                  <a:pt x="106" y="3"/>
                </a:cubicBezTo>
                <a:cubicBezTo>
                  <a:pt x="105" y="3"/>
                  <a:pt x="105" y="3"/>
                  <a:pt x="105" y="3"/>
                </a:cubicBezTo>
                <a:cubicBezTo>
                  <a:pt x="105" y="3"/>
                  <a:pt x="105" y="3"/>
                  <a:pt x="105" y="3"/>
                </a:cubicBezTo>
                <a:cubicBezTo>
                  <a:pt x="105" y="4"/>
                  <a:pt x="104" y="4"/>
                  <a:pt x="104" y="4"/>
                </a:cubicBezTo>
                <a:cubicBezTo>
                  <a:pt x="104" y="4"/>
                  <a:pt x="103" y="4"/>
                  <a:pt x="103" y="4"/>
                </a:cubicBezTo>
                <a:cubicBezTo>
                  <a:pt x="99" y="8"/>
                  <a:pt x="99" y="8"/>
                  <a:pt x="99" y="8"/>
                </a:cubicBezTo>
                <a:cubicBezTo>
                  <a:pt x="99" y="8"/>
                  <a:pt x="99" y="8"/>
                  <a:pt x="99" y="8"/>
                </a:cubicBezTo>
                <a:cubicBezTo>
                  <a:pt x="99" y="8"/>
                  <a:pt x="99" y="8"/>
                  <a:pt x="99" y="8"/>
                </a:cubicBezTo>
                <a:cubicBezTo>
                  <a:pt x="98" y="8"/>
                  <a:pt x="98" y="8"/>
                  <a:pt x="98" y="8"/>
                </a:cubicBezTo>
                <a:cubicBezTo>
                  <a:pt x="90" y="6"/>
                  <a:pt x="90" y="6"/>
                  <a:pt x="90" y="6"/>
                </a:cubicBezTo>
                <a:cubicBezTo>
                  <a:pt x="90" y="6"/>
                  <a:pt x="89" y="5"/>
                  <a:pt x="89" y="5"/>
                </a:cubicBezTo>
                <a:cubicBezTo>
                  <a:pt x="88" y="5"/>
                  <a:pt x="88" y="5"/>
                  <a:pt x="88" y="5"/>
                </a:cubicBezTo>
                <a:cubicBezTo>
                  <a:pt x="88" y="5"/>
                  <a:pt x="87" y="5"/>
                  <a:pt x="86" y="5"/>
                </a:cubicBezTo>
                <a:cubicBezTo>
                  <a:pt x="85" y="5"/>
                  <a:pt x="85" y="5"/>
                  <a:pt x="85" y="5"/>
                </a:cubicBezTo>
                <a:cubicBezTo>
                  <a:pt x="85" y="5"/>
                  <a:pt x="84" y="5"/>
                  <a:pt x="83" y="5"/>
                </a:cubicBezTo>
                <a:cubicBezTo>
                  <a:pt x="82" y="5"/>
                  <a:pt x="82" y="5"/>
                  <a:pt x="82" y="5"/>
                </a:cubicBezTo>
                <a:cubicBezTo>
                  <a:pt x="82" y="5"/>
                  <a:pt x="81" y="5"/>
                  <a:pt x="81" y="5"/>
                </a:cubicBezTo>
                <a:cubicBezTo>
                  <a:pt x="80" y="5"/>
                  <a:pt x="79" y="5"/>
                  <a:pt x="78" y="6"/>
                </a:cubicBezTo>
                <a:cubicBezTo>
                  <a:pt x="77" y="6"/>
                  <a:pt x="75" y="6"/>
                  <a:pt x="75" y="7"/>
                </a:cubicBezTo>
                <a:cubicBezTo>
                  <a:pt x="74" y="7"/>
                  <a:pt x="74" y="8"/>
                  <a:pt x="73" y="9"/>
                </a:cubicBezTo>
                <a:cubicBezTo>
                  <a:pt x="72" y="10"/>
                  <a:pt x="72" y="10"/>
                  <a:pt x="72" y="10"/>
                </a:cubicBezTo>
                <a:cubicBezTo>
                  <a:pt x="72" y="10"/>
                  <a:pt x="71" y="11"/>
                  <a:pt x="71" y="11"/>
                </a:cubicBezTo>
                <a:cubicBezTo>
                  <a:pt x="71" y="11"/>
                  <a:pt x="71" y="11"/>
                  <a:pt x="71" y="11"/>
                </a:cubicBezTo>
                <a:cubicBezTo>
                  <a:pt x="71" y="11"/>
                  <a:pt x="70" y="11"/>
                  <a:pt x="70" y="11"/>
                </a:cubicBezTo>
                <a:cubicBezTo>
                  <a:pt x="70" y="11"/>
                  <a:pt x="70" y="11"/>
                  <a:pt x="69" y="11"/>
                </a:cubicBezTo>
                <a:cubicBezTo>
                  <a:pt x="69" y="11"/>
                  <a:pt x="69" y="11"/>
                  <a:pt x="68" y="11"/>
                </a:cubicBezTo>
                <a:cubicBezTo>
                  <a:pt x="68" y="11"/>
                  <a:pt x="68" y="11"/>
                  <a:pt x="68" y="11"/>
                </a:cubicBezTo>
                <a:cubicBezTo>
                  <a:pt x="67" y="11"/>
                  <a:pt x="67" y="11"/>
                  <a:pt x="67" y="11"/>
                </a:cubicBezTo>
                <a:cubicBezTo>
                  <a:pt x="67" y="11"/>
                  <a:pt x="67" y="11"/>
                  <a:pt x="67" y="11"/>
                </a:cubicBezTo>
                <a:cubicBezTo>
                  <a:pt x="67" y="11"/>
                  <a:pt x="67" y="11"/>
                  <a:pt x="67" y="11"/>
                </a:cubicBezTo>
                <a:cubicBezTo>
                  <a:pt x="64" y="11"/>
                  <a:pt x="62" y="10"/>
                  <a:pt x="60" y="9"/>
                </a:cubicBezTo>
                <a:cubicBezTo>
                  <a:pt x="58" y="8"/>
                  <a:pt x="58" y="8"/>
                  <a:pt x="58" y="8"/>
                </a:cubicBezTo>
                <a:cubicBezTo>
                  <a:pt x="58" y="8"/>
                  <a:pt x="57" y="8"/>
                  <a:pt x="57" y="7"/>
                </a:cubicBezTo>
                <a:cubicBezTo>
                  <a:pt x="57" y="7"/>
                  <a:pt x="57" y="7"/>
                  <a:pt x="57" y="7"/>
                </a:cubicBezTo>
                <a:cubicBezTo>
                  <a:pt x="56" y="7"/>
                  <a:pt x="55" y="6"/>
                  <a:pt x="54" y="6"/>
                </a:cubicBezTo>
                <a:cubicBezTo>
                  <a:pt x="54" y="6"/>
                  <a:pt x="54" y="6"/>
                  <a:pt x="54" y="6"/>
                </a:cubicBezTo>
                <a:cubicBezTo>
                  <a:pt x="53" y="7"/>
                  <a:pt x="53" y="7"/>
                  <a:pt x="53" y="7"/>
                </a:cubicBezTo>
                <a:cubicBezTo>
                  <a:pt x="54" y="6"/>
                  <a:pt x="54" y="6"/>
                  <a:pt x="54" y="6"/>
                </a:cubicBezTo>
                <a:cubicBezTo>
                  <a:pt x="53" y="6"/>
                  <a:pt x="53" y="6"/>
                  <a:pt x="53" y="6"/>
                </a:cubicBezTo>
                <a:cubicBezTo>
                  <a:pt x="53" y="6"/>
                  <a:pt x="52" y="6"/>
                  <a:pt x="52" y="6"/>
                </a:cubicBezTo>
                <a:cubicBezTo>
                  <a:pt x="51" y="6"/>
                  <a:pt x="50" y="7"/>
                  <a:pt x="48" y="7"/>
                </a:cubicBezTo>
                <a:cubicBezTo>
                  <a:pt x="48" y="7"/>
                  <a:pt x="47" y="8"/>
                  <a:pt x="47" y="8"/>
                </a:cubicBezTo>
                <a:cubicBezTo>
                  <a:pt x="47" y="8"/>
                  <a:pt x="47" y="8"/>
                  <a:pt x="46" y="8"/>
                </a:cubicBezTo>
                <a:cubicBezTo>
                  <a:pt x="46" y="8"/>
                  <a:pt x="46" y="8"/>
                  <a:pt x="46" y="8"/>
                </a:cubicBezTo>
                <a:cubicBezTo>
                  <a:pt x="45" y="9"/>
                  <a:pt x="45" y="9"/>
                  <a:pt x="45" y="9"/>
                </a:cubicBezTo>
                <a:cubicBezTo>
                  <a:pt x="44" y="9"/>
                  <a:pt x="43" y="9"/>
                  <a:pt x="42" y="8"/>
                </a:cubicBezTo>
                <a:cubicBezTo>
                  <a:pt x="38" y="4"/>
                  <a:pt x="38" y="4"/>
                  <a:pt x="38" y="4"/>
                </a:cubicBezTo>
                <a:cubicBezTo>
                  <a:pt x="38" y="4"/>
                  <a:pt x="37" y="3"/>
                  <a:pt x="37" y="3"/>
                </a:cubicBezTo>
                <a:cubicBezTo>
                  <a:pt x="36" y="2"/>
                  <a:pt x="36" y="2"/>
                  <a:pt x="36" y="2"/>
                </a:cubicBezTo>
                <a:cubicBezTo>
                  <a:pt x="35" y="2"/>
                  <a:pt x="34" y="2"/>
                  <a:pt x="33" y="1"/>
                </a:cubicBezTo>
                <a:cubicBezTo>
                  <a:pt x="33" y="1"/>
                  <a:pt x="32" y="1"/>
                  <a:pt x="32" y="1"/>
                </a:cubicBezTo>
                <a:cubicBezTo>
                  <a:pt x="31" y="1"/>
                  <a:pt x="31" y="1"/>
                  <a:pt x="30" y="1"/>
                </a:cubicBezTo>
                <a:cubicBezTo>
                  <a:pt x="30" y="1"/>
                  <a:pt x="30" y="1"/>
                  <a:pt x="30" y="1"/>
                </a:cubicBezTo>
                <a:cubicBezTo>
                  <a:pt x="30" y="0"/>
                  <a:pt x="29" y="0"/>
                  <a:pt x="29" y="0"/>
                </a:cubicBezTo>
                <a:cubicBezTo>
                  <a:pt x="28" y="0"/>
                  <a:pt x="28" y="0"/>
                  <a:pt x="28" y="0"/>
                </a:cubicBezTo>
                <a:cubicBezTo>
                  <a:pt x="28" y="0"/>
                  <a:pt x="28" y="0"/>
                  <a:pt x="28" y="0"/>
                </a:cubicBezTo>
                <a:cubicBezTo>
                  <a:pt x="26" y="0"/>
                  <a:pt x="24" y="1"/>
                  <a:pt x="22" y="1"/>
                </a:cubicBezTo>
                <a:cubicBezTo>
                  <a:pt x="21" y="1"/>
                  <a:pt x="20" y="1"/>
                  <a:pt x="19" y="2"/>
                </a:cubicBezTo>
                <a:cubicBezTo>
                  <a:pt x="18" y="2"/>
                  <a:pt x="16" y="3"/>
                  <a:pt x="15" y="4"/>
                </a:cubicBezTo>
                <a:cubicBezTo>
                  <a:pt x="15" y="4"/>
                  <a:pt x="15" y="4"/>
                  <a:pt x="15" y="5"/>
                </a:cubicBezTo>
                <a:cubicBezTo>
                  <a:pt x="15" y="5"/>
                  <a:pt x="15" y="5"/>
                  <a:pt x="15" y="5"/>
                </a:cubicBezTo>
                <a:cubicBezTo>
                  <a:pt x="15" y="5"/>
                  <a:pt x="15" y="5"/>
                  <a:pt x="15" y="5"/>
                </a:cubicBezTo>
                <a:cubicBezTo>
                  <a:pt x="15" y="6"/>
                  <a:pt x="15" y="6"/>
                  <a:pt x="15" y="6"/>
                </a:cubicBezTo>
                <a:cubicBezTo>
                  <a:pt x="15" y="6"/>
                  <a:pt x="15" y="6"/>
                  <a:pt x="15" y="6"/>
                </a:cubicBezTo>
                <a:cubicBezTo>
                  <a:pt x="15" y="7"/>
                  <a:pt x="15" y="7"/>
                  <a:pt x="15" y="7"/>
                </a:cubicBezTo>
                <a:cubicBezTo>
                  <a:pt x="13" y="11"/>
                  <a:pt x="13" y="11"/>
                  <a:pt x="13" y="11"/>
                </a:cubicBezTo>
                <a:cubicBezTo>
                  <a:pt x="12" y="11"/>
                  <a:pt x="12" y="11"/>
                  <a:pt x="12" y="12"/>
                </a:cubicBezTo>
                <a:cubicBezTo>
                  <a:pt x="12" y="12"/>
                  <a:pt x="12" y="12"/>
                  <a:pt x="12" y="12"/>
                </a:cubicBezTo>
                <a:cubicBezTo>
                  <a:pt x="12" y="12"/>
                  <a:pt x="12" y="12"/>
                  <a:pt x="12" y="12"/>
                </a:cubicBezTo>
                <a:cubicBezTo>
                  <a:pt x="11" y="13"/>
                  <a:pt x="11" y="13"/>
                  <a:pt x="11" y="13"/>
                </a:cubicBezTo>
                <a:cubicBezTo>
                  <a:pt x="11" y="13"/>
                  <a:pt x="11" y="13"/>
                  <a:pt x="11" y="13"/>
                </a:cubicBezTo>
                <a:cubicBezTo>
                  <a:pt x="11" y="13"/>
                  <a:pt x="11" y="13"/>
                  <a:pt x="11" y="13"/>
                </a:cubicBezTo>
                <a:cubicBezTo>
                  <a:pt x="11" y="13"/>
                  <a:pt x="11" y="14"/>
                  <a:pt x="11" y="14"/>
                </a:cubicBezTo>
                <a:cubicBezTo>
                  <a:pt x="10" y="15"/>
                  <a:pt x="10" y="15"/>
                  <a:pt x="10" y="15"/>
                </a:cubicBezTo>
                <a:cubicBezTo>
                  <a:pt x="10" y="16"/>
                  <a:pt x="10" y="18"/>
                  <a:pt x="10" y="19"/>
                </a:cubicBezTo>
                <a:cubicBezTo>
                  <a:pt x="10" y="20"/>
                  <a:pt x="10" y="21"/>
                  <a:pt x="10" y="21"/>
                </a:cubicBezTo>
                <a:cubicBezTo>
                  <a:pt x="10" y="21"/>
                  <a:pt x="10" y="22"/>
                  <a:pt x="10" y="22"/>
                </a:cubicBezTo>
                <a:cubicBezTo>
                  <a:pt x="10" y="22"/>
                  <a:pt x="10" y="22"/>
                  <a:pt x="10" y="22"/>
                </a:cubicBezTo>
                <a:cubicBezTo>
                  <a:pt x="10" y="22"/>
                  <a:pt x="10" y="22"/>
                  <a:pt x="10" y="23"/>
                </a:cubicBezTo>
                <a:cubicBezTo>
                  <a:pt x="9" y="23"/>
                  <a:pt x="9" y="23"/>
                  <a:pt x="9" y="23"/>
                </a:cubicBezTo>
                <a:cubicBezTo>
                  <a:pt x="11" y="24"/>
                  <a:pt x="11" y="24"/>
                  <a:pt x="11" y="24"/>
                </a:cubicBezTo>
                <a:cubicBezTo>
                  <a:pt x="9" y="24"/>
                  <a:pt x="9" y="24"/>
                  <a:pt x="9" y="24"/>
                </a:cubicBezTo>
                <a:cubicBezTo>
                  <a:pt x="9" y="24"/>
                  <a:pt x="9" y="24"/>
                  <a:pt x="9" y="24"/>
                </a:cubicBezTo>
                <a:cubicBezTo>
                  <a:pt x="9" y="24"/>
                  <a:pt x="9" y="25"/>
                  <a:pt x="10" y="26"/>
                </a:cubicBezTo>
                <a:cubicBezTo>
                  <a:pt x="10" y="26"/>
                  <a:pt x="10" y="26"/>
                  <a:pt x="10" y="26"/>
                </a:cubicBezTo>
                <a:cubicBezTo>
                  <a:pt x="11" y="27"/>
                  <a:pt x="11" y="27"/>
                  <a:pt x="12" y="28"/>
                </a:cubicBezTo>
                <a:cubicBezTo>
                  <a:pt x="12" y="28"/>
                  <a:pt x="12" y="29"/>
                  <a:pt x="12" y="29"/>
                </a:cubicBezTo>
                <a:cubicBezTo>
                  <a:pt x="12" y="30"/>
                  <a:pt x="12" y="30"/>
                  <a:pt x="12" y="30"/>
                </a:cubicBezTo>
                <a:cubicBezTo>
                  <a:pt x="12" y="31"/>
                  <a:pt x="12" y="31"/>
                  <a:pt x="12" y="32"/>
                </a:cubicBezTo>
                <a:cubicBezTo>
                  <a:pt x="12" y="32"/>
                  <a:pt x="12" y="32"/>
                  <a:pt x="12" y="32"/>
                </a:cubicBezTo>
                <a:cubicBezTo>
                  <a:pt x="12" y="33"/>
                  <a:pt x="12" y="34"/>
                  <a:pt x="11" y="34"/>
                </a:cubicBezTo>
                <a:cubicBezTo>
                  <a:pt x="11" y="35"/>
                  <a:pt x="11" y="35"/>
                  <a:pt x="11" y="35"/>
                </a:cubicBezTo>
                <a:cubicBezTo>
                  <a:pt x="10" y="35"/>
                  <a:pt x="10" y="35"/>
                  <a:pt x="10" y="35"/>
                </a:cubicBezTo>
                <a:cubicBezTo>
                  <a:pt x="10" y="36"/>
                  <a:pt x="10" y="36"/>
                  <a:pt x="10" y="36"/>
                </a:cubicBezTo>
                <a:cubicBezTo>
                  <a:pt x="10" y="36"/>
                  <a:pt x="10" y="36"/>
                  <a:pt x="10" y="36"/>
                </a:cubicBezTo>
                <a:cubicBezTo>
                  <a:pt x="10" y="36"/>
                  <a:pt x="10" y="37"/>
                  <a:pt x="10" y="37"/>
                </a:cubicBezTo>
                <a:cubicBezTo>
                  <a:pt x="10" y="38"/>
                  <a:pt x="10" y="39"/>
                  <a:pt x="9" y="40"/>
                </a:cubicBezTo>
                <a:cubicBezTo>
                  <a:pt x="7" y="43"/>
                  <a:pt x="7" y="43"/>
                  <a:pt x="7" y="43"/>
                </a:cubicBezTo>
                <a:cubicBezTo>
                  <a:pt x="6" y="43"/>
                  <a:pt x="6" y="44"/>
                  <a:pt x="6" y="44"/>
                </a:cubicBezTo>
                <a:cubicBezTo>
                  <a:pt x="6" y="46"/>
                  <a:pt x="5" y="46"/>
                  <a:pt x="5" y="47"/>
                </a:cubicBezTo>
                <a:cubicBezTo>
                  <a:pt x="5" y="48"/>
                  <a:pt x="4" y="49"/>
                  <a:pt x="3" y="50"/>
                </a:cubicBezTo>
                <a:cubicBezTo>
                  <a:pt x="2" y="50"/>
                  <a:pt x="2" y="50"/>
                  <a:pt x="2" y="50"/>
                </a:cubicBezTo>
                <a:cubicBezTo>
                  <a:pt x="1" y="50"/>
                  <a:pt x="1" y="50"/>
                  <a:pt x="1" y="50"/>
                </a:cubicBezTo>
                <a:cubicBezTo>
                  <a:pt x="1" y="50"/>
                  <a:pt x="1" y="50"/>
                  <a:pt x="1" y="50"/>
                </a:cubicBezTo>
                <a:cubicBezTo>
                  <a:pt x="1" y="50"/>
                  <a:pt x="1" y="51"/>
                  <a:pt x="1" y="52"/>
                </a:cubicBezTo>
                <a:cubicBezTo>
                  <a:pt x="1" y="53"/>
                  <a:pt x="1" y="55"/>
                  <a:pt x="1" y="56"/>
                </a:cubicBezTo>
                <a:cubicBezTo>
                  <a:pt x="1" y="57"/>
                  <a:pt x="1" y="57"/>
                  <a:pt x="1" y="58"/>
                </a:cubicBezTo>
                <a:cubicBezTo>
                  <a:pt x="0" y="59"/>
                  <a:pt x="0" y="60"/>
                  <a:pt x="0" y="60"/>
                </a:cubicBezTo>
                <a:cubicBezTo>
                  <a:pt x="1" y="60"/>
                  <a:pt x="1" y="60"/>
                  <a:pt x="1" y="61"/>
                </a:cubicBezTo>
                <a:cubicBezTo>
                  <a:pt x="1" y="61"/>
                  <a:pt x="1" y="61"/>
                  <a:pt x="1" y="61"/>
                </a:cubicBezTo>
                <a:cubicBezTo>
                  <a:pt x="1" y="62"/>
                  <a:pt x="1" y="63"/>
                  <a:pt x="1" y="64"/>
                </a:cubicBezTo>
                <a:cubicBezTo>
                  <a:pt x="1" y="65"/>
                  <a:pt x="1" y="65"/>
                  <a:pt x="1" y="66"/>
                </a:cubicBezTo>
                <a:cubicBezTo>
                  <a:pt x="1" y="67"/>
                  <a:pt x="1" y="68"/>
                  <a:pt x="1" y="70"/>
                </a:cubicBezTo>
                <a:cubicBezTo>
                  <a:pt x="1" y="70"/>
                  <a:pt x="1" y="70"/>
                  <a:pt x="1" y="71"/>
                </a:cubicBezTo>
                <a:cubicBezTo>
                  <a:pt x="1" y="72"/>
                  <a:pt x="2" y="72"/>
                  <a:pt x="1" y="73"/>
                </a:cubicBezTo>
                <a:cubicBezTo>
                  <a:pt x="1" y="74"/>
                  <a:pt x="1" y="75"/>
                  <a:pt x="1" y="76"/>
                </a:cubicBezTo>
                <a:cubicBezTo>
                  <a:pt x="2" y="76"/>
                  <a:pt x="3" y="76"/>
                  <a:pt x="3" y="76"/>
                </a:cubicBezTo>
                <a:cubicBezTo>
                  <a:pt x="3" y="76"/>
                  <a:pt x="3" y="76"/>
                  <a:pt x="3" y="75"/>
                </a:cubicBezTo>
                <a:cubicBezTo>
                  <a:pt x="3" y="74"/>
                  <a:pt x="4" y="73"/>
                  <a:pt x="6" y="73"/>
                </a:cubicBezTo>
                <a:cubicBezTo>
                  <a:pt x="7" y="73"/>
                  <a:pt x="8" y="73"/>
                  <a:pt x="9" y="75"/>
                </a:cubicBezTo>
                <a:cubicBezTo>
                  <a:pt x="10" y="74"/>
                  <a:pt x="11" y="74"/>
                  <a:pt x="11" y="74"/>
                </a:cubicBezTo>
                <a:cubicBezTo>
                  <a:pt x="11" y="74"/>
                  <a:pt x="10" y="74"/>
                  <a:pt x="9" y="75"/>
                </a:cubicBezTo>
                <a:cubicBezTo>
                  <a:pt x="9" y="75"/>
                  <a:pt x="9" y="75"/>
                  <a:pt x="9" y="75"/>
                </a:cubicBezTo>
                <a:cubicBezTo>
                  <a:pt x="9" y="75"/>
                  <a:pt x="9" y="75"/>
                  <a:pt x="9" y="75"/>
                </a:cubicBezTo>
                <a:cubicBezTo>
                  <a:pt x="9" y="75"/>
                  <a:pt x="12" y="76"/>
                  <a:pt x="12" y="76"/>
                </a:cubicBezTo>
                <a:cubicBezTo>
                  <a:pt x="13" y="76"/>
                  <a:pt x="15" y="76"/>
                  <a:pt x="17" y="76"/>
                </a:cubicBezTo>
                <a:cubicBezTo>
                  <a:pt x="18" y="77"/>
                  <a:pt x="19" y="78"/>
                  <a:pt x="20" y="79"/>
                </a:cubicBezTo>
                <a:cubicBezTo>
                  <a:pt x="21" y="80"/>
                  <a:pt x="22" y="80"/>
                  <a:pt x="23" y="81"/>
                </a:cubicBezTo>
                <a:cubicBezTo>
                  <a:pt x="23" y="81"/>
                  <a:pt x="23" y="82"/>
                  <a:pt x="23" y="82"/>
                </a:cubicBezTo>
                <a:cubicBezTo>
                  <a:pt x="24" y="83"/>
                  <a:pt x="25" y="81"/>
                  <a:pt x="26" y="81"/>
                </a:cubicBezTo>
                <a:cubicBezTo>
                  <a:pt x="25" y="81"/>
                  <a:pt x="25" y="82"/>
                  <a:pt x="24" y="82"/>
                </a:cubicBezTo>
                <a:cubicBezTo>
                  <a:pt x="24" y="82"/>
                  <a:pt x="24" y="83"/>
                  <a:pt x="24" y="83"/>
                </a:cubicBezTo>
                <a:cubicBezTo>
                  <a:pt x="25" y="84"/>
                  <a:pt x="26" y="84"/>
                  <a:pt x="26" y="83"/>
                </a:cubicBezTo>
                <a:cubicBezTo>
                  <a:pt x="27" y="83"/>
                  <a:pt x="27" y="84"/>
                  <a:pt x="28" y="84"/>
                </a:cubicBezTo>
                <a:cubicBezTo>
                  <a:pt x="27" y="84"/>
                  <a:pt x="26" y="84"/>
                  <a:pt x="26" y="84"/>
                </a:cubicBezTo>
                <a:cubicBezTo>
                  <a:pt x="25" y="84"/>
                  <a:pt x="25" y="84"/>
                  <a:pt x="25" y="85"/>
                </a:cubicBezTo>
                <a:cubicBezTo>
                  <a:pt x="27" y="86"/>
                  <a:pt x="27" y="86"/>
                  <a:pt x="29" y="85"/>
                </a:cubicBezTo>
                <a:cubicBezTo>
                  <a:pt x="29" y="86"/>
                  <a:pt x="29" y="86"/>
                  <a:pt x="29" y="86"/>
                </a:cubicBezTo>
                <a:cubicBezTo>
                  <a:pt x="27" y="86"/>
                  <a:pt x="28" y="90"/>
                  <a:pt x="28" y="91"/>
                </a:cubicBezTo>
                <a:cubicBezTo>
                  <a:pt x="29" y="93"/>
                  <a:pt x="29" y="94"/>
                  <a:pt x="30" y="95"/>
                </a:cubicBezTo>
                <a:cubicBezTo>
                  <a:pt x="31" y="96"/>
                  <a:pt x="33" y="98"/>
                  <a:pt x="35" y="98"/>
                </a:cubicBezTo>
                <a:cubicBezTo>
                  <a:pt x="35" y="97"/>
                  <a:pt x="36" y="96"/>
                  <a:pt x="36" y="96"/>
                </a:cubicBezTo>
                <a:cubicBezTo>
                  <a:pt x="36" y="97"/>
                  <a:pt x="36" y="97"/>
                  <a:pt x="36" y="97"/>
                </a:cubicBezTo>
                <a:cubicBezTo>
                  <a:pt x="36" y="97"/>
                  <a:pt x="36" y="97"/>
                  <a:pt x="37" y="97"/>
                </a:cubicBezTo>
                <a:cubicBezTo>
                  <a:pt x="39" y="98"/>
                  <a:pt x="38" y="97"/>
                  <a:pt x="39" y="95"/>
                </a:cubicBezTo>
                <a:cubicBezTo>
                  <a:pt x="39" y="96"/>
                  <a:pt x="40" y="97"/>
                  <a:pt x="40" y="97"/>
                </a:cubicBezTo>
                <a:cubicBezTo>
                  <a:pt x="40" y="96"/>
                  <a:pt x="40" y="95"/>
                  <a:pt x="41" y="94"/>
                </a:cubicBezTo>
                <a:cubicBezTo>
                  <a:pt x="41" y="96"/>
                  <a:pt x="40" y="96"/>
                  <a:pt x="42" y="97"/>
                </a:cubicBezTo>
                <a:cubicBezTo>
                  <a:pt x="42" y="96"/>
                  <a:pt x="41" y="96"/>
                  <a:pt x="41" y="95"/>
                </a:cubicBezTo>
                <a:cubicBezTo>
                  <a:pt x="41" y="95"/>
                  <a:pt x="41" y="94"/>
                  <a:pt x="41" y="94"/>
                </a:cubicBezTo>
                <a:cubicBezTo>
                  <a:pt x="41" y="93"/>
                  <a:pt x="41" y="93"/>
                  <a:pt x="41" y="92"/>
                </a:cubicBezTo>
                <a:cubicBezTo>
                  <a:pt x="41" y="92"/>
                  <a:pt x="42" y="94"/>
                  <a:pt x="42" y="94"/>
                </a:cubicBezTo>
                <a:cubicBezTo>
                  <a:pt x="42" y="95"/>
                  <a:pt x="41" y="96"/>
                  <a:pt x="44" y="97"/>
                </a:cubicBezTo>
                <a:cubicBezTo>
                  <a:pt x="43" y="96"/>
                  <a:pt x="43" y="95"/>
                  <a:pt x="42" y="94"/>
                </a:cubicBezTo>
                <a:cubicBezTo>
                  <a:pt x="43" y="94"/>
                  <a:pt x="43" y="94"/>
                  <a:pt x="43" y="94"/>
                </a:cubicBezTo>
                <a:cubicBezTo>
                  <a:pt x="43" y="94"/>
                  <a:pt x="43" y="93"/>
                  <a:pt x="43" y="93"/>
                </a:cubicBezTo>
                <a:cubicBezTo>
                  <a:pt x="44" y="93"/>
                  <a:pt x="43" y="94"/>
                  <a:pt x="44" y="94"/>
                </a:cubicBezTo>
                <a:cubicBezTo>
                  <a:pt x="44" y="94"/>
                  <a:pt x="43" y="95"/>
                  <a:pt x="44" y="95"/>
                </a:cubicBezTo>
                <a:cubicBezTo>
                  <a:pt x="44" y="95"/>
                  <a:pt x="45" y="96"/>
                  <a:pt x="45" y="96"/>
                </a:cubicBezTo>
                <a:cubicBezTo>
                  <a:pt x="46" y="95"/>
                  <a:pt x="45" y="94"/>
                  <a:pt x="44" y="93"/>
                </a:cubicBezTo>
                <a:cubicBezTo>
                  <a:pt x="44" y="93"/>
                  <a:pt x="44" y="93"/>
                  <a:pt x="44" y="93"/>
                </a:cubicBezTo>
                <a:cubicBezTo>
                  <a:pt x="44" y="93"/>
                  <a:pt x="44" y="93"/>
                  <a:pt x="44" y="93"/>
                </a:cubicBezTo>
                <a:cubicBezTo>
                  <a:pt x="45" y="93"/>
                  <a:pt x="45" y="94"/>
                  <a:pt x="45" y="94"/>
                </a:cubicBezTo>
                <a:cubicBezTo>
                  <a:pt x="46" y="94"/>
                  <a:pt x="46" y="94"/>
                  <a:pt x="47" y="95"/>
                </a:cubicBezTo>
                <a:cubicBezTo>
                  <a:pt x="48" y="95"/>
                  <a:pt x="49" y="95"/>
                  <a:pt x="49" y="93"/>
                </a:cubicBezTo>
                <a:cubicBezTo>
                  <a:pt x="49" y="94"/>
                  <a:pt x="50" y="96"/>
                  <a:pt x="51" y="95"/>
                </a:cubicBezTo>
                <a:cubicBezTo>
                  <a:pt x="51" y="95"/>
                  <a:pt x="51" y="95"/>
                  <a:pt x="51" y="95"/>
                </a:cubicBezTo>
                <a:cubicBezTo>
                  <a:pt x="52" y="95"/>
                  <a:pt x="56" y="95"/>
                  <a:pt x="57" y="94"/>
                </a:cubicBezTo>
                <a:cubicBezTo>
                  <a:pt x="58" y="94"/>
                  <a:pt x="56" y="92"/>
                  <a:pt x="55" y="90"/>
                </a:cubicBezTo>
                <a:cubicBezTo>
                  <a:pt x="56" y="91"/>
                  <a:pt x="57" y="92"/>
                  <a:pt x="58" y="93"/>
                </a:cubicBezTo>
                <a:close/>
                <a:moveTo>
                  <a:pt x="29" y="85"/>
                </a:moveTo>
                <a:cubicBezTo>
                  <a:pt x="29" y="85"/>
                  <a:pt x="29" y="85"/>
                  <a:pt x="29" y="85"/>
                </a:cubicBezTo>
                <a:cubicBezTo>
                  <a:pt x="29" y="85"/>
                  <a:pt x="29" y="85"/>
                  <a:pt x="29" y="85"/>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08" name="Freeform 3065">
            <a:extLst>
              <a:ext uri="{FF2B5EF4-FFF2-40B4-BE49-F238E27FC236}">
                <a16:creationId xmlns:a16="http://schemas.microsoft.com/office/drawing/2014/main" id="{5E3D05F0-D515-45FF-96AE-FB5E55A14D84}"/>
              </a:ext>
            </a:extLst>
          </p:cNvPr>
          <p:cNvSpPr>
            <a:spLocks noEditPoints="1"/>
          </p:cNvSpPr>
          <p:nvPr/>
        </p:nvSpPr>
        <p:spPr bwMode="auto">
          <a:xfrm>
            <a:off x="3445053" y="3727718"/>
            <a:ext cx="67892" cy="87258"/>
          </a:xfrm>
          <a:custGeom>
            <a:avLst/>
            <a:gdLst>
              <a:gd name="T0" fmla="*/ 26 w 58"/>
              <a:gd name="T1" fmla="*/ 58 h 62"/>
              <a:gd name="T2" fmla="*/ 28 w 58"/>
              <a:gd name="T3" fmla="*/ 57 h 62"/>
              <a:gd name="T4" fmla="*/ 31 w 58"/>
              <a:gd name="T5" fmla="*/ 58 h 62"/>
              <a:gd name="T6" fmla="*/ 31 w 58"/>
              <a:gd name="T7" fmla="*/ 57 h 62"/>
              <a:gd name="T8" fmla="*/ 29 w 58"/>
              <a:gd name="T9" fmla="*/ 55 h 62"/>
              <a:gd name="T10" fmla="*/ 28 w 58"/>
              <a:gd name="T11" fmla="*/ 52 h 62"/>
              <a:gd name="T12" fmla="*/ 28 w 58"/>
              <a:gd name="T13" fmla="*/ 49 h 62"/>
              <a:gd name="T14" fmla="*/ 28 w 58"/>
              <a:gd name="T15" fmla="*/ 48 h 62"/>
              <a:gd name="T16" fmla="*/ 27 w 58"/>
              <a:gd name="T17" fmla="*/ 45 h 62"/>
              <a:gd name="T18" fmla="*/ 32 w 58"/>
              <a:gd name="T19" fmla="*/ 45 h 62"/>
              <a:gd name="T20" fmla="*/ 34 w 58"/>
              <a:gd name="T21" fmla="*/ 45 h 62"/>
              <a:gd name="T22" fmla="*/ 36 w 58"/>
              <a:gd name="T23" fmla="*/ 45 h 62"/>
              <a:gd name="T24" fmla="*/ 37 w 58"/>
              <a:gd name="T25" fmla="*/ 42 h 62"/>
              <a:gd name="T26" fmla="*/ 40 w 58"/>
              <a:gd name="T27" fmla="*/ 40 h 62"/>
              <a:gd name="T28" fmla="*/ 44 w 58"/>
              <a:gd name="T29" fmla="*/ 43 h 62"/>
              <a:gd name="T30" fmla="*/ 49 w 58"/>
              <a:gd name="T31" fmla="*/ 45 h 62"/>
              <a:gd name="T32" fmla="*/ 52 w 58"/>
              <a:gd name="T33" fmla="*/ 43 h 62"/>
              <a:gd name="T34" fmla="*/ 54 w 58"/>
              <a:gd name="T35" fmla="*/ 47 h 62"/>
              <a:gd name="T36" fmla="*/ 57 w 58"/>
              <a:gd name="T37" fmla="*/ 39 h 62"/>
              <a:gd name="T38" fmla="*/ 58 w 58"/>
              <a:gd name="T39" fmla="*/ 37 h 62"/>
              <a:gd name="T40" fmla="*/ 58 w 58"/>
              <a:gd name="T41" fmla="*/ 35 h 62"/>
              <a:gd name="T42" fmla="*/ 57 w 58"/>
              <a:gd name="T43" fmla="*/ 32 h 62"/>
              <a:gd name="T44" fmla="*/ 58 w 58"/>
              <a:gd name="T45" fmla="*/ 30 h 62"/>
              <a:gd name="T46" fmla="*/ 55 w 58"/>
              <a:gd name="T47" fmla="*/ 28 h 62"/>
              <a:gd name="T48" fmla="*/ 51 w 58"/>
              <a:gd name="T49" fmla="*/ 24 h 62"/>
              <a:gd name="T50" fmla="*/ 53 w 58"/>
              <a:gd name="T51" fmla="*/ 20 h 62"/>
              <a:gd name="T52" fmla="*/ 56 w 58"/>
              <a:gd name="T53" fmla="*/ 16 h 62"/>
              <a:gd name="T54" fmla="*/ 57 w 58"/>
              <a:gd name="T55" fmla="*/ 13 h 62"/>
              <a:gd name="T56" fmla="*/ 55 w 58"/>
              <a:gd name="T57" fmla="*/ 9 h 62"/>
              <a:gd name="T58" fmla="*/ 48 w 58"/>
              <a:gd name="T59" fmla="*/ 10 h 62"/>
              <a:gd name="T60" fmla="*/ 44 w 58"/>
              <a:gd name="T61" fmla="*/ 8 h 62"/>
              <a:gd name="T62" fmla="*/ 45 w 58"/>
              <a:gd name="T63" fmla="*/ 1 h 62"/>
              <a:gd name="T64" fmla="*/ 45 w 58"/>
              <a:gd name="T65" fmla="*/ 0 h 62"/>
              <a:gd name="T66" fmla="*/ 34 w 58"/>
              <a:gd name="T67" fmla="*/ 0 h 62"/>
              <a:gd name="T68" fmla="*/ 31 w 58"/>
              <a:gd name="T69" fmla="*/ 0 h 62"/>
              <a:gd name="T70" fmla="*/ 29 w 58"/>
              <a:gd name="T71" fmla="*/ 0 h 62"/>
              <a:gd name="T72" fmla="*/ 28 w 58"/>
              <a:gd name="T73" fmla="*/ 0 h 62"/>
              <a:gd name="T74" fmla="*/ 28 w 58"/>
              <a:gd name="T75" fmla="*/ 3 h 62"/>
              <a:gd name="T76" fmla="*/ 27 w 58"/>
              <a:gd name="T77" fmla="*/ 13 h 62"/>
              <a:gd name="T78" fmla="*/ 16 w 58"/>
              <a:gd name="T79" fmla="*/ 13 h 62"/>
              <a:gd name="T80" fmla="*/ 11 w 58"/>
              <a:gd name="T81" fmla="*/ 13 h 62"/>
              <a:gd name="T82" fmla="*/ 9 w 58"/>
              <a:gd name="T83" fmla="*/ 13 h 62"/>
              <a:gd name="T84" fmla="*/ 9 w 58"/>
              <a:gd name="T85" fmla="*/ 14 h 62"/>
              <a:gd name="T86" fmla="*/ 9 w 58"/>
              <a:gd name="T87" fmla="*/ 16 h 62"/>
              <a:gd name="T88" fmla="*/ 9 w 58"/>
              <a:gd name="T89" fmla="*/ 19 h 62"/>
              <a:gd name="T90" fmla="*/ 11 w 58"/>
              <a:gd name="T91" fmla="*/ 22 h 62"/>
              <a:gd name="T92" fmla="*/ 8 w 58"/>
              <a:gd name="T93" fmla="*/ 21 h 62"/>
              <a:gd name="T94" fmla="*/ 6 w 58"/>
              <a:gd name="T95" fmla="*/ 19 h 62"/>
              <a:gd name="T96" fmla="*/ 1 w 58"/>
              <a:gd name="T97" fmla="*/ 31 h 62"/>
              <a:gd name="T98" fmla="*/ 6 w 58"/>
              <a:gd name="T99" fmla="*/ 36 h 62"/>
              <a:gd name="T100" fmla="*/ 7 w 58"/>
              <a:gd name="T101" fmla="*/ 39 h 62"/>
              <a:gd name="T102" fmla="*/ 6 w 58"/>
              <a:gd name="T103" fmla="*/ 41 h 62"/>
              <a:gd name="T104" fmla="*/ 9 w 58"/>
              <a:gd name="T105" fmla="*/ 47 h 62"/>
              <a:gd name="T106" fmla="*/ 14 w 58"/>
              <a:gd name="T107" fmla="*/ 48 h 62"/>
              <a:gd name="T108" fmla="*/ 11 w 58"/>
              <a:gd name="T109" fmla="*/ 48 h 62"/>
              <a:gd name="T110" fmla="*/ 10 w 58"/>
              <a:gd name="T111" fmla="*/ 4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62">
                <a:moveTo>
                  <a:pt x="24" y="62"/>
                </a:moveTo>
                <a:cubicBezTo>
                  <a:pt x="24" y="61"/>
                  <a:pt x="24" y="60"/>
                  <a:pt x="25" y="59"/>
                </a:cubicBezTo>
                <a:cubicBezTo>
                  <a:pt x="25" y="59"/>
                  <a:pt x="26" y="59"/>
                  <a:pt x="26" y="58"/>
                </a:cubicBezTo>
                <a:cubicBezTo>
                  <a:pt x="27" y="58"/>
                  <a:pt x="27" y="58"/>
                  <a:pt x="27" y="58"/>
                </a:cubicBezTo>
                <a:cubicBezTo>
                  <a:pt x="27" y="58"/>
                  <a:pt x="27" y="58"/>
                  <a:pt x="27" y="58"/>
                </a:cubicBezTo>
                <a:cubicBezTo>
                  <a:pt x="27" y="57"/>
                  <a:pt x="28" y="57"/>
                  <a:pt x="28" y="57"/>
                </a:cubicBezTo>
                <a:cubicBezTo>
                  <a:pt x="29" y="57"/>
                  <a:pt x="30" y="57"/>
                  <a:pt x="31" y="58"/>
                </a:cubicBezTo>
                <a:cubicBezTo>
                  <a:pt x="31" y="58"/>
                  <a:pt x="31" y="58"/>
                  <a:pt x="31" y="58"/>
                </a:cubicBezTo>
                <a:cubicBezTo>
                  <a:pt x="31" y="58"/>
                  <a:pt x="31" y="58"/>
                  <a:pt x="31" y="58"/>
                </a:cubicBezTo>
                <a:cubicBezTo>
                  <a:pt x="31" y="58"/>
                  <a:pt x="31" y="58"/>
                  <a:pt x="31" y="58"/>
                </a:cubicBezTo>
                <a:cubicBezTo>
                  <a:pt x="31" y="58"/>
                  <a:pt x="31" y="58"/>
                  <a:pt x="31" y="57"/>
                </a:cubicBezTo>
                <a:cubicBezTo>
                  <a:pt x="31" y="57"/>
                  <a:pt x="31" y="57"/>
                  <a:pt x="31" y="57"/>
                </a:cubicBezTo>
                <a:cubicBezTo>
                  <a:pt x="31" y="57"/>
                  <a:pt x="31" y="57"/>
                  <a:pt x="31" y="57"/>
                </a:cubicBezTo>
                <a:cubicBezTo>
                  <a:pt x="31" y="57"/>
                  <a:pt x="30" y="56"/>
                  <a:pt x="30" y="56"/>
                </a:cubicBezTo>
                <a:cubicBezTo>
                  <a:pt x="30" y="56"/>
                  <a:pt x="29" y="55"/>
                  <a:pt x="29" y="55"/>
                </a:cubicBezTo>
                <a:cubicBezTo>
                  <a:pt x="29" y="54"/>
                  <a:pt x="29" y="54"/>
                  <a:pt x="30" y="53"/>
                </a:cubicBezTo>
                <a:cubicBezTo>
                  <a:pt x="29" y="52"/>
                  <a:pt x="29" y="52"/>
                  <a:pt x="29" y="52"/>
                </a:cubicBezTo>
                <a:cubicBezTo>
                  <a:pt x="28" y="52"/>
                  <a:pt x="28" y="52"/>
                  <a:pt x="28" y="52"/>
                </a:cubicBezTo>
                <a:cubicBezTo>
                  <a:pt x="28" y="52"/>
                  <a:pt x="28" y="51"/>
                  <a:pt x="28" y="51"/>
                </a:cubicBezTo>
                <a:cubicBezTo>
                  <a:pt x="28" y="51"/>
                  <a:pt x="28" y="51"/>
                  <a:pt x="28" y="51"/>
                </a:cubicBezTo>
                <a:cubicBezTo>
                  <a:pt x="28" y="50"/>
                  <a:pt x="28" y="50"/>
                  <a:pt x="28" y="49"/>
                </a:cubicBezTo>
                <a:cubicBezTo>
                  <a:pt x="28" y="49"/>
                  <a:pt x="28" y="49"/>
                  <a:pt x="28" y="49"/>
                </a:cubicBezTo>
                <a:cubicBezTo>
                  <a:pt x="28" y="49"/>
                  <a:pt x="28" y="49"/>
                  <a:pt x="28" y="49"/>
                </a:cubicBezTo>
                <a:cubicBezTo>
                  <a:pt x="28" y="49"/>
                  <a:pt x="28" y="48"/>
                  <a:pt x="28" y="48"/>
                </a:cubicBezTo>
                <a:cubicBezTo>
                  <a:pt x="28" y="48"/>
                  <a:pt x="28" y="48"/>
                  <a:pt x="28" y="48"/>
                </a:cubicBezTo>
                <a:cubicBezTo>
                  <a:pt x="28" y="47"/>
                  <a:pt x="28" y="47"/>
                  <a:pt x="28" y="47"/>
                </a:cubicBezTo>
                <a:cubicBezTo>
                  <a:pt x="27" y="45"/>
                  <a:pt x="27" y="45"/>
                  <a:pt x="27" y="45"/>
                </a:cubicBezTo>
                <a:cubicBezTo>
                  <a:pt x="29" y="45"/>
                  <a:pt x="29" y="45"/>
                  <a:pt x="29" y="45"/>
                </a:cubicBezTo>
                <a:cubicBezTo>
                  <a:pt x="30" y="45"/>
                  <a:pt x="30" y="45"/>
                  <a:pt x="31" y="45"/>
                </a:cubicBezTo>
                <a:cubicBezTo>
                  <a:pt x="31" y="46"/>
                  <a:pt x="31" y="46"/>
                  <a:pt x="32" y="45"/>
                </a:cubicBezTo>
                <a:cubicBezTo>
                  <a:pt x="32" y="45"/>
                  <a:pt x="33" y="45"/>
                  <a:pt x="33" y="45"/>
                </a:cubicBezTo>
                <a:cubicBezTo>
                  <a:pt x="34" y="45"/>
                  <a:pt x="34" y="45"/>
                  <a:pt x="34" y="45"/>
                </a:cubicBezTo>
                <a:cubicBezTo>
                  <a:pt x="34" y="45"/>
                  <a:pt x="34" y="45"/>
                  <a:pt x="34" y="45"/>
                </a:cubicBezTo>
                <a:cubicBezTo>
                  <a:pt x="34" y="45"/>
                  <a:pt x="35" y="45"/>
                  <a:pt x="35" y="45"/>
                </a:cubicBezTo>
                <a:cubicBezTo>
                  <a:pt x="36" y="45"/>
                  <a:pt x="36" y="45"/>
                  <a:pt x="36" y="45"/>
                </a:cubicBezTo>
                <a:cubicBezTo>
                  <a:pt x="36" y="45"/>
                  <a:pt x="36" y="45"/>
                  <a:pt x="36" y="45"/>
                </a:cubicBezTo>
                <a:cubicBezTo>
                  <a:pt x="36" y="44"/>
                  <a:pt x="36" y="44"/>
                  <a:pt x="37" y="43"/>
                </a:cubicBezTo>
                <a:cubicBezTo>
                  <a:pt x="37" y="42"/>
                  <a:pt x="37" y="42"/>
                  <a:pt x="37" y="42"/>
                </a:cubicBezTo>
                <a:cubicBezTo>
                  <a:pt x="37" y="42"/>
                  <a:pt x="37" y="42"/>
                  <a:pt x="37" y="42"/>
                </a:cubicBezTo>
                <a:cubicBezTo>
                  <a:pt x="37" y="42"/>
                  <a:pt x="37" y="42"/>
                  <a:pt x="37" y="42"/>
                </a:cubicBezTo>
                <a:cubicBezTo>
                  <a:pt x="37" y="41"/>
                  <a:pt x="37" y="40"/>
                  <a:pt x="38" y="40"/>
                </a:cubicBezTo>
                <a:cubicBezTo>
                  <a:pt x="39" y="40"/>
                  <a:pt x="39" y="40"/>
                  <a:pt x="40" y="40"/>
                </a:cubicBezTo>
                <a:cubicBezTo>
                  <a:pt x="40" y="40"/>
                  <a:pt x="40" y="40"/>
                  <a:pt x="40" y="40"/>
                </a:cubicBezTo>
                <a:cubicBezTo>
                  <a:pt x="41" y="40"/>
                  <a:pt x="41" y="40"/>
                  <a:pt x="41" y="40"/>
                </a:cubicBezTo>
                <a:cubicBezTo>
                  <a:pt x="43" y="40"/>
                  <a:pt x="43" y="42"/>
                  <a:pt x="44" y="43"/>
                </a:cubicBezTo>
                <a:cubicBezTo>
                  <a:pt x="44" y="45"/>
                  <a:pt x="44" y="45"/>
                  <a:pt x="44" y="45"/>
                </a:cubicBezTo>
                <a:cubicBezTo>
                  <a:pt x="45" y="45"/>
                  <a:pt x="45" y="45"/>
                  <a:pt x="46" y="45"/>
                </a:cubicBezTo>
                <a:cubicBezTo>
                  <a:pt x="47" y="45"/>
                  <a:pt x="49" y="45"/>
                  <a:pt x="49" y="45"/>
                </a:cubicBezTo>
                <a:cubicBezTo>
                  <a:pt x="49" y="45"/>
                  <a:pt x="50" y="44"/>
                  <a:pt x="50" y="43"/>
                </a:cubicBezTo>
                <a:cubicBezTo>
                  <a:pt x="51" y="41"/>
                  <a:pt x="51" y="41"/>
                  <a:pt x="51" y="41"/>
                </a:cubicBezTo>
                <a:cubicBezTo>
                  <a:pt x="52" y="43"/>
                  <a:pt x="52" y="43"/>
                  <a:pt x="52" y="43"/>
                </a:cubicBezTo>
                <a:cubicBezTo>
                  <a:pt x="53" y="44"/>
                  <a:pt x="54" y="45"/>
                  <a:pt x="54" y="46"/>
                </a:cubicBezTo>
                <a:cubicBezTo>
                  <a:pt x="54" y="46"/>
                  <a:pt x="54" y="46"/>
                  <a:pt x="54" y="46"/>
                </a:cubicBezTo>
                <a:cubicBezTo>
                  <a:pt x="54" y="47"/>
                  <a:pt x="54" y="47"/>
                  <a:pt x="54" y="47"/>
                </a:cubicBezTo>
                <a:cubicBezTo>
                  <a:pt x="56" y="43"/>
                  <a:pt x="56" y="43"/>
                  <a:pt x="56" y="43"/>
                </a:cubicBezTo>
                <a:cubicBezTo>
                  <a:pt x="56" y="42"/>
                  <a:pt x="57" y="41"/>
                  <a:pt x="57" y="40"/>
                </a:cubicBezTo>
                <a:cubicBezTo>
                  <a:pt x="57" y="39"/>
                  <a:pt x="57" y="39"/>
                  <a:pt x="57" y="39"/>
                </a:cubicBezTo>
                <a:cubicBezTo>
                  <a:pt x="57" y="38"/>
                  <a:pt x="57" y="38"/>
                  <a:pt x="57" y="38"/>
                </a:cubicBezTo>
                <a:cubicBezTo>
                  <a:pt x="57" y="38"/>
                  <a:pt x="57" y="37"/>
                  <a:pt x="58" y="37"/>
                </a:cubicBezTo>
                <a:cubicBezTo>
                  <a:pt x="58" y="37"/>
                  <a:pt x="58" y="37"/>
                  <a:pt x="58" y="37"/>
                </a:cubicBezTo>
                <a:cubicBezTo>
                  <a:pt x="58" y="36"/>
                  <a:pt x="58" y="36"/>
                  <a:pt x="58" y="36"/>
                </a:cubicBezTo>
                <a:cubicBezTo>
                  <a:pt x="58" y="35"/>
                  <a:pt x="58" y="35"/>
                  <a:pt x="58" y="35"/>
                </a:cubicBezTo>
                <a:cubicBezTo>
                  <a:pt x="58" y="35"/>
                  <a:pt x="58" y="35"/>
                  <a:pt x="58" y="35"/>
                </a:cubicBezTo>
                <a:cubicBezTo>
                  <a:pt x="58" y="35"/>
                  <a:pt x="57" y="35"/>
                  <a:pt x="57" y="34"/>
                </a:cubicBezTo>
                <a:cubicBezTo>
                  <a:pt x="57" y="34"/>
                  <a:pt x="57" y="34"/>
                  <a:pt x="57" y="34"/>
                </a:cubicBezTo>
                <a:cubicBezTo>
                  <a:pt x="57" y="34"/>
                  <a:pt x="57" y="33"/>
                  <a:pt x="57" y="32"/>
                </a:cubicBezTo>
                <a:cubicBezTo>
                  <a:pt x="57" y="32"/>
                  <a:pt x="57" y="32"/>
                  <a:pt x="57" y="32"/>
                </a:cubicBezTo>
                <a:cubicBezTo>
                  <a:pt x="57" y="31"/>
                  <a:pt x="57" y="31"/>
                  <a:pt x="57" y="31"/>
                </a:cubicBezTo>
                <a:cubicBezTo>
                  <a:pt x="58" y="31"/>
                  <a:pt x="58" y="31"/>
                  <a:pt x="58" y="30"/>
                </a:cubicBezTo>
                <a:cubicBezTo>
                  <a:pt x="58" y="30"/>
                  <a:pt x="58" y="30"/>
                  <a:pt x="58" y="30"/>
                </a:cubicBezTo>
                <a:cubicBezTo>
                  <a:pt x="58" y="30"/>
                  <a:pt x="58" y="29"/>
                  <a:pt x="58" y="29"/>
                </a:cubicBezTo>
                <a:cubicBezTo>
                  <a:pt x="58" y="29"/>
                  <a:pt x="56" y="28"/>
                  <a:pt x="55" y="28"/>
                </a:cubicBezTo>
                <a:cubicBezTo>
                  <a:pt x="54" y="27"/>
                  <a:pt x="53" y="27"/>
                  <a:pt x="52" y="26"/>
                </a:cubicBezTo>
                <a:cubicBezTo>
                  <a:pt x="52" y="26"/>
                  <a:pt x="52" y="25"/>
                  <a:pt x="52" y="25"/>
                </a:cubicBezTo>
                <a:cubicBezTo>
                  <a:pt x="52" y="25"/>
                  <a:pt x="51" y="25"/>
                  <a:pt x="51" y="24"/>
                </a:cubicBezTo>
                <a:cubicBezTo>
                  <a:pt x="51" y="24"/>
                  <a:pt x="51" y="24"/>
                  <a:pt x="51" y="24"/>
                </a:cubicBezTo>
                <a:cubicBezTo>
                  <a:pt x="51" y="23"/>
                  <a:pt x="52" y="22"/>
                  <a:pt x="53" y="21"/>
                </a:cubicBezTo>
                <a:cubicBezTo>
                  <a:pt x="53" y="20"/>
                  <a:pt x="53" y="20"/>
                  <a:pt x="53" y="20"/>
                </a:cubicBezTo>
                <a:cubicBezTo>
                  <a:pt x="53" y="19"/>
                  <a:pt x="54" y="17"/>
                  <a:pt x="54" y="17"/>
                </a:cubicBezTo>
                <a:cubicBezTo>
                  <a:pt x="55" y="16"/>
                  <a:pt x="55" y="16"/>
                  <a:pt x="55" y="16"/>
                </a:cubicBezTo>
                <a:cubicBezTo>
                  <a:pt x="56" y="16"/>
                  <a:pt x="56" y="16"/>
                  <a:pt x="56" y="16"/>
                </a:cubicBezTo>
                <a:cubicBezTo>
                  <a:pt x="56" y="15"/>
                  <a:pt x="57" y="15"/>
                  <a:pt x="57" y="14"/>
                </a:cubicBezTo>
                <a:cubicBezTo>
                  <a:pt x="57" y="14"/>
                  <a:pt x="57" y="14"/>
                  <a:pt x="57" y="13"/>
                </a:cubicBezTo>
                <a:cubicBezTo>
                  <a:pt x="57" y="13"/>
                  <a:pt x="57" y="13"/>
                  <a:pt x="57" y="13"/>
                </a:cubicBezTo>
                <a:cubicBezTo>
                  <a:pt x="55" y="10"/>
                  <a:pt x="55" y="10"/>
                  <a:pt x="55" y="10"/>
                </a:cubicBezTo>
                <a:cubicBezTo>
                  <a:pt x="55" y="10"/>
                  <a:pt x="55" y="10"/>
                  <a:pt x="55" y="9"/>
                </a:cubicBezTo>
                <a:cubicBezTo>
                  <a:pt x="55" y="9"/>
                  <a:pt x="55" y="9"/>
                  <a:pt x="55" y="9"/>
                </a:cubicBezTo>
                <a:cubicBezTo>
                  <a:pt x="54" y="9"/>
                  <a:pt x="54" y="9"/>
                  <a:pt x="54" y="9"/>
                </a:cubicBezTo>
                <a:cubicBezTo>
                  <a:pt x="53" y="9"/>
                  <a:pt x="52" y="9"/>
                  <a:pt x="51" y="9"/>
                </a:cubicBezTo>
                <a:cubicBezTo>
                  <a:pt x="50" y="10"/>
                  <a:pt x="49" y="10"/>
                  <a:pt x="48" y="10"/>
                </a:cubicBezTo>
                <a:cubicBezTo>
                  <a:pt x="44" y="12"/>
                  <a:pt x="44" y="12"/>
                  <a:pt x="44" y="12"/>
                </a:cubicBezTo>
                <a:cubicBezTo>
                  <a:pt x="44" y="10"/>
                  <a:pt x="44" y="10"/>
                  <a:pt x="44" y="10"/>
                </a:cubicBezTo>
                <a:cubicBezTo>
                  <a:pt x="44" y="9"/>
                  <a:pt x="44" y="9"/>
                  <a:pt x="44" y="8"/>
                </a:cubicBezTo>
                <a:cubicBezTo>
                  <a:pt x="44" y="6"/>
                  <a:pt x="44" y="4"/>
                  <a:pt x="44" y="3"/>
                </a:cubicBezTo>
                <a:cubicBezTo>
                  <a:pt x="45" y="2"/>
                  <a:pt x="45" y="2"/>
                  <a:pt x="45" y="2"/>
                </a:cubicBezTo>
                <a:cubicBezTo>
                  <a:pt x="45" y="2"/>
                  <a:pt x="45" y="2"/>
                  <a:pt x="45" y="1"/>
                </a:cubicBezTo>
                <a:cubicBezTo>
                  <a:pt x="45" y="1"/>
                  <a:pt x="45" y="1"/>
                  <a:pt x="45" y="1"/>
                </a:cubicBezTo>
                <a:cubicBezTo>
                  <a:pt x="45" y="1"/>
                  <a:pt x="45" y="1"/>
                  <a:pt x="45" y="1"/>
                </a:cubicBezTo>
                <a:cubicBezTo>
                  <a:pt x="45" y="1"/>
                  <a:pt x="45" y="0"/>
                  <a:pt x="45" y="0"/>
                </a:cubicBezTo>
                <a:cubicBezTo>
                  <a:pt x="45" y="0"/>
                  <a:pt x="45" y="0"/>
                  <a:pt x="44" y="0"/>
                </a:cubicBezTo>
                <a:cubicBezTo>
                  <a:pt x="42" y="0"/>
                  <a:pt x="41" y="0"/>
                  <a:pt x="39" y="0"/>
                </a:cubicBezTo>
                <a:cubicBezTo>
                  <a:pt x="37" y="0"/>
                  <a:pt x="35" y="0"/>
                  <a:pt x="34" y="0"/>
                </a:cubicBezTo>
                <a:cubicBezTo>
                  <a:pt x="33" y="0"/>
                  <a:pt x="33" y="0"/>
                  <a:pt x="33" y="0"/>
                </a:cubicBezTo>
                <a:cubicBezTo>
                  <a:pt x="33" y="0"/>
                  <a:pt x="33" y="0"/>
                  <a:pt x="33" y="0"/>
                </a:cubicBezTo>
                <a:cubicBezTo>
                  <a:pt x="32" y="0"/>
                  <a:pt x="32" y="0"/>
                  <a:pt x="31" y="0"/>
                </a:cubicBezTo>
                <a:cubicBezTo>
                  <a:pt x="31" y="0"/>
                  <a:pt x="31" y="0"/>
                  <a:pt x="31" y="0"/>
                </a:cubicBezTo>
                <a:cubicBezTo>
                  <a:pt x="30" y="0"/>
                  <a:pt x="30" y="0"/>
                  <a:pt x="29" y="0"/>
                </a:cubicBezTo>
                <a:cubicBezTo>
                  <a:pt x="29" y="0"/>
                  <a:pt x="29" y="0"/>
                  <a:pt x="29" y="0"/>
                </a:cubicBezTo>
                <a:cubicBezTo>
                  <a:pt x="29" y="0"/>
                  <a:pt x="29" y="0"/>
                  <a:pt x="29" y="0"/>
                </a:cubicBezTo>
                <a:cubicBezTo>
                  <a:pt x="28" y="0"/>
                  <a:pt x="28" y="0"/>
                  <a:pt x="28" y="0"/>
                </a:cubicBezTo>
                <a:cubicBezTo>
                  <a:pt x="28" y="0"/>
                  <a:pt x="28" y="0"/>
                  <a:pt x="28" y="0"/>
                </a:cubicBezTo>
                <a:cubicBezTo>
                  <a:pt x="28" y="1"/>
                  <a:pt x="28" y="1"/>
                  <a:pt x="28" y="1"/>
                </a:cubicBezTo>
                <a:cubicBezTo>
                  <a:pt x="28" y="1"/>
                  <a:pt x="28" y="1"/>
                  <a:pt x="28" y="1"/>
                </a:cubicBezTo>
                <a:cubicBezTo>
                  <a:pt x="28" y="3"/>
                  <a:pt x="28" y="3"/>
                  <a:pt x="28" y="3"/>
                </a:cubicBezTo>
                <a:cubicBezTo>
                  <a:pt x="28" y="4"/>
                  <a:pt x="28" y="4"/>
                  <a:pt x="28" y="5"/>
                </a:cubicBezTo>
                <a:cubicBezTo>
                  <a:pt x="28" y="6"/>
                  <a:pt x="28" y="6"/>
                  <a:pt x="28" y="6"/>
                </a:cubicBezTo>
                <a:cubicBezTo>
                  <a:pt x="29" y="10"/>
                  <a:pt x="29" y="12"/>
                  <a:pt x="27" y="13"/>
                </a:cubicBezTo>
                <a:cubicBezTo>
                  <a:pt x="27" y="14"/>
                  <a:pt x="26" y="14"/>
                  <a:pt x="23" y="13"/>
                </a:cubicBezTo>
                <a:cubicBezTo>
                  <a:pt x="23" y="13"/>
                  <a:pt x="23" y="13"/>
                  <a:pt x="23" y="13"/>
                </a:cubicBezTo>
                <a:cubicBezTo>
                  <a:pt x="16" y="13"/>
                  <a:pt x="16" y="13"/>
                  <a:pt x="16" y="13"/>
                </a:cubicBezTo>
                <a:cubicBezTo>
                  <a:pt x="16" y="13"/>
                  <a:pt x="15" y="13"/>
                  <a:pt x="15" y="13"/>
                </a:cubicBezTo>
                <a:cubicBezTo>
                  <a:pt x="14" y="14"/>
                  <a:pt x="12" y="14"/>
                  <a:pt x="11" y="13"/>
                </a:cubicBezTo>
                <a:cubicBezTo>
                  <a:pt x="11" y="13"/>
                  <a:pt x="11" y="13"/>
                  <a:pt x="11" y="13"/>
                </a:cubicBezTo>
                <a:cubicBezTo>
                  <a:pt x="10" y="13"/>
                  <a:pt x="10" y="13"/>
                  <a:pt x="10" y="13"/>
                </a:cubicBezTo>
                <a:cubicBezTo>
                  <a:pt x="10" y="13"/>
                  <a:pt x="10" y="13"/>
                  <a:pt x="10" y="13"/>
                </a:cubicBezTo>
                <a:cubicBezTo>
                  <a:pt x="9" y="13"/>
                  <a:pt x="9" y="13"/>
                  <a:pt x="9" y="13"/>
                </a:cubicBezTo>
                <a:cubicBezTo>
                  <a:pt x="9" y="12"/>
                  <a:pt x="9" y="12"/>
                  <a:pt x="9" y="12"/>
                </a:cubicBezTo>
                <a:cubicBezTo>
                  <a:pt x="9" y="12"/>
                  <a:pt x="9" y="12"/>
                  <a:pt x="9" y="13"/>
                </a:cubicBezTo>
                <a:cubicBezTo>
                  <a:pt x="9" y="13"/>
                  <a:pt x="9" y="14"/>
                  <a:pt x="9" y="14"/>
                </a:cubicBezTo>
                <a:cubicBezTo>
                  <a:pt x="9" y="15"/>
                  <a:pt x="9" y="16"/>
                  <a:pt x="9" y="18"/>
                </a:cubicBezTo>
                <a:cubicBezTo>
                  <a:pt x="9" y="17"/>
                  <a:pt x="9" y="17"/>
                  <a:pt x="9" y="16"/>
                </a:cubicBezTo>
                <a:cubicBezTo>
                  <a:pt x="8" y="16"/>
                  <a:pt x="8" y="17"/>
                  <a:pt x="9" y="16"/>
                </a:cubicBezTo>
                <a:cubicBezTo>
                  <a:pt x="8" y="16"/>
                  <a:pt x="7" y="17"/>
                  <a:pt x="6" y="17"/>
                </a:cubicBezTo>
                <a:cubicBezTo>
                  <a:pt x="7" y="17"/>
                  <a:pt x="7" y="18"/>
                  <a:pt x="7" y="18"/>
                </a:cubicBezTo>
                <a:cubicBezTo>
                  <a:pt x="8" y="19"/>
                  <a:pt x="8" y="19"/>
                  <a:pt x="9" y="19"/>
                </a:cubicBezTo>
                <a:cubicBezTo>
                  <a:pt x="9" y="20"/>
                  <a:pt x="10" y="20"/>
                  <a:pt x="10" y="20"/>
                </a:cubicBezTo>
                <a:cubicBezTo>
                  <a:pt x="11" y="21"/>
                  <a:pt x="12" y="20"/>
                  <a:pt x="13" y="20"/>
                </a:cubicBezTo>
                <a:cubicBezTo>
                  <a:pt x="12" y="21"/>
                  <a:pt x="12" y="21"/>
                  <a:pt x="11" y="22"/>
                </a:cubicBezTo>
                <a:cubicBezTo>
                  <a:pt x="10" y="21"/>
                  <a:pt x="10" y="21"/>
                  <a:pt x="9" y="21"/>
                </a:cubicBezTo>
                <a:cubicBezTo>
                  <a:pt x="9" y="21"/>
                  <a:pt x="9" y="21"/>
                  <a:pt x="9" y="21"/>
                </a:cubicBezTo>
                <a:cubicBezTo>
                  <a:pt x="8" y="21"/>
                  <a:pt x="8" y="21"/>
                  <a:pt x="8" y="21"/>
                </a:cubicBezTo>
                <a:cubicBezTo>
                  <a:pt x="8" y="21"/>
                  <a:pt x="8" y="21"/>
                  <a:pt x="8" y="21"/>
                </a:cubicBezTo>
                <a:cubicBezTo>
                  <a:pt x="7" y="21"/>
                  <a:pt x="7" y="20"/>
                  <a:pt x="7" y="21"/>
                </a:cubicBezTo>
                <a:cubicBezTo>
                  <a:pt x="7" y="20"/>
                  <a:pt x="6" y="20"/>
                  <a:pt x="6" y="19"/>
                </a:cubicBezTo>
                <a:cubicBezTo>
                  <a:pt x="6" y="20"/>
                  <a:pt x="6" y="21"/>
                  <a:pt x="6" y="21"/>
                </a:cubicBezTo>
                <a:cubicBezTo>
                  <a:pt x="6" y="25"/>
                  <a:pt x="5" y="28"/>
                  <a:pt x="3" y="31"/>
                </a:cubicBezTo>
                <a:cubicBezTo>
                  <a:pt x="3" y="30"/>
                  <a:pt x="2" y="31"/>
                  <a:pt x="1" y="31"/>
                </a:cubicBezTo>
                <a:cubicBezTo>
                  <a:pt x="1" y="30"/>
                  <a:pt x="0" y="29"/>
                  <a:pt x="0" y="28"/>
                </a:cubicBezTo>
                <a:cubicBezTo>
                  <a:pt x="1" y="31"/>
                  <a:pt x="2" y="34"/>
                  <a:pt x="4" y="36"/>
                </a:cubicBezTo>
                <a:cubicBezTo>
                  <a:pt x="5" y="37"/>
                  <a:pt x="5" y="36"/>
                  <a:pt x="6" y="36"/>
                </a:cubicBezTo>
                <a:cubicBezTo>
                  <a:pt x="7" y="36"/>
                  <a:pt x="5" y="38"/>
                  <a:pt x="6" y="38"/>
                </a:cubicBezTo>
                <a:cubicBezTo>
                  <a:pt x="6" y="39"/>
                  <a:pt x="8" y="39"/>
                  <a:pt x="8" y="39"/>
                </a:cubicBezTo>
                <a:cubicBezTo>
                  <a:pt x="8" y="39"/>
                  <a:pt x="7" y="39"/>
                  <a:pt x="7" y="39"/>
                </a:cubicBezTo>
                <a:cubicBezTo>
                  <a:pt x="7" y="39"/>
                  <a:pt x="6" y="39"/>
                  <a:pt x="6" y="39"/>
                </a:cubicBezTo>
                <a:cubicBezTo>
                  <a:pt x="6" y="39"/>
                  <a:pt x="6" y="38"/>
                  <a:pt x="5" y="38"/>
                </a:cubicBezTo>
                <a:cubicBezTo>
                  <a:pt x="5" y="39"/>
                  <a:pt x="5" y="41"/>
                  <a:pt x="6" y="41"/>
                </a:cubicBezTo>
                <a:cubicBezTo>
                  <a:pt x="6" y="42"/>
                  <a:pt x="6" y="41"/>
                  <a:pt x="7" y="42"/>
                </a:cubicBezTo>
                <a:cubicBezTo>
                  <a:pt x="10" y="43"/>
                  <a:pt x="8" y="46"/>
                  <a:pt x="10" y="47"/>
                </a:cubicBezTo>
                <a:cubicBezTo>
                  <a:pt x="9" y="47"/>
                  <a:pt x="9" y="47"/>
                  <a:pt x="9" y="47"/>
                </a:cubicBezTo>
                <a:cubicBezTo>
                  <a:pt x="14" y="52"/>
                  <a:pt x="19" y="57"/>
                  <a:pt x="24" y="62"/>
                </a:cubicBezTo>
                <a:close/>
                <a:moveTo>
                  <a:pt x="13" y="49"/>
                </a:moveTo>
                <a:cubicBezTo>
                  <a:pt x="13" y="49"/>
                  <a:pt x="14" y="48"/>
                  <a:pt x="14" y="48"/>
                </a:cubicBezTo>
                <a:cubicBezTo>
                  <a:pt x="15" y="49"/>
                  <a:pt x="14" y="49"/>
                  <a:pt x="14" y="49"/>
                </a:cubicBezTo>
                <a:cubicBezTo>
                  <a:pt x="14" y="49"/>
                  <a:pt x="13" y="49"/>
                  <a:pt x="13" y="49"/>
                </a:cubicBezTo>
                <a:cubicBezTo>
                  <a:pt x="12" y="49"/>
                  <a:pt x="12" y="48"/>
                  <a:pt x="11" y="48"/>
                </a:cubicBezTo>
                <a:cubicBezTo>
                  <a:pt x="11" y="46"/>
                  <a:pt x="12" y="48"/>
                  <a:pt x="13" y="49"/>
                </a:cubicBezTo>
                <a:close/>
                <a:moveTo>
                  <a:pt x="11" y="48"/>
                </a:moveTo>
                <a:cubicBezTo>
                  <a:pt x="11" y="48"/>
                  <a:pt x="11" y="48"/>
                  <a:pt x="10" y="47"/>
                </a:cubicBezTo>
                <a:cubicBezTo>
                  <a:pt x="11" y="47"/>
                  <a:pt x="11" y="48"/>
                  <a:pt x="11" y="48"/>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09" name="Freeform 3066">
            <a:extLst>
              <a:ext uri="{FF2B5EF4-FFF2-40B4-BE49-F238E27FC236}">
                <a16:creationId xmlns:a16="http://schemas.microsoft.com/office/drawing/2014/main" id="{ACC47B25-7671-411A-9CAA-CDEAD8786161}"/>
              </a:ext>
            </a:extLst>
          </p:cNvPr>
          <p:cNvSpPr>
            <a:spLocks/>
          </p:cNvSpPr>
          <p:nvPr/>
        </p:nvSpPr>
        <p:spPr bwMode="auto">
          <a:xfrm>
            <a:off x="3451991" y="3727718"/>
            <a:ext cx="23291" cy="17214"/>
          </a:xfrm>
          <a:custGeom>
            <a:avLst/>
            <a:gdLst>
              <a:gd name="T0" fmla="*/ 3 w 20"/>
              <a:gd name="T1" fmla="*/ 11 h 12"/>
              <a:gd name="T2" fmla="*/ 4 w 20"/>
              <a:gd name="T3" fmla="*/ 11 h 12"/>
              <a:gd name="T4" fmla="*/ 5 w 20"/>
              <a:gd name="T5" fmla="*/ 11 h 12"/>
              <a:gd name="T6" fmla="*/ 6 w 20"/>
              <a:gd name="T7" fmla="*/ 11 h 12"/>
              <a:gd name="T8" fmla="*/ 6 w 20"/>
              <a:gd name="T9" fmla="*/ 11 h 12"/>
              <a:gd name="T10" fmla="*/ 9 w 20"/>
              <a:gd name="T11" fmla="*/ 11 h 12"/>
              <a:gd name="T12" fmla="*/ 9 w 20"/>
              <a:gd name="T13" fmla="*/ 11 h 12"/>
              <a:gd name="T14" fmla="*/ 10 w 20"/>
              <a:gd name="T15" fmla="*/ 11 h 12"/>
              <a:gd name="T16" fmla="*/ 17 w 20"/>
              <a:gd name="T17" fmla="*/ 11 h 12"/>
              <a:gd name="T18" fmla="*/ 17 w 20"/>
              <a:gd name="T19" fmla="*/ 11 h 12"/>
              <a:gd name="T20" fmla="*/ 18 w 20"/>
              <a:gd name="T21" fmla="*/ 11 h 12"/>
              <a:gd name="T22" fmla="*/ 20 w 20"/>
              <a:gd name="T23" fmla="*/ 11 h 12"/>
              <a:gd name="T24" fmla="*/ 20 w 20"/>
              <a:gd name="T25" fmla="*/ 6 h 12"/>
              <a:gd name="T26" fmla="*/ 20 w 20"/>
              <a:gd name="T27" fmla="*/ 6 h 12"/>
              <a:gd name="T28" fmla="*/ 20 w 20"/>
              <a:gd name="T29" fmla="*/ 5 h 12"/>
              <a:gd name="T30" fmla="*/ 20 w 20"/>
              <a:gd name="T31" fmla="*/ 3 h 12"/>
              <a:gd name="T32" fmla="*/ 19 w 20"/>
              <a:gd name="T33" fmla="*/ 2 h 12"/>
              <a:gd name="T34" fmla="*/ 17 w 20"/>
              <a:gd name="T35" fmla="*/ 2 h 12"/>
              <a:gd name="T36" fmla="*/ 17 w 20"/>
              <a:gd name="T37" fmla="*/ 1 h 12"/>
              <a:gd name="T38" fmla="*/ 11 w 20"/>
              <a:gd name="T39" fmla="*/ 1 h 12"/>
              <a:gd name="T40" fmla="*/ 5 w 20"/>
              <a:gd name="T41" fmla="*/ 0 h 12"/>
              <a:gd name="T42" fmla="*/ 4 w 20"/>
              <a:gd name="T43" fmla="*/ 4 h 12"/>
              <a:gd name="T44" fmla="*/ 4 w 20"/>
              <a:gd name="T45" fmla="*/ 4 h 12"/>
              <a:gd name="T46" fmla="*/ 8 w 20"/>
              <a:gd name="T47" fmla="*/ 6 h 12"/>
              <a:gd name="T48" fmla="*/ 8 w 20"/>
              <a:gd name="T49" fmla="*/ 7 h 12"/>
              <a:gd name="T50" fmla="*/ 3 w 20"/>
              <a:gd name="T51" fmla="*/ 5 h 12"/>
              <a:gd name="T52" fmla="*/ 4 w 20"/>
              <a:gd name="T53" fmla="*/ 6 h 12"/>
              <a:gd name="T54" fmla="*/ 3 w 20"/>
              <a:gd name="T55" fmla="*/ 6 h 12"/>
              <a:gd name="T56" fmla="*/ 1 w 20"/>
              <a:gd name="T57" fmla="*/ 9 h 12"/>
              <a:gd name="T58" fmla="*/ 1 w 20"/>
              <a:gd name="T59" fmla="*/ 11 h 12"/>
              <a:gd name="T60" fmla="*/ 2 w 20"/>
              <a:gd name="T61" fmla="*/ 11 h 12"/>
              <a:gd name="T62" fmla="*/ 3 w 20"/>
              <a:gd name="T63" fmla="*/ 12 h 12"/>
              <a:gd name="T64" fmla="*/ 3 w 20"/>
              <a:gd name="T65" fmla="*/ 12 h 12"/>
              <a:gd name="T66" fmla="*/ 3 w 20"/>
              <a:gd name="T67"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 h="12">
                <a:moveTo>
                  <a:pt x="3" y="11"/>
                </a:moveTo>
                <a:cubicBezTo>
                  <a:pt x="4" y="11"/>
                  <a:pt x="4" y="11"/>
                  <a:pt x="4" y="11"/>
                </a:cubicBezTo>
                <a:cubicBezTo>
                  <a:pt x="5" y="11"/>
                  <a:pt x="5" y="11"/>
                  <a:pt x="5" y="11"/>
                </a:cubicBezTo>
                <a:cubicBezTo>
                  <a:pt x="5" y="11"/>
                  <a:pt x="5" y="11"/>
                  <a:pt x="6" y="11"/>
                </a:cubicBezTo>
                <a:cubicBezTo>
                  <a:pt x="6" y="11"/>
                  <a:pt x="6" y="11"/>
                  <a:pt x="6" y="11"/>
                </a:cubicBezTo>
                <a:cubicBezTo>
                  <a:pt x="7" y="11"/>
                  <a:pt x="8" y="11"/>
                  <a:pt x="9" y="11"/>
                </a:cubicBezTo>
                <a:cubicBezTo>
                  <a:pt x="9" y="11"/>
                  <a:pt x="9" y="11"/>
                  <a:pt x="9" y="11"/>
                </a:cubicBezTo>
                <a:cubicBezTo>
                  <a:pt x="9" y="11"/>
                  <a:pt x="10" y="11"/>
                  <a:pt x="10" y="11"/>
                </a:cubicBezTo>
                <a:cubicBezTo>
                  <a:pt x="17" y="11"/>
                  <a:pt x="17" y="11"/>
                  <a:pt x="17" y="11"/>
                </a:cubicBezTo>
                <a:cubicBezTo>
                  <a:pt x="17" y="11"/>
                  <a:pt x="17" y="11"/>
                  <a:pt x="17" y="11"/>
                </a:cubicBezTo>
                <a:cubicBezTo>
                  <a:pt x="18" y="11"/>
                  <a:pt x="18" y="11"/>
                  <a:pt x="18" y="11"/>
                </a:cubicBezTo>
                <a:cubicBezTo>
                  <a:pt x="19" y="11"/>
                  <a:pt x="20" y="11"/>
                  <a:pt x="20" y="11"/>
                </a:cubicBezTo>
                <a:cubicBezTo>
                  <a:pt x="20" y="11"/>
                  <a:pt x="20" y="9"/>
                  <a:pt x="20" y="6"/>
                </a:cubicBezTo>
                <a:cubicBezTo>
                  <a:pt x="20" y="6"/>
                  <a:pt x="20" y="6"/>
                  <a:pt x="20" y="6"/>
                </a:cubicBezTo>
                <a:cubicBezTo>
                  <a:pt x="20" y="5"/>
                  <a:pt x="20" y="5"/>
                  <a:pt x="20" y="5"/>
                </a:cubicBezTo>
                <a:cubicBezTo>
                  <a:pt x="20" y="4"/>
                  <a:pt x="20" y="4"/>
                  <a:pt x="20" y="3"/>
                </a:cubicBezTo>
                <a:cubicBezTo>
                  <a:pt x="19" y="2"/>
                  <a:pt x="19" y="2"/>
                  <a:pt x="19" y="2"/>
                </a:cubicBezTo>
                <a:cubicBezTo>
                  <a:pt x="19" y="2"/>
                  <a:pt x="18" y="2"/>
                  <a:pt x="17" y="2"/>
                </a:cubicBezTo>
                <a:cubicBezTo>
                  <a:pt x="17" y="2"/>
                  <a:pt x="17" y="1"/>
                  <a:pt x="17" y="1"/>
                </a:cubicBezTo>
                <a:cubicBezTo>
                  <a:pt x="11" y="1"/>
                  <a:pt x="11" y="1"/>
                  <a:pt x="11" y="1"/>
                </a:cubicBezTo>
                <a:cubicBezTo>
                  <a:pt x="8" y="1"/>
                  <a:pt x="6" y="1"/>
                  <a:pt x="5" y="0"/>
                </a:cubicBezTo>
                <a:cubicBezTo>
                  <a:pt x="5" y="2"/>
                  <a:pt x="5" y="3"/>
                  <a:pt x="4" y="4"/>
                </a:cubicBezTo>
                <a:cubicBezTo>
                  <a:pt x="4" y="4"/>
                  <a:pt x="4" y="4"/>
                  <a:pt x="4" y="4"/>
                </a:cubicBezTo>
                <a:cubicBezTo>
                  <a:pt x="8" y="6"/>
                  <a:pt x="8" y="6"/>
                  <a:pt x="8" y="6"/>
                </a:cubicBezTo>
                <a:cubicBezTo>
                  <a:pt x="8" y="7"/>
                  <a:pt x="8" y="7"/>
                  <a:pt x="8" y="7"/>
                </a:cubicBezTo>
                <a:cubicBezTo>
                  <a:pt x="3" y="5"/>
                  <a:pt x="3" y="5"/>
                  <a:pt x="3" y="5"/>
                </a:cubicBezTo>
                <a:cubicBezTo>
                  <a:pt x="3" y="6"/>
                  <a:pt x="3" y="7"/>
                  <a:pt x="4" y="6"/>
                </a:cubicBezTo>
                <a:cubicBezTo>
                  <a:pt x="4" y="6"/>
                  <a:pt x="4" y="6"/>
                  <a:pt x="3" y="6"/>
                </a:cubicBezTo>
                <a:cubicBezTo>
                  <a:pt x="3" y="7"/>
                  <a:pt x="2" y="8"/>
                  <a:pt x="1" y="9"/>
                </a:cubicBezTo>
                <a:cubicBezTo>
                  <a:pt x="0" y="10"/>
                  <a:pt x="0" y="11"/>
                  <a:pt x="1" y="11"/>
                </a:cubicBezTo>
                <a:cubicBezTo>
                  <a:pt x="2" y="11"/>
                  <a:pt x="2" y="11"/>
                  <a:pt x="2" y="11"/>
                </a:cubicBezTo>
                <a:cubicBezTo>
                  <a:pt x="2" y="11"/>
                  <a:pt x="3" y="12"/>
                  <a:pt x="3" y="12"/>
                </a:cubicBezTo>
                <a:cubicBezTo>
                  <a:pt x="3" y="12"/>
                  <a:pt x="3" y="12"/>
                  <a:pt x="3" y="12"/>
                </a:cubicBezTo>
                <a:lnTo>
                  <a:pt x="3" y="11"/>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10" name="Freeform 3067">
            <a:extLst>
              <a:ext uri="{FF2B5EF4-FFF2-40B4-BE49-F238E27FC236}">
                <a16:creationId xmlns:a16="http://schemas.microsoft.com/office/drawing/2014/main" id="{386E4146-17E4-4257-B3B2-65154C1816D7}"/>
              </a:ext>
            </a:extLst>
          </p:cNvPr>
          <p:cNvSpPr>
            <a:spLocks/>
          </p:cNvSpPr>
          <p:nvPr/>
        </p:nvSpPr>
        <p:spPr bwMode="auto">
          <a:xfrm>
            <a:off x="3484698" y="3824474"/>
            <a:ext cx="9416" cy="16027"/>
          </a:xfrm>
          <a:custGeom>
            <a:avLst/>
            <a:gdLst>
              <a:gd name="T0" fmla="*/ 1 w 8"/>
              <a:gd name="T1" fmla="*/ 8 h 11"/>
              <a:gd name="T2" fmla="*/ 2 w 8"/>
              <a:gd name="T3" fmla="*/ 11 h 11"/>
              <a:gd name="T4" fmla="*/ 2 w 8"/>
              <a:gd name="T5" fmla="*/ 11 h 11"/>
              <a:gd name="T6" fmla="*/ 4 w 8"/>
              <a:gd name="T7" fmla="*/ 11 h 11"/>
              <a:gd name="T8" fmla="*/ 3 w 8"/>
              <a:gd name="T9" fmla="*/ 7 h 11"/>
              <a:gd name="T10" fmla="*/ 3 w 8"/>
              <a:gd name="T11" fmla="*/ 6 h 11"/>
              <a:gd name="T12" fmla="*/ 3 w 8"/>
              <a:gd name="T13" fmla="*/ 6 h 11"/>
              <a:gd name="T14" fmla="*/ 3 w 8"/>
              <a:gd name="T15" fmla="*/ 6 h 11"/>
              <a:gd name="T16" fmla="*/ 3 w 8"/>
              <a:gd name="T17" fmla="*/ 5 h 11"/>
              <a:gd name="T18" fmla="*/ 3 w 8"/>
              <a:gd name="T19" fmla="*/ 4 h 11"/>
              <a:gd name="T20" fmla="*/ 4 w 8"/>
              <a:gd name="T21" fmla="*/ 3 h 11"/>
              <a:gd name="T22" fmla="*/ 6 w 8"/>
              <a:gd name="T23" fmla="*/ 2 h 11"/>
              <a:gd name="T24" fmla="*/ 7 w 8"/>
              <a:gd name="T25" fmla="*/ 2 h 11"/>
              <a:gd name="T26" fmla="*/ 8 w 8"/>
              <a:gd name="T27" fmla="*/ 1 h 11"/>
              <a:gd name="T28" fmla="*/ 8 w 8"/>
              <a:gd name="T29" fmla="*/ 0 h 11"/>
              <a:gd name="T30" fmla="*/ 8 w 8"/>
              <a:gd name="T31" fmla="*/ 0 h 11"/>
              <a:gd name="T32" fmla="*/ 5 w 8"/>
              <a:gd name="T33" fmla="*/ 2 h 11"/>
              <a:gd name="T34" fmla="*/ 5 w 8"/>
              <a:gd name="T35" fmla="*/ 2 h 11"/>
              <a:gd name="T36" fmla="*/ 3 w 8"/>
              <a:gd name="T37" fmla="*/ 3 h 11"/>
              <a:gd name="T38" fmla="*/ 3 w 8"/>
              <a:gd name="T39" fmla="*/ 4 h 11"/>
              <a:gd name="T40" fmla="*/ 1 w 8"/>
              <a:gd name="T41" fmla="*/ 5 h 11"/>
              <a:gd name="T42" fmla="*/ 1 w 8"/>
              <a:gd name="T43" fmla="*/ 6 h 11"/>
              <a:gd name="T44" fmla="*/ 0 w 8"/>
              <a:gd name="T45" fmla="*/ 6 h 11"/>
              <a:gd name="T46" fmla="*/ 1 w 8"/>
              <a:gd name="T47" fmla="*/ 7 h 11"/>
              <a:gd name="T48" fmla="*/ 1 w 8"/>
              <a:gd name="T49"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11">
                <a:moveTo>
                  <a:pt x="1" y="8"/>
                </a:moveTo>
                <a:cubicBezTo>
                  <a:pt x="2" y="9"/>
                  <a:pt x="2" y="10"/>
                  <a:pt x="2" y="11"/>
                </a:cubicBezTo>
                <a:cubicBezTo>
                  <a:pt x="2" y="11"/>
                  <a:pt x="2" y="11"/>
                  <a:pt x="2" y="11"/>
                </a:cubicBezTo>
                <a:cubicBezTo>
                  <a:pt x="3" y="11"/>
                  <a:pt x="3" y="11"/>
                  <a:pt x="4" y="11"/>
                </a:cubicBezTo>
                <a:cubicBezTo>
                  <a:pt x="4" y="10"/>
                  <a:pt x="4" y="9"/>
                  <a:pt x="3" y="7"/>
                </a:cubicBezTo>
                <a:cubicBezTo>
                  <a:pt x="3" y="7"/>
                  <a:pt x="3" y="6"/>
                  <a:pt x="3" y="6"/>
                </a:cubicBezTo>
                <a:cubicBezTo>
                  <a:pt x="3" y="6"/>
                  <a:pt x="3" y="6"/>
                  <a:pt x="3" y="6"/>
                </a:cubicBezTo>
                <a:cubicBezTo>
                  <a:pt x="3" y="6"/>
                  <a:pt x="3" y="6"/>
                  <a:pt x="3" y="6"/>
                </a:cubicBezTo>
                <a:cubicBezTo>
                  <a:pt x="3" y="5"/>
                  <a:pt x="3" y="5"/>
                  <a:pt x="3" y="5"/>
                </a:cubicBezTo>
                <a:cubicBezTo>
                  <a:pt x="3" y="5"/>
                  <a:pt x="3" y="5"/>
                  <a:pt x="3" y="4"/>
                </a:cubicBezTo>
                <a:cubicBezTo>
                  <a:pt x="4" y="4"/>
                  <a:pt x="4" y="4"/>
                  <a:pt x="4" y="3"/>
                </a:cubicBezTo>
                <a:cubicBezTo>
                  <a:pt x="5" y="3"/>
                  <a:pt x="6" y="2"/>
                  <a:pt x="6" y="2"/>
                </a:cubicBezTo>
                <a:cubicBezTo>
                  <a:pt x="7" y="2"/>
                  <a:pt x="7" y="2"/>
                  <a:pt x="7" y="2"/>
                </a:cubicBezTo>
                <a:cubicBezTo>
                  <a:pt x="7" y="1"/>
                  <a:pt x="8" y="1"/>
                  <a:pt x="8" y="1"/>
                </a:cubicBezTo>
                <a:cubicBezTo>
                  <a:pt x="8" y="0"/>
                  <a:pt x="8" y="0"/>
                  <a:pt x="8" y="0"/>
                </a:cubicBezTo>
                <a:cubicBezTo>
                  <a:pt x="8" y="0"/>
                  <a:pt x="8" y="0"/>
                  <a:pt x="8" y="0"/>
                </a:cubicBezTo>
                <a:cubicBezTo>
                  <a:pt x="7" y="1"/>
                  <a:pt x="6" y="1"/>
                  <a:pt x="5" y="2"/>
                </a:cubicBezTo>
                <a:cubicBezTo>
                  <a:pt x="5" y="2"/>
                  <a:pt x="5" y="2"/>
                  <a:pt x="5" y="2"/>
                </a:cubicBezTo>
                <a:cubicBezTo>
                  <a:pt x="4" y="3"/>
                  <a:pt x="4" y="3"/>
                  <a:pt x="3" y="3"/>
                </a:cubicBezTo>
                <a:cubicBezTo>
                  <a:pt x="3" y="4"/>
                  <a:pt x="3" y="4"/>
                  <a:pt x="3" y="4"/>
                </a:cubicBezTo>
                <a:cubicBezTo>
                  <a:pt x="2" y="4"/>
                  <a:pt x="2" y="5"/>
                  <a:pt x="1" y="5"/>
                </a:cubicBezTo>
                <a:cubicBezTo>
                  <a:pt x="1" y="6"/>
                  <a:pt x="1" y="6"/>
                  <a:pt x="1" y="6"/>
                </a:cubicBezTo>
                <a:cubicBezTo>
                  <a:pt x="0" y="6"/>
                  <a:pt x="0" y="6"/>
                  <a:pt x="0" y="6"/>
                </a:cubicBezTo>
                <a:cubicBezTo>
                  <a:pt x="0" y="6"/>
                  <a:pt x="1" y="7"/>
                  <a:pt x="1" y="7"/>
                </a:cubicBezTo>
                <a:cubicBezTo>
                  <a:pt x="1" y="7"/>
                  <a:pt x="1" y="8"/>
                  <a:pt x="1" y="8"/>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11" name="Freeform 3068">
            <a:extLst>
              <a:ext uri="{FF2B5EF4-FFF2-40B4-BE49-F238E27FC236}">
                <a16:creationId xmlns:a16="http://schemas.microsoft.com/office/drawing/2014/main" id="{9AB1C881-847A-4F44-B662-F83070650750}"/>
              </a:ext>
            </a:extLst>
          </p:cNvPr>
          <p:cNvSpPr>
            <a:spLocks/>
          </p:cNvSpPr>
          <p:nvPr/>
        </p:nvSpPr>
        <p:spPr bwMode="auto">
          <a:xfrm>
            <a:off x="3350897" y="3583474"/>
            <a:ext cx="34194" cy="85478"/>
          </a:xfrm>
          <a:custGeom>
            <a:avLst/>
            <a:gdLst>
              <a:gd name="T0" fmla="*/ 18 w 29"/>
              <a:gd name="T1" fmla="*/ 57 h 61"/>
              <a:gd name="T2" fmla="*/ 18 w 29"/>
              <a:gd name="T3" fmla="*/ 53 h 61"/>
              <a:gd name="T4" fmla="*/ 18 w 29"/>
              <a:gd name="T5" fmla="*/ 48 h 61"/>
              <a:gd name="T6" fmla="*/ 17 w 29"/>
              <a:gd name="T7" fmla="*/ 41 h 61"/>
              <a:gd name="T8" fmla="*/ 17 w 29"/>
              <a:gd name="T9" fmla="*/ 40 h 61"/>
              <a:gd name="T10" fmla="*/ 18 w 29"/>
              <a:gd name="T11" fmla="*/ 34 h 61"/>
              <a:gd name="T12" fmla="*/ 18 w 29"/>
              <a:gd name="T13" fmla="*/ 34 h 61"/>
              <a:gd name="T14" fmla="*/ 21 w 29"/>
              <a:gd name="T15" fmla="*/ 31 h 61"/>
              <a:gd name="T16" fmla="*/ 21 w 29"/>
              <a:gd name="T17" fmla="*/ 31 h 61"/>
              <a:gd name="T18" fmla="*/ 23 w 29"/>
              <a:gd name="T19" fmla="*/ 28 h 61"/>
              <a:gd name="T20" fmla="*/ 26 w 29"/>
              <a:gd name="T21" fmla="*/ 22 h 61"/>
              <a:gd name="T22" fmla="*/ 27 w 29"/>
              <a:gd name="T23" fmla="*/ 22 h 61"/>
              <a:gd name="T24" fmla="*/ 27 w 29"/>
              <a:gd name="T25" fmla="*/ 19 h 61"/>
              <a:gd name="T26" fmla="*/ 28 w 29"/>
              <a:gd name="T27" fmla="*/ 17 h 61"/>
              <a:gd name="T28" fmla="*/ 28 w 29"/>
              <a:gd name="T29" fmla="*/ 17 h 61"/>
              <a:gd name="T30" fmla="*/ 29 w 29"/>
              <a:gd name="T31" fmla="*/ 16 h 61"/>
              <a:gd name="T32" fmla="*/ 28 w 29"/>
              <a:gd name="T33" fmla="*/ 14 h 61"/>
              <a:gd name="T34" fmla="*/ 27 w 29"/>
              <a:gd name="T35" fmla="*/ 11 h 61"/>
              <a:gd name="T36" fmla="*/ 26 w 29"/>
              <a:gd name="T37" fmla="*/ 7 h 61"/>
              <a:gd name="T38" fmla="*/ 26 w 29"/>
              <a:gd name="T39" fmla="*/ 6 h 61"/>
              <a:gd name="T40" fmla="*/ 20 w 29"/>
              <a:gd name="T41" fmla="*/ 0 h 61"/>
              <a:gd name="T42" fmla="*/ 20 w 29"/>
              <a:gd name="T43" fmla="*/ 0 h 61"/>
              <a:gd name="T44" fmla="*/ 18 w 29"/>
              <a:gd name="T45" fmla="*/ 0 h 61"/>
              <a:gd name="T46" fmla="*/ 17 w 29"/>
              <a:gd name="T47" fmla="*/ 1 h 61"/>
              <a:gd name="T48" fmla="*/ 17 w 29"/>
              <a:gd name="T49" fmla="*/ 2 h 61"/>
              <a:gd name="T50" fmla="*/ 17 w 29"/>
              <a:gd name="T51" fmla="*/ 3 h 61"/>
              <a:gd name="T52" fmla="*/ 17 w 29"/>
              <a:gd name="T53" fmla="*/ 4 h 61"/>
              <a:gd name="T54" fmla="*/ 16 w 29"/>
              <a:gd name="T55" fmla="*/ 5 h 61"/>
              <a:gd name="T56" fmla="*/ 13 w 29"/>
              <a:gd name="T57" fmla="*/ 8 h 61"/>
              <a:gd name="T58" fmla="*/ 13 w 29"/>
              <a:gd name="T59" fmla="*/ 9 h 61"/>
              <a:gd name="T60" fmla="*/ 12 w 29"/>
              <a:gd name="T61" fmla="*/ 9 h 61"/>
              <a:gd name="T62" fmla="*/ 11 w 29"/>
              <a:gd name="T63" fmla="*/ 9 h 61"/>
              <a:gd name="T64" fmla="*/ 10 w 29"/>
              <a:gd name="T65" fmla="*/ 9 h 61"/>
              <a:gd name="T66" fmla="*/ 8 w 29"/>
              <a:gd name="T67" fmla="*/ 9 h 61"/>
              <a:gd name="T68" fmla="*/ 6 w 29"/>
              <a:gd name="T69" fmla="*/ 9 h 61"/>
              <a:gd name="T70" fmla="*/ 4 w 29"/>
              <a:gd name="T71" fmla="*/ 10 h 61"/>
              <a:gd name="T72" fmla="*/ 5 w 29"/>
              <a:gd name="T73" fmla="*/ 13 h 61"/>
              <a:gd name="T74" fmla="*/ 1 w 29"/>
              <a:gd name="T75" fmla="*/ 14 h 61"/>
              <a:gd name="T76" fmla="*/ 1 w 29"/>
              <a:gd name="T77" fmla="*/ 14 h 61"/>
              <a:gd name="T78" fmla="*/ 0 w 29"/>
              <a:gd name="T79" fmla="*/ 18 h 61"/>
              <a:gd name="T80" fmla="*/ 3 w 29"/>
              <a:gd name="T81" fmla="*/ 21 h 61"/>
              <a:gd name="T82" fmla="*/ 5 w 29"/>
              <a:gd name="T83" fmla="*/ 22 h 61"/>
              <a:gd name="T84" fmla="*/ 5 w 29"/>
              <a:gd name="T85" fmla="*/ 22 h 61"/>
              <a:gd name="T86" fmla="*/ 6 w 29"/>
              <a:gd name="T87" fmla="*/ 28 h 61"/>
              <a:gd name="T88" fmla="*/ 6 w 29"/>
              <a:gd name="T89" fmla="*/ 29 h 61"/>
              <a:gd name="T90" fmla="*/ 7 w 29"/>
              <a:gd name="T91" fmla="*/ 30 h 61"/>
              <a:gd name="T92" fmla="*/ 7 w 29"/>
              <a:gd name="T93" fmla="*/ 30 h 61"/>
              <a:gd name="T94" fmla="*/ 9 w 29"/>
              <a:gd name="T95" fmla="*/ 37 h 61"/>
              <a:gd name="T96" fmla="*/ 9 w 29"/>
              <a:gd name="T97" fmla="*/ 41 h 61"/>
              <a:gd name="T98" fmla="*/ 9 w 29"/>
              <a:gd name="T99" fmla="*/ 49 h 61"/>
              <a:gd name="T100" fmla="*/ 8 w 29"/>
              <a:gd name="T101" fmla="*/ 53 h 61"/>
              <a:gd name="T102" fmla="*/ 9 w 29"/>
              <a:gd name="T103" fmla="*/ 56 h 61"/>
              <a:gd name="T104" fmla="*/ 8 w 29"/>
              <a:gd name="T105" fmla="*/ 57 h 61"/>
              <a:gd name="T106" fmla="*/ 9 w 29"/>
              <a:gd name="T107" fmla="*/ 57 h 61"/>
              <a:gd name="T108" fmla="*/ 10 w 29"/>
              <a:gd name="T109" fmla="*/ 59 h 61"/>
              <a:gd name="T110" fmla="*/ 10 w 29"/>
              <a:gd name="T111" fmla="*/ 60 h 61"/>
              <a:gd name="T112" fmla="*/ 10 w 29"/>
              <a:gd name="T113" fmla="*/ 61 h 61"/>
              <a:gd name="T114" fmla="*/ 17 w 29"/>
              <a:gd name="T11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 h="61">
                <a:moveTo>
                  <a:pt x="17" y="61"/>
                </a:moveTo>
                <a:cubicBezTo>
                  <a:pt x="17" y="59"/>
                  <a:pt x="18" y="58"/>
                  <a:pt x="18" y="57"/>
                </a:cubicBezTo>
                <a:cubicBezTo>
                  <a:pt x="18" y="56"/>
                  <a:pt x="18" y="56"/>
                  <a:pt x="18" y="55"/>
                </a:cubicBezTo>
                <a:cubicBezTo>
                  <a:pt x="18" y="55"/>
                  <a:pt x="18" y="54"/>
                  <a:pt x="18" y="53"/>
                </a:cubicBezTo>
                <a:cubicBezTo>
                  <a:pt x="18" y="52"/>
                  <a:pt x="18" y="51"/>
                  <a:pt x="18" y="50"/>
                </a:cubicBezTo>
                <a:cubicBezTo>
                  <a:pt x="18" y="48"/>
                  <a:pt x="18" y="48"/>
                  <a:pt x="18" y="48"/>
                </a:cubicBezTo>
                <a:cubicBezTo>
                  <a:pt x="17" y="47"/>
                  <a:pt x="17" y="46"/>
                  <a:pt x="17" y="45"/>
                </a:cubicBezTo>
                <a:cubicBezTo>
                  <a:pt x="17" y="44"/>
                  <a:pt x="17" y="43"/>
                  <a:pt x="17" y="41"/>
                </a:cubicBezTo>
                <a:cubicBezTo>
                  <a:pt x="17" y="41"/>
                  <a:pt x="17" y="41"/>
                  <a:pt x="17" y="41"/>
                </a:cubicBezTo>
                <a:cubicBezTo>
                  <a:pt x="17" y="41"/>
                  <a:pt x="17" y="41"/>
                  <a:pt x="17" y="40"/>
                </a:cubicBezTo>
                <a:cubicBezTo>
                  <a:pt x="17" y="39"/>
                  <a:pt x="18" y="37"/>
                  <a:pt x="18" y="36"/>
                </a:cubicBezTo>
                <a:cubicBezTo>
                  <a:pt x="18" y="35"/>
                  <a:pt x="18" y="34"/>
                  <a:pt x="18" y="34"/>
                </a:cubicBezTo>
                <a:cubicBezTo>
                  <a:pt x="17" y="34"/>
                  <a:pt x="17" y="34"/>
                  <a:pt x="17" y="34"/>
                </a:cubicBezTo>
                <a:cubicBezTo>
                  <a:pt x="18" y="34"/>
                  <a:pt x="18" y="34"/>
                  <a:pt x="18" y="34"/>
                </a:cubicBezTo>
                <a:cubicBezTo>
                  <a:pt x="18" y="33"/>
                  <a:pt x="18" y="32"/>
                  <a:pt x="19" y="32"/>
                </a:cubicBezTo>
                <a:cubicBezTo>
                  <a:pt x="19" y="31"/>
                  <a:pt x="20" y="31"/>
                  <a:pt x="21" y="31"/>
                </a:cubicBezTo>
                <a:cubicBezTo>
                  <a:pt x="21" y="31"/>
                  <a:pt x="21" y="31"/>
                  <a:pt x="21" y="31"/>
                </a:cubicBezTo>
                <a:cubicBezTo>
                  <a:pt x="21" y="31"/>
                  <a:pt x="21" y="31"/>
                  <a:pt x="21" y="31"/>
                </a:cubicBezTo>
                <a:cubicBezTo>
                  <a:pt x="21" y="31"/>
                  <a:pt x="22" y="31"/>
                  <a:pt x="22" y="31"/>
                </a:cubicBezTo>
                <a:cubicBezTo>
                  <a:pt x="22" y="30"/>
                  <a:pt x="22" y="29"/>
                  <a:pt x="23" y="28"/>
                </a:cubicBezTo>
                <a:cubicBezTo>
                  <a:pt x="23" y="27"/>
                  <a:pt x="23" y="26"/>
                  <a:pt x="24" y="25"/>
                </a:cubicBezTo>
                <a:cubicBezTo>
                  <a:pt x="26" y="22"/>
                  <a:pt x="26" y="22"/>
                  <a:pt x="26" y="22"/>
                </a:cubicBezTo>
                <a:cubicBezTo>
                  <a:pt x="27" y="22"/>
                  <a:pt x="27" y="22"/>
                  <a:pt x="27" y="22"/>
                </a:cubicBezTo>
                <a:cubicBezTo>
                  <a:pt x="27" y="22"/>
                  <a:pt x="27" y="22"/>
                  <a:pt x="27" y="22"/>
                </a:cubicBezTo>
                <a:cubicBezTo>
                  <a:pt x="26" y="21"/>
                  <a:pt x="26" y="21"/>
                  <a:pt x="26" y="20"/>
                </a:cubicBezTo>
                <a:cubicBezTo>
                  <a:pt x="26" y="19"/>
                  <a:pt x="27" y="19"/>
                  <a:pt x="27" y="19"/>
                </a:cubicBezTo>
                <a:cubicBezTo>
                  <a:pt x="27" y="18"/>
                  <a:pt x="27" y="18"/>
                  <a:pt x="27" y="18"/>
                </a:cubicBezTo>
                <a:cubicBezTo>
                  <a:pt x="27" y="18"/>
                  <a:pt x="27" y="17"/>
                  <a:pt x="28" y="17"/>
                </a:cubicBezTo>
                <a:cubicBezTo>
                  <a:pt x="28" y="17"/>
                  <a:pt x="28" y="17"/>
                  <a:pt x="28" y="17"/>
                </a:cubicBezTo>
                <a:cubicBezTo>
                  <a:pt x="28" y="17"/>
                  <a:pt x="28" y="17"/>
                  <a:pt x="28" y="17"/>
                </a:cubicBezTo>
                <a:cubicBezTo>
                  <a:pt x="29" y="16"/>
                  <a:pt x="29" y="16"/>
                  <a:pt x="29" y="16"/>
                </a:cubicBezTo>
                <a:cubicBezTo>
                  <a:pt x="29" y="16"/>
                  <a:pt x="29" y="16"/>
                  <a:pt x="29" y="16"/>
                </a:cubicBezTo>
                <a:cubicBezTo>
                  <a:pt x="29" y="15"/>
                  <a:pt x="29" y="15"/>
                  <a:pt x="29" y="15"/>
                </a:cubicBezTo>
                <a:cubicBezTo>
                  <a:pt x="28" y="14"/>
                  <a:pt x="28" y="14"/>
                  <a:pt x="28" y="14"/>
                </a:cubicBezTo>
                <a:cubicBezTo>
                  <a:pt x="28" y="13"/>
                  <a:pt x="28" y="13"/>
                  <a:pt x="28" y="13"/>
                </a:cubicBezTo>
                <a:cubicBezTo>
                  <a:pt x="28" y="12"/>
                  <a:pt x="28" y="12"/>
                  <a:pt x="27" y="11"/>
                </a:cubicBezTo>
                <a:cubicBezTo>
                  <a:pt x="27" y="11"/>
                  <a:pt x="27" y="11"/>
                  <a:pt x="27" y="11"/>
                </a:cubicBezTo>
                <a:cubicBezTo>
                  <a:pt x="26" y="10"/>
                  <a:pt x="25" y="9"/>
                  <a:pt x="26" y="7"/>
                </a:cubicBezTo>
                <a:cubicBezTo>
                  <a:pt x="26" y="7"/>
                  <a:pt x="26" y="7"/>
                  <a:pt x="26" y="7"/>
                </a:cubicBezTo>
                <a:cubicBezTo>
                  <a:pt x="26" y="7"/>
                  <a:pt x="26" y="6"/>
                  <a:pt x="26" y="6"/>
                </a:cubicBezTo>
                <a:cubicBezTo>
                  <a:pt x="26" y="6"/>
                  <a:pt x="26" y="6"/>
                  <a:pt x="25" y="5"/>
                </a:cubicBezTo>
                <a:cubicBezTo>
                  <a:pt x="23" y="4"/>
                  <a:pt x="22" y="2"/>
                  <a:pt x="20" y="0"/>
                </a:cubicBezTo>
                <a:cubicBezTo>
                  <a:pt x="20" y="0"/>
                  <a:pt x="20" y="0"/>
                  <a:pt x="20" y="0"/>
                </a:cubicBezTo>
                <a:cubicBezTo>
                  <a:pt x="20" y="0"/>
                  <a:pt x="20" y="0"/>
                  <a:pt x="20" y="0"/>
                </a:cubicBezTo>
                <a:cubicBezTo>
                  <a:pt x="19" y="0"/>
                  <a:pt x="19" y="0"/>
                  <a:pt x="19" y="0"/>
                </a:cubicBezTo>
                <a:cubicBezTo>
                  <a:pt x="19" y="0"/>
                  <a:pt x="18" y="0"/>
                  <a:pt x="18" y="0"/>
                </a:cubicBezTo>
                <a:cubicBezTo>
                  <a:pt x="17" y="0"/>
                  <a:pt x="17" y="0"/>
                  <a:pt x="17" y="0"/>
                </a:cubicBezTo>
                <a:cubicBezTo>
                  <a:pt x="17" y="1"/>
                  <a:pt x="17" y="1"/>
                  <a:pt x="17" y="1"/>
                </a:cubicBezTo>
                <a:cubicBezTo>
                  <a:pt x="17" y="1"/>
                  <a:pt x="17" y="1"/>
                  <a:pt x="17" y="1"/>
                </a:cubicBezTo>
                <a:cubicBezTo>
                  <a:pt x="17" y="1"/>
                  <a:pt x="17" y="2"/>
                  <a:pt x="17" y="2"/>
                </a:cubicBezTo>
                <a:cubicBezTo>
                  <a:pt x="17" y="3"/>
                  <a:pt x="17" y="3"/>
                  <a:pt x="17" y="3"/>
                </a:cubicBezTo>
                <a:cubicBezTo>
                  <a:pt x="17" y="3"/>
                  <a:pt x="17" y="3"/>
                  <a:pt x="17" y="3"/>
                </a:cubicBezTo>
                <a:cubicBezTo>
                  <a:pt x="17" y="4"/>
                  <a:pt x="17" y="4"/>
                  <a:pt x="17" y="4"/>
                </a:cubicBezTo>
                <a:cubicBezTo>
                  <a:pt x="17" y="4"/>
                  <a:pt x="17" y="4"/>
                  <a:pt x="17" y="4"/>
                </a:cubicBezTo>
                <a:cubicBezTo>
                  <a:pt x="17" y="5"/>
                  <a:pt x="17" y="5"/>
                  <a:pt x="17" y="5"/>
                </a:cubicBezTo>
                <a:cubicBezTo>
                  <a:pt x="16" y="5"/>
                  <a:pt x="16" y="5"/>
                  <a:pt x="16" y="5"/>
                </a:cubicBezTo>
                <a:cubicBezTo>
                  <a:pt x="16" y="6"/>
                  <a:pt x="15" y="7"/>
                  <a:pt x="14" y="8"/>
                </a:cubicBezTo>
                <a:cubicBezTo>
                  <a:pt x="14" y="8"/>
                  <a:pt x="14" y="8"/>
                  <a:pt x="13" y="8"/>
                </a:cubicBezTo>
                <a:cubicBezTo>
                  <a:pt x="13" y="8"/>
                  <a:pt x="13" y="9"/>
                  <a:pt x="13" y="9"/>
                </a:cubicBezTo>
                <a:cubicBezTo>
                  <a:pt x="13" y="9"/>
                  <a:pt x="13" y="9"/>
                  <a:pt x="13" y="9"/>
                </a:cubicBezTo>
                <a:cubicBezTo>
                  <a:pt x="13" y="9"/>
                  <a:pt x="13" y="9"/>
                  <a:pt x="12" y="9"/>
                </a:cubicBezTo>
                <a:cubicBezTo>
                  <a:pt x="12" y="9"/>
                  <a:pt x="12" y="9"/>
                  <a:pt x="12" y="9"/>
                </a:cubicBezTo>
                <a:cubicBezTo>
                  <a:pt x="12" y="9"/>
                  <a:pt x="11" y="9"/>
                  <a:pt x="11" y="9"/>
                </a:cubicBezTo>
                <a:cubicBezTo>
                  <a:pt x="11" y="9"/>
                  <a:pt x="11" y="9"/>
                  <a:pt x="11" y="9"/>
                </a:cubicBezTo>
                <a:cubicBezTo>
                  <a:pt x="10" y="9"/>
                  <a:pt x="10" y="9"/>
                  <a:pt x="10" y="9"/>
                </a:cubicBezTo>
                <a:cubicBezTo>
                  <a:pt x="10" y="9"/>
                  <a:pt x="10" y="9"/>
                  <a:pt x="10" y="9"/>
                </a:cubicBezTo>
                <a:cubicBezTo>
                  <a:pt x="9" y="9"/>
                  <a:pt x="9" y="9"/>
                  <a:pt x="8" y="9"/>
                </a:cubicBezTo>
                <a:cubicBezTo>
                  <a:pt x="8" y="9"/>
                  <a:pt x="8" y="9"/>
                  <a:pt x="8" y="9"/>
                </a:cubicBezTo>
                <a:cubicBezTo>
                  <a:pt x="8" y="9"/>
                  <a:pt x="7" y="9"/>
                  <a:pt x="7" y="9"/>
                </a:cubicBezTo>
                <a:cubicBezTo>
                  <a:pt x="6" y="9"/>
                  <a:pt x="6" y="9"/>
                  <a:pt x="6" y="9"/>
                </a:cubicBezTo>
                <a:cubicBezTo>
                  <a:pt x="6" y="9"/>
                  <a:pt x="5" y="10"/>
                  <a:pt x="5" y="10"/>
                </a:cubicBezTo>
                <a:cubicBezTo>
                  <a:pt x="4" y="10"/>
                  <a:pt x="4" y="10"/>
                  <a:pt x="4" y="10"/>
                </a:cubicBezTo>
                <a:cubicBezTo>
                  <a:pt x="4" y="11"/>
                  <a:pt x="4" y="11"/>
                  <a:pt x="3" y="11"/>
                </a:cubicBezTo>
                <a:cubicBezTo>
                  <a:pt x="5" y="13"/>
                  <a:pt x="5" y="13"/>
                  <a:pt x="5" y="13"/>
                </a:cubicBezTo>
                <a:cubicBezTo>
                  <a:pt x="3" y="13"/>
                  <a:pt x="3" y="13"/>
                  <a:pt x="3" y="13"/>
                </a:cubicBezTo>
                <a:cubicBezTo>
                  <a:pt x="2" y="13"/>
                  <a:pt x="2" y="14"/>
                  <a:pt x="1" y="14"/>
                </a:cubicBezTo>
                <a:cubicBezTo>
                  <a:pt x="1" y="15"/>
                  <a:pt x="1" y="15"/>
                  <a:pt x="1" y="15"/>
                </a:cubicBezTo>
                <a:cubicBezTo>
                  <a:pt x="1" y="14"/>
                  <a:pt x="1" y="14"/>
                  <a:pt x="1" y="14"/>
                </a:cubicBezTo>
                <a:cubicBezTo>
                  <a:pt x="1" y="15"/>
                  <a:pt x="0" y="16"/>
                  <a:pt x="0" y="16"/>
                </a:cubicBezTo>
                <a:cubicBezTo>
                  <a:pt x="0" y="17"/>
                  <a:pt x="0" y="17"/>
                  <a:pt x="0" y="18"/>
                </a:cubicBezTo>
                <a:cubicBezTo>
                  <a:pt x="0" y="18"/>
                  <a:pt x="1" y="19"/>
                  <a:pt x="1" y="19"/>
                </a:cubicBezTo>
                <a:cubicBezTo>
                  <a:pt x="2" y="20"/>
                  <a:pt x="3" y="20"/>
                  <a:pt x="3" y="21"/>
                </a:cubicBezTo>
                <a:cubicBezTo>
                  <a:pt x="4" y="21"/>
                  <a:pt x="4" y="21"/>
                  <a:pt x="4" y="21"/>
                </a:cubicBezTo>
                <a:cubicBezTo>
                  <a:pt x="4" y="21"/>
                  <a:pt x="5" y="21"/>
                  <a:pt x="5" y="22"/>
                </a:cubicBezTo>
                <a:cubicBezTo>
                  <a:pt x="5" y="22"/>
                  <a:pt x="5" y="22"/>
                  <a:pt x="5" y="22"/>
                </a:cubicBezTo>
                <a:cubicBezTo>
                  <a:pt x="5" y="22"/>
                  <a:pt x="5" y="22"/>
                  <a:pt x="5" y="22"/>
                </a:cubicBezTo>
                <a:cubicBezTo>
                  <a:pt x="6" y="22"/>
                  <a:pt x="6" y="24"/>
                  <a:pt x="6" y="27"/>
                </a:cubicBezTo>
                <a:cubicBezTo>
                  <a:pt x="6" y="27"/>
                  <a:pt x="6" y="28"/>
                  <a:pt x="6" y="28"/>
                </a:cubicBezTo>
                <a:cubicBezTo>
                  <a:pt x="6" y="28"/>
                  <a:pt x="6" y="28"/>
                  <a:pt x="6" y="28"/>
                </a:cubicBezTo>
                <a:cubicBezTo>
                  <a:pt x="6" y="29"/>
                  <a:pt x="6" y="29"/>
                  <a:pt x="6" y="29"/>
                </a:cubicBezTo>
                <a:cubicBezTo>
                  <a:pt x="6" y="29"/>
                  <a:pt x="7" y="29"/>
                  <a:pt x="7" y="29"/>
                </a:cubicBezTo>
                <a:cubicBezTo>
                  <a:pt x="7" y="29"/>
                  <a:pt x="7" y="29"/>
                  <a:pt x="7" y="30"/>
                </a:cubicBezTo>
                <a:cubicBezTo>
                  <a:pt x="7" y="30"/>
                  <a:pt x="7" y="30"/>
                  <a:pt x="7" y="30"/>
                </a:cubicBezTo>
                <a:cubicBezTo>
                  <a:pt x="7" y="30"/>
                  <a:pt x="7" y="30"/>
                  <a:pt x="7" y="30"/>
                </a:cubicBezTo>
                <a:cubicBezTo>
                  <a:pt x="8" y="31"/>
                  <a:pt x="8" y="31"/>
                  <a:pt x="8" y="31"/>
                </a:cubicBezTo>
                <a:cubicBezTo>
                  <a:pt x="9" y="33"/>
                  <a:pt x="9" y="35"/>
                  <a:pt x="9" y="37"/>
                </a:cubicBezTo>
                <a:cubicBezTo>
                  <a:pt x="9" y="38"/>
                  <a:pt x="9" y="38"/>
                  <a:pt x="9" y="38"/>
                </a:cubicBezTo>
                <a:cubicBezTo>
                  <a:pt x="9" y="39"/>
                  <a:pt x="9" y="40"/>
                  <a:pt x="9" y="41"/>
                </a:cubicBezTo>
                <a:cubicBezTo>
                  <a:pt x="9" y="42"/>
                  <a:pt x="9" y="42"/>
                  <a:pt x="9" y="42"/>
                </a:cubicBezTo>
                <a:cubicBezTo>
                  <a:pt x="9" y="44"/>
                  <a:pt x="9" y="46"/>
                  <a:pt x="9" y="49"/>
                </a:cubicBezTo>
                <a:cubicBezTo>
                  <a:pt x="9" y="50"/>
                  <a:pt x="9" y="51"/>
                  <a:pt x="9" y="52"/>
                </a:cubicBezTo>
                <a:cubicBezTo>
                  <a:pt x="8" y="53"/>
                  <a:pt x="8" y="53"/>
                  <a:pt x="8" y="53"/>
                </a:cubicBezTo>
                <a:cubicBezTo>
                  <a:pt x="8" y="54"/>
                  <a:pt x="8" y="54"/>
                  <a:pt x="8" y="55"/>
                </a:cubicBezTo>
                <a:cubicBezTo>
                  <a:pt x="9" y="55"/>
                  <a:pt x="9" y="55"/>
                  <a:pt x="9" y="56"/>
                </a:cubicBezTo>
                <a:cubicBezTo>
                  <a:pt x="9" y="56"/>
                  <a:pt x="9" y="56"/>
                  <a:pt x="9" y="56"/>
                </a:cubicBezTo>
                <a:cubicBezTo>
                  <a:pt x="8" y="57"/>
                  <a:pt x="8" y="57"/>
                  <a:pt x="8" y="57"/>
                </a:cubicBezTo>
                <a:cubicBezTo>
                  <a:pt x="8" y="57"/>
                  <a:pt x="8" y="57"/>
                  <a:pt x="8" y="57"/>
                </a:cubicBezTo>
                <a:cubicBezTo>
                  <a:pt x="8" y="57"/>
                  <a:pt x="9" y="57"/>
                  <a:pt x="9" y="57"/>
                </a:cubicBezTo>
                <a:cubicBezTo>
                  <a:pt x="9" y="57"/>
                  <a:pt x="9" y="57"/>
                  <a:pt x="9" y="57"/>
                </a:cubicBezTo>
                <a:cubicBezTo>
                  <a:pt x="9" y="58"/>
                  <a:pt x="9" y="58"/>
                  <a:pt x="10" y="59"/>
                </a:cubicBezTo>
                <a:cubicBezTo>
                  <a:pt x="12" y="58"/>
                  <a:pt x="12" y="58"/>
                  <a:pt x="12" y="58"/>
                </a:cubicBezTo>
                <a:cubicBezTo>
                  <a:pt x="10" y="60"/>
                  <a:pt x="10" y="60"/>
                  <a:pt x="10" y="60"/>
                </a:cubicBezTo>
                <a:cubicBezTo>
                  <a:pt x="10" y="60"/>
                  <a:pt x="10" y="60"/>
                  <a:pt x="10" y="60"/>
                </a:cubicBezTo>
                <a:cubicBezTo>
                  <a:pt x="10" y="60"/>
                  <a:pt x="10" y="61"/>
                  <a:pt x="10" y="61"/>
                </a:cubicBezTo>
                <a:cubicBezTo>
                  <a:pt x="11" y="61"/>
                  <a:pt x="13" y="61"/>
                  <a:pt x="14" y="61"/>
                </a:cubicBezTo>
                <a:cubicBezTo>
                  <a:pt x="14" y="61"/>
                  <a:pt x="16" y="61"/>
                  <a:pt x="17" y="6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12" name="Freeform 3069">
            <a:extLst>
              <a:ext uri="{FF2B5EF4-FFF2-40B4-BE49-F238E27FC236}">
                <a16:creationId xmlns:a16="http://schemas.microsoft.com/office/drawing/2014/main" id="{00DCACB2-BD60-4B42-A208-5AB64AF89FE3}"/>
              </a:ext>
            </a:extLst>
          </p:cNvPr>
          <p:cNvSpPr>
            <a:spLocks/>
          </p:cNvSpPr>
          <p:nvPr/>
        </p:nvSpPr>
        <p:spPr bwMode="auto">
          <a:xfrm>
            <a:off x="3340490" y="3601282"/>
            <a:ext cx="19822" cy="70638"/>
          </a:xfrm>
          <a:custGeom>
            <a:avLst/>
            <a:gdLst>
              <a:gd name="T0" fmla="*/ 17 w 17"/>
              <a:gd name="T1" fmla="*/ 47 h 50"/>
              <a:gd name="T2" fmla="*/ 17 w 17"/>
              <a:gd name="T3" fmla="*/ 47 h 50"/>
              <a:gd name="T4" fmla="*/ 16 w 17"/>
              <a:gd name="T5" fmla="*/ 45 h 50"/>
              <a:gd name="T6" fmla="*/ 15 w 17"/>
              <a:gd name="T7" fmla="*/ 45 h 50"/>
              <a:gd name="T8" fmla="*/ 15 w 17"/>
              <a:gd name="T9" fmla="*/ 43 h 50"/>
              <a:gd name="T10" fmla="*/ 15 w 17"/>
              <a:gd name="T11" fmla="*/ 42 h 50"/>
              <a:gd name="T12" fmla="*/ 15 w 17"/>
              <a:gd name="T13" fmla="*/ 39 h 50"/>
              <a:gd name="T14" fmla="*/ 15 w 17"/>
              <a:gd name="T15" fmla="*/ 29 h 50"/>
              <a:gd name="T16" fmla="*/ 15 w 17"/>
              <a:gd name="T17" fmla="*/ 25 h 50"/>
              <a:gd name="T18" fmla="*/ 15 w 17"/>
              <a:gd name="T19" fmla="*/ 20 h 50"/>
              <a:gd name="T20" fmla="*/ 14 w 17"/>
              <a:gd name="T21" fmla="*/ 19 h 50"/>
              <a:gd name="T22" fmla="*/ 13 w 17"/>
              <a:gd name="T23" fmla="*/ 17 h 50"/>
              <a:gd name="T24" fmla="*/ 13 w 17"/>
              <a:gd name="T25" fmla="*/ 16 h 50"/>
              <a:gd name="T26" fmla="*/ 13 w 17"/>
              <a:gd name="T27" fmla="*/ 14 h 50"/>
              <a:gd name="T28" fmla="*/ 13 w 17"/>
              <a:gd name="T29" fmla="*/ 11 h 50"/>
              <a:gd name="T30" fmla="*/ 12 w 17"/>
              <a:gd name="T31" fmla="*/ 11 h 50"/>
              <a:gd name="T32" fmla="*/ 11 w 17"/>
              <a:gd name="T33" fmla="*/ 10 h 50"/>
              <a:gd name="T34" fmla="*/ 7 w 17"/>
              <a:gd name="T35" fmla="*/ 5 h 50"/>
              <a:gd name="T36" fmla="*/ 8 w 17"/>
              <a:gd name="T37" fmla="*/ 1 h 50"/>
              <a:gd name="T38" fmla="*/ 1 w 17"/>
              <a:gd name="T39" fmla="*/ 0 h 50"/>
              <a:gd name="T40" fmla="*/ 1 w 17"/>
              <a:gd name="T41" fmla="*/ 1 h 50"/>
              <a:gd name="T42" fmla="*/ 4 w 17"/>
              <a:gd name="T43" fmla="*/ 5 h 50"/>
              <a:gd name="T44" fmla="*/ 4 w 17"/>
              <a:gd name="T45" fmla="*/ 12 h 50"/>
              <a:gd name="T46" fmla="*/ 4 w 17"/>
              <a:gd name="T47" fmla="*/ 13 h 50"/>
              <a:gd name="T48" fmla="*/ 5 w 17"/>
              <a:gd name="T49" fmla="*/ 15 h 50"/>
              <a:gd name="T50" fmla="*/ 6 w 17"/>
              <a:gd name="T51" fmla="*/ 19 h 50"/>
              <a:gd name="T52" fmla="*/ 6 w 17"/>
              <a:gd name="T53" fmla="*/ 20 h 50"/>
              <a:gd name="T54" fmla="*/ 6 w 17"/>
              <a:gd name="T55" fmla="*/ 21 h 50"/>
              <a:gd name="T56" fmla="*/ 6 w 17"/>
              <a:gd name="T57" fmla="*/ 24 h 50"/>
              <a:gd name="T58" fmla="*/ 8 w 17"/>
              <a:gd name="T59" fmla="*/ 28 h 50"/>
              <a:gd name="T60" fmla="*/ 7 w 17"/>
              <a:gd name="T61" fmla="*/ 30 h 50"/>
              <a:gd name="T62" fmla="*/ 6 w 17"/>
              <a:gd name="T63" fmla="*/ 35 h 50"/>
              <a:gd name="T64" fmla="*/ 8 w 17"/>
              <a:gd name="T65" fmla="*/ 36 h 50"/>
              <a:gd name="T66" fmla="*/ 7 w 17"/>
              <a:gd name="T67" fmla="*/ 40 h 50"/>
              <a:gd name="T68" fmla="*/ 7 w 17"/>
              <a:gd name="T69" fmla="*/ 41 h 50"/>
              <a:gd name="T70" fmla="*/ 11 w 17"/>
              <a:gd name="T71" fmla="*/ 48 h 50"/>
              <a:gd name="T72" fmla="*/ 13 w 17"/>
              <a:gd name="T73" fmla="*/ 49 h 50"/>
              <a:gd name="T74" fmla="*/ 14 w 17"/>
              <a:gd name="T75" fmla="*/ 49 h 50"/>
              <a:gd name="T76" fmla="*/ 16 w 17"/>
              <a:gd name="T77"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 h="50">
                <a:moveTo>
                  <a:pt x="16" y="48"/>
                </a:moveTo>
                <a:cubicBezTo>
                  <a:pt x="17" y="47"/>
                  <a:pt x="17" y="47"/>
                  <a:pt x="17" y="47"/>
                </a:cubicBezTo>
                <a:cubicBezTo>
                  <a:pt x="17" y="47"/>
                  <a:pt x="17" y="47"/>
                  <a:pt x="17" y="47"/>
                </a:cubicBezTo>
                <a:cubicBezTo>
                  <a:pt x="17" y="47"/>
                  <a:pt x="17" y="47"/>
                  <a:pt x="17" y="47"/>
                </a:cubicBezTo>
                <a:cubicBezTo>
                  <a:pt x="16" y="47"/>
                  <a:pt x="16" y="46"/>
                  <a:pt x="16" y="46"/>
                </a:cubicBezTo>
                <a:cubicBezTo>
                  <a:pt x="16" y="45"/>
                  <a:pt x="16" y="45"/>
                  <a:pt x="16" y="45"/>
                </a:cubicBezTo>
                <a:cubicBezTo>
                  <a:pt x="15" y="45"/>
                  <a:pt x="15" y="45"/>
                  <a:pt x="15" y="45"/>
                </a:cubicBezTo>
                <a:cubicBezTo>
                  <a:pt x="15" y="45"/>
                  <a:pt x="15" y="45"/>
                  <a:pt x="15" y="45"/>
                </a:cubicBezTo>
                <a:cubicBezTo>
                  <a:pt x="15" y="44"/>
                  <a:pt x="15" y="44"/>
                  <a:pt x="15" y="44"/>
                </a:cubicBezTo>
                <a:cubicBezTo>
                  <a:pt x="15" y="43"/>
                  <a:pt x="15" y="43"/>
                  <a:pt x="15" y="43"/>
                </a:cubicBezTo>
                <a:cubicBezTo>
                  <a:pt x="15" y="43"/>
                  <a:pt x="15" y="43"/>
                  <a:pt x="15" y="43"/>
                </a:cubicBezTo>
                <a:cubicBezTo>
                  <a:pt x="15" y="42"/>
                  <a:pt x="15" y="42"/>
                  <a:pt x="15" y="42"/>
                </a:cubicBezTo>
                <a:cubicBezTo>
                  <a:pt x="15" y="41"/>
                  <a:pt x="15" y="41"/>
                  <a:pt x="15" y="40"/>
                </a:cubicBezTo>
                <a:cubicBezTo>
                  <a:pt x="15" y="39"/>
                  <a:pt x="15" y="39"/>
                  <a:pt x="15" y="39"/>
                </a:cubicBezTo>
                <a:cubicBezTo>
                  <a:pt x="15" y="38"/>
                  <a:pt x="15" y="37"/>
                  <a:pt x="16" y="35"/>
                </a:cubicBezTo>
                <a:cubicBezTo>
                  <a:pt x="16" y="33"/>
                  <a:pt x="16" y="31"/>
                  <a:pt x="15" y="29"/>
                </a:cubicBezTo>
                <a:cubicBezTo>
                  <a:pt x="15" y="28"/>
                  <a:pt x="15" y="28"/>
                  <a:pt x="15" y="28"/>
                </a:cubicBezTo>
                <a:cubicBezTo>
                  <a:pt x="15" y="27"/>
                  <a:pt x="15" y="26"/>
                  <a:pt x="15" y="25"/>
                </a:cubicBezTo>
                <a:cubicBezTo>
                  <a:pt x="15" y="24"/>
                  <a:pt x="15" y="24"/>
                  <a:pt x="15" y="24"/>
                </a:cubicBezTo>
                <a:cubicBezTo>
                  <a:pt x="15" y="22"/>
                  <a:pt x="16" y="20"/>
                  <a:pt x="15" y="20"/>
                </a:cubicBezTo>
                <a:cubicBezTo>
                  <a:pt x="15" y="19"/>
                  <a:pt x="15" y="19"/>
                  <a:pt x="14" y="19"/>
                </a:cubicBezTo>
                <a:cubicBezTo>
                  <a:pt x="14" y="19"/>
                  <a:pt x="14" y="19"/>
                  <a:pt x="14" y="19"/>
                </a:cubicBezTo>
                <a:cubicBezTo>
                  <a:pt x="14" y="19"/>
                  <a:pt x="14" y="18"/>
                  <a:pt x="14" y="18"/>
                </a:cubicBezTo>
                <a:cubicBezTo>
                  <a:pt x="13" y="18"/>
                  <a:pt x="13" y="18"/>
                  <a:pt x="13" y="17"/>
                </a:cubicBezTo>
                <a:cubicBezTo>
                  <a:pt x="13" y="17"/>
                  <a:pt x="13" y="17"/>
                  <a:pt x="13" y="16"/>
                </a:cubicBezTo>
                <a:cubicBezTo>
                  <a:pt x="13" y="16"/>
                  <a:pt x="13" y="16"/>
                  <a:pt x="13" y="16"/>
                </a:cubicBezTo>
                <a:cubicBezTo>
                  <a:pt x="13" y="15"/>
                  <a:pt x="13" y="15"/>
                  <a:pt x="13" y="15"/>
                </a:cubicBezTo>
                <a:cubicBezTo>
                  <a:pt x="13" y="15"/>
                  <a:pt x="13" y="14"/>
                  <a:pt x="13" y="14"/>
                </a:cubicBezTo>
                <a:cubicBezTo>
                  <a:pt x="13" y="13"/>
                  <a:pt x="13" y="13"/>
                  <a:pt x="13" y="13"/>
                </a:cubicBezTo>
                <a:cubicBezTo>
                  <a:pt x="13" y="13"/>
                  <a:pt x="13" y="11"/>
                  <a:pt x="13" y="11"/>
                </a:cubicBezTo>
                <a:cubicBezTo>
                  <a:pt x="13" y="11"/>
                  <a:pt x="13" y="11"/>
                  <a:pt x="13" y="11"/>
                </a:cubicBezTo>
                <a:cubicBezTo>
                  <a:pt x="12" y="11"/>
                  <a:pt x="12" y="11"/>
                  <a:pt x="12" y="11"/>
                </a:cubicBezTo>
                <a:cubicBezTo>
                  <a:pt x="12" y="10"/>
                  <a:pt x="12" y="10"/>
                  <a:pt x="12" y="10"/>
                </a:cubicBezTo>
                <a:cubicBezTo>
                  <a:pt x="11" y="10"/>
                  <a:pt x="11" y="10"/>
                  <a:pt x="11" y="10"/>
                </a:cubicBezTo>
                <a:cubicBezTo>
                  <a:pt x="10" y="9"/>
                  <a:pt x="9" y="9"/>
                  <a:pt x="8" y="8"/>
                </a:cubicBezTo>
                <a:cubicBezTo>
                  <a:pt x="8" y="7"/>
                  <a:pt x="7" y="6"/>
                  <a:pt x="7" y="5"/>
                </a:cubicBezTo>
                <a:cubicBezTo>
                  <a:pt x="7" y="4"/>
                  <a:pt x="7" y="4"/>
                  <a:pt x="7" y="3"/>
                </a:cubicBezTo>
                <a:cubicBezTo>
                  <a:pt x="7" y="2"/>
                  <a:pt x="7" y="2"/>
                  <a:pt x="8" y="1"/>
                </a:cubicBezTo>
                <a:cubicBezTo>
                  <a:pt x="7" y="1"/>
                  <a:pt x="7" y="1"/>
                  <a:pt x="7" y="1"/>
                </a:cubicBezTo>
                <a:cubicBezTo>
                  <a:pt x="5" y="1"/>
                  <a:pt x="3" y="0"/>
                  <a:pt x="1" y="0"/>
                </a:cubicBezTo>
                <a:cubicBezTo>
                  <a:pt x="1" y="0"/>
                  <a:pt x="1" y="0"/>
                  <a:pt x="1" y="0"/>
                </a:cubicBezTo>
                <a:cubicBezTo>
                  <a:pt x="1" y="1"/>
                  <a:pt x="1" y="1"/>
                  <a:pt x="1" y="1"/>
                </a:cubicBezTo>
                <a:cubicBezTo>
                  <a:pt x="0" y="2"/>
                  <a:pt x="0" y="2"/>
                  <a:pt x="1" y="3"/>
                </a:cubicBezTo>
                <a:cubicBezTo>
                  <a:pt x="4" y="5"/>
                  <a:pt x="4" y="5"/>
                  <a:pt x="4" y="5"/>
                </a:cubicBezTo>
                <a:cubicBezTo>
                  <a:pt x="6" y="7"/>
                  <a:pt x="5" y="10"/>
                  <a:pt x="5" y="12"/>
                </a:cubicBezTo>
                <a:cubicBezTo>
                  <a:pt x="4" y="12"/>
                  <a:pt x="4" y="12"/>
                  <a:pt x="4" y="12"/>
                </a:cubicBezTo>
                <a:cubicBezTo>
                  <a:pt x="4" y="13"/>
                  <a:pt x="4" y="13"/>
                  <a:pt x="4" y="13"/>
                </a:cubicBezTo>
                <a:cubicBezTo>
                  <a:pt x="4" y="13"/>
                  <a:pt x="4" y="13"/>
                  <a:pt x="4" y="13"/>
                </a:cubicBezTo>
                <a:cubicBezTo>
                  <a:pt x="7" y="13"/>
                  <a:pt x="7" y="13"/>
                  <a:pt x="7" y="13"/>
                </a:cubicBezTo>
                <a:cubicBezTo>
                  <a:pt x="5" y="15"/>
                  <a:pt x="5" y="15"/>
                  <a:pt x="5" y="15"/>
                </a:cubicBezTo>
                <a:cubicBezTo>
                  <a:pt x="5" y="16"/>
                  <a:pt x="5" y="17"/>
                  <a:pt x="5" y="18"/>
                </a:cubicBezTo>
                <a:cubicBezTo>
                  <a:pt x="6" y="19"/>
                  <a:pt x="6" y="19"/>
                  <a:pt x="6" y="19"/>
                </a:cubicBezTo>
                <a:cubicBezTo>
                  <a:pt x="6" y="19"/>
                  <a:pt x="6" y="19"/>
                  <a:pt x="6" y="19"/>
                </a:cubicBezTo>
                <a:cubicBezTo>
                  <a:pt x="6" y="20"/>
                  <a:pt x="6" y="20"/>
                  <a:pt x="6" y="20"/>
                </a:cubicBezTo>
                <a:cubicBezTo>
                  <a:pt x="6" y="20"/>
                  <a:pt x="6" y="21"/>
                  <a:pt x="6" y="21"/>
                </a:cubicBezTo>
                <a:cubicBezTo>
                  <a:pt x="6" y="21"/>
                  <a:pt x="6" y="21"/>
                  <a:pt x="6" y="21"/>
                </a:cubicBezTo>
                <a:cubicBezTo>
                  <a:pt x="6" y="22"/>
                  <a:pt x="6" y="22"/>
                  <a:pt x="6" y="23"/>
                </a:cubicBezTo>
                <a:cubicBezTo>
                  <a:pt x="6" y="23"/>
                  <a:pt x="6" y="23"/>
                  <a:pt x="6" y="24"/>
                </a:cubicBezTo>
                <a:cubicBezTo>
                  <a:pt x="7" y="24"/>
                  <a:pt x="7" y="24"/>
                  <a:pt x="7" y="25"/>
                </a:cubicBezTo>
                <a:cubicBezTo>
                  <a:pt x="9" y="26"/>
                  <a:pt x="8" y="28"/>
                  <a:pt x="8" y="28"/>
                </a:cubicBezTo>
                <a:cubicBezTo>
                  <a:pt x="8" y="29"/>
                  <a:pt x="7" y="29"/>
                  <a:pt x="7" y="29"/>
                </a:cubicBezTo>
                <a:cubicBezTo>
                  <a:pt x="7" y="29"/>
                  <a:pt x="7" y="30"/>
                  <a:pt x="7" y="30"/>
                </a:cubicBezTo>
                <a:cubicBezTo>
                  <a:pt x="8" y="31"/>
                  <a:pt x="7" y="33"/>
                  <a:pt x="7" y="35"/>
                </a:cubicBezTo>
                <a:cubicBezTo>
                  <a:pt x="7" y="35"/>
                  <a:pt x="7" y="35"/>
                  <a:pt x="6" y="35"/>
                </a:cubicBezTo>
                <a:cubicBezTo>
                  <a:pt x="6" y="35"/>
                  <a:pt x="6" y="35"/>
                  <a:pt x="6" y="35"/>
                </a:cubicBezTo>
                <a:cubicBezTo>
                  <a:pt x="7" y="35"/>
                  <a:pt x="7" y="36"/>
                  <a:pt x="8" y="36"/>
                </a:cubicBezTo>
                <a:cubicBezTo>
                  <a:pt x="8" y="37"/>
                  <a:pt x="8" y="38"/>
                  <a:pt x="7" y="40"/>
                </a:cubicBezTo>
                <a:cubicBezTo>
                  <a:pt x="7" y="40"/>
                  <a:pt x="7" y="40"/>
                  <a:pt x="7" y="40"/>
                </a:cubicBezTo>
                <a:cubicBezTo>
                  <a:pt x="7" y="41"/>
                  <a:pt x="7" y="41"/>
                  <a:pt x="7" y="41"/>
                </a:cubicBezTo>
                <a:cubicBezTo>
                  <a:pt x="7" y="41"/>
                  <a:pt x="7" y="41"/>
                  <a:pt x="7" y="41"/>
                </a:cubicBezTo>
                <a:cubicBezTo>
                  <a:pt x="7" y="41"/>
                  <a:pt x="7" y="41"/>
                  <a:pt x="7" y="41"/>
                </a:cubicBezTo>
                <a:cubicBezTo>
                  <a:pt x="8" y="44"/>
                  <a:pt x="9" y="46"/>
                  <a:pt x="11" y="48"/>
                </a:cubicBezTo>
                <a:cubicBezTo>
                  <a:pt x="12" y="48"/>
                  <a:pt x="12" y="49"/>
                  <a:pt x="13" y="49"/>
                </a:cubicBezTo>
                <a:cubicBezTo>
                  <a:pt x="13" y="49"/>
                  <a:pt x="13" y="49"/>
                  <a:pt x="13" y="49"/>
                </a:cubicBezTo>
                <a:cubicBezTo>
                  <a:pt x="13" y="50"/>
                  <a:pt x="13" y="50"/>
                  <a:pt x="13" y="50"/>
                </a:cubicBezTo>
                <a:cubicBezTo>
                  <a:pt x="13" y="50"/>
                  <a:pt x="14" y="50"/>
                  <a:pt x="14" y="49"/>
                </a:cubicBezTo>
                <a:cubicBezTo>
                  <a:pt x="15" y="49"/>
                  <a:pt x="15" y="49"/>
                  <a:pt x="16" y="49"/>
                </a:cubicBezTo>
                <a:lnTo>
                  <a:pt x="16" y="48"/>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13" name="Freeform 3070">
            <a:extLst>
              <a:ext uri="{FF2B5EF4-FFF2-40B4-BE49-F238E27FC236}">
                <a16:creationId xmlns:a16="http://schemas.microsoft.com/office/drawing/2014/main" id="{C8077432-E1C2-41D7-AF8E-0B1B31E6ED23}"/>
              </a:ext>
            </a:extLst>
          </p:cNvPr>
          <p:cNvSpPr>
            <a:spLocks/>
          </p:cNvSpPr>
          <p:nvPr/>
        </p:nvSpPr>
        <p:spPr bwMode="auto">
          <a:xfrm>
            <a:off x="3302827" y="3600095"/>
            <a:ext cx="50547" cy="91414"/>
          </a:xfrm>
          <a:custGeom>
            <a:avLst/>
            <a:gdLst>
              <a:gd name="T0" fmla="*/ 36 w 43"/>
              <a:gd name="T1" fmla="*/ 42 h 65"/>
              <a:gd name="T2" fmla="*/ 37 w 43"/>
              <a:gd name="T3" fmla="*/ 41 h 65"/>
              <a:gd name="T4" fmla="*/ 37 w 43"/>
              <a:gd name="T5" fmla="*/ 40 h 65"/>
              <a:gd name="T6" fmla="*/ 36 w 43"/>
              <a:gd name="T7" fmla="*/ 37 h 65"/>
              <a:gd name="T8" fmla="*/ 36 w 43"/>
              <a:gd name="T9" fmla="*/ 35 h 65"/>
              <a:gd name="T10" fmla="*/ 37 w 43"/>
              <a:gd name="T11" fmla="*/ 31 h 65"/>
              <a:gd name="T12" fmla="*/ 37 w 43"/>
              <a:gd name="T13" fmla="*/ 28 h 65"/>
              <a:gd name="T14" fmla="*/ 37 w 43"/>
              <a:gd name="T15" fmla="*/ 27 h 65"/>
              <a:gd name="T16" fmla="*/ 35 w 43"/>
              <a:gd name="T17" fmla="*/ 24 h 65"/>
              <a:gd name="T18" fmla="*/ 35 w 43"/>
              <a:gd name="T19" fmla="*/ 23 h 65"/>
              <a:gd name="T20" fmla="*/ 36 w 43"/>
              <a:gd name="T21" fmla="*/ 21 h 65"/>
              <a:gd name="T22" fmla="*/ 35 w 43"/>
              <a:gd name="T23" fmla="*/ 18 h 65"/>
              <a:gd name="T24" fmla="*/ 33 w 43"/>
              <a:gd name="T25" fmla="*/ 16 h 65"/>
              <a:gd name="T26" fmla="*/ 34 w 43"/>
              <a:gd name="T27" fmla="*/ 12 h 65"/>
              <a:gd name="T28" fmla="*/ 34 w 43"/>
              <a:gd name="T29" fmla="*/ 8 h 65"/>
              <a:gd name="T30" fmla="*/ 30 w 43"/>
              <a:gd name="T31" fmla="*/ 1 h 65"/>
              <a:gd name="T32" fmla="*/ 31 w 43"/>
              <a:gd name="T33" fmla="*/ 1 h 65"/>
              <a:gd name="T34" fmla="*/ 28 w 43"/>
              <a:gd name="T35" fmla="*/ 1 h 65"/>
              <a:gd name="T36" fmla="*/ 27 w 43"/>
              <a:gd name="T37" fmla="*/ 2 h 65"/>
              <a:gd name="T38" fmla="*/ 27 w 43"/>
              <a:gd name="T39" fmla="*/ 1 h 65"/>
              <a:gd name="T40" fmla="*/ 26 w 43"/>
              <a:gd name="T41" fmla="*/ 2 h 65"/>
              <a:gd name="T42" fmla="*/ 26 w 43"/>
              <a:gd name="T43" fmla="*/ 2 h 65"/>
              <a:gd name="T44" fmla="*/ 22 w 43"/>
              <a:gd name="T45" fmla="*/ 2 h 65"/>
              <a:gd name="T46" fmla="*/ 10 w 43"/>
              <a:gd name="T47" fmla="*/ 2 h 65"/>
              <a:gd name="T48" fmla="*/ 7 w 43"/>
              <a:gd name="T49" fmla="*/ 2 h 65"/>
              <a:gd name="T50" fmla="*/ 4 w 43"/>
              <a:gd name="T51" fmla="*/ 2 h 65"/>
              <a:gd name="T52" fmla="*/ 3 w 43"/>
              <a:gd name="T53" fmla="*/ 4 h 65"/>
              <a:gd name="T54" fmla="*/ 6 w 43"/>
              <a:gd name="T55" fmla="*/ 7 h 65"/>
              <a:gd name="T56" fmla="*/ 6 w 43"/>
              <a:gd name="T57" fmla="*/ 12 h 65"/>
              <a:gd name="T58" fmla="*/ 6 w 43"/>
              <a:gd name="T59" fmla="*/ 16 h 65"/>
              <a:gd name="T60" fmla="*/ 6 w 43"/>
              <a:gd name="T61" fmla="*/ 16 h 65"/>
              <a:gd name="T62" fmla="*/ 6 w 43"/>
              <a:gd name="T63" fmla="*/ 17 h 65"/>
              <a:gd name="T64" fmla="*/ 5 w 43"/>
              <a:gd name="T65" fmla="*/ 18 h 65"/>
              <a:gd name="T66" fmla="*/ 5 w 43"/>
              <a:gd name="T67" fmla="*/ 20 h 65"/>
              <a:gd name="T68" fmla="*/ 5 w 43"/>
              <a:gd name="T69" fmla="*/ 21 h 65"/>
              <a:gd name="T70" fmla="*/ 6 w 43"/>
              <a:gd name="T71" fmla="*/ 23 h 65"/>
              <a:gd name="T72" fmla="*/ 6 w 43"/>
              <a:gd name="T73" fmla="*/ 32 h 65"/>
              <a:gd name="T74" fmla="*/ 5 w 43"/>
              <a:gd name="T75" fmla="*/ 34 h 65"/>
              <a:gd name="T76" fmla="*/ 3 w 43"/>
              <a:gd name="T77" fmla="*/ 37 h 65"/>
              <a:gd name="T78" fmla="*/ 3 w 43"/>
              <a:gd name="T79" fmla="*/ 38 h 65"/>
              <a:gd name="T80" fmla="*/ 0 w 43"/>
              <a:gd name="T81" fmla="*/ 45 h 65"/>
              <a:gd name="T82" fmla="*/ 2 w 43"/>
              <a:gd name="T83" fmla="*/ 53 h 65"/>
              <a:gd name="T84" fmla="*/ 2 w 43"/>
              <a:gd name="T85" fmla="*/ 54 h 65"/>
              <a:gd name="T86" fmla="*/ 3 w 43"/>
              <a:gd name="T87" fmla="*/ 55 h 65"/>
              <a:gd name="T88" fmla="*/ 5 w 43"/>
              <a:gd name="T89" fmla="*/ 58 h 65"/>
              <a:gd name="T90" fmla="*/ 5 w 43"/>
              <a:gd name="T91" fmla="*/ 59 h 65"/>
              <a:gd name="T92" fmla="*/ 5 w 43"/>
              <a:gd name="T93" fmla="*/ 61 h 65"/>
              <a:gd name="T94" fmla="*/ 5 w 43"/>
              <a:gd name="T95" fmla="*/ 62 h 65"/>
              <a:gd name="T96" fmla="*/ 4 w 43"/>
              <a:gd name="T97" fmla="*/ 62 h 65"/>
              <a:gd name="T98" fmla="*/ 8 w 43"/>
              <a:gd name="T99" fmla="*/ 64 h 65"/>
              <a:gd name="T100" fmla="*/ 14 w 43"/>
              <a:gd name="T101" fmla="*/ 64 h 65"/>
              <a:gd name="T102" fmla="*/ 24 w 43"/>
              <a:gd name="T103" fmla="*/ 60 h 65"/>
              <a:gd name="T104" fmla="*/ 38 w 43"/>
              <a:gd name="T105" fmla="*/ 54 h 65"/>
              <a:gd name="T106" fmla="*/ 38 w 43"/>
              <a:gd name="T107" fmla="*/ 53 h 65"/>
              <a:gd name="T108" fmla="*/ 43 w 43"/>
              <a:gd name="T109" fmla="*/ 52 h 65"/>
              <a:gd name="T110" fmla="*/ 42 w 43"/>
              <a:gd name="T111" fmla="*/ 5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 h="65">
                <a:moveTo>
                  <a:pt x="42" y="51"/>
                </a:moveTo>
                <a:cubicBezTo>
                  <a:pt x="39" y="48"/>
                  <a:pt x="37" y="46"/>
                  <a:pt x="36" y="42"/>
                </a:cubicBezTo>
                <a:cubicBezTo>
                  <a:pt x="35" y="41"/>
                  <a:pt x="35" y="41"/>
                  <a:pt x="35" y="41"/>
                </a:cubicBezTo>
                <a:cubicBezTo>
                  <a:pt x="37" y="41"/>
                  <a:pt x="37" y="41"/>
                  <a:pt x="37" y="41"/>
                </a:cubicBezTo>
                <a:cubicBezTo>
                  <a:pt x="37" y="41"/>
                  <a:pt x="37" y="40"/>
                  <a:pt x="37" y="40"/>
                </a:cubicBezTo>
                <a:cubicBezTo>
                  <a:pt x="37" y="40"/>
                  <a:pt x="37" y="40"/>
                  <a:pt x="37" y="40"/>
                </a:cubicBezTo>
                <a:cubicBezTo>
                  <a:pt x="37" y="39"/>
                  <a:pt x="37" y="39"/>
                  <a:pt x="37" y="39"/>
                </a:cubicBezTo>
                <a:cubicBezTo>
                  <a:pt x="37" y="38"/>
                  <a:pt x="36" y="38"/>
                  <a:pt x="36" y="37"/>
                </a:cubicBezTo>
                <a:cubicBezTo>
                  <a:pt x="36" y="37"/>
                  <a:pt x="36" y="36"/>
                  <a:pt x="36" y="36"/>
                </a:cubicBezTo>
                <a:cubicBezTo>
                  <a:pt x="36" y="35"/>
                  <a:pt x="36" y="35"/>
                  <a:pt x="36" y="35"/>
                </a:cubicBezTo>
                <a:cubicBezTo>
                  <a:pt x="36" y="35"/>
                  <a:pt x="36" y="35"/>
                  <a:pt x="36" y="35"/>
                </a:cubicBezTo>
                <a:cubicBezTo>
                  <a:pt x="37" y="33"/>
                  <a:pt x="37" y="32"/>
                  <a:pt x="37" y="31"/>
                </a:cubicBezTo>
                <a:cubicBezTo>
                  <a:pt x="37" y="31"/>
                  <a:pt x="37" y="30"/>
                  <a:pt x="37" y="30"/>
                </a:cubicBezTo>
                <a:cubicBezTo>
                  <a:pt x="37" y="29"/>
                  <a:pt x="37" y="29"/>
                  <a:pt x="37" y="28"/>
                </a:cubicBezTo>
                <a:cubicBezTo>
                  <a:pt x="38" y="28"/>
                  <a:pt x="38" y="28"/>
                  <a:pt x="38" y="27"/>
                </a:cubicBezTo>
                <a:cubicBezTo>
                  <a:pt x="37" y="27"/>
                  <a:pt x="37" y="27"/>
                  <a:pt x="37" y="27"/>
                </a:cubicBezTo>
                <a:cubicBezTo>
                  <a:pt x="37" y="26"/>
                  <a:pt x="37" y="26"/>
                  <a:pt x="37" y="26"/>
                </a:cubicBezTo>
                <a:cubicBezTo>
                  <a:pt x="36" y="26"/>
                  <a:pt x="35" y="25"/>
                  <a:pt x="35" y="24"/>
                </a:cubicBezTo>
                <a:cubicBezTo>
                  <a:pt x="34" y="23"/>
                  <a:pt x="34" y="23"/>
                  <a:pt x="34" y="23"/>
                </a:cubicBezTo>
                <a:cubicBezTo>
                  <a:pt x="35" y="23"/>
                  <a:pt x="35" y="23"/>
                  <a:pt x="35" y="23"/>
                </a:cubicBezTo>
                <a:cubicBezTo>
                  <a:pt x="35" y="22"/>
                  <a:pt x="36" y="22"/>
                  <a:pt x="36" y="22"/>
                </a:cubicBezTo>
                <a:cubicBezTo>
                  <a:pt x="36" y="22"/>
                  <a:pt x="36" y="22"/>
                  <a:pt x="36" y="21"/>
                </a:cubicBezTo>
                <a:cubicBezTo>
                  <a:pt x="35" y="21"/>
                  <a:pt x="35" y="21"/>
                  <a:pt x="35" y="20"/>
                </a:cubicBezTo>
                <a:cubicBezTo>
                  <a:pt x="35" y="18"/>
                  <a:pt x="35" y="18"/>
                  <a:pt x="35" y="18"/>
                </a:cubicBezTo>
                <a:cubicBezTo>
                  <a:pt x="34" y="18"/>
                  <a:pt x="34" y="18"/>
                  <a:pt x="34" y="18"/>
                </a:cubicBezTo>
                <a:cubicBezTo>
                  <a:pt x="33" y="18"/>
                  <a:pt x="33" y="17"/>
                  <a:pt x="33" y="16"/>
                </a:cubicBezTo>
                <a:cubicBezTo>
                  <a:pt x="33" y="16"/>
                  <a:pt x="33" y="16"/>
                  <a:pt x="34" y="15"/>
                </a:cubicBezTo>
                <a:cubicBezTo>
                  <a:pt x="33" y="14"/>
                  <a:pt x="34" y="13"/>
                  <a:pt x="34" y="12"/>
                </a:cubicBezTo>
                <a:cubicBezTo>
                  <a:pt x="34" y="12"/>
                  <a:pt x="34" y="12"/>
                  <a:pt x="34" y="12"/>
                </a:cubicBezTo>
                <a:cubicBezTo>
                  <a:pt x="35" y="10"/>
                  <a:pt x="35" y="9"/>
                  <a:pt x="34" y="8"/>
                </a:cubicBezTo>
                <a:cubicBezTo>
                  <a:pt x="31" y="6"/>
                  <a:pt x="31" y="6"/>
                  <a:pt x="31" y="6"/>
                </a:cubicBezTo>
                <a:cubicBezTo>
                  <a:pt x="29" y="4"/>
                  <a:pt x="30" y="2"/>
                  <a:pt x="30" y="1"/>
                </a:cubicBezTo>
                <a:cubicBezTo>
                  <a:pt x="31" y="1"/>
                  <a:pt x="31" y="1"/>
                  <a:pt x="31" y="1"/>
                </a:cubicBezTo>
                <a:cubicBezTo>
                  <a:pt x="31" y="1"/>
                  <a:pt x="31" y="1"/>
                  <a:pt x="31" y="1"/>
                </a:cubicBezTo>
                <a:cubicBezTo>
                  <a:pt x="30" y="0"/>
                  <a:pt x="30" y="0"/>
                  <a:pt x="30" y="0"/>
                </a:cubicBezTo>
                <a:cubicBezTo>
                  <a:pt x="29" y="0"/>
                  <a:pt x="28" y="1"/>
                  <a:pt x="28" y="1"/>
                </a:cubicBezTo>
                <a:cubicBezTo>
                  <a:pt x="28" y="1"/>
                  <a:pt x="28" y="2"/>
                  <a:pt x="28" y="2"/>
                </a:cubicBezTo>
                <a:cubicBezTo>
                  <a:pt x="27" y="2"/>
                  <a:pt x="27" y="2"/>
                  <a:pt x="27" y="2"/>
                </a:cubicBezTo>
                <a:cubicBezTo>
                  <a:pt x="27" y="2"/>
                  <a:pt x="27" y="2"/>
                  <a:pt x="27" y="2"/>
                </a:cubicBezTo>
                <a:cubicBezTo>
                  <a:pt x="27" y="1"/>
                  <a:pt x="27" y="1"/>
                  <a:pt x="27" y="1"/>
                </a:cubicBezTo>
                <a:cubicBezTo>
                  <a:pt x="27" y="2"/>
                  <a:pt x="27" y="2"/>
                  <a:pt x="27" y="2"/>
                </a:cubicBezTo>
                <a:cubicBezTo>
                  <a:pt x="27" y="2"/>
                  <a:pt x="27" y="2"/>
                  <a:pt x="26" y="2"/>
                </a:cubicBezTo>
                <a:cubicBezTo>
                  <a:pt x="26" y="1"/>
                  <a:pt x="26" y="1"/>
                  <a:pt x="26" y="1"/>
                </a:cubicBezTo>
                <a:cubicBezTo>
                  <a:pt x="26" y="2"/>
                  <a:pt x="26" y="2"/>
                  <a:pt x="26" y="2"/>
                </a:cubicBezTo>
                <a:cubicBezTo>
                  <a:pt x="26" y="2"/>
                  <a:pt x="25" y="2"/>
                  <a:pt x="24" y="2"/>
                </a:cubicBezTo>
                <a:cubicBezTo>
                  <a:pt x="22" y="2"/>
                  <a:pt x="22" y="2"/>
                  <a:pt x="22" y="2"/>
                </a:cubicBezTo>
                <a:cubicBezTo>
                  <a:pt x="21" y="2"/>
                  <a:pt x="20" y="2"/>
                  <a:pt x="19" y="2"/>
                </a:cubicBezTo>
                <a:cubicBezTo>
                  <a:pt x="17" y="2"/>
                  <a:pt x="14" y="2"/>
                  <a:pt x="10" y="2"/>
                </a:cubicBezTo>
                <a:cubicBezTo>
                  <a:pt x="10" y="2"/>
                  <a:pt x="10" y="2"/>
                  <a:pt x="10" y="2"/>
                </a:cubicBezTo>
                <a:cubicBezTo>
                  <a:pt x="9" y="2"/>
                  <a:pt x="8" y="2"/>
                  <a:pt x="7" y="2"/>
                </a:cubicBezTo>
                <a:cubicBezTo>
                  <a:pt x="6" y="2"/>
                  <a:pt x="5" y="2"/>
                  <a:pt x="4" y="2"/>
                </a:cubicBezTo>
                <a:cubicBezTo>
                  <a:pt x="4" y="2"/>
                  <a:pt x="4" y="2"/>
                  <a:pt x="4" y="2"/>
                </a:cubicBezTo>
                <a:cubicBezTo>
                  <a:pt x="3" y="3"/>
                  <a:pt x="3" y="3"/>
                  <a:pt x="3" y="4"/>
                </a:cubicBezTo>
                <a:cubicBezTo>
                  <a:pt x="3" y="4"/>
                  <a:pt x="3" y="4"/>
                  <a:pt x="3" y="4"/>
                </a:cubicBezTo>
                <a:cubicBezTo>
                  <a:pt x="4" y="6"/>
                  <a:pt x="5" y="9"/>
                  <a:pt x="5" y="11"/>
                </a:cubicBezTo>
                <a:cubicBezTo>
                  <a:pt x="6" y="7"/>
                  <a:pt x="6" y="7"/>
                  <a:pt x="6" y="7"/>
                </a:cubicBezTo>
                <a:cubicBezTo>
                  <a:pt x="6" y="13"/>
                  <a:pt x="6" y="13"/>
                  <a:pt x="6" y="13"/>
                </a:cubicBezTo>
                <a:cubicBezTo>
                  <a:pt x="6" y="12"/>
                  <a:pt x="6" y="12"/>
                  <a:pt x="6" y="12"/>
                </a:cubicBezTo>
                <a:cubicBezTo>
                  <a:pt x="6" y="16"/>
                  <a:pt x="6" y="16"/>
                  <a:pt x="6" y="16"/>
                </a:cubicBezTo>
                <a:cubicBezTo>
                  <a:pt x="6" y="16"/>
                  <a:pt x="6" y="16"/>
                  <a:pt x="6" y="16"/>
                </a:cubicBezTo>
                <a:cubicBezTo>
                  <a:pt x="6" y="16"/>
                  <a:pt x="6" y="16"/>
                  <a:pt x="6" y="16"/>
                </a:cubicBezTo>
                <a:cubicBezTo>
                  <a:pt x="6" y="16"/>
                  <a:pt x="6" y="16"/>
                  <a:pt x="6" y="16"/>
                </a:cubicBezTo>
                <a:cubicBezTo>
                  <a:pt x="6" y="17"/>
                  <a:pt x="6" y="17"/>
                  <a:pt x="6" y="17"/>
                </a:cubicBezTo>
                <a:cubicBezTo>
                  <a:pt x="6" y="17"/>
                  <a:pt x="6" y="17"/>
                  <a:pt x="6" y="17"/>
                </a:cubicBezTo>
                <a:cubicBezTo>
                  <a:pt x="6" y="17"/>
                  <a:pt x="6" y="17"/>
                  <a:pt x="6" y="17"/>
                </a:cubicBezTo>
                <a:cubicBezTo>
                  <a:pt x="5" y="18"/>
                  <a:pt x="5" y="18"/>
                  <a:pt x="5" y="18"/>
                </a:cubicBezTo>
                <a:cubicBezTo>
                  <a:pt x="5" y="18"/>
                  <a:pt x="5" y="19"/>
                  <a:pt x="5" y="19"/>
                </a:cubicBezTo>
                <a:cubicBezTo>
                  <a:pt x="5" y="20"/>
                  <a:pt x="5" y="20"/>
                  <a:pt x="5" y="20"/>
                </a:cubicBezTo>
                <a:cubicBezTo>
                  <a:pt x="5" y="20"/>
                  <a:pt x="5" y="20"/>
                  <a:pt x="5" y="20"/>
                </a:cubicBezTo>
                <a:cubicBezTo>
                  <a:pt x="5" y="20"/>
                  <a:pt x="5" y="20"/>
                  <a:pt x="5" y="21"/>
                </a:cubicBezTo>
                <a:cubicBezTo>
                  <a:pt x="5" y="21"/>
                  <a:pt x="5" y="21"/>
                  <a:pt x="5" y="21"/>
                </a:cubicBezTo>
                <a:cubicBezTo>
                  <a:pt x="6" y="23"/>
                  <a:pt x="6" y="23"/>
                  <a:pt x="6" y="23"/>
                </a:cubicBezTo>
                <a:cubicBezTo>
                  <a:pt x="7" y="24"/>
                  <a:pt x="7" y="25"/>
                  <a:pt x="7" y="27"/>
                </a:cubicBezTo>
                <a:cubicBezTo>
                  <a:pt x="8" y="29"/>
                  <a:pt x="8" y="30"/>
                  <a:pt x="6" y="32"/>
                </a:cubicBezTo>
                <a:cubicBezTo>
                  <a:pt x="6" y="32"/>
                  <a:pt x="6" y="32"/>
                  <a:pt x="6" y="33"/>
                </a:cubicBezTo>
                <a:cubicBezTo>
                  <a:pt x="5" y="34"/>
                  <a:pt x="5" y="34"/>
                  <a:pt x="5" y="34"/>
                </a:cubicBezTo>
                <a:cubicBezTo>
                  <a:pt x="5" y="34"/>
                  <a:pt x="4" y="34"/>
                  <a:pt x="4" y="35"/>
                </a:cubicBezTo>
                <a:cubicBezTo>
                  <a:pt x="4" y="35"/>
                  <a:pt x="3" y="36"/>
                  <a:pt x="3" y="37"/>
                </a:cubicBezTo>
                <a:cubicBezTo>
                  <a:pt x="3" y="37"/>
                  <a:pt x="3" y="37"/>
                  <a:pt x="3" y="37"/>
                </a:cubicBezTo>
                <a:cubicBezTo>
                  <a:pt x="3" y="37"/>
                  <a:pt x="3" y="38"/>
                  <a:pt x="3" y="38"/>
                </a:cubicBezTo>
                <a:cubicBezTo>
                  <a:pt x="3" y="39"/>
                  <a:pt x="2" y="39"/>
                  <a:pt x="2" y="40"/>
                </a:cubicBezTo>
                <a:cubicBezTo>
                  <a:pt x="1" y="42"/>
                  <a:pt x="0" y="44"/>
                  <a:pt x="0" y="45"/>
                </a:cubicBezTo>
                <a:cubicBezTo>
                  <a:pt x="0" y="46"/>
                  <a:pt x="0" y="46"/>
                  <a:pt x="0" y="46"/>
                </a:cubicBezTo>
                <a:cubicBezTo>
                  <a:pt x="1" y="49"/>
                  <a:pt x="1" y="51"/>
                  <a:pt x="2" y="53"/>
                </a:cubicBezTo>
                <a:cubicBezTo>
                  <a:pt x="2" y="54"/>
                  <a:pt x="2" y="54"/>
                  <a:pt x="2" y="54"/>
                </a:cubicBezTo>
                <a:cubicBezTo>
                  <a:pt x="2" y="54"/>
                  <a:pt x="2" y="54"/>
                  <a:pt x="2" y="54"/>
                </a:cubicBezTo>
                <a:cubicBezTo>
                  <a:pt x="3" y="54"/>
                  <a:pt x="3" y="55"/>
                  <a:pt x="3" y="55"/>
                </a:cubicBezTo>
                <a:cubicBezTo>
                  <a:pt x="3" y="55"/>
                  <a:pt x="3" y="55"/>
                  <a:pt x="3" y="55"/>
                </a:cubicBezTo>
                <a:cubicBezTo>
                  <a:pt x="4" y="56"/>
                  <a:pt x="5" y="57"/>
                  <a:pt x="5" y="58"/>
                </a:cubicBezTo>
                <a:cubicBezTo>
                  <a:pt x="5" y="58"/>
                  <a:pt x="5" y="58"/>
                  <a:pt x="5" y="58"/>
                </a:cubicBezTo>
                <a:cubicBezTo>
                  <a:pt x="5" y="58"/>
                  <a:pt x="5" y="59"/>
                  <a:pt x="5" y="59"/>
                </a:cubicBezTo>
                <a:cubicBezTo>
                  <a:pt x="5" y="59"/>
                  <a:pt x="5" y="59"/>
                  <a:pt x="5" y="59"/>
                </a:cubicBezTo>
                <a:cubicBezTo>
                  <a:pt x="5" y="59"/>
                  <a:pt x="5" y="60"/>
                  <a:pt x="5" y="60"/>
                </a:cubicBezTo>
                <a:cubicBezTo>
                  <a:pt x="5" y="60"/>
                  <a:pt x="5" y="60"/>
                  <a:pt x="5" y="61"/>
                </a:cubicBezTo>
                <a:cubicBezTo>
                  <a:pt x="5" y="61"/>
                  <a:pt x="5" y="61"/>
                  <a:pt x="5" y="61"/>
                </a:cubicBezTo>
                <a:cubicBezTo>
                  <a:pt x="5" y="62"/>
                  <a:pt x="5" y="62"/>
                  <a:pt x="5" y="62"/>
                </a:cubicBezTo>
                <a:cubicBezTo>
                  <a:pt x="5" y="62"/>
                  <a:pt x="5" y="62"/>
                  <a:pt x="4" y="62"/>
                </a:cubicBezTo>
                <a:cubicBezTo>
                  <a:pt x="4" y="62"/>
                  <a:pt x="4" y="62"/>
                  <a:pt x="4" y="62"/>
                </a:cubicBezTo>
                <a:cubicBezTo>
                  <a:pt x="4" y="62"/>
                  <a:pt x="3" y="62"/>
                  <a:pt x="3" y="62"/>
                </a:cubicBezTo>
                <a:cubicBezTo>
                  <a:pt x="5" y="63"/>
                  <a:pt x="7" y="64"/>
                  <a:pt x="8" y="64"/>
                </a:cubicBezTo>
                <a:cubicBezTo>
                  <a:pt x="9" y="65"/>
                  <a:pt x="11" y="65"/>
                  <a:pt x="12" y="65"/>
                </a:cubicBezTo>
                <a:cubicBezTo>
                  <a:pt x="12" y="65"/>
                  <a:pt x="13" y="64"/>
                  <a:pt x="14" y="64"/>
                </a:cubicBezTo>
                <a:cubicBezTo>
                  <a:pt x="14" y="63"/>
                  <a:pt x="15" y="62"/>
                  <a:pt x="16" y="62"/>
                </a:cubicBezTo>
                <a:cubicBezTo>
                  <a:pt x="18" y="61"/>
                  <a:pt x="21" y="61"/>
                  <a:pt x="24" y="60"/>
                </a:cubicBezTo>
                <a:cubicBezTo>
                  <a:pt x="26" y="59"/>
                  <a:pt x="27" y="57"/>
                  <a:pt x="30" y="57"/>
                </a:cubicBezTo>
                <a:cubicBezTo>
                  <a:pt x="33" y="56"/>
                  <a:pt x="35" y="55"/>
                  <a:pt x="38" y="54"/>
                </a:cubicBezTo>
                <a:cubicBezTo>
                  <a:pt x="37" y="53"/>
                  <a:pt x="36" y="52"/>
                  <a:pt x="34" y="51"/>
                </a:cubicBezTo>
                <a:cubicBezTo>
                  <a:pt x="37" y="51"/>
                  <a:pt x="38" y="51"/>
                  <a:pt x="38" y="53"/>
                </a:cubicBezTo>
                <a:cubicBezTo>
                  <a:pt x="39" y="55"/>
                  <a:pt x="41" y="55"/>
                  <a:pt x="42" y="54"/>
                </a:cubicBezTo>
                <a:cubicBezTo>
                  <a:pt x="42" y="54"/>
                  <a:pt x="43" y="53"/>
                  <a:pt x="43" y="52"/>
                </a:cubicBezTo>
                <a:cubicBezTo>
                  <a:pt x="43" y="52"/>
                  <a:pt x="43" y="52"/>
                  <a:pt x="43" y="52"/>
                </a:cubicBezTo>
                <a:cubicBezTo>
                  <a:pt x="43" y="52"/>
                  <a:pt x="42" y="51"/>
                  <a:pt x="42" y="5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14" name="Freeform 3071">
            <a:extLst>
              <a:ext uri="{FF2B5EF4-FFF2-40B4-BE49-F238E27FC236}">
                <a16:creationId xmlns:a16="http://schemas.microsoft.com/office/drawing/2014/main" id="{9561DA13-CE2E-4D4B-B980-B7884453F25C}"/>
              </a:ext>
            </a:extLst>
          </p:cNvPr>
          <p:cNvSpPr>
            <a:spLocks/>
          </p:cNvSpPr>
          <p:nvPr/>
        </p:nvSpPr>
        <p:spPr bwMode="auto">
          <a:xfrm>
            <a:off x="3243360" y="3639272"/>
            <a:ext cx="991" cy="0"/>
          </a:xfrm>
          <a:custGeom>
            <a:avLst/>
            <a:gdLst>
              <a:gd name="T0" fmla="*/ 0 w 1"/>
              <a:gd name="T1" fmla="*/ 0 w 1"/>
              <a:gd name="T2" fmla="*/ 0 w 1"/>
              <a:gd name="T3" fmla="*/ 1 w 1"/>
              <a:gd name="T4" fmla="*/ 1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cubicBezTo>
                  <a:pt x="0" y="0"/>
                  <a:pt x="0" y="0"/>
                  <a:pt x="0" y="0"/>
                </a:cubicBezTo>
                <a:cubicBezTo>
                  <a:pt x="0" y="0"/>
                  <a:pt x="0" y="0"/>
                  <a:pt x="0" y="0"/>
                </a:cubicBezTo>
                <a:cubicBezTo>
                  <a:pt x="1" y="0"/>
                  <a:pt x="1" y="0"/>
                  <a:pt x="1" y="0"/>
                </a:cubicBezTo>
                <a:cubicBezTo>
                  <a:pt x="1" y="0"/>
                  <a:pt x="1" y="0"/>
                  <a:pt x="1"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15" name="Freeform 3072">
            <a:extLst>
              <a:ext uri="{FF2B5EF4-FFF2-40B4-BE49-F238E27FC236}">
                <a16:creationId xmlns:a16="http://schemas.microsoft.com/office/drawing/2014/main" id="{1F7AE423-336F-4E03-A95F-0A0DFF7CF458}"/>
              </a:ext>
            </a:extLst>
          </p:cNvPr>
          <p:cNvSpPr>
            <a:spLocks noEditPoints="1"/>
          </p:cNvSpPr>
          <p:nvPr/>
        </p:nvSpPr>
        <p:spPr bwMode="auto">
          <a:xfrm>
            <a:off x="3239891" y="3608405"/>
            <a:ext cx="68883" cy="87258"/>
          </a:xfrm>
          <a:custGeom>
            <a:avLst/>
            <a:gdLst>
              <a:gd name="T0" fmla="*/ 54 w 59"/>
              <a:gd name="T1" fmla="*/ 54 h 62"/>
              <a:gd name="T2" fmla="*/ 57 w 59"/>
              <a:gd name="T3" fmla="*/ 52 h 62"/>
              <a:gd name="T4" fmla="*/ 54 w 59"/>
              <a:gd name="T5" fmla="*/ 50 h 62"/>
              <a:gd name="T6" fmla="*/ 52 w 59"/>
              <a:gd name="T7" fmla="*/ 41 h 62"/>
              <a:gd name="T8" fmla="*/ 54 w 59"/>
              <a:gd name="T9" fmla="*/ 33 h 62"/>
              <a:gd name="T10" fmla="*/ 55 w 59"/>
              <a:gd name="T11" fmla="*/ 30 h 62"/>
              <a:gd name="T12" fmla="*/ 58 w 59"/>
              <a:gd name="T13" fmla="*/ 25 h 62"/>
              <a:gd name="T14" fmla="*/ 58 w 59"/>
              <a:gd name="T15" fmla="*/ 18 h 62"/>
              <a:gd name="T16" fmla="*/ 57 w 59"/>
              <a:gd name="T17" fmla="*/ 16 h 62"/>
              <a:gd name="T18" fmla="*/ 56 w 59"/>
              <a:gd name="T19" fmla="*/ 14 h 62"/>
              <a:gd name="T20" fmla="*/ 57 w 59"/>
              <a:gd name="T21" fmla="*/ 12 h 62"/>
              <a:gd name="T22" fmla="*/ 55 w 59"/>
              <a:gd name="T23" fmla="*/ 10 h 62"/>
              <a:gd name="T24" fmla="*/ 54 w 59"/>
              <a:gd name="T25" fmla="*/ 9 h 62"/>
              <a:gd name="T26" fmla="*/ 51 w 59"/>
              <a:gd name="T27" fmla="*/ 7 h 62"/>
              <a:gd name="T28" fmla="*/ 50 w 59"/>
              <a:gd name="T29" fmla="*/ 7 h 62"/>
              <a:gd name="T30" fmla="*/ 43 w 59"/>
              <a:gd name="T31" fmla="*/ 10 h 62"/>
              <a:gd name="T32" fmla="*/ 41 w 59"/>
              <a:gd name="T33" fmla="*/ 10 h 62"/>
              <a:gd name="T34" fmla="*/ 37 w 59"/>
              <a:gd name="T35" fmla="*/ 9 h 62"/>
              <a:gd name="T36" fmla="*/ 33 w 59"/>
              <a:gd name="T37" fmla="*/ 3 h 62"/>
              <a:gd name="T38" fmla="*/ 31 w 59"/>
              <a:gd name="T39" fmla="*/ 2 h 62"/>
              <a:gd name="T40" fmla="*/ 27 w 59"/>
              <a:gd name="T41" fmla="*/ 2 h 62"/>
              <a:gd name="T42" fmla="*/ 22 w 59"/>
              <a:gd name="T43" fmla="*/ 3 h 62"/>
              <a:gd name="T44" fmla="*/ 19 w 59"/>
              <a:gd name="T45" fmla="*/ 0 h 62"/>
              <a:gd name="T46" fmla="*/ 18 w 59"/>
              <a:gd name="T47" fmla="*/ 3 h 62"/>
              <a:gd name="T48" fmla="*/ 16 w 59"/>
              <a:gd name="T49" fmla="*/ 2 h 62"/>
              <a:gd name="T50" fmla="*/ 16 w 59"/>
              <a:gd name="T51" fmla="*/ 3 h 62"/>
              <a:gd name="T52" fmla="*/ 14 w 59"/>
              <a:gd name="T53" fmla="*/ 6 h 62"/>
              <a:gd name="T54" fmla="*/ 12 w 59"/>
              <a:gd name="T55" fmla="*/ 4 h 62"/>
              <a:gd name="T56" fmla="*/ 10 w 59"/>
              <a:gd name="T57" fmla="*/ 3 h 62"/>
              <a:gd name="T58" fmla="*/ 8 w 59"/>
              <a:gd name="T59" fmla="*/ 2 h 62"/>
              <a:gd name="T60" fmla="*/ 8 w 59"/>
              <a:gd name="T61" fmla="*/ 3 h 62"/>
              <a:gd name="T62" fmla="*/ 4 w 59"/>
              <a:gd name="T63" fmla="*/ 5 h 62"/>
              <a:gd name="T64" fmla="*/ 4 w 59"/>
              <a:gd name="T65" fmla="*/ 8 h 62"/>
              <a:gd name="T66" fmla="*/ 6 w 59"/>
              <a:gd name="T67" fmla="*/ 10 h 62"/>
              <a:gd name="T68" fmla="*/ 7 w 59"/>
              <a:gd name="T69" fmla="*/ 12 h 62"/>
              <a:gd name="T70" fmla="*/ 7 w 59"/>
              <a:gd name="T71" fmla="*/ 17 h 62"/>
              <a:gd name="T72" fmla="*/ 9 w 59"/>
              <a:gd name="T73" fmla="*/ 22 h 62"/>
              <a:gd name="T74" fmla="*/ 7 w 59"/>
              <a:gd name="T75" fmla="*/ 23 h 62"/>
              <a:gd name="T76" fmla="*/ 5 w 59"/>
              <a:gd name="T77" fmla="*/ 22 h 62"/>
              <a:gd name="T78" fmla="*/ 4 w 59"/>
              <a:gd name="T79" fmla="*/ 22 h 62"/>
              <a:gd name="T80" fmla="*/ 5 w 59"/>
              <a:gd name="T81" fmla="*/ 23 h 62"/>
              <a:gd name="T82" fmla="*/ 5 w 59"/>
              <a:gd name="T83" fmla="*/ 27 h 62"/>
              <a:gd name="T84" fmla="*/ 2 w 59"/>
              <a:gd name="T85" fmla="*/ 31 h 62"/>
              <a:gd name="T86" fmla="*/ 2 w 59"/>
              <a:gd name="T87" fmla="*/ 32 h 62"/>
              <a:gd name="T88" fmla="*/ 2 w 59"/>
              <a:gd name="T89" fmla="*/ 34 h 62"/>
              <a:gd name="T90" fmla="*/ 2 w 59"/>
              <a:gd name="T91" fmla="*/ 35 h 62"/>
              <a:gd name="T92" fmla="*/ 2 w 59"/>
              <a:gd name="T93" fmla="*/ 36 h 62"/>
              <a:gd name="T94" fmla="*/ 2 w 59"/>
              <a:gd name="T95" fmla="*/ 37 h 62"/>
              <a:gd name="T96" fmla="*/ 2 w 59"/>
              <a:gd name="T97" fmla="*/ 39 h 62"/>
              <a:gd name="T98" fmla="*/ 1 w 59"/>
              <a:gd name="T99" fmla="*/ 40 h 62"/>
              <a:gd name="T100" fmla="*/ 2 w 59"/>
              <a:gd name="T101" fmla="*/ 42 h 62"/>
              <a:gd name="T102" fmla="*/ 7 w 59"/>
              <a:gd name="T103" fmla="*/ 43 h 62"/>
              <a:gd name="T104" fmla="*/ 12 w 59"/>
              <a:gd name="T105" fmla="*/ 50 h 62"/>
              <a:gd name="T106" fmla="*/ 10 w 59"/>
              <a:gd name="T107" fmla="*/ 62 h 62"/>
              <a:gd name="T108" fmla="*/ 12 w 59"/>
              <a:gd name="T109" fmla="*/ 62 h 62"/>
              <a:gd name="T110" fmla="*/ 35 w 59"/>
              <a:gd name="T111" fmla="*/ 55 h 62"/>
              <a:gd name="T112" fmla="*/ 32 w 59"/>
              <a:gd name="T113" fmla="*/ 54 h 62"/>
              <a:gd name="T114" fmla="*/ 45 w 59"/>
              <a:gd name="T115" fmla="*/ 54 h 62"/>
              <a:gd name="T116" fmla="*/ 47 w 59"/>
              <a:gd name="T117" fmla="*/ 54 h 62"/>
              <a:gd name="T118" fmla="*/ 52 w 59"/>
              <a:gd name="T119" fmla="*/ 55 h 62"/>
              <a:gd name="T120" fmla="*/ 54 w 59"/>
              <a:gd name="T121" fmla="*/ 54 h 62"/>
              <a:gd name="T122" fmla="*/ 48 w 59"/>
              <a:gd name="T123"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 h="62">
                <a:moveTo>
                  <a:pt x="54" y="54"/>
                </a:moveTo>
                <a:cubicBezTo>
                  <a:pt x="54" y="54"/>
                  <a:pt x="54" y="54"/>
                  <a:pt x="54" y="54"/>
                </a:cubicBezTo>
                <a:cubicBezTo>
                  <a:pt x="54" y="54"/>
                  <a:pt x="54" y="54"/>
                  <a:pt x="54" y="54"/>
                </a:cubicBezTo>
                <a:cubicBezTo>
                  <a:pt x="55" y="54"/>
                  <a:pt x="56" y="54"/>
                  <a:pt x="57" y="54"/>
                </a:cubicBezTo>
                <a:cubicBezTo>
                  <a:pt x="56" y="54"/>
                  <a:pt x="57" y="53"/>
                  <a:pt x="57" y="53"/>
                </a:cubicBezTo>
                <a:cubicBezTo>
                  <a:pt x="57" y="53"/>
                  <a:pt x="57" y="53"/>
                  <a:pt x="57" y="52"/>
                </a:cubicBezTo>
                <a:cubicBezTo>
                  <a:pt x="56" y="52"/>
                  <a:pt x="56" y="52"/>
                  <a:pt x="56" y="51"/>
                </a:cubicBezTo>
                <a:cubicBezTo>
                  <a:pt x="55" y="51"/>
                  <a:pt x="55" y="51"/>
                  <a:pt x="55" y="50"/>
                </a:cubicBezTo>
                <a:cubicBezTo>
                  <a:pt x="55" y="50"/>
                  <a:pt x="55" y="50"/>
                  <a:pt x="54" y="50"/>
                </a:cubicBezTo>
                <a:cubicBezTo>
                  <a:pt x="54" y="49"/>
                  <a:pt x="54" y="49"/>
                  <a:pt x="54" y="49"/>
                </a:cubicBezTo>
                <a:cubicBezTo>
                  <a:pt x="54" y="49"/>
                  <a:pt x="54" y="49"/>
                  <a:pt x="54" y="49"/>
                </a:cubicBezTo>
                <a:cubicBezTo>
                  <a:pt x="53" y="46"/>
                  <a:pt x="52" y="43"/>
                  <a:pt x="52" y="41"/>
                </a:cubicBezTo>
                <a:cubicBezTo>
                  <a:pt x="52" y="40"/>
                  <a:pt x="52" y="40"/>
                  <a:pt x="52" y="40"/>
                </a:cubicBezTo>
                <a:cubicBezTo>
                  <a:pt x="52" y="37"/>
                  <a:pt x="53" y="35"/>
                  <a:pt x="54" y="33"/>
                </a:cubicBezTo>
                <a:cubicBezTo>
                  <a:pt x="54" y="33"/>
                  <a:pt x="54" y="33"/>
                  <a:pt x="54" y="33"/>
                </a:cubicBezTo>
                <a:cubicBezTo>
                  <a:pt x="54" y="32"/>
                  <a:pt x="54" y="32"/>
                  <a:pt x="54" y="31"/>
                </a:cubicBezTo>
                <a:cubicBezTo>
                  <a:pt x="54" y="31"/>
                  <a:pt x="55" y="30"/>
                  <a:pt x="55" y="30"/>
                </a:cubicBezTo>
                <a:cubicBezTo>
                  <a:pt x="55" y="30"/>
                  <a:pt x="55" y="30"/>
                  <a:pt x="55" y="30"/>
                </a:cubicBezTo>
                <a:cubicBezTo>
                  <a:pt x="55" y="29"/>
                  <a:pt x="55" y="28"/>
                  <a:pt x="56" y="27"/>
                </a:cubicBezTo>
                <a:cubicBezTo>
                  <a:pt x="56" y="27"/>
                  <a:pt x="57" y="26"/>
                  <a:pt x="57" y="26"/>
                </a:cubicBezTo>
                <a:cubicBezTo>
                  <a:pt x="58" y="25"/>
                  <a:pt x="58" y="25"/>
                  <a:pt x="58" y="25"/>
                </a:cubicBezTo>
                <a:cubicBezTo>
                  <a:pt x="58" y="25"/>
                  <a:pt x="58" y="24"/>
                  <a:pt x="58" y="24"/>
                </a:cubicBezTo>
                <a:cubicBezTo>
                  <a:pt x="59" y="23"/>
                  <a:pt x="59" y="23"/>
                  <a:pt x="59" y="21"/>
                </a:cubicBezTo>
                <a:cubicBezTo>
                  <a:pt x="59" y="20"/>
                  <a:pt x="58" y="19"/>
                  <a:pt x="58" y="18"/>
                </a:cubicBezTo>
                <a:cubicBezTo>
                  <a:pt x="58" y="18"/>
                  <a:pt x="58" y="18"/>
                  <a:pt x="58" y="18"/>
                </a:cubicBezTo>
                <a:cubicBezTo>
                  <a:pt x="58" y="17"/>
                  <a:pt x="58" y="17"/>
                  <a:pt x="57" y="17"/>
                </a:cubicBezTo>
                <a:cubicBezTo>
                  <a:pt x="57" y="16"/>
                  <a:pt x="57" y="16"/>
                  <a:pt x="57" y="16"/>
                </a:cubicBezTo>
                <a:cubicBezTo>
                  <a:pt x="57" y="16"/>
                  <a:pt x="57" y="16"/>
                  <a:pt x="57" y="16"/>
                </a:cubicBezTo>
                <a:cubicBezTo>
                  <a:pt x="57" y="15"/>
                  <a:pt x="57" y="15"/>
                  <a:pt x="56" y="15"/>
                </a:cubicBezTo>
                <a:cubicBezTo>
                  <a:pt x="56" y="14"/>
                  <a:pt x="56" y="14"/>
                  <a:pt x="56" y="14"/>
                </a:cubicBezTo>
                <a:cubicBezTo>
                  <a:pt x="56" y="14"/>
                  <a:pt x="56" y="14"/>
                  <a:pt x="56" y="13"/>
                </a:cubicBezTo>
                <a:cubicBezTo>
                  <a:pt x="57" y="13"/>
                  <a:pt x="57" y="13"/>
                  <a:pt x="57" y="13"/>
                </a:cubicBezTo>
                <a:cubicBezTo>
                  <a:pt x="57" y="13"/>
                  <a:pt x="57" y="12"/>
                  <a:pt x="57" y="12"/>
                </a:cubicBezTo>
                <a:cubicBezTo>
                  <a:pt x="57" y="12"/>
                  <a:pt x="57" y="12"/>
                  <a:pt x="57" y="12"/>
                </a:cubicBezTo>
                <a:cubicBezTo>
                  <a:pt x="57" y="12"/>
                  <a:pt x="57" y="12"/>
                  <a:pt x="57" y="12"/>
                </a:cubicBezTo>
                <a:cubicBezTo>
                  <a:pt x="56" y="12"/>
                  <a:pt x="56" y="11"/>
                  <a:pt x="55" y="10"/>
                </a:cubicBezTo>
                <a:cubicBezTo>
                  <a:pt x="55" y="10"/>
                  <a:pt x="55" y="10"/>
                  <a:pt x="55" y="10"/>
                </a:cubicBezTo>
                <a:cubicBezTo>
                  <a:pt x="55" y="10"/>
                  <a:pt x="55" y="9"/>
                  <a:pt x="55" y="9"/>
                </a:cubicBezTo>
                <a:cubicBezTo>
                  <a:pt x="55" y="9"/>
                  <a:pt x="54" y="9"/>
                  <a:pt x="54" y="9"/>
                </a:cubicBezTo>
                <a:cubicBezTo>
                  <a:pt x="53" y="8"/>
                  <a:pt x="52" y="8"/>
                  <a:pt x="52" y="7"/>
                </a:cubicBezTo>
                <a:cubicBezTo>
                  <a:pt x="52" y="7"/>
                  <a:pt x="52" y="7"/>
                  <a:pt x="52" y="7"/>
                </a:cubicBezTo>
                <a:cubicBezTo>
                  <a:pt x="52" y="7"/>
                  <a:pt x="52" y="7"/>
                  <a:pt x="51" y="7"/>
                </a:cubicBezTo>
                <a:cubicBezTo>
                  <a:pt x="51" y="7"/>
                  <a:pt x="51" y="7"/>
                  <a:pt x="51" y="7"/>
                </a:cubicBezTo>
                <a:cubicBezTo>
                  <a:pt x="50" y="7"/>
                  <a:pt x="50" y="7"/>
                  <a:pt x="50" y="7"/>
                </a:cubicBezTo>
                <a:cubicBezTo>
                  <a:pt x="50" y="7"/>
                  <a:pt x="50" y="7"/>
                  <a:pt x="50" y="7"/>
                </a:cubicBezTo>
                <a:cubicBezTo>
                  <a:pt x="49" y="7"/>
                  <a:pt x="47" y="7"/>
                  <a:pt x="46" y="7"/>
                </a:cubicBezTo>
                <a:cubicBezTo>
                  <a:pt x="45" y="8"/>
                  <a:pt x="44" y="9"/>
                  <a:pt x="43" y="10"/>
                </a:cubicBezTo>
                <a:cubicBezTo>
                  <a:pt x="43" y="10"/>
                  <a:pt x="43" y="10"/>
                  <a:pt x="43" y="10"/>
                </a:cubicBezTo>
                <a:cubicBezTo>
                  <a:pt x="42" y="10"/>
                  <a:pt x="42" y="10"/>
                  <a:pt x="42" y="10"/>
                </a:cubicBezTo>
                <a:cubicBezTo>
                  <a:pt x="41" y="10"/>
                  <a:pt x="41" y="10"/>
                  <a:pt x="41" y="10"/>
                </a:cubicBezTo>
                <a:cubicBezTo>
                  <a:pt x="41" y="10"/>
                  <a:pt x="41" y="10"/>
                  <a:pt x="41" y="10"/>
                </a:cubicBezTo>
                <a:cubicBezTo>
                  <a:pt x="41" y="10"/>
                  <a:pt x="40" y="10"/>
                  <a:pt x="39" y="9"/>
                </a:cubicBezTo>
                <a:cubicBezTo>
                  <a:pt x="38" y="9"/>
                  <a:pt x="38" y="9"/>
                  <a:pt x="38" y="9"/>
                </a:cubicBezTo>
                <a:cubicBezTo>
                  <a:pt x="37" y="9"/>
                  <a:pt x="37" y="9"/>
                  <a:pt x="37" y="9"/>
                </a:cubicBezTo>
                <a:cubicBezTo>
                  <a:pt x="35" y="8"/>
                  <a:pt x="34" y="6"/>
                  <a:pt x="33" y="5"/>
                </a:cubicBezTo>
                <a:cubicBezTo>
                  <a:pt x="33" y="4"/>
                  <a:pt x="33" y="4"/>
                  <a:pt x="33" y="4"/>
                </a:cubicBezTo>
                <a:cubicBezTo>
                  <a:pt x="33" y="3"/>
                  <a:pt x="33" y="3"/>
                  <a:pt x="33" y="3"/>
                </a:cubicBezTo>
                <a:cubicBezTo>
                  <a:pt x="33" y="3"/>
                  <a:pt x="33" y="3"/>
                  <a:pt x="33" y="3"/>
                </a:cubicBezTo>
                <a:cubicBezTo>
                  <a:pt x="33" y="3"/>
                  <a:pt x="32" y="3"/>
                  <a:pt x="32" y="3"/>
                </a:cubicBezTo>
                <a:cubicBezTo>
                  <a:pt x="31" y="3"/>
                  <a:pt x="31" y="2"/>
                  <a:pt x="31" y="2"/>
                </a:cubicBezTo>
                <a:cubicBezTo>
                  <a:pt x="30" y="2"/>
                  <a:pt x="30" y="2"/>
                  <a:pt x="30" y="2"/>
                </a:cubicBezTo>
                <a:cubicBezTo>
                  <a:pt x="29" y="2"/>
                  <a:pt x="29" y="2"/>
                  <a:pt x="29" y="2"/>
                </a:cubicBezTo>
                <a:cubicBezTo>
                  <a:pt x="28" y="2"/>
                  <a:pt x="28" y="2"/>
                  <a:pt x="27" y="2"/>
                </a:cubicBezTo>
                <a:cubicBezTo>
                  <a:pt x="27" y="2"/>
                  <a:pt x="27" y="2"/>
                  <a:pt x="27" y="3"/>
                </a:cubicBezTo>
                <a:cubicBezTo>
                  <a:pt x="26" y="3"/>
                  <a:pt x="26" y="4"/>
                  <a:pt x="25" y="4"/>
                </a:cubicBezTo>
                <a:cubicBezTo>
                  <a:pt x="24" y="4"/>
                  <a:pt x="23" y="4"/>
                  <a:pt x="22" y="3"/>
                </a:cubicBezTo>
                <a:cubicBezTo>
                  <a:pt x="21" y="3"/>
                  <a:pt x="21" y="1"/>
                  <a:pt x="21" y="0"/>
                </a:cubicBezTo>
                <a:cubicBezTo>
                  <a:pt x="20" y="0"/>
                  <a:pt x="20" y="0"/>
                  <a:pt x="20" y="0"/>
                </a:cubicBezTo>
                <a:cubicBezTo>
                  <a:pt x="20" y="0"/>
                  <a:pt x="19" y="0"/>
                  <a:pt x="19" y="0"/>
                </a:cubicBezTo>
                <a:cubicBezTo>
                  <a:pt x="19" y="0"/>
                  <a:pt x="19" y="0"/>
                  <a:pt x="19" y="1"/>
                </a:cubicBezTo>
                <a:cubicBezTo>
                  <a:pt x="19" y="2"/>
                  <a:pt x="19" y="2"/>
                  <a:pt x="19" y="2"/>
                </a:cubicBezTo>
                <a:cubicBezTo>
                  <a:pt x="18" y="3"/>
                  <a:pt x="18" y="3"/>
                  <a:pt x="18" y="3"/>
                </a:cubicBezTo>
                <a:cubicBezTo>
                  <a:pt x="18" y="3"/>
                  <a:pt x="17" y="2"/>
                  <a:pt x="17" y="2"/>
                </a:cubicBezTo>
                <a:cubicBezTo>
                  <a:pt x="17" y="2"/>
                  <a:pt x="17" y="2"/>
                  <a:pt x="17" y="2"/>
                </a:cubicBezTo>
                <a:cubicBezTo>
                  <a:pt x="17" y="2"/>
                  <a:pt x="16" y="2"/>
                  <a:pt x="16" y="2"/>
                </a:cubicBezTo>
                <a:cubicBezTo>
                  <a:pt x="16" y="2"/>
                  <a:pt x="16" y="2"/>
                  <a:pt x="16" y="2"/>
                </a:cubicBezTo>
                <a:cubicBezTo>
                  <a:pt x="16" y="2"/>
                  <a:pt x="16" y="2"/>
                  <a:pt x="16" y="2"/>
                </a:cubicBezTo>
                <a:cubicBezTo>
                  <a:pt x="16" y="3"/>
                  <a:pt x="16" y="3"/>
                  <a:pt x="16" y="3"/>
                </a:cubicBezTo>
                <a:cubicBezTo>
                  <a:pt x="16" y="3"/>
                  <a:pt x="16" y="3"/>
                  <a:pt x="16" y="3"/>
                </a:cubicBezTo>
                <a:cubicBezTo>
                  <a:pt x="15" y="3"/>
                  <a:pt x="15" y="4"/>
                  <a:pt x="15" y="4"/>
                </a:cubicBezTo>
                <a:cubicBezTo>
                  <a:pt x="14" y="6"/>
                  <a:pt x="14" y="6"/>
                  <a:pt x="14" y="6"/>
                </a:cubicBezTo>
                <a:cubicBezTo>
                  <a:pt x="13" y="4"/>
                  <a:pt x="13" y="4"/>
                  <a:pt x="13" y="4"/>
                </a:cubicBezTo>
                <a:cubicBezTo>
                  <a:pt x="13" y="4"/>
                  <a:pt x="13" y="4"/>
                  <a:pt x="13" y="4"/>
                </a:cubicBezTo>
                <a:cubicBezTo>
                  <a:pt x="13" y="4"/>
                  <a:pt x="12" y="4"/>
                  <a:pt x="12" y="4"/>
                </a:cubicBezTo>
                <a:cubicBezTo>
                  <a:pt x="12" y="4"/>
                  <a:pt x="11" y="4"/>
                  <a:pt x="10" y="3"/>
                </a:cubicBezTo>
                <a:cubicBezTo>
                  <a:pt x="10" y="3"/>
                  <a:pt x="10" y="3"/>
                  <a:pt x="10" y="3"/>
                </a:cubicBezTo>
                <a:cubicBezTo>
                  <a:pt x="10" y="3"/>
                  <a:pt x="10" y="3"/>
                  <a:pt x="10" y="3"/>
                </a:cubicBezTo>
                <a:cubicBezTo>
                  <a:pt x="9" y="2"/>
                  <a:pt x="9" y="2"/>
                  <a:pt x="8" y="2"/>
                </a:cubicBezTo>
                <a:cubicBezTo>
                  <a:pt x="8" y="2"/>
                  <a:pt x="8" y="2"/>
                  <a:pt x="8" y="2"/>
                </a:cubicBezTo>
                <a:cubicBezTo>
                  <a:pt x="8" y="2"/>
                  <a:pt x="8" y="2"/>
                  <a:pt x="8" y="2"/>
                </a:cubicBezTo>
                <a:cubicBezTo>
                  <a:pt x="8" y="2"/>
                  <a:pt x="8" y="2"/>
                  <a:pt x="8" y="2"/>
                </a:cubicBezTo>
                <a:cubicBezTo>
                  <a:pt x="8" y="3"/>
                  <a:pt x="8" y="3"/>
                  <a:pt x="8" y="3"/>
                </a:cubicBezTo>
                <a:cubicBezTo>
                  <a:pt x="8" y="3"/>
                  <a:pt x="8" y="3"/>
                  <a:pt x="8" y="3"/>
                </a:cubicBezTo>
                <a:cubicBezTo>
                  <a:pt x="7" y="3"/>
                  <a:pt x="7" y="3"/>
                  <a:pt x="7" y="3"/>
                </a:cubicBezTo>
                <a:cubicBezTo>
                  <a:pt x="6" y="4"/>
                  <a:pt x="6" y="4"/>
                  <a:pt x="6" y="4"/>
                </a:cubicBezTo>
                <a:cubicBezTo>
                  <a:pt x="5" y="4"/>
                  <a:pt x="5" y="5"/>
                  <a:pt x="4" y="5"/>
                </a:cubicBezTo>
                <a:cubicBezTo>
                  <a:pt x="4" y="5"/>
                  <a:pt x="4" y="5"/>
                  <a:pt x="4" y="6"/>
                </a:cubicBezTo>
                <a:cubicBezTo>
                  <a:pt x="4" y="6"/>
                  <a:pt x="4" y="7"/>
                  <a:pt x="4" y="8"/>
                </a:cubicBezTo>
                <a:cubicBezTo>
                  <a:pt x="4" y="8"/>
                  <a:pt x="4" y="8"/>
                  <a:pt x="4" y="8"/>
                </a:cubicBezTo>
                <a:cubicBezTo>
                  <a:pt x="4" y="9"/>
                  <a:pt x="4" y="9"/>
                  <a:pt x="4" y="10"/>
                </a:cubicBezTo>
                <a:cubicBezTo>
                  <a:pt x="5" y="10"/>
                  <a:pt x="5" y="10"/>
                  <a:pt x="5" y="10"/>
                </a:cubicBezTo>
                <a:cubicBezTo>
                  <a:pt x="5" y="10"/>
                  <a:pt x="6" y="10"/>
                  <a:pt x="6" y="10"/>
                </a:cubicBezTo>
                <a:cubicBezTo>
                  <a:pt x="7" y="10"/>
                  <a:pt x="7" y="10"/>
                  <a:pt x="7" y="10"/>
                </a:cubicBezTo>
                <a:cubicBezTo>
                  <a:pt x="7" y="11"/>
                  <a:pt x="7" y="11"/>
                  <a:pt x="7" y="11"/>
                </a:cubicBezTo>
                <a:cubicBezTo>
                  <a:pt x="7" y="11"/>
                  <a:pt x="7" y="12"/>
                  <a:pt x="7" y="12"/>
                </a:cubicBezTo>
                <a:cubicBezTo>
                  <a:pt x="8" y="13"/>
                  <a:pt x="8" y="15"/>
                  <a:pt x="7" y="16"/>
                </a:cubicBezTo>
                <a:cubicBezTo>
                  <a:pt x="7" y="16"/>
                  <a:pt x="7" y="16"/>
                  <a:pt x="7" y="17"/>
                </a:cubicBezTo>
                <a:cubicBezTo>
                  <a:pt x="7" y="17"/>
                  <a:pt x="7" y="17"/>
                  <a:pt x="7" y="17"/>
                </a:cubicBezTo>
                <a:cubicBezTo>
                  <a:pt x="7" y="17"/>
                  <a:pt x="7" y="17"/>
                  <a:pt x="7" y="17"/>
                </a:cubicBezTo>
                <a:cubicBezTo>
                  <a:pt x="8" y="18"/>
                  <a:pt x="8" y="19"/>
                  <a:pt x="9" y="21"/>
                </a:cubicBezTo>
                <a:cubicBezTo>
                  <a:pt x="9" y="22"/>
                  <a:pt x="9" y="22"/>
                  <a:pt x="9" y="22"/>
                </a:cubicBezTo>
                <a:cubicBezTo>
                  <a:pt x="8" y="23"/>
                  <a:pt x="8" y="23"/>
                  <a:pt x="8" y="23"/>
                </a:cubicBezTo>
                <a:cubicBezTo>
                  <a:pt x="8" y="23"/>
                  <a:pt x="7" y="23"/>
                  <a:pt x="7" y="23"/>
                </a:cubicBezTo>
                <a:cubicBezTo>
                  <a:pt x="7" y="23"/>
                  <a:pt x="7" y="23"/>
                  <a:pt x="7" y="23"/>
                </a:cubicBezTo>
                <a:cubicBezTo>
                  <a:pt x="6" y="22"/>
                  <a:pt x="6" y="22"/>
                  <a:pt x="6" y="22"/>
                </a:cubicBezTo>
                <a:cubicBezTo>
                  <a:pt x="6" y="22"/>
                  <a:pt x="6" y="22"/>
                  <a:pt x="6" y="22"/>
                </a:cubicBezTo>
                <a:cubicBezTo>
                  <a:pt x="5" y="22"/>
                  <a:pt x="5" y="22"/>
                  <a:pt x="5" y="22"/>
                </a:cubicBezTo>
                <a:cubicBezTo>
                  <a:pt x="5" y="22"/>
                  <a:pt x="5" y="22"/>
                  <a:pt x="5" y="22"/>
                </a:cubicBezTo>
                <a:cubicBezTo>
                  <a:pt x="5" y="22"/>
                  <a:pt x="4" y="22"/>
                  <a:pt x="4" y="22"/>
                </a:cubicBezTo>
                <a:cubicBezTo>
                  <a:pt x="4" y="22"/>
                  <a:pt x="4" y="22"/>
                  <a:pt x="4" y="22"/>
                </a:cubicBezTo>
                <a:cubicBezTo>
                  <a:pt x="4" y="22"/>
                  <a:pt x="4" y="22"/>
                  <a:pt x="4" y="22"/>
                </a:cubicBezTo>
                <a:cubicBezTo>
                  <a:pt x="4" y="22"/>
                  <a:pt x="4" y="22"/>
                  <a:pt x="4" y="22"/>
                </a:cubicBezTo>
                <a:cubicBezTo>
                  <a:pt x="5" y="23"/>
                  <a:pt x="5" y="23"/>
                  <a:pt x="5" y="23"/>
                </a:cubicBezTo>
                <a:cubicBezTo>
                  <a:pt x="5" y="23"/>
                  <a:pt x="5" y="24"/>
                  <a:pt x="6" y="24"/>
                </a:cubicBezTo>
                <a:cubicBezTo>
                  <a:pt x="7" y="28"/>
                  <a:pt x="7" y="28"/>
                  <a:pt x="7" y="28"/>
                </a:cubicBezTo>
                <a:cubicBezTo>
                  <a:pt x="5" y="27"/>
                  <a:pt x="5" y="27"/>
                  <a:pt x="5" y="27"/>
                </a:cubicBezTo>
                <a:cubicBezTo>
                  <a:pt x="4" y="29"/>
                  <a:pt x="4" y="31"/>
                  <a:pt x="2" y="31"/>
                </a:cubicBezTo>
                <a:cubicBezTo>
                  <a:pt x="2" y="31"/>
                  <a:pt x="2" y="31"/>
                  <a:pt x="2" y="31"/>
                </a:cubicBezTo>
                <a:cubicBezTo>
                  <a:pt x="2" y="31"/>
                  <a:pt x="2" y="31"/>
                  <a:pt x="2" y="31"/>
                </a:cubicBezTo>
                <a:cubicBezTo>
                  <a:pt x="2" y="31"/>
                  <a:pt x="2" y="31"/>
                  <a:pt x="2" y="31"/>
                </a:cubicBezTo>
                <a:cubicBezTo>
                  <a:pt x="2" y="31"/>
                  <a:pt x="1" y="31"/>
                  <a:pt x="1" y="31"/>
                </a:cubicBezTo>
                <a:cubicBezTo>
                  <a:pt x="1" y="32"/>
                  <a:pt x="1" y="32"/>
                  <a:pt x="2" y="32"/>
                </a:cubicBezTo>
                <a:cubicBezTo>
                  <a:pt x="2" y="32"/>
                  <a:pt x="2" y="32"/>
                  <a:pt x="2" y="32"/>
                </a:cubicBezTo>
                <a:cubicBezTo>
                  <a:pt x="2" y="33"/>
                  <a:pt x="2" y="33"/>
                  <a:pt x="2" y="33"/>
                </a:cubicBezTo>
                <a:cubicBezTo>
                  <a:pt x="2" y="34"/>
                  <a:pt x="2" y="34"/>
                  <a:pt x="2" y="34"/>
                </a:cubicBezTo>
                <a:cubicBezTo>
                  <a:pt x="2" y="34"/>
                  <a:pt x="2" y="34"/>
                  <a:pt x="2" y="34"/>
                </a:cubicBezTo>
                <a:cubicBezTo>
                  <a:pt x="2" y="35"/>
                  <a:pt x="2" y="35"/>
                  <a:pt x="2" y="35"/>
                </a:cubicBezTo>
                <a:cubicBezTo>
                  <a:pt x="2" y="35"/>
                  <a:pt x="2" y="35"/>
                  <a:pt x="2" y="35"/>
                </a:cubicBezTo>
                <a:cubicBezTo>
                  <a:pt x="2" y="36"/>
                  <a:pt x="2" y="36"/>
                  <a:pt x="2" y="36"/>
                </a:cubicBezTo>
                <a:cubicBezTo>
                  <a:pt x="2" y="36"/>
                  <a:pt x="2" y="36"/>
                  <a:pt x="2" y="36"/>
                </a:cubicBezTo>
                <a:cubicBezTo>
                  <a:pt x="2" y="36"/>
                  <a:pt x="2" y="36"/>
                  <a:pt x="2" y="36"/>
                </a:cubicBezTo>
                <a:cubicBezTo>
                  <a:pt x="2" y="36"/>
                  <a:pt x="2" y="37"/>
                  <a:pt x="2" y="37"/>
                </a:cubicBezTo>
                <a:cubicBezTo>
                  <a:pt x="2" y="37"/>
                  <a:pt x="2" y="37"/>
                  <a:pt x="2" y="37"/>
                </a:cubicBezTo>
                <a:cubicBezTo>
                  <a:pt x="2" y="37"/>
                  <a:pt x="2" y="37"/>
                  <a:pt x="2" y="37"/>
                </a:cubicBezTo>
                <a:cubicBezTo>
                  <a:pt x="2" y="37"/>
                  <a:pt x="2" y="38"/>
                  <a:pt x="2" y="38"/>
                </a:cubicBezTo>
                <a:cubicBezTo>
                  <a:pt x="2" y="38"/>
                  <a:pt x="2" y="38"/>
                  <a:pt x="2" y="38"/>
                </a:cubicBezTo>
                <a:cubicBezTo>
                  <a:pt x="2" y="38"/>
                  <a:pt x="2" y="38"/>
                  <a:pt x="2" y="39"/>
                </a:cubicBezTo>
                <a:cubicBezTo>
                  <a:pt x="1" y="39"/>
                  <a:pt x="1" y="39"/>
                  <a:pt x="1" y="39"/>
                </a:cubicBezTo>
                <a:cubicBezTo>
                  <a:pt x="1" y="39"/>
                  <a:pt x="1" y="39"/>
                  <a:pt x="1" y="39"/>
                </a:cubicBezTo>
                <a:cubicBezTo>
                  <a:pt x="1" y="40"/>
                  <a:pt x="1" y="40"/>
                  <a:pt x="1" y="40"/>
                </a:cubicBezTo>
                <a:cubicBezTo>
                  <a:pt x="1" y="40"/>
                  <a:pt x="0" y="40"/>
                  <a:pt x="0" y="41"/>
                </a:cubicBezTo>
                <a:cubicBezTo>
                  <a:pt x="1" y="41"/>
                  <a:pt x="1" y="41"/>
                  <a:pt x="2" y="41"/>
                </a:cubicBezTo>
                <a:cubicBezTo>
                  <a:pt x="2" y="42"/>
                  <a:pt x="2" y="42"/>
                  <a:pt x="2" y="42"/>
                </a:cubicBezTo>
                <a:cubicBezTo>
                  <a:pt x="2" y="42"/>
                  <a:pt x="2" y="42"/>
                  <a:pt x="3" y="42"/>
                </a:cubicBezTo>
                <a:cubicBezTo>
                  <a:pt x="3" y="42"/>
                  <a:pt x="4" y="42"/>
                  <a:pt x="4" y="42"/>
                </a:cubicBezTo>
                <a:cubicBezTo>
                  <a:pt x="5" y="42"/>
                  <a:pt x="6" y="42"/>
                  <a:pt x="7" y="43"/>
                </a:cubicBezTo>
                <a:cubicBezTo>
                  <a:pt x="8" y="44"/>
                  <a:pt x="8" y="44"/>
                  <a:pt x="8" y="44"/>
                </a:cubicBezTo>
                <a:cubicBezTo>
                  <a:pt x="9" y="45"/>
                  <a:pt x="9" y="45"/>
                  <a:pt x="9" y="45"/>
                </a:cubicBezTo>
                <a:cubicBezTo>
                  <a:pt x="11" y="46"/>
                  <a:pt x="11" y="48"/>
                  <a:pt x="12" y="50"/>
                </a:cubicBezTo>
                <a:cubicBezTo>
                  <a:pt x="12" y="53"/>
                  <a:pt x="11" y="55"/>
                  <a:pt x="10" y="58"/>
                </a:cubicBezTo>
                <a:cubicBezTo>
                  <a:pt x="10" y="59"/>
                  <a:pt x="10" y="59"/>
                  <a:pt x="10" y="59"/>
                </a:cubicBezTo>
                <a:cubicBezTo>
                  <a:pt x="10" y="59"/>
                  <a:pt x="10" y="59"/>
                  <a:pt x="10" y="62"/>
                </a:cubicBezTo>
                <a:cubicBezTo>
                  <a:pt x="10" y="62"/>
                  <a:pt x="10" y="62"/>
                  <a:pt x="10" y="62"/>
                </a:cubicBezTo>
                <a:cubicBezTo>
                  <a:pt x="10" y="62"/>
                  <a:pt x="10" y="62"/>
                  <a:pt x="10" y="62"/>
                </a:cubicBezTo>
                <a:cubicBezTo>
                  <a:pt x="11" y="62"/>
                  <a:pt x="11" y="62"/>
                  <a:pt x="12" y="62"/>
                </a:cubicBezTo>
                <a:cubicBezTo>
                  <a:pt x="14" y="60"/>
                  <a:pt x="17" y="59"/>
                  <a:pt x="20" y="58"/>
                </a:cubicBezTo>
                <a:cubicBezTo>
                  <a:pt x="22" y="57"/>
                  <a:pt x="25" y="56"/>
                  <a:pt x="27" y="56"/>
                </a:cubicBezTo>
                <a:cubicBezTo>
                  <a:pt x="30" y="55"/>
                  <a:pt x="32" y="55"/>
                  <a:pt x="35" y="55"/>
                </a:cubicBezTo>
                <a:cubicBezTo>
                  <a:pt x="35" y="55"/>
                  <a:pt x="35" y="55"/>
                  <a:pt x="35" y="54"/>
                </a:cubicBezTo>
                <a:cubicBezTo>
                  <a:pt x="34" y="54"/>
                  <a:pt x="34" y="54"/>
                  <a:pt x="34" y="54"/>
                </a:cubicBezTo>
                <a:cubicBezTo>
                  <a:pt x="33" y="55"/>
                  <a:pt x="33" y="54"/>
                  <a:pt x="32" y="54"/>
                </a:cubicBezTo>
                <a:cubicBezTo>
                  <a:pt x="32" y="54"/>
                  <a:pt x="33" y="54"/>
                  <a:pt x="34" y="54"/>
                </a:cubicBezTo>
                <a:cubicBezTo>
                  <a:pt x="34" y="54"/>
                  <a:pt x="34" y="54"/>
                  <a:pt x="35" y="54"/>
                </a:cubicBezTo>
                <a:cubicBezTo>
                  <a:pt x="38" y="55"/>
                  <a:pt x="42" y="55"/>
                  <a:pt x="45" y="54"/>
                </a:cubicBezTo>
                <a:cubicBezTo>
                  <a:pt x="44" y="52"/>
                  <a:pt x="37" y="56"/>
                  <a:pt x="37" y="54"/>
                </a:cubicBezTo>
                <a:cubicBezTo>
                  <a:pt x="39" y="54"/>
                  <a:pt x="40" y="53"/>
                  <a:pt x="42" y="53"/>
                </a:cubicBezTo>
                <a:cubicBezTo>
                  <a:pt x="43" y="53"/>
                  <a:pt x="47" y="53"/>
                  <a:pt x="47" y="54"/>
                </a:cubicBezTo>
                <a:cubicBezTo>
                  <a:pt x="47" y="54"/>
                  <a:pt x="46" y="54"/>
                  <a:pt x="45" y="54"/>
                </a:cubicBezTo>
                <a:cubicBezTo>
                  <a:pt x="46" y="54"/>
                  <a:pt x="46" y="54"/>
                  <a:pt x="47" y="54"/>
                </a:cubicBezTo>
                <a:cubicBezTo>
                  <a:pt x="48" y="54"/>
                  <a:pt x="52" y="56"/>
                  <a:pt x="52" y="55"/>
                </a:cubicBezTo>
                <a:cubicBezTo>
                  <a:pt x="52" y="55"/>
                  <a:pt x="52" y="54"/>
                  <a:pt x="52" y="54"/>
                </a:cubicBezTo>
                <a:cubicBezTo>
                  <a:pt x="52" y="54"/>
                  <a:pt x="53" y="52"/>
                  <a:pt x="54" y="53"/>
                </a:cubicBezTo>
                <a:cubicBezTo>
                  <a:pt x="54" y="53"/>
                  <a:pt x="54" y="54"/>
                  <a:pt x="54" y="54"/>
                </a:cubicBezTo>
                <a:close/>
                <a:moveTo>
                  <a:pt x="47" y="53"/>
                </a:moveTo>
                <a:cubicBezTo>
                  <a:pt x="47" y="53"/>
                  <a:pt x="47" y="53"/>
                  <a:pt x="47" y="52"/>
                </a:cubicBezTo>
                <a:cubicBezTo>
                  <a:pt x="47" y="53"/>
                  <a:pt x="47" y="53"/>
                  <a:pt x="48" y="53"/>
                </a:cubicBezTo>
                <a:cubicBezTo>
                  <a:pt x="48" y="53"/>
                  <a:pt x="47" y="53"/>
                  <a:pt x="47" y="53"/>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16" name="Freeform 3073">
            <a:extLst>
              <a:ext uri="{FF2B5EF4-FFF2-40B4-BE49-F238E27FC236}">
                <a16:creationId xmlns:a16="http://schemas.microsoft.com/office/drawing/2014/main" id="{D3668105-D8E6-47B4-A28F-54A1EC8BB586}"/>
              </a:ext>
            </a:extLst>
          </p:cNvPr>
          <p:cNvSpPr>
            <a:spLocks/>
          </p:cNvSpPr>
          <p:nvPr/>
        </p:nvSpPr>
        <p:spPr bwMode="auto">
          <a:xfrm>
            <a:off x="3203219" y="3638085"/>
            <a:ext cx="47078" cy="58766"/>
          </a:xfrm>
          <a:custGeom>
            <a:avLst/>
            <a:gdLst>
              <a:gd name="T0" fmla="*/ 39 w 40"/>
              <a:gd name="T1" fmla="*/ 41 h 42"/>
              <a:gd name="T2" fmla="*/ 39 w 40"/>
              <a:gd name="T3" fmla="*/ 36 h 42"/>
              <a:gd name="T4" fmla="*/ 40 w 40"/>
              <a:gd name="T5" fmla="*/ 29 h 42"/>
              <a:gd name="T6" fmla="*/ 38 w 40"/>
              <a:gd name="T7" fmla="*/ 25 h 42"/>
              <a:gd name="T8" fmla="*/ 35 w 40"/>
              <a:gd name="T9" fmla="*/ 23 h 42"/>
              <a:gd name="T10" fmla="*/ 34 w 40"/>
              <a:gd name="T11" fmla="*/ 23 h 42"/>
              <a:gd name="T12" fmla="*/ 32 w 40"/>
              <a:gd name="T13" fmla="*/ 23 h 42"/>
              <a:gd name="T14" fmla="*/ 29 w 40"/>
              <a:gd name="T15" fmla="*/ 22 h 42"/>
              <a:gd name="T16" fmla="*/ 27 w 40"/>
              <a:gd name="T17" fmla="*/ 20 h 42"/>
              <a:gd name="T18" fmla="*/ 30 w 40"/>
              <a:gd name="T19" fmla="*/ 10 h 42"/>
              <a:gd name="T20" fmla="*/ 29 w 40"/>
              <a:gd name="T21" fmla="*/ 11 h 42"/>
              <a:gd name="T22" fmla="*/ 28 w 40"/>
              <a:gd name="T23" fmla="*/ 12 h 42"/>
              <a:gd name="T24" fmla="*/ 24 w 40"/>
              <a:gd name="T25" fmla="*/ 14 h 42"/>
              <a:gd name="T26" fmla="*/ 23 w 40"/>
              <a:gd name="T27" fmla="*/ 14 h 42"/>
              <a:gd name="T28" fmla="*/ 22 w 40"/>
              <a:gd name="T29" fmla="*/ 12 h 42"/>
              <a:gd name="T30" fmla="*/ 21 w 40"/>
              <a:gd name="T31" fmla="*/ 12 h 42"/>
              <a:gd name="T32" fmla="*/ 20 w 40"/>
              <a:gd name="T33" fmla="*/ 7 h 42"/>
              <a:gd name="T34" fmla="*/ 19 w 40"/>
              <a:gd name="T35" fmla="*/ 4 h 42"/>
              <a:gd name="T36" fmla="*/ 18 w 40"/>
              <a:gd name="T37" fmla="*/ 1 h 42"/>
              <a:gd name="T38" fmla="*/ 17 w 40"/>
              <a:gd name="T39" fmla="*/ 0 h 42"/>
              <a:gd name="T40" fmla="*/ 16 w 40"/>
              <a:gd name="T41" fmla="*/ 1 h 42"/>
              <a:gd name="T42" fmla="*/ 15 w 40"/>
              <a:gd name="T43" fmla="*/ 1 h 42"/>
              <a:gd name="T44" fmla="*/ 14 w 40"/>
              <a:gd name="T45" fmla="*/ 1 h 42"/>
              <a:gd name="T46" fmla="*/ 13 w 40"/>
              <a:gd name="T47" fmla="*/ 2 h 42"/>
              <a:gd name="T48" fmla="*/ 11 w 40"/>
              <a:gd name="T49" fmla="*/ 4 h 42"/>
              <a:gd name="T50" fmla="*/ 10 w 40"/>
              <a:gd name="T51" fmla="*/ 5 h 42"/>
              <a:gd name="T52" fmla="*/ 6 w 40"/>
              <a:gd name="T53" fmla="*/ 11 h 42"/>
              <a:gd name="T54" fmla="*/ 4 w 40"/>
              <a:gd name="T55" fmla="*/ 12 h 42"/>
              <a:gd name="T56" fmla="*/ 1 w 40"/>
              <a:gd name="T57" fmla="*/ 16 h 42"/>
              <a:gd name="T58" fmla="*/ 4 w 40"/>
              <a:gd name="T59" fmla="*/ 19 h 42"/>
              <a:gd name="T60" fmla="*/ 19 w 40"/>
              <a:gd name="T61" fmla="*/ 31 h 42"/>
              <a:gd name="T62" fmla="*/ 35 w 40"/>
              <a:gd name="T63" fmla="*/ 40 h 42"/>
              <a:gd name="T64" fmla="*/ 39 w 40"/>
              <a:gd name="T65" fmla="*/ 4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42">
                <a:moveTo>
                  <a:pt x="39" y="41"/>
                </a:moveTo>
                <a:cubicBezTo>
                  <a:pt x="39" y="41"/>
                  <a:pt x="39" y="41"/>
                  <a:pt x="39" y="41"/>
                </a:cubicBezTo>
                <a:cubicBezTo>
                  <a:pt x="38" y="39"/>
                  <a:pt x="38" y="38"/>
                  <a:pt x="38" y="37"/>
                </a:cubicBezTo>
                <a:cubicBezTo>
                  <a:pt x="39" y="36"/>
                  <a:pt x="39" y="36"/>
                  <a:pt x="39" y="36"/>
                </a:cubicBezTo>
                <a:cubicBezTo>
                  <a:pt x="39" y="36"/>
                  <a:pt x="39" y="36"/>
                  <a:pt x="39" y="36"/>
                </a:cubicBezTo>
                <a:cubicBezTo>
                  <a:pt x="40" y="33"/>
                  <a:pt x="40" y="31"/>
                  <a:pt x="40" y="29"/>
                </a:cubicBezTo>
                <a:cubicBezTo>
                  <a:pt x="40" y="28"/>
                  <a:pt x="39" y="27"/>
                  <a:pt x="38" y="26"/>
                </a:cubicBezTo>
                <a:cubicBezTo>
                  <a:pt x="38" y="26"/>
                  <a:pt x="38" y="25"/>
                  <a:pt x="38" y="25"/>
                </a:cubicBezTo>
                <a:cubicBezTo>
                  <a:pt x="37" y="24"/>
                  <a:pt x="37" y="24"/>
                  <a:pt x="37" y="24"/>
                </a:cubicBezTo>
                <a:cubicBezTo>
                  <a:pt x="36" y="23"/>
                  <a:pt x="35" y="23"/>
                  <a:pt x="35" y="23"/>
                </a:cubicBezTo>
                <a:cubicBezTo>
                  <a:pt x="34" y="23"/>
                  <a:pt x="34" y="23"/>
                  <a:pt x="34" y="23"/>
                </a:cubicBezTo>
                <a:cubicBezTo>
                  <a:pt x="34" y="23"/>
                  <a:pt x="34" y="23"/>
                  <a:pt x="34" y="23"/>
                </a:cubicBezTo>
                <a:cubicBezTo>
                  <a:pt x="33" y="23"/>
                  <a:pt x="33" y="23"/>
                  <a:pt x="32" y="23"/>
                </a:cubicBezTo>
                <a:cubicBezTo>
                  <a:pt x="32" y="23"/>
                  <a:pt x="32" y="23"/>
                  <a:pt x="32" y="23"/>
                </a:cubicBezTo>
                <a:cubicBezTo>
                  <a:pt x="31" y="23"/>
                  <a:pt x="30" y="22"/>
                  <a:pt x="29" y="22"/>
                </a:cubicBezTo>
                <a:cubicBezTo>
                  <a:pt x="29" y="22"/>
                  <a:pt x="29" y="22"/>
                  <a:pt x="29" y="22"/>
                </a:cubicBezTo>
                <a:cubicBezTo>
                  <a:pt x="29" y="21"/>
                  <a:pt x="29" y="21"/>
                  <a:pt x="28" y="21"/>
                </a:cubicBezTo>
                <a:cubicBezTo>
                  <a:pt x="27" y="20"/>
                  <a:pt x="27" y="20"/>
                  <a:pt x="27" y="20"/>
                </a:cubicBezTo>
                <a:cubicBezTo>
                  <a:pt x="28" y="19"/>
                  <a:pt x="28" y="19"/>
                  <a:pt x="28" y="19"/>
                </a:cubicBezTo>
                <a:cubicBezTo>
                  <a:pt x="32" y="16"/>
                  <a:pt x="31" y="14"/>
                  <a:pt x="30" y="10"/>
                </a:cubicBezTo>
                <a:cubicBezTo>
                  <a:pt x="30" y="10"/>
                  <a:pt x="29" y="10"/>
                  <a:pt x="29" y="10"/>
                </a:cubicBezTo>
                <a:cubicBezTo>
                  <a:pt x="29" y="10"/>
                  <a:pt x="29" y="10"/>
                  <a:pt x="29" y="11"/>
                </a:cubicBezTo>
                <a:cubicBezTo>
                  <a:pt x="28" y="11"/>
                  <a:pt x="28" y="11"/>
                  <a:pt x="28" y="11"/>
                </a:cubicBezTo>
                <a:cubicBezTo>
                  <a:pt x="28" y="11"/>
                  <a:pt x="28" y="12"/>
                  <a:pt x="28" y="12"/>
                </a:cubicBezTo>
                <a:cubicBezTo>
                  <a:pt x="27" y="13"/>
                  <a:pt x="26" y="14"/>
                  <a:pt x="25" y="14"/>
                </a:cubicBezTo>
                <a:cubicBezTo>
                  <a:pt x="25" y="14"/>
                  <a:pt x="25" y="14"/>
                  <a:pt x="24" y="14"/>
                </a:cubicBezTo>
                <a:cubicBezTo>
                  <a:pt x="24" y="14"/>
                  <a:pt x="24" y="14"/>
                  <a:pt x="24" y="14"/>
                </a:cubicBezTo>
                <a:cubicBezTo>
                  <a:pt x="24" y="14"/>
                  <a:pt x="24" y="14"/>
                  <a:pt x="23" y="14"/>
                </a:cubicBezTo>
                <a:cubicBezTo>
                  <a:pt x="23" y="14"/>
                  <a:pt x="23" y="14"/>
                  <a:pt x="23" y="13"/>
                </a:cubicBezTo>
                <a:cubicBezTo>
                  <a:pt x="23" y="13"/>
                  <a:pt x="22" y="13"/>
                  <a:pt x="22" y="12"/>
                </a:cubicBezTo>
                <a:cubicBezTo>
                  <a:pt x="22" y="12"/>
                  <a:pt x="22" y="12"/>
                  <a:pt x="22" y="12"/>
                </a:cubicBezTo>
                <a:cubicBezTo>
                  <a:pt x="21" y="12"/>
                  <a:pt x="21" y="12"/>
                  <a:pt x="21" y="12"/>
                </a:cubicBezTo>
                <a:cubicBezTo>
                  <a:pt x="18" y="14"/>
                  <a:pt x="18" y="14"/>
                  <a:pt x="18" y="14"/>
                </a:cubicBezTo>
                <a:cubicBezTo>
                  <a:pt x="20" y="7"/>
                  <a:pt x="20" y="7"/>
                  <a:pt x="20" y="7"/>
                </a:cubicBezTo>
                <a:cubicBezTo>
                  <a:pt x="20" y="7"/>
                  <a:pt x="20" y="6"/>
                  <a:pt x="20" y="5"/>
                </a:cubicBezTo>
                <a:cubicBezTo>
                  <a:pt x="19" y="4"/>
                  <a:pt x="19" y="4"/>
                  <a:pt x="19" y="4"/>
                </a:cubicBezTo>
                <a:cubicBezTo>
                  <a:pt x="19" y="3"/>
                  <a:pt x="19" y="2"/>
                  <a:pt x="19" y="2"/>
                </a:cubicBezTo>
                <a:cubicBezTo>
                  <a:pt x="18" y="2"/>
                  <a:pt x="18" y="1"/>
                  <a:pt x="18" y="1"/>
                </a:cubicBezTo>
                <a:cubicBezTo>
                  <a:pt x="18" y="1"/>
                  <a:pt x="18" y="1"/>
                  <a:pt x="18" y="1"/>
                </a:cubicBezTo>
                <a:cubicBezTo>
                  <a:pt x="17" y="0"/>
                  <a:pt x="17" y="0"/>
                  <a:pt x="17" y="0"/>
                </a:cubicBezTo>
                <a:cubicBezTo>
                  <a:pt x="17" y="0"/>
                  <a:pt x="17" y="0"/>
                  <a:pt x="17" y="0"/>
                </a:cubicBezTo>
                <a:cubicBezTo>
                  <a:pt x="17" y="0"/>
                  <a:pt x="17" y="1"/>
                  <a:pt x="16" y="1"/>
                </a:cubicBezTo>
                <a:cubicBezTo>
                  <a:pt x="16" y="1"/>
                  <a:pt x="16" y="1"/>
                  <a:pt x="15" y="1"/>
                </a:cubicBezTo>
                <a:cubicBezTo>
                  <a:pt x="15" y="1"/>
                  <a:pt x="15" y="1"/>
                  <a:pt x="15" y="1"/>
                </a:cubicBezTo>
                <a:cubicBezTo>
                  <a:pt x="15" y="1"/>
                  <a:pt x="15" y="1"/>
                  <a:pt x="15" y="1"/>
                </a:cubicBezTo>
                <a:cubicBezTo>
                  <a:pt x="14" y="1"/>
                  <a:pt x="14" y="1"/>
                  <a:pt x="14" y="1"/>
                </a:cubicBezTo>
                <a:cubicBezTo>
                  <a:pt x="13" y="1"/>
                  <a:pt x="13" y="1"/>
                  <a:pt x="13" y="1"/>
                </a:cubicBezTo>
                <a:cubicBezTo>
                  <a:pt x="13" y="1"/>
                  <a:pt x="13" y="1"/>
                  <a:pt x="13" y="2"/>
                </a:cubicBezTo>
                <a:cubicBezTo>
                  <a:pt x="13" y="2"/>
                  <a:pt x="13" y="3"/>
                  <a:pt x="13" y="3"/>
                </a:cubicBezTo>
                <a:cubicBezTo>
                  <a:pt x="12" y="4"/>
                  <a:pt x="11" y="4"/>
                  <a:pt x="11" y="4"/>
                </a:cubicBezTo>
                <a:cubicBezTo>
                  <a:pt x="11" y="4"/>
                  <a:pt x="10" y="4"/>
                  <a:pt x="10" y="4"/>
                </a:cubicBezTo>
                <a:cubicBezTo>
                  <a:pt x="10" y="4"/>
                  <a:pt x="10" y="5"/>
                  <a:pt x="10" y="5"/>
                </a:cubicBezTo>
                <a:cubicBezTo>
                  <a:pt x="10" y="6"/>
                  <a:pt x="10" y="7"/>
                  <a:pt x="9" y="8"/>
                </a:cubicBezTo>
                <a:cubicBezTo>
                  <a:pt x="8" y="9"/>
                  <a:pt x="7" y="10"/>
                  <a:pt x="6" y="11"/>
                </a:cubicBezTo>
                <a:cubicBezTo>
                  <a:pt x="5" y="12"/>
                  <a:pt x="5" y="12"/>
                  <a:pt x="5" y="12"/>
                </a:cubicBezTo>
                <a:cubicBezTo>
                  <a:pt x="5" y="12"/>
                  <a:pt x="5" y="12"/>
                  <a:pt x="4" y="12"/>
                </a:cubicBezTo>
                <a:cubicBezTo>
                  <a:pt x="4" y="13"/>
                  <a:pt x="3" y="13"/>
                  <a:pt x="2" y="14"/>
                </a:cubicBezTo>
                <a:cubicBezTo>
                  <a:pt x="2" y="15"/>
                  <a:pt x="1" y="16"/>
                  <a:pt x="1" y="16"/>
                </a:cubicBezTo>
                <a:cubicBezTo>
                  <a:pt x="0" y="16"/>
                  <a:pt x="0" y="16"/>
                  <a:pt x="0" y="16"/>
                </a:cubicBezTo>
                <a:cubicBezTo>
                  <a:pt x="2" y="17"/>
                  <a:pt x="3" y="18"/>
                  <a:pt x="4" y="19"/>
                </a:cubicBezTo>
                <a:cubicBezTo>
                  <a:pt x="6" y="20"/>
                  <a:pt x="7" y="23"/>
                  <a:pt x="9" y="23"/>
                </a:cubicBezTo>
                <a:cubicBezTo>
                  <a:pt x="13" y="24"/>
                  <a:pt x="16" y="28"/>
                  <a:pt x="19" y="31"/>
                </a:cubicBezTo>
                <a:cubicBezTo>
                  <a:pt x="21" y="33"/>
                  <a:pt x="25" y="36"/>
                  <a:pt x="28" y="37"/>
                </a:cubicBezTo>
                <a:cubicBezTo>
                  <a:pt x="31" y="38"/>
                  <a:pt x="33" y="39"/>
                  <a:pt x="35" y="40"/>
                </a:cubicBezTo>
                <a:cubicBezTo>
                  <a:pt x="37" y="41"/>
                  <a:pt x="38" y="41"/>
                  <a:pt x="39" y="42"/>
                </a:cubicBezTo>
                <a:cubicBezTo>
                  <a:pt x="39" y="42"/>
                  <a:pt x="39" y="42"/>
                  <a:pt x="39" y="4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17" name="Freeform 3074">
            <a:extLst>
              <a:ext uri="{FF2B5EF4-FFF2-40B4-BE49-F238E27FC236}">
                <a16:creationId xmlns:a16="http://schemas.microsoft.com/office/drawing/2014/main" id="{C62275E9-E23E-4BE6-A12B-4978F65B67F5}"/>
              </a:ext>
            </a:extLst>
          </p:cNvPr>
          <p:cNvSpPr>
            <a:spLocks/>
          </p:cNvSpPr>
          <p:nvPr/>
        </p:nvSpPr>
        <p:spPr bwMode="auto">
          <a:xfrm>
            <a:off x="3181415" y="3616716"/>
            <a:ext cx="32707" cy="42145"/>
          </a:xfrm>
          <a:custGeom>
            <a:avLst/>
            <a:gdLst>
              <a:gd name="T0" fmla="*/ 18 w 28"/>
              <a:gd name="T1" fmla="*/ 29 h 30"/>
              <a:gd name="T2" fmla="*/ 19 w 28"/>
              <a:gd name="T3" fmla="*/ 27 h 30"/>
              <a:gd name="T4" fmla="*/ 22 w 28"/>
              <a:gd name="T5" fmla="*/ 25 h 30"/>
              <a:gd name="T6" fmla="*/ 23 w 28"/>
              <a:gd name="T7" fmla="*/ 24 h 30"/>
              <a:gd name="T8" fmla="*/ 23 w 28"/>
              <a:gd name="T9" fmla="*/ 24 h 30"/>
              <a:gd name="T10" fmla="*/ 26 w 28"/>
              <a:gd name="T11" fmla="*/ 22 h 30"/>
              <a:gd name="T12" fmla="*/ 26 w 28"/>
              <a:gd name="T13" fmla="*/ 20 h 30"/>
              <a:gd name="T14" fmla="*/ 27 w 28"/>
              <a:gd name="T15" fmla="*/ 18 h 30"/>
              <a:gd name="T16" fmla="*/ 28 w 28"/>
              <a:gd name="T17" fmla="*/ 17 h 30"/>
              <a:gd name="T18" fmla="*/ 28 w 28"/>
              <a:gd name="T19" fmla="*/ 17 h 30"/>
              <a:gd name="T20" fmla="*/ 28 w 28"/>
              <a:gd name="T21" fmla="*/ 17 h 30"/>
              <a:gd name="T22" fmla="*/ 24 w 28"/>
              <a:gd name="T23" fmla="*/ 20 h 30"/>
              <a:gd name="T24" fmla="*/ 27 w 28"/>
              <a:gd name="T25" fmla="*/ 12 h 30"/>
              <a:gd name="T26" fmla="*/ 27 w 28"/>
              <a:gd name="T27" fmla="*/ 12 h 30"/>
              <a:gd name="T28" fmla="*/ 27 w 28"/>
              <a:gd name="T29" fmla="*/ 12 h 30"/>
              <a:gd name="T30" fmla="*/ 27 w 28"/>
              <a:gd name="T31" fmla="*/ 11 h 30"/>
              <a:gd name="T32" fmla="*/ 27 w 28"/>
              <a:gd name="T33" fmla="*/ 11 h 30"/>
              <a:gd name="T34" fmla="*/ 27 w 28"/>
              <a:gd name="T35" fmla="*/ 10 h 30"/>
              <a:gd name="T36" fmla="*/ 27 w 28"/>
              <a:gd name="T37" fmla="*/ 10 h 30"/>
              <a:gd name="T38" fmla="*/ 27 w 28"/>
              <a:gd name="T39" fmla="*/ 10 h 30"/>
              <a:gd name="T40" fmla="*/ 27 w 28"/>
              <a:gd name="T41" fmla="*/ 10 h 30"/>
              <a:gd name="T42" fmla="*/ 26 w 28"/>
              <a:gd name="T43" fmla="*/ 9 h 30"/>
              <a:gd name="T44" fmla="*/ 25 w 28"/>
              <a:gd name="T45" fmla="*/ 8 h 30"/>
              <a:gd name="T46" fmla="*/ 23 w 28"/>
              <a:gd name="T47" fmla="*/ 5 h 30"/>
              <a:gd name="T48" fmla="*/ 23 w 28"/>
              <a:gd name="T49" fmla="*/ 4 h 30"/>
              <a:gd name="T50" fmla="*/ 22 w 28"/>
              <a:gd name="T51" fmla="*/ 3 h 30"/>
              <a:gd name="T52" fmla="*/ 22 w 28"/>
              <a:gd name="T53" fmla="*/ 3 h 30"/>
              <a:gd name="T54" fmla="*/ 21 w 28"/>
              <a:gd name="T55" fmla="*/ 0 h 30"/>
              <a:gd name="T56" fmla="*/ 20 w 28"/>
              <a:gd name="T57" fmla="*/ 0 h 30"/>
              <a:gd name="T58" fmla="*/ 20 w 28"/>
              <a:gd name="T59" fmla="*/ 0 h 30"/>
              <a:gd name="T60" fmla="*/ 20 w 28"/>
              <a:gd name="T61" fmla="*/ 0 h 30"/>
              <a:gd name="T62" fmla="*/ 16 w 28"/>
              <a:gd name="T63" fmla="*/ 1 h 30"/>
              <a:gd name="T64" fmla="*/ 12 w 28"/>
              <a:gd name="T65" fmla="*/ 1 h 30"/>
              <a:gd name="T66" fmla="*/ 11 w 28"/>
              <a:gd name="T67" fmla="*/ 1 h 30"/>
              <a:gd name="T68" fmla="*/ 11 w 28"/>
              <a:gd name="T69" fmla="*/ 1 h 30"/>
              <a:gd name="T70" fmla="*/ 10 w 28"/>
              <a:gd name="T71" fmla="*/ 1 h 30"/>
              <a:gd name="T72" fmla="*/ 9 w 28"/>
              <a:gd name="T73" fmla="*/ 2 h 30"/>
              <a:gd name="T74" fmla="*/ 4 w 28"/>
              <a:gd name="T75" fmla="*/ 8 h 30"/>
              <a:gd name="T76" fmla="*/ 4 w 28"/>
              <a:gd name="T77" fmla="*/ 9 h 30"/>
              <a:gd name="T78" fmla="*/ 4 w 28"/>
              <a:gd name="T79" fmla="*/ 9 h 30"/>
              <a:gd name="T80" fmla="*/ 3 w 28"/>
              <a:gd name="T81" fmla="*/ 10 h 30"/>
              <a:gd name="T82" fmla="*/ 3 w 28"/>
              <a:gd name="T83" fmla="*/ 10 h 30"/>
              <a:gd name="T84" fmla="*/ 2 w 28"/>
              <a:gd name="T85" fmla="*/ 10 h 30"/>
              <a:gd name="T86" fmla="*/ 3 w 28"/>
              <a:gd name="T87" fmla="*/ 11 h 30"/>
              <a:gd name="T88" fmla="*/ 2 w 28"/>
              <a:gd name="T89" fmla="*/ 13 h 30"/>
              <a:gd name="T90" fmla="*/ 4 w 28"/>
              <a:gd name="T91" fmla="*/ 13 h 30"/>
              <a:gd name="T92" fmla="*/ 4 w 28"/>
              <a:gd name="T93" fmla="*/ 14 h 30"/>
              <a:gd name="T94" fmla="*/ 3 w 28"/>
              <a:gd name="T95" fmla="*/ 14 h 30"/>
              <a:gd name="T96" fmla="*/ 3 w 28"/>
              <a:gd name="T97" fmla="*/ 16 h 30"/>
              <a:gd name="T98" fmla="*/ 0 w 28"/>
              <a:gd name="T99" fmla="*/ 14 h 30"/>
              <a:gd name="T100" fmla="*/ 1 w 28"/>
              <a:gd name="T101" fmla="*/ 16 h 30"/>
              <a:gd name="T102" fmla="*/ 1 w 28"/>
              <a:gd name="T103" fmla="*/ 18 h 30"/>
              <a:gd name="T104" fmla="*/ 3 w 28"/>
              <a:gd name="T105" fmla="*/ 17 h 30"/>
              <a:gd name="T106" fmla="*/ 6 w 28"/>
              <a:gd name="T107" fmla="*/ 23 h 30"/>
              <a:gd name="T108" fmla="*/ 9 w 28"/>
              <a:gd name="T109" fmla="*/ 22 h 30"/>
              <a:gd name="T110" fmla="*/ 11 w 28"/>
              <a:gd name="T111" fmla="*/ 24 h 30"/>
              <a:gd name="T112" fmla="*/ 9 w 28"/>
              <a:gd name="T113" fmla="*/ 24 h 30"/>
              <a:gd name="T114" fmla="*/ 10 w 28"/>
              <a:gd name="T115" fmla="*/ 26 h 30"/>
              <a:gd name="T116" fmla="*/ 8 w 28"/>
              <a:gd name="T117" fmla="*/ 26 h 30"/>
              <a:gd name="T118" fmla="*/ 9 w 28"/>
              <a:gd name="T119" fmla="*/ 26 h 30"/>
              <a:gd name="T120" fmla="*/ 14 w 28"/>
              <a:gd name="T121" fmla="*/ 28 h 30"/>
              <a:gd name="T122" fmla="*/ 17 w 28"/>
              <a:gd name="T123" fmla="*/ 30 h 30"/>
              <a:gd name="T124" fmla="*/ 18 w 28"/>
              <a:gd name="T125"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 h="30">
                <a:moveTo>
                  <a:pt x="18" y="29"/>
                </a:moveTo>
                <a:cubicBezTo>
                  <a:pt x="18" y="29"/>
                  <a:pt x="19" y="29"/>
                  <a:pt x="19" y="27"/>
                </a:cubicBezTo>
                <a:cubicBezTo>
                  <a:pt x="20" y="26"/>
                  <a:pt x="21" y="26"/>
                  <a:pt x="22" y="25"/>
                </a:cubicBezTo>
                <a:cubicBezTo>
                  <a:pt x="22" y="25"/>
                  <a:pt x="23" y="25"/>
                  <a:pt x="23" y="24"/>
                </a:cubicBezTo>
                <a:cubicBezTo>
                  <a:pt x="23" y="24"/>
                  <a:pt x="23" y="24"/>
                  <a:pt x="23" y="24"/>
                </a:cubicBezTo>
                <a:cubicBezTo>
                  <a:pt x="24" y="23"/>
                  <a:pt x="25" y="23"/>
                  <a:pt x="26" y="22"/>
                </a:cubicBezTo>
                <a:cubicBezTo>
                  <a:pt x="26" y="21"/>
                  <a:pt x="26" y="21"/>
                  <a:pt x="26" y="20"/>
                </a:cubicBezTo>
                <a:cubicBezTo>
                  <a:pt x="27" y="19"/>
                  <a:pt x="27" y="18"/>
                  <a:pt x="27" y="18"/>
                </a:cubicBezTo>
                <a:cubicBezTo>
                  <a:pt x="28" y="17"/>
                  <a:pt x="28" y="17"/>
                  <a:pt x="28" y="17"/>
                </a:cubicBezTo>
                <a:cubicBezTo>
                  <a:pt x="28" y="17"/>
                  <a:pt x="28" y="17"/>
                  <a:pt x="28" y="17"/>
                </a:cubicBezTo>
                <a:cubicBezTo>
                  <a:pt x="28" y="17"/>
                  <a:pt x="28" y="17"/>
                  <a:pt x="28" y="17"/>
                </a:cubicBezTo>
                <a:cubicBezTo>
                  <a:pt x="24" y="20"/>
                  <a:pt x="24" y="20"/>
                  <a:pt x="24" y="20"/>
                </a:cubicBezTo>
                <a:cubicBezTo>
                  <a:pt x="27" y="12"/>
                  <a:pt x="27" y="12"/>
                  <a:pt x="27" y="12"/>
                </a:cubicBezTo>
                <a:cubicBezTo>
                  <a:pt x="27" y="12"/>
                  <a:pt x="27" y="12"/>
                  <a:pt x="27" y="12"/>
                </a:cubicBezTo>
                <a:cubicBezTo>
                  <a:pt x="27" y="12"/>
                  <a:pt x="27" y="12"/>
                  <a:pt x="27" y="12"/>
                </a:cubicBezTo>
                <a:cubicBezTo>
                  <a:pt x="27" y="12"/>
                  <a:pt x="27" y="11"/>
                  <a:pt x="27" y="11"/>
                </a:cubicBezTo>
                <a:cubicBezTo>
                  <a:pt x="27" y="11"/>
                  <a:pt x="27" y="11"/>
                  <a:pt x="27" y="11"/>
                </a:cubicBezTo>
                <a:cubicBezTo>
                  <a:pt x="27" y="11"/>
                  <a:pt x="27" y="11"/>
                  <a:pt x="27" y="10"/>
                </a:cubicBezTo>
                <a:cubicBezTo>
                  <a:pt x="27" y="10"/>
                  <a:pt x="27" y="10"/>
                  <a:pt x="27" y="10"/>
                </a:cubicBezTo>
                <a:cubicBezTo>
                  <a:pt x="27" y="10"/>
                  <a:pt x="27" y="10"/>
                  <a:pt x="27" y="10"/>
                </a:cubicBezTo>
                <a:cubicBezTo>
                  <a:pt x="27" y="10"/>
                  <a:pt x="27" y="10"/>
                  <a:pt x="27" y="10"/>
                </a:cubicBezTo>
                <a:cubicBezTo>
                  <a:pt x="26" y="10"/>
                  <a:pt x="26" y="10"/>
                  <a:pt x="26" y="9"/>
                </a:cubicBezTo>
                <a:cubicBezTo>
                  <a:pt x="25" y="9"/>
                  <a:pt x="25" y="9"/>
                  <a:pt x="25" y="8"/>
                </a:cubicBezTo>
                <a:cubicBezTo>
                  <a:pt x="24" y="7"/>
                  <a:pt x="23" y="6"/>
                  <a:pt x="23" y="5"/>
                </a:cubicBezTo>
                <a:cubicBezTo>
                  <a:pt x="23" y="4"/>
                  <a:pt x="23" y="4"/>
                  <a:pt x="23" y="4"/>
                </a:cubicBezTo>
                <a:cubicBezTo>
                  <a:pt x="23" y="4"/>
                  <a:pt x="23" y="4"/>
                  <a:pt x="22" y="3"/>
                </a:cubicBezTo>
                <a:cubicBezTo>
                  <a:pt x="22" y="3"/>
                  <a:pt x="22" y="3"/>
                  <a:pt x="22" y="3"/>
                </a:cubicBezTo>
                <a:cubicBezTo>
                  <a:pt x="22" y="2"/>
                  <a:pt x="21" y="1"/>
                  <a:pt x="21" y="0"/>
                </a:cubicBezTo>
                <a:cubicBezTo>
                  <a:pt x="21" y="0"/>
                  <a:pt x="21" y="0"/>
                  <a:pt x="20" y="0"/>
                </a:cubicBezTo>
                <a:cubicBezTo>
                  <a:pt x="20" y="0"/>
                  <a:pt x="20" y="0"/>
                  <a:pt x="20" y="0"/>
                </a:cubicBezTo>
                <a:cubicBezTo>
                  <a:pt x="20" y="0"/>
                  <a:pt x="20" y="0"/>
                  <a:pt x="20" y="0"/>
                </a:cubicBezTo>
                <a:cubicBezTo>
                  <a:pt x="19" y="0"/>
                  <a:pt x="18" y="0"/>
                  <a:pt x="16" y="1"/>
                </a:cubicBezTo>
                <a:cubicBezTo>
                  <a:pt x="15" y="1"/>
                  <a:pt x="14" y="1"/>
                  <a:pt x="12" y="1"/>
                </a:cubicBezTo>
                <a:cubicBezTo>
                  <a:pt x="12" y="1"/>
                  <a:pt x="12" y="1"/>
                  <a:pt x="11" y="1"/>
                </a:cubicBezTo>
                <a:cubicBezTo>
                  <a:pt x="11" y="1"/>
                  <a:pt x="11" y="1"/>
                  <a:pt x="11" y="1"/>
                </a:cubicBezTo>
                <a:cubicBezTo>
                  <a:pt x="11" y="1"/>
                  <a:pt x="11" y="1"/>
                  <a:pt x="10" y="1"/>
                </a:cubicBezTo>
                <a:cubicBezTo>
                  <a:pt x="9" y="1"/>
                  <a:pt x="9" y="1"/>
                  <a:pt x="9" y="2"/>
                </a:cubicBezTo>
                <a:cubicBezTo>
                  <a:pt x="8" y="4"/>
                  <a:pt x="7" y="6"/>
                  <a:pt x="4" y="8"/>
                </a:cubicBezTo>
                <a:cubicBezTo>
                  <a:pt x="4" y="9"/>
                  <a:pt x="4" y="9"/>
                  <a:pt x="4" y="9"/>
                </a:cubicBezTo>
                <a:cubicBezTo>
                  <a:pt x="4" y="9"/>
                  <a:pt x="4" y="9"/>
                  <a:pt x="4" y="9"/>
                </a:cubicBezTo>
                <a:cubicBezTo>
                  <a:pt x="3" y="9"/>
                  <a:pt x="3" y="9"/>
                  <a:pt x="3" y="10"/>
                </a:cubicBezTo>
                <a:cubicBezTo>
                  <a:pt x="3" y="10"/>
                  <a:pt x="3" y="10"/>
                  <a:pt x="3" y="10"/>
                </a:cubicBezTo>
                <a:cubicBezTo>
                  <a:pt x="2" y="10"/>
                  <a:pt x="2" y="10"/>
                  <a:pt x="2" y="10"/>
                </a:cubicBezTo>
                <a:cubicBezTo>
                  <a:pt x="2" y="10"/>
                  <a:pt x="3" y="10"/>
                  <a:pt x="3" y="11"/>
                </a:cubicBezTo>
                <a:cubicBezTo>
                  <a:pt x="1" y="11"/>
                  <a:pt x="1" y="13"/>
                  <a:pt x="2" y="13"/>
                </a:cubicBezTo>
                <a:cubicBezTo>
                  <a:pt x="3" y="14"/>
                  <a:pt x="4" y="13"/>
                  <a:pt x="4" y="13"/>
                </a:cubicBezTo>
                <a:cubicBezTo>
                  <a:pt x="4" y="13"/>
                  <a:pt x="4" y="13"/>
                  <a:pt x="4" y="14"/>
                </a:cubicBezTo>
                <a:cubicBezTo>
                  <a:pt x="4" y="14"/>
                  <a:pt x="3" y="14"/>
                  <a:pt x="3" y="14"/>
                </a:cubicBezTo>
                <a:cubicBezTo>
                  <a:pt x="3" y="14"/>
                  <a:pt x="3" y="15"/>
                  <a:pt x="3" y="16"/>
                </a:cubicBezTo>
                <a:cubicBezTo>
                  <a:pt x="2" y="15"/>
                  <a:pt x="1" y="15"/>
                  <a:pt x="0" y="14"/>
                </a:cubicBezTo>
                <a:cubicBezTo>
                  <a:pt x="0" y="15"/>
                  <a:pt x="0" y="15"/>
                  <a:pt x="1" y="16"/>
                </a:cubicBezTo>
                <a:cubicBezTo>
                  <a:pt x="1" y="16"/>
                  <a:pt x="1" y="17"/>
                  <a:pt x="1" y="18"/>
                </a:cubicBezTo>
                <a:cubicBezTo>
                  <a:pt x="2" y="17"/>
                  <a:pt x="3" y="17"/>
                  <a:pt x="3" y="17"/>
                </a:cubicBezTo>
                <a:cubicBezTo>
                  <a:pt x="4" y="19"/>
                  <a:pt x="4" y="22"/>
                  <a:pt x="6" y="23"/>
                </a:cubicBezTo>
                <a:cubicBezTo>
                  <a:pt x="7" y="23"/>
                  <a:pt x="8" y="23"/>
                  <a:pt x="9" y="22"/>
                </a:cubicBezTo>
                <a:cubicBezTo>
                  <a:pt x="9" y="25"/>
                  <a:pt x="9" y="24"/>
                  <a:pt x="11" y="24"/>
                </a:cubicBezTo>
                <a:cubicBezTo>
                  <a:pt x="11" y="24"/>
                  <a:pt x="10" y="24"/>
                  <a:pt x="9" y="24"/>
                </a:cubicBezTo>
                <a:cubicBezTo>
                  <a:pt x="9" y="25"/>
                  <a:pt x="9" y="25"/>
                  <a:pt x="10" y="26"/>
                </a:cubicBezTo>
                <a:cubicBezTo>
                  <a:pt x="9" y="26"/>
                  <a:pt x="9" y="26"/>
                  <a:pt x="8" y="26"/>
                </a:cubicBezTo>
                <a:cubicBezTo>
                  <a:pt x="9" y="26"/>
                  <a:pt x="9" y="26"/>
                  <a:pt x="9" y="26"/>
                </a:cubicBezTo>
                <a:cubicBezTo>
                  <a:pt x="11" y="27"/>
                  <a:pt x="13" y="27"/>
                  <a:pt x="14" y="28"/>
                </a:cubicBezTo>
                <a:cubicBezTo>
                  <a:pt x="15" y="29"/>
                  <a:pt x="16" y="29"/>
                  <a:pt x="17" y="30"/>
                </a:cubicBezTo>
                <a:lnTo>
                  <a:pt x="18" y="29"/>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18" name="Freeform 3075">
            <a:extLst>
              <a:ext uri="{FF2B5EF4-FFF2-40B4-BE49-F238E27FC236}">
                <a16:creationId xmlns:a16="http://schemas.microsoft.com/office/drawing/2014/main" id="{5712B1D7-D103-475A-A04B-AC6E11852937}"/>
              </a:ext>
            </a:extLst>
          </p:cNvPr>
          <p:cNvSpPr>
            <a:spLocks/>
          </p:cNvSpPr>
          <p:nvPr/>
        </p:nvSpPr>
        <p:spPr bwMode="auto">
          <a:xfrm>
            <a:off x="3144743" y="3577538"/>
            <a:ext cx="30725" cy="22557"/>
          </a:xfrm>
          <a:custGeom>
            <a:avLst/>
            <a:gdLst>
              <a:gd name="T0" fmla="*/ 13 w 26"/>
              <a:gd name="T1" fmla="*/ 15 h 16"/>
              <a:gd name="T2" fmla="*/ 13 w 26"/>
              <a:gd name="T3" fmla="*/ 15 h 16"/>
              <a:gd name="T4" fmla="*/ 16 w 26"/>
              <a:gd name="T5" fmla="*/ 10 h 16"/>
              <a:gd name="T6" fmla="*/ 19 w 26"/>
              <a:gd name="T7" fmla="*/ 10 h 16"/>
              <a:gd name="T8" fmla="*/ 19 w 26"/>
              <a:gd name="T9" fmla="*/ 10 h 16"/>
              <a:gd name="T10" fmla="*/ 20 w 26"/>
              <a:gd name="T11" fmla="*/ 9 h 16"/>
              <a:gd name="T12" fmla="*/ 21 w 26"/>
              <a:gd name="T13" fmla="*/ 9 h 16"/>
              <a:gd name="T14" fmla="*/ 24 w 26"/>
              <a:gd name="T15" fmla="*/ 8 h 16"/>
              <a:gd name="T16" fmla="*/ 25 w 26"/>
              <a:gd name="T17" fmla="*/ 8 h 16"/>
              <a:gd name="T18" fmla="*/ 25 w 26"/>
              <a:gd name="T19" fmla="*/ 8 h 16"/>
              <a:gd name="T20" fmla="*/ 25 w 26"/>
              <a:gd name="T21" fmla="*/ 7 h 16"/>
              <a:gd name="T22" fmla="*/ 24 w 26"/>
              <a:gd name="T23" fmla="*/ 6 h 16"/>
              <a:gd name="T24" fmla="*/ 21 w 26"/>
              <a:gd name="T25" fmla="*/ 6 h 16"/>
              <a:gd name="T26" fmla="*/ 24 w 26"/>
              <a:gd name="T27" fmla="*/ 4 h 16"/>
              <a:gd name="T28" fmla="*/ 26 w 26"/>
              <a:gd name="T29" fmla="*/ 2 h 16"/>
              <a:gd name="T30" fmla="*/ 26 w 26"/>
              <a:gd name="T31" fmla="*/ 2 h 16"/>
              <a:gd name="T32" fmla="*/ 26 w 26"/>
              <a:gd name="T33" fmla="*/ 1 h 16"/>
              <a:gd name="T34" fmla="*/ 26 w 26"/>
              <a:gd name="T35" fmla="*/ 0 h 16"/>
              <a:gd name="T36" fmla="*/ 25 w 26"/>
              <a:gd name="T37" fmla="*/ 0 h 16"/>
              <a:gd name="T38" fmla="*/ 23 w 26"/>
              <a:gd name="T39" fmla="*/ 0 h 16"/>
              <a:gd name="T40" fmla="*/ 22 w 26"/>
              <a:gd name="T41" fmla="*/ 0 h 16"/>
              <a:gd name="T42" fmla="*/ 20 w 26"/>
              <a:gd name="T43" fmla="*/ 0 h 16"/>
              <a:gd name="T44" fmla="*/ 16 w 26"/>
              <a:gd name="T45" fmla="*/ 0 h 16"/>
              <a:gd name="T46" fmla="*/ 15 w 26"/>
              <a:gd name="T47" fmla="*/ 0 h 16"/>
              <a:gd name="T48" fmla="*/ 2 w 26"/>
              <a:gd name="T49" fmla="*/ 3 h 16"/>
              <a:gd name="T50" fmla="*/ 0 w 26"/>
              <a:gd name="T51" fmla="*/ 4 h 16"/>
              <a:gd name="T52" fmla="*/ 1 w 26"/>
              <a:gd name="T53" fmla="*/ 7 h 16"/>
              <a:gd name="T54" fmla="*/ 3 w 26"/>
              <a:gd name="T55" fmla="*/ 7 h 16"/>
              <a:gd name="T56" fmla="*/ 6 w 26"/>
              <a:gd name="T57" fmla="*/ 6 h 16"/>
              <a:gd name="T58" fmla="*/ 4 w 26"/>
              <a:gd name="T59" fmla="*/ 9 h 16"/>
              <a:gd name="T60" fmla="*/ 6 w 26"/>
              <a:gd name="T61" fmla="*/ 8 h 16"/>
              <a:gd name="T62" fmla="*/ 9 w 26"/>
              <a:gd name="T63" fmla="*/ 7 h 16"/>
              <a:gd name="T64" fmla="*/ 13 w 26"/>
              <a:gd name="T65" fmla="*/ 7 h 16"/>
              <a:gd name="T66" fmla="*/ 14 w 26"/>
              <a:gd name="T67" fmla="*/ 9 h 16"/>
              <a:gd name="T68" fmla="*/ 10 w 26"/>
              <a:gd name="T69" fmla="*/ 8 h 16"/>
              <a:gd name="T70" fmla="*/ 9 w 26"/>
              <a:gd name="T71" fmla="*/ 11 h 16"/>
              <a:gd name="T72" fmla="*/ 14 w 26"/>
              <a:gd name="T73" fmla="*/ 10 h 16"/>
              <a:gd name="T74" fmla="*/ 13 w 26"/>
              <a:gd name="T75" fmla="*/ 11 h 16"/>
              <a:gd name="T76" fmla="*/ 13 w 26"/>
              <a:gd name="T77" fmla="*/ 10 h 16"/>
              <a:gd name="T78" fmla="*/ 12 w 26"/>
              <a:gd name="T79" fmla="*/ 11 h 16"/>
              <a:gd name="T80" fmla="*/ 11 w 26"/>
              <a:gd name="T81" fmla="*/ 10 h 16"/>
              <a:gd name="T82" fmla="*/ 9 w 26"/>
              <a:gd name="T83" fmla="*/ 13 h 16"/>
              <a:gd name="T84" fmla="*/ 10 w 26"/>
              <a:gd name="T85" fmla="*/ 12 h 16"/>
              <a:gd name="T86" fmla="*/ 10 w 26"/>
              <a:gd name="T87" fmla="*/ 13 h 16"/>
              <a:gd name="T88" fmla="*/ 11 w 26"/>
              <a:gd name="T89" fmla="*/ 12 h 16"/>
              <a:gd name="T90" fmla="*/ 10 w 26"/>
              <a:gd name="T91" fmla="*/ 13 h 16"/>
              <a:gd name="T92" fmla="*/ 9 w 26"/>
              <a:gd name="T93" fmla="*/ 14 h 16"/>
              <a:gd name="T94" fmla="*/ 12 w 26"/>
              <a:gd name="T95" fmla="*/ 16 h 16"/>
              <a:gd name="T96" fmla="*/ 13 w 26"/>
              <a:gd name="T97"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6" h="16">
                <a:moveTo>
                  <a:pt x="13" y="15"/>
                </a:moveTo>
                <a:cubicBezTo>
                  <a:pt x="13" y="15"/>
                  <a:pt x="13" y="15"/>
                  <a:pt x="13" y="15"/>
                </a:cubicBezTo>
                <a:cubicBezTo>
                  <a:pt x="14" y="13"/>
                  <a:pt x="15" y="11"/>
                  <a:pt x="16" y="10"/>
                </a:cubicBezTo>
                <a:cubicBezTo>
                  <a:pt x="17" y="10"/>
                  <a:pt x="17" y="10"/>
                  <a:pt x="19" y="10"/>
                </a:cubicBezTo>
                <a:cubicBezTo>
                  <a:pt x="19" y="10"/>
                  <a:pt x="19" y="10"/>
                  <a:pt x="19" y="10"/>
                </a:cubicBezTo>
                <a:cubicBezTo>
                  <a:pt x="19" y="10"/>
                  <a:pt x="20" y="9"/>
                  <a:pt x="20" y="9"/>
                </a:cubicBezTo>
                <a:cubicBezTo>
                  <a:pt x="21" y="9"/>
                  <a:pt x="21" y="9"/>
                  <a:pt x="21" y="9"/>
                </a:cubicBezTo>
                <a:cubicBezTo>
                  <a:pt x="22" y="9"/>
                  <a:pt x="23" y="9"/>
                  <a:pt x="24" y="8"/>
                </a:cubicBezTo>
                <a:cubicBezTo>
                  <a:pt x="24" y="8"/>
                  <a:pt x="25" y="8"/>
                  <a:pt x="25" y="8"/>
                </a:cubicBezTo>
                <a:cubicBezTo>
                  <a:pt x="25" y="8"/>
                  <a:pt x="25" y="8"/>
                  <a:pt x="25" y="8"/>
                </a:cubicBezTo>
                <a:cubicBezTo>
                  <a:pt x="25" y="7"/>
                  <a:pt x="25" y="7"/>
                  <a:pt x="25" y="7"/>
                </a:cubicBezTo>
                <a:cubicBezTo>
                  <a:pt x="24" y="6"/>
                  <a:pt x="24" y="6"/>
                  <a:pt x="24" y="6"/>
                </a:cubicBezTo>
                <a:cubicBezTo>
                  <a:pt x="21" y="6"/>
                  <a:pt x="21" y="6"/>
                  <a:pt x="21" y="6"/>
                </a:cubicBezTo>
                <a:cubicBezTo>
                  <a:pt x="24" y="4"/>
                  <a:pt x="24" y="4"/>
                  <a:pt x="24" y="4"/>
                </a:cubicBezTo>
                <a:cubicBezTo>
                  <a:pt x="24" y="3"/>
                  <a:pt x="25" y="3"/>
                  <a:pt x="26" y="2"/>
                </a:cubicBezTo>
                <a:cubicBezTo>
                  <a:pt x="26" y="2"/>
                  <a:pt x="26" y="2"/>
                  <a:pt x="26" y="2"/>
                </a:cubicBezTo>
                <a:cubicBezTo>
                  <a:pt x="26" y="2"/>
                  <a:pt x="26" y="2"/>
                  <a:pt x="26" y="1"/>
                </a:cubicBezTo>
                <a:cubicBezTo>
                  <a:pt x="26" y="0"/>
                  <a:pt x="26" y="0"/>
                  <a:pt x="26" y="0"/>
                </a:cubicBezTo>
                <a:cubicBezTo>
                  <a:pt x="25" y="0"/>
                  <a:pt x="25" y="0"/>
                  <a:pt x="25" y="0"/>
                </a:cubicBezTo>
                <a:cubicBezTo>
                  <a:pt x="24" y="0"/>
                  <a:pt x="23" y="0"/>
                  <a:pt x="23" y="0"/>
                </a:cubicBezTo>
                <a:cubicBezTo>
                  <a:pt x="22" y="0"/>
                  <a:pt x="22" y="0"/>
                  <a:pt x="22" y="0"/>
                </a:cubicBezTo>
                <a:cubicBezTo>
                  <a:pt x="22" y="0"/>
                  <a:pt x="21" y="0"/>
                  <a:pt x="20" y="0"/>
                </a:cubicBezTo>
                <a:cubicBezTo>
                  <a:pt x="19" y="0"/>
                  <a:pt x="17" y="0"/>
                  <a:pt x="16" y="0"/>
                </a:cubicBezTo>
                <a:cubicBezTo>
                  <a:pt x="15" y="0"/>
                  <a:pt x="15" y="0"/>
                  <a:pt x="15" y="0"/>
                </a:cubicBezTo>
                <a:cubicBezTo>
                  <a:pt x="11" y="1"/>
                  <a:pt x="7" y="2"/>
                  <a:pt x="2" y="3"/>
                </a:cubicBezTo>
                <a:cubicBezTo>
                  <a:pt x="1" y="4"/>
                  <a:pt x="0" y="4"/>
                  <a:pt x="0" y="4"/>
                </a:cubicBezTo>
                <a:cubicBezTo>
                  <a:pt x="0" y="5"/>
                  <a:pt x="1" y="6"/>
                  <a:pt x="1" y="7"/>
                </a:cubicBezTo>
                <a:cubicBezTo>
                  <a:pt x="2" y="7"/>
                  <a:pt x="2" y="7"/>
                  <a:pt x="3" y="7"/>
                </a:cubicBezTo>
                <a:cubicBezTo>
                  <a:pt x="4" y="7"/>
                  <a:pt x="5" y="6"/>
                  <a:pt x="6" y="6"/>
                </a:cubicBezTo>
                <a:cubicBezTo>
                  <a:pt x="5" y="7"/>
                  <a:pt x="4" y="7"/>
                  <a:pt x="4" y="9"/>
                </a:cubicBezTo>
                <a:cubicBezTo>
                  <a:pt x="4" y="9"/>
                  <a:pt x="6" y="9"/>
                  <a:pt x="6" y="8"/>
                </a:cubicBezTo>
                <a:cubicBezTo>
                  <a:pt x="7" y="8"/>
                  <a:pt x="8" y="7"/>
                  <a:pt x="9" y="7"/>
                </a:cubicBezTo>
                <a:cubicBezTo>
                  <a:pt x="10" y="7"/>
                  <a:pt x="12" y="7"/>
                  <a:pt x="13" y="7"/>
                </a:cubicBezTo>
                <a:cubicBezTo>
                  <a:pt x="14" y="7"/>
                  <a:pt x="14" y="8"/>
                  <a:pt x="14" y="9"/>
                </a:cubicBezTo>
                <a:cubicBezTo>
                  <a:pt x="13" y="7"/>
                  <a:pt x="12" y="6"/>
                  <a:pt x="10" y="8"/>
                </a:cubicBezTo>
                <a:cubicBezTo>
                  <a:pt x="8" y="9"/>
                  <a:pt x="9" y="9"/>
                  <a:pt x="9" y="11"/>
                </a:cubicBezTo>
                <a:cubicBezTo>
                  <a:pt x="10" y="9"/>
                  <a:pt x="12" y="10"/>
                  <a:pt x="14" y="10"/>
                </a:cubicBezTo>
                <a:cubicBezTo>
                  <a:pt x="13" y="11"/>
                  <a:pt x="13" y="11"/>
                  <a:pt x="13" y="11"/>
                </a:cubicBezTo>
                <a:cubicBezTo>
                  <a:pt x="13" y="11"/>
                  <a:pt x="13" y="10"/>
                  <a:pt x="13" y="10"/>
                </a:cubicBezTo>
                <a:cubicBezTo>
                  <a:pt x="12" y="10"/>
                  <a:pt x="12" y="10"/>
                  <a:pt x="12" y="11"/>
                </a:cubicBezTo>
                <a:cubicBezTo>
                  <a:pt x="11" y="11"/>
                  <a:pt x="11" y="11"/>
                  <a:pt x="11" y="10"/>
                </a:cubicBezTo>
                <a:cubicBezTo>
                  <a:pt x="10" y="11"/>
                  <a:pt x="9" y="12"/>
                  <a:pt x="9" y="13"/>
                </a:cubicBezTo>
                <a:cubicBezTo>
                  <a:pt x="9" y="13"/>
                  <a:pt x="9" y="13"/>
                  <a:pt x="10" y="12"/>
                </a:cubicBezTo>
                <a:cubicBezTo>
                  <a:pt x="10" y="12"/>
                  <a:pt x="10" y="13"/>
                  <a:pt x="10" y="13"/>
                </a:cubicBezTo>
                <a:cubicBezTo>
                  <a:pt x="11" y="12"/>
                  <a:pt x="11" y="12"/>
                  <a:pt x="11" y="12"/>
                </a:cubicBezTo>
                <a:cubicBezTo>
                  <a:pt x="11" y="12"/>
                  <a:pt x="11" y="12"/>
                  <a:pt x="10" y="13"/>
                </a:cubicBezTo>
                <a:cubicBezTo>
                  <a:pt x="10" y="13"/>
                  <a:pt x="9" y="13"/>
                  <a:pt x="9" y="14"/>
                </a:cubicBezTo>
                <a:cubicBezTo>
                  <a:pt x="11" y="14"/>
                  <a:pt x="12" y="14"/>
                  <a:pt x="12" y="16"/>
                </a:cubicBezTo>
                <a:cubicBezTo>
                  <a:pt x="12" y="16"/>
                  <a:pt x="13" y="15"/>
                  <a:pt x="13" y="15"/>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19" name="Freeform 3076">
            <a:extLst>
              <a:ext uri="{FF2B5EF4-FFF2-40B4-BE49-F238E27FC236}">
                <a16:creationId xmlns:a16="http://schemas.microsoft.com/office/drawing/2014/main" id="{D8DE34ED-8FE2-4B55-A1D4-C86A7305B661}"/>
              </a:ext>
            </a:extLst>
          </p:cNvPr>
          <p:cNvSpPr>
            <a:spLocks/>
          </p:cNvSpPr>
          <p:nvPr/>
        </p:nvSpPr>
        <p:spPr bwMode="auto">
          <a:xfrm>
            <a:off x="3142761" y="3581693"/>
            <a:ext cx="4460" cy="1781"/>
          </a:xfrm>
          <a:custGeom>
            <a:avLst/>
            <a:gdLst>
              <a:gd name="T0" fmla="*/ 0 w 4"/>
              <a:gd name="T1" fmla="*/ 1 h 1"/>
              <a:gd name="T2" fmla="*/ 4 w 4"/>
              <a:gd name="T3" fmla="*/ 0 h 1"/>
              <a:gd name="T4" fmla="*/ 0 w 4"/>
              <a:gd name="T5" fmla="*/ 1 h 1"/>
            </a:gdLst>
            <a:ahLst/>
            <a:cxnLst>
              <a:cxn ang="0">
                <a:pos x="T0" y="T1"/>
              </a:cxn>
              <a:cxn ang="0">
                <a:pos x="T2" y="T3"/>
              </a:cxn>
              <a:cxn ang="0">
                <a:pos x="T4" y="T5"/>
              </a:cxn>
            </a:cxnLst>
            <a:rect l="0" t="0" r="r" b="b"/>
            <a:pathLst>
              <a:path w="4" h="1">
                <a:moveTo>
                  <a:pt x="0" y="1"/>
                </a:moveTo>
                <a:cubicBezTo>
                  <a:pt x="1" y="1"/>
                  <a:pt x="2" y="1"/>
                  <a:pt x="4" y="0"/>
                </a:cubicBezTo>
                <a:cubicBezTo>
                  <a:pt x="3" y="0"/>
                  <a:pt x="1" y="1"/>
                  <a:pt x="0"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20" name="Freeform 3077">
            <a:extLst>
              <a:ext uri="{FF2B5EF4-FFF2-40B4-BE49-F238E27FC236}">
                <a16:creationId xmlns:a16="http://schemas.microsoft.com/office/drawing/2014/main" id="{3206BC91-8A97-440B-BC94-A0E690C9A2CD}"/>
              </a:ext>
            </a:extLst>
          </p:cNvPr>
          <p:cNvSpPr>
            <a:spLocks/>
          </p:cNvSpPr>
          <p:nvPr/>
        </p:nvSpPr>
        <p:spPr bwMode="auto">
          <a:xfrm>
            <a:off x="3689860" y="3795388"/>
            <a:ext cx="19822" cy="26712"/>
          </a:xfrm>
          <a:custGeom>
            <a:avLst/>
            <a:gdLst>
              <a:gd name="T0" fmla="*/ 16 w 17"/>
              <a:gd name="T1" fmla="*/ 8 h 19"/>
              <a:gd name="T2" fmla="*/ 17 w 17"/>
              <a:gd name="T3" fmla="*/ 7 h 19"/>
              <a:gd name="T4" fmla="*/ 17 w 17"/>
              <a:gd name="T5" fmla="*/ 5 h 19"/>
              <a:gd name="T6" fmla="*/ 16 w 17"/>
              <a:gd name="T7" fmla="*/ 4 h 19"/>
              <a:gd name="T8" fmla="*/ 15 w 17"/>
              <a:gd name="T9" fmla="*/ 4 h 19"/>
              <a:gd name="T10" fmla="*/ 15 w 17"/>
              <a:gd name="T11" fmla="*/ 2 h 19"/>
              <a:gd name="T12" fmla="*/ 15 w 17"/>
              <a:gd name="T13" fmla="*/ 2 h 19"/>
              <a:gd name="T14" fmla="*/ 14 w 17"/>
              <a:gd name="T15" fmla="*/ 0 h 19"/>
              <a:gd name="T16" fmla="*/ 14 w 17"/>
              <a:gd name="T17" fmla="*/ 0 h 19"/>
              <a:gd name="T18" fmla="*/ 14 w 17"/>
              <a:gd name="T19" fmla="*/ 0 h 19"/>
              <a:gd name="T20" fmla="*/ 14 w 17"/>
              <a:gd name="T21" fmla="*/ 0 h 19"/>
              <a:gd name="T22" fmla="*/ 13 w 17"/>
              <a:gd name="T23" fmla="*/ 0 h 19"/>
              <a:gd name="T24" fmla="*/ 12 w 17"/>
              <a:gd name="T25" fmla="*/ 0 h 19"/>
              <a:gd name="T26" fmla="*/ 9 w 17"/>
              <a:gd name="T27" fmla="*/ 0 h 19"/>
              <a:gd name="T28" fmla="*/ 7 w 17"/>
              <a:gd name="T29" fmla="*/ 3 h 19"/>
              <a:gd name="T30" fmla="*/ 7 w 17"/>
              <a:gd name="T31" fmla="*/ 3 h 19"/>
              <a:gd name="T32" fmla="*/ 5 w 17"/>
              <a:gd name="T33" fmla="*/ 4 h 19"/>
              <a:gd name="T34" fmla="*/ 5 w 17"/>
              <a:gd name="T35" fmla="*/ 4 h 19"/>
              <a:gd name="T36" fmla="*/ 5 w 17"/>
              <a:gd name="T37" fmla="*/ 4 h 19"/>
              <a:gd name="T38" fmla="*/ 5 w 17"/>
              <a:gd name="T39" fmla="*/ 4 h 19"/>
              <a:gd name="T40" fmla="*/ 5 w 17"/>
              <a:gd name="T41" fmla="*/ 4 h 19"/>
              <a:gd name="T42" fmla="*/ 5 w 17"/>
              <a:gd name="T43" fmla="*/ 4 h 19"/>
              <a:gd name="T44" fmla="*/ 5 w 17"/>
              <a:gd name="T45" fmla="*/ 4 h 19"/>
              <a:gd name="T46" fmla="*/ 4 w 17"/>
              <a:gd name="T47" fmla="*/ 4 h 19"/>
              <a:gd name="T48" fmla="*/ 1 w 17"/>
              <a:gd name="T49" fmla="*/ 3 h 19"/>
              <a:gd name="T50" fmla="*/ 0 w 17"/>
              <a:gd name="T51" fmla="*/ 2 h 19"/>
              <a:gd name="T52" fmla="*/ 0 w 17"/>
              <a:gd name="T53" fmla="*/ 2 h 19"/>
              <a:gd name="T54" fmla="*/ 0 w 17"/>
              <a:gd name="T55" fmla="*/ 2 h 19"/>
              <a:gd name="T56" fmla="*/ 0 w 17"/>
              <a:gd name="T57" fmla="*/ 2 h 19"/>
              <a:gd name="T58" fmla="*/ 0 w 17"/>
              <a:gd name="T59" fmla="*/ 3 h 19"/>
              <a:gd name="T60" fmla="*/ 0 w 17"/>
              <a:gd name="T61" fmla="*/ 3 h 19"/>
              <a:gd name="T62" fmla="*/ 1 w 17"/>
              <a:gd name="T63" fmla="*/ 3 h 19"/>
              <a:gd name="T64" fmla="*/ 1 w 17"/>
              <a:gd name="T65" fmla="*/ 4 h 19"/>
              <a:gd name="T66" fmla="*/ 2 w 17"/>
              <a:gd name="T67" fmla="*/ 7 h 19"/>
              <a:gd name="T68" fmla="*/ 2 w 17"/>
              <a:gd name="T69" fmla="*/ 7 h 19"/>
              <a:gd name="T70" fmla="*/ 2 w 17"/>
              <a:gd name="T71" fmla="*/ 8 h 19"/>
              <a:gd name="T72" fmla="*/ 2 w 17"/>
              <a:gd name="T73" fmla="*/ 9 h 19"/>
              <a:gd name="T74" fmla="*/ 2 w 17"/>
              <a:gd name="T75" fmla="*/ 9 h 19"/>
              <a:gd name="T76" fmla="*/ 1 w 17"/>
              <a:gd name="T77" fmla="*/ 10 h 19"/>
              <a:gd name="T78" fmla="*/ 2 w 17"/>
              <a:gd name="T79" fmla="*/ 10 h 19"/>
              <a:gd name="T80" fmla="*/ 1 w 17"/>
              <a:gd name="T81" fmla="*/ 10 h 19"/>
              <a:gd name="T82" fmla="*/ 1 w 17"/>
              <a:gd name="T83" fmla="*/ 10 h 19"/>
              <a:gd name="T84" fmla="*/ 1 w 17"/>
              <a:gd name="T85" fmla="*/ 11 h 19"/>
              <a:gd name="T86" fmla="*/ 1 w 17"/>
              <a:gd name="T87" fmla="*/ 11 h 19"/>
              <a:gd name="T88" fmla="*/ 2 w 17"/>
              <a:gd name="T89" fmla="*/ 13 h 19"/>
              <a:gd name="T90" fmla="*/ 4 w 17"/>
              <a:gd name="T91" fmla="*/ 19 h 19"/>
              <a:gd name="T92" fmla="*/ 4 w 17"/>
              <a:gd name="T93" fmla="*/ 19 h 19"/>
              <a:gd name="T94" fmla="*/ 6 w 17"/>
              <a:gd name="T95" fmla="*/ 19 h 19"/>
              <a:gd name="T96" fmla="*/ 6 w 17"/>
              <a:gd name="T97" fmla="*/ 19 h 19"/>
              <a:gd name="T98" fmla="*/ 9 w 17"/>
              <a:gd name="T99" fmla="*/ 18 h 19"/>
              <a:gd name="T100" fmla="*/ 11 w 17"/>
              <a:gd name="T101" fmla="*/ 18 h 19"/>
              <a:gd name="T102" fmla="*/ 13 w 17"/>
              <a:gd name="T103" fmla="*/ 16 h 19"/>
              <a:gd name="T104" fmla="*/ 13 w 17"/>
              <a:gd name="T105" fmla="*/ 15 h 19"/>
              <a:gd name="T106" fmla="*/ 14 w 17"/>
              <a:gd name="T107" fmla="*/ 13 h 19"/>
              <a:gd name="T108" fmla="*/ 15 w 17"/>
              <a:gd name="T109" fmla="*/ 10 h 19"/>
              <a:gd name="T110" fmla="*/ 16 w 17"/>
              <a:gd name="T111" fmla="*/ 9 h 19"/>
              <a:gd name="T112" fmla="*/ 16 w 17"/>
              <a:gd name="T113" fmla="*/ 9 h 19"/>
              <a:gd name="T114" fmla="*/ 16 w 17"/>
              <a:gd name="T115"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 h="19">
                <a:moveTo>
                  <a:pt x="16" y="8"/>
                </a:moveTo>
                <a:cubicBezTo>
                  <a:pt x="16" y="8"/>
                  <a:pt x="17" y="7"/>
                  <a:pt x="17" y="7"/>
                </a:cubicBezTo>
                <a:cubicBezTo>
                  <a:pt x="17" y="7"/>
                  <a:pt x="17" y="5"/>
                  <a:pt x="17" y="5"/>
                </a:cubicBezTo>
                <a:cubicBezTo>
                  <a:pt x="16" y="4"/>
                  <a:pt x="16" y="4"/>
                  <a:pt x="16" y="4"/>
                </a:cubicBezTo>
                <a:cubicBezTo>
                  <a:pt x="15" y="4"/>
                  <a:pt x="15" y="4"/>
                  <a:pt x="15" y="4"/>
                </a:cubicBezTo>
                <a:cubicBezTo>
                  <a:pt x="15" y="2"/>
                  <a:pt x="15" y="2"/>
                  <a:pt x="15" y="2"/>
                </a:cubicBezTo>
                <a:cubicBezTo>
                  <a:pt x="15" y="2"/>
                  <a:pt x="15" y="2"/>
                  <a:pt x="15" y="2"/>
                </a:cubicBezTo>
                <a:cubicBezTo>
                  <a:pt x="15" y="2"/>
                  <a:pt x="14" y="1"/>
                  <a:pt x="14" y="0"/>
                </a:cubicBezTo>
                <a:cubicBezTo>
                  <a:pt x="14" y="0"/>
                  <a:pt x="14" y="0"/>
                  <a:pt x="14" y="0"/>
                </a:cubicBezTo>
                <a:cubicBezTo>
                  <a:pt x="14" y="0"/>
                  <a:pt x="14" y="0"/>
                  <a:pt x="14" y="0"/>
                </a:cubicBezTo>
                <a:cubicBezTo>
                  <a:pt x="14" y="0"/>
                  <a:pt x="14" y="0"/>
                  <a:pt x="14" y="0"/>
                </a:cubicBezTo>
                <a:cubicBezTo>
                  <a:pt x="13" y="0"/>
                  <a:pt x="13" y="0"/>
                  <a:pt x="13" y="0"/>
                </a:cubicBezTo>
                <a:cubicBezTo>
                  <a:pt x="13" y="0"/>
                  <a:pt x="12" y="0"/>
                  <a:pt x="12" y="0"/>
                </a:cubicBezTo>
                <a:cubicBezTo>
                  <a:pt x="11" y="0"/>
                  <a:pt x="10" y="0"/>
                  <a:pt x="9" y="0"/>
                </a:cubicBezTo>
                <a:cubicBezTo>
                  <a:pt x="9" y="1"/>
                  <a:pt x="9" y="2"/>
                  <a:pt x="7" y="3"/>
                </a:cubicBezTo>
                <a:cubicBezTo>
                  <a:pt x="7" y="3"/>
                  <a:pt x="7" y="3"/>
                  <a:pt x="7" y="3"/>
                </a:cubicBezTo>
                <a:cubicBezTo>
                  <a:pt x="7" y="3"/>
                  <a:pt x="6"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5" y="4"/>
                  <a:pt x="5" y="4"/>
                </a:cubicBezTo>
                <a:cubicBezTo>
                  <a:pt x="5" y="4"/>
                  <a:pt x="4" y="4"/>
                  <a:pt x="4" y="4"/>
                </a:cubicBezTo>
                <a:cubicBezTo>
                  <a:pt x="2" y="4"/>
                  <a:pt x="2" y="4"/>
                  <a:pt x="1" y="3"/>
                </a:cubicBezTo>
                <a:cubicBezTo>
                  <a:pt x="1" y="3"/>
                  <a:pt x="0" y="3"/>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1" y="3"/>
                </a:cubicBezTo>
                <a:cubicBezTo>
                  <a:pt x="1" y="4"/>
                  <a:pt x="1" y="4"/>
                  <a:pt x="1" y="4"/>
                </a:cubicBezTo>
                <a:cubicBezTo>
                  <a:pt x="1" y="5"/>
                  <a:pt x="2" y="6"/>
                  <a:pt x="2" y="7"/>
                </a:cubicBezTo>
                <a:cubicBezTo>
                  <a:pt x="2" y="7"/>
                  <a:pt x="2" y="7"/>
                  <a:pt x="2" y="7"/>
                </a:cubicBezTo>
                <a:cubicBezTo>
                  <a:pt x="2" y="8"/>
                  <a:pt x="2" y="8"/>
                  <a:pt x="2" y="8"/>
                </a:cubicBezTo>
                <a:cubicBezTo>
                  <a:pt x="2" y="9"/>
                  <a:pt x="2" y="9"/>
                  <a:pt x="2" y="9"/>
                </a:cubicBezTo>
                <a:cubicBezTo>
                  <a:pt x="2" y="9"/>
                  <a:pt x="2" y="9"/>
                  <a:pt x="2" y="9"/>
                </a:cubicBezTo>
                <a:cubicBezTo>
                  <a:pt x="1" y="10"/>
                  <a:pt x="1" y="10"/>
                  <a:pt x="1" y="10"/>
                </a:cubicBezTo>
                <a:cubicBezTo>
                  <a:pt x="2" y="10"/>
                  <a:pt x="2" y="10"/>
                  <a:pt x="2" y="10"/>
                </a:cubicBezTo>
                <a:cubicBezTo>
                  <a:pt x="1" y="10"/>
                  <a:pt x="1" y="10"/>
                  <a:pt x="1" y="10"/>
                </a:cubicBezTo>
                <a:cubicBezTo>
                  <a:pt x="1" y="10"/>
                  <a:pt x="1" y="10"/>
                  <a:pt x="1" y="10"/>
                </a:cubicBezTo>
                <a:cubicBezTo>
                  <a:pt x="1" y="11"/>
                  <a:pt x="1" y="11"/>
                  <a:pt x="1" y="11"/>
                </a:cubicBezTo>
                <a:cubicBezTo>
                  <a:pt x="1" y="11"/>
                  <a:pt x="1" y="11"/>
                  <a:pt x="1" y="11"/>
                </a:cubicBezTo>
                <a:cubicBezTo>
                  <a:pt x="1" y="12"/>
                  <a:pt x="2" y="13"/>
                  <a:pt x="2" y="13"/>
                </a:cubicBezTo>
                <a:cubicBezTo>
                  <a:pt x="2" y="15"/>
                  <a:pt x="3" y="17"/>
                  <a:pt x="4" y="19"/>
                </a:cubicBezTo>
                <a:cubicBezTo>
                  <a:pt x="4" y="19"/>
                  <a:pt x="4" y="19"/>
                  <a:pt x="4" y="19"/>
                </a:cubicBezTo>
                <a:cubicBezTo>
                  <a:pt x="6" y="19"/>
                  <a:pt x="6" y="19"/>
                  <a:pt x="6" y="19"/>
                </a:cubicBezTo>
                <a:cubicBezTo>
                  <a:pt x="6" y="19"/>
                  <a:pt x="6" y="19"/>
                  <a:pt x="6" y="19"/>
                </a:cubicBezTo>
                <a:cubicBezTo>
                  <a:pt x="6" y="19"/>
                  <a:pt x="6" y="19"/>
                  <a:pt x="9" y="18"/>
                </a:cubicBezTo>
                <a:cubicBezTo>
                  <a:pt x="10" y="18"/>
                  <a:pt x="11" y="18"/>
                  <a:pt x="11" y="18"/>
                </a:cubicBezTo>
                <a:cubicBezTo>
                  <a:pt x="12" y="17"/>
                  <a:pt x="12" y="17"/>
                  <a:pt x="13" y="16"/>
                </a:cubicBezTo>
                <a:cubicBezTo>
                  <a:pt x="13" y="15"/>
                  <a:pt x="13" y="15"/>
                  <a:pt x="13" y="15"/>
                </a:cubicBezTo>
                <a:cubicBezTo>
                  <a:pt x="14" y="14"/>
                  <a:pt x="14" y="14"/>
                  <a:pt x="14" y="13"/>
                </a:cubicBezTo>
                <a:cubicBezTo>
                  <a:pt x="14" y="12"/>
                  <a:pt x="14" y="11"/>
                  <a:pt x="15" y="10"/>
                </a:cubicBezTo>
                <a:cubicBezTo>
                  <a:pt x="15" y="10"/>
                  <a:pt x="15" y="9"/>
                  <a:pt x="16" y="9"/>
                </a:cubicBezTo>
                <a:cubicBezTo>
                  <a:pt x="16" y="9"/>
                  <a:pt x="16" y="9"/>
                  <a:pt x="16" y="9"/>
                </a:cubicBezTo>
                <a:cubicBezTo>
                  <a:pt x="16" y="8"/>
                  <a:pt x="16" y="8"/>
                  <a:pt x="16" y="8"/>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21" name="Freeform 3078">
            <a:extLst>
              <a:ext uri="{FF2B5EF4-FFF2-40B4-BE49-F238E27FC236}">
                <a16:creationId xmlns:a16="http://schemas.microsoft.com/office/drawing/2014/main" id="{D65F1D3A-3648-4783-A9DA-F2F03B9649E0}"/>
              </a:ext>
            </a:extLst>
          </p:cNvPr>
          <p:cNvSpPr>
            <a:spLocks/>
          </p:cNvSpPr>
          <p:nvPr/>
        </p:nvSpPr>
        <p:spPr bwMode="auto">
          <a:xfrm>
            <a:off x="3688373" y="3776986"/>
            <a:ext cx="20318" cy="21369"/>
          </a:xfrm>
          <a:custGeom>
            <a:avLst/>
            <a:gdLst>
              <a:gd name="T0" fmla="*/ 16 w 17"/>
              <a:gd name="T1" fmla="*/ 5 h 15"/>
              <a:gd name="T2" fmla="*/ 16 w 17"/>
              <a:gd name="T3" fmla="*/ 3 h 15"/>
              <a:gd name="T4" fmla="*/ 14 w 17"/>
              <a:gd name="T5" fmla="*/ 0 h 15"/>
              <a:gd name="T6" fmla="*/ 13 w 17"/>
              <a:gd name="T7" fmla="*/ 1 h 15"/>
              <a:gd name="T8" fmla="*/ 12 w 17"/>
              <a:gd name="T9" fmla="*/ 1 h 15"/>
              <a:gd name="T10" fmla="*/ 11 w 17"/>
              <a:gd name="T11" fmla="*/ 3 h 15"/>
              <a:gd name="T12" fmla="*/ 9 w 17"/>
              <a:gd name="T13" fmla="*/ 3 h 15"/>
              <a:gd name="T14" fmla="*/ 8 w 17"/>
              <a:gd name="T15" fmla="*/ 3 h 15"/>
              <a:gd name="T16" fmla="*/ 7 w 17"/>
              <a:gd name="T17" fmla="*/ 2 h 15"/>
              <a:gd name="T18" fmla="*/ 7 w 17"/>
              <a:gd name="T19" fmla="*/ 2 h 15"/>
              <a:gd name="T20" fmla="*/ 6 w 17"/>
              <a:gd name="T21" fmla="*/ 2 h 15"/>
              <a:gd name="T22" fmla="*/ 5 w 17"/>
              <a:gd name="T23" fmla="*/ 3 h 15"/>
              <a:gd name="T24" fmla="*/ 5 w 17"/>
              <a:gd name="T25" fmla="*/ 4 h 15"/>
              <a:gd name="T26" fmla="*/ 4 w 17"/>
              <a:gd name="T27" fmla="*/ 4 h 15"/>
              <a:gd name="T28" fmla="*/ 3 w 17"/>
              <a:gd name="T29" fmla="*/ 5 h 15"/>
              <a:gd name="T30" fmla="*/ 3 w 17"/>
              <a:gd name="T31" fmla="*/ 5 h 15"/>
              <a:gd name="T32" fmla="*/ 3 w 17"/>
              <a:gd name="T33" fmla="*/ 5 h 15"/>
              <a:gd name="T34" fmla="*/ 2 w 17"/>
              <a:gd name="T35" fmla="*/ 6 h 15"/>
              <a:gd name="T36" fmla="*/ 2 w 17"/>
              <a:gd name="T37" fmla="*/ 8 h 15"/>
              <a:gd name="T38" fmla="*/ 2 w 17"/>
              <a:gd name="T39" fmla="*/ 10 h 15"/>
              <a:gd name="T40" fmla="*/ 1 w 17"/>
              <a:gd name="T41" fmla="*/ 12 h 15"/>
              <a:gd name="T42" fmla="*/ 0 w 17"/>
              <a:gd name="T43" fmla="*/ 13 h 15"/>
              <a:gd name="T44" fmla="*/ 0 w 17"/>
              <a:gd name="T45" fmla="*/ 13 h 15"/>
              <a:gd name="T46" fmla="*/ 0 w 17"/>
              <a:gd name="T47" fmla="*/ 13 h 15"/>
              <a:gd name="T48" fmla="*/ 0 w 17"/>
              <a:gd name="T49" fmla="*/ 13 h 15"/>
              <a:gd name="T50" fmla="*/ 2 w 17"/>
              <a:gd name="T51" fmla="*/ 13 h 15"/>
              <a:gd name="T52" fmla="*/ 3 w 17"/>
              <a:gd name="T53" fmla="*/ 11 h 15"/>
              <a:gd name="T54" fmla="*/ 2 w 17"/>
              <a:gd name="T55" fmla="*/ 13 h 15"/>
              <a:gd name="T56" fmla="*/ 2 w 17"/>
              <a:gd name="T57" fmla="*/ 13 h 15"/>
              <a:gd name="T58" fmla="*/ 4 w 17"/>
              <a:gd name="T59" fmla="*/ 14 h 15"/>
              <a:gd name="T60" fmla="*/ 4 w 17"/>
              <a:gd name="T61" fmla="*/ 15 h 15"/>
              <a:gd name="T62" fmla="*/ 4 w 17"/>
              <a:gd name="T63" fmla="*/ 13 h 15"/>
              <a:gd name="T64" fmla="*/ 5 w 17"/>
              <a:gd name="T65" fmla="*/ 15 h 15"/>
              <a:gd name="T66" fmla="*/ 5 w 17"/>
              <a:gd name="T67" fmla="*/ 15 h 15"/>
              <a:gd name="T68" fmla="*/ 5 w 17"/>
              <a:gd name="T69" fmla="*/ 15 h 15"/>
              <a:gd name="T70" fmla="*/ 5 w 17"/>
              <a:gd name="T71" fmla="*/ 15 h 15"/>
              <a:gd name="T72" fmla="*/ 5 w 17"/>
              <a:gd name="T73" fmla="*/ 15 h 15"/>
              <a:gd name="T74" fmla="*/ 7 w 17"/>
              <a:gd name="T75" fmla="*/ 14 h 15"/>
              <a:gd name="T76" fmla="*/ 7 w 17"/>
              <a:gd name="T77" fmla="*/ 14 h 15"/>
              <a:gd name="T78" fmla="*/ 8 w 17"/>
              <a:gd name="T79" fmla="*/ 12 h 15"/>
              <a:gd name="T80" fmla="*/ 8 w 17"/>
              <a:gd name="T81" fmla="*/ 11 h 15"/>
              <a:gd name="T82" fmla="*/ 8 w 17"/>
              <a:gd name="T83" fmla="*/ 9 h 15"/>
              <a:gd name="T84" fmla="*/ 9 w 17"/>
              <a:gd name="T85" fmla="*/ 10 h 15"/>
              <a:gd name="T86" fmla="*/ 12 w 17"/>
              <a:gd name="T87" fmla="*/ 10 h 15"/>
              <a:gd name="T88" fmla="*/ 13 w 17"/>
              <a:gd name="T89" fmla="*/ 10 h 15"/>
              <a:gd name="T90" fmla="*/ 15 w 17"/>
              <a:gd name="T91" fmla="*/ 10 h 15"/>
              <a:gd name="T92" fmla="*/ 15 w 17"/>
              <a:gd name="T93" fmla="*/ 11 h 15"/>
              <a:gd name="T94" fmla="*/ 15 w 17"/>
              <a:gd name="T95" fmla="*/ 11 h 15"/>
              <a:gd name="T96" fmla="*/ 16 w 17"/>
              <a:gd name="T97" fmla="*/ 10 h 15"/>
              <a:gd name="T98" fmla="*/ 17 w 17"/>
              <a:gd name="T99" fmla="*/ 10 h 15"/>
              <a:gd name="T100" fmla="*/ 17 w 17"/>
              <a:gd name="T101" fmla="*/ 10 h 15"/>
              <a:gd name="T102" fmla="*/ 17 w 17"/>
              <a:gd name="T103" fmla="*/ 10 h 15"/>
              <a:gd name="T104" fmla="*/ 17 w 17"/>
              <a:gd name="T105" fmla="*/ 10 h 15"/>
              <a:gd name="T106" fmla="*/ 17 w 17"/>
              <a:gd name="T107" fmla="*/ 9 h 15"/>
              <a:gd name="T108" fmla="*/ 17 w 17"/>
              <a:gd name="T109" fmla="*/ 8 h 15"/>
              <a:gd name="T110" fmla="*/ 16 w 17"/>
              <a:gd name="T111" fmla="*/ 7 h 15"/>
              <a:gd name="T112" fmla="*/ 16 w 17"/>
              <a:gd name="T113"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 h="15">
                <a:moveTo>
                  <a:pt x="16" y="5"/>
                </a:moveTo>
                <a:cubicBezTo>
                  <a:pt x="16" y="4"/>
                  <a:pt x="16" y="4"/>
                  <a:pt x="16" y="3"/>
                </a:cubicBezTo>
                <a:cubicBezTo>
                  <a:pt x="14" y="0"/>
                  <a:pt x="14" y="0"/>
                  <a:pt x="14" y="0"/>
                </a:cubicBezTo>
                <a:cubicBezTo>
                  <a:pt x="13" y="0"/>
                  <a:pt x="13" y="1"/>
                  <a:pt x="13" y="1"/>
                </a:cubicBezTo>
                <a:cubicBezTo>
                  <a:pt x="12" y="1"/>
                  <a:pt x="12" y="1"/>
                  <a:pt x="12" y="1"/>
                </a:cubicBezTo>
                <a:cubicBezTo>
                  <a:pt x="12" y="2"/>
                  <a:pt x="11" y="2"/>
                  <a:pt x="11" y="3"/>
                </a:cubicBezTo>
                <a:cubicBezTo>
                  <a:pt x="11" y="3"/>
                  <a:pt x="10" y="3"/>
                  <a:pt x="9" y="3"/>
                </a:cubicBezTo>
                <a:cubicBezTo>
                  <a:pt x="9" y="3"/>
                  <a:pt x="8" y="3"/>
                  <a:pt x="8" y="3"/>
                </a:cubicBezTo>
                <a:cubicBezTo>
                  <a:pt x="7" y="2"/>
                  <a:pt x="7" y="2"/>
                  <a:pt x="7" y="2"/>
                </a:cubicBezTo>
                <a:cubicBezTo>
                  <a:pt x="7" y="2"/>
                  <a:pt x="7" y="2"/>
                  <a:pt x="7" y="2"/>
                </a:cubicBezTo>
                <a:cubicBezTo>
                  <a:pt x="6" y="2"/>
                  <a:pt x="6" y="2"/>
                  <a:pt x="6" y="2"/>
                </a:cubicBezTo>
                <a:cubicBezTo>
                  <a:pt x="6" y="3"/>
                  <a:pt x="6" y="3"/>
                  <a:pt x="5" y="3"/>
                </a:cubicBezTo>
                <a:cubicBezTo>
                  <a:pt x="5" y="4"/>
                  <a:pt x="5" y="4"/>
                  <a:pt x="5" y="4"/>
                </a:cubicBezTo>
                <a:cubicBezTo>
                  <a:pt x="4" y="4"/>
                  <a:pt x="4" y="4"/>
                  <a:pt x="4" y="4"/>
                </a:cubicBezTo>
                <a:cubicBezTo>
                  <a:pt x="4" y="4"/>
                  <a:pt x="4" y="5"/>
                  <a:pt x="3" y="5"/>
                </a:cubicBezTo>
                <a:cubicBezTo>
                  <a:pt x="3" y="5"/>
                  <a:pt x="3" y="5"/>
                  <a:pt x="3" y="5"/>
                </a:cubicBezTo>
                <a:cubicBezTo>
                  <a:pt x="3" y="5"/>
                  <a:pt x="3" y="5"/>
                  <a:pt x="3" y="5"/>
                </a:cubicBezTo>
                <a:cubicBezTo>
                  <a:pt x="2" y="6"/>
                  <a:pt x="2" y="6"/>
                  <a:pt x="2" y="6"/>
                </a:cubicBezTo>
                <a:cubicBezTo>
                  <a:pt x="2" y="6"/>
                  <a:pt x="2" y="7"/>
                  <a:pt x="2" y="8"/>
                </a:cubicBezTo>
                <a:cubicBezTo>
                  <a:pt x="2" y="8"/>
                  <a:pt x="2" y="9"/>
                  <a:pt x="2" y="10"/>
                </a:cubicBezTo>
                <a:cubicBezTo>
                  <a:pt x="1" y="11"/>
                  <a:pt x="1" y="11"/>
                  <a:pt x="1" y="12"/>
                </a:cubicBezTo>
                <a:cubicBezTo>
                  <a:pt x="0" y="12"/>
                  <a:pt x="0" y="12"/>
                  <a:pt x="0" y="13"/>
                </a:cubicBezTo>
                <a:cubicBezTo>
                  <a:pt x="0" y="13"/>
                  <a:pt x="0" y="13"/>
                  <a:pt x="0" y="13"/>
                </a:cubicBezTo>
                <a:cubicBezTo>
                  <a:pt x="0" y="13"/>
                  <a:pt x="0" y="13"/>
                  <a:pt x="0" y="13"/>
                </a:cubicBezTo>
                <a:cubicBezTo>
                  <a:pt x="0" y="13"/>
                  <a:pt x="0" y="13"/>
                  <a:pt x="0" y="13"/>
                </a:cubicBezTo>
                <a:cubicBezTo>
                  <a:pt x="1" y="13"/>
                  <a:pt x="1" y="13"/>
                  <a:pt x="2" y="13"/>
                </a:cubicBezTo>
                <a:cubicBezTo>
                  <a:pt x="3" y="11"/>
                  <a:pt x="3" y="11"/>
                  <a:pt x="3" y="11"/>
                </a:cubicBezTo>
                <a:cubicBezTo>
                  <a:pt x="2" y="13"/>
                  <a:pt x="2" y="13"/>
                  <a:pt x="2" y="13"/>
                </a:cubicBezTo>
                <a:cubicBezTo>
                  <a:pt x="2" y="13"/>
                  <a:pt x="2" y="13"/>
                  <a:pt x="2" y="13"/>
                </a:cubicBezTo>
                <a:cubicBezTo>
                  <a:pt x="3" y="14"/>
                  <a:pt x="3" y="14"/>
                  <a:pt x="4" y="14"/>
                </a:cubicBezTo>
                <a:cubicBezTo>
                  <a:pt x="4" y="15"/>
                  <a:pt x="4" y="15"/>
                  <a:pt x="4" y="15"/>
                </a:cubicBezTo>
                <a:cubicBezTo>
                  <a:pt x="4" y="13"/>
                  <a:pt x="4" y="13"/>
                  <a:pt x="4" y="13"/>
                </a:cubicBezTo>
                <a:cubicBezTo>
                  <a:pt x="5" y="15"/>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6" y="14"/>
                  <a:pt x="6" y="14"/>
                  <a:pt x="7" y="14"/>
                </a:cubicBezTo>
                <a:cubicBezTo>
                  <a:pt x="7" y="14"/>
                  <a:pt x="7" y="14"/>
                  <a:pt x="7" y="14"/>
                </a:cubicBezTo>
                <a:cubicBezTo>
                  <a:pt x="8" y="14"/>
                  <a:pt x="8" y="12"/>
                  <a:pt x="8" y="12"/>
                </a:cubicBezTo>
                <a:cubicBezTo>
                  <a:pt x="8" y="12"/>
                  <a:pt x="8" y="11"/>
                  <a:pt x="8" y="11"/>
                </a:cubicBezTo>
                <a:cubicBezTo>
                  <a:pt x="8" y="9"/>
                  <a:pt x="8" y="9"/>
                  <a:pt x="8" y="9"/>
                </a:cubicBezTo>
                <a:cubicBezTo>
                  <a:pt x="9" y="10"/>
                  <a:pt x="9" y="10"/>
                  <a:pt x="9" y="10"/>
                </a:cubicBezTo>
                <a:cubicBezTo>
                  <a:pt x="11" y="11"/>
                  <a:pt x="11" y="11"/>
                  <a:pt x="12" y="10"/>
                </a:cubicBezTo>
                <a:cubicBezTo>
                  <a:pt x="13" y="10"/>
                  <a:pt x="13" y="10"/>
                  <a:pt x="13" y="10"/>
                </a:cubicBezTo>
                <a:cubicBezTo>
                  <a:pt x="14" y="10"/>
                  <a:pt x="14" y="10"/>
                  <a:pt x="15" y="10"/>
                </a:cubicBezTo>
                <a:cubicBezTo>
                  <a:pt x="15" y="11"/>
                  <a:pt x="15" y="11"/>
                  <a:pt x="15" y="11"/>
                </a:cubicBezTo>
                <a:cubicBezTo>
                  <a:pt x="15" y="11"/>
                  <a:pt x="15" y="11"/>
                  <a:pt x="15" y="11"/>
                </a:cubicBezTo>
                <a:cubicBezTo>
                  <a:pt x="16" y="10"/>
                  <a:pt x="16" y="10"/>
                  <a:pt x="16" y="10"/>
                </a:cubicBezTo>
                <a:cubicBezTo>
                  <a:pt x="16" y="10"/>
                  <a:pt x="16" y="10"/>
                  <a:pt x="17" y="10"/>
                </a:cubicBezTo>
                <a:cubicBezTo>
                  <a:pt x="17" y="10"/>
                  <a:pt x="17" y="10"/>
                  <a:pt x="17" y="10"/>
                </a:cubicBezTo>
                <a:cubicBezTo>
                  <a:pt x="17" y="10"/>
                  <a:pt x="17" y="10"/>
                  <a:pt x="17" y="10"/>
                </a:cubicBezTo>
                <a:cubicBezTo>
                  <a:pt x="17" y="10"/>
                  <a:pt x="17" y="10"/>
                  <a:pt x="17" y="10"/>
                </a:cubicBezTo>
                <a:cubicBezTo>
                  <a:pt x="17" y="10"/>
                  <a:pt x="17" y="9"/>
                  <a:pt x="17" y="9"/>
                </a:cubicBezTo>
                <a:cubicBezTo>
                  <a:pt x="17" y="9"/>
                  <a:pt x="17" y="9"/>
                  <a:pt x="17" y="8"/>
                </a:cubicBezTo>
                <a:cubicBezTo>
                  <a:pt x="17" y="8"/>
                  <a:pt x="17" y="7"/>
                  <a:pt x="16" y="7"/>
                </a:cubicBezTo>
                <a:cubicBezTo>
                  <a:pt x="16" y="6"/>
                  <a:pt x="16" y="5"/>
                  <a:pt x="16" y="5"/>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22" name="Freeform 3079">
            <a:extLst>
              <a:ext uri="{FF2B5EF4-FFF2-40B4-BE49-F238E27FC236}">
                <a16:creationId xmlns:a16="http://schemas.microsoft.com/office/drawing/2014/main" id="{358C2889-7656-4CB4-8EB9-45E2E1BAA3F8}"/>
              </a:ext>
            </a:extLst>
          </p:cNvPr>
          <p:cNvSpPr>
            <a:spLocks/>
          </p:cNvSpPr>
          <p:nvPr/>
        </p:nvSpPr>
        <p:spPr bwMode="auto">
          <a:xfrm>
            <a:off x="3130868" y="3519960"/>
            <a:ext cx="72352" cy="60547"/>
          </a:xfrm>
          <a:custGeom>
            <a:avLst/>
            <a:gdLst>
              <a:gd name="T0" fmla="*/ 60 w 62"/>
              <a:gd name="T1" fmla="*/ 36 h 43"/>
              <a:gd name="T2" fmla="*/ 54 w 62"/>
              <a:gd name="T3" fmla="*/ 29 h 43"/>
              <a:gd name="T4" fmla="*/ 53 w 62"/>
              <a:gd name="T5" fmla="*/ 19 h 43"/>
              <a:gd name="T6" fmla="*/ 50 w 62"/>
              <a:gd name="T7" fmla="*/ 17 h 43"/>
              <a:gd name="T8" fmla="*/ 49 w 62"/>
              <a:gd name="T9" fmla="*/ 16 h 43"/>
              <a:gd name="T10" fmla="*/ 47 w 62"/>
              <a:gd name="T11" fmla="*/ 14 h 43"/>
              <a:gd name="T12" fmla="*/ 42 w 62"/>
              <a:gd name="T13" fmla="*/ 7 h 43"/>
              <a:gd name="T14" fmla="*/ 41 w 62"/>
              <a:gd name="T15" fmla="*/ 5 h 43"/>
              <a:gd name="T16" fmla="*/ 39 w 62"/>
              <a:gd name="T17" fmla="*/ 5 h 43"/>
              <a:gd name="T18" fmla="*/ 37 w 62"/>
              <a:gd name="T19" fmla="*/ 5 h 43"/>
              <a:gd name="T20" fmla="*/ 35 w 62"/>
              <a:gd name="T21" fmla="*/ 3 h 43"/>
              <a:gd name="T22" fmla="*/ 31 w 62"/>
              <a:gd name="T23" fmla="*/ 0 h 43"/>
              <a:gd name="T24" fmla="*/ 24 w 62"/>
              <a:gd name="T25" fmla="*/ 0 h 43"/>
              <a:gd name="T26" fmla="*/ 21 w 62"/>
              <a:gd name="T27" fmla="*/ 1 h 43"/>
              <a:gd name="T28" fmla="*/ 15 w 62"/>
              <a:gd name="T29" fmla="*/ 2 h 43"/>
              <a:gd name="T30" fmla="*/ 11 w 62"/>
              <a:gd name="T31" fmla="*/ 6 h 43"/>
              <a:gd name="T32" fmla="*/ 7 w 62"/>
              <a:gd name="T33" fmla="*/ 13 h 43"/>
              <a:gd name="T34" fmla="*/ 1 w 62"/>
              <a:gd name="T35" fmla="*/ 20 h 43"/>
              <a:gd name="T36" fmla="*/ 8 w 62"/>
              <a:gd name="T37" fmla="*/ 28 h 43"/>
              <a:gd name="T38" fmla="*/ 12 w 62"/>
              <a:gd name="T39" fmla="*/ 25 h 43"/>
              <a:gd name="T40" fmla="*/ 8 w 62"/>
              <a:gd name="T41" fmla="*/ 28 h 43"/>
              <a:gd name="T42" fmla="*/ 10 w 62"/>
              <a:gd name="T43" fmla="*/ 30 h 43"/>
              <a:gd name="T44" fmla="*/ 22 w 62"/>
              <a:gd name="T45" fmla="*/ 27 h 43"/>
              <a:gd name="T46" fmla="*/ 27 w 62"/>
              <a:gd name="T47" fmla="*/ 27 h 43"/>
              <a:gd name="T48" fmla="*/ 31 w 62"/>
              <a:gd name="T49" fmla="*/ 30 h 43"/>
              <a:gd name="T50" fmla="*/ 33 w 62"/>
              <a:gd name="T51" fmla="*/ 30 h 43"/>
              <a:gd name="T52" fmla="*/ 36 w 62"/>
              <a:gd name="T53" fmla="*/ 30 h 43"/>
              <a:gd name="T54" fmla="*/ 37 w 62"/>
              <a:gd name="T55" fmla="*/ 30 h 43"/>
              <a:gd name="T56" fmla="*/ 38 w 62"/>
              <a:gd name="T57" fmla="*/ 31 h 43"/>
              <a:gd name="T58" fmla="*/ 39 w 62"/>
              <a:gd name="T59" fmla="*/ 33 h 43"/>
              <a:gd name="T60" fmla="*/ 38 w 62"/>
              <a:gd name="T61" fmla="*/ 34 h 43"/>
              <a:gd name="T62" fmla="*/ 36 w 62"/>
              <a:gd name="T63" fmla="*/ 35 h 43"/>
              <a:gd name="T64" fmla="*/ 25 w 62"/>
              <a:gd name="T65" fmla="*/ 33 h 43"/>
              <a:gd name="T66" fmla="*/ 20 w 62"/>
              <a:gd name="T67" fmla="*/ 35 h 43"/>
              <a:gd name="T68" fmla="*/ 19 w 62"/>
              <a:gd name="T69" fmla="*/ 35 h 43"/>
              <a:gd name="T70" fmla="*/ 16 w 62"/>
              <a:gd name="T71" fmla="*/ 36 h 43"/>
              <a:gd name="T72" fmla="*/ 8 w 62"/>
              <a:gd name="T73" fmla="*/ 37 h 43"/>
              <a:gd name="T74" fmla="*/ 13 w 62"/>
              <a:gd name="T75" fmla="*/ 41 h 43"/>
              <a:gd name="T76" fmla="*/ 7 w 62"/>
              <a:gd name="T77" fmla="*/ 43 h 43"/>
              <a:gd name="T78" fmla="*/ 27 w 62"/>
              <a:gd name="T79" fmla="*/ 39 h 43"/>
              <a:gd name="T80" fmla="*/ 35 w 62"/>
              <a:gd name="T81" fmla="*/ 39 h 43"/>
              <a:gd name="T82" fmla="*/ 37 w 62"/>
              <a:gd name="T83" fmla="*/ 39 h 43"/>
              <a:gd name="T84" fmla="*/ 44 w 62"/>
              <a:gd name="T85" fmla="*/ 40 h 43"/>
              <a:gd name="T86" fmla="*/ 47 w 62"/>
              <a:gd name="T87" fmla="*/ 41 h 43"/>
              <a:gd name="T88" fmla="*/ 55 w 62"/>
              <a:gd name="T89" fmla="*/ 42 h 43"/>
              <a:gd name="T90" fmla="*/ 62 w 62"/>
              <a:gd name="T91"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2" h="43">
                <a:moveTo>
                  <a:pt x="61" y="38"/>
                </a:moveTo>
                <a:cubicBezTo>
                  <a:pt x="61" y="36"/>
                  <a:pt x="61" y="35"/>
                  <a:pt x="60" y="34"/>
                </a:cubicBezTo>
                <a:cubicBezTo>
                  <a:pt x="60" y="36"/>
                  <a:pt x="60" y="36"/>
                  <a:pt x="60" y="36"/>
                </a:cubicBezTo>
                <a:cubicBezTo>
                  <a:pt x="58" y="34"/>
                  <a:pt x="58" y="34"/>
                  <a:pt x="58" y="34"/>
                </a:cubicBezTo>
                <a:cubicBezTo>
                  <a:pt x="57" y="33"/>
                  <a:pt x="55" y="32"/>
                  <a:pt x="55" y="30"/>
                </a:cubicBezTo>
                <a:cubicBezTo>
                  <a:pt x="54" y="29"/>
                  <a:pt x="54" y="29"/>
                  <a:pt x="54" y="29"/>
                </a:cubicBezTo>
                <a:cubicBezTo>
                  <a:pt x="55" y="28"/>
                  <a:pt x="55" y="28"/>
                  <a:pt x="55" y="28"/>
                </a:cubicBezTo>
                <a:cubicBezTo>
                  <a:pt x="53" y="19"/>
                  <a:pt x="53" y="19"/>
                  <a:pt x="53" y="19"/>
                </a:cubicBezTo>
                <a:cubicBezTo>
                  <a:pt x="53" y="19"/>
                  <a:pt x="53" y="19"/>
                  <a:pt x="53" y="19"/>
                </a:cubicBezTo>
                <a:cubicBezTo>
                  <a:pt x="50" y="17"/>
                  <a:pt x="50" y="17"/>
                  <a:pt x="50" y="17"/>
                </a:cubicBezTo>
                <a:cubicBezTo>
                  <a:pt x="50" y="17"/>
                  <a:pt x="50" y="17"/>
                  <a:pt x="50" y="17"/>
                </a:cubicBezTo>
                <a:cubicBezTo>
                  <a:pt x="50" y="17"/>
                  <a:pt x="50" y="17"/>
                  <a:pt x="50" y="17"/>
                </a:cubicBezTo>
                <a:cubicBezTo>
                  <a:pt x="50" y="17"/>
                  <a:pt x="50" y="17"/>
                  <a:pt x="50" y="17"/>
                </a:cubicBezTo>
                <a:cubicBezTo>
                  <a:pt x="49" y="17"/>
                  <a:pt x="49" y="16"/>
                  <a:pt x="49" y="16"/>
                </a:cubicBezTo>
                <a:cubicBezTo>
                  <a:pt x="49" y="16"/>
                  <a:pt x="49" y="16"/>
                  <a:pt x="49" y="16"/>
                </a:cubicBezTo>
                <a:cubicBezTo>
                  <a:pt x="49" y="16"/>
                  <a:pt x="48" y="16"/>
                  <a:pt x="48" y="16"/>
                </a:cubicBezTo>
                <a:cubicBezTo>
                  <a:pt x="48" y="15"/>
                  <a:pt x="47" y="15"/>
                  <a:pt x="47" y="14"/>
                </a:cubicBezTo>
                <a:cubicBezTo>
                  <a:pt x="47" y="14"/>
                  <a:pt x="47" y="14"/>
                  <a:pt x="47" y="14"/>
                </a:cubicBezTo>
                <a:cubicBezTo>
                  <a:pt x="46" y="13"/>
                  <a:pt x="45" y="12"/>
                  <a:pt x="44" y="11"/>
                </a:cubicBezTo>
                <a:cubicBezTo>
                  <a:pt x="44" y="11"/>
                  <a:pt x="43" y="11"/>
                  <a:pt x="43" y="10"/>
                </a:cubicBezTo>
                <a:cubicBezTo>
                  <a:pt x="42" y="9"/>
                  <a:pt x="42" y="8"/>
                  <a:pt x="42" y="7"/>
                </a:cubicBezTo>
                <a:cubicBezTo>
                  <a:pt x="41" y="7"/>
                  <a:pt x="41" y="7"/>
                  <a:pt x="41" y="7"/>
                </a:cubicBezTo>
                <a:cubicBezTo>
                  <a:pt x="41" y="7"/>
                  <a:pt x="41" y="7"/>
                  <a:pt x="41" y="6"/>
                </a:cubicBezTo>
                <a:cubicBezTo>
                  <a:pt x="41" y="6"/>
                  <a:pt x="41" y="6"/>
                  <a:pt x="41" y="5"/>
                </a:cubicBezTo>
                <a:cubicBezTo>
                  <a:pt x="40" y="8"/>
                  <a:pt x="40" y="8"/>
                  <a:pt x="40" y="8"/>
                </a:cubicBezTo>
                <a:cubicBezTo>
                  <a:pt x="40" y="5"/>
                  <a:pt x="40" y="5"/>
                  <a:pt x="40" y="5"/>
                </a:cubicBezTo>
                <a:cubicBezTo>
                  <a:pt x="39" y="5"/>
                  <a:pt x="39" y="5"/>
                  <a:pt x="39" y="5"/>
                </a:cubicBezTo>
                <a:cubicBezTo>
                  <a:pt x="39" y="5"/>
                  <a:pt x="38" y="5"/>
                  <a:pt x="38" y="5"/>
                </a:cubicBezTo>
                <a:cubicBezTo>
                  <a:pt x="38" y="5"/>
                  <a:pt x="38" y="5"/>
                  <a:pt x="38" y="5"/>
                </a:cubicBezTo>
                <a:cubicBezTo>
                  <a:pt x="37" y="5"/>
                  <a:pt x="37" y="5"/>
                  <a:pt x="37" y="5"/>
                </a:cubicBezTo>
                <a:cubicBezTo>
                  <a:pt x="37" y="5"/>
                  <a:pt x="37" y="5"/>
                  <a:pt x="37" y="5"/>
                </a:cubicBezTo>
                <a:cubicBezTo>
                  <a:pt x="36" y="4"/>
                  <a:pt x="35" y="4"/>
                  <a:pt x="35" y="3"/>
                </a:cubicBezTo>
                <a:cubicBezTo>
                  <a:pt x="35" y="3"/>
                  <a:pt x="35" y="3"/>
                  <a:pt x="35" y="3"/>
                </a:cubicBezTo>
                <a:cubicBezTo>
                  <a:pt x="35" y="3"/>
                  <a:pt x="34" y="2"/>
                  <a:pt x="34" y="2"/>
                </a:cubicBezTo>
                <a:cubicBezTo>
                  <a:pt x="34" y="2"/>
                  <a:pt x="34" y="2"/>
                  <a:pt x="34" y="2"/>
                </a:cubicBezTo>
                <a:cubicBezTo>
                  <a:pt x="32" y="1"/>
                  <a:pt x="32" y="0"/>
                  <a:pt x="31" y="0"/>
                </a:cubicBezTo>
                <a:cubicBezTo>
                  <a:pt x="30" y="0"/>
                  <a:pt x="30" y="0"/>
                  <a:pt x="30" y="0"/>
                </a:cubicBezTo>
                <a:cubicBezTo>
                  <a:pt x="29" y="0"/>
                  <a:pt x="27" y="0"/>
                  <a:pt x="26" y="0"/>
                </a:cubicBezTo>
                <a:cubicBezTo>
                  <a:pt x="25" y="0"/>
                  <a:pt x="25" y="0"/>
                  <a:pt x="24" y="0"/>
                </a:cubicBezTo>
                <a:cubicBezTo>
                  <a:pt x="23" y="0"/>
                  <a:pt x="23" y="1"/>
                  <a:pt x="22" y="1"/>
                </a:cubicBezTo>
                <a:cubicBezTo>
                  <a:pt x="22" y="1"/>
                  <a:pt x="22" y="1"/>
                  <a:pt x="21" y="1"/>
                </a:cubicBezTo>
                <a:cubicBezTo>
                  <a:pt x="21" y="1"/>
                  <a:pt x="21" y="1"/>
                  <a:pt x="21" y="1"/>
                </a:cubicBezTo>
                <a:cubicBezTo>
                  <a:pt x="20" y="1"/>
                  <a:pt x="19" y="2"/>
                  <a:pt x="18" y="2"/>
                </a:cubicBezTo>
                <a:cubicBezTo>
                  <a:pt x="17" y="2"/>
                  <a:pt x="17" y="2"/>
                  <a:pt x="17" y="2"/>
                </a:cubicBezTo>
                <a:cubicBezTo>
                  <a:pt x="16" y="2"/>
                  <a:pt x="15" y="2"/>
                  <a:pt x="15" y="2"/>
                </a:cubicBezTo>
                <a:cubicBezTo>
                  <a:pt x="14" y="2"/>
                  <a:pt x="14" y="1"/>
                  <a:pt x="14" y="1"/>
                </a:cubicBezTo>
                <a:cubicBezTo>
                  <a:pt x="13" y="2"/>
                  <a:pt x="12" y="3"/>
                  <a:pt x="11" y="5"/>
                </a:cubicBezTo>
                <a:cubicBezTo>
                  <a:pt x="11" y="6"/>
                  <a:pt x="11" y="6"/>
                  <a:pt x="11" y="6"/>
                </a:cubicBezTo>
                <a:cubicBezTo>
                  <a:pt x="10" y="6"/>
                  <a:pt x="10" y="6"/>
                  <a:pt x="10" y="6"/>
                </a:cubicBezTo>
                <a:cubicBezTo>
                  <a:pt x="10" y="7"/>
                  <a:pt x="10" y="8"/>
                  <a:pt x="9" y="10"/>
                </a:cubicBezTo>
                <a:cubicBezTo>
                  <a:pt x="8" y="11"/>
                  <a:pt x="7" y="12"/>
                  <a:pt x="7" y="13"/>
                </a:cubicBezTo>
                <a:cubicBezTo>
                  <a:pt x="6" y="14"/>
                  <a:pt x="5" y="16"/>
                  <a:pt x="3" y="17"/>
                </a:cubicBezTo>
                <a:cubicBezTo>
                  <a:pt x="2" y="18"/>
                  <a:pt x="1" y="18"/>
                  <a:pt x="0" y="19"/>
                </a:cubicBezTo>
                <a:cubicBezTo>
                  <a:pt x="0" y="19"/>
                  <a:pt x="0" y="19"/>
                  <a:pt x="1" y="20"/>
                </a:cubicBezTo>
                <a:cubicBezTo>
                  <a:pt x="1" y="18"/>
                  <a:pt x="2" y="19"/>
                  <a:pt x="2" y="19"/>
                </a:cubicBezTo>
                <a:cubicBezTo>
                  <a:pt x="4" y="20"/>
                  <a:pt x="5" y="22"/>
                  <a:pt x="6" y="23"/>
                </a:cubicBezTo>
                <a:cubicBezTo>
                  <a:pt x="7" y="25"/>
                  <a:pt x="7" y="26"/>
                  <a:pt x="8" y="28"/>
                </a:cubicBezTo>
                <a:cubicBezTo>
                  <a:pt x="8" y="27"/>
                  <a:pt x="7" y="26"/>
                  <a:pt x="9" y="26"/>
                </a:cubicBezTo>
                <a:cubicBezTo>
                  <a:pt x="9" y="26"/>
                  <a:pt x="9" y="26"/>
                  <a:pt x="9" y="26"/>
                </a:cubicBezTo>
                <a:cubicBezTo>
                  <a:pt x="10" y="26"/>
                  <a:pt x="11" y="25"/>
                  <a:pt x="12" y="25"/>
                </a:cubicBezTo>
                <a:cubicBezTo>
                  <a:pt x="11" y="25"/>
                  <a:pt x="10" y="26"/>
                  <a:pt x="9" y="26"/>
                </a:cubicBezTo>
                <a:cubicBezTo>
                  <a:pt x="9" y="26"/>
                  <a:pt x="9" y="26"/>
                  <a:pt x="9" y="26"/>
                </a:cubicBezTo>
                <a:cubicBezTo>
                  <a:pt x="8" y="27"/>
                  <a:pt x="7" y="28"/>
                  <a:pt x="8" y="28"/>
                </a:cubicBezTo>
                <a:cubicBezTo>
                  <a:pt x="8" y="29"/>
                  <a:pt x="9" y="29"/>
                  <a:pt x="9" y="28"/>
                </a:cubicBezTo>
                <a:cubicBezTo>
                  <a:pt x="9" y="29"/>
                  <a:pt x="9" y="29"/>
                  <a:pt x="9" y="30"/>
                </a:cubicBezTo>
                <a:cubicBezTo>
                  <a:pt x="10" y="30"/>
                  <a:pt x="10" y="30"/>
                  <a:pt x="10" y="30"/>
                </a:cubicBezTo>
                <a:cubicBezTo>
                  <a:pt x="10" y="30"/>
                  <a:pt x="14" y="29"/>
                  <a:pt x="20" y="29"/>
                </a:cubicBezTo>
                <a:cubicBezTo>
                  <a:pt x="20" y="29"/>
                  <a:pt x="20" y="29"/>
                  <a:pt x="20" y="29"/>
                </a:cubicBezTo>
                <a:cubicBezTo>
                  <a:pt x="21" y="28"/>
                  <a:pt x="21" y="28"/>
                  <a:pt x="22" y="27"/>
                </a:cubicBezTo>
                <a:cubicBezTo>
                  <a:pt x="23" y="27"/>
                  <a:pt x="24" y="27"/>
                  <a:pt x="26" y="27"/>
                </a:cubicBezTo>
                <a:cubicBezTo>
                  <a:pt x="26" y="27"/>
                  <a:pt x="26" y="27"/>
                  <a:pt x="26" y="27"/>
                </a:cubicBezTo>
                <a:cubicBezTo>
                  <a:pt x="26" y="27"/>
                  <a:pt x="27" y="27"/>
                  <a:pt x="27" y="27"/>
                </a:cubicBezTo>
                <a:cubicBezTo>
                  <a:pt x="28" y="28"/>
                  <a:pt x="29" y="28"/>
                  <a:pt x="30" y="29"/>
                </a:cubicBezTo>
                <a:cubicBezTo>
                  <a:pt x="30" y="29"/>
                  <a:pt x="30" y="29"/>
                  <a:pt x="30" y="29"/>
                </a:cubicBezTo>
                <a:cubicBezTo>
                  <a:pt x="31" y="29"/>
                  <a:pt x="31" y="30"/>
                  <a:pt x="31" y="30"/>
                </a:cubicBezTo>
                <a:cubicBezTo>
                  <a:pt x="31" y="30"/>
                  <a:pt x="32" y="30"/>
                  <a:pt x="32" y="30"/>
                </a:cubicBezTo>
                <a:cubicBezTo>
                  <a:pt x="32" y="30"/>
                  <a:pt x="32" y="30"/>
                  <a:pt x="32" y="30"/>
                </a:cubicBezTo>
                <a:cubicBezTo>
                  <a:pt x="33" y="30"/>
                  <a:pt x="33" y="30"/>
                  <a:pt x="33" y="30"/>
                </a:cubicBezTo>
                <a:cubicBezTo>
                  <a:pt x="34" y="30"/>
                  <a:pt x="34" y="30"/>
                  <a:pt x="34" y="30"/>
                </a:cubicBezTo>
                <a:cubicBezTo>
                  <a:pt x="34" y="30"/>
                  <a:pt x="34" y="30"/>
                  <a:pt x="34" y="30"/>
                </a:cubicBezTo>
                <a:cubicBezTo>
                  <a:pt x="35" y="30"/>
                  <a:pt x="36" y="30"/>
                  <a:pt x="36" y="30"/>
                </a:cubicBezTo>
                <a:cubicBezTo>
                  <a:pt x="37" y="28"/>
                  <a:pt x="37" y="28"/>
                  <a:pt x="37" y="28"/>
                </a:cubicBezTo>
                <a:cubicBezTo>
                  <a:pt x="37" y="30"/>
                  <a:pt x="37" y="30"/>
                  <a:pt x="37" y="30"/>
                </a:cubicBezTo>
                <a:cubicBezTo>
                  <a:pt x="37" y="30"/>
                  <a:pt x="37" y="30"/>
                  <a:pt x="37" y="30"/>
                </a:cubicBezTo>
                <a:cubicBezTo>
                  <a:pt x="38" y="28"/>
                  <a:pt x="38" y="28"/>
                  <a:pt x="38" y="28"/>
                </a:cubicBezTo>
                <a:cubicBezTo>
                  <a:pt x="38" y="31"/>
                  <a:pt x="38" y="31"/>
                  <a:pt x="38" y="31"/>
                </a:cubicBezTo>
                <a:cubicBezTo>
                  <a:pt x="38" y="31"/>
                  <a:pt x="38" y="31"/>
                  <a:pt x="38" y="31"/>
                </a:cubicBezTo>
                <a:cubicBezTo>
                  <a:pt x="39" y="31"/>
                  <a:pt x="39" y="32"/>
                  <a:pt x="39" y="32"/>
                </a:cubicBezTo>
                <a:cubicBezTo>
                  <a:pt x="39" y="32"/>
                  <a:pt x="39" y="32"/>
                  <a:pt x="39" y="32"/>
                </a:cubicBezTo>
                <a:cubicBezTo>
                  <a:pt x="39" y="33"/>
                  <a:pt x="39" y="33"/>
                  <a:pt x="39" y="33"/>
                </a:cubicBezTo>
                <a:cubicBezTo>
                  <a:pt x="39" y="34"/>
                  <a:pt x="38" y="34"/>
                  <a:pt x="38" y="34"/>
                </a:cubicBezTo>
                <a:cubicBezTo>
                  <a:pt x="38" y="34"/>
                  <a:pt x="38" y="34"/>
                  <a:pt x="38" y="34"/>
                </a:cubicBezTo>
                <a:cubicBezTo>
                  <a:pt x="38" y="34"/>
                  <a:pt x="38" y="34"/>
                  <a:pt x="38" y="34"/>
                </a:cubicBezTo>
                <a:cubicBezTo>
                  <a:pt x="38" y="35"/>
                  <a:pt x="38" y="35"/>
                  <a:pt x="37" y="35"/>
                </a:cubicBezTo>
                <a:cubicBezTo>
                  <a:pt x="37" y="35"/>
                  <a:pt x="37" y="35"/>
                  <a:pt x="37" y="35"/>
                </a:cubicBezTo>
                <a:cubicBezTo>
                  <a:pt x="36" y="35"/>
                  <a:pt x="36" y="35"/>
                  <a:pt x="36" y="35"/>
                </a:cubicBezTo>
                <a:cubicBezTo>
                  <a:pt x="35" y="36"/>
                  <a:pt x="33" y="36"/>
                  <a:pt x="32" y="36"/>
                </a:cubicBezTo>
                <a:cubicBezTo>
                  <a:pt x="30" y="35"/>
                  <a:pt x="29" y="35"/>
                  <a:pt x="28" y="34"/>
                </a:cubicBezTo>
                <a:cubicBezTo>
                  <a:pt x="27" y="34"/>
                  <a:pt x="26" y="33"/>
                  <a:pt x="25" y="33"/>
                </a:cubicBezTo>
                <a:cubicBezTo>
                  <a:pt x="25" y="33"/>
                  <a:pt x="25" y="33"/>
                  <a:pt x="25" y="33"/>
                </a:cubicBezTo>
                <a:cubicBezTo>
                  <a:pt x="24" y="33"/>
                  <a:pt x="24" y="33"/>
                  <a:pt x="24" y="34"/>
                </a:cubicBezTo>
                <a:cubicBezTo>
                  <a:pt x="23" y="34"/>
                  <a:pt x="22" y="35"/>
                  <a:pt x="20" y="35"/>
                </a:cubicBezTo>
                <a:cubicBezTo>
                  <a:pt x="20" y="35"/>
                  <a:pt x="19" y="35"/>
                  <a:pt x="19" y="35"/>
                </a:cubicBezTo>
                <a:cubicBezTo>
                  <a:pt x="19" y="35"/>
                  <a:pt x="19" y="35"/>
                  <a:pt x="19" y="35"/>
                </a:cubicBezTo>
                <a:cubicBezTo>
                  <a:pt x="19" y="35"/>
                  <a:pt x="19" y="35"/>
                  <a:pt x="19" y="35"/>
                </a:cubicBezTo>
                <a:cubicBezTo>
                  <a:pt x="18" y="35"/>
                  <a:pt x="18" y="35"/>
                  <a:pt x="18" y="35"/>
                </a:cubicBezTo>
                <a:cubicBezTo>
                  <a:pt x="18" y="36"/>
                  <a:pt x="18" y="36"/>
                  <a:pt x="18" y="36"/>
                </a:cubicBezTo>
                <a:cubicBezTo>
                  <a:pt x="18" y="36"/>
                  <a:pt x="17" y="36"/>
                  <a:pt x="16" y="36"/>
                </a:cubicBezTo>
                <a:cubicBezTo>
                  <a:pt x="9" y="37"/>
                  <a:pt x="9" y="37"/>
                  <a:pt x="9" y="37"/>
                </a:cubicBezTo>
                <a:cubicBezTo>
                  <a:pt x="9" y="37"/>
                  <a:pt x="8" y="37"/>
                  <a:pt x="8" y="37"/>
                </a:cubicBezTo>
                <a:cubicBezTo>
                  <a:pt x="8" y="37"/>
                  <a:pt x="8" y="37"/>
                  <a:pt x="8" y="37"/>
                </a:cubicBezTo>
                <a:cubicBezTo>
                  <a:pt x="8" y="39"/>
                  <a:pt x="8" y="40"/>
                  <a:pt x="8" y="41"/>
                </a:cubicBezTo>
                <a:cubicBezTo>
                  <a:pt x="9" y="41"/>
                  <a:pt x="9" y="40"/>
                  <a:pt x="10" y="41"/>
                </a:cubicBezTo>
                <a:cubicBezTo>
                  <a:pt x="11" y="41"/>
                  <a:pt x="12" y="41"/>
                  <a:pt x="13" y="41"/>
                </a:cubicBezTo>
                <a:cubicBezTo>
                  <a:pt x="12" y="41"/>
                  <a:pt x="12" y="42"/>
                  <a:pt x="10" y="41"/>
                </a:cubicBezTo>
                <a:cubicBezTo>
                  <a:pt x="9" y="41"/>
                  <a:pt x="7" y="41"/>
                  <a:pt x="7" y="43"/>
                </a:cubicBezTo>
                <a:cubicBezTo>
                  <a:pt x="7" y="43"/>
                  <a:pt x="7" y="43"/>
                  <a:pt x="7" y="43"/>
                </a:cubicBezTo>
                <a:cubicBezTo>
                  <a:pt x="8" y="43"/>
                  <a:pt x="8" y="43"/>
                  <a:pt x="8" y="43"/>
                </a:cubicBezTo>
                <a:cubicBezTo>
                  <a:pt x="15" y="42"/>
                  <a:pt x="21" y="40"/>
                  <a:pt x="27" y="39"/>
                </a:cubicBezTo>
                <a:cubicBezTo>
                  <a:pt x="27" y="39"/>
                  <a:pt x="27" y="39"/>
                  <a:pt x="27" y="39"/>
                </a:cubicBezTo>
                <a:cubicBezTo>
                  <a:pt x="29" y="39"/>
                  <a:pt x="30" y="39"/>
                  <a:pt x="32" y="39"/>
                </a:cubicBezTo>
                <a:cubicBezTo>
                  <a:pt x="33" y="39"/>
                  <a:pt x="34" y="39"/>
                  <a:pt x="34" y="39"/>
                </a:cubicBezTo>
                <a:cubicBezTo>
                  <a:pt x="35" y="39"/>
                  <a:pt x="35" y="39"/>
                  <a:pt x="35" y="39"/>
                </a:cubicBezTo>
                <a:cubicBezTo>
                  <a:pt x="35" y="39"/>
                  <a:pt x="36" y="39"/>
                  <a:pt x="37" y="39"/>
                </a:cubicBezTo>
                <a:cubicBezTo>
                  <a:pt x="37" y="39"/>
                  <a:pt x="37" y="39"/>
                  <a:pt x="37" y="39"/>
                </a:cubicBezTo>
                <a:cubicBezTo>
                  <a:pt x="37" y="39"/>
                  <a:pt x="37" y="39"/>
                  <a:pt x="37" y="39"/>
                </a:cubicBezTo>
                <a:cubicBezTo>
                  <a:pt x="39" y="39"/>
                  <a:pt x="39" y="39"/>
                  <a:pt x="39" y="39"/>
                </a:cubicBezTo>
                <a:cubicBezTo>
                  <a:pt x="41" y="39"/>
                  <a:pt x="42" y="39"/>
                  <a:pt x="44" y="39"/>
                </a:cubicBezTo>
                <a:cubicBezTo>
                  <a:pt x="44" y="39"/>
                  <a:pt x="44" y="40"/>
                  <a:pt x="44" y="40"/>
                </a:cubicBezTo>
                <a:cubicBezTo>
                  <a:pt x="44" y="40"/>
                  <a:pt x="44" y="40"/>
                  <a:pt x="44" y="40"/>
                </a:cubicBezTo>
                <a:cubicBezTo>
                  <a:pt x="44" y="40"/>
                  <a:pt x="44" y="40"/>
                  <a:pt x="45" y="40"/>
                </a:cubicBezTo>
                <a:cubicBezTo>
                  <a:pt x="45" y="40"/>
                  <a:pt x="46" y="40"/>
                  <a:pt x="47" y="41"/>
                </a:cubicBezTo>
                <a:cubicBezTo>
                  <a:pt x="48" y="41"/>
                  <a:pt x="49" y="42"/>
                  <a:pt x="50" y="42"/>
                </a:cubicBezTo>
                <a:cubicBezTo>
                  <a:pt x="51" y="42"/>
                  <a:pt x="51" y="42"/>
                  <a:pt x="51" y="42"/>
                </a:cubicBezTo>
                <a:cubicBezTo>
                  <a:pt x="52" y="42"/>
                  <a:pt x="54" y="42"/>
                  <a:pt x="55" y="42"/>
                </a:cubicBezTo>
                <a:cubicBezTo>
                  <a:pt x="57" y="42"/>
                  <a:pt x="57" y="42"/>
                  <a:pt x="57" y="42"/>
                </a:cubicBezTo>
                <a:cubicBezTo>
                  <a:pt x="58" y="42"/>
                  <a:pt x="59" y="42"/>
                  <a:pt x="60" y="42"/>
                </a:cubicBezTo>
                <a:cubicBezTo>
                  <a:pt x="62" y="42"/>
                  <a:pt x="62" y="42"/>
                  <a:pt x="62" y="42"/>
                </a:cubicBezTo>
                <a:cubicBezTo>
                  <a:pt x="62" y="41"/>
                  <a:pt x="62" y="39"/>
                  <a:pt x="61" y="38"/>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23" name="Freeform 3080">
            <a:extLst>
              <a:ext uri="{FF2B5EF4-FFF2-40B4-BE49-F238E27FC236}">
                <a16:creationId xmlns:a16="http://schemas.microsoft.com/office/drawing/2014/main" id="{2F97BA59-DFED-439A-B979-C8D726480F3C}"/>
              </a:ext>
            </a:extLst>
          </p:cNvPr>
          <p:cNvSpPr>
            <a:spLocks/>
          </p:cNvSpPr>
          <p:nvPr/>
        </p:nvSpPr>
        <p:spPr bwMode="auto">
          <a:xfrm>
            <a:off x="3142761" y="3562105"/>
            <a:ext cx="29238" cy="4155"/>
          </a:xfrm>
          <a:custGeom>
            <a:avLst/>
            <a:gdLst>
              <a:gd name="T0" fmla="*/ 2 w 25"/>
              <a:gd name="T1" fmla="*/ 3 h 3"/>
              <a:gd name="T2" fmla="*/ 3 w 25"/>
              <a:gd name="T3" fmla="*/ 3 h 3"/>
              <a:gd name="T4" fmla="*/ 12 w 25"/>
              <a:gd name="T5" fmla="*/ 2 h 3"/>
              <a:gd name="T6" fmla="*/ 13 w 25"/>
              <a:gd name="T7" fmla="*/ 1 h 3"/>
              <a:gd name="T8" fmla="*/ 16 w 25"/>
              <a:gd name="T9" fmla="*/ 0 h 3"/>
              <a:gd name="T10" fmla="*/ 19 w 25"/>
              <a:gd name="T11" fmla="*/ 2 h 3"/>
              <a:gd name="T12" fmla="*/ 19 w 25"/>
              <a:gd name="T13" fmla="*/ 2 h 3"/>
              <a:gd name="T14" fmla="*/ 22 w 25"/>
              <a:gd name="T15" fmla="*/ 3 h 3"/>
              <a:gd name="T16" fmla="*/ 25 w 25"/>
              <a:gd name="T17" fmla="*/ 3 h 3"/>
              <a:gd name="T18" fmla="*/ 25 w 25"/>
              <a:gd name="T19" fmla="*/ 3 h 3"/>
              <a:gd name="T20" fmla="*/ 25 w 25"/>
              <a:gd name="T21" fmla="*/ 3 h 3"/>
              <a:gd name="T22" fmla="*/ 24 w 25"/>
              <a:gd name="T23" fmla="*/ 3 h 3"/>
              <a:gd name="T24" fmla="*/ 23 w 25"/>
              <a:gd name="T25" fmla="*/ 3 h 3"/>
              <a:gd name="T26" fmla="*/ 23 w 25"/>
              <a:gd name="T27" fmla="*/ 3 h 3"/>
              <a:gd name="T28" fmla="*/ 22 w 25"/>
              <a:gd name="T29" fmla="*/ 3 h 3"/>
              <a:gd name="T30" fmla="*/ 22 w 25"/>
              <a:gd name="T31" fmla="*/ 3 h 3"/>
              <a:gd name="T32" fmla="*/ 22 w 25"/>
              <a:gd name="T33" fmla="*/ 3 h 3"/>
              <a:gd name="T34" fmla="*/ 21 w 25"/>
              <a:gd name="T35" fmla="*/ 2 h 3"/>
              <a:gd name="T36" fmla="*/ 20 w 25"/>
              <a:gd name="T37" fmla="*/ 2 h 3"/>
              <a:gd name="T38" fmla="*/ 19 w 25"/>
              <a:gd name="T39" fmla="*/ 1 h 3"/>
              <a:gd name="T40" fmla="*/ 17 w 25"/>
              <a:gd name="T41" fmla="*/ 0 h 3"/>
              <a:gd name="T42" fmla="*/ 15 w 25"/>
              <a:gd name="T43" fmla="*/ 0 h 3"/>
              <a:gd name="T44" fmla="*/ 13 w 25"/>
              <a:gd name="T45" fmla="*/ 0 h 3"/>
              <a:gd name="T46" fmla="*/ 12 w 25"/>
              <a:gd name="T47" fmla="*/ 1 h 3"/>
              <a:gd name="T48" fmla="*/ 12 w 25"/>
              <a:gd name="T49" fmla="*/ 1 h 3"/>
              <a:gd name="T50" fmla="*/ 12 w 25"/>
              <a:gd name="T51" fmla="*/ 1 h 3"/>
              <a:gd name="T52" fmla="*/ 11 w 25"/>
              <a:gd name="T53" fmla="*/ 2 h 3"/>
              <a:gd name="T54" fmla="*/ 11 w 25"/>
              <a:gd name="T55" fmla="*/ 1 h 3"/>
              <a:gd name="T56" fmla="*/ 0 w 25"/>
              <a:gd name="T57" fmla="*/ 2 h 3"/>
              <a:gd name="T58" fmla="*/ 2 w 25"/>
              <a:gd name="T5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5" h="3">
                <a:moveTo>
                  <a:pt x="2" y="3"/>
                </a:moveTo>
                <a:cubicBezTo>
                  <a:pt x="3" y="3"/>
                  <a:pt x="3" y="3"/>
                  <a:pt x="3" y="3"/>
                </a:cubicBezTo>
                <a:cubicBezTo>
                  <a:pt x="6" y="2"/>
                  <a:pt x="9" y="2"/>
                  <a:pt x="12" y="2"/>
                </a:cubicBezTo>
                <a:cubicBezTo>
                  <a:pt x="12" y="2"/>
                  <a:pt x="12" y="1"/>
                  <a:pt x="13" y="1"/>
                </a:cubicBezTo>
                <a:cubicBezTo>
                  <a:pt x="13" y="0"/>
                  <a:pt x="14" y="0"/>
                  <a:pt x="16" y="0"/>
                </a:cubicBezTo>
                <a:cubicBezTo>
                  <a:pt x="17" y="1"/>
                  <a:pt x="18" y="1"/>
                  <a:pt x="19" y="2"/>
                </a:cubicBezTo>
                <a:cubicBezTo>
                  <a:pt x="19" y="2"/>
                  <a:pt x="19" y="2"/>
                  <a:pt x="19" y="2"/>
                </a:cubicBezTo>
                <a:cubicBezTo>
                  <a:pt x="20" y="2"/>
                  <a:pt x="21" y="3"/>
                  <a:pt x="22" y="3"/>
                </a:cubicBezTo>
                <a:cubicBezTo>
                  <a:pt x="23" y="3"/>
                  <a:pt x="24" y="3"/>
                  <a:pt x="25" y="3"/>
                </a:cubicBezTo>
                <a:cubicBezTo>
                  <a:pt x="25" y="3"/>
                  <a:pt x="25" y="3"/>
                  <a:pt x="25" y="3"/>
                </a:cubicBezTo>
                <a:cubicBezTo>
                  <a:pt x="25" y="3"/>
                  <a:pt x="25" y="3"/>
                  <a:pt x="25" y="3"/>
                </a:cubicBezTo>
                <a:cubicBezTo>
                  <a:pt x="24" y="3"/>
                  <a:pt x="24" y="3"/>
                  <a:pt x="24" y="3"/>
                </a:cubicBezTo>
                <a:cubicBezTo>
                  <a:pt x="23" y="3"/>
                  <a:pt x="23" y="3"/>
                  <a:pt x="23" y="3"/>
                </a:cubicBezTo>
                <a:cubicBezTo>
                  <a:pt x="23" y="3"/>
                  <a:pt x="23" y="3"/>
                  <a:pt x="23" y="3"/>
                </a:cubicBezTo>
                <a:cubicBezTo>
                  <a:pt x="23" y="3"/>
                  <a:pt x="23" y="3"/>
                  <a:pt x="22" y="3"/>
                </a:cubicBezTo>
                <a:cubicBezTo>
                  <a:pt x="22" y="3"/>
                  <a:pt x="22" y="3"/>
                  <a:pt x="22" y="3"/>
                </a:cubicBezTo>
                <a:cubicBezTo>
                  <a:pt x="22" y="3"/>
                  <a:pt x="22" y="3"/>
                  <a:pt x="22" y="3"/>
                </a:cubicBezTo>
                <a:cubicBezTo>
                  <a:pt x="21" y="3"/>
                  <a:pt x="21" y="3"/>
                  <a:pt x="21" y="2"/>
                </a:cubicBezTo>
                <a:cubicBezTo>
                  <a:pt x="21" y="2"/>
                  <a:pt x="20" y="2"/>
                  <a:pt x="20" y="2"/>
                </a:cubicBezTo>
                <a:cubicBezTo>
                  <a:pt x="20" y="2"/>
                  <a:pt x="19" y="1"/>
                  <a:pt x="19" y="1"/>
                </a:cubicBezTo>
                <a:cubicBezTo>
                  <a:pt x="18" y="1"/>
                  <a:pt x="17" y="0"/>
                  <a:pt x="17" y="0"/>
                </a:cubicBezTo>
                <a:cubicBezTo>
                  <a:pt x="16" y="0"/>
                  <a:pt x="16" y="0"/>
                  <a:pt x="15" y="0"/>
                </a:cubicBezTo>
                <a:cubicBezTo>
                  <a:pt x="15" y="0"/>
                  <a:pt x="13" y="0"/>
                  <a:pt x="13" y="0"/>
                </a:cubicBezTo>
                <a:cubicBezTo>
                  <a:pt x="13" y="0"/>
                  <a:pt x="12" y="0"/>
                  <a:pt x="12" y="1"/>
                </a:cubicBezTo>
                <a:cubicBezTo>
                  <a:pt x="12" y="1"/>
                  <a:pt x="12" y="1"/>
                  <a:pt x="12" y="1"/>
                </a:cubicBezTo>
                <a:cubicBezTo>
                  <a:pt x="12" y="1"/>
                  <a:pt x="12" y="1"/>
                  <a:pt x="12" y="1"/>
                </a:cubicBezTo>
                <a:cubicBezTo>
                  <a:pt x="11" y="2"/>
                  <a:pt x="11" y="2"/>
                  <a:pt x="11" y="2"/>
                </a:cubicBezTo>
                <a:cubicBezTo>
                  <a:pt x="11" y="1"/>
                  <a:pt x="11" y="1"/>
                  <a:pt x="11" y="1"/>
                </a:cubicBezTo>
                <a:cubicBezTo>
                  <a:pt x="6" y="2"/>
                  <a:pt x="2" y="2"/>
                  <a:pt x="0" y="2"/>
                </a:cubicBezTo>
                <a:cubicBezTo>
                  <a:pt x="1" y="3"/>
                  <a:pt x="1" y="3"/>
                  <a:pt x="2" y="3"/>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24" name="Freeform 3081">
            <a:extLst>
              <a:ext uri="{FF2B5EF4-FFF2-40B4-BE49-F238E27FC236}">
                <a16:creationId xmlns:a16="http://schemas.microsoft.com/office/drawing/2014/main" id="{0395C7DA-2337-4CA8-8E3D-4C250AF78273}"/>
              </a:ext>
            </a:extLst>
          </p:cNvPr>
          <p:cNvSpPr>
            <a:spLocks/>
          </p:cNvSpPr>
          <p:nvPr/>
        </p:nvSpPr>
        <p:spPr bwMode="auto">
          <a:xfrm>
            <a:off x="3138797" y="3565073"/>
            <a:ext cx="17840" cy="4155"/>
          </a:xfrm>
          <a:custGeom>
            <a:avLst/>
            <a:gdLst>
              <a:gd name="T0" fmla="*/ 1 w 15"/>
              <a:gd name="T1" fmla="*/ 3 h 3"/>
              <a:gd name="T2" fmla="*/ 3 w 15"/>
              <a:gd name="T3" fmla="*/ 3 h 3"/>
              <a:gd name="T4" fmla="*/ 9 w 15"/>
              <a:gd name="T5" fmla="*/ 2 h 3"/>
              <a:gd name="T6" fmla="*/ 9 w 15"/>
              <a:gd name="T7" fmla="*/ 2 h 3"/>
              <a:gd name="T8" fmla="*/ 9 w 15"/>
              <a:gd name="T9" fmla="*/ 2 h 3"/>
              <a:gd name="T10" fmla="*/ 10 w 15"/>
              <a:gd name="T11" fmla="*/ 1 h 3"/>
              <a:gd name="T12" fmla="*/ 11 w 15"/>
              <a:gd name="T13" fmla="*/ 1 h 3"/>
              <a:gd name="T14" fmla="*/ 12 w 15"/>
              <a:gd name="T15" fmla="*/ 1 h 3"/>
              <a:gd name="T16" fmla="*/ 12 w 15"/>
              <a:gd name="T17" fmla="*/ 1 h 3"/>
              <a:gd name="T18" fmla="*/ 13 w 15"/>
              <a:gd name="T19" fmla="*/ 1 h 3"/>
              <a:gd name="T20" fmla="*/ 15 w 15"/>
              <a:gd name="T21" fmla="*/ 0 h 3"/>
              <a:gd name="T22" fmla="*/ 15 w 15"/>
              <a:gd name="T23" fmla="*/ 0 h 3"/>
              <a:gd name="T24" fmla="*/ 8 w 15"/>
              <a:gd name="T25" fmla="*/ 0 h 3"/>
              <a:gd name="T26" fmla="*/ 7 w 15"/>
              <a:gd name="T27" fmla="*/ 2 h 3"/>
              <a:gd name="T28" fmla="*/ 3 w 15"/>
              <a:gd name="T29" fmla="*/ 2 h 3"/>
              <a:gd name="T30" fmla="*/ 1 w 15"/>
              <a:gd name="T31" fmla="*/ 0 h 3"/>
              <a:gd name="T32" fmla="*/ 0 w 15"/>
              <a:gd name="T33" fmla="*/ 3 h 3"/>
              <a:gd name="T34" fmla="*/ 0 w 15"/>
              <a:gd name="T35" fmla="*/ 3 h 3"/>
              <a:gd name="T36" fmla="*/ 1 w 15"/>
              <a:gd name="T3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 h="3">
                <a:moveTo>
                  <a:pt x="1" y="3"/>
                </a:moveTo>
                <a:cubicBezTo>
                  <a:pt x="1" y="3"/>
                  <a:pt x="2" y="3"/>
                  <a:pt x="3" y="3"/>
                </a:cubicBezTo>
                <a:cubicBezTo>
                  <a:pt x="9" y="2"/>
                  <a:pt x="9" y="2"/>
                  <a:pt x="9" y="2"/>
                </a:cubicBezTo>
                <a:cubicBezTo>
                  <a:pt x="9" y="2"/>
                  <a:pt x="9" y="2"/>
                  <a:pt x="9" y="2"/>
                </a:cubicBezTo>
                <a:cubicBezTo>
                  <a:pt x="9" y="2"/>
                  <a:pt x="9" y="2"/>
                  <a:pt x="9" y="2"/>
                </a:cubicBezTo>
                <a:cubicBezTo>
                  <a:pt x="10" y="1"/>
                  <a:pt x="10" y="1"/>
                  <a:pt x="10" y="1"/>
                </a:cubicBezTo>
                <a:cubicBezTo>
                  <a:pt x="11" y="1"/>
                  <a:pt x="11" y="1"/>
                  <a:pt x="11" y="1"/>
                </a:cubicBezTo>
                <a:cubicBezTo>
                  <a:pt x="12" y="1"/>
                  <a:pt x="12" y="1"/>
                  <a:pt x="12" y="1"/>
                </a:cubicBezTo>
                <a:cubicBezTo>
                  <a:pt x="12" y="1"/>
                  <a:pt x="12" y="1"/>
                  <a:pt x="12" y="1"/>
                </a:cubicBezTo>
                <a:cubicBezTo>
                  <a:pt x="12" y="1"/>
                  <a:pt x="12" y="1"/>
                  <a:pt x="13" y="1"/>
                </a:cubicBezTo>
                <a:cubicBezTo>
                  <a:pt x="14" y="0"/>
                  <a:pt x="15" y="0"/>
                  <a:pt x="15" y="0"/>
                </a:cubicBezTo>
                <a:cubicBezTo>
                  <a:pt x="15" y="0"/>
                  <a:pt x="15" y="0"/>
                  <a:pt x="15" y="0"/>
                </a:cubicBezTo>
                <a:cubicBezTo>
                  <a:pt x="13" y="0"/>
                  <a:pt x="11" y="0"/>
                  <a:pt x="8" y="0"/>
                </a:cubicBezTo>
                <a:cubicBezTo>
                  <a:pt x="7" y="0"/>
                  <a:pt x="5" y="1"/>
                  <a:pt x="7" y="2"/>
                </a:cubicBezTo>
                <a:cubicBezTo>
                  <a:pt x="5" y="2"/>
                  <a:pt x="4" y="3"/>
                  <a:pt x="3" y="2"/>
                </a:cubicBezTo>
                <a:cubicBezTo>
                  <a:pt x="2" y="1"/>
                  <a:pt x="2" y="0"/>
                  <a:pt x="1" y="0"/>
                </a:cubicBezTo>
                <a:cubicBezTo>
                  <a:pt x="0" y="1"/>
                  <a:pt x="0" y="2"/>
                  <a:pt x="0" y="3"/>
                </a:cubicBezTo>
                <a:cubicBezTo>
                  <a:pt x="0" y="3"/>
                  <a:pt x="0" y="3"/>
                  <a:pt x="0" y="3"/>
                </a:cubicBezTo>
                <a:lnTo>
                  <a:pt x="1" y="3"/>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25" name="Freeform 3082">
            <a:extLst>
              <a:ext uri="{FF2B5EF4-FFF2-40B4-BE49-F238E27FC236}">
                <a16:creationId xmlns:a16="http://schemas.microsoft.com/office/drawing/2014/main" id="{FECED746-7514-43FE-94C6-71A8CBCC9517}"/>
              </a:ext>
            </a:extLst>
          </p:cNvPr>
          <p:cNvSpPr>
            <a:spLocks/>
          </p:cNvSpPr>
          <p:nvPr/>
        </p:nvSpPr>
        <p:spPr bwMode="auto">
          <a:xfrm>
            <a:off x="3229484" y="3089010"/>
            <a:ext cx="151146" cy="130591"/>
          </a:xfrm>
          <a:custGeom>
            <a:avLst/>
            <a:gdLst>
              <a:gd name="T0" fmla="*/ 127 w 129"/>
              <a:gd name="T1" fmla="*/ 17 h 93"/>
              <a:gd name="T2" fmla="*/ 122 w 129"/>
              <a:gd name="T3" fmla="*/ 18 h 93"/>
              <a:gd name="T4" fmla="*/ 114 w 129"/>
              <a:gd name="T5" fmla="*/ 17 h 93"/>
              <a:gd name="T6" fmla="*/ 106 w 129"/>
              <a:gd name="T7" fmla="*/ 14 h 93"/>
              <a:gd name="T8" fmla="*/ 103 w 129"/>
              <a:gd name="T9" fmla="*/ 13 h 93"/>
              <a:gd name="T10" fmla="*/ 97 w 129"/>
              <a:gd name="T11" fmla="*/ 14 h 93"/>
              <a:gd name="T12" fmla="*/ 92 w 129"/>
              <a:gd name="T13" fmla="*/ 13 h 93"/>
              <a:gd name="T14" fmla="*/ 88 w 129"/>
              <a:gd name="T15" fmla="*/ 12 h 93"/>
              <a:gd name="T16" fmla="*/ 84 w 129"/>
              <a:gd name="T17" fmla="*/ 11 h 93"/>
              <a:gd name="T18" fmla="*/ 80 w 129"/>
              <a:gd name="T19" fmla="*/ 10 h 93"/>
              <a:gd name="T20" fmla="*/ 79 w 129"/>
              <a:gd name="T21" fmla="*/ 7 h 93"/>
              <a:gd name="T22" fmla="*/ 76 w 129"/>
              <a:gd name="T23" fmla="*/ 5 h 93"/>
              <a:gd name="T24" fmla="*/ 59 w 129"/>
              <a:gd name="T25" fmla="*/ 3 h 93"/>
              <a:gd name="T26" fmla="*/ 38 w 129"/>
              <a:gd name="T27" fmla="*/ 2 h 93"/>
              <a:gd name="T28" fmla="*/ 23 w 129"/>
              <a:gd name="T29" fmla="*/ 3 h 93"/>
              <a:gd name="T30" fmla="*/ 11 w 129"/>
              <a:gd name="T31" fmla="*/ 1 h 93"/>
              <a:gd name="T32" fmla="*/ 9 w 129"/>
              <a:gd name="T33" fmla="*/ 5 h 93"/>
              <a:gd name="T34" fmla="*/ 2 w 129"/>
              <a:gd name="T35" fmla="*/ 7 h 93"/>
              <a:gd name="T36" fmla="*/ 2 w 129"/>
              <a:gd name="T37" fmla="*/ 12 h 93"/>
              <a:gd name="T38" fmla="*/ 4 w 129"/>
              <a:gd name="T39" fmla="*/ 16 h 93"/>
              <a:gd name="T40" fmla="*/ 4 w 129"/>
              <a:gd name="T41" fmla="*/ 20 h 93"/>
              <a:gd name="T42" fmla="*/ 10 w 129"/>
              <a:gd name="T43" fmla="*/ 19 h 93"/>
              <a:gd name="T44" fmla="*/ 13 w 129"/>
              <a:gd name="T45" fmla="*/ 21 h 93"/>
              <a:gd name="T46" fmla="*/ 17 w 129"/>
              <a:gd name="T47" fmla="*/ 22 h 93"/>
              <a:gd name="T48" fmla="*/ 22 w 129"/>
              <a:gd name="T49" fmla="*/ 21 h 93"/>
              <a:gd name="T50" fmla="*/ 26 w 129"/>
              <a:gd name="T51" fmla="*/ 21 h 93"/>
              <a:gd name="T52" fmla="*/ 27 w 129"/>
              <a:gd name="T53" fmla="*/ 21 h 93"/>
              <a:gd name="T54" fmla="*/ 29 w 129"/>
              <a:gd name="T55" fmla="*/ 24 h 93"/>
              <a:gd name="T56" fmla="*/ 33 w 129"/>
              <a:gd name="T57" fmla="*/ 26 h 93"/>
              <a:gd name="T58" fmla="*/ 28 w 129"/>
              <a:gd name="T59" fmla="*/ 32 h 93"/>
              <a:gd name="T60" fmla="*/ 26 w 129"/>
              <a:gd name="T61" fmla="*/ 34 h 93"/>
              <a:gd name="T62" fmla="*/ 26 w 129"/>
              <a:gd name="T63" fmla="*/ 40 h 93"/>
              <a:gd name="T64" fmla="*/ 24 w 129"/>
              <a:gd name="T65" fmla="*/ 51 h 93"/>
              <a:gd name="T66" fmla="*/ 22 w 129"/>
              <a:gd name="T67" fmla="*/ 54 h 93"/>
              <a:gd name="T68" fmla="*/ 25 w 129"/>
              <a:gd name="T69" fmla="*/ 57 h 93"/>
              <a:gd name="T70" fmla="*/ 23 w 129"/>
              <a:gd name="T71" fmla="*/ 61 h 93"/>
              <a:gd name="T72" fmla="*/ 22 w 129"/>
              <a:gd name="T73" fmla="*/ 63 h 93"/>
              <a:gd name="T74" fmla="*/ 23 w 129"/>
              <a:gd name="T75" fmla="*/ 66 h 93"/>
              <a:gd name="T76" fmla="*/ 25 w 129"/>
              <a:gd name="T77" fmla="*/ 69 h 93"/>
              <a:gd name="T78" fmla="*/ 20 w 129"/>
              <a:gd name="T79" fmla="*/ 73 h 93"/>
              <a:gd name="T80" fmla="*/ 23 w 129"/>
              <a:gd name="T81" fmla="*/ 79 h 93"/>
              <a:gd name="T82" fmla="*/ 29 w 129"/>
              <a:gd name="T83" fmla="*/ 83 h 93"/>
              <a:gd name="T84" fmla="*/ 30 w 129"/>
              <a:gd name="T85" fmla="*/ 87 h 93"/>
              <a:gd name="T86" fmla="*/ 40 w 129"/>
              <a:gd name="T87" fmla="*/ 91 h 93"/>
              <a:gd name="T88" fmla="*/ 50 w 129"/>
              <a:gd name="T89" fmla="*/ 85 h 93"/>
              <a:gd name="T90" fmla="*/ 70 w 129"/>
              <a:gd name="T91" fmla="*/ 84 h 93"/>
              <a:gd name="T92" fmla="*/ 82 w 129"/>
              <a:gd name="T93" fmla="*/ 76 h 93"/>
              <a:gd name="T94" fmla="*/ 86 w 129"/>
              <a:gd name="T95" fmla="*/ 73 h 93"/>
              <a:gd name="T96" fmla="*/ 92 w 129"/>
              <a:gd name="T97" fmla="*/ 53 h 93"/>
              <a:gd name="T98" fmla="*/ 105 w 129"/>
              <a:gd name="T99" fmla="*/ 33 h 93"/>
              <a:gd name="T100" fmla="*/ 117 w 129"/>
              <a:gd name="T101" fmla="*/ 26 h 93"/>
              <a:gd name="T102" fmla="*/ 127 w 129"/>
              <a:gd name="T103" fmla="*/ 2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9" h="93">
                <a:moveTo>
                  <a:pt x="129" y="18"/>
                </a:moveTo>
                <a:cubicBezTo>
                  <a:pt x="129" y="17"/>
                  <a:pt x="128" y="17"/>
                  <a:pt x="128" y="17"/>
                </a:cubicBezTo>
                <a:cubicBezTo>
                  <a:pt x="128" y="17"/>
                  <a:pt x="128" y="17"/>
                  <a:pt x="128" y="17"/>
                </a:cubicBezTo>
                <a:cubicBezTo>
                  <a:pt x="127" y="17"/>
                  <a:pt x="127" y="17"/>
                  <a:pt x="127" y="17"/>
                </a:cubicBezTo>
                <a:cubicBezTo>
                  <a:pt x="127" y="17"/>
                  <a:pt x="127" y="17"/>
                  <a:pt x="127" y="17"/>
                </a:cubicBezTo>
                <a:cubicBezTo>
                  <a:pt x="123" y="18"/>
                  <a:pt x="123" y="18"/>
                  <a:pt x="123" y="18"/>
                </a:cubicBezTo>
                <a:cubicBezTo>
                  <a:pt x="123" y="18"/>
                  <a:pt x="122" y="18"/>
                  <a:pt x="122" y="18"/>
                </a:cubicBezTo>
                <a:cubicBezTo>
                  <a:pt x="122" y="18"/>
                  <a:pt x="122" y="18"/>
                  <a:pt x="122" y="18"/>
                </a:cubicBezTo>
                <a:cubicBezTo>
                  <a:pt x="122" y="19"/>
                  <a:pt x="121" y="19"/>
                  <a:pt x="121" y="19"/>
                </a:cubicBezTo>
                <a:cubicBezTo>
                  <a:pt x="120" y="19"/>
                  <a:pt x="120" y="18"/>
                  <a:pt x="120" y="18"/>
                </a:cubicBezTo>
                <a:cubicBezTo>
                  <a:pt x="118" y="18"/>
                  <a:pt x="116" y="18"/>
                  <a:pt x="115" y="17"/>
                </a:cubicBezTo>
                <a:cubicBezTo>
                  <a:pt x="114" y="17"/>
                  <a:pt x="114" y="17"/>
                  <a:pt x="114" y="17"/>
                </a:cubicBezTo>
                <a:cubicBezTo>
                  <a:pt x="114" y="17"/>
                  <a:pt x="114" y="17"/>
                  <a:pt x="114" y="17"/>
                </a:cubicBezTo>
                <a:cubicBezTo>
                  <a:pt x="113" y="17"/>
                  <a:pt x="112" y="16"/>
                  <a:pt x="112" y="16"/>
                </a:cubicBezTo>
                <a:cubicBezTo>
                  <a:pt x="112" y="16"/>
                  <a:pt x="112" y="16"/>
                  <a:pt x="112" y="15"/>
                </a:cubicBezTo>
                <a:cubicBezTo>
                  <a:pt x="109" y="15"/>
                  <a:pt x="108" y="14"/>
                  <a:pt x="106" y="14"/>
                </a:cubicBezTo>
                <a:cubicBezTo>
                  <a:pt x="105" y="13"/>
                  <a:pt x="105" y="13"/>
                  <a:pt x="105" y="13"/>
                </a:cubicBezTo>
                <a:cubicBezTo>
                  <a:pt x="104" y="13"/>
                  <a:pt x="104" y="13"/>
                  <a:pt x="104" y="13"/>
                </a:cubicBezTo>
                <a:cubicBezTo>
                  <a:pt x="104" y="13"/>
                  <a:pt x="103" y="13"/>
                  <a:pt x="103" y="12"/>
                </a:cubicBezTo>
                <a:cubicBezTo>
                  <a:pt x="103" y="13"/>
                  <a:pt x="103" y="13"/>
                  <a:pt x="103" y="13"/>
                </a:cubicBezTo>
                <a:cubicBezTo>
                  <a:pt x="103" y="13"/>
                  <a:pt x="103" y="13"/>
                  <a:pt x="103" y="13"/>
                </a:cubicBezTo>
                <a:cubicBezTo>
                  <a:pt x="103" y="14"/>
                  <a:pt x="103" y="14"/>
                  <a:pt x="103" y="14"/>
                </a:cubicBezTo>
                <a:cubicBezTo>
                  <a:pt x="102" y="14"/>
                  <a:pt x="102" y="14"/>
                  <a:pt x="102" y="14"/>
                </a:cubicBezTo>
                <a:cubicBezTo>
                  <a:pt x="100" y="14"/>
                  <a:pt x="99" y="14"/>
                  <a:pt x="97" y="14"/>
                </a:cubicBezTo>
                <a:cubicBezTo>
                  <a:pt x="95" y="14"/>
                  <a:pt x="95" y="14"/>
                  <a:pt x="95" y="14"/>
                </a:cubicBezTo>
                <a:cubicBezTo>
                  <a:pt x="95" y="14"/>
                  <a:pt x="95" y="14"/>
                  <a:pt x="95" y="14"/>
                </a:cubicBezTo>
                <a:cubicBezTo>
                  <a:pt x="94" y="14"/>
                  <a:pt x="94" y="14"/>
                  <a:pt x="94" y="14"/>
                </a:cubicBezTo>
                <a:cubicBezTo>
                  <a:pt x="93" y="14"/>
                  <a:pt x="93" y="13"/>
                  <a:pt x="92" y="13"/>
                </a:cubicBezTo>
                <a:cubicBezTo>
                  <a:pt x="92" y="13"/>
                  <a:pt x="92" y="13"/>
                  <a:pt x="92" y="13"/>
                </a:cubicBezTo>
                <a:cubicBezTo>
                  <a:pt x="92" y="13"/>
                  <a:pt x="92" y="12"/>
                  <a:pt x="91" y="12"/>
                </a:cubicBezTo>
                <a:cubicBezTo>
                  <a:pt x="91" y="12"/>
                  <a:pt x="91" y="12"/>
                  <a:pt x="91" y="13"/>
                </a:cubicBezTo>
                <a:cubicBezTo>
                  <a:pt x="89" y="13"/>
                  <a:pt x="89" y="13"/>
                  <a:pt x="88" y="12"/>
                </a:cubicBezTo>
                <a:cubicBezTo>
                  <a:pt x="88" y="12"/>
                  <a:pt x="87" y="11"/>
                  <a:pt x="87" y="11"/>
                </a:cubicBezTo>
                <a:cubicBezTo>
                  <a:pt x="87" y="11"/>
                  <a:pt x="87" y="11"/>
                  <a:pt x="87" y="11"/>
                </a:cubicBezTo>
                <a:cubicBezTo>
                  <a:pt x="87" y="11"/>
                  <a:pt x="86" y="11"/>
                  <a:pt x="86" y="11"/>
                </a:cubicBezTo>
                <a:cubicBezTo>
                  <a:pt x="86" y="11"/>
                  <a:pt x="85" y="11"/>
                  <a:pt x="84" y="11"/>
                </a:cubicBezTo>
                <a:cubicBezTo>
                  <a:pt x="84" y="10"/>
                  <a:pt x="83" y="10"/>
                  <a:pt x="83" y="10"/>
                </a:cubicBezTo>
                <a:cubicBezTo>
                  <a:pt x="82" y="10"/>
                  <a:pt x="82" y="10"/>
                  <a:pt x="82" y="10"/>
                </a:cubicBezTo>
                <a:cubicBezTo>
                  <a:pt x="82" y="10"/>
                  <a:pt x="82" y="10"/>
                  <a:pt x="82" y="10"/>
                </a:cubicBezTo>
                <a:cubicBezTo>
                  <a:pt x="81" y="10"/>
                  <a:pt x="80" y="10"/>
                  <a:pt x="80" y="10"/>
                </a:cubicBezTo>
                <a:cubicBezTo>
                  <a:pt x="79" y="9"/>
                  <a:pt x="79" y="7"/>
                  <a:pt x="79" y="7"/>
                </a:cubicBezTo>
                <a:cubicBezTo>
                  <a:pt x="79" y="7"/>
                  <a:pt x="79" y="7"/>
                  <a:pt x="79" y="7"/>
                </a:cubicBezTo>
                <a:cubicBezTo>
                  <a:pt x="79" y="7"/>
                  <a:pt x="79" y="7"/>
                  <a:pt x="79" y="7"/>
                </a:cubicBezTo>
                <a:cubicBezTo>
                  <a:pt x="79" y="7"/>
                  <a:pt x="79" y="7"/>
                  <a:pt x="79" y="7"/>
                </a:cubicBezTo>
                <a:cubicBezTo>
                  <a:pt x="78" y="7"/>
                  <a:pt x="78" y="7"/>
                  <a:pt x="78" y="7"/>
                </a:cubicBezTo>
                <a:cubicBezTo>
                  <a:pt x="77" y="7"/>
                  <a:pt x="76" y="6"/>
                  <a:pt x="76" y="6"/>
                </a:cubicBezTo>
                <a:cubicBezTo>
                  <a:pt x="75" y="5"/>
                  <a:pt x="75" y="5"/>
                  <a:pt x="75" y="5"/>
                </a:cubicBezTo>
                <a:cubicBezTo>
                  <a:pt x="76" y="5"/>
                  <a:pt x="76" y="5"/>
                  <a:pt x="76" y="5"/>
                </a:cubicBezTo>
                <a:cubicBezTo>
                  <a:pt x="74" y="4"/>
                  <a:pt x="72" y="5"/>
                  <a:pt x="70" y="5"/>
                </a:cubicBezTo>
                <a:cubicBezTo>
                  <a:pt x="68" y="5"/>
                  <a:pt x="67" y="3"/>
                  <a:pt x="65" y="4"/>
                </a:cubicBezTo>
                <a:cubicBezTo>
                  <a:pt x="63" y="5"/>
                  <a:pt x="62" y="5"/>
                  <a:pt x="60" y="4"/>
                </a:cubicBezTo>
                <a:cubicBezTo>
                  <a:pt x="60" y="3"/>
                  <a:pt x="59" y="3"/>
                  <a:pt x="59" y="3"/>
                </a:cubicBezTo>
                <a:cubicBezTo>
                  <a:pt x="57" y="3"/>
                  <a:pt x="55" y="3"/>
                  <a:pt x="53" y="4"/>
                </a:cubicBezTo>
                <a:cubicBezTo>
                  <a:pt x="52" y="4"/>
                  <a:pt x="50" y="4"/>
                  <a:pt x="49" y="4"/>
                </a:cubicBezTo>
                <a:cubicBezTo>
                  <a:pt x="47" y="4"/>
                  <a:pt x="45" y="3"/>
                  <a:pt x="44" y="3"/>
                </a:cubicBezTo>
                <a:cubicBezTo>
                  <a:pt x="42" y="3"/>
                  <a:pt x="40" y="2"/>
                  <a:pt x="38" y="2"/>
                </a:cubicBezTo>
                <a:cubicBezTo>
                  <a:pt x="36" y="2"/>
                  <a:pt x="36" y="1"/>
                  <a:pt x="35" y="1"/>
                </a:cubicBezTo>
                <a:cubicBezTo>
                  <a:pt x="35" y="1"/>
                  <a:pt x="34" y="1"/>
                  <a:pt x="33" y="1"/>
                </a:cubicBezTo>
                <a:cubicBezTo>
                  <a:pt x="31" y="2"/>
                  <a:pt x="29" y="2"/>
                  <a:pt x="27" y="2"/>
                </a:cubicBezTo>
                <a:cubicBezTo>
                  <a:pt x="26" y="3"/>
                  <a:pt x="24" y="3"/>
                  <a:pt x="23" y="3"/>
                </a:cubicBezTo>
                <a:cubicBezTo>
                  <a:pt x="22" y="3"/>
                  <a:pt x="20" y="1"/>
                  <a:pt x="19" y="0"/>
                </a:cubicBezTo>
                <a:cubicBezTo>
                  <a:pt x="18" y="0"/>
                  <a:pt x="16" y="0"/>
                  <a:pt x="15" y="1"/>
                </a:cubicBezTo>
                <a:cubicBezTo>
                  <a:pt x="14" y="1"/>
                  <a:pt x="14" y="0"/>
                  <a:pt x="15" y="0"/>
                </a:cubicBezTo>
                <a:cubicBezTo>
                  <a:pt x="13" y="0"/>
                  <a:pt x="12" y="1"/>
                  <a:pt x="11" y="1"/>
                </a:cubicBezTo>
                <a:cubicBezTo>
                  <a:pt x="11" y="2"/>
                  <a:pt x="11" y="2"/>
                  <a:pt x="10" y="2"/>
                </a:cubicBezTo>
                <a:cubicBezTo>
                  <a:pt x="10" y="3"/>
                  <a:pt x="11" y="4"/>
                  <a:pt x="11" y="3"/>
                </a:cubicBezTo>
                <a:cubicBezTo>
                  <a:pt x="11" y="3"/>
                  <a:pt x="11" y="4"/>
                  <a:pt x="11" y="4"/>
                </a:cubicBezTo>
                <a:cubicBezTo>
                  <a:pt x="11" y="4"/>
                  <a:pt x="10" y="4"/>
                  <a:pt x="9" y="5"/>
                </a:cubicBezTo>
                <a:cubicBezTo>
                  <a:pt x="9" y="5"/>
                  <a:pt x="9" y="4"/>
                  <a:pt x="9" y="4"/>
                </a:cubicBezTo>
                <a:cubicBezTo>
                  <a:pt x="8" y="5"/>
                  <a:pt x="8" y="5"/>
                  <a:pt x="7" y="5"/>
                </a:cubicBezTo>
                <a:cubicBezTo>
                  <a:pt x="6" y="5"/>
                  <a:pt x="6" y="5"/>
                  <a:pt x="5" y="5"/>
                </a:cubicBezTo>
                <a:cubicBezTo>
                  <a:pt x="4" y="5"/>
                  <a:pt x="3" y="6"/>
                  <a:pt x="2" y="7"/>
                </a:cubicBezTo>
                <a:cubicBezTo>
                  <a:pt x="2" y="7"/>
                  <a:pt x="2" y="7"/>
                  <a:pt x="1" y="7"/>
                </a:cubicBezTo>
                <a:cubicBezTo>
                  <a:pt x="1" y="8"/>
                  <a:pt x="1" y="8"/>
                  <a:pt x="0" y="9"/>
                </a:cubicBezTo>
                <a:cubicBezTo>
                  <a:pt x="0" y="9"/>
                  <a:pt x="0" y="9"/>
                  <a:pt x="0" y="10"/>
                </a:cubicBezTo>
                <a:cubicBezTo>
                  <a:pt x="0" y="11"/>
                  <a:pt x="1" y="11"/>
                  <a:pt x="2" y="12"/>
                </a:cubicBezTo>
                <a:cubicBezTo>
                  <a:pt x="3" y="13"/>
                  <a:pt x="3" y="13"/>
                  <a:pt x="2" y="14"/>
                </a:cubicBezTo>
                <a:cubicBezTo>
                  <a:pt x="3" y="15"/>
                  <a:pt x="5" y="13"/>
                  <a:pt x="6" y="13"/>
                </a:cubicBezTo>
                <a:cubicBezTo>
                  <a:pt x="5" y="14"/>
                  <a:pt x="5" y="15"/>
                  <a:pt x="4" y="16"/>
                </a:cubicBezTo>
                <a:cubicBezTo>
                  <a:pt x="4" y="15"/>
                  <a:pt x="4" y="15"/>
                  <a:pt x="4" y="16"/>
                </a:cubicBezTo>
                <a:cubicBezTo>
                  <a:pt x="5" y="17"/>
                  <a:pt x="5" y="16"/>
                  <a:pt x="6" y="16"/>
                </a:cubicBezTo>
                <a:cubicBezTo>
                  <a:pt x="6" y="17"/>
                  <a:pt x="5" y="17"/>
                  <a:pt x="5" y="18"/>
                </a:cubicBezTo>
                <a:cubicBezTo>
                  <a:pt x="4" y="19"/>
                  <a:pt x="6" y="18"/>
                  <a:pt x="6" y="18"/>
                </a:cubicBezTo>
                <a:cubicBezTo>
                  <a:pt x="6" y="19"/>
                  <a:pt x="5" y="19"/>
                  <a:pt x="4" y="20"/>
                </a:cubicBezTo>
                <a:cubicBezTo>
                  <a:pt x="4" y="20"/>
                  <a:pt x="4" y="21"/>
                  <a:pt x="4" y="22"/>
                </a:cubicBezTo>
                <a:cubicBezTo>
                  <a:pt x="5" y="21"/>
                  <a:pt x="7" y="20"/>
                  <a:pt x="8" y="19"/>
                </a:cubicBezTo>
                <a:cubicBezTo>
                  <a:pt x="9" y="19"/>
                  <a:pt x="9" y="19"/>
                  <a:pt x="10" y="19"/>
                </a:cubicBezTo>
                <a:cubicBezTo>
                  <a:pt x="10" y="19"/>
                  <a:pt x="10" y="19"/>
                  <a:pt x="10" y="19"/>
                </a:cubicBezTo>
                <a:cubicBezTo>
                  <a:pt x="10" y="19"/>
                  <a:pt x="11" y="19"/>
                  <a:pt x="11" y="18"/>
                </a:cubicBezTo>
                <a:cubicBezTo>
                  <a:pt x="12" y="18"/>
                  <a:pt x="12" y="18"/>
                  <a:pt x="12" y="18"/>
                </a:cubicBezTo>
                <a:cubicBezTo>
                  <a:pt x="12" y="19"/>
                  <a:pt x="12" y="19"/>
                  <a:pt x="12" y="19"/>
                </a:cubicBezTo>
                <a:cubicBezTo>
                  <a:pt x="13" y="20"/>
                  <a:pt x="14" y="20"/>
                  <a:pt x="13" y="21"/>
                </a:cubicBezTo>
                <a:cubicBezTo>
                  <a:pt x="13" y="21"/>
                  <a:pt x="13" y="21"/>
                  <a:pt x="13" y="21"/>
                </a:cubicBezTo>
                <a:cubicBezTo>
                  <a:pt x="14" y="21"/>
                  <a:pt x="15" y="21"/>
                  <a:pt x="16" y="22"/>
                </a:cubicBezTo>
                <a:cubicBezTo>
                  <a:pt x="17" y="22"/>
                  <a:pt x="17" y="22"/>
                  <a:pt x="17" y="22"/>
                </a:cubicBezTo>
                <a:cubicBezTo>
                  <a:pt x="17" y="22"/>
                  <a:pt x="17" y="22"/>
                  <a:pt x="17" y="22"/>
                </a:cubicBezTo>
                <a:cubicBezTo>
                  <a:pt x="18" y="22"/>
                  <a:pt x="19" y="22"/>
                  <a:pt x="19" y="22"/>
                </a:cubicBezTo>
                <a:cubicBezTo>
                  <a:pt x="20" y="22"/>
                  <a:pt x="20" y="22"/>
                  <a:pt x="20" y="22"/>
                </a:cubicBezTo>
                <a:cubicBezTo>
                  <a:pt x="21" y="22"/>
                  <a:pt x="21" y="22"/>
                  <a:pt x="21" y="22"/>
                </a:cubicBezTo>
                <a:cubicBezTo>
                  <a:pt x="21" y="21"/>
                  <a:pt x="22" y="21"/>
                  <a:pt x="22" y="21"/>
                </a:cubicBezTo>
                <a:cubicBezTo>
                  <a:pt x="23" y="21"/>
                  <a:pt x="23" y="21"/>
                  <a:pt x="24" y="21"/>
                </a:cubicBezTo>
                <a:cubicBezTo>
                  <a:pt x="24" y="21"/>
                  <a:pt x="24" y="21"/>
                  <a:pt x="24" y="21"/>
                </a:cubicBezTo>
                <a:cubicBezTo>
                  <a:pt x="25" y="21"/>
                  <a:pt x="25" y="21"/>
                  <a:pt x="25" y="21"/>
                </a:cubicBezTo>
                <a:cubicBezTo>
                  <a:pt x="25" y="21"/>
                  <a:pt x="25" y="21"/>
                  <a:pt x="26" y="21"/>
                </a:cubicBezTo>
                <a:cubicBezTo>
                  <a:pt x="26" y="21"/>
                  <a:pt x="26" y="21"/>
                  <a:pt x="26" y="21"/>
                </a:cubicBezTo>
                <a:cubicBezTo>
                  <a:pt x="26" y="21"/>
                  <a:pt x="26" y="21"/>
                  <a:pt x="27" y="21"/>
                </a:cubicBezTo>
                <a:cubicBezTo>
                  <a:pt x="27" y="21"/>
                  <a:pt x="27" y="21"/>
                  <a:pt x="27" y="21"/>
                </a:cubicBezTo>
                <a:cubicBezTo>
                  <a:pt x="27" y="21"/>
                  <a:pt x="27" y="21"/>
                  <a:pt x="27" y="21"/>
                </a:cubicBezTo>
                <a:cubicBezTo>
                  <a:pt x="28" y="21"/>
                  <a:pt x="28" y="21"/>
                  <a:pt x="29" y="21"/>
                </a:cubicBezTo>
                <a:cubicBezTo>
                  <a:pt x="29" y="22"/>
                  <a:pt x="29" y="22"/>
                  <a:pt x="29" y="23"/>
                </a:cubicBezTo>
                <a:cubicBezTo>
                  <a:pt x="30" y="23"/>
                  <a:pt x="30" y="23"/>
                  <a:pt x="29" y="24"/>
                </a:cubicBezTo>
                <a:cubicBezTo>
                  <a:pt x="29" y="24"/>
                  <a:pt x="29" y="24"/>
                  <a:pt x="29" y="24"/>
                </a:cubicBezTo>
                <a:cubicBezTo>
                  <a:pt x="29" y="24"/>
                  <a:pt x="30" y="24"/>
                  <a:pt x="30" y="24"/>
                </a:cubicBezTo>
                <a:cubicBezTo>
                  <a:pt x="30" y="24"/>
                  <a:pt x="30" y="24"/>
                  <a:pt x="30" y="24"/>
                </a:cubicBezTo>
                <a:cubicBezTo>
                  <a:pt x="31" y="25"/>
                  <a:pt x="31" y="25"/>
                  <a:pt x="31" y="25"/>
                </a:cubicBezTo>
                <a:cubicBezTo>
                  <a:pt x="32" y="25"/>
                  <a:pt x="32" y="25"/>
                  <a:pt x="33" y="26"/>
                </a:cubicBezTo>
                <a:cubicBezTo>
                  <a:pt x="33" y="27"/>
                  <a:pt x="32" y="28"/>
                  <a:pt x="32" y="28"/>
                </a:cubicBezTo>
                <a:cubicBezTo>
                  <a:pt x="32" y="29"/>
                  <a:pt x="31" y="30"/>
                  <a:pt x="30" y="30"/>
                </a:cubicBezTo>
                <a:cubicBezTo>
                  <a:pt x="30" y="31"/>
                  <a:pt x="30" y="31"/>
                  <a:pt x="30" y="31"/>
                </a:cubicBezTo>
                <a:cubicBezTo>
                  <a:pt x="29" y="31"/>
                  <a:pt x="28" y="32"/>
                  <a:pt x="28" y="32"/>
                </a:cubicBezTo>
                <a:cubicBezTo>
                  <a:pt x="27" y="32"/>
                  <a:pt x="27" y="33"/>
                  <a:pt x="26" y="33"/>
                </a:cubicBezTo>
                <a:cubicBezTo>
                  <a:pt x="26" y="33"/>
                  <a:pt x="26" y="33"/>
                  <a:pt x="26" y="33"/>
                </a:cubicBezTo>
                <a:cubicBezTo>
                  <a:pt x="28" y="35"/>
                  <a:pt x="28" y="35"/>
                  <a:pt x="28" y="35"/>
                </a:cubicBezTo>
                <a:cubicBezTo>
                  <a:pt x="26" y="34"/>
                  <a:pt x="26" y="34"/>
                  <a:pt x="26" y="34"/>
                </a:cubicBezTo>
                <a:cubicBezTo>
                  <a:pt x="26" y="34"/>
                  <a:pt x="26" y="34"/>
                  <a:pt x="26" y="35"/>
                </a:cubicBezTo>
                <a:cubicBezTo>
                  <a:pt x="26" y="35"/>
                  <a:pt x="26" y="35"/>
                  <a:pt x="26" y="36"/>
                </a:cubicBezTo>
                <a:cubicBezTo>
                  <a:pt x="27" y="37"/>
                  <a:pt x="27" y="38"/>
                  <a:pt x="27" y="39"/>
                </a:cubicBezTo>
                <a:cubicBezTo>
                  <a:pt x="26" y="40"/>
                  <a:pt x="26" y="40"/>
                  <a:pt x="26" y="40"/>
                </a:cubicBezTo>
                <a:cubicBezTo>
                  <a:pt x="26" y="41"/>
                  <a:pt x="26" y="41"/>
                  <a:pt x="26" y="42"/>
                </a:cubicBezTo>
                <a:cubicBezTo>
                  <a:pt x="26" y="43"/>
                  <a:pt x="26" y="43"/>
                  <a:pt x="26" y="43"/>
                </a:cubicBezTo>
                <a:cubicBezTo>
                  <a:pt x="26" y="43"/>
                  <a:pt x="26" y="43"/>
                  <a:pt x="25" y="44"/>
                </a:cubicBezTo>
                <a:cubicBezTo>
                  <a:pt x="25" y="45"/>
                  <a:pt x="25" y="50"/>
                  <a:pt x="24" y="51"/>
                </a:cubicBezTo>
                <a:cubicBezTo>
                  <a:pt x="23" y="51"/>
                  <a:pt x="22" y="51"/>
                  <a:pt x="20" y="51"/>
                </a:cubicBezTo>
                <a:cubicBezTo>
                  <a:pt x="21" y="52"/>
                  <a:pt x="21" y="52"/>
                  <a:pt x="21" y="52"/>
                </a:cubicBezTo>
                <a:cubicBezTo>
                  <a:pt x="21" y="53"/>
                  <a:pt x="21" y="53"/>
                  <a:pt x="21" y="53"/>
                </a:cubicBezTo>
                <a:cubicBezTo>
                  <a:pt x="22" y="53"/>
                  <a:pt x="22" y="54"/>
                  <a:pt x="22" y="54"/>
                </a:cubicBezTo>
                <a:cubicBezTo>
                  <a:pt x="22" y="55"/>
                  <a:pt x="22" y="55"/>
                  <a:pt x="22" y="55"/>
                </a:cubicBezTo>
                <a:cubicBezTo>
                  <a:pt x="22" y="55"/>
                  <a:pt x="22" y="55"/>
                  <a:pt x="22" y="55"/>
                </a:cubicBezTo>
                <a:cubicBezTo>
                  <a:pt x="22" y="55"/>
                  <a:pt x="22" y="55"/>
                  <a:pt x="23" y="55"/>
                </a:cubicBezTo>
                <a:cubicBezTo>
                  <a:pt x="24" y="55"/>
                  <a:pt x="25" y="56"/>
                  <a:pt x="25" y="57"/>
                </a:cubicBezTo>
                <a:cubicBezTo>
                  <a:pt x="25" y="57"/>
                  <a:pt x="25" y="58"/>
                  <a:pt x="25" y="58"/>
                </a:cubicBezTo>
                <a:cubicBezTo>
                  <a:pt x="25" y="58"/>
                  <a:pt x="25" y="59"/>
                  <a:pt x="24" y="59"/>
                </a:cubicBezTo>
                <a:cubicBezTo>
                  <a:pt x="24" y="59"/>
                  <a:pt x="24" y="60"/>
                  <a:pt x="23" y="60"/>
                </a:cubicBezTo>
                <a:cubicBezTo>
                  <a:pt x="23" y="60"/>
                  <a:pt x="23" y="60"/>
                  <a:pt x="23" y="61"/>
                </a:cubicBezTo>
                <a:cubicBezTo>
                  <a:pt x="23" y="61"/>
                  <a:pt x="23" y="61"/>
                  <a:pt x="23" y="61"/>
                </a:cubicBezTo>
                <a:cubicBezTo>
                  <a:pt x="23" y="61"/>
                  <a:pt x="23" y="61"/>
                  <a:pt x="23" y="61"/>
                </a:cubicBezTo>
                <a:cubicBezTo>
                  <a:pt x="23" y="61"/>
                  <a:pt x="23" y="61"/>
                  <a:pt x="23" y="61"/>
                </a:cubicBezTo>
                <a:cubicBezTo>
                  <a:pt x="22" y="62"/>
                  <a:pt x="22" y="62"/>
                  <a:pt x="22" y="63"/>
                </a:cubicBezTo>
                <a:cubicBezTo>
                  <a:pt x="22" y="63"/>
                  <a:pt x="22" y="64"/>
                  <a:pt x="22" y="64"/>
                </a:cubicBezTo>
                <a:cubicBezTo>
                  <a:pt x="22" y="64"/>
                  <a:pt x="22" y="64"/>
                  <a:pt x="22" y="65"/>
                </a:cubicBezTo>
                <a:cubicBezTo>
                  <a:pt x="23" y="65"/>
                  <a:pt x="23" y="66"/>
                  <a:pt x="23" y="66"/>
                </a:cubicBezTo>
                <a:cubicBezTo>
                  <a:pt x="23" y="66"/>
                  <a:pt x="23" y="66"/>
                  <a:pt x="23" y="66"/>
                </a:cubicBezTo>
                <a:cubicBezTo>
                  <a:pt x="23" y="66"/>
                  <a:pt x="23" y="66"/>
                  <a:pt x="23" y="66"/>
                </a:cubicBezTo>
                <a:cubicBezTo>
                  <a:pt x="25" y="66"/>
                  <a:pt x="25" y="66"/>
                  <a:pt x="25" y="66"/>
                </a:cubicBezTo>
                <a:cubicBezTo>
                  <a:pt x="25" y="67"/>
                  <a:pt x="25" y="67"/>
                  <a:pt x="25" y="67"/>
                </a:cubicBezTo>
                <a:cubicBezTo>
                  <a:pt x="25" y="68"/>
                  <a:pt x="25" y="68"/>
                  <a:pt x="25" y="69"/>
                </a:cubicBezTo>
                <a:cubicBezTo>
                  <a:pt x="25" y="69"/>
                  <a:pt x="25" y="69"/>
                  <a:pt x="25" y="69"/>
                </a:cubicBezTo>
                <a:cubicBezTo>
                  <a:pt x="24" y="70"/>
                  <a:pt x="23" y="70"/>
                  <a:pt x="22" y="70"/>
                </a:cubicBezTo>
                <a:cubicBezTo>
                  <a:pt x="22" y="71"/>
                  <a:pt x="22" y="71"/>
                  <a:pt x="22" y="71"/>
                </a:cubicBezTo>
                <a:cubicBezTo>
                  <a:pt x="21" y="71"/>
                  <a:pt x="21" y="72"/>
                  <a:pt x="20" y="73"/>
                </a:cubicBezTo>
                <a:cubicBezTo>
                  <a:pt x="20" y="74"/>
                  <a:pt x="19" y="75"/>
                  <a:pt x="20" y="76"/>
                </a:cubicBezTo>
                <a:cubicBezTo>
                  <a:pt x="20" y="76"/>
                  <a:pt x="20" y="78"/>
                  <a:pt x="20" y="78"/>
                </a:cubicBezTo>
                <a:cubicBezTo>
                  <a:pt x="20" y="79"/>
                  <a:pt x="20" y="79"/>
                  <a:pt x="20" y="79"/>
                </a:cubicBezTo>
                <a:cubicBezTo>
                  <a:pt x="21" y="79"/>
                  <a:pt x="22" y="79"/>
                  <a:pt x="23" y="79"/>
                </a:cubicBezTo>
                <a:cubicBezTo>
                  <a:pt x="23" y="79"/>
                  <a:pt x="24" y="79"/>
                  <a:pt x="24" y="78"/>
                </a:cubicBezTo>
                <a:cubicBezTo>
                  <a:pt x="24" y="78"/>
                  <a:pt x="24" y="78"/>
                  <a:pt x="25" y="78"/>
                </a:cubicBezTo>
                <a:cubicBezTo>
                  <a:pt x="23" y="80"/>
                  <a:pt x="26" y="81"/>
                  <a:pt x="27" y="82"/>
                </a:cubicBezTo>
                <a:cubicBezTo>
                  <a:pt x="28" y="82"/>
                  <a:pt x="28" y="83"/>
                  <a:pt x="29" y="83"/>
                </a:cubicBezTo>
                <a:cubicBezTo>
                  <a:pt x="30" y="84"/>
                  <a:pt x="30" y="82"/>
                  <a:pt x="31" y="83"/>
                </a:cubicBezTo>
                <a:cubicBezTo>
                  <a:pt x="30" y="83"/>
                  <a:pt x="30" y="84"/>
                  <a:pt x="30" y="84"/>
                </a:cubicBezTo>
                <a:cubicBezTo>
                  <a:pt x="30" y="84"/>
                  <a:pt x="29" y="84"/>
                  <a:pt x="29" y="85"/>
                </a:cubicBezTo>
                <a:cubicBezTo>
                  <a:pt x="29" y="85"/>
                  <a:pt x="30" y="86"/>
                  <a:pt x="30" y="87"/>
                </a:cubicBezTo>
                <a:cubicBezTo>
                  <a:pt x="32" y="89"/>
                  <a:pt x="34" y="93"/>
                  <a:pt x="37" y="93"/>
                </a:cubicBezTo>
                <a:cubicBezTo>
                  <a:pt x="38" y="93"/>
                  <a:pt x="40" y="92"/>
                  <a:pt x="40" y="91"/>
                </a:cubicBezTo>
                <a:cubicBezTo>
                  <a:pt x="40" y="92"/>
                  <a:pt x="40" y="92"/>
                  <a:pt x="40" y="92"/>
                </a:cubicBezTo>
                <a:cubicBezTo>
                  <a:pt x="40" y="92"/>
                  <a:pt x="40" y="92"/>
                  <a:pt x="40" y="91"/>
                </a:cubicBezTo>
                <a:cubicBezTo>
                  <a:pt x="40" y="91"/>
                  <a:pt x="40" y="91"/>
                  <a:pt x="40" y="91"/>
                </a:cubicBezTo>
                <a:cubicBezTo>
                  <a:pt x="41" y="90"/>
                  <a:pt x="41" y="90"/>
                  <a:pt x="42" y="89"/>
                </a:cubicBezTo>
                <a:cubicBezTo>
                  <a:pt x="44" y="88"/>
                  <a:pt x="45" y="88"/>
                  <a:pt x="47" y="87"/>
                </a:cubicBezTo>
                <a:cubicBezTo>
                  <a:pt x="48" y="86"/>
                  <a:pt x="49" y="85"/>
                  <a:pt x="50" y="85"/>
                </a:cubicBezTo>
                <a:cubicBezTo>
                  <a:pt x="51" y="84"/>
                  <a:pt x="54" y="85"/>
                  <a:pt x="56" y="85"/>
                </a:cubicBezTo>
                <a:cubicBezTo>
                  <a:pt x="58" y="84"/>
                  <a:pt x="61" y="84"/>
                  <a:pt x="64" y="84"/>
                </a:cubicBezTo>
                <a:cubicBezTo>
                  <a:pt x="65" y="85"/>
                  <a:pt x="66" y="85"/>
                  <a:pt x="66" y="85"/>
                </a:cubicBezTo>
                <a:cubicBezTo>
                  <a:pt x="68" y="85"/>
                  <a:pt x="69" y="84"/>
                  <a:pt x="70" y="84"/>
                </a:cubicBezTo>
                <a:cubicBezTo>
                  <a:pt x="72" y="83"/>
                  <a:pt x="71" y="84"/>
                  <a:pt x="72" y="84"/>
                </a:cubicBezTo>
                <a:cubicBezTo>
                  <a:pt x="74" y="85"/>
                  <a:pt x="74" y="83"/>
                  <a:pt x="75" y="82"/>
                </a:cubicBezTo>
                <a:cubicBezTo>
                  <a:pt x="76" y="80"/>
                  <a:pt x="77" y="79"/>
                  <a:pt x="78" y="77"/>
                </a:cubicBezTo>
                <a:cubicBezTo>
                  <a:pt x="79" y="76"/>
                  <a:pt x="81" y="76"/>
                  <a:pt x="82" y="76"/>
                </a:cubicBezTo>
                <a:cubicBezTo>
                  <a:pt x="83" y="75"/>
                  <a:pt x="84" y="75"/>
                  <a:pt x="85" y="75"/>
                </a:cubicBezTo>
                <a:cubicBezTo>
                  <a:pt x="85" y="75"/>
                  <a:pt x="85" y="75"/>
                  <a:pt x="85" y="75"/>
                </a:cubicBezTo>
                <a:cubicBezTo>
                  <a:pt x="86" y="75"/>
                  <a:pt x="87" y="75"/>
                  <a:pt x="87" y="74"/>
                </a:cubicBezTo>
                <a:cubicBezTo>
                  <a:pt x="87" y="74"/>
                  <a:pt x="86" y="73"/>
                  <a:pt x="86" y="73"/>
                </a:cubicBezTo>
                <a:cubicBezTo>
                  <a:pt x="87" y="72"/>
                  <a:pt x="87" y="71"/>
                  <a:pt x="88" y="70"/>
                </a:cubicBezTo>
                <a:cubicBezTo>
                  <a:pt x="88" y="69"/>
                  <a:pt x="88" y="68"/>
                  <a:pt x="89" y="68"/>
                </a:cubicBezTo>
                <a:cubicBezTo>
                  <a:pt x="90" y="64"/>
                  <a:pt x="94" y="63"/>
                  <a:pt x="97" y="61"/>
                </a:cubicBezTo>
                <a:cubicBezTo>
                  <a:pt x="94" y="59"/>
                  <a:pt x="92" y="57"/>
                  <a:pt x="92" y="53"/>
                </a:cubicBezTo>
                <a:cubicBezTo>
                  <a:pt x="91" y="51"/>
                  <a:pt x="94" y="48"/>
                  <a:pt x="96" y="46"/>
                </a:cubicBezTo>
                <a:cubicBezTo>
                  <a:pt x="98" y="43"/>
                  <a:pt x="101" y="39"/>
                  <a:pt x="103" y="36"/>
                </a:cubicBezTo>
                <a:cubicBezTo>
                  <a:pt x="103" y="36"/>
                  <a:pt x="102" y="36"/>
                  <a:pt x="102" y="36"/>
                </a:cubicBezTo>
                <a:cubicBezTo>
                  <a:pt x="103" y="36"/>
                  <a:pt x="104" y="34"/>
                  <a:pt x="105" y="33"/>
                </a:cubicBezTo>
                <a:cubicBezTo>
                  <a:pt x="106" y="32"/>
                  <a:pt x="109" y="32"/>
                  <a:pt x="112" y="31"/>
                </a:cubicBezTo>
                <a:cubicBezTo>
                  <a:pt x="113" y="31"/>
                  <a:pt x="114" y="31"/>
                  <a:pt x="115" y="30"/>
                </a:cubicBezTo>
                <a:cubicBezTo>
                  <a:pt x="114" y="30"/>
                  <a:pt x="114" y="29"/>
                  <a:pt x="114" y="29"/>
                </a:cubicBezTo>
                <a:cubicBezTo>
                  <a:pt x="114" y="27"/>
                  <a:pt x="116" y="26"/>
                  <a:pt x="117" y="26"/>
                </a:cubicBezTo>
                <a:cubicBezTo>
                  <a:pt x="118" y="26"/>
                  <a:pt x="119" y="27"/>
                  <a:pt x="120" y="28"/>
                </a:cubicBezTo>
                <a:cubicBezTo>
                  <a:pt x="120" y="27"/>
                  <a:pt x="120" y="27"/>
                  <a:pt x="120" y="27"/>
                </a:cubicBezTo>
                <a:cubicBezTo>
                  <a:pt x="122" y="26"/>
                  <a:pt x="126" y="25"/>
                  <a:pt x="127" y="23"/>
                </a:cubicBezTo>
                <a:cubicBezTo>
                  <a:pt x="128" y="22"/>
                  <a:pt x="127" y="21"/>
                  <a:pt x="127" y="20"/>
                </a:cubicBezTo>
                <a:cubicBezTo>
                  <a:pt x="127" y="18"/>
                  <a:pt x="128" y="18"/>
                  <a:pt x="129" y="18"/>
                </a:cubicBezTo>
                <a:close/>
              </a:path>
            </a:pathLst>
          </a:custGeom>
          <a:solidFill>
            <a:srgbClr val="00A5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26" name="Freeform 3083">
            <a:extLst>
              <a:ext uri="{FF2B5EF4-FFF2-40B4-BE49-F238E27FC236}">
                <a16:creationId xmlns:a16="http://schemas.microsoft.com/office/drawing/2014/main" id="{D7721A9B-9B1B-4E57-B31F-8BB3350156BC}"/>
              </a:ext>
            </a:extLst>
          </p:cNvPr>
          <p:cNvSpPr>
            <a:spLocks/>
          </p:cNvSpPr>
          <p:nvPr/>
        </p:nvSpPr>
        <p:spPr bwMode="auto">
          <a:xfrm>
            <a:off x="3283005" y="2955451"/>
            <a:ext cx="153624" cy="156115"/>
          </a:xfrm>
          <a:custGeom>
            <a:avLst/>
            <a:gdLst>
              <a:gd name="T0" fmla="*/ 126 w 131"/>
              <a:gd name="T1" fmla="*/ 91 h 111"/>
              <a:gd name="T2" fmla="*/ 116 w 131"/>
              <a:gd name="T3" fmla="*/ 76 h 111"/>
              <a:gd name="T4" fmla="*/ 120 w 131"/>
              <a:gd name="T5" fmla="*/ 74 h 111"/>
              <a:gd name="T6" fmla="*/ 119 w 131"/>
              <a:gd name="T7" fmla="*/ 67 h 111"/>
              <a:gd name="T8" fmla="*/ 117 w 131"/>
              <a:gd name="T9" fmla="*/ 62 h 111"/>
              <a:gd name="T10" fmla="*/ 114 w 131"/>
              <a:gd name="T11" fmla="*/ 62 h 111"/>
              <a:gd name="T12" fmla="*/ 110 w 131"/>
              <a:gd name="T13" fmla="*/ 66 h 111"/>
              <a:gd name="T14" fmla="*/ 110 w 131"/>
              <a:gd name="T15" fmla="*/ 62 h 111"/>
              <a:gd name="T16" fmla="*/ 114 w 131"/>
              <a:gd name="T17" fmla="*/ 54 h 111"/>
              <a:gd name="T18" fmla="*/ 119 w 131"/>
              <a:gd name="T19" fmla="*/ 50 h 111"/>
              <a:gd name="T20" fmla="*/ 123 w 131"/>
              <a:gd name="T21" fmla="*/ 47 h 111"/>
              <a:gd name="T22" fmla="*/ 124 w 131"/>
              <a:gd name="T23" fmla="*/ 47 h 111"/>
              <a:gd name="T24" fmla="*/ 125 w 131"/>
              <a:gd name="T25" fmla="*/ 44 h 111"/>
              <a:gd name="T26" fmla="*/ 125 w 131"/>
              <a:gd name="T27" fmla="*/ 40 h 111"/>
              <a:gd name="T28" fmla="*/ 127 w 131"/>
              <a:gd name="T29" fmla="*/ 36 h 111"/>
              <a:gd name="T30" fmla="*/ 128 w 131"/>
              <a:gd name="T31" fmla="*/ 28 h 111"/>
              <a:gd name="T32" fmla="*/ 127 w 131"/>
              <a:gd name="T33" fmla="*/ 28 h 111"/>
              <a:gd name="T34" fmla="*/ 122 w 131"/>
              <a:gd name="T35" fmla="*/ 27 h 111"/>
              <a:gd name="T36" fmla="*/ 116 w 131"/>
              <a:gd name="T37" fmla="*/ 25 h 111"/>
              <a:gd name="T38" fmla="*/ 113 w 131"/>
              <a:gd name="T39" fmla="*/ 22 h 111"/>
              <a:gd name="T40" fmla="*/ 108 w 131"/>
              <a:gd name="T41" fmla="*/ 22 h 111"/>
              <a:gd name="T42" fmla="*/ 105 w 131"/>
              <a:gd name="T43" fmla="*/ 22 h 111"/>
              <a:gd name="T44" fmla="*/ 99 w 131"/>
              <a:gd name="T45" fmla="*/ 18 h 111"/>
              <a:gd name="T46" fmla="*/ 90 w 131"/>
              <a:gd name="T47" fmla="*/ 15 h 111"/>
              <a:gd name="T48" fmla="*/ 91 w 131"/>
              <a:gd name="T49" fmla="*/ 12 h 111"/>
              <a:gd name="T50" fmla="*/ 86 w 131"/>
              <a:gd name="T51" fmla="*/ 12 h 111"/>
              <a:gd name="T52" fmla="*/ 84 w 131"/>
              <a:gd name="T53" fmla="*/ 9 h 111"/>
              <a:gd name="T54" fmla="*/ 81 w 131"/>
              <a:gd name="T55" fmla="*/ 6 h 111"/>
              <a:gd name="T56" fmla="*/ 79 w 131"/>
              <a:gd name="T57" fmla="*/ 6 h 111"/>
              <a:gd name="T58" fmla="*/ 76 w 131"/>
              <a:gd name="T59" fmla="*/ 4 h 111"/>
              <a:gd name="T60" fmla="*/ 65 w 131"/>
              <a:gd name="T61" fmla="*/ 10 h 111"/>
              <a:gd name="T62" fmla="*/ 50 w 131"/>
              <a:gd name="T63" fmla="*/ 20 h 111"/>
              <a:gd name="T64" fmla="*/ 37 w 131"/>
              <a:gd name="T65" fmla="*/ 22 h 111"/>
              <a:gd name="T66" fmla="*/ 32 w 131"/>
              <a:gd name="T67" fmla="*/ 19 h 111"/>
              <a:gd name="T68" fmla="*/ 34 w 131"/>
              <a:gd name="T69" fmla="*/ 30 h 111"/>
              <a:gd name="T70" fmla="*/ 21 w 131"/>
              <a:gd name="T71" fmla="*/ 34 h 111"/>
              <a:gd name="T72" fmla="*/ 0 w 131"/>
              <a:gd name="T73" fmla="*/ 34 h 111"/>
              <a:gd name="T74" fmla="*/ 2 w 131"/>
              <a:gd name="T75" fmla="*/ 37 h 111"/>
              <a:gd name="T76" fmla="*/ 1 w 131"/>
              <a:gd name="T77" fmla="*/ 40 h 111"/>
              <a:gd name="T78" fmla="*/ 17 w 131"/>
              <a:gd name="T79" fmla="*/ 47 h 111"/>
              <a:gd name="T80" fmla="*/ 28 w 131"/>
              <a:gd name="T81" fmla="*/ 50 h 111"/>
              <a:gd name="T82" fmla="*/ 29 w 131"/>
              <a:gd name="T83" fmla="*/ 57 h 111"/>
              <a:gd name="T84" fmla="*/ 37 w 131"/>
              <a:gd name="T85" fmla="*/ 69 h 111"/>
              <a:gd name="T86" fmla="*/ 38 w 131"/>
              <a:gd name="T87" fmla="*/ 82 h 111"/>
              <a:gd name="T88" fmla="*/ 32 w 131"/>
              <a:gd name="T89" fmla="*/ 99 h 111"/>
              <a:gd name="T90" fmla="*/ 37 w 131"/>
              <a:gd name="T91" fmla="*/ 103 h 111"/>
              <a:gd name="T92" fmla="*/ 42 w 131"/>
              <a:gd name="T93" fmla="*/ 104 h 111"/>
              <a:gd name="T94" fmla="*/ 46 w 131"/>
              <a:gd name="T95" fmla="*/ 105 h 111"/>
              <a:gd name="T96" fmla="*/ 51 w 131"/>
              <a:gd name="T97" fmla="*/ 107 h 111"/>
              <a:gd name="T98" fmla="*/ 60 w 131"/>
              <a:gd name="T99" fmla="*/ 106 h 111"/>
              <a:gd name="T100" fmla="*/ 69 w 131"/>
              <a:gd name="T101" fmla="*/ 110 h 111"/>
              <a:gd name="T102" fmla="*/ 76 w 131"/>
              <a:gd name="T103" fmla="*/ 111 h 111"/>
              <a:gd name="T104" fmla="*/ 81 w 131"/>
              <a:gd name="T105" fmla="*/ 103 h 111"/>
              <a:gd name="T106" fmla="*/ 97 w 131"/>
              <a:gd name="T107" fmla="*/ 99 h 111"/>
              <a:gd name="T108" fmla="*/ 108 w 131"/>
              <a:gd name="T109" fmla="*/ 102 h 111"/>
              <a:gd name="T110" fmla="*/ 122 w 131"/>
              <a:gd name="T111" fmla="*/ 9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1" h="111">
                <a:moveTo>
                  <a:pt x="125" y="94"/>
                </a:moveTo>
                <a:cubicBezTo>
                  <a:pt x="125" y="94"/>
                  <a:pt x="125" y="94"/>
                  <a:pt x="125" y="94"/>
                </a:cubicBezTo>
                <a:cubicBezTo>
                  <a:pt x="125" y="93"/>
                  <a:pt x="125" y="93"/>
                  <a:pt x="126" y="92"/>
                </a:cubicBezTo>
                <a:cubicBezTo>
                  <a:pt x="126" y="92"/>
                  <a:pt x="126" y="92"/>
                  <a:pt x="126" y="92"/>
                </a:cubicBezTo>
                <a:cubicBezTo>
                  <a:pt x="126" y="92"/>
                  <a:pt x="126" y="91"/>
                  <a:pt x="126" y="91"/>
                </a:cubicBezTo>
                <a:cubicBezTo>
                  <a:pt x="120" y="89"/>
                  <a:pt x="120" y="89"/>
                  <a:pt x="120" y="89"/>
                </a:cubicBezTo>
                <a:cubicBezTo>
                  <a:pt x="119" y="88"/>
                  <a:pt x="118" y="87"/>
                  <a:pt x="118" y="86"/>
                </a:cubicBezTo>
                <a:cubicBezTo>
                  <a:pt x="118" y="85"/>
                  <a:pt x="119" y="84"/>
                  <a:pt x="119" y="83"/>
                </a:cubicBezTo>
                <a:cubicBezTo>
                  <a:pt x="114" y="77"/>
                  <a:pt x="114" y="77"/>
                  <a:pt x="114" y="77"/>
                </a:cubicBezTo>
                <a:cubicBezTo>
                  <a:pt x="116" y="76"/>
                  <a:pt x="116" y="76"/>
                  <a:pt x="116" y="76"/>
                </a:cubicBezTo>
                <a:cubicBezTo>
                  <a:pt x="117" y="76"/>
                  <a:pt x="117" y="76"/>
                  <a:pt x="118" y="76"/>
                </a:cubicBezTo>
                <a:cubicBezTo>
                  <a:pt x="119" y="76"/>
                  <a:pt x="120" y="76"/>
                  <a:pt x="120" y="75"/>
                </a:cubicBezTo>
                <a:cubicBezTo>
                  <a:pt x="120" y="75"/>
                  <a:pt x="120" y="75"/>
                  <a:pt x="120" y="75"/>
                </a:cubicBezTo>
                <a:cubicBezTo>
                  <a:pt x="121" y="74"/>
                  <a:pt x="121" y="74"/>
                  <a:pt x="121" y="74"/>
                </a:cubicBezTo>
                <a:cubicBezTo>
                  <a:pt x="120" y="74"/>
                  <a:pt x="120" y="74"/>
                  <a:pt x="120" y="74"/>
                </a:cubicBezTo>
                <a:cubicBezTo>
                  <a:pt x="118" y="71"/>
                  <a:pt x="118" y="71"/>
                  <a:pt x="118" y="71"/>
                </a:cubicBezTo>
                <a:cubicBezTo>
                  <a:pt x="117" y="70"/>
                  <a:pt x="117" y="70"/>
                  <a:pt x="117" y="69"/>
                </a:cubicBezTo>
                <a:cubicBezTo>
                  <a:pt x="118" y="68"/>
                  <a:pt x="118" y="67"/>
                  <a:pt x="119" y="67"/>
                </a:cubicBezTo>
                <a:cubicBezTo>
                  <a:pt x="119" y="67"/>
                  <a:pt x="119" y="67"/>
                  <a:pt x="119" y="67"/>
                </a:cubicBezTo>
                <a:cubicBezTo>
                  <a:pt x="119" y="67"/>
                  <a:pt x="119" y="67"/>
                  <a:pt x="119" y="67"/>
                </a:cubicBezTo>
                <a:cubicBezTo>
                  <a:pt x="119" y="66"/>
                  <a:pt x="119" y="66"/>
                  <a:pt x="119" y="66"/>
                </a:cubicBezTo>
                <a:cubicBezTo>
                  <a:pt x="118" y="65"/>
                  <a:pt x="118" y="65"/>
                  <a:pt x="118" y="64"/>
                </a:cubicBezTo>
                <a:cubicBezTo>
                  <a:pt x="117" y="64"/>
                  <a:pt x="117" y="64"/>
                  <a:pt x="117" y="64"/>
                </a:cubicBezTo>
                <a:cubicBezTo>
                  <a:pt x="117" y="63"/>
                  <a:pt x="117" y="62"/>
                  <a:pt x="117" y="62"/>
                </a:cubicBezTo>
                <a:cubicBezTo>
                  <a:pt x="117" y="62"/>
                  <a:pt x="117" y="62"/>
                  <a:pt x="117" y="62"/>
                </a:cubicBezTo>
                <a:cubicBezTo>
                  <a:pt x="117" y="62"/>
                  <a:pt x="116" y="62"/>
                  <a:pt x="116" y="62"/>
                </a:cubicBezTo>
                <a:cubicBezTo>
                  <a:pt x="116" y="62"/>
                  <a:pt x="116" y="62"/>
                  <a:pt x="115" y="62"/>
                </a:cubicBezTo>
                <a:cubicBezTo>
                  <a:pt x="115" y="62"/>
                  <a:pt x="115" y="62"/>
                  <a:pt x="115" y="62"/>
                </a:cubicBezTo>
                <a:cubicBezTo>
                  <a:pt x="115" y="62"/>
                  <a:pt x="114" y="62"/>
                  <a:pt x="114" y="63"/>
                </a:cubicBezTo>
                <a:cubicBezTo>
                  <a:pt x="114" y="62"/>
                  <a:pt x="114" y="62"/>
                  <a:pt x="114" y="62"/>
                </a:cubicBezTo>
                <a:cubicBezTo>
                  <a:pt x="114" y="63"/>
                  <a:pt x="114" y="63"/>
                  <a:pt x="114" y="63"/>
                </a:cubicBezTo>
                <a:cubicBezTo>
                  <a:pt x="113" y="63"/>
                  <a:pt x="113" y="64"/>
                  <a:pt x="112" y="64"/>
                </a:cubicBezTo>
                <a:cubicBezTo>
                  <a:pt x="112" y="65"/>
                  <a:pt x="112" y="65"/>
                  <a:pt x="112" y="65"/>
                </a:cubicBezTo>
                <a:cubicBezTo>
                  <a:pt x="111" y="65"/>
                  <a:pt x="111" y="65"/>
                  <a:pt x="111" y="66"/>
                </a:cubicBezTo>
                <a:cubicBezTo>
                  <a:pt x="110" y="66"/>
                  <a:pt x="110" y="66"/>
                  <a:pt x="110" y="66"/>
                </a:cubicBezTo>
                <a:cubicBezTo>
                  <a:pt x="109" y="64"/>
                  <a:pt x="109" y="64"/>
                  <a:pt x="109" y="64"/>
                </a:cubicBezTo>
                <a:cubicBezTo>
                  <a:pt x="109" y="64"/>
                  <a:pt x="109" y="64"/>
                  <a:pt x="109" y="64"/>
                </a:cubicBezTo>
                <a:cubicBezTo>
                  <a:pt x="109" y="64"/>
                  <a:pt x="109" y="64"/>
                  <a:pt x="109" y="63"/>
                </a:cubicBezTo>
                <a:cubicBezTo>
                  <a:pt x="109" y="63"/>
                  <a:pt x="109" y="63"/>
                  <a:pt x="109" y="63"/>
                </a:cubicBezTo>
                <a:cubicBezTo>
                  <a:pt x="110" y="62"/>
                  <a:pt x="110" y="62"/>
                  <a:pt x="110" y="62"/>
                </a:cubicBezTo>
                <a:cubicBezTo>
                  <a:pt x="110" y="62"/>
                  <a:pt x="110" y="62"/>
                  <a:pt x="110" y="62"/>
                </a:cubicBezTo>
                <a:cubicBezTo>
                  <a:pt x="110" y="61"/>
                  <a:pt x="110" y="60"/>
                  <a:pt x="110" y="60"/>
                </a:cubicBezTo>
                <a:cubicBezTo>
                  <a:pt x="111" y="58"/>
                  <a:pt x="112" y="57"/>
                  <a:pt x="113" y="56"/>
                </a:cubicBezTo>
                <a:cubicBezTo>
                  <a:pt x="114" y="55"/>
                  <a:pt x="114" y="55"/>
                  <a:pt x="114" y="55"/>
                </a:cubicBezTo>
                <a:cubicBezTo>
                  <a:pt x="114" y="55"/>
                  <a:pt x="114" y="55"/>
                  <a:pt x="114" y="54"/>
                </a:cubicBezTo>
                <a:cubicBezTo>
                  <a:pt x="114" y="54"/>
                  <a:pt x="114" y="54"/>
                  <a:pt x="114" y="54"/>
                </a:cubicBezTo>
                <a:cubicBezTo>
                  <a:pt x="114" y="53"/>
                  <a:pt x="114" y="53"/>
                  <a:pt x="115" y="53"/>
                </a:cubicBezTo>
                <a:cubicBezTo>
                  <a:pt x="115" y="52"/>
                  <a:pt x="116" y="52"/>
                  <a:pt x="116" y="52"/>
                </a:cubicBezTo>
                <a:cubicBezTo>
                  <a:pt x="116" y="52"/>
                  <a:pt x="117" y="52"/>
                  <a:pt x="117" y="51"/>
                </a:cubicBezTo>
                <a:cubicBezTo>
                  <a:pt x="117" y="51"/>
                  <a:pt x="118" y="51"/>
                  <a:pt x="119" y="50"/>
                </a:cubicBezTo>
                <a:cubicBezTo>
                  <a:pt x="117" y="50"/>
                  <a:pt x="117" y="50"/>
                  <a:pt x="117" y="50"/>
                </a:cubicBezTo>
                <a:cubicBezTo>
                  <a:pt x="119" y="48"/>
                  <a:pt x="119" y="48"/>
                  <a:pt x="119" y="48"/>
                </a:cubicBezTo>
                <a:cubicBezTo>
                  <a:pt x="119" y="47"/>
                  <a:pt x="120" y="46"/>
                  <a:pt x="121" y="46"/>
                </a:cubicBezTo>
                <a:cubicBezTo>
                  <a:pt x="121" y="46"/>
                  <a:pt x="121" y="46"/>
                  <a:pt x="121" y="46"/>
                </a:cubicBezTo>
                <a:cubicBezTo>
                  <a:pt x="122" y="46"/>
                  <a:pt x="123" y="46"/>
                  <a:pt x="123" y="47"/>
                </a:cubicBezTo>
                <a:cubicBezTo>
                  <a:pt x="123" y="47"/>
                  <a:pt x="123" y="47"/>
                  <a:pt x="123" y="47"/>
                </a:cubicBezTo>
                <a:cubicBezTo>
                  <a:pt x="123" y="47"/>
                  <a:pt x="123" y="47"/>
                  <a:pt x="123" y="47"/>
                </a:cubicBezTo>
                <a:cubicBezTo>
                  <a:pt x="123" y="47"/>
                  <a:pt x="123" y="47"/>
                  <a:pt x="124" y="47"/>
                </a:cubicBezTo>
                <a:cubicBezTo>
                  <a:pt x="124" y="47"/>
                  <a:pt x="124" y="47"/>
                  <a:pt x="124" y="47"/>
                </a:cubicBezTo>
                <a:cubicBezTo>
                  <a:pt x="124" y="47"/>
                  <a:pt x="124" y="47"/>
                  <a:pt x="124" y="47"/>
                </a:cubicBezTo>
                <a:cubicBezTo>
                  <a:pt x="124" y="47"/>
                  <a:pt x="124" y="47"/>
                  <a:pt x="124" y="47"/>
                </a:cubicBezTo>
                <a:cubicBezTo>
                  <a:pt x="124" y="46"/>
                  <a:pt x="125" y="46"/>
                  <a:pt x="125" y="46"/>
                </a:cubicBezTo>
                <a:cubicBezTo>
                  <a:pt x="125" y="45"/>
                  <a:pt x="125" y="45"/>
                  <a:pt x="125" y="45"/>
                </a:cubicBezTo>
                <a:cubicBezTo>
                  <a:pt x="125" y="45"/>
                  <a:pt x="125" y="45"/>
                  <a:pt x="125" y="45"/>
                </a:cubicBezTo>
                <a:cubicBezTo>
                  <a:pt x="125" y="45"/>
                  <a:pt x="125" y="45"/>
                  <a:pt x="125" y="44"/>
                </a:cubicBezTo>
                <a:cubicBezTo>
                  <a:pt x="125" y="44"/>
                  <a:pt x="125" y="43"/>
                  <a:pt x="125" y="43"/>
                </a:cubicBezTo>
                <a:cubicBezTo>
                  <a:pt x="125" y="43"/>
                  <a:pt x="125" y="42"/>
                  <a:pt x="125" y="42"/>
                </a:cubicBezTo>
                <a:cubicBezTo>
                  <a:pt x="125" y="41"/>
                  <a:pt x="125" y="41"/>
                  <a:pt x="125" y="41"/>
                </a:cubicBezTo>
                <a:cubicBezTo>
                  <a:pt x="125" y="41"/>
                  <a:pt x="125" y="41"/>
                  <a:pt x="125" y="41"/>
                </a:cubicBezTo>
                <a:cubicBezTo>
                  <a:pt x="125" y="41"/>
                  <a:pt x="125" y="40"/>
                  <a:pt x="125" y="40"/>
                </a:cubicBezTo>
                <a:cubicBezTo>
                  <a:pt x="125" y="40"/>
                  <a:pt x="125" y="40"/>
                  <a:pt x="125" y="40"/>
                </a:cubicBezTo>
                <a:cubicBezTo>
                  <a:pt x="125" y="40"/>
                  <a:pt x="125" y="39"/>
                  <a:pt x="125" y="39"/>
                </a:cubicBezTo>
                <a:cubicBezTo>
                  <a:pt x="125" y="39"/>
                  <a:pt x="125" y="39"/>
                  <a:pt x="125" y="38"/>
                </a:cubicBezTo>
                <a:cubicBezTo>
                  <a:pt x="126" y="38"/>
                  <a:pt x="126" y="37"/>
                  <a:pt x="127" y="36"/>
                </a:cubicBezTo>
                <a:cubicBezTo>
                  <a:pt x="127" y="36"/>
                  <a:pt x="127" y="36"/>
                  <a:pt x="127" y="36"/>
                </a:cubicBezTo>
                <a:cubicBezTo>
                  <a:pt x="127" y="36"/>
                  <a:pt x="127" y="35"/>
                  <a:pt x="127" y="35"/>
                </a:cubicBezTo>
                <a:cubicBezTo>
                  <a:pt x="128" y="33"/>
                  <a:pt x="129" y="31"/>
                  <a:pt x="131" y="29"/>
                </a:cubicBezTo>
                <a:cubicBezTo>
                  <a:pt x="130" y="29"/>
                  <a:pt x="130" y="29"/>
                  <a:pt x="130" y="29"/>
                </a:cubicBezTo>
                <a:cubicBezTo>
                  <a:pt x="130" y="28"/>
                  <a:pt x="130" y="28"/>
                  <a:pt x="129" y="28"/>
                </a:cubicBezTo>
                <a:cubicBezTo>
                  <a:pt x="129" y="28"/>
                  <a:pt x="129" y="28"/>
                  <a:pt x="128" y="28"/>
                </a:cubicBezTo>
                <a:cubicBezTo>
                  <a:pt x="128" y="28"/>
                  <a:pt x="128" y="28"/>
                  <a:pt x="128" y="28"/>
                </a:cubicBezTo>
                <a:cubicBezTo>
                  <a:pt x="127" y="28"/>
                  <a:pt x="127" y="28"/>
                  <a:pt x="127" y="28"/>
                </a:cubicBezTo>
                <a:cubicBezTo>
                  <a:pt x="127" y="28"/>
                  <a:pt x="127" y="28"/>
                  <a:pt x="127" y="28"/>
                </a:cubicBezTo>
                <a:cubicBezTo>
                  <a:pt x="127" y="28"/>
                  <a:pt x="127" y="28"/>
                  <a:pt x="127" y="28"/>
                </a:cubicBezTo>
                <a:cubicBezTo>
                  <a:pt x="127" y="28"/>
                  <a:pt x="127" y="28"/>
                  <a:pt x="127" y="28"/>
                </a:cubicBezTo>
                <a:cubicBezTo>
                  <a:pt x="126" y="28"/>
                  <a:pt x="126" y="28"/>
                  <a:pt x="126" y="28"/>
                </a:cubicBezTo>
                <a:cubicBezTo>
                  <a:pt x="126" y="28"/>
                  <a:pt x="126" y="28"/>
                  <a:pt x="125" y="27"/>
                </a:cubicBezTo>
                <a:cubicBezTo>
                  <a:pt x="125" y="27"/>
                  <a:pt x="124" y="27"/>
                  <a:pt x="124" y="27"/>
                </a:cubicBezTo>
                <a:cubicBezTo>
                  <a:pt x="123" y="27"/>
                  <a:pt x="123" y="27"/>
                  <a:pt x="123" y="27"/>
                </a:cubicBezTo>
                <a:cubicBezTo>
                  <a:pt x="123" y="27"/>
                  <a:pt x="122" y="27"/>
                  <a:pt x="122" y="27"/>
                </a:cubicBezTo>
                <a:cubicBezTo>
                  <a:pt x="122" y="27"/>
                  <a:pt x="122" y="27"/>
                  <a:pt x="122" y="27"/>
                </a:cubicBezTo>
                <a:cubicBezTo>
                  <a:pt x="121" y="27"/>
                  <a:pt x="121" y="27"/>
                  <a:pt x="120" y="27"/>
                </a:cubicBezTo>
                <a:cubicBezTo>
                  <a:pt x="120" y="26"/>
                  <a:pt x="119" y="26"/>
                  <a:pt x="119" y="26"/>
                </a:cubicBezTo>
                <a:cubicBezTo>
                  <a:pt x="119" y="26"/>
                  <a:pt x="119" y="26"/>
                  <a:pt x="119" y="26"/>
                </a:cubicBezTo>
                <a:cubicBezTo>
                  <a:pt x="118" y="26"/>
                  <a:pt x="117" y="26"/>
                  <a:pt x="116" y="25"/>
                </a:cubicBezTo>
                <a:cubicBezTo>
                  <a:pt x="116" y="25"/>
                  <a:pt x="116" y="25"/>
                  <a:pt x="116" y="25"/>
                </a:cubicBezTo>
                <a:cubicBezTo>
                  <a:pt x="116" y="24"/>
                  <a:pt x="115" y="24"/>
                  <a:pt x="115" y="24"/>
                </a:cubicBezTo>
                <a:cubicBezTo>
                  <a:pt x="115" y="24"/>
                  <a:pt x="115" y="24"/>
                  <a:pt x="115" y="24"/>
                </a:cubicBezTo>
                <a:cubicBezTo>
                  <a:pt x="115" y="24"/>
                  <a:pt x="115" y="24"/>
                  <a:pt x="115" y="24"/>
                </a:cubicBezTo>
                <a:cubicBezTo>
                  <a:pt x="113" y="22"/>
                  <a:pt x="113" y="22"/>
                  <a:pt x="113" y="22"/>
                </a:cubicBezTo>
                <a:cubicBezTo>
                  <a:pt x="112" y="22"/>
                  <a:pt x="112" y="22"/>
                  <a:pt x="112" y="22"/>
                </a:cubicBezTo>
                <a:cubicBezTo>
                  <a:pt x="111" y="22"/>
                  <a:pt x="111" y="22"/>
                  <a:pt x="111" y="22"/>
                </a:cubicBezTo>
                <a:cubicBezTo>
                  <a:pt x="110" y="22"/>
                  <a:pt x="110" y="22"/>
                  <a:pt x="109" y="22"/>
                </a:cubicBezTo>
                <a:cubicBezTo>
                  <a:pt x="108" y="22"/>
                  <a:pt x="108" y="22"/>
                  <a:pt x="108" y="22"/>
                </a:cubicBezTo>
                <a:cubicBezTo>
                  <a:pt x="108" y="22"/>
                  <a:pt x="108" y="22"/>
                  <a:pt x="108" y="22"/>
                </a:cubicBezTo>
                <a:cubicBezTo>
                  <a:pt x="108" y="22"/>
                  <a:pt x="108" y="22"/>
                  <a:pt x="108" y="22"/>
                </a:cubicBezTo>
                <a:cubicBezTo>
                  <a:pt x="108" y="22"/>
                  <a:pt x="107" y="22"/>
                  <a:pt x="106" y="22"/>
                </a:cubicBezTo>
                <a:cubicBezTo>
                  <a:pt x="106" y="22"/>
                  <a:pt x="106" y="22"/>
                  <a:pt x="106" y="22"/>
                </a:cubicBezTo>
                <a:cubicBezTo>
                  <a:pt x="106" y="22"/>
                  <a:pt x="105" y="22"/>
                  <a:pt x="105" y="22"/>
                </a:cubicBezTo>
                <a:cubicBezTo>
                  <a:pt x="105" y="22"/>
                  <a:pt x="105" y="22"/>
                  <a:pt x="105" y="22"/>
                </a:cubicBezTo>
                <a:cubicBezTo>
                  <a:pt x="104" y="22"/>
                  <a:pt x="104" y="21"/>
                  <a:pt x="103" y="21"/>
                </a:cubicBezTo>
                <a:cubicBezTo>
                  <a:pt x="103" y="21"/>
                  <a:pt x="103" y="20"/>
                  <a:pt x="103" y="20"/>
                </a:cubicBezTo>
                <a:cubicBezTo>
                  <a:pt x="103" y="20"/>
                  <a:pt x="101" y="19"/>
                  <a:pt x="100" y="18"/>
                </a:cubicBezTo>
                <a:cubicBezTo>
                  <a:pt x="99" y="18"/>
                  <a:pt x="99" y="18"/>
                  <a:pt x="99" y="18"/>
                </a:cubicBezTo>
                <a:cubicBezTo>
                  <a:pt x="99" y="18"/>
                  <a:pt x="99" y="18"/>
                  <a:pt x="99" y="18"/>
                </a:cubicBezTo>
                <a:cubicBezTo>
                  <a:pt x="99" y="18"/>
                  <a:pt x="99" y="18"/>
                  <a:pt x="99" y="18"/>
                </a:cubicBezTo>
                <a:cubicBezTo>
                  <a:pt x="99" y="18"/>
                  <a:pt x="98" y="18"/>
                  <a:pt x="98" y="18"/>
                </a:cubicBezTo>
                <a:cubicBezTo>
                  <a:pt x="97" y="17"/>
                  <a:pt x="97" y="16"/>
                  <a:pt x="97" y="15"/>
                </a:cubicBezTo>
                <a:cubicBezTo>
                  <a:pt x="95" y="16"/>
                  <a:pt x="93" y="17"/>
                  <a:pt x="91" y="16"/>
                </a:cubicBezTo>
                <a:cubicBezTo>
                  <a:pt x="90" y="15"/>
                  <a:pt x="90" y="15"/>
                  <a:pt x="90" y="15"/>
                </a:cubicBezTo>
                <a:cubicBezTo>
                  <a:pt x="90" y="14"/>
                  <a:pt x="90" y="14"/>
                  <a:pt x="90" y="14"/>
                </a:cubicBezTo>
                <a:cubicBezTo>
                  <a:pt x="90" y="14"/>
                  <a:pt x="90" y="14"/>
                  <a:pt x="90" y="13"/>
                </a:cubicBezTo>
                <a:cubicBezTo>
                  <a:pt x="91" y="13"/>
                  <a:pt x="91" y="13"/>
                  <a:pt x="91" y="13"/>
                </a:cubicBezTo>
                <a:cubicBezTo>
                  <a:pt x="91" y="13"/>
                  <a:pt x="91" y="12"/>
                  <a:pt x="91" y="12"/>
                </a:cubicBezTo>
                <a:cubicBezTo>
                  <a:pt x="91" y="12"/>
                  <a:pt x="91" y="12"/>
                  <a:pt x="91" y="12"/>
                </a:cubicBezTo>
                <a:cubicBezTo>
                  <a:pt x="90" y="12"/>
                  <a:pt x="90" y="11"/>
                  <a:pt x="90" y="11"/>
                </a:cubicBezTo>
                <a:cubicBezTo>
                  <a:pt x="90" y="11"/>
                  <a:pt x="89" y="11"/>
                  <a:pt x="89" y="11"/>
                </a:cubicBezTo>
                <a:cubicBezTo>
                  <a:pt x="89" y="11"/>
                  <a:pt x="88" y="11"/>
                  <a:pt x="88" y="11"/>
                </a:cubicBezTo>
                <a:cubicBezTo>
                  <a:pt x="88" y="11"/>
                  <a:pt x="88" y="11"/>
                  <a:pt x="88" y="11"/>
                </a:cubicBezTo>
                <a:cubicBezTo>
                  <a:pt x="86" y="12"/>
                  <a:pt x="86" y="12"/>
                  <a:pt x="86" y="12"/>
                </a:cubicBezTo>
                <a:cubicBezTo>
                  <a:pt x="86" y="11"/>
                  <a:pt x="86" y="11"/>
                  <a:pt x="86" y="11"/>
                </a:cubicBezTo>
                <a:cubicBezTo>
                  <a:pt x="86" y="10"/>
                  <a:pt x="85" y="10"/>
                  <a:pt x="85" y="10"/>
                </a:cubicBezTo>
                <a:cubicBezTo>
                  <a:pt x="85" y="9"/>
                  <a:pt x="85" y="9"/>
                  <a:pt x="85" y="9"/>
                </a:cubicBezTo>
                <a:cubicBezTo>
                  <a:pt x="85" y="9"/>
                  <a:pt x="85" y="9"/>
                  <a:pt x="85" y="9"/>
                </a:cubicBezTo>
                <a:cubicBezTo>
                  <a:pt x="85" y="9"/>
                  <a:pt x="85" y="9"/>
                  <a:pt x="84" y="9"/>
                </a:cubicBezTo>
                <a:cubicBezTo>
                  <a:pt x="84" y="9"/>
                  <a:pt x="84" y="9"/>
                  <a:pt x="84" y="9"/>
                </a:cubicBezTo>
                <a:cubicBezTo>
                  <a:pt x="84" y="9"/>
                  <a:pt x="83" y="9"/>
                  <a:pt x="83" y="9"/>
                </a:cubicBezTo>
                <a:cubicBezTo>
                  <a:pt x="83" y="9"/>
                  <a:pt x="83" y="9"/>
                  <a:pt x="83" y="9"/>
                </a:cubicBezTo>
                <a:cubicBezTo>
                  <a:pt x="82" y="8"/>
                  <a:pt x="82" y="8"/>
                  <a:pt x="82" y="8"/>
                </a:cubicBezTo>
                <a:cubicBezTo>
                  <a:pt x="81" y="8"/>
                  <a:pt x="81" y="7"/>
                  <a:pt x="81" y="6"/>
                </a:cubicBezTo>
                <a:cubicBezTo>
                  <a:pt x="81" y="6"/>
                  <a:pt x="81" y="6"/>
                  <a:pt x="81" y="6"/>
                </a:cubicBezTo>
                <a:cubicBezTo>
                  <a:pt x="81" y="5"/>
                  <a:pt x="81" y="5"/>
                  <a:pt x="81" y="5"/>
                </a:cubicBezTo>
                <a:cubicBezTo>
                  <a:pt x="81" y="5"/>
                  <a:pt x="81" y="5"/>
                  <a:pt x="81" y="5"/>
                </a:cubicBezTo>
                <a:cubicBezTo>
                  <a:pt x="80" y="5"/>
                  <a:pt x="80" y="5"/>
                  <a:pt x="80" y="5"/>
                </a:cubicBezTo>
                <a:cubicBezTo>
                  <a:pt x="80" y="5"/>
                  <a:pt x="80" y="5"/>
                  <a:pt x="79" y="6"/>
                </a:cubicBezTo>
                <a:cubicBezTo>
                  <a:pt x="79" y="6"/>
                  <a:pt x="79" y="6"/>
                  <a:pt x="79" y="6"/>
                </a:cubicBezTo>
                <a:cubicBezTo>
                  <a:pt x="79" y="6"/>
                  <a:pt x="78" y="6"/>
                  <a:pt x="77" y="6"/>
                </a:cubicBezTo>
                <a:cubicBezTo>
                  <a:pt x="77" y="6"/>
                  <a:pt x="77" y="6"/>
                  <a:pt x="77" y="6"/>
                </a:cubicBezTo>
                <a:cubicBezTo>
                  <a:pt x="77" y="5"/>
                  <a:pt x="76" y="5"/>
                  <a:pt x="76" y="4"/>
                </a:cubicBezTo>
                <a:cubicBezTo>
                  <a:pt x="76" y="4"/>
                  <a:pt x="76" y="4"/>
                  <a:pt x="76" y="4"/>
                </a:cubicBezTo>
                <a:cubicBezTo>
                  <a:pt x="76" y="4"/>
                  <a:pt x="76" y="4"/>
                  <a:pt x="76" y="4"/>
                </a:cubicBezTo>
                <a:cubicBezTo>
                  <a:pt x="75" y="4"/>
                  <a:pt x="75" y="3"/>
                  <a:pt x="74" y="2"/>
                </a:cubicBezTo>
                <a:cubicBezTo>
                  <a:pt x="74" y="1"/>
                  <a:pt x="74" y="0"/>
                  <a:pt x="74" y="0"/>
                </a:cubicBezTo>
                <a:cubicBezTo>
                  <a:pt x="71" y="1"/>
                  <a:pt x="69" y="1"/>
                  <a:pt x="66" y="2"/>
                </a:cubicBezTo>
                <a:cubicBezTo>
                  <a:pt x="64" y="3"/>
                  <a:pt x="65" y="8"/>
                  <a:pt x="65" y="10"/>
                </a:cubicBezTo>
                <a:cubicBezTo>
                  <a:pt x="65" y="11"/>
                  <a:pt x="66" y="12"/>
                  <a:pt x="65" y="12"/>
                </a:cubicBezTo>
                <a:cubicBezTo>
                  <a:pt x="63" y="14"/>
                  <a:pt x="61" y="15"/>
                  <a:pt x="58" y="15"/>
                </a:cubicBezTo>
                <a:cubicBezTo>
                  <a:pt x="57" y="16"/>
                  <a:pt x="55" y="16"/>
                  <a:pt x="53" y="17"/>
                </a:cubicBezTo>
                <a:cubicBezTo>
                  <a:pt x="53" y="17"/>
                  <a:pt x="51" y="18"/>
                  <a:pt x="51" y="18"/>
                </a:cubicBezTo>
                <a:cubicBezTo>
                  <a:pt x="51" y="19"/>
                  <a:pt x="50" y="20"/>
                  <a:pt x="50" y="20"/>
                </a:cubicBezTo>
                <a:cubicBezTo>
                  <a:pt x="50" y="22"/>
                  <a:pt x="53" y="21"/>
                  <a:pt x="54" y="21"/>
                </a:cubicBezTo>
                <a:cubicBezTo>
                  <a:pt x="52" y="22"/>
                  <a:pt x="49" y="23"/>
                  <a:pt x="47" y="24"/>
                </a:cubicBezTo>
                <a:cubicBezTo>
                  <a:pt x="46" y="24"/>
                  <a:pt x="44" y="24"/>
                  <a:pt x="43" y="24"/>
                </a:cubicBezTo>
                <a:cubicBezTo>
                  <a:pt x="42" y="23"/>
                  <a:pt x="40" y="23"/>
                  <a:pt x="38" y="23"/>
                </a:cubicBezTo>
                <a:cubicBezTo>
                  <a:pt x="37" y="23"/>
                  <a:pt x="38" y="23"/>
                  <a:pt x="37" y="22"/>
                </a:cubicBezTo>
                <a:cubicBezTo>
                  <a:pt x="36" y="21"/>
                  <a:pt x="36" y="21"/>
                  <a:pt x="36" y="20"/>
                </a:cubicBezTo>
                <a:cubicBezTo>
                  <a:pt x="36" y="19"/>
                  <a:pt x="37" y="19"/>
                  <a:pt x="35" y="18"/>
                </a:cubicBezTo>
                <a:cubicBezTo>
                  <a:pt x="35" y="18"/>
                  <a:pt x="34" y="18"/>
                  <a:pt x="34" y="18"/>
                </a:cubicBezTo>
                <a:cubicBezTo>
                  <a:pt x="33" y="18"/>
                  <a:pt x="33" y="19"/>
                  <a:pt x="33" y="19"/>
                </a:cubicBezTo>
                <a:cubicBezTo>
                  <a:pt x="32" y="19"/>
                  <a:pt x="32" y="19"/>
                  <a:pt x="32" y="19"/>
                </a:cubicBezTo>
                <a:cubicBezTo>
                  <a:pt x="31" y="18"/>
                  <a:pt x="30" y="18"/>
                  <a:pt x="29" y="18"/>
                </a:cubicBezTo>
                <a:cubicBezTo>
                  <a:pt x="30" y="20"/>
                  <a:pt x="31" y="21"/>
                  <a:pt x="31" y="23"/>
                </a:cubicBezTo>
                <a:cubicBezTo>
                  <a:pt x="31" y="23"/>
                  <a:pt x="31" y="23"/>
                  <a:pt x="31" y="23"/>
                </a:cubicBezTo>
                <a:cubicBezTo>
                  <a:pt x="32" y="23"/>
                  <a:pt x="32" y="24"/>
                  <a:pt x="32" y="25"/>
                </a:cubicBezTo>
                <a:cubicBezTo>
                  <a:pt x="33" y="24"/>
                  <a:pt x="33" y="29"/>
                  <a:pt x="34" y="30"/>
                </a:cubicBezTo>
                <a:cubicBezTo>
                  <a:pt x="34" y="31"/>
                  <a:pt x="34" y="32"/>
                  <a:pt x="35" y="32"/>
                </a:cubicBezTo>
                <a:cubicBezTo>
                  <a:pt x="33" y="32"/>
                  <a:pt x="32" y="32"/>
                  <a:pt x="30" y="32"/>
                </a:cubicBezTo>
                <a:cubicBezTo>
                  <a:pt x="29" y="31"/>
                  <a:pt x="28" y="33"/>
                  <a:pt x="29" y="34"/>
                </a:cubicBezTo>
                <a:cubicBezTo>
                  <a:pt x="28" y="32"/>
                  <a:pt x="26" y="33"/>
                  <a:pt x="24" y="33"/>
                </a:cubicBezTo>
                <a:cubicBezTo>
                  <a:pt x="23" y="33"/>
                  <a:pt x="22" y="33"/>
                  <a:pt x="21" y="34"/>
                </a:cubicBezTo>
                <a:cubicBezTo>
                  <a:pt x="21" y="33"/>
                  <a:pt x="19" y="30"/>
                  <a:pt x="18" y="30"/>
                </a:cubicBezTo>
                <a:cubicBezTo>
                  <a:pt x="18" y="30"/>
                  <a:pt x="17" y="30"/>
                  <a:pt x="17" y="29"/>
                </a:cubicBezTo>
                <a:cubicBezTo>
                  <a:pt x="16" y="30"/>
                  <a:pt x="14" y="31"/>
                  <a:pt x="12" y="32"/>
                </a:cubicBezTo>
                <a:cubicBezTo>
                  <a:pt x="10" y="32"/>
                  <a:pt x="8" y="32"/>
                  <a:pt x="7" y="33"/>
                </a:cubicBezTo>
                <a:cubicBezTo>
                  <a:pt x="4" y="33"/>
                  <a:pt x="2" y="34"/>
                  <a:pt x="0" y="34"/>
                </a:cubicBezTo>
                <a:cubicBezTo>
                  <a:pt x="0" y="34"/>
                  <a:pt x="0" y="36"/>
                  <a:pt x="0" y="36"/>
                </a:cubicBezTo>
                <a:cubicBezTo>
                  <a:pt x="1" y="37"/>
                  <a:pt x="4" y="36"/>
                  <a:pt x="5" y="35"/>
                </a:cubicBezTo>
                <a:cubicBezTo>
                  <a:pt x="4" y="35"/>
                  <a:pt x="4" y="36"/>
                  <a:pt x="3" y="36"/>
                </a:cubicBezTo>
                <a:cubicBezTo>
                  <a:pt x="4" y="36"/>
                  <a:pt x="5" y="36"/>
                  <a:pt x="5" y="36"/>
                </a:cubicBezTo>
                <a:cubicBezTo>
                  <a:pt x="5" y="37"/>
                  <a:pt x="3" y="37"/>
                  <a:pt x="2" y="37"/>
                </a:cubicBezTo>
                <a:cubicBezTo>
                  <a:pt x="2" y="37"/>
                  <a:pt x="2" y="37"/>
                  <a:pt x="2" y="38"/>
                </a:cubicBezTo>
                <a:cubicBezTo>
                  <a:pt x="3" y="38"/>
                  <a:pt x="3" y="37"/>
                  <a:pt x="4" y="38"/>
                </a:cubicBezTo>
                <a:cubicBezTo>
                  <a:pt x="5" y="38"/>
                  <a:pt x="5" y="39"/>
                  <a:pt x="4" y="39"/>
                </a:cubicBezTo>
                <a:cubicBezTo>
                  <a:pt x="4" y="39"/>
                  <a:pt x="3" y="39"/>
                  <a:pt x="3" y="39"/>
                </a:cubicBezTo>
                <a:cubicBezTo>
                  <a:pt x="2" y="40"/>
                  <a:pt x="1" y="40"/>
                  <a:pt x="1" y="40"/>
                </a:cubicBezTo>
                <a:cubicBezTo>
                  <a:pt x="2" y="41"/>
                  <a:pt x="3" y="42"/>
                  <a:pt x="5" y="43"/>
                </a:cubicBezTo>
                <a:cubicBezTo>
                  <a:pt x="4" y="43"/>
                  <a:pt x="4" y="43"/>
                  <a:pt x="4" y="43"/>
                </a:cubicBezTo>
                <a:cubicBezTo>
                  <a:pt x="5" y="43"/>
                  <a:pt x="6" y="42"/>
                  <a:pt x="7" y="42"/>
                </a:cubicBezTo>
                <a:cubicBezTo>
                  <a:pt x="9" y="42"/>
                  <a:pt x="12" y="43"/>
                  <a:pt x="13" y="44"/>
                </a:cubicBezTo>
                <a:cubicBezTo>
                  <a:pt x="14" y="45"/>
                  <a:pt x="17" y="46"/>
                  <a:pt x="17" y="47"/>
                </a:cubicBezTo>
                <a:cubicBezTo>
                  <a:pt x="17" y="46"/>
                  <a:pt x="17" y="47"/>
                  <a:pt x="18" y="46"/>
                </a:cubicBezTo>
                <a:cubicBezTo>
                  <a:pt x="18" y="46"/>
                  <a:pt x="19" y="46"/>
                  <a:pt x="18" y="45"/>
                </a:cubicBezTo>
                <a:cubicBezTo>
                  <a:pt x="20" y="46"/>
                  <a:pt x="22" y="47"/>
                  <a:pt x="24" y="48"/>
                </a:cubicBezTo>
                <a:cubicBezTo>
                  <a:pt x="22" y="50"/>
                  <a:pt x="25" y="50"/>
                  <a:pt x="26" y="50"/>
                </a:cubicBezTo>
                <a:cubicBezTo>
                  <a:pt x="27" y="50"/>
                  <a:pt x="27" y="50"/>
                  <a:pt x="28" y="50"/>
                </a:cubicBezTo>
                <a:cubicBezTo>
                  <a:pt x="29" y="49"/>
                  <a:pt x="30" y="50"/>
                  <a:pt x="31" y="51"/>
                </a:cubicBezTo>
                <a:cubicBezTo>
                  <a:pt x="30" y="51"/>
                  <a:pt x="29" y="50"/>
                  <a:pt x="28" y="50"/>
                </a:cubicBezTo>
                <a:cubicBezTo>
                  <a:pt x="27" y="50"/>
                  <a:pt x="27" y="51"/>
                  <a:pt x="26" y="52"/>
                </a:cubicBezTo>
                <a:cubicBezTo>
                  <a:pt x="27" y="52"/>
                  <a:pt x="28" y="53"/>
                  <a:pt x="29" y="53"/>
                </a:cubicBezTo>
                <a:cubicBezTo>
                  <a:pt x="27" y="56"/>
                  <a:pt x="26" y="55"/>
                  <a:pt x="29" y="57"/>
                </a:cubicBezTo>
                <a:cubicBezTo>
                  <a:pt x="29" y="58"/>
                  <a:pt x="30" y="59"/>
                  <a:pt x="30" y="59"/>
                </a:cubicBezTo>
                <a:cubicBezTo>
                  <a:pt x="30" y="60"/>
                  <a:pt x="30" y="60"/>
                  <a:pt x="30" y="60"/>
                </a:cubicBezTo>
                <a:cubicBezTo>
                  <a:pt x="32" y="61"/>
                  <a:pt x="36" y="62"/>
                  <a:pt x="38" y="62"/>
                </a:cubicBezTo>
                <a:cubicBezTo>
                  <a:pt x="36" y="64"/>
                  <a:pt x="37" y="65"/>
                  <a:pt x="37" y="67"/>
                </a:cubicBezTo>
                <a:cubicBezTo>
                  <a:pt x="38" y="68"/>
                  <a:pt x="37" y="68"/>
                  <a:pt x="37" y="69"/>
                </a:cubicBezTo>
                <a:cubicBezTo>
                  <a:pt x="37" y="69"/>
                  <a:pt x="37" y="69"/>
                  <a:pt x="36" y="69"/>
                </a:cubicBezTo>
                <a:cubicBezTo>
                  <a:pt x="36" y="70"/>
                  <a:pt x="37" y="71"/>
                  <a:pt x="38" y="72"/>
                </a:cubicBezTo>
                <a:cubicBezTo>
                  <a:pt x="38" y="72"/>
                  <a:pt x="38" y="72"/>
                  <a:pt x="37" y="73"/>
                </a:cubicBezTo>
                <a:cubicBezTo>
                  <a:pt x="37" y="74"/>
                  <a:pt x="37" y="76"/>
                  <a:pt x="37" y="78"/>
                </a:cubicBezTo>
                <a:cubicBezTo>
                  <a:pt x="37" y="79"/>
                  <a:pt x="37" y="81"/>
                  <a:pt x="38" y="82"/>
                </a:cubicBezTo>
                <a:cubicBezTo>
                  <a:pt x="38" y="82"/>
                  <a:pt x="38" y="83"/>
                  <a:pt x="38" y="83"/>
                </a:cubicBezTo>
                <a:cubicBezTo>
                  <a:pt x="38" y="84"/>
                  <a:pt x="37" y="85"/>
                  <a:pt x="36" y="86"/>
                </a:cubicBezTo>
                <a:cubicBezTo>
                  <a:pt x="36" y="87"/>
                  <a:pt x="36" y="88"/>
                  <a:pt x="35" y="89"/>
                </a:cubicBezTo>
                <a:cubicBezTo>
                  <a:pt x="35" y="92"/>
                  <a:pt x="35" y="96"/>
                  <a:pt x="32" y="98"/>
                </a:cubicBezTo>
                <a:cubicBezTo>
                  <a:pt x="32" y="98"/>
                  <a:pt x="32" y="99"/>
                  <a:pt x="32" y="99"/>
                </a:cubicBezTo>
                <a:cubicBezTo>
                  <a:pt x="32" y="99"/>
                  <a:pt x="32" y="99"/>
                  <a:pt x="32" y="99"/>
                </a:cubicBezTo>
                <a:cubicBezTo>
                  <a:pt x="34" y="99"/>
                  <a:pt x="35" y="100"/>
                  <a:pt x="36" y="101"/>
                </a:cubicBezTo>
                <a:cubicBezTo>
                  <a:pt x="36" y="102"/>
                  <a:pt x="36" y="102"/>
                  <a:pt x="36" y="103"/>
                </a:cubicBezTo>
                <a:cubicBezTo>
                  <a:pt x="36" y="103"/>
                  <a:pt x="36" y="103"/>
                  <a:pt x="36" y="103"/>
                </a:cubicBezTo>
                <a:cubicBezTo>
                  <a:pt x="37" y="103"/>
                  <a:pt x="37" y="103"/>
                  <a:pt x="37" y="103"/>
                </a:cubicBezTo>
                <a:cubicBezTo>
                  <a:pt x="37" y="103"/>
                  <a:pt x="38" y="103"/>
                  <a:pt x="38" y="103"/>
                </a:cubicBezTo>
                <a:cubicBezTo>
                  <a:pt x="39" y="103"/>
                  <a:pt x="39" y="103"/>
                  <a:pt x="39" y="103"/>
                </a:cubicBezTo>
                <a:cubicBezTo>
                  <a:pt x="39" y="103"/>
                  <a:pt x="40" y="103"/>
                  <a:pt x="41" y="104"/>
                </a:cubicBezTo>
                <a:cubicBezTo>
                  <a:pt x="41" y="104"/>
                  <a:pt x="42" y="104"/>
                  <a:pt x="42" y="104"/>
                </a:cubicBezTo>
                <a:cubicBezTo>
                  <a:pt x="42" y="104"/>
                  <a:pt x="42" y="104"/>
                  <a:pt x="42" y="104"/>
                </a:cubicBezTo>
                <a:cubicBezTo>
                  <a:pt x="43" y="104"/>
                  <a:pt x="43" y="105"/>
                  <a:pt x="43" y="105"/>
                </a:cubicBezTo>
                <a:cubicBezTo>
                  <a:pt x="44" y="105"/>
                  <a:pt x="44" y="105"/>
                  <a:pt x="44" y="105"/>
                </a:cubicBezTo>
                <a:cubicBezTo>
                  <a:pt x="44" y="105"/>
                  <a:pt x="44" y="105"/>
                  <a:pt x="44" y="105"/>
                </a:cubicBezTo>
                <a:cubicBezTo>
                  <a:pt x="45" y="105"/>
                  <a:pt x="45" y="105"/>
                  <a:pt x="46" y="105"/>
                </a:cubicBezTo>
                <a:cubicBezTo>
                  <a:pt x="46" y="105"/>
                  <a:pt x="46" y="105"/>
                  <a:pt x="46" y="105"/>
                </a:cubicBezTo>
                <a:cubicBezTo>
                  <a:pt x="46" y="105"/>
                  <a:pt x="47" y="105"/>
                  <a:pt x="47" y="105"/>
                </a:cubicBezTo>
                <a:cubicBezTo>
                  <a:pt x="47" y="105"/>
                  <a:pt x="47" y="106"/>
                  <a:pt x="48" y="106"/>
                </a:cubicBezTo>
                <a:cubicBezTo>
                  <a:pt x="48" y="106"/>
                  <a:pt x="48" y="106"/>
                  <a:pt x="49" y="107"/>
                </a:cubicBezTo>
                <a:cubicBezTo>
                  <a:pt x="49" y="107"/>
                  <a:pt x="49" y="107"/>
                  <a:pt x="49" y="107"/>
                </a:cubicBezTo>
                <a:cubicBezTo>
                  <a:pt x="51" y="107"/>
                  <a:pt x="51" y="107"/>
                  <a:pt x="51" y="107"/>
                </a:cubicBezTo>
                <a:cubicBezTo>
                  <a:pt x="52" y="107"/>
                  <a:pt x="53" y="107"/>
                  <a:pt x="54" y="107"/>
                </a:cubicBezTo>
                <a:cubicBezTo>
                  <a:pt x="54" y="106"/>
                  <a:pt x="55" y="105"/>
                  <a:pt x="55" y="105"/>
                </a:cubicBezTo>
                <a:cubicBezTo>
                  <a:pt x="55" y="105"/>
                  <a:pt x="56" y="104"/>
                  <a:pt x="57" y="105"/>
                </a:cubicBezTo>
                <a:cubicBezTo>
                  <a:pt x="57" y="105"/>
                  <a:pt x="58" y="105"/>
                  <a:pt x="59" y="106"/>
                </a:cubicBezTo>
                <a:cubicBezTo>
                  <a:pt x="60" y="106"/>
                  <a:pt x="60" y="106"/>
                  <a:pt x="60" y="106"/>
                </a:cubicBezTo>
                <a:cubicBezTo>
                  <a:pt x="60" y="106"/>
                  <a:pt x="61" y="106"/>
                  <a:pt x="61" y="106"/>
                </a:cubicBezTo>
                <a:cubicBezTo>
                  <a:pt x="63" y="107"/>
                  <a:pt x="65" y="108"/>
                  <a:pt x="67" y="108"/>
                </a:cubicBezTo>
                <a:cubicBezTo>
                  <a:pt x="69" y="108"/>
                  <a:pt x="69" y="108"/>
                  <a:pt x="69" y="108"/>
                </a:cubicBezTo>
                <a:cubicBezTo>
                  <a:pt x="68" y="110"/>
                  <a:pt x="68" y="110"/>
                  <a:pt x="68" y="110"/>
                </a:cubicBezTo>
                <a:cubicBezTo>
                  <a:pt x="68" y="110"/>
                  <a:pt x="69" y="110"/>
                  <a:pt x="69" y="110"/>
                </a:cubicBezTo>
                <a:cubicBezTo>
                  <a:pt x="69" y="110"/>
                  <a:pt x="69" y="110"/>
                  <a:pt x="69" y="110"/>
                </a:cubicBezTo>
                <a:cubicBezTo>
                  <a:pt x="69" y="110"/>
                  <a:pt x="69" y="110"/>
                  <a:pt x="69" y="110"/>
                </a:cubicBezTo>
                <a:cubicBezTo>
                  <a:pt x="70" y="110"/>
                  <a:pt x="72" y="111"/>
                  <a:pt x="74" y="111"/>
                </a:cubicBezTo>
                <a:cubicBezTo>
                  <a:pt x="74" y="111"/>
                  <a:pt x="75" y="111"/>
                  <a:pt x="76" y="111"/>
                </a:cubicBezTo>
                <a:cubicBezTo>
                  <a:pt x="76" y="111"/>
                  <a:pt x="76" y="111"/>
                  <a:pt x="76" y="111"/>
                </a:cubicBezTo>
                <a:cubicBezTo>
                  <a:pt x="76" y="111"/>
                  <a:pt x="76" y="111"/>
                  <a:pt x="77" y="111"/>
                </a:cubicBezTo>
                <a:cubicBezTo>
                  <a:pt x="81" y="110"/>
                  <a:pt x="81" y="110"/>
                  <a:pt x="81" y="110"/>
                </a:cubicBezTo>
                <a:cubicBezTo>
                  <a:pt x="81" y="109"/>
                  <a:pt x="80" y="108"/>
                  <a:pt x="80" y="106"/>
                </a:cubicBezTo>
                <a:cubicBezTo>
                  <a:pt x="80" y="106"/>
                  <a:pt x="79" y="106"/>
                  <a:pt x="80" y="106"/>
                </a:cubicBezTo>
                <a:cubicBezTo>
                  <a:pt x="80" y="105"/>
                  <a:pt x="80" y="104"/>
                  <a:pt x="81" y="103"/>
                </a:cubicBezTo>
                <a:cubicBezTo>
                  <a:pt x="83" y="100"/>
                  <a:pt x="86" y="100"/>
                  <a:pt x="88" y="98"/>
                </a:cubicBezTo>
                <a:cubicBezTo>
                  <a:pt x="90" y="98"/>
                  <a:pt x="90" y="97"/>
                  <a:pt x="91" y="98"/>
                </a:cubicBezTo>
                <a:cubicBezTo>
                  <a:pt x="93" y="98"/>
                  <a:pt x="94" y="98"/>
                  <a:pt x="96" y="98"/>
                </a:cubicBezTo>
                <a:cubicBezTo>
                  <a:pt x="96" y="98"/>
                  <a:pt x="97" y="98"/>
                  <a:pt x="97" y="98"/>
                </a:cubicBezTo>
                <a:cubicBezTo>
                  <a:pt x="97" y="98"/>
                  <a:pt x="97" y="99"/>
                  <a:pt x="97" y="99"/>
                </a:cubicBezTo>
                <a:cubicBezTo>
                  <a:pt x="98" y="99"/>
                  <a:pt x="99" y="99"/>
                  <a:pt x="100" y="99"/>
                </a:cubicBezTo>
                <a:cubicBezTo>
                  <a:pt x="99" y="100"/>
                  <a:pt x="103" y="99"/>
                  <a:pt x="103" y="100"/>
                </a:cubicBezTo>
                <a:cubicBezTo>
                  <a:pt x="104" y="100"/>
                  <a:pt x="103" y="101"/>
                  <a:pt x="104" y="101"/>
                </a:cubicBezTo>
                <a:cubicBezTo>
                  <a:pt x="104" y="101"/>
                  <a:pt x="105" y="102"/>
                  <a:pt x="106" y="102"/>
                </a:cubicBezTo>
                <a:cubicBezTo>
                  <a:pt x="107" y="102"/>
                  <a:pt x="107" y="102"/>
                  <a:pt x="108" y="102"/>
                </a:cubicBezTo>
                <a:cubicBezTo>
                  <a:pt x="108" y="103"/>
                  <a:pt x="108" y="103"/>
                  <a:pt x="108" y="103"/>
                </a:cubicBezTo>
                <a:cubicBezTo>
                  <a:pt x="109" y="103"/>
                  <a:pt x="109" y="103"/>
                  <a:pt x="110" y="103"/>
                </a:cubicBezTo>
                <a:cubicBezTo>
                  <a:pt x="111" y="103"/>
                  <a:pt x="112" y="103"/>
                  <a:pt x="111" y="103"/>
                </a:cubicBezTo>
                <a:cubicBezTo>
                  <a:pt x="114" y="104"/>
                  <a:pt x="117" y="100"/>
                  <a:pt x="119" y="98"/>
                </a:cubicBezTo>
                <a:cubicBezTo>
                  <a:pt x="120" y="98"/>
                  <a:pt x="120" y="97"/>
                  <a:pt x="122" y="97"/>
                </a:cubicBezTo>
                <a:cubicBezTo>
                  <a:pt x="122" y="97"/>
                  <a:pt x="123" y="96"/>
                  <a:pt x="124" y="95"/>
                </a:cubicBezTo>
                <a:cubicBezTo>
                  <a:pt x="124" y="95"/>
                  <a:pt x="125" y="95"/>
                  <a:pt x="125" y="95"/>
                </a:cubicBezTo>
                <a:lnTo>
                  <a:pt x="125" y="94"/>
                </a:lnTo>
                <a:close/>
              </a:path>
            </a:pathLst>
          </a:custGeom>
          <a:solidFill>
            <a:srgbClr val="C2C2C2"/>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27" name="Freeform 3084">
            <a:extLst>
              <a:ext uri="{FF2B5EF4-FFF2-40B4-BE49-F238E27FC236}">
                <a16:creationId xmlns:a16="http://schemas.microsoft.com/office/drawing/2014/main" id="{E6548119-F0C9-426F-B065-BEF943D8CACE}"/>
              </a:ext>
            </a:extLst>
          </p:cNvPr>
          <p:cNvSpPr>
            <a:spLocks/>
          </p:cNvSpPr>
          <p:nvPr/>
        </p:nvSpPr>
        <p:spPr bwMode="auto">
          <a:xfrm>
            <a:off x="3372206" y="2948328"/>
            <a:ext cx="43114" cy="33835"/>
          </a:xfrm>
          <a:custGeom>
            <a:avLst/>
            <a:gdLst>
              <a:gd name="T0" fmla="*/ 0 w 37"/>
              <a:gd name="T1" fmla="*/ 6 h 24"/>
              <a:gd name="T2" fmla="*/ 2 w 37"/>
              <a:gd name="T3" fmla="*/ 8 h 24"/>
              <a:gd name="T4" fmla="*/ 4 w 37"/>
              <a:gd name="T5" fmla="*/ 8 h 24"/>
              <a:gd name="T6" fmla="*/ 7 w 37"/>
              <a:gd name="T7" fmla="*/ 9 h 24"/>
              <a:gd name="T8" fmla="*/ 7 w 37"/>
              <a:gd name="T9" fmla="*/ 10 h 24"/>
              <a:gd name="T10" fmla="*/ 8 w 37"/>
              <a:gd name="T11" fmla="*/ 11 h 24"/>
              <a:gd name="T12" fmla="*/ 9 w 37"/>
              <a:gd name="T13" fmla="*/ 11 h 24"/>
              <a:gd name="T14" fmla="*/ 10 w 37"/>
              <a:gd name="T15" fmla="*/ 11 h 24"/>
              <a:gd name="T16" fmla="*/ 12 w 37"/>
              <a:gd name="T17" fmla="*/ 13 h 24"/>
              <a:gd name="T18" fmla="*/ 17 w 37"/>
              <a:gd name="T19" fmla="*/ 15 h 24"/>
              <a:gd name="T20" fmla="*/ 17 w 37"/>
              <a:gd name="T21" fmla="*/ 17 h 24"/>
              <a:gd name="T22" fmla="*/ 17 w 37"/>
              <a:gd name="T23" fmla="*/ 19 h 24"/>
              <a:gd name="T24" fmla="*/ 20 w 37"/>
              <a:gd name="T25" fmla="*/ 17 h 24"/>
              <a:gd name="T26" fmla="*/ 21 w 37"/>
              <a:gd name="T27" fmla="*/ 16 h 24"/>
              <a:gd name="T28" fmla="*/ 23 w 37"/>
              <a:gd name="T29" fmla="*/ 17 h 24"/>
              <a:gd name="T30" fmla="*/ 24 w 37"/>
              <a:gd name="T31" fmla="*/ 21 h 24"/>
              <a:gd name="T32" fmla="*/ 25 w 37"/>
              <a:gd name="T33" fmla="*/ 21 h 24"/>
              <a:gd name="T34" fmla="*/ 30 w 37"/>
              <a:gd name="T35" fmla="*/ 24 h 24"/>
              <a:gd name="T36" fmla="*/ 32 w 37"/>
              <a:gd name="T37" fmla="*/ 24 h 24"/>
              <a:gd name="T38" fmla="*/ 32 w 37"/>
              <a:gd name="T39" fmla="*/ 24 h 24"/>
              <a:gd name="T40" fmla="*/ 31 w 37"/>
              <a:gd name="T41" fmla="*/ 20 h 24"/>
              <a:gd name="T42" fmla="*/ 32 w 37"/>
              <a:gd name="T43" fmla="*/ 17 h 24"/>
              <a:gd name="T44" fmla="*/ 32 w 37"/>
              <a:gd name="T45" fmla="*/ 15 h 24"/>
              <a:gd name="T46" fmla="*/ 34 w 37"/>
              <a:gd name="T47" fmla="*/ 15 h 24"/>
              <a:gd name="T48" fmla="*/ 35 w 37"/>
              <a:gd name="T49" fmla="*/ 16 h 24"/>
              <a:gd name="T50" fmla="*/ 36 w 37"/>
              <a:gd name="T51" fmla="*/ 16 h 24"/>
              <a:gd name="T52" fmla="*/ 36 w 37"/>
              <a:gd name="T53" fmla="*/ 15 h 24"/>
              <a:gd name="T54" fmla="*/ 37 w 37"/>
              <a:gd name="T55" fmla="*/ 15 h 24"/>
              <a:gd name="T56" fmla="*/ 35 w 37"/>
              <a:gd name="T57" fmla="*/ 11 h 24"/>
              <a:gd name="T58" fmla="*/ 34 w 37"/>
              <a:gd name="T59" fmla="*/ 11 h 24"/>
              <a:gd name="T60" fmla="*/ 34 w 37"/>
              <a:gd name="T61" fmla="*/ 11 h 24"/>
              <a:gd name="T62" fmla="*/ 33 w 37"/>
              <a:gd name="T63" fmla="*/ 10 h 24"/>
              <a:gd name="T64" fmla="*/ 31 w 37"/>
              <a:gd name="T65" fmla="*/ 10 h 24"/>
              <a:gd name="T66" fmla="*/ 30 w 37"/>
              <a:gd name="T67" fmla="*/ 9 h 24"/>
              <a:gd name="T68" fmla="*/ 31 w 37"/>
              <a:gd name="T69" fmla="*/ 5 h 24"/>
              <a:gd name="T70" fmla="*/ 30 w 37"/>
              <a:gd name="T71" fmla="*/ 4 h 24"/>
              <a:gd name="T72" fmla="*/ 29 w 37"/>
              <a:gd name="T73" fmla="*/ 3 h 24"/>
              <a:gd name="T74" fmla="*/ 27 w 37"/>
              <a:gd name="T75" fmla="*/ 4 h 24"/>
              <a:gd name="T76" fmla="*/ 24 w 37"/>
              <a:gd name="T77" fmla="*/ 2 h 24"/>
              <a:gd name="T78" fmla="*/ 22 w 37"/>
              <a:gd name="T79" fmla="*/ 1 h 24"/>
              <a:gd name="T80" fmla="*/ 22 w 37"/>
              <a:gd name="T81" fmla="*/ 1 h 24"/>
              <a:gd name="T82" fmla="*/ 19 w 37"/>
              <a:gd name="T83" fmla="*/ 1 h 24"/>
              <a:gd name="T84" fmla="*/ 19 w 37"/>
              <a:gd name="T85" fmla="*/ 1 h 24"/>
              <a:gd name="T86" fmla="*/ 17 w 37"/>
              <a:gd name="T87" fmla="*/ 2 h 24"/>
              <a:gd name="T88" fmla="*/ 17 w 37"/>
              <a:gd name="T89" fmla="*/ 2 h 24"/>
              <a:gd name="T90" fmla="*/ 16 w 37"/>
              <a:gd name="T91" fmla="*/ 2 h 24"/>
              <a:gd name="T92" fmla="*/ 16 w 37"/>
              <a:gd name="T93" fmla="*/ 2 h 24"/>
              <a:gd name="T94" fmla="*/ 16 w 37"/>
              <a:gd name="T95" fmla="*/ 1 h 24"/>
              <a:gd name="T96" fmla="*/ 7 w 37"/>
              <a:gd name="T97" fmla="*/ 1 h 24"/>
              <a:gd name="T98" fmla="*/ 0 w 37"/>
              <a:gd name="T99"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 h="24">
                <a:moveTo>
                  <a:pt x="0" y="5"/>
                </a:moveTo>
                <a:cubicBezTo>
                  <a:pt x="0" y="5"/>
                  <a:pt x="0" y="6"/>
                  <a:pt x="0" y="6"/>
                </a:cubicBezTo>
                <a:cubicBezTo>
                  <a:pt x="1" y="6"/>
                  <a:pt x="1" y="7"/>
                  <a:pt x="2" y="7"/>
                </a:cubicBezTo>
                <a:cubicBezTo>
                  <a:pt x="2" y="7"/>
                  <a:pt x="2" y="7"/>
                  <a:pt x="2" y="8"/>
                </a:cubicBezTo>
                <a:cubicBezTo>
                  <a:pt x="2" y="8"/>
                  <a:pt x="2" y="8"/>
                  <a:pt x="2" y="8"/>
                </a:cubicBezTo>
                <a:cubicBezTo>
                  <a:pt x="3" y="8"/>
                  <a:pt x="3" y="8"/>
                  <a:pt x="4" y="8"/>
                </a:cubicBezTo>
                <a:cubicBezTo>
                  <a:pt x="4" y="8"/>
                  <a:pt x="4" y="8"/>
                  <a:pt x="4" y="8"/>
                </a:cubicBezTo>
                <a:cubicBezTo>
                  <a:pt x="5" y="7"/>
                  <a:pt x="6" y="8"/>
                  <a:pt x="7" y="9"/>
                </a:cubicBezTo>
                <a:cubicBezTo>
                  <a:pt x="7" y="9"/>
                  <a:pt x="7" y="9"/>
                  <a:pt x="7" y="10"/>
                </a:cubicBezTo>
                <a:cubicBezTo>
                  <a:pt x="7" y="10"/>
                  <a:pt x="7" y="10"/>
                  <a:pt x="7" y="10"/>
                </a:cubicBezTo>
                <a:cubicBezTo>
                  <a:pt x="8" y="11"/>
                  <a:pt x="8" y="11"/>
                  <a:pt x="8" y="11"/>
                </a:cubicBezTo>
                <a:cubicBezTo>
                  <a:pt x="8" y="11"/>
                  <a:pt x="8" y="11"/>
                  <a:pt x="8" y="11"/>
                </a:cubicBezTo>
                <a:cubicBezTo>
                  <a:pt x="8" y="11"/>
                  <a:pt x="8" y="11"/>
                  <a:pt x="8" y="11"/>
                </a:cubicBezTo>
                <a:cubicBezTo>
                  <a:pt x="9" y="11"/>
                  <a:pt x="9" y="11"/>
                  <a:pt x="9" y="11"/>
                </a:cubicBezTo>
                <a:cubicBezTo>
                  <a:pt x="9" y="11"/>
                  <a:pt x="9" y="11"/>
                  <a:pt x="9" y="11"/>
                </a:cubicBezTo>
                <a:cubicBezTo>
                  <a:pt x="10" y="11"/>
                  <a:pt x="10" y="11"/>
                  <a:pt x="10" y="11"/>
                </a:cubicBezTo>
                <a:cubicBezTo>
                  <a:pt x="11" y="12"/>
                  <a:pt x="11" y="13"/>
                  <a:pt x="12" y="13"/>
                </a:cubicBezTo>
                <a:cubicBezTo>
                  <a:pt x="12" y="13"/>
                  <a:pt x="12" y="13"/>
                  <a:pt x="12" y="13"/>
                </a:cubicBezTo>
                <a:cubicBezTo>
                  <a:pt x="12" y="13"/>
                  <a:pt x="13" y="13"/>
                  <a:pt x="13" y="13"/>
                </a:cubicBezTo>
                <a:cubicBezTo>
                  <a:pt x="14" y="13"/>
                  <a:pt x="16" y="14"/>
                  <a:pt x="17" y="15"/>
                </a:cubicBezTo>
                <a:cubicBezTo>
                  <a:pt x="18" y="16"/>
                  <a:pt x="18" y="16"/>
                  <a:pt x="18" y="16"/>
                </a:cubicBezTo>
                <a:cubicBezTo>
                  <a:pt x="17" y="17"/>
                  <a:pt x="17" y="17"/>
                  <a:pt x="17" y="17"/>
                </a:cubicBezTo>
                <a:cubicBezTo>
                  <a:pt x="17" y="17"/>
                  <a:pt x="17" y="18"/>
                  <a:pt x="17" y="18"/>
                </a:cubicBezTo>
                <a:cubicBezTo>
                  <a:pt x="17" y="19"/>
                  <a:pt x="17" y="19"/>
                  <a:pt x="17" y="19"/>
                </a:cubicBezTo>
                <a:cubicBezTo>
                  <a:pt x="17" y="19"/>
                  <a:pt x="17" y="19"/>
                  <a:pt x="17" y="19"/>
                </a:cubicBezTo>
                <a:cubicBezTo>
                  <a:pt x="18" y="19"/>
                  <a:pt x="19" y="18"/>
                  <a:pt x="20" y="17"/>
                </a:cubicBezTo>
                <a:cubicBezTo>
                  <a:pt x="20" y="17"/>
                  <a:pt x="20" y="17"/>
                  <a:pt x="20" y="17"/>
                </a:cubicBezTo>
                <a:cubicBezTo>
                  <a:pt x="21" y="17"/>
                  <a:pt x="21" y="16"/>
                  <a:pt x="21" y="16"/>
                </a:cubicBezTo>
                <a:cubicBezTo>
                  <a:pt x="23" y="15"/>
                  <a:pt x="23" y="15"/>
                  <a:pt x="23" y="15"/>
                </a:cubicBezTo>
                <a:cubicBezTo>
                  <a:pt x="23" y="17"/>
                  <a:pt x="23" y="17"/>
                  <a:pt x="23" y="17"/>
                </a:cubicBezTo>
                <a:cubicBezTo>
                  <a:pt x="23" y="17"/>
                  <a:pt x="23" y="17"/>
                  <a:pt x="23" y="18"/>
                </a:cubicBezTo>
                <a:cubicBezTo>
                  <a:pt x="23" y="19"/>
                  <a:pt x="23" y="20"/>
                  <a:pt x="24" y="21"/>
                </a:cubicBezTo>
                <a:cubicBezTo>
                  <a:pt x="24" y="21"/>
                  <a:pt x="24" y="21"/>
                  <a:pt x="25" y="21"/>
                </a:cubicBezTo>
                <a:cubicBezTo>
                  <a:pt x="25" y="21"/>
                  <a:pt x="25" y="21"/>
                  <a:pt x="25" y="21"/>
                </a:cubicBezTo>
                <a:cubicBezTo>
                  <a:pt x="26" y="22"/>
                  <a:pt x="28" y="23"/>
                  <a:pt x="29" y="23"/>
                </a:cubicBezTo>
                <a:cubicBezTo>
                  <a:pt x="29" y="24"/>
                  <a:pt x="29" y="24"/>
                  <a:pt x="30" y="24"/>
                </a:cubicBezTo>
                <a:cubicBezTo>
                  <a:pt x="30" y="24"/>
                  <a:pt x="30" y="24"/>
                  <a:pt x="30" y="24"/>
                </a:cubicBezTo>
                <a:cubicBezTo>
                  <a:pt x="30" y="24"/>
                  <a:pt x="31" y="24"/>
                  <a:pt x="32" y="24"/>
                </a:cubicBezTo>
                <a:cubicBezTo>
                  <a:pt x="32" y="24"/>
                  <a:pt x="32" y="24"/>
                  <a:pt x="32" y="24"/>
                </a:cubicBezTo>
                <a:cubicBezTo>
                  <a:pt x="32" y="24"/>
                  <a:pt x="32" y="24"/>
                  <a:pt x="32" y="24"/>
                </a:cubicBezTo>
                <a:cubicBezTo>
                  <a:pt x="32" y="24"/>
                  <a:pt x="31" y="23"/>
                  <a:pt x="31" y="23"/>
                </a:cubicBezTo>
                <a:cubicBezTo>
                  <a:pt x="31" y="22"/>
                  <a:pt x="30" y="21"/>
                  <a:pt x="31" y="20"/>
                </a:cubicBezTo>
                <a:cubicBezTo>
                  <a:pt x="31" y="20"/>
                  <a:pt x="31" y="19"/>
                  <a:pt x="32" y="18"/>
                </a:cubicBezTo>
                <a:cubicBezTo>
                  <a:pt x="32" y="18"/>
                  <a:pt x="32" y="18"/>
                  <a:pt x="32" y="17"/>
                </a:cubicBezTo>
                <a:cubicBezTo>
                  <a:pt x="32" y="17"/>
                  <a:pt x="33" y="17"/>
                  <a:pt x="33" y="16"/>
                </a:cubicBezTo>
                <a:cubicBezTo>
                  <a:pt x="32" y="15"/>
                  <a:pt x="32" y="15"/>
                  <a:pt x="32" y="15"/>
                </a:cubicBezTo>
                <a:cubicBezTo>
                  <a:pt x="34" y="16"/>
                  <a:pt x="34" y="16"/>
                  <a:pt x="34" y="16"/>
                </a:cubicBezTo>
                <a:cubicBezTo>
                  <a:pt x="34" y="15"/>
                  <a:pt x="34" y="15"/>
                  <a:pt x="34" y="15"/>
                </a:cubicBezTo>
                <a:cubicBezTo>
                  <a:pt x="35" y="16"/>
                  <a:pt x="35" y="16"/>
                  <a:pt x="35" y="16"/>
                </a:cubicBezTo>
                <a:cubicBezTo>
                  <a:pt x="35" y="16"/>
                  <a:pt x="35" y="16"/>
                  <a:pt x="35" y="16"/>
                </a:cubicBezTo>
                <a:cubicBezTo>
                  <a:pt x="35" y="16"/>
                  <a:pt x="35" y="16"/>
                  <a:pt x="35" y="16"/>
                </a:cubicBezTo>
                <a:cubicBezTo>
                  <a:pt x="36" y="16"/>
                  <a:pt x="36" y="16"/>
                  <a:pt x="36" y="16"/>
                </a:cubicBezTo>
                <a:cubicBezTo>
                  <a:pt x="36" y="16"/>
                  <a:pt x="36" y="16"/>
                  <a:pt x="36" y="16"/>
                </a:cubicBezTo>
                <a:cubicBezTo>
                  <a:pt x="36" y="15"/>
                  <a:pt x="36" y="15"/>
                  <a:pt x="36" y="15"/>
                </a:cubicBezTo>
                <a:cubicBezTo>
                  <a:pt x="36" y="15"/>
                  <a:pt x="36" y="15"/>
                  <a:pt x="37" y="15"/>
                </a:cubicBezTo>
                <a:cubicBezTo>
                  <a:pt x="37" y="15"/>
                  <a:pt x="37" y="15"/>
                  <a:pt x="37" y="15"/>
                </a:cubicBezTo>
                <a:cubicBezTo>
                  <a:pt x="37" y="15"/>
                  <a:pt x="37" y="15"/>
                  <a:pt x="37" y="15"/>
                </a:cubicBezTo>
                <a:cubicBezTo>
                  <a:pt x="36" y="13"/>
                  <a:pt x="35" y="13"/>
                  <a:pt x="35" y="11"/>
                </a:cubicBezTo>
                <a:cubicBezTo>
                  <a:pt x="35" y="11"/>
                  <a:pt x="34" y="11"/>
                  <a:pt x="34" y="11"/>
                </a:cubicBezTo>
                <a:cubicBezTo>
                  <a:pt x="34" y="11"/>
                  <a:pt x="34" y="11"/>
                  <a:pt x="34" y="11"/>
                </a:cubicBezTo>
                <a:cubicBezTo>
                  <a:pt x="34" y="11"/>
                  <a:pt x="34" y="11"/>
                  <a:pt x="34" y="11"/>
                </a:cubicBezTo>
                <a:cubicBezTo>
                  <a:pt x="34" y="11"/>
                  <a:pt x="34" y="11"/>
                  <a:pt x="34" y="11"/>
                </a:cubicBezTo>
                <a:cubicBezTo>
                  <a:pt x="34" y="11"/>
                  <a:pt x="34" y="11"/>
                  <a:pt x="34" y="11"/>
                </a:cubicBezTo>
                <a:cubicBezTo>
                  <a:pt x="34" y="11"/>
                  <a:pt x="33" y="10"/>
                  <a:pt x="33" y="10"/>
                </a:cubicBezTo>
                <a:cubicBezTo>
                  <a:pt x="33" y="10"/>
                  <a:pt x="33" y="10"/>
                  <a:pt x="33" y="10"/>
                </a:cubicBezTo>
                <a:cubicBezTo>
                  <a:pt x="32" y="10"/>
                  <a:pt x="32" y="10"/>
                  <a:pt x="31" y="10"/>
                </a:cubicBezTo>
                <a:cubicBezTo>
                  <a:pt x="30" y="11"/>
                  <a:pt x="30" y="11"/>
                  <a:pt x="30" y="11"/>
                </a:cubicBezTo>
                <a:cubicBezTo>
                  <a:pt x="30" y="9"/>
                  <a:pt x="30" y="9"/>
                  <a:pt x="30" y="9"/>
                </a:cubicBezTo>
                <a:cubicBezTo>
                  <a:pt x="30" y="8"/>
                  <a:pt x="30" y="6"/>
                  <a:pt x="31" y="5"/>
                </a:cubicBezTo>
                <a:cubicBezTo>
                  <a:pt x="31" y="5"/>
                  <a:pt x="31" y="5"/>
                  <a:pt x="31" y="5"/>
                </a:cubicBezTo>
                <a:cubicBezTo>
                  <a:pt x="31" y="5"/>
                  <a:pt x="31" y="5"/>
                  <a:pt x="31" y="5"/>
                </a:cubicBezTo>
                <a:cubicBezTo>
                  <a:pt x="30" y="4"/>
                  <a:pt x="30" y="4"/>
                  <a:pt x="30" y="4"/>
                </a:cubicBezTo>
                <a:cubicBezTo>
                  <a:pt x="30" y="4"/>
                  <a:pt x="29" y="4"/>
                  <a:pt x="29" y="3"/>
                </a:cubicBezTo>
                <a:cubicBezTo>
                  <a:pt x="29" y="3"/>
                  <a:pt x="29" y="3"/>
                  <a:pt x="29" y="3"/>
                </a:cubicBezTo>
                <a:cubicBezTo>
                  <a:pt x="28" y="4"/>
                  <a:pt x="28" y="4"/>
                  <a:pt x="27" y="4"/>
                </a:cubicBezTo>
                <a:cubicBezTo>
                  <a:pt x="27" y="4"/>
                  <a:pt x="27" y="3"/>
                  <a:pt x="27" y="4"/>
                </a:cubicBezTo>
                <a:cubicBezTo>
                  <a:pt x="27" y="4"/>
                  <a:pt x="26" y="4"/>
                  <a:pt x="25" y="3"/>
                </a:cubicBezTo>
                <a:cubicBezTo>
                  <a:pt x="25" y="3"/>
                  <a:pt x="24" y="2"/>
                  <a:pt x="24" y="2"/>
                </a:cubicBezTo>
                <a:cubicBezTo>
                  <a:pt x="24" y="1"/>
                  <a:pt x="24" y="1"/>
                  <a:pt x="24" y="1"/>
                </a:cubicBezTo>
                <a:cubicBezTo>
                  <a:pt x="23" y="1"/>
                  <a:pt x="23" y="1"/>
                  <a:pt x="22" y="1"/>
                </a:cubicBezTo>
                <a:cubicBezTo>
                  <a:pt x="22" y="1"/>
                  <a:pt x="22" y="1"/>
                  <a:pt x="22" y="0"/>
                </a:cubicBezTo>
                <a:cubicBezTo>
                  <a:pt x="22" y="1"/>
                  <a:pt x="22" y="1"/>
                  <a:pt x="22" y="1"/>
                </a:cubicBezTo>
                <a:cubicBezTo>
                  <a:pt x="21" y="2"/>
                  <a:pt x="20" y="1"/>
                  <a:pt x="20" y="1"/>
                </a:cubicBezTo>
                <a:cubicBezTo>
                  <a:pt x="19" y="1"/>
                  <a:pt x="19" y="1"/>
                  <a:pt x="19" y="1"/>
                </a:cubicBezTo>
                <a:cubicBezTo>
                  <a:pt x="19" y="1"/>
                  <a:pt x="19" y="1"/>
                  <a:pt x="19" y="1"/>
                </a:cubicBezTo>
                <a:cubicBezTo>
                  <a:pt x="19" y="1"/>
                  <a:pt x="19" y="1"/>
                  <a:pt x="19" y="1"/>
                </a:cubicBezTo>
                <a:cubicBezTo>
                  <a:pt x="19" y="1"/>
                  <a:pt x="18" y="2"/>
                  <a:pt x="17" y="2"/>
                </a:cubicBezTo>
                <a:cubicBezTo>
                  <a:pt x="17" y="2"/>
                  <a:pt x="17" y="2"/>
                  <a:pt x="17" y="2"/>
                </a:cubicBezTo>
                <a:cubicBezTo>
                  <a:pt x="17" y="2"/>
                  <a:pt x="17" y="2"/>
                  <a:pt x="17" y="2"/>
                </a:cubicBezTo>
                <a:cubicBezTo>
                  <a:pt x="17" y="2"/>
                  <a:pt x="17" y="2"/>
                  <a:pt x="17" y="2"/>
                </a:cubicBezTo>
                <a:cubicBezTo>
                  <a:pt x="17" y="2"/>
                  <a:pt x="17" y="2"/>
                  <a:pt x="16" y="2"/>
                </a:cubicBezTo>
                <a:cubicBezTo>
                  <a:pt x="16" y="2"/>
                  <a:pt x="16" y="2"/>
                  <a:pt x="16" y="2"/>
                </a:cubicBezTo>
                <a:cubicBezTo>
                  <a:pt x="16" y="2"/>
                  <a:pt x="16" y="2"/>
                  <a:pt x="16" y="2"/>
                </a:cubicBezTo>
                <a:cubicBezTo>
                  <a:pt x="16" y="2"/>
                  <a:pt x="16" y="2"/>
                  <a:pt x="16" y="2"/>
                </a:cubicBezTo>
                <a:cubicBezTo>
                  <a:pt x="16" y="1"/>
                  <a:pt x="16" y="1"/>
                  <a:pt x="16" y="1"/>
                </a:cubicBezTo>
                <a:cubicBezTo>
                  <a:pt x="16" y="1"/>
                  <a:pt x="16" y="1"/>
                  <a:pt x="16" y="1"/>
                </a:cubicBezTo>
                <a:cubicBezTo>
                  <a:pt x="13" y="1"/>
                  <a:pt x="10" y="1"/>
                  <a:pt x="7" y="1"/>
                </a:cubicBezTo>
                <a:cubicBezTo>
                  <a:pt x="7" y="1"/>
                  <a:pt x="7" y="1"/>
                  <a:pt x="7" y="1"/>
                </a:cubicBezTo>
                <a:cubicBezTo>
                  <a:pt x="7" y="1"/>
                  <a:pt x="7" y="1"/>
                  <a:pt x="7" y="1"/>
                </a:cubicBezTo>
                <a:cubicBezTo>
                  <a:pt x="5" y="2"/>
                  <a:pt x="2" y="3"/>
                  <a:pt x="0" y="4"/>
                </a:cubicBezTo>
                <a:lnTo>
                  <a:pt x="0" y="5"/>
                </a:lnTo>
                <a:close/>
              </a:path>
            </a:pathLst>
          </a:custGeom>
          <a:solidFill>
            <a:srgbClr val="00A5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28" name="Freeform 3085">
            <a:extLst>
              <a:ext uri="{FF2B5EF4-FFF2-40B4-BE49-F238E27FC236}">
                <a16:creationId xmlns:a16="http://schemas.microsoft.com/office/drawing/2014/main" id="{E5D5A6FA-24D6-4824-950A-AF9598B64F2D}"/>
              </a:ext>
            </a:extLst>
          </p:cNvPr>
          <p:cNvSpPr>
            <a:spLocks/>
          </p:cNvSpPr>
          <p:nvPr/>
        </p:nvSpPr>
        <p:spPr bwMode="auto">
          <a:xfrm>
            <a:off x="3414328" y="3020153"/>
            <a:ext cx="50547" cy="27899"/>
          </a:xfrm>
          <a:custGeom>
            <a:avLst/>
            <a:gdLst>
              <a:gd name="T0" fmla="*/ 43 w 43"/>
              <a:gd name="T1" fmla="*/ 10 h 20"/>
              <a:gd name="T2" fmla="*/ 40 w 43"/>
              <a:gd name="T3" fmla="*/ 11 h 20"/>
              <a:gd name="T4" fmla="*/ 35 w 43"/>
              <a:gd name="T5" fmla="*/ 8 h 20"/>
              <a:gd name="T6" fmla="*/ 35 w 43"/>
              <a:gd name="T7" fmla="*/ 8 h 20"/>
              <a:gd name="T8" fmla="*/ 34 w 43"/>
              <a:gd name="T9" fmla="*/ 6 h 20"/>
              <a:gd name="T10" fmla="*/ 34 w 43"/>
              <a:gd name="T11" fmla="*/ 6 h 20"/>
              <a:gd name="T12" fmla="*/ 34 w 43"/>
              <a:gd name="T13" fmla="*/ 2 h 20"/>
              <a:gd name="T14" fmla="*/ 34 w 43"/>
              <a:gd name="T15" fmla="*/ 2 h 20"/>
              <a:gd name="T16" fmla="*/ 30 w 43"/>
              <a:gd name="T17" fmla="*/ 0 h 20"/>
              <a:gd name="T18" fmla="*/ 29 w 43"/>
              <a:gd name="T19" fmla="*/ 0 h 20"/>
              <a:gd name="T20" fmla="*/ 26 w 43"/>
              <a:gd name="T21" fmla="*/ 1 h 20"/>
              <a:gd name="T22" fmla="*/ 24 w 43"/>
              <a:gd name="T23" fmla="*/ 1 h 20"/>
              <a:gd name="T24" fmla="*/ 23 w 43"/>
              <a:gd name="T25" fmla="*/ 1 h 20"/>
              <a:gd name="T26" fmla="*/ 21 w 43"/>
              <a:gd name="T27" fmla="*/ 1 h 20"/>
              <a:gd name="T28" fmla="*/ 20 w 43"/>
              <a:gd name="T29" fmla="*/ 1 h 20"/>
              <a:gd name="T30" fmla="*/ 19 w 43"/>
              <a:gd name="T31" fmla="*/ 2 h 20"/>
              <a:gd name="T32" fmla="*/ 17 w 43"/>
              <a:gd name="T33" fmla="*/ 1 h 20"/>
              <a:gd name="T34" fmla="*/ 17 w 43"/>
              <a:gd name="T35" fmla="*/ 1 h 20"/>
              <a:gd name="T36" fmla="*/ 15 w 43"/>
              <a:gd name="T37" fmla="*/ 2 h 20"/>
              <a:gd name="T38" fmla="*/ 13 w 43"/>
              <a:gd name="T39" fmla="*/ 3 h 20"/>
              <a:gd name="T40" fmla="*/ 9 w 43"/>
              <a:gd name="T41" fmla="*/ 5 h 20"/>
              <a:gd name="T42" fmla="*/ 6 w 43"/>
              <a:gd name="T43" fmla="*/ 8 h 20"/>
              <a:gd name="T44" fmla="*/ 4 w 43"/>
              <a:gd name="T45" fmla="*/ 9 h 20"/>
              <a:gd name="T46" fmla="*/ 3 w 43"/>
              <a:gd name="T47" fmla="*/ 11 h 20"/>
              <a:gd name="T48" fmla="*/ 0 w 43"/>
              <a:gd name="T49" fmla="*/ 15 h 20"/>
              <a:gd name="T50" fmla="*/ 5 w 43"/>
              <a:gd name="T51" fmla="*/ 13 h 20"/>
              <a:gd name="T52" fmla="*/ 8 w 43"/>
              <a:gd name="T53" fmla="*/ 17 h 20"/>
              <a:gd name="T54" fmla="*/ 8 w 43"/>
              <a:gd name="T55" fmla="*/ 18 h 20"/>
              <a:gd name="T56" fmla="*/ 9 w 43"/>
              <a:gd name="T57" fmla="*/ 19 h 20"/>
              <a:gd name="T58" fmla="*/ 9 w 43"/>
              <a:gd name="T59" fmla="*/ 20 h 20"/>
              <a:gd name="T60" fmla="*/ 13 w 43"/>
              <a:gd name="T61" fmla="*/ 20 h 20"/>
              <a:gd name="T62" fmla="*/ 16 w 43"/>
              <a:gd name="T63" fmla="*/ 20 h 20"/>
              <a:gd name="T64" fmla="*/ 17 w 43"/>
              <a:gd name="T65" fmla="*/ 20 h 20"/>
              <a:gd name="T66" fmla="*/ 18 w 43"/>
              <a:gd name="T67" fmla="*/ 18 h 20"/>
              <a:gd name="T68" fmla="*/ 24 w 43"/>
              <a:gd name="T69" fmla="*/ 13 h 20"/>
              <a:gd name="T70" fmla="*/ 24 w 43"/>
              <a:gd name="T71" fmla="*/ 16 h 20"/>
              <a:gd name="T72" fmla="*/ 26 w 43"/>
              <a:gd name="T73" fmla="*/ 17 h 20"/>
              <a:gd name="T74" fmla="*/ 27 w 43"/>
              <a:gd name="T75" fmla="*/ 18 h 20"/>
              <a:gd name="T76" fmla="*/ 29 w 43"/>
              <a:gd name="T77" fmla="*/ 18 h 20"/>
              <a:gd name="T78" fmla="*/ 30 w 43"/>
              <a:gd name="T79" fmla="*/ 15 h 20"/>
              <a:gd name="T80" fmla="*/ 31 w 43"/>
              <a:gd name="T81" fmla="*/ 14 h 20"/>
              <a:gd name="T82" fmla="*/ 33 w 43"/>
              <a:gd name="T83" fmla="*/ 13 h 20"/>
              <a:gd name="T84" fmla="*/ 39 w 43"/>
              <a:gd name="T85" fmla="*/ 16 h 20"/>
              <a:gd name="T86" fmla="*/ 38 w 43"/>
              <a:gd name="T87" fmla="*/ 15 h 20"/>
              <a:gd name="T88" fmla="*/ 38 w 43"/>
              <a:gd name="T89" fmla="*/ 13 h 20"/>
              <a:gd name="T90" fmla="*/ 39 w 43"/>
              <a:gd name="T91" fmla="*/ 1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 h="20">
                <a:moveTo>
                  <a:pt x="43" y="12"/>
                </a:moveTo>
                <a:cubicBezTo>
                  <a:pt x="43" y="11"/>
                  <a:pt x="43" y="10"/>
                  <a:pt x="43" y="10"/>
                </a:cubicBezTo>
                <a:cubicBezTo>
                  <a:pt x="43" y="9"/>
                  <a:pt x="43" y="9"/>
                  <a:pt x="43" y="9"/>
                </a:cubicBezTo>
                <a:cubicBezTo>
                  <a:pt x="42" y="10"/>
                  <a:pt x="41" y="11"/>
                  <a:pt x="40" y="11"/>
                </a:cubicBezTo>
                <a:cubicBezTo>
                  <a:pt x="40" y="11"/>
                  <a:pt x="40" y="11"/>
                  <a:pt x="39" y="10"/>
                </a:cubicBezTo>
                <a:cubicBezTo>
                  <a:pt x="35" y="8"/>
                  <a:pt x="35" y="8"/>
                  <a:pt x="35" y="8"/>
                </a:cubicBezTo>
                <a:cubicBezTo>
                  <a:pt x="35" y="8"/>
                  <a:pt x="35" y="8"/>
                  <a:pt x="35" y="8"/>
                </a:cubicBezTo>
                <a:cubicBezTo>
                  <a:pt x="35" y="8"/>
                  <a:pt x="35" y="8"/>
                  <a:pt x="35" y="8"/>
                </a:cubicBezTo>
                <a:cubicBezTo>
                  <a:pt x="34" y="8"/>
                  <a:pt x="34" y="7"/>
                  <a:pt x="34" y="6"/>
                </a:cubicBezTo>
                <a:cubicBezTo>
                  <a:pt x="34" y="6"/>
                  <a:pt x="34" y="6"/>
                  <a:pt x="34" y="6"/>
                </a:cubicBezTo>
                <a:cubicBezTo>
                  <a:pt x="34" y="6"/>
                  <a:pt x="34" y="6"/>
                  <a:pt x="34" y="6"/>
                </a:cubicBezTo>
                <a:cubicBezTo>
                  <a:pt x="34" y="6"/>
                  <a:pt x="34" y="6"/>
                  <a:pt x="34" y="6"/>
                </a:cubicBezTo>
                <a:cubicBezTo>
                  <a:pt x="34" y="6"/>
                  <a:pt x="34" y="5"/>
                  <a:pt x="34" y="5"/>
                </a:cubicBezTo>
                <a:cubicBezTo>
                  <a:pt x="33" y="4"/>
                  <a:pt x="33" y="3"/>
                  <a:pt x="34" y="2"/>
                </a:cubicBezTo>
                <a:cubicBezTo>
                  <a:pt x="34" y="2"/>
                  <a:pt x="34" y="2"/>
                  <a:pt x="34" y="2"/>
                </a:cubicBezTo>
                <a:cubicBezTo>
                  <a:pt x="34" y="2"/>
                  <a:pt x="34" y="2"/>
                  <a:pt x="34" y="2"/>
                </a:cubicBezTo>
                <a:cubicBezTo>
                  <a:pt x="34" y="1"/>
                  <a:pt x="34" y="1"/>
                  <a:pt x="34" y="1"/>
                </a:cubicBezTo>
                <a:cubicBezTo>
                  <a:pt x="33" y="1"/>
                  <a:pt x="31" y="0"/>
                  <a:pt x="30" y="0"/>
                </a:cubicBezTo>
                <a:cubicBezTo>
                  <a:pt x="30" y="0"/>
                  <a:pt x="29" y="0"/>
                  <a:pt x="29" y="0"/>
                </a:cubicBezTo>
                <a:cubicBezTo>
                  <a:pt x="29" y="0"/>
                  <a:pt x="29" y="0"/>
                  <a:pt x="29" y="0"/>
                </a:cubicBezTo>
                <a:cubicBezTo>
                  <a:pt x="28" y="0"/>
                  <a:pt x="27" y="0"/>
                  <a:pt x="26" y="0"/>
                </a:cubicBezTo>
                <a:cubicBezTo>
                  <a:pt x="26" y="0"/>
                  <a:pt x="26" y="0"/>
                  <a:pt x="26" y="1"/>
                </a:cubicBezTo>
                <a:cubicBezTo>
                  <a:pt x="25" y="2"/>
                  <a:pt x="25" y="2"/>
                  <a:pt x="25" y="2"/>
                </a:cubicBezTo>
                <a:cubicBezTo>
                  <a:pt x="24" y="1"/>
                  <a:pt x="24" y="1"/>
                  <a:pt x="24" y="1"/>
                </a:cubicBezTo>
                <a:cubicBezTo>
                  <a:pt x="24" y="1"/>
                  <a:pt x="23" y="1"/>
                  <a:pt x="23" y="1"/>
                </a:cubicBezTo>
                <a:cubicBezTo>
                  <a:pt x="23" y="1"/>
                  <a:pt x="23" y="1"/>
                  <a:pt x="23" y="1"/>
                </a:cubicBezTo>
                <a:cubicBezTo>
                  <a:pt x="23" y="1"/>
                  <a:pt x="22" y="1"/>
                  <a:pt x="22" y="1"/>
                </a:cubicBezTo>
                <a:cubicBezTo>
                  <a:pt x="22" y="1"/>
                  <a:pt x="22" y="1"/>
                  <a:pt x="21" y="1"/>
                </a:cubicBezTo>
                <a:cubicBezTo>
                  <a:pt x="21" y="1"/>
                  <a:pt x="21" y="1"/>
                  <a:pt x="21" y="1"/>
                </a:cubicBezTo>
                <a:cubicBezTo>
                  <a:pt x="20" y="1"/>
                  <a:pt x="20" y="1"/>
                  <a:pt x="20" y="1"/>
                </a:cubicBezTo>
                <a:cubicBezTo>
                  <a:pt x="20" y="1"/>
                  <a:pt x="20" y="1"/>
                  <a:pt x="19" y="1"/>
                </a:cubicBezTo>
                <a:cubicBezTo>
                  <a:pt x="19" y="1"/>
                  <a:pt x="19" y="2"/>
                  <a:pt x="19" y="2"/>
                </a:cubicBezTo>
                <a:cubicBezTo>
                  <a:pt x="18" y="1"/>
                  <a:pt x="18" y="1"/>
                  <a:pt x="18" y="1"/>
                </a:cubicBezTo>
                <a:cubicBezTo>
                  <a:pt x="18" y="1"/>
                  <a:pt x="18" y="1"/>
                  <a:pt x="17" y="1"/>
                </a:cubicBezTo>
                <a:cubicBezTo>
                  <a:pt x="17" y="1"/>
                  <a:pt x="17" y="1"/>
                  <a:pt x="17" y="1"/>
                </a:cubicBezTo>
                <a:cubicBezTo>
                  <a:pt x="17" y="1"/>
                  <a:pt x="17" y="1"/>
                  <a:pt x="17" y="1"/>
                </a:cubicBezTo>
                <a:cubicBezTo>
                  <a:pt x="17" y="1"/>
                  <a:pt x="17" y="1"/>
                  <a:pt x="17" y="1"/>
                </a:cubicBezTo>
                <a:cubicBezTo>
                  <a:pt x="16" y="2"/>
                  <a:pt x="16" y="2"/>
                  <a:pt x="15" y="2"/>
                </a:cubicBezTo>
                <a:cubicBezTo>
                  <a:pt x="15" y="2"/>
                  <a:pt x="14" y="2"/>
                  <a:pt x="14" y="2"/>
                </a:cubicBezTo>
                <a:cubicBezTo>
                  <a:pt x="14" y="2"/>
                  <a:pt x="14" y="3"/>
                  <a:pt x="13" y="3"/>
                </a:cubicBezTo>
                <a:cubicBezTo>
                  <a:pt x="12" y="3"/>
                  <a:pt x="11" y="4"/>
                  <a:pt x="11" y="3"/>
                </a:cubicBezTo>
                <a:cubicBezTo>
                  <a:pt x="9" y="5"/>
                  <a:pt x="9" y="5"/>
                  <a:pt x="9" y="5"/>
                </a:cubicBezTo>
                <a:cubicBezTo>
                  <a:pt x="8" y="6"/>
                  <a:pt x="7" y="7"/>
                  <a:pt x="6" y="8"/>
                </a:cubicBezTo>
                <a:cubicBezTo>
                  <a:pt x="6" y="8"/>
                  <a:pt x="6" y="8"/>
                  <a:pt x="6" y="8"/>
                </a:cubicBezTo>
                <a:cubicBezTo>
                  <a:pt x="5" y="8"/>
                  <a:pt x="5" y="8"/>
                  <a:pt x="5" y="8"/>
                </a:cubicBezTo>
                <a:cubicBezTo>
                  <a:pt x="5" y="8"/>
                  <a:pt x="5" y="8"/>
                  <a:pt x="4" y="9"/>
                </a:cubicBezTo>
                <a:cubicBezTo>
                  <a:pt x="4" y="9"/>
                  <a:pt x="4" y="9"/>
                  <a:pt x="4" y="9"/>
                </a:cubicBezTo>
                <a:cubicBezTo>
                  <a:pt x="4" y="9"/>
                  <a:pt x="4" y="10"/>
                  <a:pt x="3" y="11"/>
                </a:cubicBezTo>
                <a:cubicBezTo>
                  <a:pt x="3" y="12"/>
                  <a:pt x="3" y="12"/>
                  <a:pt x="3" y="12"/>
                </a:cubicBezTo>
                <a:cubicBezTo>
                  <a:pt x="2" y="13"/>
                  <a:pt x="1" y="14"/>
                  <a:pt x="0" y="15"/>
                </a:cubicBezTo>
                <a:cubicBezTo>
                  <a:pt x="2" y="14"/>
                  <a:pt x="3" y="13"/>
                  <a:pt x="5" y="13"/>
                </a:cubicBezTo>
                <a:cubicBezTo>
                  <a:pt x="5" y="13"/>
                  <a:pt x="5" y="13"/>
                  <a:pt x="5" y="13"/>
                </a:cubicBezTo>
                <a:cubicBezTo>
                  <a:pt x="6" y="13"/>
                  <a:pt x="7" y="14"/>
                  <a:pt x="7" y="15"/>
                </a:cubicBezTo>
                <a:cubicBezTo>
                  <a:pt x="8" y="15"/>
                  <a:pt x="8" y="16"/>
                  <a:pt x="8" y="17"/>
                </a:cubicBezTo>
                <a:cubicBezTo>
                  <a:pt x="8" y="18"/>
                  <a:pt x="8" y="18"/>
                  <a:pt x="8" y="18"/>
                </a:cubicBezTo>
                <a:cubicBezTo>
                  <a:pt x="8" y="18"/>
                  <a:pt x="8" y="18"/>
                  <a:pt x="8" y="18"/>
                </a:cubicBezTo>
                <a:cubicBezTo>
                  <a:pt x="8" y="18"/>
                  <a:pt x="8" y="18"/>
                  <a:pt x="8" y="18"/>
                </a:cubicBezTo>
                <a:cubicBezTo>
                  <a:pt x="8" y="18"/>
                  <a:pt x="8" y="19"/>
                  <a:pt x="9" y="19"/>
                </a:cubicBezTo>
                <a:cubicBezTo>
                  <a:pt x="9" y="19"/>
                  <a:pt x="9" y="19"/>
                  <a:pt x="9" y="19"/>
                </a:cubicBezTo>
                <a:cubicBezTo>
                  <a:pt x="9" y="20"/>
                  <a:pt x="9" y="20"/>
                  <a:pt x="9" y="20"/>
                </a:cubicBezTo>
                <a:cubicBezTo>
                  <a:pt x="10" y="20"/>
                  <a:pt x="10" y="20"/>
                  <a:pt x="10" y="20"/>
                </a:cubicBezTo>
                <a:cubicBezTo>
                  <a:pt x="11" y="20"/>
                  <a:pt x="12" y="20"/>
                  <a:pt x="13" y="20"/>
                </a:cubicBezTo>
                <a:cubicBezTo>
                  <a:pt x="14" y="20"/>
                  <a:pt x="14" y="20"/>
                  <a:pt x="14" y="20"/>
                </a:cubicBezTo>
                <a:cubicBezTo>
                  <a:pt x="15" y="20"/>
                  <a:pt x="16" y="20"/>
                  <a:pt x="16" y="20"/>
                </a:cubicBezTo>
                <a:cubicBezTo>
                  <a:pt x="17" y="20"/>
                  <a:pt x="17" y="20"/>
                  <a:pt x="17" y="20"/>
                </a:cubicBezTo>
                <a:cubicBezTo>
                  <a:pt x="17" y="20"/>
                  <a:pt x="17" y="20"/>
                  <a:pt x="17" y="20"/>
                </a:cubicBezTo>
                <a:cubicBezTo>
                  <a:pt x="17" y="20"/>
                  <a:pt x="17" y="20"/>
                  <a:pt x="17" y="20"/>
                </a:cubicBezTo>
                <a:cubicBezTo>
                  <a:pt x="18" y="19"/>
                  <a:pt x="18" y="18"/>
                  <a:pt x="18" y="18"/>
                </a:cubicBezTo>
                <a:cubicBezTo>
                  <a:pt x="19" y="17"/>
                  <a:pt x="20" y="14"/>
                  <a:pt x="22" y="13"/>
                </a:cubicBezTo>
                <a:cubicBezTo>
                  <a:pt x="23" y="13"/>
                  <a:pt x="23" y="13"/>
                  <a:pt x="24" y="13"/>
                </a:cubicBezTo>
                <a:cubicBezTo>
                  <a:pt x="25" y="14"/>
                  <a:pt x="25" y="14"/>
                  <a:pt x="25" y="14"/>
                </a:cubicBezTo>
                <a:cubicBezTo>
                  <a:pt x="24" y="16"/>
                  <a:pt x="24" y="16"/>
                  <a:pt x="24" y="16"/>
                </a:cubicBezTo>
                <a:cubicBezTo>
                  <a:pt x="24" y="16"/>
                  <a:pt x="24" y="17"/>
                  <a:pt x="24" y="17"/>
                </a:cubicBezTo>
                <a:cubicBezTo>
                  <a:pt x="25" y="17"/>
                  <a:pt x="25" y="17"/>
                  <a:pt x="26" y="17"/>
                </a:cubicBezTo>
                <a:cubicBezTo>
                  <a:pt x="26" y="18"/>
                  <a:pt x="26" y="18"/>
                  <a:pt x="26" y="18"/>
                </a:cubicBezTo>
                <a:cubicBezTo>
                  <a:pt x="26" y="18"/>
                  <a:pt x="27" y="18"/>
                  <a:pt x="27" y="18"/>
                </a:cubicBezTo>
                <a:cubicBezTo>
                  <a:pt x="27" y="18"/>
                  <a:pt x="28" y="18"/>
                  <a:pt x="28" y="19"/>
                </a:cubicBezTo>
                <a:cubicBezTo>
                  <a:pt x="29" y="19"/>
                  <a:pt x="29" y="18"/>
                  <a:pt x="29" y="18"/>
                </a:cubicBezTo>
                <a:cubicBezTo>
                  <a:pt x="30" y="17"/>
                  <a:pt x="30" y="17"/>
                  <a:pt x="30" y="17"/>
                </a:cubicBezTo>
                <a:cubicBezTo>
                  <a:pt x="30" y="17"/>
                  <a:pt x="30" y="16"/>
                  <a:pt x="30" y="15"/>
                </a:cubicBezTo>
                <a:cubicBezTo>
                  <a:pt x="30" y="15"/>
                  <a:pt x="30" y="15"/>
                  <a:pt x="30" y="15"/>
                </a:cubicBezTo>
                <a:cubicBezTo>
                  <a:pt x="30" y="14"/>
                  <a:pt x="30" y="14"/>
                  <a:pt x="31" y="14"/>
                </a:cubicBezTo>
                <a:cubicBezTo>
                  <a:pt x="31" y="12"/>
                  <a:pt x="31" y="12"/>
                  <a:pt x="31" y="12"/>
                </a:cubicBezTo>
                <a:cubicBezTo>
                  <a:pt x="33" y="13"/>
                  <a:pt x="33" y="13"/>
                  <a:pt x="33" y="13"/>
                </a:cubicBezTo>
                <a:cubicBezTo>
                  <a:pt x="34" y="14"/>
                  <a:pt x="37" y="15"/>
                  <a:pt x="39" y="16"/>
                </a:cubicBezTo>
                <a:cubicBezTo>
                  <a:pt x="39" y="16"/>
                  <a:pt x="39" y="16"/>
                  <a:pt x="39" y="16"/>
                </a:cubicBezTo>
                <a:cubicBezTo>
                  <a:pt x="39" y="16"/>
                  <a:pt x="39" y="16"/>
                  <a:pt x="39" y="16"/>
                </a:cubicBezTo>
                <a:cubicBezTo>
                  <a:pt x="38" y="15"/>
                  <a:pt x="38" y="15"/>
                  <a:pt x="38" y="15"/>
                </a:cubicBezTo>
                <a:cubicBezTo>
                  <a:pt x="38" y="14"/>
                  <a:pt x="38" y="14"/>
                  <a:pt x="38" y="14"/>
                </a:cubicBezTo>
                <a:cubicBezTo>
                  <a:pt x="38" y="13"/>
                  <a:pt x="38" y="13"/>
                  <a:pt x="38" y="13"/>
                </a:cubicBezTo>
                <a:cubicBezTo>
                  <a:pt x="38" y="13"/>
                  <a:pt x="38" y="13"/>
                  <a:pt x="38" y="13"/>
                </a:cubicBezTo>
                <a:cubicBezTo>
                  <a:pt x="39" y="13"/>
                  <a:pt x="39" y="12"/>
                  <a:pt x="39" y="12"/>
                </a:cubicBezTo>
                <a:cubicBezTo>
                  <a:pt x="40" y="11"/>
                  <a:pt x="41" y="11"/>
                  <a:pt x="43" y="12"/>
                </a:cubicBezTo>
                <a:close/>
              </a:path>
            </a:pathLst>
          </a:custGeom>
          <a:solidFill>
            <a:srgbClr val="00A5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29" name="Freeform 3086">
            <a:extLst>
              <a:ext uri="{FF2B5EF4-FFF2-40B4-BE49-F238E27FC236}">
                <a16:creationId xmlns:a16="http://schemas.microsoft.com/office/drawing/2014/main" id="{E0D6E2D9-4F5C-4EFA-9FEC-5E5A6DE8AB7B}"/>
              </a:ext>
            </a:extLst>
          </p:cNvPr>
          <p:cNvSpPr>
            <a:spLocks/>
          </p:cNvSpPr>
          <p:nvPr/>
        </p:nvSpPr>
        <p:spPr bwMode="auto">
          <a:xfrm>
            <a:off x="3422753" y="3031431"/>
            <a:ext cx="139252" cy="157303"/>
          </a:xfrm>
          <a:custGeom>
            <a:avLst/>
            <a:gdLst>
              <a:gd name="T0" fmla="*/ 104 w 119"/>
              <a:gd name="T1" fmla="*/ 74 h 112"/>
              <a:gd name="T2" fmla="*/ 95 w 119"/>
              <a:gd name="T3" fmla="*/ 63 h 112"/>
              <a:gd name="T4" fmla="*/ 77 w 119"/>
              <a:gd name="T5" fmla="*/ 58 h 112"/>
              <a:gd name="T6" fmla="*/ 61 w 119"/>
              <a:gd name="T7" fmla="*/ 39 h 112"/>
              <a:gd name="T8" fmla="*/ 58 w 119"/>
              <a:gd name="T9" fmla="*/ 26 h 112"/>
              <a:gd name="T10" fmla="*/ 55 w 119"/>
              <a:gd name="T11" fmla="*/ 19 h 112"/>
              <a:gd name="T12" fmla="*/ 60 w 119"/>
              <a:gd name="T13" fmla="*/ 18 h 112"/>
              <a:gd name="T14" fmla="*/ 68 w 119"/>
              <a:gd name="T15" fmla="*/ 16 h 112"/>
              <a:gd name="T16" fmla="*/ 68 w 119"/>
              <a:gd name="T17" fmla="*/ 15 h 112"/>
              <a:gd name="T18" fmla="*/ 67 w 119"/>
              <a:gd name="T19" fmla="*/ 13 h 112"/>
              <a:gd name="T20" fmla="*/ 67 w 119"/>
              <a:gd name="T21" fmla="*/ 10 h 112"/>
              <a:gd name="T22" fmla="*/ 66 w 119"/>
              <a:gd name="T23" fmla="*/ 7 h 112"/>
              <a:gd name="T24" fmla="*/ 68 w 119"/>
              <a:gd name="T25" fmla="*/ 7 h 112"/>
              <a:gd name="T26" fmla="*/ 59 w 119"/>
              <a:gd name="T27" fmla="*/ 5 h 112"/>
              <a:gd name="T28" fmla="*/ 53 w 119"/>
              <a:gd name="T29" fmla="*/ 2 h 112"/>
              <a:gd name="T30" fmla="*/ 52 w 119"/>
              <a:gd name="T31" fmla="*/ 0 h 112"/>
              <a:gd name="T32" fmla="*/ 45 w 119"/>
              <a:gd name="T33" fmla="*/ 1 h 112"/>
              <a:gd name="T34" fmla="*/ 44 w 119"/>
              <a:gd name="T35" fmla="*/ 3 h 112"/>
              <a:gd name="T36" fmla="*/ 38 w 119"/>
              <a:gd name="T37" fmla="*/ 3 h 112"/>
              <a:gd name="T38" fmla="*/ 38 w 119"/>
              <a:gd name="T39" fmla="*/ 5 h 112"/>
              <a:gd name="T40" fmla="*/ 36 w 119"/>
              <a:gd name="T41" fmla="*/ 7 h 112"/>
              <a:gd name="T42" fmla="*/ 34 w 119"/>
              <a:gd name="T43" fmla="*/ 6 h 112"/>
              <a:gd name="T44" fmla="*/ 35 w 119"/>
              <a:gd name="T45" fmla="*/ 10 h 112"/>
              <a:gd name="T46" fmla="*/ 34 w 119"/>
              <a:gd name="T47" fmla="*/ 11 h 112"/>
              <a:gd name="T48" fmla="*/ 33 w 119"/>
              <a:gd name="T49" fmla="*/ 11 h 112"/>
              <a:gd name="T50" fmla="*/ 24 w 119"/>
              <a:gd name="T51" fmla="*/ 11 h 112"/>
              <a:gd name="T52" fmla="*/ 23 w 119"/>
              <a:gd name="T53" fmla="*/ 13 h 112"/>
              <a:gd name="T54" fmla="*/ 20 w 119"/>
              <a:gd name="T55" fmla="*/ 14 h 112"/>
              <a:gd name="T56" fmla="*/ 19 w 119"/>
              <a:gd name="T57" fmla="*/ 12 h 112"/>
              <a:gd name="T58" fmla="*/ 18 w 119"/>
              <a:gd name="T59" fmla="*/ 12 h 112"/>
              <a:gd name="T60" fmla="*/ 14 w 119"/>
              <a:gd name="T61" fmla="*/ 11 h 112"/>
              <a:gd name="T62" fmla="*/ 10 w 119"/>
              <a:gd name="T63" fmla="*/ 15 h 112"/>
              <a:gd name="T64" fmla="*/ 6 w 119"/>
              <a:gd name="T65" fmla="*/ 14 h 112"/>
              <a:gd name="T66" fmla="*/ 2 w 119"/>
              <a:gd name="T67" fmla="*/ 15 h 112"/>
              <a:gd name="T68" fmla="*/ 3 w 119"/>
              <a:gd name="T69" fmla="*/ 18 h 112"/>
              <a:gd name="T70" fmla="*/ 4 w 119"/>
              <a:gd name="T71" fmla="*/ 21 h 112"/>
              <a:gd name="T72" fmla="*/ 0 w 119"/>
              <a:gd name="T73" fmla="*/ 24 h 112"/>
              <a:gd name="T74" fmla="*/ 2 w 119"/>
              <a:gd name="T75" fmla="*/ 32 h 112"/>
              <a:gd name="T76" fmla="*/ 10 w 119"/>
              <a:gd name="T77" fmla="*/ 37 h 112"/>
              <a:gd name="T78" fmla="*/ 13 w 119"/>
              <a:gd name="T79" fmla="*/ 38 h 112"/>
              <a:gd name="T80" fmla="*/ 31 w 119"/>
              <a:gd name="T81" fmla="*/ 36 h 112"/>
              <a:gd name="T82" fmla="*/ 37 w 119"/>
              <a:gd name="T83" fmla="*/ 50 h 112"/>
              <a:gd name="T84" fmla="*/ 42 w 119"/>
              <a:gd name="T85" fmla="*/ 54 h 112"/>
              <a:gd name="T86" fmla="*/ 43 w 119"/>
              <a:gd name="T87" fmla="*/ 57 h 112"/>
              <a:gd name="T88" fmla="*/ 55 w 119"/>
              <a:gd name="T89" fmla="*/ 65 h 112"/>
              <a:gd name="T90" fmla="*/ 63 w 119"/>
              <a:gd name="T91" fmla="*/ 71 h 112"/>
              <a:gd name="T92" fmla="*/ 74 w 119"/>
              <a:gd name="T93" fmla="*/ 76 h 112"/>
              <a:gd name="T94" fmla="*/ 80 w 119"/>
              <a:gd name="T95" fmla="*/ 79 h 112"/>
              <a:gd name="T96" fmla="*/ 83 w 119"/>
              <a:gd name="T97" fmla="*/ 83 h 112"/>
              <a:gd name="T98" fmla="*/ 91 w 119"/>
              <a:gd name="T99" fmla="*/ 88 h 112"/>
              <a:gd name="T100" fmla="*/ 96 w 119"/>
              <a:gd name="T101" fmla="*/ 100 h 112"/>
              <a:gd name="T102" fmla="*/ 92 w 119"/>
              <a:gd name="T103" fmla="*/ 103 h 112"/>
              <a:gd name="T104" fmla="*/ 91 w 119"/>
              <a:gd name="T105" fmla="*/ 112 h 112"/>
              <a:gd name="T106" fmla="*/ 99 w 119"/>
              <a:gd name="T107" fmla="*/ 105 h 112"/>
              <a:gd name="T108" fmla="*/ 105 w 119"/>
              <a:gd name="T109" fmla="*/ 100 h 112"/>
              <a:gd name="T110" fmla="*/ 102 w 119"/>
              <a:gd name="T111" fmla="*/ 92 h 112"/>
              <a:gd name="T112" fmla="*/ 99 w 119"/>
              <a:gd name="T113" fmla="*/ 88 h 112"/>
              <a:gd name="T114" fmla="*/ 110 w 119"/>
              <a:gd name="T115" fmla="*/ 83 h 112"/>
              <a:gd name="T116" fmla="*/ 119 w 119"/>
              <a:gd name="T117" fmla="*/ 8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9" h="112">
                <a:moveTo>
                  <a:pt x="115" y="81"/>
                </a:moveTo>
                <a:cubicBezTo>
                  <a:pt x="113" y="79"/>
                  <a:pt x="111" y="78"/>
                  <a:pt x="109" y="77"/>
                </a:cubicBezTo>
                <a:cubicBezTo>
                  <a:pt x="107" y="76"/>
                  <a:pt x="106" y="75"/>
                  <a:pt x="104" y="74"/>
                </a:cubicBezTo>
                <a:cubicBezTo>
                  <a:pt x="100" y="72"/>
                  <a:pt x="95" y="71"/>
                  <a:pt x="93" y="67"/>
                </a:cubicBezTo>
                <a:cubicBezTo>
                  <a:pt x="94" y="67"/>
                  <a:pt x="95" y="66"/>
                  <a:pt x="95" y="65"/>
                </a:cubicBezTo>
                <a:cubicBezTo>
                  <a:pt x="95" y="64"/>
                  <a:pt x="95" y="63"/>
                  <a:pt x="95" y="63"/>
                </a:cubicBezTo>
                <a:cubicBezTo>
                  <a:pt x="91" y="63"/>
                  <a:pt x="88" y="63"/>
                  <a:pt x="85" y="63"/>
                </a:cubicBezTo>
                <a:cubicBezTo>
                  <a:pt x="84" y="63"/>
                  <a:pt x="82" y="62"/>
                  <a:pt x="81" y="62"/>
                </a:cubicBezTo>
                <a:cubicBezTo>
                  <a:pt x="79" y="61"/>
                  <a:pt x="78" y="59"/>
                  <a:pt x="77" y="58"/>
                </a:cubicBezTo>
                <a:cubicBezTo>
                  <a:pt x="75" y="56"/>
                  <a:pt x="74" y="54"/>
                  <a:pt x="72" y="52"/>
                </a:cubicBezTo>
                <a:cubicBezTo>
                  <a:pt x="71" y="50"/>
                  <a:pt x="71" y="46"/>
                  <a:pt x="69" y="44"/>
                </a:cubicBezTo>
                <a:cubicBezTo>
                  <a:pt x="67" y="42"/>
                  <a:pt x="64" y="41"/>
                  <a:pt x="61" y="39"/>
                </a:cubicBezTo>
                <a:cubicBezTo>
                  <a:pt x="59" y="37"/>
                  <a:pt x="57" y="36"/>
                  <a:pt x="56" y="33"/>
                </a:cubicBezTo>
                <a:cubicBezTo>
                  <a:pt x="56" y="31"/>
                  <a:pt x="55" y="29"/>
                  <a:pt x="55" y="27"/>
                </a:cubicBezTo>
                <a:cubicBezTo>
                  <a:pt x="57" y="28"/>
                  <a:pt x="57" y="27"/>
                  <a:pt x="58" y="26"/>
                </a:cubicBezTo>
                <a:cubicBezTo>
                  <a:pt x="58" y="25"/>
                  <a:pt x="58" y="25"/>
                  <a:pt x="57" y="24"/>
                </a:cubicBezTo>
                <a:cubicBezTo>
                  <a:pt x="56" y="24"/>
                  <a:pt x="54" y="22"/>
                  <a:pt x="54" y="21"/>
                </a:cubicBezTo>
                <a:cubicBezTo>
                  <a:pt x="54" y="21"/>
                  <a:pt x="55" y="20"/>
                  <a:pt x="55" y="19"/>
                </a:cubicBezTo>
                <a:cubicBezTo>
                  <a:pt x="56" y="19"/>
                  <a:pt x="57" y="18"/>
                  <a:pt x="57" y="18"/>
                </a:cubicBezTo>
                <a:cubicBezTo>
                  <a:pt x="57" y="19"/>
                  <a:pt x="57" y="19"/>
                  <a:pt x="57" y="20"/>
                </a:cubicBezTo>
                <a:cubicBezTo>
                  <a:pt x="58" y="19"/>
                  <a:pt x="59" y="19"/>
                  <a:pt x="60" y="18"/>
                </a:cubicBezTo>
                <a:cubicBezTo>
                  <a:pt x="61" y="18"/>
                  <a:pt x="63" y="18"/>
                  <a:pt x="64" y="17"/>
                </a:cubicBezTo>
                <a:cubicBezTo>
                  <a:pt x="64" y="16"/>
                  <a:pt x="63" y="16"/>
                  <a:pt x="64" y="15"/>
                </a:cubicBezTo>
                <a:cubicBezTo>
                  <a:pt x="66" y="15"/>
                  <a:pt x="66" y="16"/>
                  <a:pt x="68" y="16"/>
                </a:cubicBezTo>
                <a:cubicBezTo>
                  <a:pt x="68" y="16"/>
                  <a:pt x="68" y="16"/>
                  <a:pt x="68" y="16"/>
                </a:cubicBezTo>
                <a:cubicBezTo>
                  <a:pt x="68" y="15"/>
                  <a:pt x="68" y="15"/>
                  <a:pt x="68" y="15"/>
                </a:cubicBezTo>
                <a:cubicBezTo>
                  <a:pt x="68" y="15"/>
                  <a:pt x="68" y="15"/>
                  <a:pt x="68" y="15"/>
                </a:cubicBezTo>
                <a:cubicBezTo>
                  <a:pt x="68" y="15"/>
                  <a:pt x="68" y="14"/>
                  <a:pt x="68" y="14"/>
                </a:cubicBezTo>
                <a:cubicBezTo>
                  <a:pt x="68" y="13"/>
                  <a:pt x="68" y="13"/>
                  <a:pt x="68" y="13"/>
                </a:cubicBezTo>
                <a:cubicBezTo>
                  <a:pt x="68" y="13"/>
                  <a:pt x="67" y="13"/>
                  <a:pt x="67" y="13"/>
                </a:cubicBezTo>
                <a:cubicBezTo>
                  <a:pt x="65" y="12"/>
                  <a:pt x="65" y="12"/>
                  <a:pt x="65" y="12"/>
                </a:cubicBezTo>
                <a:cubicBezTo>
                  <a:pt x="67" y="11"/>
                  <a:pt x="67" y="11"/>
                  <a:pt x="67" y="11"/>
                </a:cubicBezTo>
                <a:cubicBezTo>
                  <a:pt x="67" y="11"/>
                  <a:pt x="67" y="10"/>
                  <a:pt x="67" y="10"/>
                </a:cubicBezTo>
                <a:cubicBezTo>
                  <a:pt x="67" y="10"/>
                  <a:pt x="67" y="10"/>
                  <a:pt x="67" y="10"/>
                </a:cubicBezTo>
                <a:cubicBezTo>
                  <a:pt x="64" y="9"/>
                  <a:pt x="64" y="9"/>
                  <a:pt x="64" y="9"/>
                </a:cubicBezTo>
                <a:cubicBezTo>
                  <a:pt x="66" y="7"/>
                  <a:pt x="66" y="7"/>
                  <a:pt x="66" y="7"/>
                </a:cubicBezTo>
                <a:cubicBezTo>
                  <a:pt x="66" y="7"/>
                  <a:pt x="66" y="7"/>
                  <a:pt x="67" y="7"/>
                </a:cubicBezTo>
                <a:cubicBezTo>
                  <a:pt x="67" y="7"/>
                  <a:pt x="67" y="7"/>
                  <a:pt x="67" y="7"/>
                </a:cubicBezTo>
                <a:cubicBezTo>
                  <a:pt x="67" y="7"/>
                  <a:pt x="68" y="7"/>
                  <a:pt x="68" y="7"/>
                </a:cubicBezTo>
                <a:cubicBezTo>
                  <a:pt x="68" y="7"/>
                  <a:pt x="68" y="7"/>
                  <a:pt x="68" y="7"/>
                </a:cubicBezTo>
                <a:cubicBezTo>
                  <a:pt x="67" y="6"/>
                  <a:pt x="67" y="6"/>
                  <a:pt x="66" y="6"/>
                </a:cubicBezTo>
                <a:cubicBezTo>
                  <a:pt x="64" y="6"/>
                  <a:pt x="62" y="6"/>
                  <a:pt x="59" y="5"/>
                </a:cubicBezTo>
                <a:cubicBezTo>
                  <a:pt x="59" y="5"/>
                  <a:pt x="59" y="5"/>
                  <a:pt x="59" y="5"/>
                </a:cubicBezTo>
                <a:cubicBezTo>
                  <a:pt x="58" y="5"/>
                  <a:pt x="58" y="5"/>
                  <a:pt x="58" y="5"/>
                </a:cubicBezTo>
                <a:cubicBezTo>
                  <a:pt x="56" y="5"/>
                  <a:pt x="54" y="3"/>
                  <a:pt x="53" y="2"/>
                </a:cubicBezTo>
                <a:cubicBezTo>
                  <a:pt x="53" y="1"/>
                  <a:pt x="53" y="1"/>
                  <a:pt x="53" y="1"/>
                </a:cubicBezTo>
                <a:cubicBezTo>
                  <a:pt x="53" y="1"/>
                  <a:pt x="53" y="0"/>
                  <a:pt x="53" y="0"/>
                </a:cubicBezTo>
                <a:cubicBezTo>
                  <a:pt x="52" y="0"/>
                  <a:pt x="52" y="0"/>
                  <a:pt x="52" y="0"/>
                </a:cubicBezTo>
                <a:cubicBezTo>
                  <a:pt x="51" y="0"/>
                  <a:pt x="50" y="0"/>
                  <a:pt x="49" y="1"/>
                </a:cubicBezTo>
                <a:cubicBezTo>
                  <a:pt x="49" y="1"/>
                  <a:pt x="49" y="1"/>
                  <a:pt x="49" y="1"/>
                </a:cubicBezTo>
                <a:cubicBezTo>
                  <a:pt x="45" y="1"/>
                  <a:pt x="45" y="1"/>
                  <a:pt x="45" y="1"/>
                </a:cubicBezTo>
                <a:cubicBezTo>
                  <a:pt x="45" y="1"/>
                  <a:pt x="45" y="1"/>
                  <a:pt x="44" y="2"/>
                </a:cubicBezTo>
                <a:cubicBezTo>
                  <a:pt x="44" y="2"/>
                  <a:pt x="44" y="2"/>
                  <a:pt x="44" y="3"/>
                </a:cubicBezTo>
                <a:cubicBezTo>
                  <a:pt x="44" y="3"/>
                  <a:pt x="44" y="3"/>
                  <a:pt x="44" y="3"/>
                </a:cubicBezTo>
                <a:cubicBezTo>
                  <a:pt x="43" y="3"/>
                  <a:pt x="43" y="4"/>
                  <a:pt x="43" y="4"/>
                </a:cubicBezTo>
                <a:cubicBezTo>
                  <a:pt x="42" y="4"/>
                  <a:pt x="42" y="4"/>
                  <a:pt x="41" y="4"/>
                </a:cubicBezTo>
                <a:cubicBezTo>
                  <a:pt x="40" y="3"/>
                  <a:pt x="39" y="3"/>
                  <a:pt x="38" y="3"/>
                </a:cubicBezTo>
                <a:cubicBezTo>
                  <a:pt x="38" y="3"/>
                  <a:pt x="38" y="3"/>
                  <a:pt x="38" y="3"/>
                </a:cubicBezTo>
                <a:cubicBezTo>
                  <a:pt x="38" y="3"/>
                  <a:pt x="38" y="4"/>
                  <a:pt x="38" y="5"/>
                </a:cubicBezTo>
                <a:cubicBezTo>
                  <a:pt x="38" y="5"/>
                  <a:pt x="38" y="5"/>
                  <a:pt x="38" y="5"/>
                </a:cubicBezTo>
                <a:cubicBezTo>
                  <a:pt x="38" y="5"/>
                  <a:pt x="38" y="5"/>
                  <a:pt x="38" y="6"/>
                </a:cubicBezTo>
                <a:cubicBezTo>
                  <a:pt x="38" y="7"/>
                  <a:pt x="38" y="7"/>
                  <a:pt x="38" y="7"/>
                </a:cubicBezTo>
                <a:cubicBezTo>
                  <a:pt x="36" y="7"/>
                  <a:pt x="36" y="7"/>
                  <a:pt x="36" y="7"/>
                </a:cubicBezTo>
                <a:cubicBezTo>
                  <a:pt x="36" y="7"/>
                  <a:pt x="36" y="7"/>
                  <a:pt x="36" y="7"/>
                </a:cubicBezTo>
                <a:cubicBezTo>
                  <a:pt x="36" y="6"/>
                  <a:pt x="36" y="6"/>
                  <a:pt x="36" y="6"/>
                </a:cubicBezTo>
                <a:cubicBezTo>
                  <a:pt x="35" y="6"/>
                  <a:pt x="35" y="6"/>
                  <a:pt x="34" y="6"/>
                </a:cubicBezTo>
                <a:cubicBezTo>
                  <a:pt x="35" y="6"/>
                  <a:pt x="35" y="6"/>
                  <a:pt x="35" y="7"/>
                </a:cubicBezTo>
                <a:cubicBezTo>
                  <a:pt x="35" y="7"/>
                  <a:pt x="35" y="8"/>
                  <a:pt x="35" y="8"/>
                </a:cubicBezTo>
                <a:cubicBezTo>
                  <a:pt x="35" y="8"/>
                  <a:pt x="35" y="9"/>
                  <a:pt x="35" y="10"/>
                </a:cubicBezTo>
                <a:cubicBezTo>
                  <a:pt x="35" y="10"/>
                  <a:pt x="35" y="10"/>
                  <a:pt x="35" y="10"/>
                </a:cubicBezTo>
                <a:cubicBezTo>
                  <a:pt x="34" y="10"/>
                  <a:pt x="34" y="10"/>
                  <a:pt x="34" y="10"/>
                </a:cubicBezTo>
                <a:cubicBezTo>
                  <a:pt x="34" y="10"/>
                  <a:pt x="34" y="11"/>
                  <a:pt x="34" y="11"/>
                </a:cubicBezTo>
                <a:cubicBezTo>
                  <a:pt x="34" y="11"/>
                  <a:pt x="34" y="11"/>
                  <a:pt x="34" y="11"/>
                </a:cubicBezTo>
                <a:cubicBezTo>
                  <a:pt x="33" y="11"/>
                  <a:pt x="33" y="11"/>
                  <a:pt x="33" y="11"/>
                </a:cubicBezTo>
                <a:cubicBezTo>
                  <a:pt x="33" y="11"/>
                  <a:pt x="33" y="11"/>
                  <a:pt x="33" y="11"/>
                </a:cubicBezTo>
                <a:cubicBezTo>
                  <a:pt x="31" y="11"/>
                  <a:pt x="28" y="9"/>
                  <a:pt x="26" y="8"/>
                </a:cubicBezTo>
                <a:cubicBezTo>
                  <a:pt x="26" y="9"/>
                  <a:pt x="25" y="10"/>
                  <a:pt x="25" y="11"/>
                </a:cubicBezTo>
                <a:cubicBezTo>
                  <a:pt x="25" y="11"/>
                  <a:pt x="25" y="11"/>
                  <a:pt x="24" y="11"/>
                </a:cubicBezTo>
                <a:cubicBezTo>
                  <a:pt x="24" y="11"/>
                  <a:pt x="24" y="11"/>
                  <a:pt x="24" y="11"/>
                </a:cubicBezTo>
                <a:cubicBezTo>
                  <a:pt x="24" y="12"/>
                  <a:pt x="24" y="12"/>
                  <a:pt x="24" y="13"/>
                </a:cubicBezTo>
                <a:cubicBezTo>
                  <a:pt x="23" y="13"/>
                  <a:pt x="23" y="13"/>
                  <a:pt x="23" y="13"/>
                </a:cubicBezTo>
                <a:cubicBezTo>
                  <a:pt x="23" y="14"/>
                  <a:pt x="23" y="15"/>
                  <a:pt x="22" y="15"/>
                </a:cubicBezTo>
                <a:cubicBezTo>
                  <a:pt x="19" y="19"/>
                  <a:pt x="19" y="19"/>
                  <a:pt x="19" y="19"/>
                </a:cubicBezTo>
                <a:cubicBezTo>
                  <a:pt x="20" y="14"/>
                  <a:pt x="20" y="14"/>
                  <a:pt x="20" y="14"/>
                </a:cubicBezTo>
                <a:cubicBezTo>
                  <a:pt x="20" y="14"/>
                  <a:pt x="20" y="14"/>
                  <a:pt x="20" y="14"/>
                </a:cubicBezTo>
                <a:cubicBezTo>
                  <a:pt x="20" y="14"/>
                  <a:pt x="20" y="13"/>
                  <a:pt x="19" y="13"/>
                </a:cubicBezTo>
                <a:cubicBezTo>
                  <a:pt x="19" y="12"/>
                  <a:pt x="19" y="12"/>
                  <a:pt x="19" y="12"/>
                </a:cubicBezTo>
                <a:cubicBezTo>
                  <a:pt x="19" y="12"/>
                  <a:pt x="19" y="12"/>
                  <a:pt x="19" y="12"/>
                </a:cubicBezTo>
                <a:cubicBezTo>
                  <a:pt x="19" y="12"/>
                  <a:pt x="18" y="12"/>
                  <a:pt x="18" y="12"/>
                </a:cubicBezTo>
                <a:cubicBezTo>
                  <a:pt x="18" y="12"/>
                  <a:pt x="18" y="12"/>
                  <a:pt x="18" y="12"/>
                </a:cubicBezTo>
                <a:cubicBezTo>
                  <a:pt x="16" y="11"/>
                  <a:pt x="15" y="11"/>
                  <a:pt x="15" y="10"/>
                </a:cubicBezTo>
                <a:cubicBezTo>
                  <a:pt x="15" y="10"/>
                  <a:pt x="15" y="9"/>
                  <a:pt x="15" y="9"/>
                </a:cubicBezTo>
                <a:cubicBezTo>
                  <a:pt x="14" y="9"/>
                  <a:pt x="14" y="10"/>
                  <a:pt x="14" y="11"/>
                </a:cubicBezTo>
                <a:cubicBezTo>
                  <a:pt x="13" y="12"/>
                  <a:pt x="13" y="12"/>
                  <a:pt x="12" y="13"/>
                </a:cubicBezTo>
                <a:cubicBezTo>
                  <a:pt x="11" y="14"/>
                  <a:pt x="11" y="14"/>
                  <a:pt x="11" y="14"/>
                </a:cubicBezTo>
                <a:cubicBezTo>
                  <a:pt x="11" y="14"/>
                  <a:pt x="11" y="15"/>
                  <a:pt x="10" y="15"/>
                </a:cubicBezTo>
                <a:cubicBezTo>
                  <a:pt x="9" y="15"/>
                  <a:pt x="9" y="15"/>
                  <a:pt x="9" y="15"/>
                </a:cubicBezTo>
                <a:cubicBezTo>
                  <a:pt x="9" y="14"/>
                  <a:pt x="9" y="14"/>
                  <a:pt x="9" y="14"/>
                </a:cubicBezTo>
                <a:cubicBezTo>
                  <a:pt x="8" y="14"/>
                  <a:pt x="7" y="14"/>
                  <a:pt x="6" y="14"/>
                </a:cubicBezTo>
                <a:cubicBezTo>
                  <a:pt x="6" y="14"/>
                  <a:pt x="4" y="14"/>
                  <a:pt x="3" y="14"/>
                </a:cubicBezTo>
                <a:cubicBezTo>
                  <a:pt x="3" y="15"/>
                  <a:pt x="3" y="15"/>
                  <a:pt x="3" y="15"/>
                </a:cubicBezTo>
                <a:cubicBezTo>
                  <a:pt x="3" y="15"/>
                  <a:pt x="2" y="15"/>
                  <a:pt x="2" y="15"/>
                </a:cubicBezTo>
                <a:cubicBezTo>
                  <a:pt x="2" y="15"/>
                  <a:pt x="2" y="15"/>
                  <a:pt x="1" y="15"/>
                </a:cubicBezTo>
                <a:cubicBezTo>
                  <a:pt x="1" y="15"/>
                  <a:pt x="1" y="15"/>
                  <a:pt x="1" y="15"/>
                </a:cubicBezTo>
                <a:cubicBezTo>
                  <a:pt x="3" y="18"/>
                  <a:pt x="3" y="18"/>
                  <a:pt x="3" y="18"/>
                </a:cubicBezTo>
                <a:cubicBezTo>
                  <a:pt x="3" y="18"/>
                  <a:pt x="3" y="18"/>
                  <a:pt x="3" y="18"/>
                </a:cubicBezTo>
                <a:cubicBezTo>
                  <a:pt x="4" y="19"/>
                  <a:pt x="4" y="19"/>
                  <a:pt x="4" y="20"/>
                </a:cubicBezTo>
                <a:cubicBezTo>
                  <a:pt x="5" y="20"/>
                  <a:pt x="4" y="21"/>
                  <a:pt x="4" y="21"/>
                </a:cubicBezTo>
                <a:cubicBezTo>
                  <a:pt x="4" y="21"/>
                  <a:pt x="4" y="21"/>
                  <a:pt x="4" y="22"/>
                </a:cubicBezTo>
                <a:cubicBezTo>
                  <a:pt x="4" y="22"/>
                  <a:pt x="4" y="22"/>
                  <a:pt x="4" y="23"/>
                </a:cubicBezTo>
                <a:cubicBezTo>
                  <a:pt x="3" y="23"/>
                  <a:pt x="2" y="24"/>
                  <a:pt x="0" y="24"/>
                </a:cubicBezTo>
                <a:cubicBezTo>
                  <a:pt x="4" y="29"/>
                  <a:pt x="4" y="29"/>
                  <a:pt x="4" y="29"/>
                </a:cubicBezTo>
                <a:cubicBezTo>
                  <a:pt x="3" y="30"/>
                  <a:pt x="3" y="30"/>
                  <a:pt x="3" y="30"/>
                </a:cubicBezTo>
                <a:cubicBezTo>
                  <a:pt x="2" y="30"/>
                  <a:pt x="1" y="31"/>
                  <a:pt x="2" y="32"/>
                </a:cubicBezTo>
                <a:cubicBezTo>
                  <a:pt x="2" y="32"/>
                  <a:pt x="2" y="32"/>
                  <a:pt x="2" y="32"/>
                </a:cubicBezTo>
                <a:cubicBezTo>
                  <a:pt x="10" y="36"/>
                  <a:pt x="10" y="36"/>
                  <a:pt x="10" y="36"/>
                </a:cubicBezTo>
                <a:cubicBezTo>
                  <a:pt x="10" y="37"/>
                  <a:pt x="10" y="37"/>
                  <a:pt x="10" y="37"/>
                </a:cubicBezTo>
                <a:cubicBezTo>
                  <a:pt x="9" y="38"/>
                  <a:pt x="9" y="38"/>
                  <a:pt x="9" y="39"/>
                </a:cubicBezTo>
                <a:cubicBezTo>
                  <a:pt x="9" y="39"/>
                  <a:pt x="9" y="40"/>
                  <a:pt x="9" y="40"/>
                </a:cubicBezTo>
                <a:cubicBezTo>
                  <a:pt x="10" y="40"/>
                  <a:pt x="12" y="39"/>
                  <a:pt x="13" y="38"/>
                </a:cubicBezTo>
                <a:cubicBezTo>
                  <a:pt x="15" y="37"/>
                  <a:pt x="16" y="35"/>
                  <a:pt x="18" y="33"/>
                </a:cubicBezTo>
                <a:cubicBezTo>
                  <a:pt x="18" y="33"/>
                  <a:pt x="23" y="34"/>
                  <a:pt x="24" y="34"/>
                </a:cubicBezTo>
                <a:cubicBezTo>
                  <a:pt x="26" y="35"/>
                  <a:pt x="28" y="36"/>
                  <a:pt x="31" y="36"/>
                </a:cubicBezTo>
                <a:cubicBezTo>
                  <a:pt x="32" y="37"/>
                  <a:pt x="35" y="38"/>
                  <a:pt x="35" y="40"/>
                </a:cubicBezTo>
                <a:cubicBezTo>
                  <a:pt x="35" y="43"/>
                  <a:pt x="36" y="45"/>
                  <a:pt x="37" y="48"/>
                </a:cubicBezTo>
                <a:cubicBezTo>
                  <a:pt x="37" y="48"/>
                  <a:pt x="37" y="49"/>
                  <a:pt x="37" y="50"/>
                </a:cubicBezTo>
                <a:cubicBezTo>
                  <a:pt x="37" y="50"/>
                  <a:pt x="37" y="50"/>
                  <a:pt x="37" y="51"/>
                </a:cubicBezTo>
                <a:cubicBezTo>
                  <a:pt x="37" y="51"/>
                  <a:pt x="39" y="51"/>
                  <a:pt x="39" y="51"/>
                </a:cubicBezTo>
                <a:cubicBezTo>
                  <a:pt x="40" y="51"/>
                  <a:pt x="42" y="54"/>
                  <a:pt x="42" y="54"/>
                </a:cubicBezTo>
                <a:cubicBezTo>
                  <a:pt x="43" y="55"/>
                  <a:pt x="44" y="56"/>
                  <a:pt x="44" y="57"/>
                </a:cubicBezTo>
                <a:cubicBezTo>
                  <a:pt x="44" y="57"/>
                  <a:pt x="43" y="57"/>
                  <a:pt x="43" y="57"/>
                </a:cubicBezTo>
                <a:cubicBezTo>
                  <a:pt x="43" y="57"/>
                  <a:pt x="43" y="57"/>
                  <a:pt x="43" y="57"/>
                </a:cubicBezTo>
                <a:cubicBezTo>
                  <a:pt x="44" y="58"/>
                  <a:pt x="45" y="58"/>
                  <a:pt x="46" y="58"/>
                </a:cubicBezTo>
                <a:cubicBezTo>
                  <a:pt x="48" y="58"/>
                  <a:pt x="50" y="61"/>
                  <a:pt x="52" y="62"/>
                </a:cubicBezTo>
                <a:cubicBezTo>
                  <a:pt x="53" y="63"/>
                  <a:pt x="54" y="64"/>
                  <a:pt x="55" y="65"/>
                </a:cubicBezTo>
                <a:cubicBezTo>
                  <a:pt x="57" y="66"/>
                  <a:pt x="57" y="66"/>
                  <a:pt x="57" y="66"/>
                </a:cubicBezTo>
                <a:cubicBezTo>
                  <a:pt x="58" y="67"/>
                  <a:pt x="59" y="68"/>
                  <a:pt x="60" y="69"/>
                </a:cubicBezTo>
                <a:cubicBezTo>
                  <a:pt x="61" y="70"/>
                  <a:pt x="62" y="71"/>
                  <a:pt x="63" y="71"/>
                </a:cubicBezTo>
                <a:cubicBezTo>
                  <a:pt x="63" y="71"/>
                  <a:pt x="63" y="72"/>
                  <a:pt x="63" y="72"/>
                </a:cubicBezTo>
                <a:cubicBezTo>
                  <a:pt x="65" y="73"/>
                  <a:pt x="69" y="70"/>
                  <a:pt x="71" y="73"/>
                </a:cubicBezTo>
                <a:cubicBezTo>
                  <a:pt x="72" y="74"/>
                  <a:pt x="73" y="75"/>
                  <a:pt x="74" y="76"/>
                </a:cubicBezTo>
                <a:cubicBezTo>
                  <a:pt x="75" y="77"/>
                  <a:pt x="76" y="77"/>
                  <a:pt x="77" y="78"/>
                </a:cubicBezTo>
                <a:cubicBezTo>
                  <a:pt x="77" y="78"/>
                  <a:pt x="77" y="79"/>
                  <a:pt x="76" y="80"/>
                </a:cubicBezTo>
                <a:cubicBezTo>
                  <a:pt x="77" y="79"/>
                  <a:pt x="79" y="79"/>
                  <a:pt x="80" y="79"/>
                </a:cubicBezTo>
                <a:cubicBezTo>
                  <a:pt x="80" y="79"/>
                  <a:pt x="80" y="78"/>
                  <a:pt x="81" y="79"/>
                </a:cubicBezTo>
                <a:cubicBezTo>
                  <a:pt x="82" y="79"/>
                  <a:pt x="83" y="82"/>
                  <a:pt x="83" y="83"/>
                </a:cubicBezTo>
                <a:cubicBezTo>
                  <a:pt x="83" y="83"/>
                  <a:pt x="83" y="83"/>
                  <a:pt x="83" y="83"/>
                </a:cubicBezTo>
                <a:cubicBezTo>
                  <a:pt x="82" y="84"/>
                  <a:pt x="82" y="84"/>
                  <a:pt x="83" y="85"/>
                </a:cubicBezTo>
                <a:cubicBezTo>
                  <a:pt x="84" y="85"/>
                  <a:pt x="86" y="87"/>
                  <a:pt x="87" y="87"/>
                </a:cubicBezTo>
                <a:cubicBezTo>
                  <a:pt x="89" y="86"/>
                  <a:pt x="90" y="86"/>
                  <a:pt x="91" y="88"/>
                </a:cubicBezTo>
                <a:cubicBezTo>
                  <a:pt x="91" y="89"/>
                  <a:pt x="92" y="90"/>
                  <a:pt x="92" y="91"/>
                </a:cubicBezTo>
                <a:cubicBezTo>
                  <a:pt x="93" y="94"/>
                  <a:pt x="93" y="97"/>
                  <a:pt x="95" y="99"/>
                </a:cubicBezTo>
                <a:cubicBezTo>
                  <a:pt x="95" y="100"/>
                  <a:pt x="96" y="99"/>
                  <a:pt x="96" y="100"/>
                </a:cubicBezTo>
                <a:cubicBezTo>
                  <a:pt x="96" y="101"/>
                  <a:pt x="94" y="102"/>
                  <a:pt x="93" y="102"/>
                </a:cubicBezTo>
                <a:cubicBezTo>
                  <a:pt x="93" y="102"/>
                  <a:pt x="92" y="102"/>
                  <a:pt x="92" y="103"/>
                </a:cubicBezTo>
                <a:cubicBezTo>
                  <a:pt x="92" y="103"/>
                  <a:pt x="92" y="103"/>
                  <a:pt x="92" y="103"/>
                </a:cubicBezTo>
                <a:cubicBezTo>
                  <a:pt x="92" y="103"/>
                  <a:pt x="93" y="104"/>
                  <a:pt x="93" y="104"/>
                </a:cubicBezTo>
                <a:cubicBezTo>
                  <a:pt x="92" y="105"/>
                  <a:pt x="92" y="106"/>
                  <a:pt x="91" y="106"/>
                </a:cubicBezTo>
                <a:cubicBezTo>
                  <a:pt x="90" y="108"/>
                  <a:pt x="88" y="111"/>
                  <a:pt x="91" y="112"/>
                </a:cubicBezTo>
                <a:cubicBezTo>
                  <a:pt x="92" y="112"/>
                  <a:pt x="93" y="112"/>
                  <a:pt x="94" y="112"/>
                </a:cubicBezTo>
                <a:cubicBezTo>
                  <a:pt x="95" y="111"/>
                  <a:pt x="96" y="109"/>
                  <a:pt x="96" y="109"/>
                </a:cubicBezTo>
                <a:cubicBezTo>
                  <a:pt x="97" y="108"/>
                  <a:pt x="99" y="106"/>
                  <a:pt x="99" y="105"/>
                </a:cubicBezTo>
                <a:cubicBezTo>
                  <a:pt x="99" y="105"/>
                  <a:pt x="99" y="103"/>
                  <a:pt x="99" y="102"/>
                </a:cubicBezTo>
                <a:cubicBezTo>
                  <a:pt x="99" y="101"/>
                  <a:pt x="101" y="100"/>
                  <a:pt x="103" y="100"/>
                </a:cubicBezTo>
                <a:cubicBezTo>
                  <a:pt x="103" y="99"/>
                  <a:pt x="104" y="100"/>
                  <a:pt x="105" y="100"/>
                </a:cubicBezTo>
                <a:cubicBezTo>
                  <a:pt x="105" y="100"/>
                  <a:pt x="105" y="100"/>
                  <a:pt x="105" y="100"/>
                </a:cubicBezTo>
                <a:cubicBezTo>
                  <a:pt x="106" y="99"/>
                  <a:pt x="105" y="97"/>
                  <a:pt x="105" y="95"/>
                </a:cubicBezTo>
                <a:cubicBezTo>
                  <a:pt x="105" y="94"/>
                  <a:pt x="103" y="93"/>
                  <a:pt x="102" y="92"/>
                </a:cubicBezTo>
                <a:cubicBezTo>
                  <a:pt x="101" y="92"/>
                  <a:pt x="101" y="92"/>
                  <a:pt x="101" y="91"/>
                </a:cubicBezTo>
                <a:cubicBezTo>
                  <a:pt x="100" y="91"/>
                  <a:pt x="100" y="91"/>
                  <a:pt x="99" y="91"/>
                </a:cubicBezTo>
                <a:cubicBezTo>
                  <a:pt x="98" y="91"/>
                  <a:pt x="99" y="90"/>
                  <a:pt x="99" y="88"/>
                </a:cubicBezTo>
                <a:cubicBezTo>
                  <a:pt x="100" y="85"/>
                  <a:pt x="101" y="83"/>
                  <a:pt x="103" y="81"/>
                </a:cubicBezTo>
                <a:cubicBezTo>
                  <a:pt x="104" y="80"/>
                  <a:pt x="108" y="81"/>
                  <a:pt x="106" y="82"/>
                </a:cubicBezTo>
                <a:cubicBezTo>
                  <a:pt x="107" y="82"/>
                  <a:pt x="108" y="83"/>
                  <a:pt x="110" y="83"/>
                </a:cubicBezTo>
                <a:cubicBezTo>
                  <a:pt x="112" y="83"/>
                  <a:pt x="112" y="84"/>
                  <a:pt x="113" y="85"/>
                </a:cubicBezTo>
                <a:cubicBezTo>
                  <a:pt x="114" y="88"/>
                  <a:pt x="115" y="88"/>
                  <a:pt x="118" y="89"/>
                </a:cubicBezTo>
                <a:cubicBezTo>
                  <a:pt x="118" y="88"/>
                  <a:pt x="118" y="87"/>
                  <a:pt x="119" y="86"/>
                </a:cubicBezTo>
                <a:cubicBezTo>
                  <a:pt x="119" y="84"/>
                  <a:pt x="116" y="82"/>
                  <a:pt x="115" y="81"/>
                </a:cubicBezTo>
                <a:close/>
              </a:path>
            </a:pathLst>
          </a:custGeom>
          <a:solidFill>
            <a:srgbClr val="00A5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30" name="Freeform 3087">
            <a:extLst>
              <a:ext uri="{FF2B5EF4-FFF2-40B4-BE49-F238E27FC236}">
                <a16:creationId xmlns:a16="http://schemas.microsoft.com/office/drawing/2014/main" id="{3E77DD3B-C4F9-44DD-8FA9-60100924A831}"/>
              </a:ext>
            </a:extLst>
          </p:cNvPr>
          <p:cNvSpPr>
            <a:spLocks/>
          </p:cNvSpPr>
          <p:nvPr/>
        </p:nvSpPr>
        <p:spPr bwMode="auto">
          <a:xfrm>
            <a:off x="3409868" y="2958419"/>
            <a:ext cx="991" cy="1187"/>
          </a:xfrm>
          <a:custGeom>
            <a:avLst/>
            <a:gdLst>
              <a:gd name="T0" fmla="*/ 1 w 1"/>
              <a:gd name="T1" fmla="*/ 0 h 1"/>
              <a:gd name="T2" fmla="*/ 1 w 1"/>
              <a:gd name="T3" fmla="*/ 0 h 1"/>
              <a:gd name="T4" fmla="*/ 0 w 1"/>
              <a:gd name="T5" fmla="*/ 1 h 1"/>
              <a:gd name="T6" fmla="*/ 1 w 1"/>
              <a:gd name="T7" fmla="*/ 1 h 1"/>
              <a:gd name="T8" fmla="*/ 1 w 1"/>
              <a:gd name="T9" fmla="*/ 1 h 1"/>
              <a:gd name="T10" fmla="*/ 1 w 1"/>
              <a:gd name="T11" fmla="*/ 0 h 1"/>
              <a:gd name="T12" fmla="*/ 1 w 1"/>
              <a:gd name="T13" fmla="*/ 0 h 1"/>
              <a:gd name="T14" fmla="*/ 1 w 1"/>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1" y="0"/>
                </a:moveTo>
                <a:cubicBezTo>
                  <a:pt x="1" y="0"/>
                  <a:pt x="1" y="0"/>
                  <a:pt x="1" y="0"/>
                </a:cubicBezTo>
                <a:cubicBezTo>
                  <a:pt x="0" y="0"/>
                  <a:pt x="0" y="1"/>
                  <a:pt x="0" y="1"/>
                </a:cubicBezTo>
                <a:cubicBezTo>
                  <a:pt x="1" y="1"/>
                  <a:pt x="1" y="1"/>
                  <a:pt x="1" y="1"/>
                </a:cubicBezTo>
                <a:cubicBezTo>
                  <a:pt x="1" y="1"/>
                  <a:pt x="1" y="1"/>
                  <a:pt x="1" y="1"/>
                </a:cubicBezTo>
                <a:cubicBezTo>
                  <a:pt x="1" y="1"/>
                  <a:pt x="1" y="1"/>
                  <a:pt x="1" y="0"/>
                </a:cubicBezTo>
                <a:cubicBezTo>
                  <a:pt x="1" y="0"/>
                  <a:pt x="1" y="0"/>
                  <a:pt x="1" y="0"/>
                </a:cubicBezTo>
                <a:cubicBezTo>
                  <a:pt x="1" y="0"/>
                  <a:pt x="1" y="0"/>
                  <a:pt x="1"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31" name="Freeform 3088">
            <a:extLst>
              <a:ext uri="{FF2B5EF4-FFF2-40B4-BE49-F238E27FC236}">
                <a16:creationId xmlns:a16="http://schemas.microsoft.com/office/drawing/2014/main" id="{985F87B8-A008-4D85-9165-9D992B334B6C}"/>
              </a:ext>
            </a:extLst>
          </p:cNvPr>
          <p:cNvSpPr>
            <a:spLocks noEditPoints="1"/>
          </p:cNvSpPr>
          <p:nvPr/>
        </p:nvSpPr>
        <p:spPr bwMode="auto">
          <a:xfrm>
            <a:off x="3388559" y="2910337"/>
            <a:ext cx="36176" cy="43926"/>
          </a:xfrm>
          <a:custGeom>
            <a:avLst/>
            <a:gdLst>
              <a:gd name="T0" fmla="*/ 2 w 31"/>
              <a:gd name="T1" fmla="*/ 25 h 31"/>
              <a:gd name="T2" fmla="*/ 2 w 31"/>
              <a:gd name="T3" fmla="*/ 26 h 31"/>
              <a:gd name="T4" fmla="*/ 3 w 31"/>
              <a:gd name="T5" fmla="*/ 27 h 31"/>
              <a:gd name="T6" fmla="*/ 3 w 31"/>
              <a:gd name="T7" fmla="*/ 26 h 31"/>
              <a:gd name="T8" fmla="*/ 6 w 31"/>
              <a:gd name="T9" fmla="*/ 26 h 31"/>
              <a:gd name="T10" fmla="*/ 7 w 31"/>
              <a:gd name="T11" fmla="*/ 25 h 31"/>
              <a:gd name="T12" fmla="*/ 10 w 31"/>
              <a:gd name="T13" fmla="*/ 25 h 31"/>
              <a:gd name="T14" fmla="*/ 11 w 31"/>
              <a:gd name="T15" fmla="*/ 25 h 31"/>
              <a:gd name="T16" fmla="*/ 12 w 31"/>
              <a:gd name="T17" fmla="*/ 27 h 31"/>
              <a:gd name="T18" fmla="*/ 12 w 31"/>
              <a:gd name="T19" fmla="*/ 27 h 31"/>
              <a:gd name="T20" fmla="*/ 13 w 31"/>
              <a:gd name="T21" fmla="*/ 28 h 31"/>
              <a:gd name="T22" fmla="*/ 14 w 31"/>
              <a:gd name="T23" fmla="*/ 28 h 31"/>
              <a:gd name="T24" fmla="*/ 17 w 31"/>
              <a:gd name="T25" fmla="*/ 29 h 31"/>
              <a:gd name="T26" fmla="*/ 18 w 31"/>
              <a:gd name="T27" fmla="*/ 29 h 31"/>
              <a:gd name="T28" fmla="*/ 19 w 31"/>
              <a:gd name="T29" fmla="*/ 30 h 31"/>
              <a:gd name="T30" fmla="*/ 20 w 31"/>
              <a:gd name="T31" fmla="*/ 31 h 31"/>
              <a:gd name="T32" fmla="*/ 20 w 31"/>
              <a:gd name="T33" fmla="*/ 29 h 31"/>
              <a:gd name="T34" fmla="*/ 20 w 31"/>
              <a:gd name="T35" fmla="*/ 28 h 31"/>
              <a:gd name="T36" fmla="*/ 21 w 31"/>
              <a:gd name="T37" fmla="*/ 28 h 31"/>
              <a:gd name="T38" fmla="*/ 19 w 31"/>
              <a:gd name="T39" fmla="*/ 24 h 31"/>
              <a:gd name="T40" fmla="*/ 18 w 31"/>
              <a:gd name="T41" fmla="*/ 23 h 31"/>
              <a:gd name="T42" fmla="*/ 21 w 31"/>
              <a:gd name="T43" fmla="*/ 20 h 31"/>
              <a:gd name="T44" fmla="*/ 22 w 31"/>
              <a:gd name="T45" fmla="*/ 19 h 31"/>
              <a:gd name="T46" fmla="*/ 24 w 31"/>
              <a:gd name="T47" fmla="*/ 17 h 31"/>
              <a:gd name="T48" fmla="*/ 23 w 31"/>
              <a:gd name="T49" fmla="*/ 20 h 31"/>
              <a:gd name="T50" fmla="*/ 25 w 31"/>
              <a:gd name="T51" fmla="*/ 20 h 31"/>
              <a:gd name="T52" fmla="*/ 25 w 31"/>
              <a:gd name="T53" fmla="*/ 20 h 31"/>
              <a:gd name="T54" fmla="*/ 26 w 31"/>
              <a:gd name="T55" fmla="*/ 19 h 31"/>
              <a:gd name="T56" fmla="*/ 28 w 31"/>
              <a:gd name="T57" fmla="*/ 16 h 31"/>
              <a:gd name="T58" fmla="*/ 30 w 31"/>
              <a:gd name="T59" fmla="*/ 15 h 31"/>
              <a:gd name="T60" fmla="*/ 29 w 31"/>
              <a:gd name="T61" fmla="*/ 14 h 31"/>
              <a:gd name="T62" fmla="*/ 27 w 31"/>
              <a:gd name="T63" fmla="*/ 14 h 31"/>
              <a:gd name="T64" fmla="*/ 26 w 31"/>
              <a:gd name="T65" fmla="*/ 12 h 31"/>
              <a:gd name="T66" fmla="*/ 25 w 31"/>
              <a:gd name="T67" fmla="*/ 10 h 31"/>
              <a:gd name="T68" fmla="*/ 29 w 31"/>
              <a:gd name="T69" fmla="*/ 9 h 31"/>
              <a:gd name="T70" fmla="*/ 30 w 31"/>
              <a:gd name="T71" fmla="*/ 9 h 31"/>
              <a:gd name="T72" fmla="*/ 31 w 31"/>
              <a:gd name="T73" fmla="*/ 6 h 31"/>
              <a:gd name="T74" fmla="*/ 31 w 31"/>
              <a:gd name="T75" fmla="*/ 4 h 31"/>
              <a:gd name="T76" fmla="*/ 31 w 31"/>
              <a:gd name="T77" fmla="*/ 2 h 31"/>
              <a:gd name="T78" fmla="*/ 30 w 31"/>
              <a:gd name="T79" fmla="*/ 1 h 31"/>
              <a:gd name="T80" fmla="*/ 14 w 31"/>
              <a:gd name="T81" fmla="*/ 3 h 31"/>
              <a:gd name="T82" fmla="*/ 10 w 31"/>
              <a:gd name="T83" fmla="*/ 6 h 31"/>
              <a:gd name="T84" fmla="*/ 6 w 31"/>
              <a:gd name="T85" fmla="*/ 10 h 31"/>
              <a:gd name="T86" fmla="*/ 0 w 31"/>
              <a:gd name="T87" fmla="*/ 21 h 31"/>
              <a:gd name="T88" fmla="*/ 8 w 31"/>
              <a:gd name="T89" fmla="*/ 22 h 31"/>
              <a:gd name="T90" fmla="*/ 4 w 31"/>
              <a:gd name="T91" fmla="*/ 24 h 31"/>
              <a:gd name="T92" fmla="*/ 13 w 31"/>
              <a:gd name="T93" fmla="*/ 9 h 31"/>
              <a:gd name="T94" fmla="*/ 12 w 31"/>
              <a:gd name="T95" fmla="*/ 6 h 31"/>
              <a:gd name="T96" fmla="*/ 17 w 31"/>
              <a:gd name="T97" fmla="*/ 8 h 31"/>
              <a:gd name="T98" fmla="*/ 18 w 31"/>
              <a:gd name="T99" fmla="*/ 11 h 31"/>
              <a:gd name="T100" fmla="*/ 16 w 31"/>
              <a:gd name="T101" fmla="*/ 11 h 31"/>
              <a:gd name="T102" fmla="*/ 13 w 31"/>
              <a:gd name="T103" fmla="*/ 15 h 31"/>
              <a:gd name="T104" fmla="*/ 19 w 31"/>
              <a:gd name="T105" fmla="*/ 13 h 31"/>
              <a:gd name="T106" fmla="*/ 16 w 31"/>
              <a:gd name="T107" fmla="*/ 15 h 31"/>
              <a:gd name="T108" fmla="*/ 11 w 31"/>
              <a:gd name="T109"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 h="31">
                <a:moveTo>
                  <a:pt x="4" y="24"/>
                </a:moveTo>
                <a:cubicBezTo>
                  <a:pt x="3" y="24"/>
                  <a:pt x="1" y="24"/>
                  <a:pt x="2" y="25"/>
                </a:cubicBezTo>
                <a:cubicBezTo>
                  <a:pt x="1" y="25"/>
                  <a:pt x="0" y="24"/>
                  <a:pt x="0" y="25"/>
                </a:cubicBezTo>
                <a:cubicBezTo>
                  <a:pt x="0" y="25"/>
                  <a:pt x="2" y="25"/>
                  <a:pt x="2" y="26"/>
                </a:cubicBezTo>
                <a:cubicBezTo>
                  <a:pt x="3" y="26"/>
                  <a:pt x="3" y="26"/>
                  <a:pt x="3" y="27"/>
                </a:cubicBezTo>
                <a:cubicBezTo>
                  <a:pt x="3" y="27"/>
                  <a:pt x="3" y="27"/>
                  <a:pt x="3" y="27"/>
                </a:cubicBezTo>
                <a:cubicBezTo>
                  <a:pt x="3" y="27"/>
                  <a:pt x="3" y="27"/>
                  <a:pt x="3" y="27"/>
                </a:cubicBezTo>
                <a:cubicBezTo>
                  <a:pt x="3" y="27"/>
                  <a:pt x="3" y="26"/>
                  <a:pt x="3" y="26"/>
                </a:cubicBezTo>
                <a:cubicBezTo>
                  <a:pt x="3" y="26"/>
                  <a:pt x="3" y="26"/>
                  <a:pt x="4" y="25"/>
                </a:cubicBezTo>
                <a:cubicBezTo>
                  <a:pt x="5" y="25"/>
                  <a:pt x="6" y="25"/>
                  <a:pt x="6" y="26"/>
                </a:cubicBezTo>
                <a:cubicBezTo>
                  <a:pt x="6" y="25"/>
                  <a:pt x="7" y="25"/>
                  <a:pt x="7" y="25"/>
                </a:cubicBezTo>
                <a:cubicBezTo>
                  <a:pt x="7" y="25"/>
                  <a:pt x="7" y="25"/>
                  <a:pt x="7" y="25"/>
                </a:cubicBezTo>
                <a:cubicBezTo>
                  <a:pt x="8" y="25"/>
                  <a:pt x="8" y="25"/>
                  <a:pt x="9" y="25"/>
                </a:cubicBezTo>
                <a:cubicBezTo>
                  <a:pt x="9" y="25"/>
                  <a:pt x="10" y="25"/>
                  <a:pt x="10" y="25"/>
                </a:cubicBezTo>
                <a:cubicBezTo>
                  <a:pt x="10" y="25"/>
                  <a:pt x="10" y="25"/>
                  <a:pt x="10" y="25"/>
                </a:cubicBezTo>
                <a:cubicBezTo>
                  <a:pt x="11" y="25"/>
                  <a:pt x="11" y="25"/>
                  <a:pt x="11" y="25"/>
                </a:cubicBezTo>
                <a:cubicBezTo>
                  <a:pt x="11" y="26"/>
                  <a:pt x="11" y="26"/>
                  <a:pt x="12" y="27"/>
                </a:cubicBezTo>
                <a:cubicBezTo>
                  <a:pt x="12" y="27"/>
                  <a:pt x="12" y="27"/>
                  <a:pt x="12" y="27"/>
                </a:cubicBezTo>
                <a:cubicBezTo>
                  <a:pt x="12" y="27"/>
                  <a:pt x="12" y="27"/>
                  <a:pt x="12" y="27"/>
                </a:cubicBezTo>
                <a:cubicBezTo>
                  <a:pt x="12" y="27"/>
                  <a:pt x="12" y="27"/>
                  <a:pt x="12" y="27"/>
                </a:cubicBezTo>
                <a:cubicBezTo>
                  <a:pt x="12" y="28"/>
                  <a:pt x="13" y="28"/>
                  <a:pt x="13" y="28"/>
                </a:cubicBezTo>
                <a:cubicBezTo>
                  <a:pt x="13" y="28"/>
                  <a:pt x="13" y="28"/>
                  <a:pt x="13" y="28"/>
                </a:cubicBezTo>
                <a:cubicBezTo>
                  <a:pt x="13" y="28"/>
                  <a:pt x="14" y="28"/>
                  <a:pt x="14" y="28"/>
                </a:cubicBezTo>
                <a:cubicBezTo>
                  <a:pt x="14" y="28"/>
                  <a:pt x="14" y="28"/>
                  <a:pt x="14" y="28"/>
                </a:cubicBezTo>
                <a:cubicBezTo>
                  <a:pt x="14" y="28"/>
                  <a:pt x="15" y="28"/>
                  <a:pt x="16" y="28"/>
                </a:cubicBezTo>
                <a:cubicBezTo>
                  <a:pt x="17" y="29"/>
                  <a:pt x="17" y="29"/>
                  <a:pt x="17" y="29"/>
                </a:cubicBezTo>
                <a:cubicBezTo>
                  <a:pt x="17" y="29"/>
                  <a:pt x="17" y="29"/>
                  <a:pt x="17" y="29"/>
                </a:cubicBezTo>
                <a:cubicBezTo>
                  <a:pt x="17" y="29"/>
                  <a:pt x="18" y="29"/>
                  <a:pt x="18" y="29"/>
                </a:cubicBezTo>
                <a:cubicBezTo>
                  <a:pt x="19" y="30"/>
                  <a:pt x="19" y="30"/>
                  <a:pt x="19" y="30"/>
                </a:cubicBezTo>
                <a:cubicBezTo>
                  <a:pt x="19" y="30"/>
                  <a:pt x="19" y="30"/>
                  <a:pt x="19" y="30"/>
                </a:cubicBezTo>
                <a:cubicBezTo>
                  <a:pt x="19" y="30"/>
                  <a:pt x="19" y="30"/>
                  <a:pt x="20" y="31"/>
                </a:cubicBezTo>
                <a:cubicBezTo>
                  <a:pt x="20" y="31"/>
                  <a:pt x="20" y="31"/>
                  <a:pt x="20" y="31"/>
                </a:cubicBezTo>
                <a:cubicBezTo>
                  <a:pt x="20" y="30"/>
                  <a:pt x="20" y="30"/>
                  <a:pt x="20" y="30"/>
                </a:cubicBezTo>
                <a:cubicBezTo>
                  <a:pt x="20" y="30"/>
                  <a:pt x="20" y="29"/>
                  <a:pt x="20" y="29"/>
                </a:cubicBezTo>
                <a:cubicBezTo>
                  <a:pt x="20" y="29"/>
                  <a:pt x="20" y="29"/>
                  <a:pt x="20" y="29"/>
                </a:cubicBezTo>
                <a:cubicBezTo>
                  <a:pt x="20" y="29"/>
                  <a:pt x="20" y="29"/>
                  <a:pt x="20" y="28"/>
                </a:cubicBezTo>
                <a:cubicBezTo>
                  <a:pt x="21" y="28"/>
                  <a:pt x="21" y="28"/>
                  <a:pt x="21" y="28"/>
                </a:cubicBezTo>
                <a:cubicBezTo>
                  <a:pt x="21" y="28"/>
                  <a:pt x="21" y="28"/>
                  <a:pt x="21" y="28"/>
                </a:cubicBezTo>
                <a:cubicBezTo>
                  <a:pt x="21" y="27"/>
                  <a:pt x="21" y="27"/>
                  <a:pt x="21" y="27"/>
                </a:cubicBezTo>
                <a:cubicBezTo>
                  <a:pt x="20" y="26"/>
                  <a:pt x="20" y="25"/>
                  <a:pt x="19" y="24"/>
                </a:cubicBezTo>
                <a:cubicBezTo>
                  <a:pt x="19" y="23"/>
                  <a:pt x="19" y="23"/>
                  <a:pt x="19" y="23"/>
                </a:cubicBezTo>
                <a:cubicBezTo>
                  <a:pt x="18" y="23"/>
                  <a:pt x="18" y="23"/>
                  <a:pt x="18" y="23"/>
                </a:cubicBezTo>
                <a:cubicBezTo>
                  <a:pt x="18" y="21"/>
                  <a:pt x="19" y="20"/>
                  <a:pt x="20" y="20"/>
                </a:cubicBezTo>
                <a:cubicBezTo>
                  <a:pt x="20" y="20"/>
                  <a:pt x="20" y="20"/>
                  <a:pt x="21" y="20"/>
                </a:cubicBezTo>
                <a:cubicBezTo>
                  <a:pt x="21" y="20"/>
                  <a:pt x="21" y="20"/>
                  <a:pt x="21" y="20"/>
                </a:cubicBezTo>
                <a:cubicBezTo>
                  <a:pt x="21" y="20"/>
                  <a:pt x="21" y="19"/>
                  <a:pt x="22" y="19"/>
                </a:cubicBezTo>
                <a:cubicBezTo>
                  <a:pt x="22" y="19"/>
                  <a:pt x="23" y="19"/>
                  <a:pt x="23" y="19"/>
                </a:cubicBezTo>
                <a:cubicBezTo>
                  <a:pt x="24" y="17"/>
                  <a:pt x="24" y="17"/>
                  <a:pt x="24" y="17"/>
                </a:cubicBezTo>
                <a:cubicBezTo>
                  <a:pt x="23" y="20"/>
                  <a:pt x="23" y="20"/>
                  <a:pt x="23" y="20"/>
                </a:cubicBezTo>
                <a:cubicBezTo>
                  <a:pt x="23" y="20"/>
                  <a:pt x="23" y="20"/>
                  <a:pt x="23" y="20"/>
                </a:cubicBezTo>
                <a:cubicBezTo>
                  <a:pt x="24" y="20"/>
                  <a:pt x="24" y="20"/>
                  <a:pt x="25" y="20"/>
                </a:cubicBezTo>
                <a:cubicBezTo>
                  <a:pt x="25" y="20"/>
                  <a:pt x="25" y="20"/>
                  <a:pt x="25" y="20"/>
                </a:cubicBezTo>
                <a:cubicBezTo>
                  <a:pt x="25" y="20"/>
                  <a:pt x="25" y="20"/>
                  <a:pt x="25" y="20"/>
                </a:cubicBezTo>
                <a:cubicBezTo>
                  <a:pt x="25" y="20"/>
                  <a:pt x="25" y="20"/>
                  <a:pt x="25" y="20"/>
                </a:cubicBezTo>
                <a:cubicBezTo>
                  <a:pt x="26" y="20"/>
                  <a:pt x="26" y="20"/>
                  <a:pt x="26" y="20"/>
                </a:cubicBezTo>
                <a:cubicBezTo>
                  <a:pt x="26" y="19"/>
                  <a:pt x="26" y="19"/>
                  <a:pt x="26" y="19"/>
                </a:cubicBezTo>
                <a:cubicBezTo>
                  <a:pt x="26" y="18"/>
                  <a:pt x="26" y="18"/>
                  <a:pt x="26" y="18"/>
                </a:cubicBezTo>
                <a:cubicBezTo>
                  <a:pt x="27" y="17"/>
                  <a:pt x="27" y="17"/>
                  <a:pt x="28" y="16"/>
                </a:cubicBezTo>
                <a:cubicBezTo>
                  <a:pt x="29" y="16"/>
                  <a:pt x="29" y="16"/>
                  <a:pt x="29" y="16"/>
                </a:cubicBezTo>
                <a:cubicBezTo>
                  <a:pt x="29" y="16"/>
                  <a:pt x="30" y="15"/>
                  <a:pt x="30" y="15"/>
                </a:cubicBezTo>
                <a:cubicBezTo>
                  <a:pt x="30" y="15"/>
                  <a:pt x="30" y="15"/>
                  <a:pt x="29" y="14"/>
                </a:cubicBezTo>
                <a:cubicBezTo>
                  <a:pt x="29" y="14"/>
                  <a:pt x="29" y="14"/>
                  <a:pt x="29" y="14"/>
                </a:cubicBezTo>
                <a:cubicBezTo>
                  <a:pt x="29" y="14"/>
                  <a:pt x="29" y="14"/>
                  <a:pt x="28" y="14"/>
                </a:cubicBezTo>
                <a:cubicBezTo>
                  <a:pt x="28" y="14"/>
                  <a:pt x="27" y="14"/>
                  <a:pt x="27" y="14"/>
                </a:cubicBezTo>
                <a:cubicBezTo>
                  <a:pt x="25" y="13"/>
                  <a:pt x="25" y="13"/>
                  <a:pt x="25" y="13"/>
                </a:cubicBezTo>
                <a:cubicBezTo>
                  <a:pt x="26" y="12"/>
                  <a:pt x="26" y="12"/>
                  <a:pt x="26" y="12"/>
                </a:cubicBezTo>
                <a:cubicBezTo>
                  <a:pt x="27" y="12"/>
                  <a:pt x="27" y="12"/>
                  <a:pt x="27" y="12"/>
                </a:cubicBezTo>
                <a:cubicBezTo>
                  <a:pt x="25" y="10"/>
                  <a:pt x="25" y="10"/>
                  <a:pt x="25" y="10"/>
                </a:cubicBezTo>
                <a:cubicBezTo>
                  <a:pt x="27" y="9"/>
                  <a:pt x="27" y="9"/>
                  <a:pt x="27" y="9"/>
                </a:cubicBezTo>
                <a:cubicBezTo>
                  <a:pt x="28" y="9"/>
                  <a:pt x="28" y="9"/>
                  <a:pt x="29" y="9"/>
                </a:cubicBezTo>
                <a:cubicBezTo>
                  <a:pt x="29" y="9"/>
                  <a:pt x="30" y="9"/>
                  <a:pt x="30" y="9"/>
                </a:cubicBezTo>
                <a:cubicBezTo>
                  <a:pt x="30" y="9"/>
                  <a:pt x="30" y="9"/>
                  <a:pt x="30" y="9"/>
                </a:cubicBezTo>
                <a:cubicBezTo>
                  <a:pt x="30" y="8"/>
                  <a:pt x="30" y="8"/>
                  <a:pt x="30" y="8"/>
                </a:cubicBezTo>
                <a:cubicBezTo>
                  <a:pt x="30" y="8"/>
                  <a:pt x="30" y="7"/>
                  <a:pt x="31" y="6"/>
                </a:cubicBezTo>
                <a:cubicBezTo>
                  <a:pt x="31" y="6"/>
                  <a:pt x="31" y="5"/>
                  <a:pt x="31" y="5"/>
                </a:cubicBezTo>
                <a:cubicBezTo>
                  <a:pt x="31" y="5"/>
                  <a:pt x="31" y="4"/>
                  <a:pt x="31" y="4"/>
                </a:cubicBezTo>
                <a:cubicBezTo>
                  <a:pt x="31" y="3"/>
                  <a:pt x="31" y="3"/>
                  <a:pt x="31" y="2"/>
                </a:cubicBezTo>
                <a:cubicBezTo>
                  <a:pt x="31" y="2"/>
                  <a:pt x="31" y="2"/>
                  <a:pt x="31" y="2"/>
                </a:cubicBezTo>
                <a:cubicBezTo>
                  <a:pt x="31" y="2"/>
                  <a:pt x="31" y="2"/>
                  <a:pt x="31" y="2"/>
                </a:cubicBezTo>
                <a:cubicBezTo>
                  <a:pt x="31" y="1"/>
                  <a:pt x="31" y="1"/>
                  <a:pt x="30" y="1"/>
                </a:cubicBezTo>
                <a:cubicBezTo>
                  <a:pt x="29" y="0"/>
                  <a:pt x="28" y="0"/>
                  <a:pt x="26" y="0"/>
                </a:cubicBezTo>
                <a:cubicBezTo>
                  <a:pt x="22" y="0"/>
                  <a:pt x="17" y="0"/>
                  <a:pt x="14" y="3"/>
                </a:cubicBezTo>
                <a:cubicBezTo>
                  <a:pt x="14" y="3"/>
                  <a:pt x="13" y="4"/>
                  <a:pt x="12" y="5"/>
                </a:cubicBezTo>
                <a:cubicBezTo>
                  <a:pt x="12" y="6"/>
                  <a:pt x="11" y="6"/>
                  <a:pt x="10" y="6"/>
                </a:cubicBezTo>
                <a:cubicBezTo>
                  <a:pt x="9" y="7"/>
                  <a:pt x="7" y="7"/>
                  <a:pt x="7" y="7"/>
                </a:cubicBezTo>
                <a:cubicBezTo>
                  <a:pt x="7" y="8"/>
                  <a:pt x="6" y="9"/>
                  <a:pt x="6" y="10"/>
                </a:cubicBezTo>
                <a:cubicBezTo>
                  <a:pt x="6" y="14"/>
                  <a:pt x="4" y="16"/>
                  <a:pt x="1" y="19"/>
                </a:cubicBezTo>
                <a:cubicBezTo>
                  <a:pt x="1" y="20"/>
                  <a:pt x="0" y="20"/>
                  <a:pt x="0" y="21"/>
                </a:cubicBezTo>
                <a:cubicBezTo>
                  <a:pt x="1" y="22"/>
                  <a:pt x="2" y="22"/>
                  <a:pt x="3" y="22"/>
                </a:cubicBezTo>
                <a:cubicBezTo>
                  <a:pt x="5" y="23"/>
                  <a:pt x="6" y="23"/>
                  <a:pt x="8" y="22"/>
                </a:cubicBezTo>
                <a:cubicBezTo>
                  <a:pt x="7" y="23"/>
                  <a:pt x="8" y="23"/>
                  <a:pt x="8" y="23"/>
                </a:cubicBezTo>
                <a:cubicBezTo>
                  <a:pt x="7" y="23"/>
                  <a:pt x="5" y="23"/>
                  <a:pt x="4" y="24"/>
                </a:cubicBezTo>
                <a:close/>
                <a:moveTo>
                  <a:pt x="10" y="11"/>
                </a:moveTo>
                <a:cubicBezTo>
                  <a:pt x="11" y="10"/>
                  <a:pt x="13" y="11"/>
                  <a:pt x="13" y="9"/>
                </a:cubicBezTo>
                <a:cubicBezTo>
                  <a:pt x="11" y="9"/>
                  <a:pt x="11" y="8"/>
                  <a:pt x="10" y="7"/>
                </a:cubicBezTo>
                <a:cubicBezTo>
                  <a:pt x="11" y="6"/>
                  <a:pt x="11" y="6"/>
                  <a:pt x="12" y="6"/>
                </a:cubicBezTo>
                <a:cubicBezTo>
                  <a:pt x="14" y="5"/>
                  <a:pt x="14" y="5"/>
                  <a:pt x="14" y="7"/>
                </a:cubicBezTo>
                <a:cubicBezTo>
                  <a:pt x="15" y="8"/>
                  <a:pt x="16" y="7"/>
                  <a:pt x="17" y="8"/>
                </a:cubicBezTo>
                <a:cubicBezTo>
                  <a:pt x="17" y="8"/>
                  <a:pt x="16" y="9"/>
                  <a:pt x="16" y="9"/>
                </a:cubicBezTo>
                <a:cubicBezTo>
                  <a:pt x="16" y="10"/>
                  <a:pt x="17" y="10"/>
                  <a:pt x="18" y="11"/>
                </a:cubicBezTo>
                <a:cubicBezTo>
                  <a:pt x="19" y="11"/>
                  <a:pt x="19" y="12"/>
                  <a:pt x="19" y="12"/>
                </a:cubicBezTo>
                <a:cubicBezTo>
                  <a:pt x="19" y="12"/>
                  <a:pt x="16" y="11"/>
                  <a:pt x="16" y="11"/>
                </a:cubicBezTo>
                <a:cubicBezTo>
                  <a:pt x="15" y="12"/>
                  <a:pt x="12" y="13"/>
                  <a:pt x="12" y="14"/>
                </a:cubicBezTo>
                <a:cubicBezTo>
                  <a:pt x="11" y="15"/>
                  <a:pt x="12" y="15"/>
                  <a:pt x="13" y="15"/>
                </a:cubicBezTo>
                <a:cubicBezTo>
                  <a:pt x="15" y="15"/>
                  <a:pt x="17" y="14"/>
                  <a:pt x="18" y="13"/>
                </a:cubicBezTo>
                <a:cubicBezTo>
                  <a:pt x="18" y="13"/>
                  <a:pt x="19" y="13"/>
                  <a:pt x="19" y="13"/>
                </a:cubicBezTo>
                <a:cubicBezTo>
                  <a:pt x="19" y="13"/>
                  <a:pt x="18" y="13"/>
                  <a:pt x="18" y="13"/>
                </a:cubicBezTo>
                <a:cubicBezTo>
                  <a:pt x="18" y="14"/>
                  <a:pt x="16" y="14"/>
                  <a:pt x="16" y="15"/>
                </a:cubicBezTo>
                <a:cubicBezTo>
                  <a:pt x="15" y="17"/>
                  <a:pt x="11" y="15"/>
                  <a:pt x="10" y="14"/>
                </a:cubicBezTo>
                <a:cubicBezTo>
                  <a:pt x="11" y="14"/>
                  <a:pt x="11" y="13"/>
                  <a:pt x="11" y="12"/>
                </a:cubicBezTo>
                <a:cubicBezTo>
                  <a:pt x="11" y="12"/>
                  <a:pt x="10" y="11"/>
                  <a:pt x="10" y="11"/>
                </a:cubicBezTo>
                <a:close/>
              </a:path>
            </a:pathLst>
          </a:custGeom>
          <a:solidFill>
            <a:srgbClr val="00A5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32" name="Freeform 3089">
            <a:extLst>
              <a:ext uri="{FF2B5EF4-FFF2-40B4-BE49-F238E27FC236}">
                <a16:creationId xmlns:a16="http://schemas.microsoft.com/office/drawing/2014/main" id="{6EA0B25F-C976-4821-9DD6-2A46ED7C7209}"/>
              </a:ext>
            </a:extLst>
          </p:cNvPr>
          <p:cNvSpPr>
            <a:spLocks/>
          </p:cNvSpPr>
          <p:nvPr/>
        </p:nvSpPr>
        <p:spPr bwMode="auto">
          <a:xfrm>
            <a:off x="3380630" y="2944172"/>
            <a:ext cx="10407" cy="4155"/>
          </a:xfrm>
          <a:custGeom>
            <a:avLst/>
            <a:gdLst>
              <a:gd name="T0" fmla="*/ 3 w 9"/>
              <a:gd name="T1" fmla="*/ 3 h 3"/>
              <a:gd name="T2" fmla="*/ 6 w 9"/>
              <a:gd name="T3" fmla="*/ 3 h 3"/>
              <a:gd name="T4" fmla="*/ 8 w 9"/>
              <a:gd name="T5" fmla="*/ 3 h 3"/>
              <a:gd name="T6" fmla="*/ 8 w 9"/>
              <a:gd name="T7" fmla="*/ 3 h 3"/>
              <a:gd name="T8" fmla="*/ 9 w 9"/>
              <a:gd name="T9" fmla="*/ 3 h 3"/>
              <a:gd name="T10" fmla="*/ 8 w 9"/>
              <a:gd name="T11" fmla="*/ 2 h 3"/>
              <a:gd name="T12" fmla="*/ 5 w 9"/>
              <a:gd name="T13" fmla="*/ 1 h 3"/>
              <a:gd name="T14" fmla="*/ 2 w 9"/>
              <a:gd name="T15" fmla="*/ 1 h 3"/>
              <a:gd name="T16" fmla="*/ 3 w 9"/>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3">
                <a:moveTo>
                  <a:pt x="3" y="3"/>
                </a:moveTo>
                <a:cubicBezTo>
                  <a:pt x="4" y="3"/>
                  <a:pt x="5" y="3"/>
                  <a:pt x="6" y="3"/>
                </a:cubicBezTo>
                <a:cubicBezTo>
                  <a:pt x="7" y="3"/>
                  <a:pt x="8" y="3"/>
                  <a:pt x="8" y="3"/>
                </a:cubicBezTo>
                <a:cubicBezTo>
                  <a:pt x="8" y="3"/>
                  <a:pt x="8" y="3"/>
                  <a:pt x="8" y="3"/>
                </a:cubicBezTo>
                <a:cubicBezTo>
                  <a:pt x="9" y="3"/>
                  <a:pt x="9" y="3"/>
                  <a:pt x="9" y="3"/>
                </a:cubicBezTo>
                <a:cubicBezTo>
                  <a:pt x="9" y="2"/>
                  <a:pt x="8" y="2"/>
                  <a:pt x="8" y="2"/>
                </a:cubicBezTo>
                <a:cubicBezTo>
                  <a:pt x="7" y="2"/>
                  <a:pt x="6" y="2"/>
                  <a:pt x="5" y="1"/>
                </a:cubicBezTo>
                <a:cubicBezTo>
                  <a:pt x="4" y="0"/>
                  <a:pt x="2" y="1"/>
                  <a:pt x="2" y="1"/>
                </a:cubicBezTo>
                <a:cubicBezTo>
                  <a:pt x="0" y="2"/>
                  <a:pt x="2" y="3"/>
                  <a:pt x="3" y="3"/>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33" name="Freeform 3090">
            <a:extLst>
              <a:ext uri="{FF2B5EF4-FFF2-40B4-BE49-F238E27FC236}">
                <a16:creationId xmlns:a16="http://schemas.microsoft.com/office/drawing/2014/main" id="{70042004-C9F7-4628-B861-EAB69D565F79}"/>
              </a:ext>
            </a:extLst>
          </p:cNvPr>
          <p:cNvSpPr>
            <a:spLocks/>
          </p:cNvSpPr>
          <p:nvPr/>
        </p:nvSpPr>
        <p:spPr bwMode="auto">
          <a:xfrm>
            <a:off x="3489158" y="2958419"/>
            <a:ext cx="75325" cy="42145"/>
          </a:xfrm>
          <a:custGeom>
            <a:avLst/>
            <a:gdLst>
              <a:gd name="T0" fmla="*/ 6 w 64"/>
              <a:gd name="T1" fmla="*/ 8 h 30"/>
              <a:gd name="T2" fmla="*/ 2 w 64"/>
              <a:gd name="T3" fmla="*/ 8 h 30"/>
              <a:gd name="T4" fmla="*/ 0 w 64"/>
              <a:gd name="T5" fmla="*/ 10 h 30"/>
              <a:gd name="T6" fmla="*/ 0 w 64"/>
              <a:gd name="T7" fmla="*/ 11 h 30"/>
              <a:gd name="T8" fmla="*/ 2 w 64"/>
              <a:gd name="T9" fmla="*/ 13 h 30"/>
              <a:gd name="T10" fmla="*/ 2 w 64"/>
              <a:gd name="T11" fmla="*/ 18 h 30"/>
              <a:gd name="T12" fmla="*/ 4 w 64"/>
              <a:gd name="T13" fmla="*/ 19 h 30"/>
              <a:gd name="T14" fmla="*/ 9 w 64"/>
              <a:gd name="T15" fmla="*/ 23 h 30"/>
              <a:gd name="T16" fmla="*/ 11 w 64"/>
              <a:gd name="T17" fmla="*/ 25 h 30"/>
              <a:gd name="T18" fmla="*/ 15 w 64"/>
              <a:gd name="T19" fmla="*/ 27 h 30"/>
              <a:gd name="T20" fmla="*/ 16 w 64"/>
              <a:gd name="T21" fmla="*/ 28 h 30"/>
              <a:gd name="T22" fmla="*/ 17 w 64"/>
              <a:gd name="T23" fmla="*/ 29 h 30"/>
              <a:gd name="T24" fmla="*/ 23 w 64"/>
              <a:gd name="T25" fmla="*/ 29 h 30"/>
              <a:gd name="T26" fmla="*/ 25 w 64"/>
              <a:gd name="T27" fmla="*/ 26 h 30"/>
              <a:gd name="T28" fmla="*/ 27 w 64"/>
              <a:gd name="T29" fmla="*/ 24 h 30"/>
              <a:gd name="T30" fmla="*/ 29 w 64"/>
              <a:gd name="T31" fmla="*/ 25 h 30"/>
              <a:gd name="T32" fmla="*/ 30 w 64"/>
              <a:gd name="T33" fmla="*/ 25 h 30"/>
              <a:gd name="T34" fmla="*/ 33 w 64"/>
              <a:gd name="T35" fmla="*/ 26 h 30"/>
              <a:gd name="T36" fmla="*/ 39 w 64"/>
              <a:gd name="T37" fmla="*/ 28 h 30"/>
              <a:gd name="T38" fmla="*/ 42 w 64"/>
              <a:gd name="T39" fmla="*/ 27 h 30"/>
              <a:gd name="T40" fmla="*/ 44 w 64"/>
              <a:gd name="T41" fmla="*/ 27 h 30"/>
              <a:gd name="T42" fmla="*/ 45 w 64"/>
              <a:gd name="T43" fmla="*/ 28 h 30"/>
              <a:gd name="T44" fmla="*/ 46 w 64"/>
              <a:gd name="T45" fmla="*/ 28 h 30"/>
              <a:gd name="T46" fmla="*/ 45 w 64"/>
              <a:gd name="T47" fmla="*/ 27 h 30"/>
              <a:gd name="T48" fmla="*/ 48 w 64"/>
              <a:gd name="T49" fmla="*/ 26 h 30"/>
              <a:gd name="T50" fmla="*/ 49 w 64"/>
              <a:gd name="T51" fmla="*/ 26 h 30"/>
              <a:gd name="T52" fmla="*/ 55 w 64"/>
              <a:gd name="T53" fmla="*/ 25 h 30"/>
              <a:gd name="T54" fmla="*/ 57 w 64"/>
              <a:gd name="T55" fmla="*/ 22 h 30"/>
              <a:gd name="T56" fmla="*/ 62 w 64"/>
              <a:gd name="T57" fmla="*/ 19 h 30"/>
              <a:gd name="T58" fmla="*/ 64 w 64"/>
              <a:gd name="T59" fmla="*/ 18 h 30"/>
              <a:gd name="T60" fmla="*/ 59 w 64"/>
              <a:gd name="T61" fmla="*/ 14 h 30"/>
              <a:gd name="T62" fmla="*/ 57 w 64"/>
              <a:gd name="T63" fmla="*/ 13 h 30"/>
              <a:gd name="T64" fmla="*/ 56 w 64"/>
              <a:gd name="T65" fmla="*/ 14 h 30"/>
              <a:gd name="T66" fmla="*/ 55 w 64"/>
              <a:gd name="T67" fmla="*/ 14 h 30"/>
              <a:gd name="T68" fmla="*/ 52 w 64"/>
              <a:gd name="T69" fmla="*/ 9 h 30"/>
              <a:gd name="T70" fmla="*/ 48 w 64"/>
              <a:gd name="T71" fmla="*/ 9 h 30"/>
              <a:gd name="T72" fmla="*/ 46 w 64"/>
              <a:gd name="T73" fmla="*/ 10 h 30"/>
              <a:gd name="T74" fmla="*/ 42 w 64"/>
              <a:gd name="T75" fmla="*/ 12 h 30"/>
              <a:gd name="T76" fmla="*/ 40 w 64"/>
              <a:gd name="T77" fmla="*/ 10 h 30"/>
              <a:gd name="T78" fmla="*/ 38 w 64"/>
              <a:gd name="T79" fmla="*/ 8 h 30"/>
              <a:gd name="T80" fmla="*/ 39 w 64"/>
              <a:gd name="T81" fmla="*/ 5 h 30"/>
              <a:gd name="T82" fmla="*/ 39 w 64"/>
              <a:gd name="T83" fmla="*/ 5 h 30"/>
              <a:gd name="T84" fmla="*/ 37 w 64"/>
              <a:gd name="T85" fmla="*/ 5 h 30"/>
              <a:gd name="T86" fmla="*/ 30 w 64"/>
              <a:gd name="T87" fmla="*/ 3 h 30"/>
              <a:gd name="T88" fmla="*/ 28 w 64"/>
              <a:gd name="T89" fmla="*/ 1 h 30"/>
              <a:gd name="T90" fmla="*/ 27 w 64"/>
              <a:gd name="T91" fmla="*/ 1 h 30"/>
              <a:gd name="T92" fmla="*/ 25 w 64"/>
              <a:gd name="T93" fmla="*/ 2 h 30"/>
              <a:gd name="T94" fmla="*/ 23 w 64"/>
              <a:gd name="T95" fmla="*/ 1 h 30"/>
              <a:gd name="T96" fmla="*/ 22 w 64"/>
              <a:gd name="T97" fmla="*/ 1 h 30"/>
              <a:gd name="T98" fmla="*/ 20 w 64"/>
              <a:gd name="T99" fmla="*/ 1 h 30"/>
              <a:gd name="T100" fmla="*/ 19 w 64"/>
              <a:gd name="T101" fmla="*/ 2 h 30"/>
              <a:gd name="T102" fmla="*/ 16 w 64"/>
              <a:gd name="T103" fmla="*/ 3 h 30"/>
              <a:gd name="T104" fmla="*/ 12 w 64"/>
              <a:gd name="T105"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4" h="30">
                <a:moveTo>
                  <a:pt x="12" y="4"/>
                </a:moveTo>
                <a:cubicBezTo>
                  <a:pt x="12" y="4"/>
                  <a:pt x="11" y="5"/>
                  <a:pt x="10" y="5"/>
                </a:cubicBezTo>
                <a:cubicBezTo>
                  <a:pt x="9" y="6"/>
                  <a:pt x="8" y="7"/>
                  <a:pt x="6" y="8"/>
                </a:cubicBezTo>
                <a:cubicBezTo>
                  <a:pt x="5" y="8"/>
                  <a:pt x="4" y="8"/>
                  <a:pt x="3" y="8"/>
                </a:cubicBezTo>
                <a:cubicBezTo>
                  <a:pt x="3" y="8"/>
                  <a:pt x="3" y="8"/>
                  <a:pt x="2" y="8"/>
                </a:cubicBezTo>
                <a:cubicBezTo>
                  <a:pt x="2" y="8"/>
                  <a:pt x="2" y="8"/>
                  <a:pt x="2" y="8"/>
                </a:cubicBezTo>
                <a:cubicBezTo>
                  <a:pt x="2" y="8"/>
                  <a:pt x="2" y="8"/>
                  <a:pt x="2" y="8"/>
                </a:cubicBezTo>
                <a:cubicBezTo>
                  <a:pt x="1" y="8"/>
                  <a:pt x="1" y="9"/>
                  <a:pt x="0" y="9"/>
                </a:cubicBezTo>
                <a:cubicBezTo>
                  <a:pt x="0" y="10"/>
                  <a:pt x="0" y="10"/>
                  <a:pt x="0" y="10"/>
                </a:cubicBezTo>
                <a:cubicBezTo>
                  <a:pt x="0" y="10"/>
                  <a:pt x="0" y="11"/>
                  <a:pt x="0" y="11"/>
                </a:cubicBezTo>
                <a:cubicBezTo>
                  <a:pt x="0" y="11"/>
                  <a:pt x="0" y="11"/>
                  <a:pt x="0" y="11"/>
                </a:cubicBezTo>
                <a:cubicBezTo>
                  <a:pt x="0" y="11"/>
                  <a:pt x="0" y="11"/>
                  <a:pt x="0" y="11"/>
                </a:cubicBezTo>
                <a:cubicBezTo>
                  <a:pt x="0" y="11"/>
                  <a:pt x="0" y="11"/>
                  <a:pt x="1" y="11"/>
                </a:cubicBezTo>
                <a:cubicBezTo>
                  <a:pt x="1" y="12"/>
                  <a:pt x="2" y="12"/>
                  <a:pt x="2" y="13"/>
                </a:cubicBezTo>
                <a:cubicBezTo>
                  <a:pt x="2" y="13"/>
                  <a:pt x="2" y="13"/>
                  <a:pt x="2" y="13"/>
                </a:cubicBezTo>
                <a:cubicBezTo>
                  <a:pt x="2" y="14"/>
                  <a:pt x="2" y="15"/>
                  <a:pt x="1" y="15"/>
                </a:cubicBezTo>
                <a:cubicBezTo>
                  <a:pt x="1" y="15"/>
                  <a:pt x="1" y="16"/>
                  <a:pt x="1" y="16"/>
                </a:cubicBezTo>
                <a:cubicBezTo>
                  <a:pt x="1" y="16"/>
                  <a:pt x="1" y="16"/>
                  <a:pt x="2" y="18"/>
                </a:cubicBezTo>
                <a:cubicBezTo>
                  <a:pt x="3" y="18"/>
                  <a:pt x="3" y="19"/>
                  <a:pt x="3" y="19"/>
                </a:cubicBezTo>
                <a:cubicBezTo>
                  <a:pt x="4" y="19"/>
                  <a:pt x="4" y="19"/>
                  <a:pt x="4" y="19"/>
                </a:cubicBezTo>
                <a:cubicBezTo>
                  <a:pt x="4" y="19"/>
                  <a:pt x="4" y="19"/>
                  <a:pt x="4" y="19"/>
                </a:cubicBezTo>
                <a:cubicBezTo>
                  <a:pt x="5" y="20"/>
                  <a:pt x="5" y="20"/>
                  <a:pt x="6" y="20"/>
                </a:cubicBezTo>
                <a:cubicBezTo>
                  <a:pt x="6" y="21"/>
                  <a:pt x="6" y="21"/>
                  <a:pt x="6" y="21"/>
                </a:cubicBezTo>
                <a:cubicBezTo>
                  <a:pt x="7" y="21"/>
                  <a:pt x="8" y="22"/>
                  <a:pt x="9" y="23"/>
                </a:cubicBezTo>
                <a:cubicBezTo>
                  <a:pt x="9" y="23"/>
                  <a:pt x="9" y="23"/>
                  <a:pt x="9" y="23"/>
                </a:cubicBezTo>
                <a:cubicBezTo>
                  <a:pt x="10" y="24"/>
                  <a:pt x="10" y="24"/>
                  <a:pt x="11" y="25"/>
                </a:cubicBezTo>
                <a:cubicBezTo>
                  <a:pt x="11" y="25"/>
                  <a:pt x="11" y="25"/>
                  <a:pt x="11" y="25"/>
                </a:cubicBezTo>
                <a:cubicBezTo>
                  <a:pt x="11" y="25"/>
                  <a:pt x="12" y="25"/>
                  <a:pt x="12" y="25"/>
                </a:cubicBezTo>
                <a:cubicBezTo>
                  <a:pt x="13" y="26"/>
                  <a:pt x="13" y="26"/>
                  <a:pt x="13" y="26"/>
                </a:cubicBezTo>
                <a:cubicBezTo>
                  <a:pt x="14" y="26"/>
                  <a:pt x="14" y="27"/>
                  <a:pt x="15" y="27"/>
                </a:cubicBezTo>
                <a:cubicBezTo>
                  <a:pt x="15" y="28"/>
                  <a:pt x="15" y="28"/>
                  <a:pt x="15" y="28"/>
                </a:cubicBezTo>
                <a:cubicBezTo>
                  <a:pt x="16" y="28"/>
                  <a:pt x="16" y="28"/>
                  <a:pt x="16" y="28"/>
                </a:cubicBezTo>
                <a:cubicBezTo>
                  <a:pt x="16" y="28"/>
                  <a:pt x="16" y="28"/>
                  <a:pt x="16" y="28"/>
                </a:cubicBezTo>
                <a:cubicBezTo>
                  <a:pt x="16" y="28"/>
                  <a:pt x="16" y="28"/>
                  <a:pt x="16" y="28"/>
                </a:cubicBezTo>
                <a:cubicBezTo>
                  <a:pt x="16" y="28"/>
                  <a:pt x="17" y="29"/>
                  <a:pt x="17" y="29"/>
                </a:cubicBezTo>
                <a:cubicBezTo>
                  <a:pt x="17" y="29"/>
                  <a:pt x="17" y="29"/>
                  <a:pt x="17" y="29"/>
                </a:cubicBezTo>
                <a:cubicBezTo>
                  <a:pt x="18" y="30"/>
                  <a:pt x="19" y="30"/>
                  <a:pt x="21" y="30"/>
                </a:cubicBezTo>
                <a:cubicBezTo>
                  <a:pt x="21" y="30"/>
                  <a:pt x="21" y="30"/>
                  <a:pt x="21" y="30"/>
                </a:cubicBezTo>
                <a:cubicBezTo>
                  <a:pt x="22" y="30"/>
                  <a:pt x="22" y="30"/>
                  <a:pt x="23" y="29"/>
                </a:cubicBezTo>
                <a:cubicBezTo>
                  <a:pt x="23" y="29"/>
                  <a:pt x="23" y="29"/>
                  <a:pt x="23" y="29"/>
                </a:cubicBezTo>
                <a:cubicBezTo>
                  <a:pt x="24" y="28"/>
                  <a:pt x="24" y="28"/>
                  <a:pt x="25" y="27"/>
                </a:cubicBezTo>
                <a:cubicBezTo>
                  <a:pt x="25" y="27"/>
                  <a:pt x="25" y="27"/>
                  <a:pt x="25" y="26"/>
                </a:cubicBezTo>
                <a:cubicBezTo>
                  <a:pt x="25" y="26"/>
                  <a:pt x="25" y="25"/>
                  <a:pt x="25" y="25"/>
                </a:cubicBezTo>
                <a:cubicBezTo>
                  <a:pt x="26" y="24"/>
                  <a:pt x="26" y="24"/>
                  <a:pt x="26" y="24"/>
                </a:cubicBezTo>
                <a:cubicBezTo>
                  <a:pt x="26" y="24"/>
                  <a:pt x="26" y="24"/>
                  <a:pt x="27" y="24"/>
                </a:cubicBezTo>
                <a:cubicBezTo>
                  <a:pt x="27" y="24"/>
                  <a:pt x="28" y="25"/>
                  <a:pt x="28" y="25"/>
                </a:cubicBezTo>
                <a:cubicBezTo>
                  <a:pt x="28" y="25"/>
                  <a:pt x="29" y="25"/>
                  <a:pt x="29" y="25"/>
                </a:cubicBezTo>
                <a:cubicBezTo>
                  <a:pt x="29" y="25"/>
                  <a:pt x="29" y="25"/>
                  <a:pt x="29" y="25"/>
                </a:cubicBezTo>
                <a:cubicBezTo>
                  <a:pt x="29" y="25"/>
                  <a:pt x="29" y="25"/>
                  <a:pt x="29" y="25"/>
                </a:cubicBezTo>
                <a:cubicBezTo>
                  <a:pt x="29" y="25"/>
                  <a:pt x="30" y="25"/>
                  <a:pt x="30" y="25"/>
                </a:cubicBezTo>
                <a:cubicBezTo>
                  <a:pt x="30" y="25"/>
                  <a:pt x="30" y="25"/>
                  <a:pt x="30" y="25"/>
                </a:cubicBezTo>
                <a:cubicBezTo>
                  <a:pt x="31" y="25"/>
                  <a:pt x="31" y="25"/>
                  <a:pt x="31" y="25"/>
                </a:cubicBezTo>
                <a:cubicBezTo>
                  <a:pt x="31" y="25"/>
                  <a:pt x="31" y="25"/>
                  <a:pt x="31" y="25"/>
                </a:cubicBezTo>
                <a:cubicBezTo>
                  <a:pt x="32" y="25"/>
                  <a:pt x="33" y="26"/>
                  <a:pt x="33" y="26"/>
                </a:cubicBezTo>
                <a:cubicBezTo>
                  <a:pt x="34" y="26"/>
                  <a:pt x="34" y="26"/>
                  <a:pt x="34" y="26"/>
                </a:cubicBezTo>
                <a:cubicBezTo>
                  <a:pt x="34" y="26"/>
                  <a:pt x="34" y="26"/>
                  <a:pt x="34" y="26"/>
                </a:cubicBezTo>
                <a:cubicBezTo>
                  <a:pt x="39" y="28"/>
                  <a:pt x="39" y="28"/>
                  <a:pt x="39" y="28"/>
                </a:cubicBezTo>
                <a:cubicBezTo>
                  <a:pt x="39" y="28"/>
                  <a:pt x="39" y="28"/>
                  <a:pt x="40" y="27"/>
                </a:cubicBezTo>
                <a:cubicBezTo>
                  <a:pt x="40" y="27"/>
                  <a:pt x="41" y="27"/>
                  <a:pt x="42" y="27"/>
                </a:cubicBezTo>
                <a:cubicBezTo>
                  <a:pt x="42" y="27"/>
                  <a:pt x="42" y="27"/>
                  <a:pt x="42" y="27"/>
                </a:cubicBezTo>
                <a:cubicBezTo>
                  <a:pt x="42" y="27"/>
                  <a:pt x="43" y="27"/>
                  <a:pt x="43" y="27"/>
                </a:cubicBezTo>
                <a:cubicBezTo>
                  <a:pt x="43" y="27"/>
                  <a:pt x="43" y="27"/>
                  <a:pt x="43" y="27"/>
                </a:cubicBezTo>
                <a:cubicBezTo>
                  <a:pt x="44" y="27"/>
                  <a:pt x="44" y="27"/>
                  <a:pt x="44" y="27"/>
                </a:cubicBezTo>
                <a:cubicBezTo>
                  <a:pt x="44" y="28"/>
                  <a:pt x="44" y="28"/>
                  <a:pt x="44" y="28"/>
                </a:cubicBezTo>
                <a:cubicBezTo>
                  <a:pt x="45" y="28"/>
                  <a:pt x="45" y="28"/>
                  <a:pt x="45" y="28"/>
                </a:cubicBezTo>
                <a:cubicBezTo>
                  <a:pt x="45" y="28"/>
                  <a:pt x="45" y="28"/>
                  <a:pt x="45" y="28"/>
                </a:cubicBezTo>
                <a:cubicBezTo>
                  <a:pt x="45" y="28"/>
                  <a:pt x="46" y="28"/>
                  <a:pt x="46" y="28"/>
                </a:cubicBezTo>
                <a:cubicBezTo>
                  <a:pt x="46" y="28"/>
                  <a:pt x="46" y="28"/>
                  <a:pt x="46" y="28"/>
                </a:cubicBezTo>
                <a:cubicBezTo>
                  <a:pt x="46" y="28"/>
                  <a:pt x="46" y="28"/>
                  <a:pt x="46" y="28"/>
                </a:cubicBezTo>
                <a:cubicBezTo>
                  <a:pt x="46" y="28"/>
                  <a:pt x="46" y="28"/>
                  <a:pt x="46" y="28"/>
                </a:cubicBezTo>
                <a:cubicBezTo>
                  <a:pt x="46" y="28"/>
                  <a:pt x="46" y="28"/>
                  <a:pt x="46" y="28"/>
                </a:cubicBezTo>
                <a:cubicBezTo>
                  <a:pt x="45" y="27"/>
                  <a:pt x="45" y="27"/>
                  <a:pt x="45" y="27"/>
                </a:cubicBezTo>
                <a:cubicBezTo>
                  <a:pt x="47" y="27"/>
                  <a:pt x="47" y="27"/>
                  <a:pt x="47" y="27"/>
                </a:cubicBezTo>
                <a:cubicBezTo>
                  <a:pt x="47" y="27"/>
                  <a:pt x="47" y="27"/>
                  <a:pt x="47" y="27"/>
                </a:cubicBezTo>
                <a:cubicBezTo>
                  <a:pt x="47" y="26"/>
                  <a:pt x="48" y="26"/>
                  <a:pt x="48" y="26"/>
                </a:cubicBezTo>
                <a:cubicBezTo>
                  <a:pt x="48" y="26"/>
                  <a:pt x="48" y="26"/>
                  <a:pt x="48" y="26"/>
                </a:cubicBezTo>
                <a:cubicBezTo>
                  <a:pt x="49" y="26"/>
                  <a:pt x="49" y="26"/>
                  <a:pt x="49" y="26"/>
                </a:cubicBezTo>
                <a:cubicBezTo>
                  <a:pt x="49" y="26"/>
                  <a:pt x="49" y="26"/>
                  <a:pt x="49" y="26"/>
                </a:cubicBezTo>
                <a:cubicBezTo>
                  <a:pt x="50" y="26"/>
                  <a:pt x="50" y="26"/>
                  <a:pt x="50" y="26"/>
                </a:cubicBezTo>
                <a:cubicBezTo>
                  <a:pt x="51" y="26"/>
                  <a:pt x="51" y="27"/>
                  <a:pt x="51" y="27"/>
                </a:cubicBezTo>
                <a:cubicBezTo>
                  <a:pt x="52" y="26"/>
                  <a:pt x="53" y="26"/>
                  <a:pt x="55" y="25"/>
                </a:cubicBezTo>
                <a:cubicBezTo>
                  <a:pt x="56" y="25"/>
                  <a:pt x="56" y="24"/>
                  <a:pt x="57" y="24"/>
                </a:cubicBezTo>
                <a:cubicBezTo>
                  <a:pt x="57" y="24"/>
                  <a:pt x="57" y="24"/>
                  <a:pt x="57" y="24"/>
                </a:cubicBezTo>
                <a:cubicBezTo>
                  <a:pt x="57" y="23"/>
                  <a:pt x="57" y="23"/>
                  <a:pt x="57" y="22"/>
                </a:cubicBezTo>
                <a:cubicBezTo>
                  <a:pt x="57" y="22"/>
                  <a:pt x="58" y="22"/>
                  <a:pt x="58" y="22"/>
                </a:cubicBezTo>
                <a:cubicBezTo>
                  <a:pt x="58" y="21"/>
                  <a:pt x="58" y="21"/>
                  <a:pt x="58" y="21"/>
                </a:cubicBezTo>
                <a:cubicBezTo>
                  <a:pt x="59" y="20"/>
                  <a:pt x="61" y="19"/>
                  <a:pt x="62" y="19"/>
                </a:cubicBezTo>
                <a:cubicBezTo>
                  <a:pt x="63" y="18"/>
                  <a:pt x="63" y="18"/>
                  <a:pt x="63" y="18"/>
                </a:cubicBezTo>
                <a:cubicBezTo>
                  <a:pt x="63" y="18"/>
                  <a:pt x="64" y="18"/>
                  <a:pt x="64" y="18"/>
                </a:cubicBezTo>
                <a:cubicBezTo>
                  <a:pt x="64" y="18"/>
                  <a:pt x="64" y="18"/>
                  <a:pt x="64" y="18"/>
                </a:cubicBezTo>
                <a:cubicBezTo>
                  <a:pt x="63" y="18"/>
                  <a:pt x="63" y="17"/>
                  <a:pt x="62" y="16"/>
                </a:cubicBezTo>
                <a:cubicBezTo>
                  <a:pt x="62" y="15"/>
                  <a:pt x="60" y="15"/>
                  <a:pt x="59" y="14"/>
                </a:cubicBezTo>
                <a:cubicBezTo>
                  <a:pt x="59" y="14"/>
                  <a:pt x="59" y="14"/>
                  <a:pt x="59" y="14"/>
                </a:cubicBezTo>
                <a:cubicBezTo>
                  <a:pt x="59" y="14"/>
                  <a:pt x="58" y="14"/>
                  <a:pt x="58" y="13"/>
                </a:cubicBezTo>
                <a:cubicBezTo>
                  <a:pt x="58" y="13"/>
                  <a:pt x="58" y="13"/>
                  <a:pt x="58" y="13"/>
                </a:cubicBezTo>
                <a:cubicBezTo>
                  <a:pt x="58" y="13"/>
                  <a:pt x="58" y="13"/>
                  <a:pt x="57" y="13"/>
                </a:cubicBezTo>
                <a:cubicBezTo>
                  <a:pt x="57" y="13"/>
                  <a:pt x="57" y="13"/>
                  <a:pt x="57" y="14"/>
                </a:cubicBezTo>
                <a:cubicBezTo>
                  <a:pt x="57" y="14"/>
                  <a:pt x="57" y="14"/>
                  <a:pt x="57" y="14"/>
                </a:cubicBezTo>
                <a:cubicBezTo>
                  <a:pt x="56" y="14"/>
                  <a:pt x="56" y="14"/>
                  <a:pt x="56" y="14"/>
                </a:cubicBezTo>
                <a:cubicBezTo>
                  <a:pt x="56" y="14"/>
                  <a:pt x="56" y="14"/>
                  <a:pt x="56" y="14"/>
                </a:cubicBezTo>
                <a:cubicBezTo>
                  <a:pt x="55" y="14"/>
                  <a:pt x="55" y="14"/>
                  <a:pt x="55" y="14"/>
                </a:cubicBezTo>
                <a:cubicBezTo>
                  <a:pt x="55" y="14"/>
                  <a:pt x="55" y="14"/>
                  <a:pt x="55" y="14"/>
                </a:cubicBezTo>
                <a:cubicBezTo>
                  <a:pt x="54" y="13"/>
                  <a:pt x="53" y="13"/>
                  <a:pt x="52" y="12"/>
                </a:cubicBezTo>
                <a:cubicBezTo>
                  <a:pt x="51" y="11"/>
                  <a:pt x="51" y="10"/>
                  <a:pt x="51" y="10"/>
                </a:cubicBezTo>
                <a:cubicBezTo>
                  <a:pt x="52" y="9"/>
                  <a:pt x="52" y="9"/>
                  <a:pt x="52" y="9"/>
                </a:cubicBezTo>
                <a:cubicBezTo>
                  <a:pt x="51" y="9"/>
                  <a:pt x="50" y="9"/>
                  <a:pt x="49" y="9"/>
                </a:cubicBezTo>
                <a:cubicBezTo>
                  <a:pt x="48" y="9"/>
                  <a:pt x="48" y="8"/>
                  <a:pt x="48" y="8"/>
                </a:cubicBezTo>
                <a:cubicBezTo>
                  <a:pt x="48" y="9"/>
                  <a:pt x="48" y="9"/>
                  <a:pt x="48" y="9"/>
                </a:cubicBezTo>
                <a:cubicBezTo>
                  <a:pt x="49" y="13"/>
                  <a:pt x="49" y="13"/>
                  <a:pt x="49" y="13"/>
                </a:cubicBezTo>
                <a:cubicBezTo>
                  <a:pt x="46" y="10"/>
                  <a:pt x="46" y="10"/>
                  <a:pt x="46" y="10"/>
                </a:cubicBezTo>
                <a:cubicBezTo>
                  <a:pt x="46" y="10"/>
                  <a:pt x="46" y="10"/>
                  <a:pt x="46" y="10"/>
                </a:cubicBezTo>
                <a:cubicBezTo>
                  <a:pt x="46" y="11"/>
                  <a:pt x="46" y="11"/>
                  <a:pt x="45" y="11"/>
                </a:cubicBezTo>
                <a:cubicBezTo>
                  <a:pt x="45" y="11"/>
                  <a:pt x="44" y="12"/>
                  <a:pt x="43" y="12"/>
                </a:cubicBezTo>
                <a:cubicBezTo>
                  <a:pt x="42" y="12"/>
                  <a:pt x="42" y="12"/>
                  <a:pt x="42" y="12"/>
                </a:cubicBezTo>
                <a:cubicBezTo>
                  <a:pt x="42" y="12"/>
                  <a:pt x="42" y="11"/>
                  <a:pt x="42" y="11"/>
                </a:cubicBezTo>
                <a:cubicBezTo>
                  <a:pt x="41" y="11"/>
                  <a:pt x="41" y="10"/>
                  <a:pt x="40" y="10"/>
                </a:cubicBezTo>
                <a:cubicBezTo>
                  <a:pt x="40" y="10"/>
                  <a:pt x="40" y="10"/>
                  <a:pt x="40" y="10"/>
                </a:cubicBezTo>
                <a:cubicBezTo>
                  <a:pt x="40" y="10"/>
                  <a:pt x="40" y="9"/>
                  <a:pt x="39" y="9"/>
                </a:cubicBezTo>
                <a:cubicBezTo>
                  <a:pt x="39" y="9"/>
                  <a:pt x="39" y="9"/>
                  <a:pt x="39" y="9"/>
                </a:cubicBezTo>
                <a:cubicBezTo>
                  <a:pt x="39" y="9"/>
                  <a:pt x="39" y="9"/>
                  <a:pt x="38" y="8"/>
                </a:cubicBezTo>
                <a:cubicBezTo>
                  <a:pt x="38" y="8"/>
                  <a:pt x="37" y="7"/>
                  <a:pt x="37" y="6"/>
                </a:cubicBezTo>
                <a:cubicBezTo>
                  <a:pt x="37" y="6"/>
                  <a:pt x="37" y="6"/>
                  <a:pt x="37" y="6"/>
                </a:cubicBezTo>
                <a:cubicBezTo>
                  <a:pt x="38" y="5"/>
                  <a:pt x="38" y="5"/>
                  <a:pt x="39" y="5"/>
                </a:cubicBezTo>
                <a:cubicBezTo>
                  <a:pt x="39" y="5"/>
                  <a:pt x="39" y="5"/>
                  <a:pt x="39" y="5"/>
                </a:cubicBezTo>
                <a:cubicBezTo>
                  <a:pt x="39" y="5"/>
                  <a:pt x="39" y="5"/>
                  <a:pt x="39" y="5"/>
                </a:cubicBezTo>
                <a:cubicBezTo>
                  <a:pt x="39" y="5"/>
                  <a:pt x="39" y="5"/>
                  <a:pt x="39" y="5"/>
                </a:cubicBezTo>
                <a:cubicBezTo>
                  <a:pt x="39" y="5"/>
                  <a:pt x="39" y="5"/>
                  <a:pt x="38" y="5"/>
                </a:cubicBezTo>
                <a:cubicBezTo>
                  <a:pt x="38" y="5"/>
                  <a:pt x="38" y="5"/>
                  <a:pt x="38" y="5"/>
                </a:cubicBezTo>
                <a:cubicBezTo>
                  <a:pt x="37" y="5"/>
                  <a:pt x="37" y="5"/>
                  <a:pt x="37" y="5"/>
                </a:cubicBezTo>
                <a:cubicBezTo>
                  <a:pt x="31" y="3"/>
                  <a:pt x="31" y="3"/>
                  <a:pt x="31" y="3"/>
                </a:cubicBezTo>
                <a:cubicBezTo>
                  <a:pt x="31" y="3"/>
                  <a:pt x="30" y="3"/>
                  <a:pt x="30" y="3"/>
                </a:cubicBezTo>
                <a:cubicBezTo>
                  <a:pt x="30" y="3"/>
                  <a:pt x="30" y="3"/>
                  <a:pt x="30" y="3"/>
                </a:cubicBezTo>
                <a:cubicBezTo>
                  <a:pt x="29" y="3"/>
                  <a:pt x="29" y="3"/>
                  <a:pt x="29" y="2"/>
                </a:cubicBezTo>
                <a:cubicBezTo>
                  <a:pt x="29" y="2"/>
                  <a:pt x="28" y="2"/>
                  <a:pt x="28" y="1"/>
                </a:cubicBezTo>
                <a:cubicBezTo>
                  <a:pt x="28" y="1"/>
                  <a:pt x="28" y="1"/>
                  <a:pt x="28" y="1"/>
                </a:cubicBezTo>
                <a:cubicBezTo>
                  <a:pt x="27" y="0"/>
                  <a:pt x="27" y="0"/>
                  <a:pt x="27" y="0"/>
                </a:cubicBezTo>
                <a:cubicBezTo>
                  <a:pt x="27" y="0"/>
                  <a:pt x="27" y="0"/>
                  <a:pt x="27" y="0"/>
                </a:cubicBezTo>
                <a:cubicBezTo>
                  <a:pt x="27" y="0"/>
                  <a:pt x="27" y="0"/>
                  <a:pt x="27" y="1"/>
                </a:cubicBezTo>
                <a:cubicBezTo>
                  <a:pt x="27" y="1"/>
                  <a:pt x="26" y="1"/>
                  <a:pt x="26" y="1"/>
                </a:cubicBezTo>
                <a:cubicBezTo>
                  <a:pt x="26" y="2"/>
                  <a:pt x="26" y="2"/>
                  <a:pt x="26" y="2"/>
                </a:cubicBezTo>
                <a:cubicBezTo>
                  <a:pt x="25" y="2"/>
                  <a:pt x="25" y="2"/>
                  <a:pt x="25" y="2"/>
                </a:cubicBezTo>
                <a:cubicBezTo>
                  <a:pt x="25" y="2"/>
                  <a:pt x="25" y="2"/>
                  <a:pt x="25" y="2"/>
                </a:cubicBezTo>
                <a:cubicBezTo>
                  <a:pt x="24" y="2"/>
                  <a:pt x="24" y="2"/>
                  <a:pt x="24" y="2"/>
                </a:cubicBezTo>
                <a:cubicBezTo>
                  <a:pt x="23" y="1"/>
                  <a:pt x="23" y="1"/>
                  <a:pt x="23" y="1"/>
                </a:cubicBezTo>
                <a:cubicBezTo>
                  <a:pt x="23" y="1"/>
                  <a:pt x="23" y="1"/>
                  <a:pt x="23" y="1"/>
                </a:cubicBezTo>
                <a:cubicBezTo>
                  <a:pt x="23" y="1"/>
                  <a:pt x="23" y="1"/>
                  <a:pt x="23" y="1"/>
                </a:cubicBezTo>
                <a:cubicBezTo>
                  <a:pt x="22" y="1"/>
                  <a:pt x="22" y="1"/>
                  <a:pt x="22" y="1"/>
                </a:cubicBezTo>
                <a:cubicBezTo>
                  <a:pt x="22" y="0"/>
                  <a:pt x="21" y="0"/>
                  <a:pt x="21" y="0"/>
                </a:cubicBezTo>
                <a:cubicBezTo>
                  <a:pt x="21" y="0"/>
                  <a:pt x="21" y="0"/>
                  <a:pt x="20" y="0"/>
                </a:cubicBezTo>
                <a:cubicBezTo>
                  <a:pt x="20" y="0"/>
                  <a:pt x="20" y="1"/>
                  <a:pt x="20" y="1"/>
                </a:cubicBezTo>
                <a:cubicBezTo>
                  <a:pt x="20" y="2"/>
                  <a:pt x="20" y="2"/>
                  <a:pt x="19" y="2"/>
                </a:cubicBezTo>
                <a:cubicBezTo>
                  <a:pt x="19" y="2"/>
                  <a:pt x="19" y="2"/>
                  <a:pt x="19" y="2"/>
                </a:cubicBezTo>
                <a:cubicBezTo>
                  <a:pt x="19" y="2"/>
                  <a:pt x="19" y="2"/>
                  <a:pt x="19" y="2"/>
                </a:cubicBezTo>
                <a:cubicBezTo>
                  <a:pt x="18" y="2"/>
                  <a:pt x="18" y="2"/>
                  <a:pt x="18" y="2"/>
                </a:cubicBezTo>
                <a:cubicBezTo>
                  <a:pt x="17" y="2"/>
                  <a:pt x="17" y="3"/>
                  <a:pt x="16" y="3"/>
                </a:cubicBezTo>
                <a:cubicBezTo>
                  <a:pt x="16" y="3"/>
                  <a:pt x="16" y="3"/>
                  <a:pt x="16" y="3"/>
                </a:cubicBezTo>
                <a:cubicBezTo>
                  <a:pt x="16" y="3"/>
                  <a:pt x="16" y="3"/>
                  <a:pt x="16" y="3"/>
                </a:cubicBezTo>
                <a:cubicBezTo>
                  <a:pt x="15" y="3"/>
                  <a:pt x="14" y="3"/>
                  <a:pt x="14" y="4"/>
                </a:cubicBezTo>
                <a:cubicBezTo>
                  <a:pt x="13" y="4"/>
                  <a:pt x="13" y="4"/>
                  <a:pt x="12" y="4"/>
                </a:cubicBezTo>
                <a:close/>
              </a:path>
            </a:pathLst>
          </a:custGeom>
          <a:solidFill>
            <a:srgbClr val="00A5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34" name="Rectangle 3091">
            <a:extLst>
              <a:ext uri="{FF2B5EF4-FFF2-40B4-BE49-F238E27FC236}">
                <a16:creationId xmlns:a16="http://schemas.microsoft.com/office/drawing/2014/main" id="{457A036F-49A7-4082-AD8A-A306A937BA24}"/>
              </a:ext>
            </a:extLst>
          </p:cNvPr>
          <p:cNvSpPr>
            <a:spLocks noChangeArrowheads="1"/>
          </p:cNvSpPr>
          <p:nvPr/>
        </p:nvSpPr>
        <p:spPr bwMode="auto">
          <a:xfrm>
            <a:off x="3556059" y="2976227"/>
            <a:ext cx="496" cy="594"/>
          </a:xfrm>
          <a:prstGeom prst="rect">
            <a:avLst/>
          </a:prstGeom>
          <a:solidFill>
            <a:schemeClr val="tx1">
              <a:lumMod val="40000"/>
              <a:lumOff val="60000"/>
            </a:schemeClr>
          </a:solid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35" name="Freeform 3092">
            <a:extLst>
              <a:ext uri="{FF2B5EF4-FFF2-40B4-BE49-F238E27FC236}">
                <a16:creationId xmlns:a16="http://schemas.microsoft.com/office/drawing/2014/main" id="{FB1B8E38-D2FD-4444-91D2-C6672CE19636}"/>
              </a:ext>
            </a:extLst>
          </p:cNvPr>
          <p:cNvSpPr>
            <a:spLocks/>
          </p:cNvSpPr>
          <p:nvPr/>
        </p:nvSpPr>
        <p:spPr bwMode="auto">
          <a:xfrm>
            <a:off x="3456451" y="3023121"/>
            <a:ext cx="4956" cy="6530"/>
          </a:xfrm>
          <a:custGeom>
            <a:avLst/>
            <a:gdLst>
              <a:gd name="T0" fmla="*/ 1 w 4"/>
              <a:gd name="T1" fmla="*/ 1 h 5"/>
              <a:gd name="T2" fmla="*/ 1 w 4"/>
              <a:gd name="T3" fmla="*/ 1 h 5"/>
              <a:gd name="T4" fmla="*/ 0 w 4"/>
              <a:gd name="T5" fmla="*/ 2 h 5"/>
              <a:gd name="T6" fmla="*/ 0 w 4"/>
              <a:gd name="T7" fmla="*/ 2 h 5"/>
              <a:gd name="T8" fmla="*/ 0 w 4"/>
              <a:gd name="T9" fmla="*/ 2 h 5"/>
              <a:gd name="T10" fmla="*/ 0 w 4"/>
              <a:gd name="T11" fmla="*/ 2 h 5"/>
              <a:gd name="T12" fmla="*/ 0 w 4"/>
              <a:gd name="T13" fmla="*/ 3 h 5"/>
              <a:gd name="T14" fmla="*/ 1 w 4"/>
              <a:gd name="T15" fmla="*/ 2 h 5"/>
              <a:gd name="T16" fmla="*/ 0 w 4"/>
              <a:gd name="T17" fmla="*/ 4 h 5"/>
              <a:gd name="T18" fmla="*/ 1 w 4"/>
              <a:gd name="T19" fmla="*/ 4 h 5"/>
              <a:gd name="T20" fmla="*/ 2 w 4"/>
              <a:gd name="T21" fmla="*/ 5 h 5"/>
              <a:gd name="T22" fmla="*/ 4 w 4"/>
              <a:gd name="T23" fmla="*/ 1 h 5"/>
              <a:gd name="T24" fmla="*/ 4 w 4"/>
              <a:gd name="T25" fmla="*/ 1 h 5"/>
              <a:gd name="T26" fmla="*/ 3 w 4"/>
              <a:gd name="T27" fmla="*/ 1 h 5"/>
              <a:gd name="T28" fmla="*/ 3 w 4"/>
              <a:gd name="T29" fmla="*/ 0 h 5"/>
              <a:gd name="T30" fmla="*/ 2 w 4"/>
              <a:gd name="T31" fmla="*/ 0 h 5"/>
              <a:gd name="T32" fmla="*/ 1 w 4"/>
              <a:gd name="T33" fmla="*/ 0 h 5"/>
              <a:gd name="T34" fmla="*/ 1 w 4"/>
              <a:gd name="T35" fmla="*/ 0 h 5"/>
              <a:gd name="T36" fmla="*/ 1 w 4"/>
              <a:gd name="T37" fmla="*/ 0 h 5"/>
              <a:gd name="T38" fmla="*/ 1 w 4"/>
              <a:gd name="T3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5">
                <a:moveTo>
                  <a:pt x="1" y="1"/>
                </a:moveTo>
                <a:cubicBezTo>
                  <a:pt x="1" y="1"/>
                  <a:pt x="1" y="1"/>
                  <a:pt x="1" y="1"/>
                </a:cubicBezTo>
                <a:cubicBezTo>
                  <a:pt x="0" y="1"/>
                  <a:pt x="0" y="2"/>
                  <a:pt x="0" y="2"/>
                </a:cubicBezTo>
                <a:cubicBezTo>
                  <a:pt x="0" y="2"/>
                  <a:pt x="0" y="2"/>
                  <a:pt x="0" y="2"/>
                </a:cubicBezTo>
                <a:cubicBezTo>
                  <a:pt x="0" y="2"/>
                  <a:pt x="0" y="2"/>
                  <a:pt x="0" y="2"/>
                </a:cubicBezTo>
                <a:cubicBezTo>
                  <a:pt x="0" y="2"/>
                  <a:pt x="0" y="2"/>
                  <a:pt x="0" y="2"/>
                </a:cubicBezTo>
                <a:cubicBezTo>
                  <a:pt x="0" y="2"/>
                  <a:pt x="0" y="3"/>
                  <a:pt x="0" y="3"/>
                </a:cubicBezTo>
                <a:cubicBezTo>
                  <a:pt x="1" y="2"/>
                  <a:pt x="1" y="2"/>
                  <a:pt x="1" y="2"/>
                </a:cubicBezTo>
                <a:cubicBezTo>
                  <a:pt x="0" y="4"/>
                  <a:pt x="0" y="4"/>
                  <a:pt x="0" y="4"/>
                </a:cubicBezTo>
                <a:cubicBezTo>
                  <a:pt x="0" y="4"/>
                  <a:pt x="0" y="4"/>
                  <a:pt x="1" y="4"/>
                </a:cubicBezTo>
                <a:cubicBezTo>
                  <a:pt x="2" y="5"/>
                  <a:pt x="2" y="5"/>
                  <a:pt x="2" y="5"/>
                </a:cubicBezTo>
                <a:cubicBezTo>
                  <a:pt x="4" y="1"/>
                  <a:pt x="4" y="1"/>
                  <a:pt x="4" y="1"/>
                </a:cubicBezTo>
                <a:cubicBezTo>
                  <a:pt x="4" y="1"/>
                  <a:pt x="4" y="1"/>
                  <a:pt x="4" y="1"/>
                </a:cubicBezTo>
                <a:cubicBezTo>
                  <a:pt x="4" y="1"/>
                  <a:pt x="3" y="1"/>
                  <a:pt x="3" y="1"/>
                </a:cubicBezTo>
                <a:cubicBezTo>
                  <a:pt x="3" y="0"/>
                  <a:pt x="3" y="0"/>
                  <a:pt x="3" y="0"/>
                </a:cubicBezTo>
                <a:cubicBezTo>
                  <a:pt x="3" y="0"/>
                  <a:pt x="2" y="0"/>
                  <a:pt x="2" y="0"/>
                </a:cubicBezTo>
                <a:cubicBezTo>
                  <a:pt x="2" y="0"/>
                  <a:pt x="1" y="0"/>
                  <a:pt x="1" y="0"/>
                </a:cubicBezTo>
                <a:cubicBezTo>
                  <a:pt x="1" y="0"/>
                  <a:pt x="1" y="0"/>
                  <a:pt x="1" y="0"/>
                </a:cubicBezTo>
                <a:cubicBezTo>
                  <a:pt x="1" y="0"/>
                  <a:pt x="1" y="0"/>
                  <a:pt x="1" y="0"/>
                </a:cubicBezTo>
                <a:cubicBezTo>
                  <a:pt x="1" y="1"/>
                  <a:pt x="1" y="1"/>
                  <a:pt x="1"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36" name="Freeform 3093">
            <a:extLst>
              <a:ext uri="{FF2B5EF4-FFF2-40B4-BE49-F238E27FC236}">
                <a16:creationId xmlns:a16="http://schemas.microsoft.com/office/drawing/2014/main" id="{651BA96A-2EAF-4423-A9AC-226FCBF00581}"/>
              </a:ext>
            </a:extLst>
          </p:cNvPr>
          <p:cNvSpPr>
            <a:spLocks/>
          </p:cNvSpPr>
          <p:nvPr/>
        </p:nvSpPr>
        <p:spPr bwMode="auto">
          <a:xfrm>
            <a:off x="3458929" y="2996409"/>
            <a:ext cx="85732" cy="43332"/>
          </a:xfrm>
          <a:custGeom>
            <a:avLst/>
            <a:gdLst>
              <a:gd name="T0" fmla="*/ 40 w 73"/>
              <a:gd name="T1" fmla="*/ 30 h 31"/>
              <a:gd name="T2" fmla="*/ 43 w 73"/>
              <a:gd name="T3" fmla="*/ 30 h 31"/>
              <a:gd name="T4" fmla="*/ 45 w 73"/>
              <a:gd name="T5" fmla="*/ 31 h 31"/>
              <a:gd name="T6" fmla="*/ 48 w 73"/>
              <a:gd name="T7" fmla="*/ 31 h 31"/>
              <a:gd name="T8" fmla="*/ 49 w 73"/>
              <a:gd name="T9" fmla="*/ 30 h 31"/>
              <a:gd name="T10" fmla="*/ 53 w 73"/>
              <a:gd name="T11" fmla="*/ 28 h 31"/>
              <a:gd name="T12" fmla="*/ 56 w 73"/>
              <a:gd name="T13" fmla="*/ 28 h 31"/>
              <a:gd name="T14" fmla="*/ 57 w 73"/>
              <a:gd name="T15" fmla="*/ 28 h 31"/>
              <a:gd name="T16" fmla="*/ 60 w 73"/>
              <a:gd name="T17" fmla="*/ 27 h 31"/>
              <a:gd name="T18" fmla="*/ 61 w 73"/>
              <a:gd name="T19" fmla="*/ 26 h 31"/>
              <a:gd name="T20" fmla="*/ 63 w 73"/>
              <a:gd name="T21" fmla="*/ 25 h 31"/>
              <a:gd name="T22" fmla="*/ 63 w 73"/>
              <a:gd name="T23" fmla="*/ 25 h 31"/>
              <a:gd name="T24" fmla="*/ 66 w 73"/>
              <a:gd name="T25" fmla="*/ 23 h 31"/>
              <a:gd name="T26" fmla="*/ 66 w 73"/>
              <a:gd name="T27" fmla="*/ 23 h 31"/>
              <a:gd name="T28" fmla="*/ 68 w 73"/>
              <a:gd name="T29" fmla="*/ 18 h 31"/>
              <a:gd name="T30" fmla="*/ 67 w 73"/>
              <a:gd name="T31" fmla="*/ 14 h 31"/>
              <a:gd name="T32" fmla="*/ 71 w 73"/>
              <a:gd name="T33" fmla="*/ 14 h 31"/>
              <a:gd name="T34" fmla="*/ 72 w 73"/>
              <a:gd name="T35" fmla="*/ 14 h 31"/>
              <a:gd name="T36" fmla="*/ 73 w 73"/>
              <a:gd name="T37" fmla="*/ 12 h 31"/>
              <a:gd name="T38" fmla="*/ 71 w 73"/>
              <a:gd name="T39" fmla="*/ 9 h 31"/>
              <a:gd name="T40" fmla="*/ 71 w 73"/>
              <a:gd name="T41" fmla="*/ 5 h 31"/>
              <a:gd name="T42" fmla="*/ 71 w 73"/>
              <a:gd name="T43" fmla="*/ 4 h 31"/>
              <a:gd name="T44" fmla="*/ 64 w 73"/>
              <a:gd name="T45" fmla="*/ 3 h 31"/>
              <a:gd name="T46" fmla="*/ 56 w 73"/>
              <a:gd name="T47" fmla="*/ 1 h 31"/>
              <a:gd name="T48" fmla="*/ 55 w 73"/>
              <a:gd name="T49" fmla="*/ 1 h 31"/>
              <a:gd name="T50" fmla="*/ 47 w 73"/>
              <a:gd name="T51" fmla="*/ 5 h 31"/>
              <a:gd name="T52" fmla="*/ 41 w 73"/>
              <a:gd name="T53" fmla="*/ 3 h 31"/>
              <a:gd name="T54" fmla="*/ 40 w 73"/>
              <a:gd name="T55" fmla="*/ 5 h 31"/>
              <a:gd name="T56" fmla="*/ 37 w 73"/>
              <a:gd name="T57" fmla="*/ 5 h 31"/>
              <a:gd name="T58" fmla="*/ 34 w 73"/>
              <a:gd name="T59" fmla="*/ 9 h 31"/>
              <a:gd name="T60" fmla="*/ 31 w 73"/>
              <a:gd name="T61" fmla="*/ 10 h 31"/>
              <a:gd name="T62" fmla="*/ 33 w 73"/>
              <a:gd name="T63" fmla="*/ 14 h 31"/>
              <a:gd name="T64" fmla="*/ 33 w 73"/>
              <a:gd name="T65" fmla="*/ 19 h 31"/>
              <a:gd name="T66" fmla="*/ 28 w 73"/>
              <a:gd name="T67" fmla="*/ 17 h 31"/>
              <a:gd name="T68" fmla="*/ 25 w 73"/>
              <a:gd name="T69" fmla="*/ 17 h 31"/>
              <a:gd name="T70" fmla="*/ 23 w 73"/>
              <a:gd name="T71" fmla="*/ 18 h 31"/>
              <a:gd name="T72" fmla="*/ 20 w 73"/>
              <a:gd name="T73" fmla="*/ 18 h 31"/>
              <a:gd name="T74" fmla="*/ 12 w 73"/>
              <a:gd name="T75" fmla="*/ 21 h 31"/>
              <a:gd name="T76" fmla="*/ 11 w 73"/>
              <a:gd name="T77" fmla="*/ 21 h 31"/>
              <a:gd name="T78" fmla="*/ 9 w 73"/>
              <a:gd name="T79" fmla="*/ 19 h 31"/>
              <a:gd name="T80" fmla="*/ 0 w 73"/>
              <a:gd name="T81" fmla="*/ 24 h 31"/>
              <a:gd name="T82" fmla="*/ 5 w 73"/>
              <a:gd name="T83" fmla="*/ 24 h 31"/>
              <a:gd name="T84" fmla="*/ 6 w 73"/>
              <a:gd name="T85" fmla="*/ 24 h 31"/>
              <a:gd name="T86" fmla="*/ 7 w 73"/>
              <a:gd name="T87" fmla="*/ 25 h 31"/>
              <a:gd name="T88" fmla="*/ 11 w 73"/>
              <a:gd name="T89" fmla="*/ 26 h 31"/>
              <a:gd name="T90" fmla="*/ 14 w 73"/>
              <a:gd name="T91" fmla="*/ 24 h 31"/>
              <a:gd name="T92" fmla="*/ 23 w 73"/>
              <a:gd name="T93" fmla="*/ 22 h 31"/>
              <a:gd name="T94" fmla="*/ 25 w 73"/>
              <a:gd name="T95" fmla="*/ 25 h 31"/>
              <a:gd name="T96" fmla="*/ 28 w 73"/>
              <a:gd name="T97" fmla="*/ 25 h 31"/>
              <a:gd name="T98" fmla="*/ 38 w 73"/>
              <a:gd name="T99"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3" h="31">
                <a:moveTo>
                  <a:pt x="39" y="29"/>
                </a:moveTo>
                <a:cubicBezTo>
                  <a:pt x="39" y="29"/>
                  <a:pt x="39" y="29"/>
                  <a:pt x="39" y="29"/>
                </a:cubicBezTo>
                <a:cubicBezTo>
                  <a:pt x="39" y="30"/>
                  <a:pt x="39" y="30"/>
                  <a:pt x="39" y="30"/>
                </a:cubicBezTo>
                <a:cubicBezTo>
                  <a:pt x="40" y="30"/>
                  <a:pt x="40" y="30"/>
                  <a:pt x="40" y="30"/>
                </a:cubicBezTo>
                <a:cubicBezTo>
                  <a:pt x="41" y="30"/>
                  <a:pt x="41" y="30"/>
                  <a:pt x="41" y="30"/>
                </a:cubicBezTo>
                <a:cubicBezTo>
                  <a:pt x="42" y="30"/>
                  <a:pt x="42" y="30"/>
                  <a:pt x="42" y="30"/>
                </a:cubicBezTo>
                <a:cubicBezTo>
                  <a:pt x="43" y="30"/>
                  <a:pt x="43" y="30"/>
                  <a:pt x="43" y="30"/>
                </a:cubicBezTo>
                <a:cubicBezTo>
                  <a:pt x="43" y="30"/>
                  <a:pt x="43" y="30"/>
                  <a:pt x="43" y="30"/>
                </a:cubicBezTo>
                <a:cubicBezTo>
                  <a:pt x="43" y="30"/>
                  <a:pt x="44" y="30"/>
                  <a:pt x="44" y="31"/>
                </a:cubicBezTo>
                <a:cubicBezTo>
                  <a:pt x="44" y="31"/>
                  <a:pt x="44" y="31"/>
                  <a:pt x="44" y="31"/>
                </a:cubicBezTo>
                <a:cubicBezTo>
                  <a:pt x="45" y="31"/>
                  <a:pt x="45" y="31"/>
                  <a:pt x="45" y="31"/>
                </a:cubicBezTo>
                <a:cubicBezTo>
                  <a:pt x="45" y="31"/>
                  <a:pt x="45" y="31"/>
                  <a:pt x="45" y="31"/>
                </a:cubicBezTo>
                <a:cubicBezTo>
                  <a:pt x="46" y="31"/>
                  <a:pt x="46" y="31"/>
                  <a:pt x="46" y="31"/>
                </a:cubicBezTo>
                <a:cubicBezTo>
                  <a:pt x="46" y="31"/>
                  <a:pt x="47" y="31"/>
                  <a:pt x="47" y="31"/>
                </a:cubicBezTo>
                <a:cubicBezTo>
                  <a:pt x="47" y="31"/>
                  <a:pt x="47" y="31"/>
                  <a:pt x="47" y="31"/>
                </a:cubicBezTo>
                <a:cubicBezTo>
                  <a:pt x="47" y="31"/>
                  <a:pt x="47" y="31"/>
                  <a:pt x="48" y="31"/>
                </a:cubicBezTo>
                <a:cubicBezTo>
                  <a:pt x="48" y="31"/>
                  <a:pt x="48" y="31"/>
                  <a:pt x="48" y="31"/>
                </a:cubicBezTo>
                <a:cubicBezTo>
                  <a:pt x="48" y="31"/>
                  <a:pt x="48" y="31"/>
                  <a:pt x="49" y="30"/>
                </a:cubicBezTo>
                <a:cubicBezTo>
                  <a:pt x="49" y="30"/>
                  <a:pt x="49" y="30"/>
                  <a:pt x="49" y="30"/>
                </a:cubicBezTo>
                <a:cubicBezTo>
                  <a:pt x="49" y="30"/>
                  <a:pt x="49" y="30"/>
                  <a:pt x="49" y="30"/>
                </a:cubicBezTo>
                <a:cubicBezTo>
                  <a:pt x="50" y="30"/>
                  <a:pt x="50" y="30"/>
                  <a:pt x="50" y="29"/>
                </a:cubicBezTo>
                <a:cubicBezTo>
                  <a:pt x="50" y="29"/>
                  <a:pt x="51" y="28"/>
                  <a:pt x="52" y="28"/>
                </a:cubicBezTo>
                <a:cubicBezTo>
                  <a:pt x="53" y="28"/>
                  <a:pt x="53" y="28"/>
                  <a:pt x="53" y="28"/>
                </a:cubicBezTo>
                <a:cubicBezTo>
                  <a:pt x="53" y="28"/>
                  <a:pt x="53" y="28"/>
                  <a:pt x="53" y="28"/>
                </a:cubicBezTo>
                <a:cubicBezTo>
                  <a:pt x="53" y="28"/>
                  <a:pt x="54" y="28"/>
                  <a:pt x="54" y="28"/>
                </a:cubicBezTo>
                <a:cubicBezTo>
                  <a:pt x="55" y="28"/>
                  <a:pt x="55" y="28"/>
                  <a:pt x="55" y="28"/>
                </a:cubicBezTo>
                <a:cubicBezTo>
                  <a:pt x="55" y="28"/>
                  <a:pt x="55" y="28"/>
                  <a:pt x="55" y="28"/>
                </a:cubicBezTo>
                <a:cubicBezTo>
                  <a:pt x="56" y="28"/>
                  <a:pt x="56" y="28"/>
                  <a:pt x="56" y="28"/>
                </a:cubicBezTo>
                <a:cubicBezTo>
                  <a:pt x="56" y="28"/>
                  <a:pt x="56" y="28"/>
                  <a:pt x="56" y="28"/>
                </a:cubicBezTo>
                <a:cubicBezTo>
                  <a:pt x="57" y="28"/>
                  <a:pt x="57" y="28"/>
                  <a:pt x="57" y="28"/>
                </a:cubicBezTo>
                <a:cubicBezTo>
                  <a:pt x="57" y="28"/>
                  <a:pt x="57" y="28"/>
                  <a:pt x="57" y="28"/>
                </a:cubicBezTo>
                <a:cubicBezTo>
                  <a:pt x="57" y="28"/>
                  <a:pt x="57" y="28"/>
                  <a:pt x="57" y="28"/>
                </a:cubicBezTo>
                <a:cubicBezTo>
                  <a:pt x="57" y="28"/>
                  <a:pt x="57" y="28"/>
                  <a:pt x="58" y="28"/>
                </a:cubicBezTo>
                <a:cubicBezTo>
                  <a:pt x="58" y="28"/>
                  <a:pt x="58" y="28"/>
                  <a:pt x="58" y="28"/>
                </a:cubicBezTo>
                <a:cubicBezTo>
                  <a:pt x="58" y="27"/>
                  <a:pt x="59" y="27"/>
                  <a:pt x="60" y="27"/>
                </a:cubicBezTo>
                <a:cubicBezTo>
                  <a:pt x="60" y="27"/>
                  <a:pt x="60" y="27"/>
                  <a:pt x="60" y="27"/>
                </a:cubicBezTo>
                <a:cubicBezTo>
                  <a:pt x="60" y="27"/>
                  <a:pt x="60" y="27"/>
                  <a:pt x="60" y="27"/>
                </a:cubicBezTo>
                <a:cubicBezTo>
                  <a:pt x="60" y="27"/>
                  <a:pt x="61" y="27"/>
                  <a:pt x="61" y="27"/>
                </a:cubicBezTo>
                <a:cubicBezTo>
                  <a:pt x="61" y="27"/>
                  <a:pt x="61" y="27"/>
                  <a:pt x="61" y="27"/>
                </a:cubicBezTo>
                <a:cubicBezTo>
                  <a:pt x="61" y="26"/>
                  <a:pt x="61" y="26"/>
                  <a:pt x="61" y="26"/>
                </a:cubicBezTo>
                <a:cubicBezTo>
                  <a:pt x="62" y="26"/>
                  <a:pt x="62" y="26"/>
                  <a:pt x="62" y="26"/>
                </a:cubicBezTo>
                <a:cubicBezTo>
                  <a:pt x="62" y="26"/>
                  <a:pt x="62" y="26"/>
                  <a:pt x="62" y="26"/>
                </a:cubicBezTo>
                <a:cubicBezTo>
                  <a:pt x="63" y="25"/>
                  <a:pt x="63" y="25"/>
                  <a:pt x="63" y="25"/>
                </a:cubicBezTo>
                <a:cubicBezTo>
                  <a:pt x="63" y="25"/>
                  <a:pt x="63" y="25"/>
                  <a:pt x="63" y="25"/>
                </a:cubicBezTo>
                <a:cubicBezTo>
                  <a:pt x="63" y="25"/>
                  <a:pt x="63" y="25"/>
                  <a:pt x="63" y="25"/>
                </a:cubicBezTo>
                <a:cubicBezTo>
                  <a:pt x="63" y="25"/>
                  <a:pt x="63" y="25"/>
                  <a:pt x="63" y="25"/>
                </a:cubicBezTo>
                <a:cubicBezTo>
                  <a:pt x="63" y="25"/>
                  <a:pt x="63" y="25"/>
                  <a:pt x="63" y="25"/>
                </a:cubicBezTo>
                <a:cubicBezTo>
                  <a:pt x="63" y="25"/>
                  <a:pt x="63" y="25"/>
                  <a:pt x="63" y="25"/>
                </a:cubicBezTo>
                <a:cubicBezTo>
                  <a:pt x="63" y="25"/>
                  <a:pt x="63" y="25"/>
                  <a:pt x="63" y="25"/>
                </a:cubicBezTo>
                <a:cubicBezTo>
                  <a:pt x="63" y="25"/>
                  <a:pt x="63" y="25"/>
                  <a:pt x="63" y="25"/>
                </a:cubicBezTo>
                <a:cubicBezTo>
                  <a:pt x="64" y="24"/>
                  <a:pt x="64" y="24"/>
                  <a:pt x="64" y="24"/>
                </a:cubicBezTo>
                <a:cubicBezTo>
                  <a:pt x="65" y="23"/>
                  <a:pt x="65" y="23"/>
                  <a:pt x="66" y="23"/>
                </a:cubicBezTo>
                <a:cubicBezTo>
                  <a:pt x="66" y="23"/>
                  <a:pt x="66" y="23"/>
                  <a:pt x="66" y="23"/>
                </a:cubicBezTo>
                <a:cubicBezTo>
                  <a:pt x="66" y="23"/>
                  <a:pt x="66" y="23"/>
                  <a:pt x="66" y="23"/>
                </a:cubicBezTo>
                <a:cubicBezTo>
                  <a:pt x="66" y="23"/>
                  <a:pt x="66" y="23"/>
                  <a:pt x="66" y="23"/>
                </a:cubicBezTo>
                <a:cubicBezTo>
                  <a:pt x="66" y="23"/>
                  <a:pt x="66" y="23"/>
                  <a:pt x="66" y="23"/>
                </a:cubicBezTo>
                <a:cubicBezTo>
                  <a:pt x="66" y="23"/>
                  <a:pt x="66" y="23"/>
                  <a:pt x="66" y="23"/>
                </a:cubicBezTo>
                <a:cubicBezTo>
                  <a:pt x="66" y="22"/>
                  <a:pt x="66" y="22"/>
                  <a:pt x="66" y="21"/>
                </a:cubicBezTo>
                <a:cubicBezTo>
                  <a:pt x="66" y="19"/>
                  <a:pt x="67" y="19"/>
                  <a:pt x="68" y="18"/>
                </a:cubicBezTo>
                <a:cubicBezTo>
                  <a:pt x="68" y="18"/>
                  <a:pt x="68" y="18"/>
                  <a:pt x="68" y="18"/>
                </a:cubicBezTo>
                <a:cubicBezTo>
                  <a:pt x="68" y="18"/>
                  <a:pt x="67" y="18"/>
                  <a:pt x="67" y="17"/>
                </a:cubicBezTo>
                <a:cubicBezTo>
                  <a:pt x="67" y="17"/>
                  <a:pt x="67" y="17"/>
                  <a:pt x="66" y="17"/>
                </a:cubicBezTo>
                <a:cubicBezTo>
                  <a:pt x="64" y="16"/>
                  <a:pt x="64" y="16"/>
                  <a:pt x="64" y="16"/>
                </a:cubicBezTo>
                <a:cubicBezTo>
                  <a:pt x="67" y="14"/>
                  <a:pt x="67" y="14"/>
                  <a:pt x="67" y="14"/>
                </a:cubicBezTo>
                <a:cubicBezTo>
                  <a:pt x="67" y="14"/>
                  <a:pt x="67" y="14"/>
                  <a:pt x="67" y="14"/>
                </a:cubicBezTo>
                <a:cubicBezTo>
                  <a:pt x="68" y="14"/>
                  <a:pt x="68" y="14"/>
                  <a:pt x="68" y="14"/>
                </a:cubicBezTo>
                <a:cubicBezTo>
                  <a:pt x="68" y="14"/>
                  <a:pt x="69" y="14"/>
                  <a:pt x="70" y="14"/>
                </a:cubicBezTo>
                <a:cubicBezTo>
                  <a:pt x="71" y="14"/>
                  <a:pt x="71" y="14"/>
                  <a:pt x="71" y="14"/>
                </a:cubicBezTo>
                <a:cubicBezTo>
                  <a:pt x="71" y="15"/>
                  <a:pt x="71" y="15"/>
                  <a:pt x="71" y="15"/>
                </a:cubicBezTo>
                <a:cubicBezTo>
                  <a:pt x="71" y="15"/>
                  <a:pt x="71" y="15"/>
                  <a:pt x="71" y="15"/>
                </a:cubicBezTo>
                <a:cubicBezTo>
                  <a:pt x="71" y="15"/>
                  <a:pt x="71" y="15"/>
                  <a:pt x="71" y="15"/>
                </a:cubicBezTo>
                <a:cubicBezTo>
                  <a:pt x="71" y="15"/>
                  <a:pt x="72" y="14"/>
                  <a:pt x="72" y="14"/>
                </a:cubicBezTo>
                <a:cubicBezTo>
                  <a:pt x="72" y="14"/>
                  <a:pt x="72" y="14"/>
                  <a:pt x="72" y="14"/>
                </a:cubicBezTo>
                <a:cubicBezTo>
                  <a:pt x="72" y="14"/>
                  <a:pt x="72" y="14"/>
                  <a:pt x="72" y="14"/>
                </a:cubicBezTo>
                <a:cubicBezTo>
                  <a:pt x="72" y="13"/>
                  <a:pt x="72" y="13"/>
                  <a:pt x="73" y="13"/>
                </a:cubicBezTo>
                <a:cubicBezTo>
                  <a:pt x="73" y="12"/>
                  <a:pt x="73" y="12"/>
                  <a:pt x="73" y="12"/>
                </a:cubicBezTo>
                <a:cubicBezTo>
                  <a:pt x="73" y="12"/>
                  <a:pt x="73" y="12"/>
                  <a:pt x="73" y="12"/>
                </a:cubicBezTo>
                <a:cubicBezTo>
                  <a:pt x="73" y="11"/>
                  <a:pt x="72" y="11"/>
                  <a:pt x="72" y="11"/>
                </a:cubicBezTo>
                <a:cubicBezTo>
                  <a:pt x="72" y="11"/>
                  <a:pt x="72" y="10"/>
                  <a:pt x="71" y="10"/>
                </a:cubicBezTo>
                <a:cubicBezTo>
                  <a:pt x="71" y="10"/>
                  <a:pt x="71" y="9"/>
                  <a:pt x="71" y="9"/>
                </a:cubicBezTo>
                <a:cubicBezTo>
                  <a:pt x="71" y="9"/>
                  <a:pt x="71" y="9"/>
                  <a:pt x="71" y="9"/>
                </a:cubicBezTo>
                <a:cubicBezTo>
                  <a:pt x="71" y="9"/>
                  <a:pt x="71" y="8"/>
                  <a:pt x="70" y="8"/>
                </a:cubicBezTo>
                <a:cubicBezTo>
                  <a:pt x="70" y="8"/>
                  <a:pt x="70" y="7"/>
                  <a:pt x="70" y="6"/>
                </a:cubicBezTo>
                <a:cubicBezTo>
                  <a:pt x="70" y="6"/>
                  <a:pt x="70" y="5"/>
                  <a:pt x="71" y="5"/>
                </a:cubicBezTo>
                <a:cubicBezTo>
                  <a:pt x="71" y="4"/>
                  <a:pt x="71" y="4"/>
                  <a:pt x="71" y="4"/>
                </a:cubicBezTo>
                <a:cubicBezTo>
                  <a:pt x="71" y="4"/>
                  <a:pt x="71" y="4"/>
                  <a:pt x="71" y="4"/>
                </a:cubicBezTo>
                <a:cubicBezTo>
                  <a:pt x="71" y="4"/>
                  <a:pt x="71" y="4"/>
                  <a:pt x="71" y="4"/>
                </a:cubicBezTo>
                <a:cubicBezTo>
                  <a:pt x="71" y="4"/>
                  <a:pt x="71" y="4"/>
                  <a:pt x="71" y="4"/>
                </a:cubicBezTo>
                <a:cubicBezTo>
                  <a:pt x="70" y="3"/>
                  <a:pt x="69" y="2"/>
                  <a:pt x="68" y="2"/>
                </a:cubicBezTo>
                <a:cubicBezTo>
                  <a:pt x="67" y="2"/>
                  <a:pt x="67" y="2"/>
                  <a:pt x="67" y="2"/>
                </a:cubicBezTo>
                <a:cubicBezTo>
                  <a:pt x="67" y="2"/>
                  <a:pt x="67" y="3"/>
                  <a:pt x="67" y="3"/>
                </a:cubicBezTo>
                <a:cubicBezTo>
                  <a:pt x="66" y="3"/>
                  <a:pt x="65" y="3"/>
                  <a:pt x="64" y="3"/>
                </a:cubicBezTo>
                <a:cubicBezTo>
                  <a:pt x="60" y="2"/>
                  <a:pt x="60" y="2"/>
                  <a:pt x="60" y="2"/>
                </a:cubicBezTo>
                <a:cubicBezTo>
                  <a:pt x="59" y="2"/>
                  <a:pt x="59" y="1"/>
                  <a:pt x="59" y="1"/>
                </a:cubicBezTo>
                <a:cubicBezTo>
                  <a:pt x="58" y="1"/>
                  <a:pt x="58" y="1"/>
                  <a:pt x="57" y="1"/>
                </a:cubicBezTo>
                <a:cubicBezTo>
                  <a:pt x="57" y="1"/>
                  <a:pt x="57" y="1"/>
                  <a:pt x="56" y="1"/>
                </a:cubicBezTo>
                <a:cubicBezTo>
                  <a:pt x="56" y="1"/>
                  <a:pt x="56" y="1"/>
                  <a:pt x="56" y="1"/>
                </a:cubicBezTo>
                <a:cubicBezTo>
                  <a:pt x="55" y="1"/>
                  <a:pt x="55" y="1"/>
                  <a:pt x="55" y="1"/>
                </a:cubicBezTo>
                <a:cubicBezTo>
                  <a:pt x="55" y="1"/>
                  <a:pt x="55" y="1"/>
                  <a:pt x="55" y="1"/>
                </a:cubicBezTo>
                <a:cubicBezTo>
                  <a:pt x="55" y="1"/>
                  <a:pt x="55" y="1"/>
                  <a:pt x="55" y="1"/>
                </a:cubicBezTo>
                <a:cubicBezTo>
                  <a:pt x="54" y="1"/>
                  <a:pt x="54" y="0"/>
                  <a:pt x="53" y="0"/>
                </a:cubicBezTo>
                <a:cubicBezTo>
                  <a:pt x="53" y="2"/>
                  <a:pt x="52" y="3"/>
                  <a:pt x="51" y="4"/>
                </a:cubicBezTo>
                <a:cubicBezTo>
                  <a:pt x="50" y="5"/>
                  <a:pt x="50" y="5"/>
                  <a:pt x="50" y="5"/>
                </a:cubicBezTo>
                <a:cubicBezTo>
                  <a:pt x="49" y="5"/>
                  <a:pt x="48" y="5"/>
                  <a:pt x="47" y="5"/>
                </a:cubicBezTo>
                <a:cubicBezTo>
                  <a:pt x="47" y="5"/>
                  <a:pt x="47" y="5"/>
                  <a:pt x="47" y="5"/>
                </a:cubicBezTo>
                <a:cubicBezTo>
                  <a:pt x="45" y="5"/>
                  <a:pt x="44" y="5"/>
                  <a:pt x="42" y="4"/>
                </a:cubicBezTo>
                <a:cubicBezTo>
                  <a:pt x="41" y="4"/>
                  <a:pt x="41" y="4"/>
                  <a:pt x="41" y="4"/>
                </a:cubicBezTo>
                <a:cubicBezTo>
                  <a:pt x="41" y="3"/>
                  <a:pt x="41" y="3"/>
                  <a:pt x="41" y="3"/>
                </a:cubicBezTo>
                <a:cubicBezTo>
                  <a:pt x="40" y="3"/>
                  <a:pt x="40" y="3"/>
                  <a:pt x="40" y="3"/>
                </a:cubicBezTo>
                <a:cubicBezTo>
                  <a:pt x="41" y="3"/>
                  <a:pt x="41" y="3"/>
                  <a:pt x="41" y="3"/>
                </a:cubicBezTo>
                <a:cubicBezTo>
                  <a:pt x="41" y="4"/>
                  <a:pt x="41" y="4"/>
                  <a:pt x="41" y="4"/>
                </a:cubicBezTo>
                <a:cubicBezTo>
                  <a:pt x="40" y="5"/>
                  <a:pt x="40" y="5"/>
                  <a:pt x="40" y="5"/>
                </a:cubicBezTo>
                <a:cubicBezTo>
                  <a:pt x="40" y="7"/>
                  <a:pt x="40" y="7"/>
                  <a:pt x="40" y="7"/>
                </a:cubicBezTo>
                <a:cubicBezTo>
                  <a:pt x="39" y="6"/>
                  <a:pt x="39" y="6"/>
                  <a:pt x="39" y="6"/>
                </a:cubicBezTo>
                <a:cubicBezTo>
                  <a:pt x="38" y="6"/>
                  <a:pt x="38" y="6"/>
                  <a:pt x="38" y="6"/>
                </a:cubicBezTo>
                <a:cubicBezTo>
                  <a:pt x="38" y="6"/>
                  <a:pt x="38" y="6"/>
                  <a:pt x="37" y="5"/>
                </a:cubicBezTo>
                <a:cubicBezTo>
                  <a:pt x="37" y="5"/>
                  <a:pt x="37" y="5"/>
                  <a:pt x="37" y="5"/>
                </a:cubicBezTo>
                <a:cubicBezTo>
                  <a:pt x="37" y="6"/>
                  <a:pt x="37" y="7"/>
                  <a:pt x="37" y="8"/>
                </a:cubicBezTo>
                <a:cubicBezTo>
                  <a:pt x="36" y="8"/>
                  <a:pt x="36" y="8"/>
                  <a:pt x="36" y="8"/>
                </a:cubicBezTo>
                <a:cubicBezTo>
                  <a:pt x="36" y="8"/>
                  <a:pt x="35" y="8"/>
                  <a:pt x="34" y="9"/>
                </a:cubicBezTo>
                <a:cubicBezTo>
                  <a:pt x="34" y="9"/>
                  <a:pt x="34" y="9"/>
                  <a:pt x="34" y="9"/>
                </a:cubicBezTo>
                <a:cubicBezTo>
                  <a:pt x="34" y="9"/>
                  <a:pt x="33" y="9"/>
                  <a:pt x="33" y="9"/>
                </a:cubicBezTo>
                <a:cubicBezTo>
                  <a:pt x="33" y="9"/>
                  <a:pt x="33" y="9"/>
                  <a:pt x="33" y="9"/>
                </a:cubicBezTo>
                <a:cubicBezTo>
                  <a:pt x="32" y="10"/>
                  <a:pt x="31" y="10"/>
                  <a:pt x="31" y="10"/>
                </a:cubicBezTo>
                <a:cubicBezTo>
                  <a:pt x="31" y="11"/>
                  <a:pt x="31" y="11"/>
                  <a:pt x="32" y="12"/>
                </a:cubicBezTo>
                <a:cubicBezTo>
                  <a:pt x="32" y="12"/>
                  <a:pt x="32" y="12"/>
                  <a:pt x="32" y="12"/>
                </a:cubicBezTo>
                <a:cubicBezTo>
                  <a:pt x="32" y="12"/>
                  <a:pt x="32" y="12"/>
                  <a:pt x="32" y="12"/>
                </a:cubicBezTo>
                <a:cubicBezTo>
                  <a:pt x="33" y="13"/>
                  <a:pt x="33" y="14"/>
                  <a:pt x="33" y="14"/>
                </a:cubicBezTo>
                <a:cubicBezTo>
                  <a:pt x="33" y="14"/>
                  <a:pt x="33" y="14"/>
                  <a:pt x="33" y="14"/>
                </a:cubicBezTo>
                <a:cubicBezTo>
                  <a:pt x="33" y="15"/>
                  <a:pt x="33" y="15"/>
                  <a:pt x="33" y="16"/>
                </a:cubicBezTo>
                <a:cubicBezTo>
                  <a:pt x="33" y="16"/>
                  <a:pt x="33" y="16"/>
                  <a:pt x="33" y="16"/>
                </a:cubicBezTo>
                <a:cubicBezTo>
                  <a:pt x="33" y="17"/>
                  <a:pt x="33" y="18"/>
                  <a:pt x="33" y="19"/>
                </a:cubicBezTo>
                <a:cubicBezTo>
                  <a:pt x="32" y="21"/>
                  <a:pt x="32" y="21"/>
                  <a:pt x="32" y="21"/>
                </a:cubicBezTo>
                <a:cubicBezTo>
                  <a:pt x="28" y="17"/>
                  <a:pt x="28" y="17"/>
                  <a:pt x="28" y="17"/>
                </a:cubicBezTo>
                <a:cubicBezTo>
                  <a:pt x="28" y="17"/>
                  <a:pt x="28" y="17"/>
                  <a:pt x="28" y="17"/>
                </a:cubicBezTo>
                <a:cubicBezTo>
                  <a:pt x="28" y="17"/>
                  <a:pt x="28" y="17"/>
                  <a:pt x="28" y="17"/>
                </a:cubicBezTo>
                <a:cubicBezTo>
                  <a:pt x="27" y="18"/>
                  <a:pt x="27" y="18"/>
                  <a:pt x="27" y="18"/>
                </a:cubicBezTo>
                <a:cubicBezTo>
                  <a:pt x="26" y="17"/>
                  <a:pt x="26" y="17"/>
                  <a:pt x="26" y="17"/>
                </a:cubicBezTo>
                <a:cubicBezTo>
                  <a:pt x="26" y="17"/>
                  <a:pt x="26" y="17"/>
                  <a:pt x="26" y="17"/>
                </a:cubicBezTo>
                <a:cubicBezTo>
                  <a:pt x="25" y="17"/>
                  <a:pt x="25" y="17"/>
                  <a:pt x="25" y="17"/>
                </a:cubicBezTo>
                <a:cubicBezTo>
                  <a:pt x="25" y="17"/>
                  <a:pt x="25" y="17"/>
                  <a:pt x="25" y="17"/>
                </a:cubicBezTo>
                <a:cubicBezTo>
                  <a:pt x="25" y="17"/>
                  <a:pt x="25" y="17"/>
                  <a:pt x="25" y="17"/>
                </a:cubicBezTo>
                <a:cubicBezTo>
                  <a:pt x="24" y="17"/>
                  <a:pt x="24" y="17"/>
                  <a:pt x="24" y="17"/>
                </a:cubicBezTo>
                <a:cubicBezTo>
                  <a:pt x="23" y="17"/>
                  <a:pt x="23" y="18"/>
                  <a:pt x="23" y="18"/>
                </a:cubicBezTo>
                <a:cubicBezTo>
                  <a:pt x="22" y="18"/>
                  <a:pt x="22" y="18"/>
                  <a:pt x="22" y="18"/>
                </a:cubicBezTo>
                <a:cubicBezTo>
                  <a:pt x="22" y="18"/>
                  <a:pt x="21" y="18"/>
                  <a:pt x="21" y="18"/>
                </a:cubicBezTo>
                <a:cubicBezTo>
                  <a:pt x="21" y="18"/>
                  <a:pt x="20" y="18"/>
                  <a:pt x="20" y="18"/>
                </a:cubicBezTo>
                <a:cubicBezTo>
                  <a:pt x="20" y="18"/>
                  <a:pt x="20" y="18"/>
                  <a:pt x="20" y="18"/>
                </a:cubicBezTo>
                <a:cubicBezTo>
                  <a:pt x="19" y="18"/>
                  <a:pt x="19" y="18"/>
                  <a:pt x="19" y="18"/>
                </a:cubicBezTo>
                <a:cubicBezTo>
                  <a:pt x="18" y="18"/>
                  <a:pt x="17" y="19"/>
                  <a:pt x="17" y="19"/>
                </a:cubicBezTo>
                <a:cubicBezTo>
                  <a:pt x="16" y="20"/>
                  <a:pt x="14" y="20"/>
                  <a:pt x="13" y="21"/>
                </a:cubicBezTo>
                <a:cubicBezTo>
                  <a:pt x="12" y="21"/>
                  <a:pt x="12" y="21"/>
                  <a:pt x="12" y="21"/>
                </a:cubicBezTo>
                <a:cubicBezTo>
                  <a:pt x="12" y="21"/>
                  <a:pt x="12" y="21"/>
                  <a:pt x="12" y="21"/>
                </a:cubicBezTo>
                <a:cubicBezTo>
                  <a:pt x="11" y="21"/>
                  <a:pt x="11" y="21"/>
                  <a:pt x="11" y="21"/>
                </a:cubicBezTo>
                <a:cubicBezTo>
                  <a:pt x="11" y="21"/>
                  <a:pt x="11" y="21"/>
                  <a:pt x="11" y="21"/>
                </a:cubicBezTo>
                <a:cubicBezTo>
                  <a:pt x="11" y="21"/>
                  <a:pt x="11" y="21"/>
                  <a:pt x="11" y="21"/>
                </a:cubicBezTo>
                <a:cubicBezTo>
                  <a:pt x="11" y="21"/>
                  <a:pt x="11" y="21"/>
                  <a:pt x="11" y="21"/>
                </a:cubicBezTo>
                <a:cubicBezTo>
                  <a:pt x="10" y="20"/>
                  <a:pt x="10" y="20"/>
                  <a:pt x="10" y="20"/>
                </a:cubicBezTo>
                <a:cubicBezTo>
                  <a:pt x="10" y="20"/>
                  <a:pt x="10" y="20"/>
                  <a:pt x="10" y="20"/>
                </a:cubicBezTo>
                <a:cubicBezTo>
                  <a:pt x="10" y="20"/>
                  <a:pt x="9" y="19"/>
                  <a:pt x="9" y="19"/>
                </a:cubicBezTo>
                <a:cubicBezTo>
                  <a:pt x="9" y="19"/>
                  <a:pt x="9" y="19"/>
                  <a:pt x="9" y="19"/>
                </a:cubicBezTo>
                <a:cubicBezTo>
                  <a:pt x="7" y="18"/>
                  <a:pt x="7" y="18"/>
                  <a:pt x="7" y="18"/>
                </a:cubicBezTo>
                <a:cubicBezTo>
                  <a:pt x="7" y="20"/>
                  <a:pt x="6" y="21"/>
                  <a:pt x="4" y="22"/>
                </a:cubicBezTo>
                <a:cubicBezTo>
                  <a:pt x="0" y="24"/>
                  <a:pt x="0" y="24"/>
                  <a:pt x="0" y="24"/>
                </a:cubicBezTo>
                <a:cubicBezTo>
                  <a:pt x="2" y="25"/>
                  <a:pt x="2" y="25"/>
                  <a:pt x="2" y="25"/>
                </a:cubicBezTo>
                <a:cubicBezTo>
                  <a:pt x="2" y="25"/>
                  <a:pt x="2" y="25"/>
                  <a:pt x="3" y="25"/>
                </a:cubicBezTo>
                <a:cubicBezTo>
                  <a:pt x="3" y="24"/>
                  <a:pt x="4" y="24"/>
                  <a:pt x="5" y="24"/>
                </a:cubicBezTo>
                <a:cubicBezTo>
                  <a:pt x="5" y="24"/>
                  <a:pt x="5" y="24"/>
                  <a:pt x="5" y="24"/>
                </a:cubicBezTo>
                <a:cubicBezTo>
                  <a:pt x="5" y="24"/>
                  <a:pt x="6" y="24"/>
                  <a:pt x="6" y="24"/>
                </a:cubicBezTo>
                <a:cubicBezTo>
                  <a:pt x="6" y="24"/>
                  <a:pt x="6" y="24"/>
                  <a:pt x="6" y="24"/>
                </a:cubicBezTo>
                <a:cubicBezTo>
                  <a:pt x="6" y="24"/>
                  <a:pt x="6" y="24"/>
                  <a:pt x="6" y="24"/>
                </a:cubicBezTo>
                <a:cubicBezTo>
                  <a:pt x="6" y="24"/>
                  <a:pt x="6" y="24"/>
                  <a:pt x="6" y="24"/>
                </a:cubicBezTo>
                <a:cubicBezTo>
                  <a:pt x="6" y="25"/>
                  <a:pt x="6" y="25"/>
                  <a:pt x="7" y="25"/>
                </a:cubicBezTo>
                <a:cubicBezTo>
                  <a:pt x="7" y="25"/>
                  <a:pt x="7" y="25"/>
                  <a:pt x="7" y="25"/>
                </a:cubicBezTo>
                <a:cubicBezTo>
                  <a:pt x="7" y="25"/>
                  <a:pt x="7" y="25"/>
                  <a:pt x="7" y="25"/>
                </a:cubicBezTo>
                <a:cubicBezTo>
                  <a:pt x="7" y="25"/>
                  <a:pt x="7" y="25"/>
                  <a:pt x="7" y="25"/>
                </a:cubicBezTo>
                <a:cubicBezTo>
                  <a:pt x="7" y="25"/>
                  <a:pt x="7" y="25"/>
                  <a:pt x="8" y="25"/>
                </a:cubicBezTo>
                <a:cubicBezTo>
                  <a:pt x="9" y="26"/>
                  <a:pt x="10" y="26"/>
                  <a:pt x="10" y="26"/>
                </a:cubicBezTo>
                <a:cubicBezTo>
                  <a:pt x="11" y="26"/>
                  <a:pt x="11" y="26"/>
                  <a:pt x="11" y="26"/>
                </a:cubicBezTo>
                <a:cubicBezTo>
                  <a:pt x="11" y="26"/>
                  <a:pt x="11" y="26"/>
                  <a:pt x="11" y="26"/>
                </a:cubicBezTo>
                <a:cubicBezTo>
                  <a:pt x="11" y="26"/>
                  <a:pt x="11" y="26"/>
                  <a:pt x="11" y="26"/>
                </a:cubicBezTo>
                <a:cubicBezTo>
                  <a:pt x="11" y="26"/>
                  <a:pt x="11" y="26"/>
                  <a:pt x="11" y="26"/>
                </a:cubicBezTo>
                <a:cubicBezTo>
                  <a:pt x="11" y="26"/>
                  <a:pt x="11" y="26"/>
                  <a:pt x="11" y="26"/>
                </a:cubicBezTo>
                <a:cubicBezTo>
                  <a:pt x="12" y="25"/>
                  <a:pt x="12" y="24"/>
                  <a:pt x="14" y="24"/>
                </a:cubicBezTo>
                <a:cubicBezTo>
                  <a:pt x="18" y="23"/>
                  <a:pt x="18" y="23"/>
                  <a:pt x="18" y="23"/>
                </a:cubicBezTo>
                <a:cubicBezTo>
                  <a:pt x="19" y="23"/>
                  <a:pt x="20" y="23"/>
                  <a:pt x="21" y="23"/>
                </a:cubicBezTo>
                <a:cubicBezTo>
                  <a:pt x="23" y="22"/>
                  <a:pt x="23" y="22"/>
                  <a:pt x="23" y="22"/>
                </a:cubicBezTo>
                <a:cubicBezTo>
                  <a:pt x="23" y="22"/>
                  <a:pt x="23" y="22"/>
                  <a:pt x="23" y="22"/>
                </a:cubicBezTo>
                <a:cubicBezTo>
                  <a:pt x="23" y="22"/>
                  <a:pt x="24" y="22"/>
                  <a:pt x="24" y="22"/>
                </a:cubicBezTo>
                <a:cubicBezTo>
                  <a:pt x="26" y="23"/>
                  <a:pt x="26" y="23"/>
                  <a:pt x="26" y="23"/>
                </a:cubicBezTo>
                <a:cubicBezTo>
                  <a:pt x="25" y="25"/>
                  <a:pt x="25" y="25"/>
                  <a:pt x="25" y="25"/>
                </a:cubicBezTo>
                <a:cubicBezTo>
                  <a:pt x="25" y="25"/>
                  <a:pt x="25" y="25"/>
                  <a:pt x="25" y="25"/>
                </a:cubicBezTo>
                <a:cubicBezTo>
                  <a:pt x="25" y="25"/>
                  <a:pt x="25" y="25"/>
                  <a:pt x="25" y="25"/>
                </a:cubicBezTo>
                <a:cubicBezTo>
                  <a:pt x="25" y="26"/>
                  <a:pt x="26" y="27"/>
                  <a:pt x="27" y="28"/>
                </a:cubicBezTo>
                <a:cubicBezTo>
                  <a:pt x="28" y="28"/>
                  <a:pt x="28" y="28"/>
                  <a:pt x="28" y="28"/>
                </a:cubicBezTo>
                <a:cubicBezTo>
                  <a:pt x="28" y="25"/>
                  <a:pt x="28" y="25"/>
                  <a:pt x="28" y="25"/>
                </a:cubicBezTo>
                <a:cubicBezTo>
                  <a:pt x="29" y="28"/>
                  <a:pt x="29" y="28"/>
                  <a:pt x="29" y="28"/>
                </a:cubicBezTo>
                <a:cubicBezTo>
                  <a:pt x="29" y="28"/>
                  <a:pt x="29" y="28"/>
                  <a:pt x="29" y="28"/>
                </a:cubicBezTo>
                <a:cubicBezTo>
                  <a:pt x="31" y="28"/>
                  <a:pt x="33" y="29"/>
                  <a:pt x="35" y="29"/>
                </a:cubicBezTo>
                <a:cubicBezTo>
                  <a:pt x="36" y="29"/>
                  <a:pt x="37" y="29"/>
                  <a:pt x="38" y="29"/>
                </a:cubicBezTo>
                <a:cubicBezTo>
                  <a:pt x="38" y="29"/>
                  <a:pt x="38" y="29"/>
                  <a:pt x="39" y="29"/>
                </a:cubicBezTo>
                <a:close/>
              </a:path>
            </a:pathLst>
          </a:custGeom>
          <a:solidFill>
            <a:srgbClr val="00A5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37" name="Freeform 3094">
            <a:extLst>
              <a:ext uri="{FF2B5EF4-FFF2-40B4-BE49-F238E27FC236}">
                <a16:creationId xmlns:a16="http://schemas.microsoft.com/office/drawing/2014/main" id="{719B04B1-97A9-483E-9D07-56F4F0F83355}"/>
              </a:ext>
            </a:extLst>
          </p:cNvPr>
          <p:cNvSpPr>
            <a:spLocks/>
          </p:cNvSpPr>
          <p:nvPr/>
        </p:nvSpPr>
        <p:spPr bwMode="auto">
          <a:xfrm>
            <a:off x="3503529" y="3038554"/>
            <a:ext cx="30229" cy="17808"/>
          </a:xfrm>
          <a:custGeom>
            <a:avLst/>
            <a:gdLst>
              <a:gd name="T0" fmla="*/ 20 w 26"/>
              <a:gd name="T1" fmla="*/ 8 h 13"/>
              <a:gd name="T2" fmla="*/ 19 w 26"/>
              <a:gd name="T3" fmla="*/ 6 h 13"/>
              <a:gd name="T4" fmla="*/ 20 w 26"/>
              <a:gd name="T5" fmla="*/ 4 h 13"/>
              <a:gd name="T6" fmla="*/ 21 w 26"/>
              <a:gd name="T7" fmla="*/ 3 h 13"/>
              <a:gd name="T8" fmla="*/ 22 w 26"/>
              <a:gd name="T9" fmla="*/ 3 h 13"/>
              <a:gd name="T10" fmla="*/ 23 w 26"/>
              <a:gd name="T11" fmla="*/ 3 h 13"/>
              <a:gd name="T12" fmla="*/ 24 w 26"/>
              <a:gd name="T13" fmla="*/ 2 h 13"/>
              <a:gd name="T14" fmla="*/ 25 w 26"/>
              <a:gd name="T15" fmla="*/ 1 h 13"/>
              <a:gd name="T16" fmla="*/ 26 w 26"/>
              <a:gd name="T17" fmla="*/ 1 h 13"/>
              <a:gd name="T18" fmla="*/ 23 w 26"/>
              <a:gd name="T19" fmla="*/ 0 h 13"/>
              <a:gd name="T20" fmla="*/ 22 w 26"/>
              <a:gd name="T21" fmla="*/ 0 h 13"/>
              <a:gd name="T22" fmla="*/ 21 w 26"/>
              <a:gd name="T23" fmla="*/ 0 h 13"/>
              <a:gd name="T24" fmla="*/ 20 w 26"/>
              <a:gd name="T25" fmla="*/ 1 h 13"/>
              <a:gd name="T26" fmla="*/ 18 w 26"/>
              <a:gd name="T27" fmla="*/ 0 h 13"/>
              <a:gd name="T28" fmla="*/ 16 w 26"/>
              <a:gd name="T29" fmla="*/ 0 h 13"/>
              <a:gd name="T30" fmla="*/ 15 w 26"/>
              <a:gd name="T31" fmla="*/ 0 h 13"/>
              <a:gd name="T32" fmla="*/ 14 w 26"/>
              <a:gd name="T33" fmla="*/ 1 h 13"/>
              <a:gd name="T34" fmla="*/ 12 w 26"/>
              <a:gd name="T35" fmla="*/ 2 h 13"/>
              <a:gd name="T36" fmla="*/ 10 w 26"/>
              <a:gd name="T37" fmla="*/ 4 h 13"/>
              <a:gd name="T38" fmla="*/ 8 w 26"/>
              <a:gd name="T39" fmla="*/ 3 h 13"/>
              <a:gd name="T40" fmla="*/ 7 w 26"/>
              <a:gd name="T41" fmla="*/ 3 h 13"/>
              <a:gd name="T42" fmla="*/ 7 w 26"/>
              <a:gd name="T43" fmla="*/ 3 h 13"/>
              <a:gd name="T44" fmla="*/ 4 w 26"/>
              <a:gd name="T45" fmla="*/ 3 h 13"/>
              <a:gd name="T46" fmla="*/ 4 w 26"/>
              <a:gd name="T47" fmla="*/ 2 h 13"/>
              <a:gd name="T48" fmla="*/ 2 w 26"/>
              <a:gd name="T49" fmla="*/ 2 h 13"/>
              <a:gd name="T50" fmla="*/ 0 w 26"/>
              <a:gd name="T51" fmla="*/ 4 h 13"/>
              <a:gd name="T52" fmla="*/ 3 w 26"/>
              <a:gd name="T53" fmla="*/ 5 h 13"/>
              <a:gd name="T54" fmla="*/ 1 w 26"/>
              <a:gd name="T55" fmla="*/ 6 h 13"/>
              <a:gd name="T56" fmla="*/ 1 w 26"/>
              <a:gd name="T57" fmla="*/ 7 h 13"/>
              <a:gd name="T58" fmla="*/ 1 w 26"/>
              <a:gd name="T59" fmla="*/ 9 h 13"/>
              <a:gd name="T60" fmla="*/ 1 w 26"/>
              <a:gd name="T61" fmla="*/ 9 h 13"/>
              <a:gd name="T62" fmla="*/ 3 w 26"/>
              <a:gd name="T63" fmla="*/ 10 h 13"/>
              <a:gd name="T64" fmla="*/ 4 w 26"/>
              <a:gd name="T65" fmla="*/ 11 h 13"/>
              <a:gd name="T66" fmla="*/ 4 w 26"/>
              <a:gd name="T67" fmla="*/ 12 h 13"/>
              <a:gd name="T68" fmla="*/ 9 w 26"/>
              <a:gd name="T69" fmla="*/ 11 h 13"/>
              <a:gd name="T70" fmla="*/ 11 w 26"/>
              <a:gd name="T71" fmla="*/ 11 h 13"/>
              <a:gd name="T72" fmla="*/ 11 w 26"/>
              <a:gd name="T73" fmla="*/ 12 h 13"/>
              <a:gd name="T74" fmla="*/ 13 w 26"/>
              <a:gd name="T75" fmla="*/ 12 h 13"/>
              <a:gd name="T76" fmla="*/ 13 w 26"/>
              <a:gd name="T77" fmla="*/ 12 h 13"/>
              <a:gd name="T78" fmla="*/ 14 w 26"/>
              <a:gd name="T79" fmla="*/ 13 h 13"/>
              <a:gd name="T80" fmla="*/ 16 w 26"/>
              <a:gd name="T81" fmla="*/ 13 h 13"/>
              <a:gd name="T82" fmla="*/ 16 w 26"/>
              <a:gd name="T83" fmla="*/ 12 h 13"/>
              <a:gd name="T84" fmla="*/ 16 w 26"/>
              <a:gd name="T85"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 h="13">
                <a:moveTo>
                  <a:pt x="18" y="9"/>
                </a:moveTo>
                <a:cubicBezTo>
                  <a:pt x="19" y="9"/>
                  <a:pt x="19" y="8"/>
                  <a:pt x="20" y="8"/>
                </a:cubicBezTo>
                <a:cubicBezTo>
                  <a:pt x="20" y="8"/>
                  <a:pt x="20" y="7"/>
                  <a:pt x="20" y="7"/>
                </a:cubicBezTo>
                <a:cubicBezTo>
                  <a:pt x="20" y="7"/>
                  <a:pt x="19" y="7"/>
                  <a:pt x="19" y="6"/>
                </a:cubicBezTo>
                <a:cubicBezTo>
                  <a:pt x="19" y="6"/>
                  <a:pt x="19" y="5"/>
                  <a:pt x="20" y="4"/>
                </a:cubicBezTo>
                <a:cubicBezTo>
                  <a:pt x="20" y="4"/>
                  <a:pt x="20" y="4"/>
                  <a:pt x="20" y="4"/>
                </a:cubicBezTo>
                <a:cubicBezTo>
                  <a:pt x="20" y="4"/>
                  <a:pt x="20" y="4"/>
                  <a:pt x="21" y="3"/>
                </a:cubicBezTo>
                <a:cubicBezTo>
                  <a:pt x="21" y="3"/>
                  <a:pt x="21" y="3"/>
                  <a:pt x="21" y="3"/>
                </a:cubicBezTo>
                <a:cubicBezTo>
                  <a:pt x="21" y="3"/>
                  <a:pt x="21" y="3"/>
                  <a:pt x="22" y="3"/>
                </a:cubicBezTo>
                <a:cubicBezTo>
                  <a:pt x="22" y="3"/>
                  <a:pt x="22" y="3"/>
                  <a:pt x="22" y="3"/>
                </a:cubicBezTo>
                <a:cubicBezTo>
                  <a:pt x="22" y="3"/>
                  <a:pt x="22" y="3"/>
                  <a:pt x="22" y="3"/>
                </a:cubicBezTo>
                <a:cubicBezTo>
                  <a:pt x="23" y="3"/>
                  <a:pt x="23" y="3"/>
                  <a:pt x="23" y="3"/>
                </a:cubicBezTo>
                <a:cubicBezTo>
                  <a:pt x="23" y="3"/>
                  <a:pt x="24" y="3"/>
                  <a:pt x="24" y="3"/>
                </a:cubicBezTo>
                <a:cubicBezTo>
                  <a:pt x="24" y="3"/>
                  <a:pt x="24" y="2"/>
                  <a:pt x="24" y="2"/>
                </a:cubicBezTo>
                <a:cubicBezTo>
                  <a:pt x="24" y="2"/>
                  <a:pt x="24" y="2"/>
                  <a:pt x="24" y="2"/>
                </a:cubicBezTo>
                <a:cubicBezTo>
                  <a:pt x="24" y="2"/>
                  <a:pt x="24" y="2"/>
                  <a:pt x="25" y="1"/>
                </a:cubicBezTo>
                <a:cubicBezTo>
                  <a:pt x="25" y="1"/>
                  <a:pt x="25" y="1"/>
                  <a:pt x="26" y="1"/>
                </a:cubicBezTo>
                <a:cubicBezTo>
                  <a:pt x="26" y="1"/>
                  <a:pt x="26" y="1"/>
                  <a:pt x="26" y="1"/>
                </a:cubicBezTo>
                <a:cubicBezTo>
                  <a:pt x="24" y="0"/>
                  <a:pt x="24" y="0"/>
                  <a:pt x="24" y="0"/>
                </a:cubicBezTo>
                <a:cubicBezTo>
                  <a:pt x="24" y="0"/>
                  <a:pt x="24" y="0"/>
                  <a:pt x="23" y="0"/>
                </a:cubicBezTo>
                <a:cubicBezTo>
                  <a:pt x="23" y="0"/>
                  <a:pt x="23" y="0"/>
                  <a:pt x="23" y="0"/>
                </a:cubicBezTo>
                <a:cubicBezTo>
                  <a:pt x="23" y="0"/>
                  <a:pt x="22" y="0"/>
                  <a:pt x="22" y="0"/>
                </a:cubicBezTo>
                <a:cubicBezTo>
                  <a:pt x="22" y="0"/>
                  <a:pt x="22" y="0"/>
                  <a:pt x="22" y="0"/>
                </a:cubicBezTo>
                <a:cubicBezTo>
                  <a:pt x="21" y="0"/>
                  <a:pt x="21" y="0"/>
                  <a:pt x="21" y="0"/>
                </a:cubicBezTo>
                <a:cubicBezTo>
                  <a:pt x="21" y="0"/>
                  <a:pt x="21" y="0"/>
                  <a:pt x="20" y="0"/>
                </a:cubicBezTo>
                <a:cubicBezTo>
                  <a:pt x="20" y="1"/>
                  <a:pt x="20" y="1"/>
                  <a:pt x="20" y="1"/>
                </a:cubicBezTo>
                <a:cubicBezTo>
                  <a:pt x="19" y="1"/>
                  <a:pt x="19" y="1"/>
                  <a:pt x="19" y="1"/>
                </a:cubicBezTo>
                <a:cubicBezTo>
                  <a:pt x="19" y="1"/>
                  <a:pt x="18" y="1"/>
                  <a:pt x="18" y="0"/>
                </a:cubicBezTo>
                <a:cubicBezTo>
                  <a:pt x="18" y="0"/>
                  <a:pt x="17" y="0"/>
                  <a:pt x="17" y="0"/>
                </a:cubicBezTo>
                <a:cubicBezTo>
                  <a:pt x="17" y="0"/>
                  <a:pt x="16" y="0"/>
                  <a:pt x="16" y="0"/>
                </a:cubicBezTo>
                <a:cubicBezTo>
                  <a:pt x="16" y="0"/>
                  <a:pt x="16" y="0"/>
                  <a:pt x="15" y="0"/>
                </a:cubicBezTo>
                <a:cubicBezTo>
                  <a:pt x="15" y="0"/>
                  <a:pt x="15" y="0"/>
                  <a:pt x="15" y="0"/>
                </a:cubicBezTo>
                <a:cubicBezTo>
                  <a:pt x="14" y="1"/>
                  <a:pt x="14" y="1"/>
                  <a:pt x="14" y="1"/>
                </a:cubicBezTo>
                <a:cubicBezTo>
                  <a:pt x="14" y="1"/>
                  <a:pt x="14" y="1"/>
                  <a:pt x="14" y="1"/>
                </a:cubicBezTo>
                <a:cubicBezTo>
                  <a:pt x="14" y="1"/>
                  <a:pt x="13" y="1"/>
                  <a:pt x="13" y="2"/>
                </a:cubicBezTo>
                <a:cubicBezTo>
                  <a:pt x="13" y="2"/>
                  <a:pt x="13" y="2"/>
                  <a:pt x="12" y="2"/>
                </a:cubicBezTo>
                <a:cubicBezTo>
                  <a:pt x="11" y="3"/>
                  <a:pt x="10" y="4"/>
                  <a:pt x="10" y="4"/>
                </a:cubicBezTo>
                <a:cubicBezTo>
                  <a:pt x="10" y="4"/>
                  <a:pt x="10" y="4"/>
                  <a:pt x="10" y="4"/>
                </a:cubicBezTo>
                <a:cubicBezTo>
                  <a:pt x="10" y="4"/>
                  <a:pt x="9" y="4"/>
                  <a:pt x="9" y="4"/>
                </a:cubicBezTo>
                <a:cubicBezTo>
                  <a:pt x="9" y="4"/>
                  <a:pt x="8" y="3"/>
                  <a:pt x="8" y="3"/>
                </a:cubicBezTo>
                <a:cubicBezTo>
                  <a:pt x="8" y="3"/>
                  <a:pt x="8" y="3"/>
                  <a:pt x="8" y="3"/>
                </a:cubicBezTo>
                <a:cubicBezTo>
                  <a:pt x="7" y="3"/>
                  <a:pt x="7" y="3"/>
                  <a:pt x="7" y="3"/>
                </a:cubicBezTo>
                <a:cubicBezTo>
                  <a:pt x="7" y="3"/>
                  <a:pt x="7" y="3"/>
                  <a:pt x="7" y="3"/>
                </a:cubicBezTo>
                <a:cubicBezTo>
                  <a:pt x="7" y="3"/>
                  <a:pt x="7" y="3"/>
                  <a:pt x="7" y="3"/>
                </a:cubicBezTo>
                <a:cubicBezTo>
                  <a:pt x="6" y="3"/>
                  <a:pt x="6" y="3"/>
                  <a:pt x="5" y="3"/>
                </a:cubicBezTo>
                <a:cubicBezTo>
                  <a:pt x="5" y="3"/>
                  <a:pt x="5" y="3"/>
                  <a:pt x="4" y="3"/>
                </a:cubicBezTo>
                <a:cubicBezTo>
                  <a:pt x="4" y="3"/>
                  <a:pt x="4" y="3"/>
                  <a:pt x="4" y="3"/>
                </a:cubicBezTo>
                <a:cubicBezTo>
                  <a:pt x="4" y="2"/>
                  <a:pt x="4" y="2"/>
                  <a:pt x="4" y="2"/>
                </a:cubicBezTo>
                <a:cubicBezTo>
                  <a:pt x="3" y="2"/>
                  <a:pt x="3" y="2"/>
                  <a:pt x="3" y="2"/>
                </a:cubicBezTo>
                <a:cubicBezTo>
                  <a:pt x="2" y="2"/>
                  <a:pt x="2" y="2"/>
                  <a:pt x="2" y="2"/>
                </a:cubicBezTo>
                <a:cubicBezTo>
                  <a:pt x="2" y="2"/>
                  <a:pt x="2" y="2"/>
                  <a:pt x="2" y="2"/>
                </a:cubicBezTo>
                <a:cubicBezTo>
                  <a:pt x="1" y="3"/>
                  <a:pt x="1" y="3"/>
                  <a:pt x="0" y="4"/>
                </a:cubicBezTo>
                <a:cubicBezTo>
                  <a:pt x="1" y="4"/>
                  <a:pt x="1" y="4"/>
                  <a:pt x="1" y="4"/>
                </a:cubicBezTo>
                <a:cubicBezTo>
                  <a:pt x="3" y="5"/>
                  <a:pt x="3" y="5"/>
                  <a:pt x="3" y="5"/>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1" y="8"/>
                  <a:pt x="1" y="8"/>
                  <a:pt x="1" y="9"/>
                </a:cubicBezTo>
                <a:cubicBezTo>
                  <a:pt x="1" y="9"/>
                  <a:pt x="1" y="9"/>
                  <a:pt x="1" y="9"/>
                </a:cubicBezTo>
                <a:cubicBezTo>
                  <a:pt x="1" y="9"/>
                  <a:pt x="1" y="9"/>
                  <a:pt x="1" y="9"/>
                </a:cubicBezTo>
                <a:cubicBezTo>
                  <a:pt x="1" y="9"/>
                  <a:pt x="2" y="9"/>
                  <a:pt x="2" y="10"/>
                </a:cubicBezTo>
                <a:cubicBezTo>
                  <a:pt x="2" y="10"/>
                  <a:pt x="3" y="10"/>
                  <a:pt x="3" y="10"/>
                </a:cubicBezTo>
                <a:cubicBezTo>
                  <a:pt x="3" y="11"/>
                  <a:pt x="3" y="11"/>
                  <a:pt x="3" y="11"/>
                </a:cubicBezTo>
                <a:cubicBezTo>
                  <a:pt x="4" y="11"/>
                  <a:pt x="4" y="11"/>
                  <a:pt x="4" y="11"/>
                </a:cubicBezTo>
                <a:cubicBezTo>
                  <a:pt x="4" y="12"/>
                  <a:pt x="4" y="12"/>
                  <a:pt x="4" y="12"/>
                </a:cubicBezTo>
                <a:cubicBezTo>
                  <a:pt x="4" y="12"/>
                  <a:pt x="4" y="12"/>
                  <a:pt x="4" y="12"/>
                </a:cubicBezTo>
                <a:cubicBezTo>
                  <a:pt x="4" y="13"/>
                  <a:pt x="5" y="13"/>
                  <a:pt x="5" y="13"/>
                </a:cubicBezTo>
                <a:cubicBezTo>
                  <a:pt x="6" y="13"/>
                  <a:pt x="8" y="12"/>
                  <a:pt x="9" y="11"/>
                </a:cubicBezTo>
                <a:cubicBezTo>
                  <a:pt x="9" y="10"/>
                  <a:pt x="9" y="10"/>
                  <a:pt x="9" y="10"/>
                </a:cubicBezTo>
                <a:cubicBezTo>
                  <a:pt x="11" y="11"/>
                  <a:pt x="11" y="11"/>
                  <a:pt x="11" y="11"/>
                </a:cubicBezTo>
                <a:cubicBezTo>
                  <a:pt x="11" y="11"/>
                  <a:pt x="11" y="11"/>
                  <a:pt x="11" y="11"/>
                </a:cubicBezTo>
                <a:cubicBezTo>
                  <a:pt x="11" y="12"/>
                  <a:pt x="11" y="12"/>
                  <a:pt x="11" y="12"/>
                </a:cubicBezTo>
                <a:cubicBezTo>
                  <a:pt x="12" y="12"/>
                  <a:pt x="12" y="12"/>
                  <a:pt x="12" y="12"/>
                </a:cubicBezTo>
                <a:cubicBezTo>
                  <a:pt x="13" y="12"/>
                  <a:pt x="13" y="12"/>
                  <a:pt x="13" y="12"/>
                </a:cubicBezTo>
                <a:cubicBezTo>
                  <a:pt x="13" y="12"/>
                  <a:pt x="13" y="12"/>
                  <a:pt x="13" y="12"/>
                </a:cubicBezTo>
                <a:cubicBezTo>
                  <a:pt x="13" y="12"/>
                  <a:pt x="13" y="12"/>
                  <a:pt x="13" y="12"/>
                </a:cubicBezTo>
                <a:cubicBezTo>
                  <a:pt x="14" y="12"/>
                  <a:pt x="14" y="12"/>
                  <a:pt x="14" y="13"/>
                </a:cubicBezTo>
                <a:cubicBezTo>
                  <a:pt x="14" y="13"/>
                  <a:pt x="14" y="13"/>
                  <a:pt x="14" y="13"/>
                </a:cubicBezTo>
                <a:cubicBezTo>
                  <a:pt x="15" y="13"/>
                  <a:pt x="15" y="13"/>
                  <a:pt x="16" y="13"/>
                </a:cubicBezTo>
                <a:cubicBezTo>
                  <a:pt x="16" y="13"/>
                  <a:pt x="16" y="13"/>
                  <a:pt x="16" y="13"/>
                </a:cubicBezTo>
                <a:cubicBezTo>
                  <a:pt x="16" y="13"/>
                  <a:pt x="16" y="13"/>
                  <a:pt x="16" y="13"/>
                </a:cubicBezTo>
                <a:cubicBezTo>
                  <a:pt x="16" y="12"/>
                  <a:pt x="16" y="12"/>
                  <a:pt x="16" y="12"/>
                </a:cubicBezTo>
                <a:cubicBezTo>
                  <a:pt x="14" y="11"/>
                  <a:pt x="14" y="11"/>
                  <a:pt x="14" y="11"/>
                </a:cubicBezTo>
                <a:cubicBezTo>
                  <a:pt x="16" y="10"/>
                  <a:pt x="16" y="10"/>
                  <a:pt x="16" y="10"/>
                </a:cubicBezTo>
                <a:cubicBezTo>
                  <a:pt x="17" y="10"/>
                  <a:pt x="17" y="9"/>
                  <a:pt x="18" y="9"/>
                </a:cubicBezTo>
                <a:close/>
              </a:path>
            </a:pathLst>
          </a:custGeom>
          <a:solidFill>
            <a:srgbClr val="00A5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38" name="Freeform 3095">
            <a:extLst>
              <a:ext uri="{FF2B5EF4-FFF2-40B4-BE49-F238E27FC236}">
                <a16:creationId xmlns:a16="http://schemas.microsoft.com/office/drawing/2014/main" id="{78A9E149-D170-4470-B72D-CBA52CC0E288}"/>
              </a:ext>
            </a:extLst>
          </p:cNvPr>
          <p:cNvSpPr>
            <a:spLocks/>
          </p:cNvSpPr>
          <p:nvPr/>
        </p:nvSpPr>
        <p:spPr bwMode="auto">
          <a:xfrm>
            <a:off x="3533758" y="3035586"/>
            <a:ext cx="1487" cy="2968"/>
          </a:xfrm>
          <a:custGeom>
            <a:avLst/>
            <a:gdLst>
              <a:gd name="T0" fmla="*/ 0 w 1"/>
              <a:gd name="T1" fmla="*/ 2 h 2"/>
              <a:gd name="T2" fmla="*/ 1 w 1"/>
              <a:gd name="T3" fmla="*/ 1 h 2"/>
              <a:gd name="T4" fmla="*/ 1 w 1"/>
              <a:gd name="T5" fmla="*/ 1 h 2"/>
              <a:gd name="T6" fmla="*/ 1 w 1"/>
              <a:gd name="T7" fmla="*/ 1 h 2"/>
              <a:gd name="T8" fmla="*/ 0 w 1"/>
              <a:gd name="T9" fmla="*/ 0 h 2"/>
              <a:gd name="T10" fmla="*/ 0 w 1"/>
              <a:gd name="T11" fmla="*/ 0 h 2"/>
              <a:gd name="T12" fmla="*/ 0 w 1"/>
              <a:gd name="T13" fmla="*/ 0 h 2"/>
              <a:gd name="T14" fmla="*/ 0 w 1"/>
              <a:gd name="T15" fmla="*/ 0 h 2"/>
              <a:gd name="T16" fmla="*/ 0 w 1"/>
              <a:gd name="T17" fmla="*/ 0 h 2"/>
              <a:gd name="T18" fmla="*/ 0 w 1"/>
              <a:gd name="T19" fmla="*/ 1 h 2"/>
              <a:gd name="T20" fmla="*/ 0 w 1"/>
              <a:gd name="T2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2">
                <a:moveTo>
                  <a:pt x="0" y="2"/>
                </a:moveTo>
                <a:cubicBezTo>
                  <a:pt x="0" y="2"/>
                  <a:pt x="1" y="2"/>
                  <a:pt x="1" y="1"/>
                </a:cubicBezTo>
                <a:cubicBezTo>
                  <a:pt x="1" y="1"/>
                  <a:pt x="1" y="1"/>
                  <a:pt x="1" y="1"/>
                </a:cubicBezTo>
                <a:cubicBezTo>
                  <a:pt x="1" y="1"/>
                  <a:pt x="1" y="1"/>
                  <a:pt x="1" y="1"/>
                </a:cubicBezTo>
                <a:cubicBezTo>
                  <a:pt x="1" y="1"/>
                  <a:pt x="1"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1"/>
                </a:cubicBezTo>
                <a:lnTo>
                  <a:pt x="0" y="2"/>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39" name="Freeform 3096">
            <a:extLst>
              <a:ext uri="{FF2B5EF4-FFF2-40B4-BE49-F238E27FC236}">
                <a16:creationId xmlns:a16="http://schemas.microsoft.com/office/drawing/2014/main" id="{CCB262BA-215C-4964-801D-29438746724E}"/>
              </a:ext>
            </a:extLst>
          </p:cNvPr>
          <p:cNvSpPr>
            <a:spLocks/>
          </p:cNvSpPr>
          <p:nvPr/>
        </p:nvSpPr>
        <p:spPr bwMode="auto">
          <a:xfrm>
            <a:off x="3566465" y="3065266"/>
            <a:ext cx="1487" cy="1187"/>
          </a:xfrm>
          <a:custGeom>
            <a:avLst/>
            <a:gdLst>
              <a:gd name="T0" fmla="*/ 0 w 1"/>
              <a:gd name="T1" fmla="*/ 1 h 1"/>
              <a:gd name="T2" fmla="*/ 1 w 1"/>
              <a:gd name="T3" fmla="*/ 1 h 1"/>
              <a:gd name="T4" fmla="*/ 1 w 1"/>
              <a:gd name="T5" fmla="*/ 1 h 1"/>
              <a:gd name="T6" fmla="*/ 1 w 1"/>
              <a:gd name="T7" fmla="*/ 0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1"/>
                  <a:pt x="0" y="1"/>
                  <a:pt x="1" y="1"/>
                </a:cubicBezTo>
                <a:cubicBezTo>
                  <a:pt x="1" y="1"/>
                  <a:pt x="1" y="1"/>
                  <a:pt x="1" y="1"/>
                </a:cubicBezTo>
                <a:cubicBezTo>
                  <a:pt x="1" y="1"/>
                  <a:pt x="1" y="0"/>
                  <a:pt x="1" y="0"/>
                </a:cubicBezTo>
                <a:lnTo>
                  <a:pt x="0" y="1"/>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40" name="Freeform 3097">
            <a:extLst>
              <a:ext uri="{FF2B5EF4-FFF2-40B4-BE49-F238E27FC236}">
                <a16:creationId xmlns:a16="http://schemas.microsoft.com/office/drawing/2014/main" id="{C2AA0DFC-39BC-425D-84BF-878EC624A992}"/>
              </a:ext>
            </a:extLst>
          </p:cNvPr>
          <p:cNvSpPr>
            <a:spLocks/>
          </p:cNvSpPr>
          <p:nvPr/>
        </p:nvSpPr>
        <p:spPr bwMode="auto">
          <a:xfrm>
            <a:off x="3568943" y="306229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41" name="Freeform 3098">
            <a:extLst>
              <a:ext uri="{FF2B5EF4-FFF2-40B4-BE49-F238E27FC236}">
                <a16:creationId xmlns:a16="http://schemas.microsoft.com/office/drawing/2014/main" id="{43D78D6E-DE23-4BAD-9567-5A325F935281}"/>
              </a:ext>
            </a:extLst>
          </p:cNvPr>
          <p:cNvSpPr>
            <a:spLocks/>
          </p:cNvSpPr>
          <p:nvPr/>
        </p:nvSpPr>
        <p:spPr bwMode="auto">
          <a:xfrm>
            <a:off x="3502042" y="3040928"/>
            <a:ext cx="66901" cy="60547"/>
          </a:xfrm>
          <a:custGeom>
            <a:avLst/>
            <a:gdLst>
              <a:gd name="T0" fmla="*/ 38 w 57"/>
              <a:gd name="T1" fmla="*/ 38 h 43"/>
              <a:gd name="T2" fmla="*/ 31 w 57"/>
              <a:gd name="T3" fmla="*/ 33 h 43"/>
              <a:gd name="T4" fmla="*/ 28 w 57"/>
              <a:gd name="T5" fmla="*/ 30 h 43"/>
              <a:gd name="T6" fmla="*/ 26 w 57"/>
              <a:gd name="T7" fmla="*/ 27 h 43"/>
              <a:gd name="T8" fmla="*/ 25 w 57"/>
              <a:gd name="T9" fmla="*/ 23 h 43"/>
              <a:gd name="T10" fmla="*/ 22 w 57"/>
              <a:gd name="T11" fmla="*/ 22 h 43"/>
              <a:gd name="T12" fmla="*/ 22 w 57"/>
              <a:gd name="T13" fmla="*/ 18 h 43"/>
              <a:gd name="T14" fmla="*/ 24 w 57"/>
              <a:gd name="T15" fmla="*/ 14 h 43"/>
              <a:gd name="T16" fmla="*/ 29 w 57"/>
              <a:gd name="T17" fmla="*/ 16 h 43"/>
              <a:gd name="T18" fmla="*/ 31 w 57"/>
              <a:gd name="T19" fmla="*/ 14 h 43"/>
              <a:gd name="T20" fmla="*/ 34 w 57"/>
              <a:gd name="T21" fmla="*/ 14 h 43"/>
              <a:gd name="T22" fmla="*/ 35 w 57"/>
              <a:gd name="T23" fmla="*/ 14 h 43"/>
              <a:gd name="T24" fmla="*/ 36 w 57"/>
              <a:gd name="T25" fmla="*/ 14 h 43"/>
              <a:gd name="T26" fmla="*/ 50 w 57"/>
              <a:gd name="T27" fmla="*/ 16 h 43"/>
              <a:gd name="T28" fmla="*/ 56 w 57"/>
              <a:gd name="T29" fmla="*/ 17 h 43"/>
              <a:gd name="T30" fmla="*/ 57 w 57"/>
              <a:gd name="T31" fmla="*/ 15 h 43"/>
              <a:gd name="T32" fmla="*/ 54 w 57"/>
              <a:gd name="T33" fmla="*/ 10 h 43"/>
              <a:gd name="T34" fmla="*/ 52 w 57"/>
              <a:gd name="T35" fmla="*/ 9 h 43"/>
              <a:gd name="T36" fmla="*/ 46 w 57"/>
              <a:gd name="T37" fmla="*/ 9 h 43"/>
              <a:gd name="T38" fmla="*/ 40 w 57"/>
              <a:gd name="T39" fmla="*/ 7 h 43"/>
              <a:gd name="T40" fmla="*/ 40 w 57"/>
              <a:gd name="T41" fmla="*/ 7 h 43"/>
              <a:gd name="T42" fmla="*/ 31 w 57"/>
              <a:gd name="T43" fmla="*/ 0 h 43"/>
              <a:gd name="T44" fmla="*/ 29 w 57"/>
              <a:gd name="T45" fmla="*/ 0 h 43"/>
              <a:gd name="T46" fmla="*/ 28 w 57"/>
              <a:gd name="T47" fmla="*/ 2 h 43"/>
              <a:gd name="T48" fmla="*/ 27 w 57"/>
              <a:gd name="T49" fmla="*/ 2 h 43"/>
              <a:gd name="T50" fmla="*/ 24 w 57"/>
              <a:gd name="T51" fmla="*/ 3 h 43"/>
              <a:gd name="T52" fmla="*/ 23 w 57"/>
              <a:gd name="T53" fmla="*/ 4 h 43"/>
              <a:gd name="T54" fmla="*/ 24 w 57"/>
              <a:gd name="T55" fmla="*/ 5 h 43"/>
              <a:gd name="T56" fmla="*/ 20 w 57"/>
              <a:gd name="T57" fmla="*/ 9 h 43"/>
              <a:gd name="T58" fmla="*/ 19 w 57"/>
              <a:gd name="T59" fmla="*/ 11 h 43"/>
              <a:gd name="T60" fmla="*/ 18 w 57"/>
              <a:gd name="T61" fmla="*/ 13 h 43"/>
              <a:gd name="T62" fmla="*/ 17 w 57"/>
              <a:gd name="T63" fmla="*/ 14 h 43"/>
              <a:gd name="T64" fmla="*/ 16 w 57"/>
              <a:gd name="T65" fmla="*/ 13 h 43"/>
              <a:gd name="T66" fmla="*/ 11 w 57"/>
              <a:gd name="T67" fmla="*/ 12 h 43"/>
              <a:gd name="T68" fmla="*/ 1 w 57"/>
              <a:gd name="T69" fmla="*/ 14 h 43"/>
              <a:gd name="T70" fmla="*/ 1 w 57"/>
              <a:gd name="T71" fmla="*/ 15 h 43"/>
              <a:gd name="T72" fmla="*/ 3 w 57"/>
              <a:gd name="T73" fmla="*/ 20 h 43"/>
              <a:gd name="T74" fmla="*/ 8 w 57"/>
              <a:gd name="T75" fmla="*/ 14 h 43"/>
              <a:gd name="T76" fmla="*/ 16 w 57"/>
              <a:gd name="T77" fmla="*/ 25 h 43"/>
              <a:gd name="T78" fmla="*/ 17 w 57"/>
              <a:gd name="T79" fmla="*/ 29 h 43"/>
              <a:gd name="T80" fmla="*/ 27 w 57"/>
              <a:gd name="T81" fmla="*/ 37 h 43"/>
              <a:gd name="T82" fmla="*/ 34 w 57"/>
              <a:gd name="T83" fmla="*/ 39 h 43"/>
              <a:gd name="T84" fmla="*/ 40 w 57"/>
              <a:gd name="T8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 h="43">
                <a:moveTo>
                  <a:pt x="40" y="43"/>
                </a:moveTo>
                <a:cubicBezTo>
                  <a:pt x="40" y="43"/>
                  <a:pt x="39" y="42"/>
                  <a:pt x="39" y="42"/>
                </a:cubicBezTo>
                <a:cubicBezTo>
                  <a:pt x="38" y="38"/>
                  <a:pt x="38" y="38"/>
                  <a:pt x="38" y="38"/>
                </a:cubicBezTo>
                <a:cubicBezTo>
                  <a:pt x="37" y="38"/>
                  <a:pt x="36" y="37"/>
                  <a:pt x="36" y="37"/>
                </a:cubicBezTo>
                <a:cubicBezTo>
                  <a:pt x="35" y="36"/>
                  <a:pt x="35" y="36"/>
                  <a:pt x="35" y="36"/>
                </a:cubicBezTo>
                <a:cubicBezTo>
                  <a:pt x="34" y="35"/>
                  <a:pt x="32" y="34"/>
                  <a:pt x="31" y="33"/>
                </a:cubicBezTo>
                <a:cubicBezTo>
                  <a:pt x="31" y="33"/>
                  <a:pt x="31" y="33"/>
                  <a:pt x="31" y="33"/>
                </a:cubicBezTo>
                <a:cubicBezTo>
                  <a:pt x="30" y="32"/>
                  <a:pt x="29" y="31"/>
                  <a:pt x="29" y="31"/>
                </a:cubicBezTo>
                <a:cubicBezTo>
                  <a:pt x="28" y="30"/>
                  <a:pt x="28" y="30"/>
                  <a:pt x="28" y="30"/>
                </a:cubicBezTo>
                <a:cubicBezTo>
                  <a:pt x="27" y="29"/>
                  <a:pt x="27" y="28"/>
                  <a:pt x="26" y="27"/>
                </a:cubicBezTo>
                <a:cubicBezTo>
                  <a:pt x="26" y="27"/>
                  <a:pt x="26" y="27"/>
                  <a:pt x="26" y="27"/>
                </a:cubicBezTo>
                <a:cubicBezTo>
                  <a:pt x="26" y="27"/>
                  <a:pt x="26" y="27"/>
                  <a:pt x="26" y="27"/>
                </a:cubicBezTo>
                <a:cubicBezTo>
                  <a:pt x="26" y="26"/>
                  <a:pt x="26" y="26"/>
                  <a:pt x="26" y="26"/>
                </a:cubicBezTo>
                <a:cubicBezTo>
                  <a:pt x="25" y="25"/>
                  <a:pt x="25" y="24"/>
                  <a:pt x="25" y="24"/>
                </a:cubicBezTo>
                <a:cubicBezTo>
                  <a:pt x="25" y="24"/>
                  <a:pt x="25" y="23"/>
                  <a:pt x="25" y="23"/>
                </a:cubicBezTo>
                <a:cubicBezTo>
                  <a:pt x="24" y="23"/>
                  <a:pt x="24" y="23"/>
                  <a:pt x="24" y="23"/>
                </a:cubicBezTo>
                <a:cubicBezTo>
                  <a:pt x="24" y="23"/>
                  <a:pt x="23" y="23"/>
                  <a:pt x="23" y="23"/>
                </a:cubicBezTo>
                <a:cubicBezTo>
                  <a:pt x="23" y="22"/>
                  <a:pt x="22" y="22"/>
                  <a:pt x="22" y="22"/>
                </a:cubicBezTo>
                <a:cubicBezTo>
                  <a:pt x="21" y="21"/>
                  <a:pt x="21" y="19"/>
                  <a:pt x="22" y="19"/>
                </a:cubicBezTo>
                <a:cubicBezTo>
                  <a:pt x="22" y="19"/>
                  <a:pt x="22" y="18"/>
                  <a:pt x="22" y="18"/>
                </a:cubicBezTo>
                <a:cubicBezTo>
                  <a:pt x="22" y="18"/>
                  <a:pt x="22" y="18"/>
                  <a:pt x="22" y="18"/>
                </a:cubicBezTo>
                <a:cubicBezTo>
                  <a:pt x="22" y="17"/>
                  <a:pt x="22" y="17"/>
                  <a:pt x="22" y="17"/>
                </a:cubicBezTo>
                <a:cubicBezTo>
                  <a:pt x="22" y="15"/>
                  <a:pt x="23" y="15"/>
                  <a:pt x="23" y="14"/>
                </a:cubicBezTo>
                <a:cubicBezTo>
                  <a:pt x="24" y="14"/>
                  <a:pt x="24" y="14"/>
                  <a:pt x="24" y="14"/>
                </a:cubicBezTo>
                <a:cubicBezTo>
                  <a:pt x="25" y="14"/>
                  <a:pt x="25" y="14"/>
                  <a:pt x="26" y="14"/>
                </a:cubicBezTo>
                <a:cubicBezTo>
                  <a:pt x="26" y="14"/>
                  <a:pt x="26" y="14"/>
                  <a:pt x="26" y="14"/>
                </a:cubicBezTo>
                <a:cubicBezTo>
                  <a:pt x="27" y="15"/>
                  <a:pt x="28" y="15"/>
                  <a:pt x="29" y="16"/>
                </a:cubicBezTo>
                <a:cubicBezTo>
                  <a:pt x="29" y="16"/>
                  <a:pt x="29" y="16"/>
                  <a:pt x="29" y="16"/>
                </a:cubicBezTo>
                <a:cubicBezTo>
                  <a:pt x="29" y="15"/>
                  <a:pt x="30" y="14"/>
                  <a:pt x="31" y="14"/>
                </a:cubicBezTo>
                <a:cubicBezTo>
                  <a:pt x="31" y="14"/>
                  <a:pt x="31" y="14"/>
                  <a:pt x="31" y="14"/>
                </a:cubicBezTo>
                <a:cubicBezTo>
                  <a:pt x="32" y="14"/>
                  <a:pt x="32" y="14"/>
                  <a:pt x="33" y="14"/>
                </a:cubicBezTo>
                <a:cubicBezTo>
                  <a:pt x="33" y="14"/>
                  <a:pt x="33" y="14"/>
                  <a:pt x="33" y="14"/>
                </a:cubicBezTo>
                <a:cubicBezTo>
                  <a:pt x="33" y="14"/>
                  <a:pt x="33" y="14"/>
                  <a:pt x="34" y="14"/>
                </a:cubicBezTo>
                <a:cubicBezTo>
                  <a:pt x="34" y="14"/>
                  <a:pt x="34" y="14"/>
                  <a:pt x="34" y="14"/>
                </a:cubicBezTo>
                <a:cubicBezTo>
                  <a:pt x="34" y="13"/>
                  <a:pt x="34" y="13"/>
                  <a:pt x="34" y="13"/>
                </a:cubicBezTo>
                <a:cubicBezTo>
                  <a:pt x="35" y="14"/>
                  <a:pt x="35" y="14"/>
                  <a:pt x="35" y="14"/>
                </a:cubicBezTo>
                <a:cubicBezTo>
                  <a:pt x="35" y="14"/>
                  <a:pt x="35" y="14"/>
                  <a:pt x="35" y="14"/>
                </a:cubicBezTo>
                <a:cubicBezTo>
                  <a:pt x="36" y="14"/>
                  <a:pt x="36" y="14"/>
                  <a:pt x="36" y="14"/>
                </a:cubicBezTo>
                <a:cubicBezTo>
                  <a:pt x="36" y="14"/>
                  <a:pt x="36" y="14"/>
                  <a:pt x="36" y="14"/>
                </a:cubicBezTo>
                <a:cubicBezTo>
                  <a:pt x="37" y="14"/>
                  <a:pt x="38" y="15"/>
                  <a:pt x="39" y="15"/>
                </a:cubicBezTo>
                <a:cubicBezTo>
                  <a:pt x="46" y="16"/>
                  <a:pt x="46" y="16"/>
                  <a:pt x="46" y="16"/>
                </a:cubicBezTo>
                <a:cubicBezTo>
                  <a:pt x="47" y="16"/>
                  <a:pt x="49" y="16"/>
                  <a:pt x="50" y="16"/>
                </a:cubicBezTo>
                <a:cubicBezTo>
                  <a:pt x="51" y="15"/>
                  <a:pt x="52" y="16"/>
                  <a:pt x="53" y="16"/>
                </a:cubicBezTo>
                <a:cubicBezTo>
                  <a:pt x="53" y="17"/>
                  <a:pt x="54" y="17"/>
                  <a:pt x="54" y="17"/>
                </a:cubicBezTo>
                <a:cubicBezTo>
                  <a:pt x="56" y="17"/>
                  <a:pt x="56" y="17"/>
                  <a:pt x="56" y="17"/>
                </a:cubicBezTo>
                <a:cubicBezTo>
                  <a:pt x="55" y="16"/>
                  <a:pt x="56" y="15"/>
                  <a:pt x="56" y="15"/>
                </a:cubicBezTo>
                <a:cubicBezTo>
                  <a:pt x="56" y="15"/>
                  <a:pt x="56" y="15"/>
                  <a:pt x="56" y="15"/>
                </a:cubicBezTo>
                <a:cubicBezTo>
                  <a:pt x="57" y="15"/>
                  <a:pt x="57" y="15"/>
                  <a:pt x="57" y="15"/>
                </a:cubicBezTo>
                <a:cubicBezTo>
                  <a:pt x="53" y="12"/>
                  <a:pt x="53" y="12"/>
                  <a:pt x="53" y="12"/>
                </a:cubicBezTo>
                <a:cubicBezTo>
                  <a:pt x="54" y="12"/>
                  <a:pt x="54" y="12"/>
                  <a:pt x="54" y="12"/>
                </a:cubicBezTo>
                <a:cubicBezTo>
                  <a:pt x="54" y="11"/>
                  <a:pt x="54" y="10"/>
                  <a:pt x="54" y="10"/>
                </a:cubicBezTo>
                <a:cubicBezTo>
                  <a:pt x="54" y="9"/>
                  <a:pt x="54" y="9"/>
                  <a:pt x="54" y="9"/>
                </a:cubicBezTo>
                <a:cubicBezTo>
                  <a:pt x="50" y="12"/>
                  <a:pt x="50" y="12"/>
                  <a:pt x="50" y="12"/>
                </a:cubicBezTo>
                <a:cubicBezTo>
                  <a:pt x="52" y="9"/>
                  <a:pt x="52" y="9"/>
                  <a:pt x="52" y="9"/>
                </a:cubicBezTo>
                <a:cubicBezTo>
                  <a:pt x="51" y="9"/>
                  <a:pt x="49" y="10"/>
                  <a:pt x="48" y="10"/>
                </a:cubicBezTo>
                <a:cubicBezTo>
                  <a:pt x="47" y="10"/>
                  <a:pt x="47" y="10"/>
                  <a:pt x="46" y="10"/>
                </a:cubicBezTo>
                <a:cubicBezTo>
                  <a:pt x="46" y="9"/>
                  <a:pt x="46" y="9"/>
                  <a:pt x="46" y="9"/>
                </a:cubicBezTo>
                <a:cubicBezTo>
                  <a:pt x="46" y="9"/>
                  <a:pt x="45" y="9"/>
                  <a:pt x="45" y="9"/>
                </a:cubicBezTo>
                <a:cubicBezTo>
                  <a:pt x="43" y="9"/>
                  <a:pt x="42" y="8"/>
                  <a:pt x="40" y="8"/>
                </a:cubicBezTo>
                <a:cubicBezTo>
                  <a:pt x="40" y="7"/>
                  <a:pt x="40" y="7"/>
                  <a:pt x="40" y="7"/>
                </a:cubicBezTo>
                <a:cubicBezTo>
                  <a:pt x="40" y="8"/>
                  <a:pt x="40" y="8"/>
                  <a:pt x="40" y="8"/>
                </a:cubicBezTo>
                <a:cubicBezTo>
                  <a:pt x="40" y="8"/>
                  <a:pt x="40" y="8"/>
                  <a:pt x="40" y="8"/>
                </a:cubicBezTo>
                <a:cubicBezTo>
                  <a:pt x="40" y="7"/>
                  <a:pt x="40" y="7"/>
                  <a:pt x="40" y="7"/>
                </a:cubicBezTo>
                <a:cubicBezTo>
                  <a:pt x="39" y="7"/>
                  <a:pt x="39" y="7"/>
                  <a:pt x="39" y="7"/>
                </a:cubicBezTo>
                <a:cubicBezTo>
                  <a:pt x="37" y="6"/>
                  <a:pt x="35" y="4"/>
                  <a:pt x="33" y="2"/>
                </a:cubicBezTo>
                <a:cubicBezTo>
                  <a:pt x="32" y="1"/>
                  <a:pt x="32" y="1"/>
                  <a:pt x="31" y="0"/>
                </a:cubicBezTo>
                <a:cubicBezTo>
                  <a:pt x="31" y="0"/>
                  <a:pt x="31" y="0"/>
                  <a:pt x="31" y="0"/>
                </a:cubicBezTo>
                <a:cubicBezTo>
                  <a:pt x="30" y="0"/>
                  <a:pt x="30" y="0"/>
                  <a:pt x="29" y="0"/>
                </a:cubicBezTo>
                <a:cubicBezTo>
                  <a:pt x="29" y="0"/>
                  <a:pt x="29" y="0"/>
                  <a:pt x="29" y="0"/>
                </a:cubicBezTo>
                <a:cubicBezTo>
                  <a:pt x="30" y="2"/>
                  <a:pt x="30" y="2"/>
                  <a:pt x="30" y="2"/>
                </a:cubicBezTo>
                <a:cubicBezTo>
                  <a:pt x="28" y="2"/>
                  <a:pt x="28" y="2"/>
                  <a:pt x="28" y="2"/>
                </a:cubicBezTo>
                <a:cubicBezTo>
                  <a:pt x="28" y="2"/>
                  <a:pt x="28" y="2"/>
                  <a:pt x="28" y="2"/>
                </a:cubicBezTo>
                <a:cubicBezTo>
                  <a:pt x="28" y="2"/>
                  <a:pt x="28" y="2"/>
                  <a:pt x="28" y="2"/>
                </a:cubicBezTo>
                <a:cubicBezTo>
                  <a:pt x="27" y="2"/>
                  <a:pt x="27" y="2"/>
                  <a:pt x="27" y="2"/>
                </a:cubicBezTo>
                <a:cubicBezTo>
                  <a:pt x="27" y="2"/>
                  <a:pt x="27" y="2"/>
                  <a:pt x="27" y="2"/>
                </a:cubicBezTo>
                <a:cubicBezTo>
                  <a:pt x="27" y="2"/>
                  <a:pt x="26" y="3"/>
                  <a:pt x="26" y="3"/>
                </a:cubicBezTo>
                <a:cubicBezTo>
                  <a:pt x="25" y="3"/>
                  <a:pt x="25" y="3"/>
                  <a:pt x="25" y="3"/>
                </a:cubicBezTo>
                <a:cubicBezTo>
                  <a:pt x="25" y="3"/>
                  <a:pt x="24" y="3"/>
                  <a:pt x="24" y="3"/>
                </a:cubicBezTo>
                <a:cubicBezTo>
                  <a:pt x="23" y="3"/>
                  <a:pt x="23" y="3"/>
                  <a:pt x="23" y="3"/>
                </a:cubicBezTo>
                <a:cubicBezTo>
                  <a:pt x="23" y="4"/>
                  <a:pt x="23" y="4"/>
                  <a:pt x="23" y="4"/>
                </a:cubicBezTo>
                <a:cubicBezTo>
                  <a:pt x="23" y="4"/>
                  <a:pt x="23" y="4"/>
                  <a:pt x="23" y="4"/>
                </a:cubicBezTo>
                <a:cubicBezTo>
                  <a:pt x="23" y="4"/>
                  <a:pt x="23" y="4"/>
                  <a:pt x="23" y="4"/>
                </a:cubicBezTo>
                <a:cubicBezTo>
                  <a:pt x="23" y="4"/>
                  <a:pt x="24" y="4"/>
                  <a:pt x="24" y="5"/>
                </a:cubicBezTo>
                <a:cubicBezTo>
                  <a:pt x="24" y="5"/>
                  <a:pt x="24" y="5"/>
                  <a:pt x="24" y="5"/>
                </a:cubicBezTo>
                <a:cubicBezTo>
                  <a:pt x="24" y="5"/>
                  <a:pt x="24" y="5"/>
                  <a:pt x="24" y="5"/>
                </a:cubicBezTo>
                <a:cubicBezTo>
                  <a:pt x="23" y="6"/>
                  <a:pt x="23" y="7"/>
                  <a:pt x="23" y="7"/>
                </a:cubicBezTo>
                <a:cubicBezTo>
                  <a:pt x="22" y="8"/>
                  <a:pt x="21" y="9"/>
                  <a:pt x="20" y="9"/>
                </a:cubicBezTo>
                <a:cubicBezTo>
                  <a:pt x="20" y="9"/>
                  <a:pt x="20" y="9"/>
                  <a:pt x="20" y="9"/>
                </a:cubicBezTo>
                <a:cubicBezTo>
                  <a:pt x="20" y="9"/>
                  <a:pt x="20" y="9"/>
                  <a:pt x="20" y="9"/>
                </a:cubicBezTo>
                <a:cubicBezTo>
                  <a:pt x="20" y="10"/>
                  <a:pt x="20" y="11"/>
                  <a:pt x="19" y="11"/>
                </a:cubicBezTo>
                <a:cubicBezTo>
                  <a:pt x="20" y="11"/>
                  <a:pt x="20" y="11"/>
                  <a:pt x="20" y="12"/>
                </a:cubicBezTo>
                <a:cubicBezTo>
                  <a:pt x="20" y="12"/>
                  <a:pt x="19" y="13"/>
                  <a:pt x="19" y="13"/>
                </a:cubicBezTo>
                <a:cubicBezTo>
                  <a:pt x="19" y="13"/>
                  <a:pt x="18" y="13"/>
                  <a:pt x="18" y="13"/>
                </a:cubicBezTo>
                <a:cubicBezTo>
                  <a:pt x="18" y="14"/>
                  <a:pt x="18" y="14"/>
                  <a:pt x="18" y="14"/>
                </a:cubicBezTo>
                <a:cubicBezTo>
                  <a:pt x="18" y="14"/>
                  <a:pt x="18" y="14"/>
                  <a:pt x="18" y="14"/>
                </a:cubicBezTo>
                <a:cubicBezTo>
                  <a:pt x="17" y="14"/>
                  <a:pt x="17" y="14"/>
                  <a:pt x="17" y="14"/>
                </a:cubicBezTo>
                <a:cubicBezTo>
                  <a:pt x="17" y="14"/>
                  <a:pt x="17" y="14"/>
                  <a:pt x="17" y="14"/>
                </a:cubicBezTo>
                <a:cubicBezTo>
                  <a:pt x="17" y="14"/>
                  <a:pt x="17" y="13"/>
                  <a:pt x="17" y="13"/>
                </a:cubicBezTo>
                <a:cubicBezTo>
                  <a:pt x="16" y="13"/>
                  <a:pt x="16" y="13"/>
                  <a:pt x="16" y="13"/>
                </a:cubicBezTo>
                <a:cubicBezTo>
                  <a:pt x="15" y="13"/>
                  <a:pt x="14" y="13"/>
                  <a:pt x="13" y="13"/>
                </a:cubicBezTo>
                <a:cubicBezTo>
                  <a:pt x="13" y="13"/>
                  <a:pt x="12" y="13"/>
                  <a:pt x="12" y="13"/>
                </a:cubicBezTo>
                <a:cubicBezTo>
                  <a:pt x="12" y="12"/>
                  <a:pt x="11" y="12"/>
                  <a:pt x="11" y="12"/>
                </a:cubicBezTo>
                <a:cubicBezTo>
                  <a:pt x="9" y="13"/>
                  <a:pt x="7" y="14"/>
                  <a:pt x="5" y="13"/>
                </a:cubicBezTo>
                <a:cubicBezTo>
                  <a:pt x="5" y="13"/>
                  <a:pt x="2" y="13"/>
                  <a:pt x="1" y="13"/>
                </a:cubicBezTo>
                <a:cubicBezTo>
                  <a:pt x="1" y="14"/>
                  <a:pt x="1" y="14"/>
                  <a:pt x="1" y="14"/>
                </a:cubicBezTo>
                <a:cubicBezTo>
                  <a:pt x="0" y="13"/>
                  <a:pt x="0" y="13"/>
                  <a:pt x="0" y="13"/>
                </a:cubicBezTo>
                <a:cubicBezTo>
                  <a:pt x="0" y="13"/>
                  <a:pt x="0" y="13"/>
                  <a:pt x="0" y="13"/>
                </a:cubicBezTo>
                <a:cubicBezTo>
                  <a:pt x="0" y="14"/>
                  <a:pt x="1" y="14"/>
                  <a:pt x="1" y="15"/>
                </a:cubicBezTo>
                <a:cubicBezTo>
                  <a:pt x="1" y="16"/>
                  <a:pt x="1" y="16"/>
                  <a:pt x="1" y="17"/>
                </a:cubicBezTo>
                <a:cubicBezTo>
                  <a:pt x="2" y="18"/>
                  <a:pt x="3" y="19"/>
                  <a:pt x="3" y="20"/>
                </a:cubicBezTo>
                <a:cubicBezTo>
                  <a:pt x="3" y="20"/>
                  <a:pt x="3" y="20"/>
                  <a:pt x="3" y="20"/>
                </a:cubicBezTo>
                <a:cubicBezTo>
                  <a:pt x="3" y="20"/>
                  <a:pt x="4" y="20"/>
                  <a:pt x="4" y="21"/>
                </a:cubicBezTo>
                <a:cubicBezTo>
                  <a:pt x="4" y="20"/>
                  <a:pt x="5" y="17"/>
                  <a:pt x="7" y="18"/>
                </a:cubicBezTo>
                <a:cubicBezTo>
                  <a:pt x="7" y="17"/>
                  <a:pt x="7" y="15"/>
                  <a:pt x="8" y="14"/>
                </a:cubicBezTo>
                <a:cubicBezTo>
                  <a:pt x="9" y="13"/>
                  <a:pt x="10" y="15"/>
                  <a:pt x="11" y="15"/>
                </a:cubicBezTo>
                <a:cubicBezTo>
                  <a:pt x="11" y="15"/>
                  <a:pt x="14" y="17"/>
                  <a:pt x="14" y="18"/>
                </a:cubicBezTo>
                <a:cubicBezTo>
                  <a:pt x="15" y="21"/>
                  <a:pt x="14" y="23"/>
                  <a:pt x="16" y="25"/>
                </a:cubicBezTo>
                <a:cubicBezTo>
                  <a:pt x="18" y="26"/>
                  <a:pt x="20" y="27"/>
                  <a:pt x="21" y="29"/>
                </a:cubicBezTo>
                <a:cubicBezTo>
                  <a:pt x="21" y="29"/>
                  <a:pt x="17" y="26"/>
                  <a:pt x="17" y="28"/>
                </a:cubicBezTo>
                <a:cubicBezTo>
                  <a:pt x="16" y="27"/>
                  <a:pt x="17" y="28"/>
                  <a:pt x="17" y="29"/>
                </a:cubicBezTo>
                <a:cubicBezTo>
                  <a:pt x="18" y="30"/>
                  <a:pt x="20" y="32"/>
                  <a:pt x="22" y="33"/>
                </a:cubicBezTo>
                <a:cubicBezTo>
                  <a:pt x="23" y="33"/>
                  <a:pt x="25" y="34"/>
                  <a:pt x="25" y="35"/>
                </a:cubicBezTo>
                <a:cubicBezTo>
                  <a:pt x="25" y="37"/>
                  <a:pt x="25" y="37"/>
                  <a:pt x="27" y="37"/>
                </a:cubicBezTo>
                <a:cubicBezTo>
                  <a:pt x="27" y="37"/>
                  <a:pt x="28" y="37"/>
                  <a:pt x="28" y="37"/>
                </a:cubicBezTo>
                <a:cubicBezTo>
                  <a:pt x="28" y="37"/>
                  <a:pt x="29" y="36"/>
                  <a:pt x="29" y="36"/>
                </a:cubicBezTo>
                <a:cubicBezTo>
                  <a:pt x="31" y="36"/>
                  <a:pt x="33" y="38"/>
                  <a:pt x="34" y="39"/>
                </a:cubicBezTo>
                <a:cubicBezTo>
                  <a:pt x="36" y="40"/>
                  <a:pt x="37" y="41"/>
                  <a:pt x="39" y="42"/>
                </a:cubicBezTo>
                <a:cubicBezTo>
                  <a:pt x="39" y="42"/>
                  <a:pt x="40" y="43"/>
                  <a:pt x="41" y="43"/>
                </a:cubicBezTo>
                <a:lnTo>
                  <a:pt x="40" y="43"/>
                </a:lnTo>
                <a:close/>
              </a:path>
            </a:pathLst>
          </a:custGeom>
          <a:solidFill>
            <a:srgbClr val="00A5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42" name="Freeform 3099">
            <a:extLst>
              <a:ext uri="{FF2B5EF4-FFF2-40B4-BE49-F238E27FC236}">
                <a16:creationId xmlns:a16="http://schemas.microsoft.com/office/drawing/2014/main" id="{2502C39A-32E3-4714-A03E-E0131B4E571D}"/>
              </a:ext>
            </a:extLst>
          </p:cNvPr>
          <p:cNvSpPr>
            <a:spLocks/>
          </p:cNvSpPr>
          <p:nvPr/>
        </p:nvSpPr>
        <p:spPr bwMode="auto">
          <a:xfrm>
            <a:off x="3562996" y="30664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43" name="Freeform 3100">
            <a:extLst>
              <a:ext uri="{FF2B5EF4-FFF2-40B4-BE49-F238E27FC236}">
                <a16:creationId xmlns:a16="http://schemas.microsoft.com/office/drawing/2014/main" id="{F753D29C-048E-4A1A-BD02-3714E9C3B328}"/>
              </a:ext>
            </a:extLst>
          </p:cNvPr>
          <p:cNvSpPr>
            <a:spLocks/>
          </p:cNvSpPr>
          <p:nvPr/>
        </p:nvSpPr>
        <p:spPr bwMode="auto">
          <a:xfrm>
            <a:off x="3530289" y="3063485"/>
            <a:ext cx="42123" cy="46300"/>
          </a:xfrm>
          <a:custGeom>
            <a:avLst/>
            <a:gdLst>
              <a:gd name="T0" fmla="*/ 25 w 36"/>
              <a:gd name="T1" fmla="*/ 32 h 33"/>
              <a:gd name="T2" fmla="*/ 26 w 36"/>
              <a:gd name="T3" fmla="*/ 31 h 33"/>
              <a:gd name="T4" fmla="*/ 26 w 36"/>
              <a:gd name="T5" fmla="*/ 29 h 33"/>
              <a:gd name="T6" fmla="*/ 28 w 36"/>
              <a:gd name="T7" fmla="*/ 24 h 33"/>
              <a:gd name="T8" fmla="*/ 29 w 36"/>
              <a:gd name="T9" fmla="*/ 22 h 33"/>
              <a:gd name="T10" fmla="*/ 30 w 36"/>
              <a:gd name="T11" fmla="*/ 21 h 33"/>
              <a:gd name="T12" fmla="*/ 32 w 36"/>
              <a:gd name="T13" fmla="*/ 19 h 33"/>
              <a:gd name="T14" fmla="*/ 33 w 36"/>
              <a:gd name="T15" fmla="*/ 19 h 33"/>
              <a:gd name="T16" fmla="*/ 34 w 36"/>
              <a:gd name="T17" fmla="*/ 19 h 33"/>
              <a:gd name="T18" fmla="*/ 36 w 36"/>
              <a:gd name="T19" fmla="*/ 18 h 33"/>
              <a:gd name="T20" fmla="*/ 36 w 36"/>
              <a:gd name="T21" fmla="*/ 18 h 33"/>
              <a:gd name="T22" fmla="*/ 33 w 36"/>
              <a:gd name="T23" fmla="*/ 15 h 33"/>
              <a:gd name="T24" fmla="*/ 35 w 36"/>
              <a:gd name="T25" fmla="*/ 13 h 33"/>
              <a:gd name="T26" fmla="*/ 35 w 36"/>
              <a:gd name="T27" fmla="*/ 13 h 33"/>
              <a:gd name="T28" fmla="*/ 34 w 36"/>
              <a:gd name="T29" fmla="*/ 13 h 33"/>
              <a:gd name="T30" fmla="*/ 34 w 36"/>
              <a:gd name="T31" fmla="*/ 12 h 33"/>
              <a:gd name="T32" fmla="*/ 32 w 36"/>
              <a:gd name="T33" fmla="*/ 8 h 33"/>
              <a:gd name="T34" fmla="*/ 33 w 36"/>
              <a:gd name="T35" fmla="*/ 7 h 33"/>
              <a:gd name="T36" fmla="*/ 34 w 36"/>
              <a:gd name="T37" fmla="*/ 5 h 33"/>
              <a:gd name="T38" fmla="*/ 33 w 36"/>
              <a:gd name="T39" fmla="*/ 5 h 33"/>
              <a:gd name="T40" fmla="*/ 33 w 36"/>
              <a:gd name="T41" fmla="*/ 5 h 33"/>
              <a:gd name="T42" fmla="*/ 31 w 36"/>
              <a:gd name="T43" fmla="*/ 5 h 33"/>
              <a:gd name="T44" fmla="*/ 28 w 36"/>
              <a:gd name="T45" fmla="*/ 3 h 33"/>
              <a:gd name="T46" fmla="*/ 28 w 36"/>
              <a:gd name="T47" fmla="*/ 3 h 33"/>
              <a:gd name="T48" fmla="*/ 27 w 36"/>
              <a:gd name="T49" fmla="*/ 2 h 33"/>
              <a:gd name="T50" fmla="*/ 22 w 36"/>
              <a:gd name="T51" fmla="*/ 2 h 33"/>
              <a:gd name="T52" fmla="*/ 11 w 36"/>
              <a:gd name="T53" fmla="*/ 0 h 33"/>
              <a:gd name="T54" fmla="*/ 8 w 36"/>
              <a:gd name="T55" fmla="*/ 0 h 33"/>
              <a:gd name="T56" fmla="*/ 7 w 36"/>
              <a:gd name="T57" fmla="*/ 1 h 33"/>
              <a:gd name="T58" fmla="*/ 6 w 36"/>
              <a:gd name="T59" fmla="*/ 3 h 33"/>
              <a:gd name="T60" fmla="*/ 4 w 36"/>
              <a:gd name="T61" fmla="*/ 3 h 33"/>
              <a:gd name="T62" fmla="*/ 3 w 36"/>
              <a:gd name="T63" fmla="*/ 2 h 33"/>
              <a:gd name="T64" fmla="*/ 1 w 36"/>
              <a:gd name="T65" fmla="*/ 1 h 33"/>
              <a:gd name="T66" fmla="*/ 1 w 36"/>
              <a:gd name="T67" fmla="*/ 1 h 33"/>
              <a:gd name="T68" fmla="*/ 0 w 36"/>
              <a:gd name="T69" fmla="*/ 3 h 33"/>
              <a:gd name="T70" fmla="*/ 0 w 36"/>
              <a:gd name="T71" fmla="*/ 4 h 33"/>
              <a:gd name="T72" fmla="*/ 2 w 36"/>
              <a:gd name="T73" fmla="*/ 5 h 33"/>
              <a:gd name="T74" fmla="*/ 3 w 36"/>
              <a:gd name="T75" fmla="*/ 6 h 33"/>
              <a:gd name="T76" fmla="*/ 4 w 36"/>
              <a:gd name="T77" fmla="*/ 10 h 33"/>
              <a:gd name="T78" fmla="*/ 5 w 36"/>
              <a:gd name="T79" fmla="*/ 10 h 33"/>
              <a:gd name="T80" fmla="*/ 6 w 36"/>
              <a:gd name="T81" fmla="*/ 13 h 33"/>
              <a:gd name="T82" fmla="*/ 9 w 36"/>
              <a:gd name="T83" fmla="*/ 15 h 33"/>
              <a:gd name="T84" fmla="*/ 13 w 36"/>
              <a:gd name="T85" fmla="*/ 18 h 33"/>
              <a:gd name="T86" fmla="*/ 16 w 36"/>
              <a:gd name="T87" fmla="*/ 21 h 33"/>
              <a:gd name="T88" fmla="*/ 18 w 36"/>
              <a:gd name="T89" fmla="*/ 25 h 33"/>
              <a:gd name="T90" fmla="*/ 20 w 36"/>
              <a:gd name="T91" fmla="*/ 27 h 33"/>
              <a:gd name="T92" fmla="*/ 19 w 36"/>
              <a:gd name="T93" fmla="*/ 29 h 33"/>
              <a:gd name="T94" fmla="*/ 18 w 36"/>
              <a:gd name="T95" fmla="*/ 29 h 33"/>
              <a:gd name="T96" fmla="*/ 17 w 36"/>
              <a:gd name="T97" fmla="*/ 2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 h="33">
                <a:moveTo>
                  <a:pt x="25" y="33"/>
                </a:moveTo>
                <a:cubicBezTo>
                  <a:pt x="25" y="32"/>
                  <a:pt x="25" y="32"/>
                  <a:pt x="25" y="32"/>
                </a:cubicBezTo>
                <a:cubicBezTo>
                  <a:pt x="26" y="31"/>
                  <a:pt x="26" y="31"/>
                  <a:pt x="26" y="31"/>
                </a:cubicBezTo>
                <a:cubicBezTo>
                  <a:pt x="26" y="31"/>
                  <a:pt x="26" y="31"/>
                  <a:pt x="26" y="31"/>
                </a:cubicBezTo>
                <a:cubicBezTo>
                  <a:pt x="26" y="31"/>
                  <a:pt x="26" y="31"/>
                  <a:pt x="26" y="30"/>
                </a:cubicBezTo>
                <a:cubicBezTo>
                  <a:pt x="26" y="30"/>
                  <a:pt x="26" y="30"/>
                  <a:pt x="26" y="29"/>
                </a:cubicBezTo>
                <a:cubicBezTo>
                  <a:pt x="26" y="29"/>
                  <a:pt x="26" y="29"/>
                  <a:pt x="26" y="28"/>
                </a:cubicBezTo>
                <a:cubicBezTo>
                  <a:pt x="26" y="27"/>
                  <a:pt x="26" y="25"/>
                  <a:pt x="28" y="24"/>
                </a:cubicBezTo>
                <a:cubicBezTo>
                  <a:pt x="28" y="23"/>
                  <a:pt x="28" y="23"/>
                  <a:pt x="29" y="22"/>
                </a:cubicBezTo>
                <a:cubicBezTo>
                  <a:pt x="29" y="22"/>
                  <a:pt x="29" y="22"/>
                  <a:pt x="29" y="22"/>
                </a:cubicBezTo>
                <a:cubicBezTo>
                  <a:pt x="29" y="22"/>
                  <a:pt x="30" y="22"/>
                  <a:pt x="30" y="22"/>
                </a:cubicBezTo>
                <a:cubicBezTo>
                  <a:pt x="30" y="21"/>
                  <a:pt x="30" y="21"/>
                  <a:pt x="30" y="21"/>
                </a:cubicBezTo>
                <a:cubicBezTo>
                  <a:pt x="30" y="20"/>
                  <a:pt x="30" y="20"/>
                  <a:pt x="30" y="20"/>
                </a:cubicBezTo>
                <a:cubicBezTo>
                  <a:pt x="31" y="19"/>
                  <a:pt x="31" y="19"/>
                  <a:pt x="32" y="19"/>
                </a:cubicBezTo>
                <a:cubicBezTo>
                  <a:pt x="32" y="19"/>
                  <a:pt x="33" y="19"/>
                  <a:pt x="33" y="19"/>
                </a:cubicBezTo>
                <a:cubicBezTo>
                  <a:pt x="33" y="19"/>
                  <a:pt x="33" y="19"/>
                  <a:pt x="33" y="19"/>
                </a:cubicBezTo>
                <a:cubicBezTo>
                  <a:pt x="34" y="19"/>
                  <a:pt x="34" y="19"/>
                  <a:pt x="34" y="19"/>
                </a:cubicBezTo>
                <a:cubicBezTo>
                  <a:pt x="34" y="19"/>
                  <a:pt x="34" y="19"/>
                  <a:pt x="34" y="19"/>
                </a:cubicBezTo>
                <a:cubicBezTo>
                  <a:pt x="34" y="19"/>
                  <a:pt x="34" y="19"/>
                  <a:pt x="34" y="19"/>
                </a:cubicBezTo>
                <a:cubicBezTo>
                  <a:pt x="35" y="19"/>
                  <a:pt x="36" y="19"/>
                  <a:pt x="36" y="18"/>
                </a:cubicBezTo>
                <a:cubicBezTo>
                  <a:pt x="36" y="18"/>
                  <a:pt x="36" y="18"/>
                  <a:pt x="36" y="18"/>
                </a:cubicBezTo>
                <a:cubicBezTo>
                  <a:pt x="36" y="18"/>
                  <a:pt x="36" y="18"/>
                  <a:pt x="36" y="18"/>
                </a:cubicBezTo>
                <a:cubicBezTo>
                  <a:pt x="36" y="18"/>
                  <a:pt x="35" y="17"/>
                  <a:pt x="35" y="17"/>
                </a:cubicBezTo>
                <a:cubicBezTo>
                  <a:pt x="34" y="16"/>
                  <a:pt x="34" y="16"/>
                  <a:pt x="33" y="15"/>
                </a:cubicBezTo>
                <a:cubicBezTo>
                  <a:pt x="32" y="12"/>
                  <a:pt x="32" y="12"/>
                  <a:pt x="32" y="12"/>
                </a:cubicBezTo>
                <a:cubicBezTo>
                  <a:pt x="35" y="13"/>
                  <a:pt x="35" y="13"/>
                  <a:pt x="35" y="13"/>
                </a:cubicBezTo>
                <a:cubicBezTo>
                  <a:pt x="35" y="13"/>
                  <a:pt x="35" y="14"/>
                  <a:pt x="36" y="14"/>
                </a:cubicBezTo>
                <a:cubicBezTo>
                  <a:pt x="35" y="13"/>
                  <a:pt x="35" y="13"/>
                  <a:pt x="35" y="13"/>
                </a:cubicBezTo>
                <a:cubicBezTo>
                  <a:pt x="35" y="13"/>
                  <a:pt x="35" y="13"/>
                  <a:pt x="35" y="13"/>
                </a:cubicBezTo>
                <a:cubicBezTo>
                  <a:pt x="35" y="13"/>
                  <a:pt x="35" y="13"/>
                  <a:pt x="34" y="13"/>
                </a:cubicBezTo>
                <a:cubicBezTo>
                  <a:pt x="34" y="13"/>
                  <a:pt x="34" y="13"/>
                  <a:pt x="34" y="13"/>
                </a:cubicBezTo>
                <a:cubicBezTo>
                  <a:pt x="34" y="12"/>
                  <a:pt x="34" y="12"/>
                  <a:pt x="34" y="12"/>
                </a:cubicBezTo>
                <a:cubicBezTo>
                  <a:pt x="33" y="12"/>
                  <a:pt x="33" y="12"/>
                  <a:pt x="33" y="12"/>
                </a:cubicBezTo>
                <a:cubicBezTo>
                  <a:pt x="32" y="11"/>
                  <a:pt x="32" y="9"/>
                  <a:pt x="32" y="8"/>
                </a:cubicBezTo>
                <a:cubicBezTo>
                  <a:pt x="32" y="8"/>
                  <a:pt x="32" y="8"/>
                  <a:pt x="33" y="7"/>
                </a:cubicBezTo>
                <a:cubicBezTo>
                  <a:pt x="33" y="7"/>
                  <a:pt x="33" y="7"/>
                  <a:pt x="33" y="7"/>
                </a:cubicBezTo>
                <a:cubicBezTo>
                  <a:pt x="33" y="6"/>
                  <a:pt x="33" y="6"/>
                  <a:pt x="34" y="5"/>
                </a:cubicBezTo>
                <a:cubicBezTo>
                  <a:pt x="34" y="5"/>
                  <a:pt x="34" y="5"/>
                  <a:pt x="34" y="5"/>
                </a:cubicBezTo>
                <a:cubicBezTo>
                  <a:pt x="34" y="5"/>
                  <a:pt x="33" y="5"/>
                  <a:pt x="33" y="5"/>
                </a:cubicBezTo>
                <a:cubicBezTo>
                  <a:pt x="33" y="5"/>
                  <a:pt x="33" y="5"/>
                  <a:pt x="33" y="5"/>
                </a:cubicBezTo>
                <a:cubicBezTo>
                  <a:pt x="33" y="5"/>
                  <a:pt x="33" y="5"/>
                  <a:pt x="33" y="5"/>
                </a:cubicBezTo>
                <a:cubicBezTo>
                  <a:pt x="33" y="5"/>
                  <a:pt x="33" y="5"/>
                  <a:pt x="33" y="5"/>
                </a:cubicBezTo>
                <a:cubicBezTo>
                  <a:pt x="33" y="5"/>
                  <a:pt x="33" y="5"/>
                  <a:pt x="33" y="5"/>
                </a:cubicBezTo>
                <a:cubicBezTo>
                  <a:pt x="32" y="5"/>
                  <a:pt x="32" y="5"/>
                  <a:pt x="31" y="5"/>
                </a:cubicBezTo>
                <a:cubicBezTo>
                  <a:pt x="30" y="5"/>
                  <a:pt x="29" y="4"/>
                  <a:pt x="29" y="3"/>
                </a:cubicBezTo>
                <a:cubicBezTo>
                  <a:pt x="28" y="3"/>
                  <a:pt x="28" y="3"/>
                  <a:pt x="28" y="3"/>
                </a:cubicBezTo>
                <a:cubicBezTo>
                  <a:pt x="28" y="3"/>
                  <a:pt x="28" y="3"/>
                  <a:pt x="28" y="3"/>
                </a:cubicBezTo>
                <a:cubicBezTo>
                  <a:pt x="28" y="3"/>
                  <a:pt x="28" y="3"/>
                  <a:pt x="28" y="3"/>
                </a:cubicBezTo>
                <a:cubicBezTo>
                  <a:pt x="28" y="3"/>
                  <a:pt x="27" y="2"/>
                  <a:pt x="27" y="2"/>
                </a:cubicBezTo>
                <a:cubicBezTo>
                  <a:pt x="27" y="2"/>
                  <a:pt x="27" y="2"/>
                  <a:pt x="27" y="2"/>
                </a:cubicBezTo>
                <a:cubicBezTo>
                  <a:pt x="27" y="3"/>
                  <a:pt x="27" y="3"/>
                  <a:pt x="27" y="3"/>
                </a:cubicBezTo>
                <a:cubicBezTo>
                  <a:pt x="25" y="2"/>
                  <a:pt x="23" y="2"/>
                  <a:pt x="22" y="2"/>
                </a:cubicBezTo>
                <a:cubicBezTo>
                  <a:pt x="14" y="1"/>
                  <a:pt x="14" y="1"/>
                  <a:pt x="14" y="1"/>
                </a:cubicBezTo>
                <a:cubicBezTo>
                  <a:pt x="13" y="1"/>
                  <a:pt x="12" y="1"/>
                  <a:pt x="11" y="0"/>
                </a:cubicBezTo>
                <a:cubicBezTo>
                  <a:pt x="11" y="0"/>
                  <a:pt x="10" y="0"/>
                  <a:pt x="10" y="0"/>
                </a:cubicBezTo>
                <a:cubicBezTo>
                  <a:pt x="10" y="1"/>
                  <a:pt x="9" y="1"/>
                  <a:pt x="8" y="0"/>
                </a:cubicBezTo>
                <a:cubicBezTo>
                  <a:pt x="8" y="0"/>
                  <a:pt x="8" y="0"/>
                  <a:pt x="8" y="0"/>
                </a:cubicBezTo>
                <a:cubicBezTo>
                  <a:pt x="7" y="1"/>
                  <a:pt x="7" y="1"/>
                  <a:pt x="7" y="1"/>
                </a:cubicBezTo>
                <a:cubicBezTo>
                  <a:pt x="7" y="1"/>
                  <a:pt x="7" y="2"/>
                  <a:pt x="6" y="2"/>
                </a:cubicBezTo>
                <a:cubicBezTo>
                  <a:pt x="6" y="2"/>
                  <a:pt x="6" y="3"/>
                  <a:pt x="6" y="3"/>
                </a:cubicBezTo>
                <a:cubicBezTo>
                  <a:pt x="5" y="4"/>
                  <a:pt x="5" y="4"/>
                  <a:pt x="5" y="4"/>
                </a:cubicBezTo>
                <a:cubicBezTo>
                  <a:pt x="4" y="3"/>
                  <a:pt x="4" y="3"/>
                  <a:pt x="4" y="3"/>
                </a:cubicBezTo>
                <a:cubicBezTo>
                  <a:pt x="4" y="3"/>
                  <a:pt x="4" y="3"/>
                  <a:pt x="3" y="2"/>
                </a:cubicBezTo>
                <a:cubicBezTo>
                  <a:pt x="3" y="2"/>
                  <a:pt x="3" y="2"/>
                  <a:pt x="3" y="2"/>
                </a:cubicBezTo>
                <a:cubicBezTo>
                  <a:pt x="3" y="2"/>
                  <a:pt x="2" y="1"/>
                  <a:pt x="1" y="1"/>
                </a:cubicBezTo>
                <a:cubicBezTo>
                  <a:pt x="1" y="1"/>
                  <a:pt x="1" y="1"/>
                  <a:pt x="1" y="1"/>
                </a:cubicBezTo>
                <a:cubicBezTo>
                  <a:pt x="1" y="1"/>
                  <a:pt x="1" y="1"/>
                  <a:pt x="1" y="1"/>
                </a:cubicBezTo>
                <a:cubicBezTo>
                  <a:pt x="1" y="1"/>
                  <a:pt x="1" y="1"/>
                  <a:pt x="1" y="1"/>
                </a:cubicBezTo>
                <a:cubicBezTo>
                  <a:pt x="0" y="1"/>
                  <a:pt x="0" y="2"/>
                  <a:pt x="0" y="2"/>
                </a:cubicBezTo>
                <a:cubicBezTo>
                  <a:pt x="0" y="3"/>
                  <a:pt x="0" y="3"/>
                  <a:pt x="0" y="3"/>
                </a:cubicBezTo>
                <a:cubicBezTo>
                  <a:pt x="0" y="4"/>
                  <a:pt x="0" y="4"/>
                  <a:pt x="0" y="4"/>
                </a:cubicBezTo>
                <a:cubicBezTo>
                  <a:pt x="0" y="4"/>
                  <a:pt x="0" y="4"/>
                  <a:pt x="0" y="4"/>
                </a:cubicBezTo>
                <a:cubicBezTo>
                  <a:pt x="1" y="5"/>
                  <a:pt x="1" y="5"/>
                  <a:pt x="1" y="5"/>
                </a:cubicBezTo>
                <a:cubicBezTo>
                  <a:pt x="2" y="5"/>
                  <a:pt x="2" y="5"/>
                  <a:pt x="2" y="5"/>
                </a:cubicBezTo>
                <a:cubicBezTo>
                  <a:pt x="2" y="6"/>
                  <a:pt x="2" y="6"/>
                  <a:pt x="3" y="6"/>
                </a:cubicBezTo>
                <a:cubicBezTo>
                  <a:pt x="3" y="6"/>
                  <a:pt x="3" y="6"/>
                  <a:pt x="3" y="6"/>
                </a:cubicBezTo>
                <a:cubicBezTo>
                  <a:pt x="3" y="7"/>
                  <a:pt x="4" y="8"/>
                  <a:pt x="4" y="9"/>
                </a:cubicBezTo>
                <a:cubicBezTo>
                  <a:pt x="4" y="9"/>
                  <a:pt x="4" y="9"/>
                  <a:pt x="4" y="10"/>
                </a:cubicBezTo>
                <a:cubicBezTo>
                  <a:pt x="4" y="10"/>
                  <a:pt x="4" y="10"/>
                  <a:pt x="4" y="10"/>
                </a:cubicBezTo>
                <a:cubicBezTo>
                  <a:pt x="5" y="10"/>
                  <a:pt x="5" y="10"/>
                  <a:pt x="5" y="10"/>
                </a:cubicBezTo>
                <a:cubicBezTo>
                  <a:pt x="5" y="11"/>
                  <a:pt x="5" y="12"/>
                  <a:pt x="6" y="12"/>
                </a:cubicBezTo>
                <a:cubicBezTo>
                  <a:pt x="6" y="13"/>
                  <a:pt x="6" y="13"/>
                  <a:pt x="6" y="13"/>
                </a:cubicBezTo>
                <a:cubicBezTo>
                  <a:pt x="7" y="13"/>
                  <a:pt x="8" y="14"/>
                  <a:pt x="9" y="15"/>
                </a:cubicBezTo>
                <a:cubicBezTo>
                  <a:pt x="9" y="15"/>
                  <a:pt x="9" y="15"/>
                  <a:pt x="9" y="15"/>
                </a:cubicBezTo>
                <a:cubicBezTo>
                  <a:pt x="10" y="16"/>
                  <a:pt x="11" y="17"/>
                  <a:pt x="12" y="18"/>
                </a:cubicBezTo>
                <a:cubicBezTo>
                  <a:pt x="13" y="18"/>
                  <a:pt x="13" y="18"/>
                  <a:pt x="13" y="18"/>
                </a:cubicBezTo>
                <a:cubicBezTo>
                  <a:pt x="13" y="19"/>
                  <a:pt x="13" y="19"/>
                  <a:pt x="13" y="19"/>
                </a:cubicBezTo>
                <a:cubicBezTo>
                  <a:pt x="14" y="19"/>
                  <a:pt x="15" y="20"/>
                  <a:pt x="16" y="21"/>
                </a:cubicBezTo>
                <a:cubicBezTo>
                  <a:pt x="17" y="25"/>
                  <a:pt x="17" y="25"/>
                  <a:pt x="17" y="25"/>
                </a:cubicBezTo>
                <a:cubicBezTo>
                  <a:pt x="17" y="25"/>
                  <a:pt x="18" y="25"/>
                  <a:pt x="18" y="25"/>
                </a:cubicBezTo>
                <a:cubicBezTo>
                  <a:pt x="18" y="25"/>
                  <a:pt x="19" y="25"/>
                  <a:pt x="19" y="26"/>
                </a:cubicBezTo>
                <a:cubicBezTo>
                  <a:pt x="19" y="26"/>
                  <a:pt x="19" y="26"/>
                  <a:pt x="20" y="27"/>
                </a:cubicBezTo>
                <a:cubicBezTo>
                  <a:pt x="20" y="27"/>
                  <a:pt x="20" y="27"/>
                  <a:pt x="20" y="27"/>
                </a:cubicBezTo>
                <a:cubicBezTo>
                  <a:pt x="20" y="28"/>
                  <a:pt x="19" y="28"/>
                  <a:pt x="19" y="29"/>
                </a:cubicBezTo>
                <a:cubicBezTo>
                  <a:pt x="19" y="29"/>
                  <a:pt x="19" y="29"/>
                  <a:pt x="19" y="29"/>
                </a:cubicBezTo>
                <a:cubicBezTo>
                  <a:pt x="19" y="29"/>
                  <a:pt x="19" y="29"/>
                  <a:pt x="18" y="29"/>
                </a:cubicBezTo>
                <a:cubicBezTo>
                  <a:pt x="18" y="29"/>
                  <a:pt x="18" y="29"/>
                  <a:pt x="18" y="29"/>
                </a:cubicBezTo>
                <a:cubicBezTo>
                  <a:pt x="17" y="29"/>
                  <a:pt x="17" y="29"/>
                  <a:pt x="17" y="29"/>
                </a:cubicBezTo>
                <a:cubicBezTo>
                  <a:pt x="20" y="31"/>
                  <a:pt x="23" y="32"/>
                  <a:pt x="25" y="33"/>
                </a:cubicBezTo>
                <a:close/>
              </a:path>
            </a:pathLst>
          </a:custGeom>
          <a:solidFill>
            <a:srgbClr val="00A5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44" name="Freeform 3101">
            <a:extLst>
              <a:ext uri="{FF2B5EF4-FFF2-40B4-BE49-F238E27FC236}">
                <a16:creationId xmlns:a16="http://schemas.microsoft.com/office/drawing/2014/main" id="{BD78AEA4-7AE6-41E7-8566-B695B9410910}"/>
              </a:ext>
            </a:extLst>
          </p:cNvPr>
          <p:cNvSpPr>
            <a:spLocks/>
          </p:cNvSpPr>
          <p:nvPr/>
        </p:nvSpPr>
        <p:spPr bwMode="auto">
          <a:xfrm>
            <a:off x="3546643" y="3102662"/>
            <a:ext cx="3469" cy="1781"/>
          </a:xfrm>
          <a:custGeom>
            <a:avLst/>
            <a:gdLst>
              <a:gd name="T0" fmla="*/ 3 w 3"/>
              <a:gd name="T1" fmla="*/ 0 h 1"/>
              <a:gd name="T2" fmla="*/ 0 w 3"/>
              <a:gd name="T3" fmla="*/ 0 h 1"/>
              <a:gd name="T4" fmla="*/ 3 w 3"/>
              <a:gd name="T5" fmla="*/ 1 h 1"/>
              <a:gd name="T6" fmla="*/ 3 w 3"/>
              <a:gd name="T7" fmla="*/ 0 h 1"/>
            </a:gdLst>
            <a:ahLst/>
            <a:cxnLst>
              <a:cxn ang="0">
                <a:pos x="T0" y="T1"/>
              </a:cxn>
              <a:cxn ang="0">
                <a:pos x="T2" y="T3"/>
              </a:cxn>
              <a:cxn ang="0">
                <a:pos x="T4" y="T5"/>
              </a:cxn>
              <a:cxn ang="0">
                <a:pos x="T6" y="T7"/>
              </a:cxn>
            </a:cxnLst>
            <a:rect l="0" t="0" r="r" b="b"/>
            <a:pathLst>
              <a:path w="3" h="1">
                <a:moveTo>
                  <a:pt x="3" y="0"/>
                </a:moveTo>
                <a:cubicBezTo>
                  <a:pt x="2" y="0"/>
                  <a:pt x="1" y="0"/>
                  <a:pt x="0" y="0"/>
                </a:cubicBezTo>
                <a:cubicBezTo>
                  <a:pt x="1" y="0"/>
                  <a:pt x="2" y="1"/>
                  <a:pt x="3" y="1"/>
                </a:cubicBezTo>
                <a:lnTo>
                  <a:pt x="3" y="0"/>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45" name="Freeform 3102">
            <a:extLst>
              <a:ext uri="{FF2B5EF4-FFF2-40B4-BE49-F238E27FC236}">
                <a16:creationId xmlns:a16="http://schemas.microsoft.com/office/drawing/2014/main" id="{0B5AAABA-FCE1-480F-A670-7D8BA6207265}"/>
              </a:ext>
            </a:extLst>
          </p:cNvPr>
          <p:cNvSpPr>
            <a:spLocks/>
          </p:cNvSpPr>
          <p:nvPr/>
        </p:nvSpPr>
        <p:spPr bwMode="auto">
          <a:xfrm>
            <a:off x="3562005" y="311156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46" name="Freeform 3103">
            <a:extLst>
              <a:ext uri="{FF2B5EF4-FFF2-40B4-BE49-F238E27FC236}">
                <a16:creationId xmlns:a16="http://schemas.microsoft.com/office/drawing/2014/main" id="{96B264BA-766F-4A23-B039-48C2B2215B29}"/>
              </a:ext>
            </a:extLst>
          </p:cNvPr>
          <p:cNvSpPr>
            <a:spLocks/>
          </p:cNvSpPr>
          <p:nvPr/>
        </p:nvSpPr>
        <p:spPr bwMode="auto">
          <a:xfrm>
            <a:off x="3580837" y="310444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47" name="Freeform 3104">
            <a:extLst>
              <a:ext uri="{FF2B5EF4-FFF2-40B4-BE49-F238E27FC236}">
                <a16:creationId xmlns:a16="http://schemas.microsoft.com/office/drawing/2014/main" id="{A200F93E-C635-4713-8C8E-EEC05AEF445D}"/>
              </a:ext>
            </a:extLst>
          </p:cNvPr>
          <p:cNvSpPr>
            <a:spLocks/>
          </p:cNvSpPr>
          <p:nvPr/>
        </p:nvSpPr>
        <p:spPr bwMode="auto">
          <a:xfrm>
            <a:off x="3562005" y="3094352"/>
            <a:ext cx="18831" cy="25525"/>
          </a:xfrm>
          <a:custGeom>
            <a:avLst/>
            <a:gdLst>
              <a:gd name="T0" fmla="*/ 0 w 16"/>
              <a:gd name="T1" fmla="*/ 12 h 18"/>
              <a:gd name="T2" fmla="*/ 8 w 16"/>
              <a:gd name="T3" fmla="*/ 18 h 18"/>
              <a:gd name="T4" fmla="*/ 8 w 16"/>
              <a:gd name="T5" fmla="*/ 18 h 18"/>
              <a:gd name="T6" fmla="*/ 7 w 16"/>
              <a:gd name="T7" fmla="*/ 17 h 18"/>
              <a:gd name="T8" fmla="*/ 7 w 16"/>
              <a:gd name="T9" fmla="*/ 15 h 18"/>
              <a:gd name="T10" fmla="*/ 8 w 16"/>
              <a:gd name="T11" fmla="*/ 13 h 18"/>
              <a:gd name="T12" fmla="*/ 8 w 16"/>
              <a:gd name="T13" fmla="*/ 13 h 18"/>
              <a:gd name="T14" fmla="*/ 9 w 16"/>
              <a:gd name="T15" fmla="*/ 12 h 18"/>
              <a:gd name="T16" fmla="*/ 9 w 16"/>
              <a:gd name="T17" fmla="*/ 12 h 18"/>
              <a:gd name="T18" fmla="*/ 11 w 16"/>
              <a:gd name="T19" fmla="*/ 9 h 18"/>
              <a:gd name="T20" fmla="*/ 12 w 16"/>
              <a:gd name="T21" fmla="*/ 8 h 18"/>
              <a:gd name="T22" fmla="*/ 13 w 16"/>
              <a:gd name="T23" fmla="*/ 8 h 18"/>
              <a:gd name="T24" fmla="*/ 13 w 16"/>
              <a:gd name="T25" fmla="*/ 9 h 18"/>
              <a:gd name="T26" fmla="*/ 14 w 16"/>
              <a:gd name="T27" fmla="*/ 10 h 18"/>
              <a:gd name="T28" fmla="*/ 14 w 16"/>
              <a:gd name="T29" fmla="*/ 10 h 18"/>
              <a:gd name="T30" fmla="*/ 14 w 16"/>
              <a:gd name="T31" fmla="*/ 10 h 18"/>
              <a:gd name="T32" fmla="*/ 15 w 16"/>
              <a:gd name="T33" fmla="*/ 10 h 18"/>
              <a:gd name="T34" fmla="*/ 15 w 16"/>
              <a:gd name="T35" fmla="*/ 10 h 18"/>
              <a:gd name="T36" fmla="*/ 14 w 16"/>
              <a:gd name="T37" fmla="*/ 9 h 18"/>
              <a:gd name="T38" fmla="*/ 15 w 16"/>
              <a:gd name="T39" fmla="*/ 7 h 18"/>
              <a:gd name="T40" fmla="*/ 15 w 16"/>
              <a:gd name="T41" fmla="*/ 7 h 18"/>
              <a:gd name="T42" fmla="*/ 16 w 16"/>
              <a:gd name="T43" fmla="*/ 7 h 18"/>
              <a:gd name="T44" fmla="*/ 16 w 16"/>
              <a:gd name="T45" fmla="*/ 7 h 18"/>
              <a:gd name="T46" fmla="*/ 16 w 16"/>
              <a:gd name="T47" fmla="*/ 7 h 18"/>
              <a:gd name="T48" fmla="*/ 7 w 16"/>
              <a:gd name="T49" fmla="*/ 0 h 18"/>
              <a:gd name="T50" fmla="*/ 7 w 16"/>
              <a:gd name="T51" fmla="*/ 0 h 18"/>
              <a:gd name="T52" fmla="*/ 6 w 16"/>
              <a:gd name="T53" fmla="*/ 0 h 18"/>
              <a:gd name="T54" fmla="*/ 7 w 16"/>
              <a:gd name="T55" fmla="*/ 0 h 18"/>
              <a:gd name="T56" fmla="*/ 8 w 16"/>
              <a:gd name="T57" fmla="*/ 1 h 18"/>
              <a:gd name="T58" fmla="*/ 6 w 16"/>
              <a:gd name="T59" fmla="*/ 2 h 18"/>
              <a:gd name="T60" fmla="*/ 5 w 16"/>
              <a:gd name="T61" fmla="*/ 2 h 18"/>
              <a:gd name="T62" fmla="*/ 4 w 16"/>
              <a:gd name="T63" fmla="*/ 2 h 18"/>
              <a:gd name="T64" fmla="*/ 4 w 16"/>
              <a:gd name="T65" fmla="*/ 2 h 18"/>
              <a:gd name="T66" fmla="*/ 4 w 16"/>
              <a:gd name="T67" fmla="*/ 2 h 18"/>
              <a:gd name="T68" fmla="*/ 3 w 16"/>
              <a:gd name="T69" fmla="*/ 2 h 18"/>
              <a:gd name="T70" fmla="*/ 2 w 16"/>
              <a:gd name="T71" fmla="*/ 3 h 18"/>
              <a:gd name="T72" fmla="*/ 1 w 16"/>
              <a:gd name="T73" fmla="*/ 6 h 18"/>
              <a:gd name="T74" fmla="*/ 1 w 16"/>
              <a:gd name="T75" fmla="*/ 7 h 18"/>
              <a:gd name="T76" fmla="*/ 2 w 16"/>
              <a:gd name="T77" fmla="*/ 8 h 18"/>
              <a:gd name="T78" fmla="*/ 2 w 16"/>
              <a:gd name="T79" fmla="*/ 10 h 18"/>
              <a:gd name="T80" fmla="*/ 0 w 16"/>
              <a:gd name="T81" fmla="*/ 11 h 18"/>
              <a:gd name="T82" fmla="*/ 0 w 16"/>
              <a:gd name="T83" fmla="*/ 12 h 18"/>
              <a:gd name="T84" fmla="*/ 2 w 16"/>
              <a:gd name="T85" fmla="*/ 11 h 18"/>
              <a:gd name="T86" fmla="*/ 3 w 16"/>
              <a:gd name="T87" fmla="*/ 11 h 18"/>
              <a:gd name="T88" fmla="*/ 0 w 16"/>
              <a:gd name="T89"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 h="18">
                <a:moveTo>
                  <a:pt x="0" y="12"/>
                </a:moveTo>
                <a:cubicBezTo>
                  <a:pt x="3" y="14"/>
                  <a:pt x="5" y="16"/>
                  <a:pt x="8" y="18"/>
                </a:cubicBezTo>
                <a:cubicBezTo>
                  <a:pt x="8" y="18"/>
                  <a:pt x="8" y="18"/>
                  <a:pt x="8" y="18"/>
                </a:cubicBezTo>
                <a:cubicBezTo>
                  <a:pt x="8" y="17"/>
                  <a:pt x="8" y="17"/>
                  <a:pt x="7" y="17"/>
                </a:cubicBezTo>
                <a:cubicBezTo>
                  <a:pt x="7" y="16"/>
                  <a:pt x="7" y="15"/>
                  <a:pt x="7" y="15"/>
                </a:cubicBezTo>
                <a:cubicBezTo>
                  <a:pt x="7" y="14"/>
                  <a:pt x="7" y="13"/>
                  <a:pt x="8" y="13"/>
                </a:cubicBezTo>
                <a:cubicBezTo>
                  <a:pt x="8" y="13"/>
                  <a:pt x="8" y="13"/>
                  <a:pt x="8" y="13"/>
                </a:cubicBezTo>
                <a:cubicBezTo>
                  <a:pt x="8" y="12"/>
                  <a:pt x="9" y="12"/>
                  <a:pt x="9" y="12"/>
                </a:cubicBezTo>
                <a:cubicBezTo>
                  <a:pt x="9" y="12"/>
                  <a:pt x="9" y="12"/>
                  <a:pt x="9" y="12"/>
                </a:cubicBezTo>
                <a:cubicBezTo>
                  <a:pt x="9" y="11"/>
                  <a:pt x="10" y="10"/>
                  <a:pt x="11" y="9"/>
                </a:cubicBezTo>
                <a:cubicBezTo>
                  <a:pt x="11" y="9"/>
                  <a:pt x="11" y="9"/>
                  <a:pt x="12" y="8"/>
                </a:cubicBezTo>
                <a:cubicBezTo>
                  <a:pt x="13" y="8"/>
                  <a:pt x="13" y="8"/>
                  <a:pt x="13" y="8"/>
                </a:cubicBezTo>
                <a:cubicBezTo>
                  <a:pt x="13" y="9"/>
                  <a:pt x="13" y="9"/>
                  <a:pt x="13" y="9"/>
                </a:cubicBezTo>
                <a:cubicBezTo>
                  <a:pt x="13" y="9"/>
                  <a:pt x="14" y="9"/>
                  <a:pt x="14" y="10"/>
                </a:cubicBezTo>
                <a:cubicBezTo>
                  <a:pt x="14" y="10"/>
                  <a:pt x="14" y="10"/>
                  <a:pt x="14" y="10"/>
                </a:cubicBezTo>
                <a:cubicBezTo>
                  <a:pt x="14" y="10"/>
                  <a:pt x="14" y="10"/>
                  <a:pt x="14" y="10"/>
                </a:cubicBezTo>
                <a:cubicBezTo>
                  <a:pt x="14" y="10"/>
                  <a:pt x="14" y="10"/>
                  <a:pt x="15" y="10"/>
                </a:cubicBezTo>
                <a:cubicBezTo>
                  <a:pt x="15" y="10"/>
                  <a:pt x="15" y="10"/>
                  <a:pt x="15" y="10"/>
                </a:cubicBezTo>
                <a:cubicBezTo>
                  <a:pt x="14" y="9"/>
                  <a:pt x="14" y="9"/>
                  <a:pt x="14" y="9"/>
                </a:cubicBezTo>
                <a:cubicBezTo>
                  <a:pt x="14" y="8"/>
                  <a:pt x="15" y="7"/>
                  <a:pt x="15" y="7"/>
                </a:cubicBezTo>
                <a:cubicBezTo>
                  <a:pt x="15" y="7"/>
                  <a:pt x="15" y="7"/>
                  <a:pt x="15" y="7"/>
                </a:cubicBezTo>
                <a:cubicBezTo>
                  <a:pt x="15" y="7"/>
                  <a:pt x="16" y="7"/>
                  <a:pt x="16" y="7"/>
                </a:cubicBezTo>
                <a:cubicBezTo>
                  <a:pt x="16" y="7"/>
                  <a:pt x="16" y="7"/>
                  <a:pt x="16" y="7"/>
                </a:cubicBezTo>
                <a:cubicBezTo>
                  <a:pt x="16" y="7"/>
                  <a:pt x="16" y="7"/>
                  <a:pt x="16" y="7"/>
                </a:cubicBezTo>
                <a:cubicBezTo>
                  <a:pt x="7" y="0"/>
                  <a:pt x="7" y="0"/>
                  <a:pt x="7" y="0"/>
                </a:cubicBezTo>
                <a:cubicBezTo>
                  <a:pt x="7" y="0"/>
                  <a:pt x="7" y="0"/>
                  <a:pt x="7" y="0"/>
                </a:cubicBezTo>
                <a:cubicBezTo>
                  <a:pt x="6" y="0"/>
                  <a:pt x="6" y="0"/>
                  <a:pt x="6" y="0"/>
                </a:cubicBezTo>
                <a:cubicBezTo>
                  <a:pt x="7" y="0"/>
                  <a:pt x="7" y="0"/>
                  <a:pt x="7" y="0"/>
                </a:cubicBezTo>
                <a:cubicBezTo>
                  <a:pt x="8" y="1"/>
                  <a:pt x="8" y="1"/>
                  <a:pt x="8" y="1"/>
                </a:cubicBezTo>
                <a:cubicBezTo>
                  <a:pt x="6" y="2"/>
                  <a:pt x="6" y="2"/>
                  <a:pt x="6" y="2"/>
                </a:cubicBezTo>
                <a:cubicBezTo>
                  <a:pt x="6" y="3"/>
                  <a:pt x="5" y="3"/>
                  <a:pt x="5" y="2"/>
                </a:cubicBezTo>
                <a:cubicBezTo>
                  <a:pt x="4" y="2"/>
                  <a:pt x="4" y="2"/>
                  <a:pt x="4" y="2"/>
                </a:cubicBezTo>
                <a:cubicBezTo>
                  <a:pt x="4" y="2"/>
                  <a:pt x="4" y="2"/>
                  <a:pt x="4" y="2"/>
                </a:cubicBezTo>
                <a:cubicBezTo>
                  <a:pt x="4" y="2"/>
                  <a:pt x="4" y="2"/>
                  <a:pt x="4" y="2"/>
                </a:cubicBezTo>
                <a:cubicBezTo>
                  <a:pt x="3" y="2"/>
                  <a:pt x="3" y="2"/>
                  <a:pt x="3" y="2"/>
                </a:cubicBezTo>
                <a:cubicBezTo>
                  <a:pt x="3" y="3"/>
                  <a:pt x="3" y="3"/>
                  <a:pt x="2" y="3"/>
                </a:cubicBezTo>
                <a:cubicBezTo>
                  <a:pt x="2" y="4"/>
                  <a:pt x="1" y="5"/>
                  <a:pt x="1" y="6"/>
                </a:cubicBezTo>
                <a:cubicBezTo>
                  <a:pt x="1" y="6"/>
                  <a:pt x="1" y="6"/>
                  <a:pt x="1" y="7"/>
                </a:cubicBezTo>
                <a:cubicBezTo>
                  <a:pt x="1" y="7"/>
                  <a:pt x="2" y="7"/>
                  <a:pt x="2" y="8"/>
                </a:cubicBezTo>
                <a:cubicBezTo>
                  <a:pt x="2" y="8"/>
                  <a:pt x="2" y="9"/>
                  <a:pt x="2" y="10"/>
                </a:cubicBezTo>
                <a:cubicBezTo>
                  <a:pt x="1" y="11"/>
                  <a:pt x="1" y="11"/>
                  <a:pt x="0" y="11"/>
                </a:cubicBezTo>
                <a:cubicBezTo>
                  <a:pt x="0" y="12"/>
                  <a:pt x="0" y="12"/>
                  <a:pt x="0" y="12"/>
                </a:cubicBezTo>
                <a:cubicBezTo>
                  <a:pt x="0" y="12"/>
                  <a:pt x="1" y="12"/>
                  <a:pt x="2" y="11"/>
                </a:cubicBezTo>
                <a:cubicBezTo>
                  <a:pt x="2" y="12"/>
                  <a:pt x="2" y="11"/>
                  <a:pt x="3" y="11"/>
                </a:cubicBezTo>
                <a:cubicBezTo>
                  <a:pt x="2" y="13"/>
                  <a:pt x="2" y="12"/>
                  <a:pt x="0" y="12"/>
                </a:cubicBezTo>
                <a:close/>
              </a:path>
            </a:pathLst>
          </a:custGeom>
          <a:solidFill>
            <a:srgbClr val="00A5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48" name="Freeform 3105">
            <a:extLst>
              <a:ext uri="{FF2B5EF4-FFF2-40B4-BE49-F238E27FC236}">
                <a16:creationId xmlns:a16="http://schemas.microsoft.com/office/drawing/2014/main" id="{DBB9F059-5707-46AE-8E10-E2D9BABC02DE}"/>
              </a:ext>
            </a:extLst>
          </p:cNvPr>
          <p:cNvSpPr>
            <a:spLocks/>
          </p:cNvSpPr>
          <p:nvPr/>
        </p:nvSpPr>
        <p:spPr bwMode="auto">
          <a:xfrm>
            <a:off x="3571421" y="3111566"/>
            <a:ext cx="18831" cy="46300"/>
          </a:xfrm>
          <a:custGeom>
            <a:avLst/>
            <a:gdLst>
              <a:gd name="T0" fmla="*/ 8 w 16"/>
              <a:gd name="T1" fmla="*/ 32 h 33"/>
              <a:gd name="T2" fmla="*/ 9 w 16"/>
              <a:gd name="T3" fmla="*/ 32 h 33"/>
              <a:gd name="T4" fmla="*/ 9 w 16"/>
              <a:gd name="T5" fmla="*/ 31 h 33"/>
              <a:gd name="T6" fmla="*/ 10 w 16"/>
              <a:gd name="T7" fmla="*/ 29 h 33"/>
              <a:gd name="T8" fmla="*/ 11 w 16"/>
              <a:gd name="T9" fmla="*/ 28 h 33"/>
              <a:gd name="T10" fmla="*/ 13 w 16"/>
              <a:gd name="T11" fmla="*/ 28 h 33"/>
              <a:gd name="T12" fmla="*/ 13 w 16"/>
              <a:gd name="T13" fmla="*/ 26 h 33"/>
              <a:gd name="T14" fmla="*/ 16 w 16"/>
              <a:gd name="T15" fmla="*/ 22 h 33"/>
              <a:gd name="T16" fmla="*/ 16 w 16"/>
              <a:gd name="T17" fmla="*/ 22 h 33"/>
              <a:gd name="T18" fmla="*/ 16 w 16"/>
              <a:gd name="T19" fmla="*/ 20 h 33"/>
              <a:gd name="T20" fmla="*/ 15 w 16"/>
              <a:gd name="T21" fmla="*/ 21 h 33"/>
              <a:gd name="T22" fmla="*/ 13 w 16"/>
              <a:gd name="T23" fmla="*/ 18 h 33"/>
              <a:gd name="T24" fmla="*/ 13 w 16"/>
              <a:gd name="T25" fmla="*/ 17 h 33"/>
              <a:gd name="T26" fmla="*/ 11 w 16"/>
              <a:gd name="T27" fmla="*/ 15 h 33"/>
              <a:gd name="T28" fmla="*/ 12 w 16"/>
              <a:gd name="T29" fmla="*/ 13 h 33"/>
              <a:gd name="T30" fmla="*/ 11 w 16"/>
              <a:gd name="T31" fmla="*/ 11 h 33"/>
              <a:gd name="T32" fmla="*/ 12 w 16"/>
              <a:gd name="T33" fmla="*/ 10 h 33"/>
              <a:gd name="T34" fmla="*/ 12 w 16"/>
              <a:gd name="T35" fmla="*/ 9 h 33"/>
              <a:gd name="T36" fmla="*/ 12 w 16"/>
              <a:gd name="T37" fmla="*/ 8 h 33"/>
              <a:gd name="T38" fmla="*/ 12 w 16"/>
              <a:gd name="T39" fmla="*/ 7 h 33"/>
              <a:gd name="T40" fmla="*/ 12 w 16"/>
              <a:gd name="T41" fmla="*/ 6 h 33"/>
              <a:gd name="T42" fmla="*/ 11 w 16"/>
              <a:gd name="T43" fmla="*/ 4 h 33"/>
              <a:gd name="T44" fmla="*/ 11 w 16"/>
              <a:gd name="T45" fmla="*/ 3 h 33"/>
              <a:gd name="T46" fmla="*/ 10 w 16"/>
              <a:gd name="T47" fmla="*/ 2 h 33"/>
              <a:gd name="T48" fmla="*/ 9 w 16"/>
              <a:gd name="T49" fmla="*/ 2 h 33"/>
              <a:gd name="T50" fmla="*/ 9 w 16"/>
              <a:gd name="T51" fmla="*/ 1 h 33"/>
              <a:gd name="T52" fmla="*/ 8 w 16"/>
              <a:gd name="T53" fmla="*/ 0 h 33"/>
              <a:gd name="T54" fmla="*/ 4 w 16"/>
              <a:gd name="T55" fmla="*/ 0 h 33"/>
              <a:gd name="T56" fmla="*/ 3 w 16"/>
              <a:gd name="T57" fmla="*/ 1 h 33"/>
              <a:gd name="T58" fmla="*/ 2 w 16"/>
              <a:gd name="T59" fmla="*/ 3 h 33"/>
              <a:gd name="T60" fmla="*/ 2 w 16"/>
              <a:gd name="T61" fmla="*/ 6 h 33"/>
              <a:gd name="T62" fmla="*/ 2 w 16"/>
              <a:gd name="T63" fmla="*/ 7 h 33"/>
              <a:gd name="T64" fmla="*/ 2 w 16"/>
              <a:gd name="T65" fmla="*/ 7 h 33"/>
              <a:gd name="T66" fmla="*/ 2 w 16"/>
              <a:gd name="T67" fmla="*/ 11 h 33"/>
              <a:gd name="T68" fmla="*/ 1 w 16"/>
              <a:gd name="T69" fmla="*/ 13 h 33"/>
              <a:gd name="T70" fmla="*/ 2 w 16"/>
              <a:gd name="T71" fmla="*/ 19 h 33"/>
              <a:gd name="T72" fmla="*/ 2 w 16"/>
              <a:gd name="T73" fmla="*/ 26 h 33"/>
              <a:gd name="T74" fmla="*/ 4 w 16"/>
              <a:gd name="T75" fmla="*/ 28 h 33"/>
              <a:gd name="T76" fmla="*/ 7 w 16"/>
              <a:gd name="T77"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 h="33">
                <a:moveTo>
                  <a:pt x="8" y="32"/>
                </a:moveTo>
                <a:cubicBezTo>
                  <a:pt x="8" y="32"/>
                  <a:pt x="8" y="32"/>
                  <a:pt x="8" y="32"/>
                </a:cubicBezTo>
                <a:cubicBezTo>
                  <a:pt x="8" y="32"/>
                  <a:pt x="9" y="32"/>
                  <a:pt x="9" y="33"/>
                </a:cubicBezTo>
                <a:cubicBezTo>
                  <a:pt x="9" y="32"/>
                  <a:pt x="9" y="32"/>
                  <a:pt x="9" y="32"/>
                </a:cubicBezTo>
                <a:cubicBezTo>
                  <a:pt x="9" y="31"/>
                  <a:pt x="9" y="31"/>
                  <a:pt x="10" y="31"/>
                </a:cubicBezTo>
                <a:cubicBezTo>
                  <a:pt x="9" y="31"/>
                  <a:pt x="9" y="31"/>
                  <a:pt x="9" y="31"/>
                </a:cubicBezTo>
                <a:cubicBezTo>
                  <a:pt x="9" y="31"/>
                  <a:pt x="9" y="30"/>
                  <a:pt x="9" y="30"/>
                </a:cubicBezTo>
                <a:cubicBezTo>
                  <a:pt x="9" y="29"/>
                  <a:pt x="10" y="29"/>
                  <a:pt x="10" y="29"/>
                </a:cubicBezTo>
                <a:cubicBezTo>
                  <a:pt x="10" y="29"/>
                  <a:pt x="10" y="29"/>
                  <a:pt x="10" y="28"/>
                </a:cubicBezTo>
                <a:cubicBezTo>
                  <a:pt x="11" y="28"/>
                  <a:pt x="11" y="28"/>
                  <a:pt x="11" y="28"/>
                </a:cubicBezTo>
                <a:cubicBezTo>
                  <a:pt x="12" y="28"/>
                  <a:pt x="12" y="28"/>
                  <a:pt x="13" y="28"/>
                </a:cubicBezTo>
                <a:cubicBezTo>
                  <a:pt x="13" y="28"/>
                  <a:pt x="13" y="28"/>
                  <a:pt x="13" y="28"/>
                </a:cubicBezTo>
                <a:cubicBezTo>
                  <a:pt x="13" y="27"/>
                  <a:pt x="13" y="27"/>
                  <a:pt x="13" y="26"/>
                </a:cubicBezTo>
                <a:cubicBezTo>
                  <a:pt x="13" y="26"/>
                  <a:pt x="13" y="26"/>
                  <a:pt x="13" y="26"/>
                </a:cubicBezTo>
                <a:cubicBezTo>
                  <a:pt x="13" y="25"/>
                  <a:pt x="14" y="24"/>
                  <a:pt x="14" y="24"/>
                </a:cubicBezTo>
                <a:cubicBezTo>
                  <a:pt x="15" y="23"/>
                  <a:pt x="16" y="22"/>
                  <a:pt x="16" y="22"/>
                </a:cubicBezTo>
                <a:cubicBezTo>
                  <a:pt x="16" y="22"/>
                  <a:pt x="16" y="22"/>
                  <a:pt x="16" y="22"/>
                </a:cubicBezTo>
                <a:cubicBezTo>
                  <a:pt x="16" y="22"/>
                  <a:pt x="16" y="22"/>
                  <a:pt x="16" y="22"/>
                </a:cubicBezTo>
                <a:cubicBezTo>
                  <a:pt x="16" y="21"/>
                  <a:pt x="16" y="21"/>
                  <a:pt x="16" y="20"/>
                </a:cubicBezTo>
                <a:cubicBezTo>
                  <a:pt x="16" y="20"/>
                  <a:pt x="16" y="20"/>
                  <a:pt x="16" y="20"/>
                </a:cubicBezTo>
                <a:cubicBezTo>
                  <a:pt x="16" y="20"/>
                  <a:pt x="16" y="20"/>
                  <a:pt x="16" y="20"/>
                </a:cubicBezTo>
                <a:cubicBezTo>
                  <a:pt x="15" y="21"/>
                  <a:pt x="15" y="21"/>
                  <a:pt x="15" y="21"/>
                </a:cubicBezTo>
                <a:cubicBezTo>
                  <a:pt x="14" y="19"/>
                  <a:pt x="14" y="19"/>
                  <a:pt x="14" y="19"/>
                </a:cubicBezTo>
                <a:cubicBezTo>
                  <a:pt x="14" y="18"/>
                  <a:pt x="13" y="18"/>
                  <a:pt x="13" y="18"/>
                </a:cubicBezTo>
                <a:cubicBezTo>
                  <a:pt x="13" y="18"/>
                  <a:pt x="13" y="18"/>
                  <a:pt x="13" y="18"/>
                </a:cubicBezTo>
                <a:cubicBezTo>
                  <a:pt x="13" y="17"/>
                  <a:pt x="13" y="17"/>
                  <a:pt x="13" y="17"/>
                </a:cubicBezTo>
                <a:cubicBezTo>
                  <a:pt x="12" y="17"/>
                  <a:pt x="12" y="16"/>
                  <a:pt x="11" y="15"/>
                </a:cubicBezTo>
                <a:cubicBezTo>
                  <a:pt x="11" y="15"/>
                  <a:pt x="11" y="15"/>
                  <a:pt x="11" y="15"/>
                </a:cubicBezTo>
                <a:cubicBezTo>
                  <a:pt x="11" y="14"/>
                  <a:pt x="11" y="13"/>
                  <a:pt x="12" y="13"/>
                </a:cubicBezTo>
                <a:cubicBezTo>
                  <a:pt x="12" y="13"/>
                  <a:pt x="12" y="13"/>
                  <a:pt x="12" y="13"/>
                </a:cubicBezTo>
                <a:cubicBezTo>
                  <a:pt x="12" y="13"/>
                  <a:pt x="11" y="13"/>
                  <a:pt x="11" y="12"/>
                </a:cubicBezTo>
                <a:cubicBezTo>
                  <a:pt x="11" y="12"/>
                  <a:pt x="11" y="12"/>
                  <a:pt x="11" y="11"/>
                </a:cubicBezTo>
                <a:cubicBezTo>
                  <a:pt x="10" y="10"/>
                  <a:pt x="10" y="10"/>
                  <a:pt x="10" y="10"/>
                </a:cubicBezTo>
                <a:cubicBezTo>
                  <a:pt x="12" y="10"/>
                  <a:pt x="12" y="10"/>
                  <a:pt x="12" y="10"/>
                </a:cubicBezTo>
                <a:cubicBezTo>
                  <a:pt x="12" y="9"/>
                  <a:pt x="12" y="9"/>
                  <a:pt x="12" y="9"/>
                </a:cubicBezTo>
                <a:cubicBezTo>
                  <a:pt x="12" y="9"/>
                  <a:pt x="12" y="9"/>
                  <a:pt x="12" y="9"/>
                </a:cubicBezTo>
                <a:cubicBezTo>
                  <a:pt x="12" y="9"/>
                  <a:pt x="12" y="8"/>
                  <a:pt x="12" y="8"/>
                </a:cubicBezTo>
                <a:cubicBezTo>
                  <a:pt x="12" y="8"/>
                  <a:pt x="12" y="8"/>
                  <a:pt x="12" y="8"/>
                </a:cubicBezTo>
                <a:cubicBezTo>
                  <a:pt x="12" y="8"/>
                  <a:pt x="12" y="8"/>
                  <a:pt x="12" y="8"/>
                </a:cubicBezTo>
                <a:cubicBezTo>
                  <a:pt x="12" y="7"/>
                  <a:pt x="12" y="7"/>
                  <a:pt x="12" y="7"/>
                </a:cubicBezTo>
                <a:cubicBezTo>
                  <a:pt x="12" y="7"/>
                  <a:pt x="12" y="7"/>
                  <a:pt x="12" y="7"/>
                </a:cubicBezTo>
                <a:cubicBezTo>
                  <a:pt x="12" y="6"/>
                  <a:pt x="12" y="6"/>
                  <a:pt x="12" y="6"/>
                </a:cubicBezTo>
                <a:cubicBezTo>
                  <a:pt x="12" y="6"/>
                  <a:pt x="12" y="6"/>
                  <a:pt x="12" y="5"/>
                </a:cubicBezTo>
                <a:cubicBezTo>
                  <a:pt x="12" y="5"/>
                  <a:pt x="12" y="4"/>
                  <a:pt x="11" y="4"/>
                </a:cubicBezTo>
                <a:cubicBezTo>
                  <a:pt x="11" y="4"/>
                  <a:pt x="11" y="4"/>
                  <a:pt x="11" y="4"/>
                </a:cubicBezTo>
                <a:cubicBezTo>
                  <a:pt x="11" y="3"/>
                  <a:pt x="11" y="3"/>
                  <a:pt x="11" y="3"/>
                </a:cubicBezTo>
                <a:cubicBezTo>
                  <a:pt x="11" y="3"/>
                  <a:pt x="11" y="3"/>
                  <a:pt x="11" y="3"/>
                </a:cubicBezTo>
                <a:cubicBezTo>
                  <a:pt x="10" y="3"/>
                  <a:pt x="10" y="3"/>
                  <a:pt x="10" y="2"/>
                </a:cubicBezTo>
                <a:cubicBezTo>
                  <a:pt x="10" y="2"/>
                  <a:pt x="10" y="2"/>
                  <a:pt x="9" y="2"/>
                </a:cubicBezTo>
                <a:cubicBezTo>
                  <a:pt x="9" y="2"/>
                  <a:pt x="9" y="2"/>
                  <a:pt x="9" y="2"/>
                </a:cubicBezTo>
                <a:cubicBezTo>
                  <a:pt x="9" y="2"/>
                  <a:pt x="9" y="2"/>
                  <a:pt x="9" y="2"/>
                </a:cubicBezTo>
                <a:cubicBezTo>
                  <a:pt x="9" y="1"/>
                  <a:pt x="9" y="1"/>
                  <a:pt x="9" y="1"/>
                </a:cubicBezTo>
                <a:cubicBezTo>
                  <a:pt x="8" y="1"/>
                  <a:pt x="8" y="1"/>
                  <a:pt x="8" y="1"/>
                </a:cubicBezTo>
                <a:cubicBezTo>
                  <a:pt x="8" y="0"/>
                  <a:pt x="8" y="0"/>
                  <a:pt x="8" y="0"/>
                </a:cubicBezTo>
                <a:cubicBezTo>
                  <a:pt x="8" y="0"/>
                  <a:pt x="8" y="0"/>
                  <a:pt x="8" y="0"/>
                </a:cubicBezTo>
                <a:cubicBezTo>
                  <a:pt x="6" y="1"/>
                  <a:pt x="5" y="1"/>
                  <a:pt x="4" y="0"/>
                </a:cubicBezTo>
                <a:cubicBezTo>
                  <a:pt x="4" y="0"/>
                  <a:pt x="3" y="1"/>
                  <a:pt x="3" y="1"/>
                </a:cubicBezTo>
                <a:cubicBezTo>
                  <a:pt x="3" y="1"/>
                  <a:pt x="3" y="1"/>
                  <a:pt x="3" y="1"/>
                </a:cubicBezTo>
                <a:cubicBezTo>
                  <a:pt x="3" y="2"/>
                  <a:pt x="2" y="2"/>
                  <a:pt x="2" y="2"/>
                </a:cubicBezTo>
                <a:cubicBezTo>
                  <a:pt x="2" y="2"/>
                  <a:pt x="2" y="3"/>
                  <a:pt x="2" y="3"/>
                </a:cubicBezTo>
                <a:cubicBezTo>
                  <a:pt x="2" y="3"/>
                  <a:pt x="2" y="3"/>
                  <a:pt x="1" y="3"/>
                </a:cubicBezTo>
                <a:cubicBezTo>
                  <a:pt x="2" y="4"/>
                  <a:pt x="2" y="5"/>
                  <a:pt x="2" y="6"/>
                </a:cubicBezTo>
                <a:cubicBezTo>
                  <a:pt x="2" y="6"/>
                  <a:pt x="2" y="6"/>
                  <a:pt x="2" y="7"/>
                </a:cubicBezTo>
                <a:cubicBezTo>
                  <a:pt x="2" y="7"/>
                  <a:pt x="2" y="7"/>
                  <a:pt x="2" y="7"/>
                </a:cubicBezTo>
                <a:cubicBezTo>
                  <a:pt x="2" y="7"/>
                  <a:pt x="2" y="7"/>
                  <a:pt x="2" y="7"/>
                </a:cubicBezTo>
                <a:cubicBezTo>
                  <a:pt x="2" y="7"/>
                  <a:pt x="2" y="7"/>
                  <a:pt x="2" y="7"/>
                </a:cubicBezTo>
                <a:cubicBezTo>
                  <a:pt x="2" y="8"/>
                  <a:pt x="2" y="8"/>
                  <a:pt x="3" y="9"/>
                </a:cubicBezTo>
                <a:cubicBezTo>
                  <a:pt x="3" y="9"/>
                  <a:pt x="3" y="11"/>
                  <a:pt x="2" y="11"/>
                </a:cubicBezTo>
                <a:cubicBezTo>
                  <a:pt x="1" y="11"/>
                  <a:pt x="1" y="12"/>
                  <a:pt x="1" y="13"/>
                </a:cubicBezTo>
                <a:cubicBezTo>
                  <a:pt x="1" y="13"/>
                  <a:pt x="1" y="13"/>
                  <a:pt x="1" y="13"/>
                </a:cubicBezTo>
                <a:cubicBezTo>
                  <a:pt x="2" y="14"/>
                  <a:pt x="2" y="14"/>
                  <a:pt x="2" y="16"/>
                </a:cubicBezTo>
                <a:cubicBezTo>
                  <a:pt x="1" y="17"/>
                  <a:pt x="2" y="18"/>
                  <a:pt x="2" y="19"/>
                </a:cubicBezTo>
                <a:cubicBezTo>
                  <a:pt x="1" y="19"/>
                  <a:pt x="0" y="21"/>
                  <a:pt x="0" y="22"/>
                </a:cubicBezTo>
                <a:cubicBezTo>
                  <a:pt x="1" y="23"/>
                  <a:pt x="1" y="25"/>
                  <a:pt x="2" y="26"/>
                </a:cubicBezTo>
                <a:cubicBezTo>
                  <a:pt x="1" y="26"/>
                  <a:pt x="0" y="24"/>
                  <a:pt x="0" y="25"/>
                </a:cubicBezTo>
                <a:cubicBezTo>
                  <a:pt x="1" y="26"/>
                  <a:pt x="2" y="27"/>
                  <a:pt x="4" y="28"/>
                </a:cubicBezTo>
                <a:cubicBezTo>
                  <a:pt x="5" y="29"/>
                  <a:pt x="6" y="29"/>
                  <a:pt x="6" y="31"/>
                </a:cubicBezTo>
                <a:cubicBezTo>
                  <a:pt x="6" y="31"/>
                  <a:pt x="7" y="32"/>
                  <a:pt x="7" y="32"/>
                </a:cubicBezTo>
                <a:lnTo>
                  <a:pt x="8" y="32"/>
                </a:lnTo>
                <a:close/>
              </a:path>
            </a:pathLst>
          </a:custGeom>
          <a:solidFill>
            <a:srgbClr val="00A5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49" name="Freeform 3106">
            <a:extLst>
              <a:ext uri="{FF2B5EF4-FFF2-40B4-BE49-F238E27FC236}">
                <a16:creationId xmlns:a16="http://schemas.microsoft.com/office/drawing/2014/main" id="{718E0A5F-18D4-4EFF-A14B-862E145614BD}"/>
              </a:ext>
            </a:extLst>
          </p:cNvPr>
          <p:cNvSpPr>
            <a:spLocks/>
          </p:cNvSpPr>
          <p:nvPr/>
        </p:nvSpPr>
        <p:spPr bwMode="auto">
          <a:xfrm>
            <a:off x="3581828" y="3098507"/>
            <a:ext cx="17840" cy="19589"/>
          </a:xfrm>
          <a:custGeom>
            <a:avLst/>
            <a:gdLst>
              <a:gd name="T0" fmla="*/ 9 w 15"/>
              <a:gd name="T1" fmla="*/ 11 h 14"/>
              <a:gd name="T2" fmla="*/ 9 w 15"/>
              <a:gd name="T3" fmla="*/ 11 h 14"/>
              <a:gd name="T4" fmla="*/ 11 w 15"/>
              <a:gd name="T5" fmla="*/ 12 h 14"/>
              <a:gd name="T6" fmla="*/ 11 w 15"/>
              <a:gd name="T7" fmla="*/ 12 h 14"/>
              <a:gd name="T8" fmla="*/ 12 w 15"/>
              <a:gd name="T9" fmla="*/ 11 h 14"/>
              <a:gd name="T10" fmla="*/ 13 w 15"/>
              <a:gd name="T11" fmla="*/ 10 h 14"/>
              <a:gd name="T12" fmla="*/ 13 w 15"/>
              <a:gd name="T13" fmla="*/ 10 h 14"/>
              <a:gd name="T14" fmla="*/ 13 w 15"/>
              <a:gd name="T15" fmla="*/ 10 h 14"/>
              <a:gd name="T16" fmla="*/ 14 w 15"/>
              <a:gd name="T17" fmla="*/ 9 h 14"/>
              <a:gd name="T18" fmla="*/ 15 w 15"/>
              <a:gd name="T19" fmla="*/ 7 h 14"/>
              <a:gd name="T20" fmla="*/ 15 w 15"/>
              <a:gd name="T21" fmla="*/ 7 h 14"/>
              <a:gd name="T22" fmla="*/ 12 w 15"/>
              <a:gd name="T23" fmla="*/ 6 h 14"/>
              <a:gd name="T24" fmla="*/ 12 w 15"/>
              <a:gd name="T25" fmla="*/ 4 h 14"/>
              <a:gd name="T26" fmla="*/ 12 w 15"/>
              <a:gd name="T27" fmla="*/ 4 h 14"/>
              <a:gd name="T28" fmla="*/ 12 w 15"/>
              <a:gd name="T29" fmla="*/ 4 h 14"/>
              <a:gd name="T30" fmla="*/ 11 w 15"/>
              <a:gd name="T31" fmla="*/ 4 h 14"/>
              <a:gd name="T32" fmla="*/ 9 w 15"/>
              <a:gd name="T33" fmla="*/ 0 h 14"/>
              <a:gd name="T34" fmla="*/ 8 w 15"/>
              <a:gd name="T35" fmla="*/ 0 h 14"/>
              <a:gd name="T36" fmla="*/ 7 w 15"/>
              <a:gd name="T37" fmla="*/ 0 h 14"/>
              <a:gd name="T38" fmla="*/ 7 w 15"/>
              <a:gd name="T39" fmla="*/ 0 h 14"/>
              <a:gd name="T40" fmla="*/ 6 w 15"/>
              <a:gd name="T41" fmla="*/ 0 h 14"/>
              <a:gd name="T42" fmla="*/ 7 w 15"/>
              <a:gd name="T43" fmla="*/ 2 h 14"/>
              <a:gd name="T44" fmla="*/ 5 w 15"/>
              <a:gd name="T45" fmla="*/ 3 h 14"/>
              <a:gd name="T46" fmla="*/ 4 w 15"/>
              <a:gd name="T47" fmla="*/ 3 h 14"/>
              <a:gd name="T48" fmla="*/ 4 w 15"/>
              <a:gd name="T49" fmla="*/ 4 h 14"/>
              <a:gd name="T50" fmla="*/ 4 w 15"/>
              <a:gd name="T51" fmla="*/ 4 h 14"/>
              <a:gd name="T52" fmla="*/ 4 w 15"/>
              <a:gd name="T53" fmla="*/ 4 h 14"/>
              <a:gd name="T54" fmla="*/ 5 w 15"/>
              <a:gd name="T55" fmla="*/ 5 h 14"/>
              <a:gd name="T56" fmla="*/ 2 w 15"/>
              <a:gd name="T57" fmla="*/ 5 h 14"/>
              <a:gd name="T58" fmla="*/ 1 w 15"/>
              <a:gd name="T59" fmla="*/ 6 h 14"/>
              <a:gd name="T60" fmla="*/ 0 w 15"/>
              <a:gd name="T61" fmla="*/ 6 h 14"/>
              <a:gd name="T62" fmla="*/ 0 w 15"/>
              <a:gd name="T63" fmla="*/ 7 h 14"/>
              <a:gd name="T64" fmla="*/ 0 w 15"/>
              <a:gd name="T65" fmla="*/ 7 h 14"/>
              <a:gd name="T66" fmla="*/ 3 w 15"/>
              <a:gd name="T67" fmla="*/ 10 h 14"/>
              <a:gd name="T68" fmla="*/ 4 w 15"/>
              <a:gd name="T69" fmla="*/ 10 h 14"/>
              <a:gd name="T70" fmla="*/ 4 w 15"/>
              <a:gd name="T71" fmla="*/ 11 h 14"/>
              <a:gd name="T72" fmla="*/ 4 w 15"/>
              <a:gd name="T73" fmla="*/ 11 h 14"/>
              <a:gd name="T74" fmla="*/ 4 w 15"/>
              <a:gd name="T75" fmla="*/ 11 h 14"/>
              <a:gd name="T76" fmla="*/ 5 w 15"/>
              <a:gd name="T77" fmla="*/ 12 h 14"/>
              <a:gd name="T78" fmla="*/ 5 w 15"/>
              <a:gd name="T79" fmla="*/ 14 h 14"/>
              <a:gd name="T80" fmla="*/ 5 w 15"/>
              <a:gd name="T81" fmla="*/ 14 h 14"/>
              <a:gd name="T82" fmla="*/ 6 w 15"/>
              <a:gd name="T83" fmla="*/ 14 h 14"/>
              <a:gd name="T84" fmla="*/ 6 w 15"/>
              <a:gd name="T85" fmla="*/ 12 h 14"/>
              <a:gd name="T86" fmla="*/ 7 w 15"/>
              <a:gd name="T87" fmla="*/ 12 h 14"/>
              <a:gd name="T88" fmla="*/ 8 w 15"/>
              <a:gd name="T89" fmla="*/ 12 h 14"/>
              <a:gd name="T90" fmla="*/ 8 w 15"/>
              <a:gd name="T91" fmla="*/ 12 h 14"/>
              <a:gd name="T92" fmla="*/ 7 w 15"/>
              <a:gd name="T93" fmla="*/ 9 h 14"/>
              <a:gd name="T94" fmla="*/ 9 w 15"/>
              <a:gd name="T95"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 h="14">
                <a:moveTo>
                  <a:pt x="9" y="11"/>
                </a:moveTo>
                <a:cubicBezTo>
                  <a:pt x="9" y="11"/>
                  <a:pt x="9" y="11"/>
                  <a:pt x="9" y="11"/>
                </a:cubicBezTo>
                <a:cubicBezTo>
                  <a:pt x="10" y="11"/>
                  <a:pt x="10" y="12"/>
                  <a:pt x="11" y="12"/>
                </a:cubicBezTo>
                <a:cubicBezTo>
                  <a:pt x="11" y="12"/>
                  <a:pt x="11" y="12"/>
                  <a:pt x="11" y="12"/>
                </a:cubicBezTo>
                <a:cubicBezTo>
                  <a:pt x="11" y="11"/>
                  <a:pt x="11" y="11"/>
                  <a:pt x="12" y="11"/>
                </a:cubicBezTo>
                <a:cubicBezTo>
                  <a:pt x="12" y="10"/>
                  <a:pt x="13" y="10"/>
                  <a:pt x="13" y="10"/>
                </a:cubicBezTo>
                <a:cubicBezTo>
                  <a:pt x="13" y="10"/>
                  <a:pt x="13" y="10"/>
                  <a:pt x="13" y="10"/>
                </a:cubicBezTo>
                <a:cubicBezTo>
                  <a:pt x="13" y="10"/>
                  <a:pt x="13" y="10"/>
                  <a:pt x="13" y="10"/>
                </a:cubicBezTo>
                <a:cubicBezTo>
                  <a:pt x="14" y="10"/>
                  <a:pt x="14" y="9"/>
                  <a:pt x="14" y="9"/>
                </a:cubicBezTo>
                <a:cubicBezTo>
                  <a:pt x="14" y="8"/>
                  <a:pt x="15" y="8"/>
                  <a:pt x="15" y="7"/>
                </a:cubicBezTo>
                <a:cubicBezTo>
                  <a:pt x="15" y="7"/>
                  <a:pt x="15" y="7"/>
                  <a:pt x="15" y="7"/>
                </a:cubicBezTo>
                <a:cubicBezTo>
                  <a:pt x="14" y="7"/>
                  <a:pt x="13" y="7"/>
                  <a:pt x="12" y="6"/>
                </a:cubicBezTo>
                <a:cubicBezTo>
                  <a:pt x="12" y="5"/>
                  <a:pt x="12" y="5"/>
                  <a:pt x="12" y="4"/>
                </a:cubicBezTo>
                <a:cubicBezTo>
                  <a:pt x="12" y="4"/>
                  <a:pt x="12" y="4"/>
                  <a:pt x="12" y="4"/>
                </a:cubicBezTo>
                <a:cubicBezTo>
                  <a:pt x="12" y="4"/>
                  <a:pt x="12" y="4"/>
                  <a:pt x="12" y="4"/>
                </a:cubicBezTo>
                <a:cubicBezTo>
                  <a:pt x="12" y="4"/>
                  <a:pt x="12" y="4"/>
                  <a:pt x="11" y="4"/>
                </a:cubicBezTo>
                <a:cubicBezTo>
                  <a:pt x="10" y="3"/>
                  <a:pt x="9" y="2"/>
                  <a:pt x="9" y="0"/>
                </a:cubicBezTo>
                <a:cubicBezTo>
                  <a:pt x="9" y="0"/>
                  <a:pt x="8" y="0"/>
                  <a:pt x="8" y="0"/>
                </a:cubicBezTo>
                <a:cubicBezTo>
                  <a:pt x="8" y="0"/>
                  <a:pt x="7" y="0"/>
                  <a:pt x="7" y="0"/>
                </a:cubicBezTo>
                <a:cubicBezTo>
                  <a:pt x="7" y="0"/>
                  <a:pt x="7" y="0"/>
                  <a:pt x="7" y="0"/>
                </a:cubicBezTo>
                <a:cubicBezTo>
                  <a:pt x="6" y="0"/>
                  <a:pt x="6" y="0"/>
                  <a:pt x="6" y="0"/>
                </a:cubicBezTo>
                <a:cubicBezTo>
                  <a:pt x="7" y="0"/>
                  <a:pt x="7" y="1"/>
                  <a:pt x="7" y="2"/>
                </a:cubicBezTo>
                <a:cubicBezTo>
                  <a:pt x="6" y="3"/>
                  <a:pt x="6" y="3"/>
                  <a:pt x="5" y="3"/>
                </a:cubicBezTo>
                <a:cubicBezTo>
                  <a:pt x="5" y="3"/>
                  <a:pt x="4" y="3"/>
                  <a:pt x="4" y="3"/>
                </a:cubicBezTo>
                <a:cubicBezTo>
                  <a:pt x="4" y="3"/>
                  <a:pt x="4" y="3"/>
                  <a:pt x="4" y="4"/>
                </a:cubicBezTo>
                <a:cubicBezTo>
                  <a:pt x="4" y="4"/>
                  <a:pt x="4" y="4"/>
                  <a:pt x="4" y="4"/>
                </a:cubicBezTo>
                <a:cubicBezTo>
                  <a:pt x="4" y="4"/>
                  <a:pt x="4" y="4"/>
                  <a:pt x="4" y="4"/>
                </a:cubicBezTo>
                <a:cubicBezTo>
                  <a:pt x="5" y="5"/>
                  <a:pt x="5" y="5"/>
                  <a:pt x="5" y="5"/>
                </a:cubicBezTo>
                <a:cubicBezTo>
                  <a:pt x="2" y="5"/>
                  <a:pt x="2" y="5"/>
                  <a:pt x="2" y="5"/>
                </a:cubicBezTo>
                <a:cubicBezTo>
                  <a:pt x="2" y="6"/>
                  <a:pt x="1" y="6"/>
                  <a:pt x="1" y="6"/>
                </a:cubicBezTo>
                <a:cubicBezTo>
                  <a:pt x="0" y="6"/>
                  <a:pt x="0" y="6"/>
                  <a:pt x="0" y="6"/>
                </a:cubicBezTo>
                <a:cubicBezTo>
                  <a:pt x="0" y="6"/>
                  <a:pt x="0" y="7"/>
                  <a:pt x="0" y="7"/>
                </a:cubicBezTo>
                <a:cubicBezTo>
                  <a:pt x="0" y="7"/>
                  <a:pt x="0" y="7"/>
                  <a:pt x="0" y="7"/>
                </a:cubicBezTo>
                <a:cubicBezTo>
                  <a:pt x="1" y="8"/>
                  <a:pt x="2" y="9"/>
                  <a:pt x="3" y="10"/>
                </a:cubicBezTo>
                <a:cubicBezTo>
                  <a:pt x="3" y="10"/>
                  <a:pt x="3" y="10"/>
                  <a:pt x="4" y="10"/>
                </a:cubicBezTo>
                <a:cubicBezTo>
                  <a:pt x="4" y="11"/>
                  <a:pt x="4" y="11"/>
                  <a:pt x="4" y="11"/>
                </a:cubicBezTo>
                <a:cubicBezTo>
                  <a:pt x="4" y="11"/>
                  <a:pt x="4" y="11"/>
                  <a:pt x="4" y="11"/>
                </a:cubicBezTo>
                <a:cubicBezTo>
                  <a:pt x="4" y="11"/>
                  <a:pt x="4" y="11"/>
                  <a:pt x="4" y="11"/>
                </a:cubicBezTo>
                <a:cubicBezTo>
                  <a:pt x="4" y="11"/>
                  <a:pt x="5" y="12"/>
                  <a:pt x="5" y="12"/>
                </a:cubicBezTo>
                <a:cubicBezTo>
                  <a:pt x="5" y="12"/>
                  <a:pt x="5" y="13"/>
                  <a:pt x="5" y="14"/>
                </a:cubicBezTo>
                <a:cubicBezTo>
                  <a:pt x="5" y="14"/>
                  <a:pt x="5" y="14"/>
                  <a:pt x="5" y="14"/>
                </a:cubicBezTo>
                <a:cubicBezTo>
                  <a:pt x="5" y="14"/>
                  <a:pt x="5" y="14"/>
                  <a:pt x="6" y="14"/>
                </a:cubicBezTo>
                <a:cubicBezTo>
                  <a:pt x="6" y="13"/>
                  <a:pt x="6" y="13"/>
                  <a:pt x="6" y="12"/>
                </a:cubicBezTo>
                <a:cubicBezTo>
                  <a:pt x="7" y="12"/>
                  <a:pt x="7" y="12"/>
                  <a:pt x="7" y="12"/>
                </a:cubicBezTo>
                <a:cubicBezTo>
                  <a:pt x="7" y="12"/>
                  <a:pt x="7" y="12"/>
                  <a:pt x="8" y="12"/>
                </a:cubicBezTo>
                <a:cubicBezTo>
                  <a:pt x="8" y="12"/>
                  <a:pt x="8" y="12"/>
                  <a:pt x="8" y="12"/>
                </a:cubicBezTo>
                <a:cubicBezTo>
                  <a:pt x="7" y="9"/>
                  <a:pt x="7" y="9"/>
                  <a:pt x="7" y="9"/>
                </a:cubicBezTo>
                <a:cubicBezTo>
                  <a:pt x="9" y="11"/>
                  <a:pt x="9" y="11"/>
                  <a:pt x="9" y="11"/>
                </a:cubicBezTo>
                <a:close/>
              </a:path>
            </a:pathLst>
          </a:custGeom>
          <a:solidFill>
            <a:srgbClr val="00A5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50" name="Freeform 3107">
            <a:extLst>
              <a:ext uri="{FF2B5EF4-FFF2-40B4-BE49-F238E27FC236}">
                <a16:creationId xmlns:a16="http://schemas.microsoft.com/office/drawing/2014/main" id="{1701625C-9005-4858-8556-26BD7C792B49}"/>
              </a:ext>
            </a:extLst>
          </p:cNvPr>
          <p:cNvSpPr>
            <a:spLocks/>
          </p:cNvSpPr>
          <p:nvPr/>
        </p:nvSpPr>
        <p:spPr bwMode="auto">
          <a:xfrm>
            <a:off x="3587774" y="3115721"/>
            <a:ext cx="26760" cy="20776"/>
          </a:xfrm>
          <a:custGeom>
            <a:avLst/>
            <a:gdLst>
              <a:gd name="T0" fmla="*/ 20 w 23"/>
              <a:gd name="T1" fmla="*/ 3 h 15"/>
              <a:gd name="T2" fmla="*/ 19 w 23"/>
              <a:gd name="T3" fmla="*/ 5 h 15"/>
              <a:gd name="T4" fmla="*/ 19 w 23"/>
              <a:gd name="T5" fmla="*/ 2 h 15"/>
              <a:gd name="T6" fmla="*/ 19 w 23"/>
              <a:gd name="T7" fmla="*/ 2 h 15"/>
              <a:gd name="T8" fmla="*/ 15 w 23"/>
              <a:gd name="T9" fmla="*/ 0 h 15"/>
              <a:gd name="T10" fmla="*/ 12 w 23"/>
              <a:gd name="T11" fmla="*/ 0 h 15"/>
              <a:gd name="T12" fmla="*/ 10 w 23"/>
              <a:gd name="T13" fmla="*/ 1 h 15"/>
              <a:gd name="T14" fmla="*/ 9 w 23"/>
              <a:gd name="T15" fmla="*/ 1 h 15"/>
              <a:gd name="T16" fmla="*/ 8 w 23"/>
              <a:gd name="T17" fmla="*/ 1 h 15"/>
              <a:gd name="T18" fmla="*/ 5 w 23"/>
              <a:gd name="T19" fmla="*/ 2 h 15"/>
              <a:gd name="T20" fmla="*/ 4 w 23"/>
              <a:gd name="T21" fmla="*/ 2 h 15"/>
              <a:gd name="T22" fmla="*/ 3 w 23"/>
              <a:gd name="T23" fmla="*/ 2 h 15"/>
              <a:gd name="T24" fmla="*/ 2 w 23"/>
              <a:gd name="T25" fmla="*/ 4 h 15"/>
              <a:gd name="T26" fmla="*/ 0 w 23"/>
              <a:gd name="T27" fmla="*/ 6 h 15"/>
              <a:gd name="T28" fmla="*/ 0 w 23"/>
              <a:gd name="T29" fmla="*/ 6 h 15"/>
              <a:gd name="T30" fmla="*/ 0 w 23"/>
              <a:gd name="T31" fmla="*/ 8 h 15"/>
              <a:gd name="T32" fmla="*/ 0 w 23"/>
              <a:gd name="T33" fmla="*/ 11 h 15"/>
              <a:gd name="T34" fmla="*/ 0 w 23"/>
              <a:gd name="T35" fmla="*/ 12 h 15"/>
              <a:gd name="T36" fmla="*/ 2 w 23"/>
              <a:gd name="T37" fmla="*/ 14 h 15"/>
              <a:gd name="T38" fmla="*/ 3 w 23"/>
              <a:gd name="T39" fmla="*/ 15 h 15"/>
              <a:gd name="T40" fmla="*/ 4 w 23"/>
              <a:gd name="T41" fmla="*/ 15 h 15"/>
              <a:gd name="T42" fmla="*/ 4 w 23"/>
              <a:gd name="T43" fmla="*/ 15 h 15"/>
              <a:gd name="T44" fmla="*/ 5 w 23"/>
              <a:gd name="T45" fmla="*/ 15 h 15"/>
              <a:gd name="T46" fmla="*/ 6 w 23"/>
              <a:gd name="T47" fmla="*/ 15 h 15"/>
              <a:gd name="T48" fmla="*/ 9 w 23"/>
              <a:gd name="T49" fmla="*/ 14 h 15"/>
              <a:gd name="T50" fmla="*/ 11 w 23"/>
              <a:gd name="T51" fmla="*/ 14 h 15"/>
              <a:gd name="T52" fmla="*/ 11 w 23"/>
              <a:gd name="T53" fmla="*/ 14 h 15"/>
              <a:gd name="T54" fmla="*/ 14 w 23"/>
              <a:gd name="T55" fmla="*/ 12 h 15"/>
              <a:gd name="T56" fmla="*/ 18 w 23"/>
              <a:gd name="T57" fmla="*/ 12 h 15"/>
              <a:gd name="T58" fmla="*/ 19 w 23"/>
              <a:gd name="T59" fmla="*/ 12 h 15"/>
              <a:gd name="T60" fmla="*/ 20 w 23"/>
              <a:gd name="T61" fmla="*/ 11 h 15"/>
              <a:gd name="T62" fmla="*/ 21 w 23"/>
              <a:gd name="T63" fmla="*/ 9 h 15"/>
              <a:gd name="T64" fmla="*/ 22 w 23"/>
              <a:gd name="T65" fmla="*/ 9 h 15"/>
              <a:gd name="T66" fmla="*/ 23 w 23"/>
              <a:gd name="T67" fmla="*/ 6 h 15"/>
              <a:gd name="T68" fmla="*/ 23 w 23"/>
              <a:gd name="T6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 h="15">
                <a:moveTo>
                  <a:pt x="23" y="6"/>
                </a:moveTo>
                <a:cubicBezTo>
                  <a:pt x="23" y="6"/>
                  <a:pt x="23" y="5"/>
                  <a:pt x="20" y="3"/>
                </a:cubicBezTo>
                <a:cubicBezTo>
                  <a:pt x="20" y="3"/>
                  <a:pt x="20" y="3"/>
                  <a:pt x="20" y="3"/>
                </a:cubicBezTo>
                <a:cubicBezTo>
                  <a:pt x="19" y="5"/>
                  <a:pt x="19" y="5"/>
                  <a:pt x="19" y="5"/>
                </a:cubicBezTo>
                <a:cubicBezTo>
                  <a:pt x="20" y="3"/>
                  <a:pt x="20" y="3"/>
                  <a:pt x="20" y="3"/>
                </a:cubicBezTo>
                <a:cubicBezTo>
                  <a:pt x="19" y="2"/>
                  <a:pt x="19" y="2"/>
                  <a:pt x="19" y="2"/>
                </a:cubicBezTo>
                <a:cubicBezTo>
                  <a:pt x="19" y="2"/>
                  <a:pt x="19" y="2"/>
                  <a:pt x="19" y="2"/>
                </a:cubicBezTo>
                <a:cubicBezTo>
                  <a:pt x="19" y="2"/>
                  <a:pt x="19" y="2"/>
                  <a:pt x="19" y="2"/>
                </a:cubicBezTo>
                <a:cubicBezTo>
                  <a:pt x="18" y="1"/>
                  <a:pt x="18" y="1"/>
                  <a:pt x="17" y="0"/>
                </a:cubicBezTo>
                <a:cubicBezTo>
                  <a:pt x="15" y="0"/>
                  <a:pt x="15" y="0"/>
                  <a:pt x="15" y="0"/>
                </a:cubicBezTo>
                <a:cubicBezTo>
                  <a:pt x="15" y="0"/>
                  <a:pt x="15" y="0"/>
                  <a:pt x="15" y="0"/>
                </a:cubicBezTo>
                <a:cubicBezTo>
                  <a:pt x="14" y="0"/>
                  <a:pt x="13" y="0"/>
                  <a:pt x="12" y="0"/>
                </a:cubicBezTo>
                <a:cubicBezTo>
                  <a:pt x="10" y="1"/>
                  <a:pt x="10" y="1"/>
                  <a:pt x="10" y="1"/>
                </a:cubicBezTo>
                <a:cubicBezTo>
                  <a:pt x="10" y="1"/>
                  <a:pt x="10" y="1"/>
                  <a:pt x="10" y="1"/>
                </a:cubicBezTo>
                <a:cubicBezTo>
                  <a:pt x="10" y="1"/>
                  <a:pt x="10" y="1"/>
                  <a:pt x="10" y="1"/>
                </a:cubicBezTo>
                <a:cubicBezTo>
                  <a:pt x="9" y="1"/>
                  <a:pt x="9" y="1"/>
                  <a:pt x="9" y="1"/>
                </a:cubicBezTo>
                <a:cubicBezTo>
                  <a:pt x="9" y="1"/>
                  <a:pt x="9" y="1"/>
                  <a:pt x="9" y="1"/>
                </a:cubicBezTo>
                <a:cubicBezTo>
                  <a:pt x="9" y="1"/>
                  <a:pt x="8" y="1"/>
                  <a:pt x="8" y="1"/>
                </a:cubicBezTo>
                <a:cubicBezTo>
                  <a:pt x="8" y="1"/>
                  <a:pt x="8" y="2"/>
                  <a:pt x="7" y="2"/>
                </a:cubicBezTo>
                <a:cubicBezTo>
                  <a:pt x="6" y="3"/>
                  <a:pt x="5" y="2"/>
                  <a:pt x="5" y="2"/>
                </a:cubicBezTo>
                <a:cubicBezTo>
                  <a:pt x="4" y="2"/>
                  <a:pt x="4" y="2"/>
                  <a:pt x="4" y="2"/>
                </a:cubicBezTo>
                <a:cubicBezTo>
                  <a:pt x="4" y="2"/>
                  <a:pt x="4" y="2"/>
                  <a:pt x="4" y="2"/>
                </a:cubicBezTo>
                <a:cubicBezTo>
                  <a:pt x="4" y="2"/>
                  <a:pt x="4" y="2"/>
                  <a:pt x="3" y="2"/>
                </a:cubicBezTo>
                <a:cubicBezTo>
                  <a:pt x="3" y="2"/>
                  <a:pt x="3" y="2"/>
                  <a:pt x="3" y="2"/>
                </a:cubicBezTo>
                <a:cubicBezTo>
                  <a:pt x="3" y="2"/>
                  <a:pt x="3" y="3"/>
                  <a:pt x="3" y="3"/>
                </a:cubicBezTo>
                <a:cubicBezTo>
                  <a:pt x="3" y="3"/>
                  <a:pt x="2" y="4"/>
                  <a:pt x="2" y="4"/>
                </a:cubicBezTo>
                <a:cubicBezTo>
                  <a:pt x="2" y="5"/>
                  <a:pt x="2" y="5"/>
                  <a:pt x="1" y="5"/>
                </a:cubicBezTo>
                <a:cubicBezTo>
                  <a:pt x="1" y="5"/>
                  <a:pt x="1" y="6"/>
                  <a:pt x="0" y="6"/>
                </a:cubicBezTo>
                <a:cubicBezTo>
                  <a:pt x="0" y="6"/>
                  <a:pt x="0" y="6"/>
                  <a:pt x="0" y="6"/>
                </a:cubicBezTo>
                <a:cubicBezTo>
                  <a:pt x="0" y="6"/>
                  <a:pt x="0" y="6"/>
                  <a:pt x="0" y="6"/>
                </a:cubicBezTo>
                <a:cubicBezTo>
                  <a:pt x="0" y="7"/>
                  <a:pt x="0" y="7"/>
                  <a:pt x="0" y="7"/>
                </a:cubicBezTo>
                <a:cubicBezTo>
                  <a:pt x="0" y="8"/>
                  <a:pt x="0" y="8"/>
                  <a:pt x="0" y="8"/>
                </a:cubicBezTo>
                <a:cubicBezTo>
                  <a:pt x="0" y="9"/>
                  <a:pt x="0" y="9"/>
                  <a:pt x="0" y="10"/>
                </a:cubicBezTo>
                <a:cubicBezTo>
                  <a:pt x="0" y="10"/>
                  <a:pt x="0" y="11"/>
                  <a:pt x="0" y="11"/>
                </a:cubicBezTo>
                <a:cubicBezTo>
                  <a:pt x="0" y="11"/>
                  <a:pt x="0" y="11"/>
                  <a:pt x="0" y="11"/>
                </a:cubicBezTo>
                <a:cubicBezTo>
                  <a:pt x="0" y="12"/>
                  <a:pt x="0" y="12"/>
                  <a:pt x="0" y="12"/>
                </a:cubicBezTo>
                <a:cubicBezTo>
                  <a:pt x="0" y="12"/>
                  <a:pt x="1" y="13"/>
                  <a:pt x="1" y="13"/>
                </a:cubicBezTo>
                <a:cubicBezTo>
                  <a:pt x="1" y="13"/>
                  <a:pt x="2" y="14"/>
                  <a:pt x="2" y="14"/>
                </a:cubicBezTo>
                <a:cubicBezTo>
                  <a:pt x="2" y="14"/>
                  <a:pt x="2" y="14"/>
                  <a:pt x="2" y="14"/>
                </a:cubicBezTo>
                <a:cubicBezTo>
                  <a:pt x="3" y="14"/>
                  <a:pt x="3" y="14"/>
                  <a:pt x="3" y="15"/>
                </a:cubicBezTo>
                <a:cubicBezTo>
                  <a:pt x="3" y="15"/>
                  <a:pt x="3" y="15"/>
                  <a:pt x="3" y="15"/>
                </a:cubicBezTo>
                <a:cubicBezTo>
                  <a:pt x="4" y="15"/>
                  <a:pt x="4" y="15"/>
                  <a:pt x="4" y="15"/>
                </a:cubicBezTo>
                <a:cubicBezTo>
                  <a:pt x="4" y="15"/>
                  <a:pt x="4" y="15"/>
                  <a:pt x="4" y="15"/>
                </a:cubicBezTo>
                <a:cubicBezTo>
                  <a:pt x="4" y="15"/>
                  <a:pt x="4" y="15"/>
                  <a:pt x="4" y="15"/>
                </a:cubicBezTo>
                <a:cubicBezTo>
                  <a:pt x="4" y="15"/>
                  <a:pt x="4" y="15"/>
                  <a:pt x="4" y="15"/>
                </a:cubicBezTo>
                <a:cubicBezTo>
                  <a:pt x="5" y="15"/>
                  <a:pt x="5" y="15"/>
                  <a:pt x="5" y="15"/>
                </a:cubicBezTo>
                <a:cubicBezTo>
                  <a:pt x="6" y="15"/>
                  <a:pt x="6" y="15"/>
                  <a:pt x="6" y="15"/>
                </a:cubicBezTo>
                <a:cubicBezTo>
                  <a:pt x="6" y="15"/>
                  <a:pt x="6" y="15"/>
                  <a:pt x="6" y="15"/>
                </a:cubicBezTo>
                <a:cubicBezTo>
                  <a:pt x="8" y="15"/>
                  <a:pt x="8" y="15"/>
                  <a:pt x="8" y="15"/>
                </a:cubicBezTo>
                <a:cubicBezTo>
                  <a:pt x="8" y="15"/>
                  <a:pt x="9" y="14"/>
                  <a:pt x="9" y="14"/>
                </a:cubicBezTo>
                <a:cubicBezTo>
                  <a:pt x="9" y="14"/>
                  <a:pt x="10" y="14"/>
                  <a:pt x="10" y="14"/>
                </a:cubicBezTo>
                <a:cubicBezTo>
                  <a:pt x="11" y="14"/>
                  <a:pt x="11" y="14"/>
                  <a:pt x="11" y="14"/>
                </a:cubicBezTo>
                <a:cubicBezTo>
                  <a:pt x="11" y="14"/>
                  <a:pt x="11" y="14"/>
                  <a:pt x="11" y="14"/>
                </a:cubicBezTo>
                <a:cubicBezTo>
                  <a:pt x="11" y="14"/>
                  <a:pt x="11" y="14"/>
                  <a:pt x="11" y="14"/>
                </a:cubicBezTo>
                <a:cubicBezTo>
                  <a:pt x="11" y="14"/>
                  <a:pt x="11" y="13"/>
                  <a:pt x="12" y="13"/>
                </a:cubicBezTo>
                <a:cubicBezTo>
                  <a:pt x="12" y="12"/>
                  <a:pt x="13" y="12"/>
                  <a:pt x="14" y="12"/>
                </a:cubicBezTo>
                <a:cubicBezTo>
                  <a:pt x="14" y="12"/>
                  <a:pt x="15" y="12"/>
                  <a:pt x="15" y="11"/>
                </a:cubicBezTo>
                <a:cubicBezTo>
                  <a:pt x="16" y="11"/>
                  <a:pt x="17" y="11"/>
                  <a:pt x="18" y="12"/>
                </a:cubicBezTo>
                <a:cubicBezTo>
                  <a:pt x="18" y="12"/>
                  <a:pt x="18" y="12"/>
                  <a:pt x="18" y="12"/>
                </a:cubicBezTo>
                <a:cubicBezTo>
                  <a:pt x="19" y="12"/>
                  <a:pt x="19" y="12"/>
                  <a:pt x="19" y="12"/>
                </a:cubicBezTo>
                <a:cubicBezTo>
                  <a:pt x="19" y="12"/>
                  <a:pt x="20" y="11"/>
                  <a:pt x="20" y="11"/>
                </a:cubicBezTo>
                <a:cubicBezTo>
                  <a:pt x="20" y="11"/>
                  <a:pt x="20" y="11"/>
                  <a:pt x="20" y="11"/>
                </a:cubicBezTo>
                <a:cubicBezTo>
                  <a:pt x="20" y="11"/>
                  <a:pt x="20" y="10"/>
                  <a:pt x="20" y="10"/>
                </a:cubicBezTo>
                <a:cubicBezTo>
                  <a:pt x="21" y="10"/>
                  <a:pt x="21" y="9"/>
                  <a:pt x="21" y="9"/>
                </a:cubicBezTo>
                <a:cubicBezTo>
                  <a:pt x="21" y="9"/>
                  <a:pt x="21" y="9"/>
                  <a:pt x="21" y="9"/>
                </a:cubicBezTo>
                <a:cubicBezTo>
                  <a:pt x="22" y="9"/>
                  <a:pt x="22" y="9"/>
                  <a:pt x="22" y="9"/>
                </a:cubicBezTo>
                <a:cubicBezTo>
                  <a:pt x="22" y="9"/>
                  <a:pt x="22" y="9"/>
                  <a:pt x="22" y="9"/>
                </a:cubicBezTo>
                <a:cubicBezTo>
                  <a:pt x="22" y="8"/>
                  <a:pt x="23" y="7"/>
                  <a:pt x="23" y="6"/>
                </a:cubicBezTo>
                <a:cubicBezTo>
                  <a:pt x="23" y="6"/>
                  <a:pt x="23" y="6"/>
                  <a:pt x="23" y="6"/>
                </a:cubicBezTo>
                <a:cubicBezTo>
                  <a:pt x="23" y="6"/>
                  <a:pt x="23" y="6"/>
                  <a:pt x="23" y="6"/>
                </a:cubicBezTo>
                <a:cubicBezTo>
                  <a:pt x="23" y="6"/>
                  <a:pt x="23" y="6"/>
                  <a:pt x="23" y="6"/>
                </a:cubicBezTo>
                <a:close/>
              </a:path>
            </a:pathLst>
          </a:custGeom>
          <a:solidFill>
            <a:srgbClr val="00A5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51" name="Freeform 3108">
            <a:extLst>
              <a:ext uri="{FF2B5EF4-FFF2-40B4-BE49-F238E27FC236}">
                <a16:creationId xmlns:a16="http://schemas.microsoft.com/office/drawing/2014/main" id="{95540EC0-0A97-4F38-A51A-2FF708AB043C}"/>
              </a:ext>
            </a:extLst>
          </p:cNvPr>
          <p:cNvSpPr>
            <a:spLocks/>
          </p:cNvSpPr>
          <p:nvPr/>
        </p:nvSpPr>
        <p:spPr bwMode="auto">
          <a:xfrm>
            <a:off x="3580837" y="3125219"/>
            <a:ext cx="77307" cy="88446"/>
          </a:xfrm>
          <a:custGeom>
            <a:avLst/>
            <a:gdLst>
              <a:gd name="T0" fmla="*/ 63 w 66"/>
              <a:gd name="T1" fmla="*/ 7 h 63"/>
              <a:gd name="T2" fmla="*/ 63 w 66"/>
              <a:gd name="T3" fmla="*/ 6 h 63"/>
              <a:gd name="T4" fmla="*/ 65 w 66"/>
              <a:gd name="T5" fmla="*/ 3 h 63"/>
              <a:gd name="T6" fmla="*/ 65 w 66"/>
              <a:gd name="T7" fmla="*/ 1 h 63"/>
              <a:gd name="T8" fmla="*/ 64 w 66"/>
              <a:gd name="T9" fmla="*/ 0 h 63"/>
              <a:gd name="T10" fmla="*/ 63 w 66"/>
              <a:gd name="T11" fmla="*/ 3 h 63"/>
              <a:gd name="T12" fmla="*/ 57 w 66"/>
              <a:gd name="T13" fmla="*/ 5 h 63"/>
              <a:gd name="T14" fmla="*/ 54 w 66"/>
              <a:gd name="T15" fmla="*/ 6 h 63"/>
              <a:gd name="T16" fmla="*/ 52 w 66"/>
              <a:gd name="T17" fmla="*/ 5 h 63"/>
              <a:gd name="T18" fmla="*/ 47 w 66"/>
              <a:gd name="T19" fmla="*/ 4 h 63"/>
              <a:gd name="T20" fmla="*/ 43 w 66"/>
              <a:gd name="T21" fmla="*/ 2 h 63"/>
              <a:gd name="T22" fmla="*/ 37 w 66"/>
              <a:gd name="T23" fmla="*/ 4 h 63"/>
              <a:gd name="T24" fmla="*/ 29 w 66"/>
              <a:gd name="T25" fmla="*/ 5 h 63"/>
              <a:gd name="T26" fmla="*/ 24 w 66"/>
              <a:gd name="T27" fmla="*/ 7 h 63"/>
              <a:gd name="T28" fmla="*/ 20 w 66"/>
              <a:gd name="T29" fmla="*/ 7 h 63"/>
              <a:gd name="T30" fmla="*/ 19 w 66"/>
              <a:gd name="T31" fmla="*/ 9 h 63"/>
              <a:gd name="T32" fmla="*/ 16 w 66"/>
              <a:gd name="T33" fmla="*/ 10 h 63"/>
              <a:gd name="T34" fmla="*/ 12 w 66"/>
              <a:gd name="T35" fmla="*/ 10 h 63"/>
              <a:gd name="T36" fmla="*/ 11 w 66"/>
              <a:gd name="T37" fmla="*/ 11 h 63"/>
              <a:gd name="T38" fmla="*/ 7 w 66"/>
              <a:gd name="T39" fmla="*/ 17 h 63"/>
              <a:gd name="T40" fmla="*/ 4 w 66"/>
              <a:gd name="T41" fmla="*/ 20 h 63"/>
              <a:gd name="T42" fmla="*/ 4 w 66"/>
              <a:gd name="T43" fmla="*/ 22 h 63"/>
              <a:gd name="T44" fmla="*/ 2 w 66"/>
              <a:gd name="T45" fmla="*/ 25 h 63"/>
              <a:gd name="T46" fmla="*/ 2 w 66"/>
              <a:gd name="T47" fmla="*/ 28 h 63"/>
              <a:gd name="T48" fmla="*/ 11 w 66"/>
              <a:gd name="T49" fmla="*/ 32 h 63"/>
              <a:gd name="T50" fmla="*/ 7 w 66"/>
              <a:gd name="T51" fmla="*/ 33 h 63"/>
              <a:gd name="T52" fmla="*/ 10 w 66"/>
              <a:gd name="T53" fmla="*/ 39 h 63"/>
              <a:gd name="T54" fmla="*/ 14 w 66"/>
              <a:gd name="T55" fmla="*/ 40 h 63"/>
              <a:gd name="T56" fmla="*/ 32 w 66"/>
              <a:gd name="T57" fmla="*/ 42 h 63"/>
              <a:gd name="T58" fmla="*/ 19 w 66"/>
              <a:gd name="T59" fmla="*/ 40 h 63"/>
              <a:gd name="T60" fmla="*/ 13 w 66"/>
              <a:gd name="T61" fmla="*/ 48 h 63"/>
              <a:gd name="T62" fmla="*/ 17 w 66"/>
              <a:gd name="T63" fmla="*/ 58 h 63"/>
              <a:gd name="T64" fmla="*/ 25 w 66"/>
              <a:gd name="T65" fmla="*/ 60 h 63"/>
              <a:gd name="T66" fmla="*/ 27 w 66"/>
              <a:gd name="T67" fmla="*/ 49 h 63"/>
              <a:gd name="T68" fmla="*/ 34 w 66"/>
              <a:gd name="T69" fmla="*/ 48 h 63"/>
              <a:gd name="T70" fmla="*/ 34 w 66"/>
              <a:gd name="T71" fmla="*/ 44 h 63"/>
              <a:gd name="T72" fmla="*/ 37 w 66"/>
              <a:gd name="T73" fmla="*/ 44 h 63"/>
              <a:gd name="T74" fmla="*/ 40 w 66"/>
              <a:gd name="T75" fmla="*/ 48 h 63"/>
              <a:gd name="T76" fmla="*/ 29 w 66"/>
              <a:gd name="T77" fmla="*/ 34 h 63"/>
              <a:gd name="T78" fmla="*/ 29 w 66"/>
              <a:gd name="T79" fmla="*/ 30 h 63"/>
              <a:gd name="T80" fmla="*/ 31 w 66"/>
              <a:gd name="T81" fmla="*/ 30 h 63"/>
              <a:gd name="T82" fmla="*/ 33 w 66"/>
              <a:gd name="T83" fmla="*/ 29 h 63"/>
              <a:gd name="T84" fmla="*/ 28 w 66"/>
              <a:gd name="T85" fmla="*/ 13 h 63"/>
              <a:gd name="T86" fmla="*/ 30 w 66"/>
              <a:gd name="T87" fmla="*/ 16 h 63"/>
              <a:gd name="T88" fmla="*/ 37 w 66"/>
              <a:gd name="T89" fmla="*/ 21 h 63"/>
              <a:gd name="T90" fmla="*/ 39 w 66"/>
              <a:gd name="T91" fmla="*/ 20 h 63"/>
              <a:gd name="T92" fmla="*/ 37 w 66"/>
              <a:gd name="T93" fmla="*/ 11 h 63"/>
              <a:gd name="T94" fmla="*/ 57 w 66"/>
              <a:gd name="T9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6" h="63">
                <a:moveTo>
                  <a:pt x="60" y="10"/>
                </a:moveTo>
                <a:cubicBezTo>
                  <a:pt x="61" y="10"/>
                  <a:pt x="62" y="9"/>
                  <a:pt x="62" y="8"/>
                </a:cubicBezTo>
                <a:cubicBezTo>
                  <a:pt x="62" y="8"/>
                  <a:pt x="62" y="8"/>
                  <a:pt x="62" y="8"/>
                </a:cubicBezTo>
                <a:cubicBezTo>
                  <a:pt x="62" y="8"/>
                  <a:pt x="62" y="7"/>
                  <a:pt x="63" y="7"/>
                </a:cubicBezTo>
                <a:cubicBezTo>
                  <a:pt x="63" y="7"/>
                  <a:pt x="63" y="7"/>
                  <a:pt x="63" y="7"/>
                </a:cubicBezTo>
                <a:cubicBezTo>
                  <a:pt x="63" y="7"/>
                  <a:pt x="63" y="7"/>
                  <a:pt x="63" y="7"/>
                </a:cubicBezTo>
                <a:cubicBezTo>
                  <a:pt x="63" y="6"/>
                  <a:pt x="63" y="6"/>
                  <a:pt x="63" y="6"/>
                </a:cubicBezTo>
                <a:cubicBezTo>
                  <a:pt x="63" y="6"/>
                  <a:pt x="63" y="6"/>
                  <a:pt x="63" y="6"/>
                </a:cubicBezTo>
                <a:cubicBezTo>
                  <a:pt x="63" y="6"/>
                  <a:pt x="63" y="6"/>
                  <a:pt x="63" y="6"/>
                </a:cubicBezTo>
                <a:cubicBezTo>
                  <a:pt x="63" y="6"/>
                  <a:pt x="62" y="5"/>
                  <a:pt x="63" y="4"/>
                </a:cubicBezTo>
                <a:cubicBezTo>
                  <a:pt x="63" y="4"/>
                  <a:pt x="63" y="3"/>
                  <a:pt x="64" y="3"/>
                </a:cubicBezTo>
                <a:cubicBezTo>
                  <a:pt x="65" y="3"/>
                  <a:pt x="65" y="3"/>
                  <a:pt x="65" y="3"/>
                </a:cubicBezTo>
                <a:cubicBezTo>
                  <a:pt x="65" y="2"/>
                  <a:pt x="66" y="2"/>
                  <a:pt x="66" y="2"/>
                </a:cubicBezTo>
                <a:cubicBezTo>
                  <a:pt x="66" y="2"/>
                  <a:pt x="66" y="2"/>
                  <a:pt x="66" y="2"/>
                </a:cubicBezTo>
                <a:cubicBezTo>
                  <a:pt x="66" y="2"/>
                  <a:pt x="66" y="2"/>
                  <a:pt x="66" y="1"/>
                </a:cubicBezTo>
                <a:cubicBezTo>
                  <a:pt x="66" y="1"/>
                  <a:pt x="65" y="1"/>
                  <a:pt x="65" y="1"/>
                </a:cubicBezTo>
                <a:cubicBezTo>
                  <a:pt x="65" y="1"/>
                  <a:pt x="65" y="1"/>
                  <a:pt x="65" y="1"/>
                </a:cubicBezTo>
                <a:cubicBezTo>
                  <a:pt x="65" y="1"/>
                  <a:pt x="65" y="1"/>
                  <a:pt x="65" y="1"/>
                </a:cubicBezTo>
                <a:cubicBezTo>
                  <a:pt x="65" y="1"/>
                  <a:pt x="65" y="1"/>
                  <a:pt x="65" y="1"/>
                </a:cubicBezTo>
                <a:cubicBezTo>
                  <a:pt x="64" y="0"/>
                  <a:pt x="64" y="0"/>
                  <a:pt x="64" y="0"/>
                </a:cubicBezTo>
                <a:cubicBezTo>
                  <a:pt x="64" y="0"/>
                  <a:pt x="64" y="0"/>
                  <a:pt x="64" y="0"/>
                </a:cubicBezTo>
                <a:cubicBezTo>
                  <a:pt x="64" y="0"/>
                  <a:pt x="64" y="0"/>
                  <a:pt x="64" y="0"/>
                </a:cubicBezTo>
                <a:cubicBezTo>
                  <a:pt x="63" y="0"/>
                  <a:pt x="63" y="0"/>
                  <a:pt x="63" y="0"/>
                </a:cubicBezTo>
                <a:cubicBezTo>
                  <a:pt x="63" y="1"/>
                  <a:pt x="63" y="2"/>
                  <a:pt x="63" y="3"/>
                </a:cubicBezTo>
                <a:cubicBezTo>
                  <a:pt x="63" y="3"/>
                  <a:pt x="63" y="3"/>
                  <a:pt x="63" y="3"/>
                </a:cubicBezTo>
                <a:cubicBezTo>
                  <a:pt x="63" y="4"/>
                  <a:pt x="63" y="4"/>
                  <a:pt x="63" y="4"/>
                </a:cubicBezTo>
                <a:cubicBezTo>
                  <a:pt x="62" y="5"/>
                  <a:pt x="61" y="5"/>
                  <a:pt x="60" y="5"/>
                </a:cubicBezTo>
                <a:cubicBezTo>
                  <a:pt x="59" y="5"/>
                  <a:pt x="58" y="5"/>
                  <a:pt x="57" y="5"/>
                </a:cubicBezTo>
                <a:cubicBezTo>
                  <a:pt x="56" y="5"/>
                  <a:pt x="56" y="5"/>
                  <a:pt x="56" y="5"/>
                </a:cubicBezTo>
                <a:cubicBezTo>
                  <a:pt x="56" y="5"/>
                  <a:pt x="56" y="5"/>
                  <a:pt x="56" y="5"/>
                </a:cubicBezTo>
                <a:cubicBezTo>
                  <a:pt x="54" y="6"/>
                  <a:pt x="54" y="6"/>
                  <a:pt x="54" y="6"/>
                </a:cubicBezTo>
                <a:cubicBezTo>
                  <a:pt x="54" y="6"/>
                  <a:pt x="54" y="6"/>
                  <a:pt x="54" y="6"/>
                </a:cubicBezTo>
                <a:cubicBezTo>
                  <a:pt x="53" y="6"/>
                  <a:pt x="53" y="6"/>
                  <a:pt x="53" y="6"/>
                </a:cubicBezTo>
                <a:cubicBezTo>
                  <a:pt x="53" y="6"/>
                  <a:pt x="53" y="6"/>
                  <a:pt x="52" y="6"/>
                </a:cubicBezTo>
                <a:cubicBezTo>
                  <a:pt x="52" y="5"/>
                  <a:pt x="52" y="5"/>
                  <a:pt x="52" y="5"/>
                </a:cubicBezTo>
                <a:cubicBezTo>
                  <a:pt x="52" y="5"/>
                  <a:pt x="52" y="5"/>
                  <a:pt x="52" y="5"/>
                </a:cubicBezTo>
                <a:cubicBezTo>
                  <a:pt x="51" y="5"/>
                  <a:pt x="51" y="5"/>
                  <a:pt x="51" y="5"/>
                </a:cubicBezTo>
                <a:cubicBezTo>
                  <a:pt x="50" y="5"/>
                  <a:pt x="50" y="5"/>
                  <a:pt x="50" y="5"/>
                </a:cubicBezTo>
                <a:cubicBezTo>
                  <a:pt x="50" y="5"/>
                  <a:pt x="50" y="5"/>
                  <a:pt x="50" y="5"/>
                </a:cubicBezTo>
                <a:cubicBezTo>
                  <a:pt x="49" y="5"/>
                  <a:pt x="48" y="4"/>
                  <a:pt x="47" y="4"/>
                </a:cubicBezTo>
                <a:cubicBezTo>
                  <a:pt x="46" y="3"/>
                  <a:pt x="46" y="3"/>
                  <a:pt x="46" y="3"/>
                </a:cubicBezTo>
                <a:cubicBezTo>
                  <a:pt x="46" y="3"/>
                  <a:pt x="45" y="2"/>
                  <a:pt x="45" y="2"/>
                </a:cubicBezTo>
                <a:cubicBezTo>
                  <a:pt x="45" y="2"/>
                  <a:pt x="45" y="2"/>
                  <a:pt x="45" y="2"/>
                </a:cubicBezTo>
                <a:cubicBezTo>
                  <a:pt x="45" y="2"/>
                  <a:pt x="44" y="2"/>
                  <a:pt x="43" y="2"/>
                </a:cubicBezTo>
                <a:cubicBezTo>
                  <a:pt x="43" y="2"/>
                  <a:pt x="43" y="2"/>
                  <a:pt x="43" y="2"/>
                </a:cubicBezTo>
                <a:cubicBezTo>
                  <a:pt x="42" y="2"/>
                  <a:pt x="41" y="3"/>
                  <a:pt x="40" y="3"/>
                </a:cubicBezTo>
                <a:cubicBezTo>
                  <a:pt x="38" y="4"/>
                  <a:pt x="38" y="4"/>
                  <a:pt x="38" y="4"/>
                </a:cubicBezTo>
                <a:cubicBezTo>
                  <a:pt x="38" y="4"/>
                  <a:pt x="37" y="4"/>
                  <a:pt x="37" y="4"/>
                </a:cubicBezTo>
                <a:cubicBezTo>
                  <a:pt x="36" y="4"/>
                  <a:pt x="36" y="4"/>
                  <a:pt x="36" y="4"/>
                </a:cubicBezTo>
                <a:cubicBezTo>
                  <a:pt x="35" y="5"/>
                  <a:pt x="33" y="5"/>
                  <a:pt x="31" y="5"/>
                </a:cubicBezTo>
                <a:cubicBezTo>
                  <a:pt x="31" y="5"/>
                  <a:pt x="31" y="5"/>
                  <a:pt x="31" y="5"/>
                </a:cubicBezTo>
                <a:cubicBezTo>
                  <a:pt x="30" y="5"/>
                  <a:pt x="30" y="5"/>
                  <a:pt x="29" y="5"/>
                </a:cubicBezTo>
                <a:cubicBezTo>
                  <a:pt x="28" y="5"/>
                  <a:pt x="28" y="5"/>
                  <a:pt x="28" y="5"/>
                </a:cubicBezTo>
                <a:cubicBezTo>
                  <a:pt x="28" y="5"/>
                  <a:pt x="28" y="5"/>
                  <a:pt x="28" y="5"/>
                </a:cubicBezTo>
                <a:cubicBezTo>
                  <a:pt x="28" y="6"/>
                  <a:pt x="27" y="6"/>
                  <a:pt x="27" y="6"/>
                </a:cubicBezTo>
                <a:cubicBezTo>
                  <a:pt x="26" y="7"/>
                  <a:pt x="25" y="8"/>
                  <a:pt x="24" y="7"/>
                </a:cubicBezTo>
                <a:cubicBezTo>
                  <a:pt x="23" y="7"/>
                  <a:pt x="23" y="7"/>
                  <a:pt x="23" y="7"/>
                </a:cubicBezTo>
                <a:cubicBezTo>
                  <a:pt x="23" y="7"/>
                  <a:pt x="22" y="7"/>
                  <a:pt x="22" y="7"/>
                </a:cubicBezTo>
                <a:cubicBezTo>
                  <a:pt x="21" y="7"/>
                  <a:pt x="21" y="7"/>
                  <a:pt x="21" y="7"/>
                </a:cubicBezTo>
                <a:cubicBezTo>
                  <a:pt x="21" y="7"/>
                  <a:pt x="21" y="7"/>
                  <a:pt x="20" y="7"/>
                </a:cubicBezTo>
                <a:cubicBezTo>
                  <a:pt x="20" y="7"/>
                  <a:pt x="20" y="7"/>
                  <a:pt x="20" y="7"/>
                </a:cubicBezTo>
                <a:cubicBezTo>
                  <a:pt x="20" y="8"/>
                  <a:pt x="20" y="8"/>
                  <a:pt x="20" y="8"/>
                </a:cubicBezTo>
                <a:cubicBezTo>
                  <a:pt x="19" y="8"/>
                  <a:pt x="19" y="8"/>
                  <a:pt x="19" y="8"/>
                </a:cubicBezTo>
                <a:cubicBezTo>
                  <a:pt x="19" y="8"/>
                  <a:pt x="19" y="9"/>
                  <a:pt x="19" y="9"/>
                </a:cubicBezTo>
                <a:cubicBezTo>
                  <a:pt x="19" y="9"/>
                  <a:pt x="19" y="9"/>
                  <a:pt x="19" y="9"/>
                </a:cubicBezTo>
                <a:cubicBezTo>
                  <a:pt x="18" y="9"/>
                  <a:pt x="18" y="10"/>
                  <a:pt x="18" y="10"/>
                </a:cubicBezTo>
                <a:cubicBezTo>
                  <a:pt x="17" y="10"/>
                  <a:pt x="17" y="10"/>
                  <a:pt x="17" y="10"/>
                </a:cubicBezTo>
                <a:cubicBezTo>
                  <a:pt x="16" y="10"/>
                  <a:pt x="16" y="10"/>
                  <a:pt x="16" y="10"/>
                </a:cubicBezTo>
                <a:cubicBezTo>
                  <a:pt x="16" y="10"/>
                  <a:pt x="16" y="10"/>
                  <a:pt x="15" y="10"/>
                </a:cubicBezTo>
                <a:cubicBezTo>
                  <a:pt x="15" y="10"/>
                  <a:pt x="14" y="10"/>
                  <a:pt x="14" y="10"/>
                </a:cubicBezTo>
                <a:cubicBezTo>
                  <a:pt x="13" y="10"/>
                  <a:pt x="13" y="10"/>
                  <a:pt x="13" y="10"/>
                </a:cubicBezTo>
                <a:cubicBezTo>
                  <a:pt x="12" y="10"/>
                  <a:pt x="12" y="10"/>
                  <a:pt x="12" y="10"/>
                </a:cubicBezTo>
                <a:cubicBezTo>
                  <a:pt x="12" y="10"/>
                  <a:pt x="12" y="10"/>
                  <a:pt x="11" y="10"/>
                </a:cubicBezTo>
                <a:cubicBezTo>
                  <a:pt x="11" y="11"/>
                  <a:pt x="11" y="11"/>
                  <a:pt x="11" y="11"/>
                </a:cubicBezTo>
                <a:cubicBezTo>
                  <a:pt x="11" y="11"/>
                  <a:pt x="11" y="11"/>
                  <a:pt x="11" y="11"/>
                </a:cubicBezTo>
                <a:cubicBezTo>
                  <a:pt x="11" y="11"/>
                  <a:pt x="11" y="11"/>
                  <a:pt x="11" y="11"/>
                </a:cubicBezTo>
                <a:cubicBezTo>
                  <a:pt x="11" y="13"/>
                  <a:pt x="10" y="14"/>
                  <a:pt x="9" y="14"/>
                </a:cubicBezTo>
                <a:cubicBezTo>
                  <a:pt x="9" y="15"/>
                  <a:pt x="9" y="15"/>
                  <a:pt x="8" y="15"/>
                </a:cubicBezTo>
                <a:cubicBezTo>
                  <a:pt x="8" y="16"/>
                  <a:pt x="8" y="17"/>
                  <a:pt x="7" y="17"/>
                </a:cubicBezTo>
                <a:cubicBezTo>
                  <a:pt x="7" y="17"/>
                  <a:pt x="7" y="17"/>
                  <a:pt x="7" y="17"/>
                </a:cubicBezTo>
                <a:cubicBezTo>
                  <a:pt x="7" y="18"/>
                  <a:pt x="7" y="18"/>
                  <a:pt x="7" y="19"/>
                </a:cubicBezTo>
                <a:cubicBezTo>
                  <a:pt x="7" y="19"/>
                  <a:pt x="7" y="19"/>
                  <a:pt x="7" y="19"/>
                </a:cubicBezTo>
                <a:cubicBezTo>
                  <a:pt x="6" y="20"/>
                  <a:pt x="5" y="20"/>
                  <a:pt x="5" y="20"/>
                </a:cubicBezTo>
                <a:cubicBezTo>
                  <a:pt x="4" y="20"/>
                  <a:pt x="4" y="20"/>
                  <a:pt x="4" y="20"/>
                </a:cubicBezTo>
                <a:cubicBezTo>
                  <a:pt x="4" y="20"/>
                  <a:pt x="4" y="20"/>
                  <a:pt x="4" y="20"/>
                </a:cubicBezTo>
                <a:cubicBezTo>
                  <a:pt x="4" y="20"/>
                  <a:pt x="4" y="20"/>
                  <a:pt x="4" y="20"/>
                </a:cubicBezTo>
                <a:cubicBezTo>
                  <a:pt x="4" y="21"/>
                  <a:pt x="4" y="21"/>
                  <a:pt x="4" y="21"/>
                </a:cubicBezTo>
                <a:cubicBezTo>
                  <a:pt x="4" y="21"/>
                  <a:pt x="4" y="21"/>
                  <a:pt x="4" y="22"/>
                </a:cubicBezTo>
                <a:cubicBezTo>
                  <a:pt x="5" y="24"/>
                  <a:pt x="5" y="24"/>
                  <a:pt x="5" y="24"/>
                </a:cubicBezTo>
                <a:cubicBezTo>
                  <a:pt x="3" y="23"/>
                  <a:pt x="3" y="23"/>
                  <a:pt x="3" y="23"/>
                </a:cubicBezTo>
                <a:cubicBezTo>
                  <a:pt x="3" y="23"/>
                  <a:pt x="3" y="24"/>
                  <a:pt x="3" y="24"/>
                </a:cubicBezTo>
                <a:cubicBezTo>
                  <a:pt x="3" y="24"/>
                  <a:pt x="3" y="25"/>
                  <a:pt x="2" y="25"/>
                </a:cubicBezTo>
                <a:cubicBezTo>
                  <a:pt x="2" y="25"/>
                  <a:pt x="2" y="25"/>
                  <a:pt x="2" y="25"/>
                </a:cubicBezTo>
                <a:cubicBezTo>
                  <a:pt x="1" y="25"/>
                  <a:pt x="1" y="25"/>
                  <a:pt x="1" y="25"/>
                </a:cubicBezTo>
                <a:cubicBezTo>
                  <a:pt x="1" y="25"/>
                  <a:pt x="1" y="25"/>
                  <a:pt x="0" y="25"/>
                </a:cubicBezTo>
                <a:cubicBezTo>
                  <a:pt x="1" y="26"/>
                  <a:pt x="2" y="27"/>
                  <a:pt x="2" y="28"/>
                </a:cubicBezTo>
                <a:cubicBezTo>
                  <a:pt x="4" y="29"/>
                  <a:pt x="5" y="30"/>
                  <a:pt x="6" y="31"/>
                </a:cubicBezTo>
                <a:cubicBezTo>
                  <a:pt x="7" y="31"/>
                  <a:pt x="7" y="32"/>
                  <a:pt x="7" y="32"/>
                </a:cubicBezTo>
                <a:cubicBezTo>
                  <a:pt x="7" y="32"/>
                  <a:pt x="7" y="30"/>
                  <a:pt x="8" y="30"/>
                </a:cubicBezTo>
                <a:cubicBezTo>
                  <a:pt x="9" y="31"/>
                  <a:pt x="11" y="31"/>
                  <a:pt x="11" y="32"/>
                </a:cubicBezTo>
                <a:cubicBezTo>
                  <a:pt x="10" y="32"/>
                  <a:pt x="10" y="33"/>
                  <a:pt x="10" y="33"/>
                </a:cubicBezTo>
                <a:cubicBezTo>
                  <a:pt x="10" y="33"/>
                  <a:pt x="9" y="33"/>
                  <a:pt x="9" y="32"/>
                </a:cubicBezTo>
                <a:cubicBezTo>
                  <a:pt x="8" y="32"/>
                  <a:pt x="9" y="33"/>
                  <a:pt x="8" y="33"/>
                </a:cubicBezTo>
                <a:cubicBezTo>
                  <a:pt x="7" y="33"/>
                  <a:pt x="6" y="32"/>
                  <a:pt x="7" y="33"/>
                </a:cubicBezTo>
                <a:cubicBezTo>
                  <a:pt x="6" y="34"/>
                  <a:pt x="7" y="34"/>
                  <a:pt x="7" y="35"/>
                </a:cubicBezTo>
                <a:cubicBezTo>
                  <a:pt x="8" y="36"/>
                  <a:pt x="9" y="36"/>
                  <a:pt x="10" y="37"/>
                </a:cubicBezTo>
                <a:cubicBezTo>
                  <a:pt x="10" y="38"/>
                  <a:pt x="10" y="38"/>
                  <a:pt x="10" y="39"/>
                </a:cubicBezTo>
                <a:cubicBezTo>
                  <a:pt x="10" y="39"/>
                  <a:pt x="10" y="39"/>
                  <a:pt x="10" y="39"/>
                </a:cubicBezTo>
                <a:cubicBezTo>
                  <a:pt x="10" y="39"/>
                  <a:pt x="10" y="39"/>
                  <a:pt x="10" y="40"/>
                </a:cubicBezTo>
                <a:cubicBezTo>
                  <a:pt x="11" y="39"/>
                  <a:pt x="12" y="39"/>
                  <a:pt x="13" y="38"/>
                </a:cubicBezTo>
                <a:cubicBezTo>
                  <a:pt x="13" y="38"/>
                  <a:pt x="13" y="38"/>
                  <a:pt x="13" y="38"/>
                </a:cubicBezTo>
                <a:cubicBezTo>
                  <a:pt x="13" y="38"/>
                  <a:pt x="14" y="40"/>
                  <a:pt x="14" y="40"/>
                </a:cubicBezTo>
                <a:cubicBezTo>
                  <a:pt x="15" y="40"/>
                  <a:pt x="17" y="40"/>
                  <a:pt x="18" y="39"/>
                </a:cubicBezTo>
                <a:cubicBezTo>
                  <a:pt x="20" y="39"/>
                  <a:pt x="21" y="39"/>
                  <a:pt x="23" y="39"/>
                </a:cubicBezTo>
                <a:cubicBezTo>
                  <a:pt x="24" y="39"/>
                  <a:pt x="26" y="39"/>
                  <a:pt x="27" y="40"/>
                </a:cubicBezTo>
                <a:cubicBezTo>
                  <a:pt x="29" y="40"/>
                  <a:pt x="30" y="41"/>
                  <a:pt x="32" y="42"/>
                </a:cubicBezTo>
                <a:cubicBezTo>
                  <a:pt x="32" y="43"/>
                  <a:pt x="30" y="44"/>
                  <a:pt x="29" y="44"/>
                </a:cubicBezTo>
                <a:cubicBezTo>
                  <a:pt x="28" y="44"/>
                  <a:pt x="28" y="44"/>
                  <a:pt x="27" y="44"/>
                </a:cubicBezTo>
                <a:cubicBezTo>
                  <a:pt x="25" y="43"/>
                  <a:pt x="23" y="42"/>
                  <a:pt x="22" y="41"/>
                </a:cubicBezTo>
                <a:cubicBezTo>
                  <a:pt x="21" y="41"/>
                  <a:pt x="20" y="40"/>
                  <a:pt x="19" y="40"/>
                </a:cubicBezTo>
                <a:cubicBezTo>
                  <a:pt x="17" y="40"/>
                  <a:pt x="14" y="42"/>
                  <a:pt x="13" y="43"/>
                </a:cubicBezTo>
                <a:cubicBezTo>
                  <a:pt x="12" y="43"/>
                  <a:pt x="12" y="44"/>
                  <a:pt x="12" y="44"/>
                </a:cubicBezTo>
                <a:cubicBezTo>
                  <a:pt x="11" y="44"/>
                  <a:pt x="11" y="44"/>
                  <a:pt x="11" y="45"/>
                </a:cubicBezTo>
                <a:cubicBezTo>
                  <a:pt x="10" y="46"/>
                  <a:pt x="12" y="47"/>
                  <a:pt x="13" y="48"/>
                </a:cubicBezTo>
                <a:cubicBezTo>
                  <a:pt x="14" y="49"/>
                  <a:pt x="17" y="50"/>
                  <a:pt x="16" y="53"/>
                </a:cubicBezTo>
                <a:cubicBezTo>
                  <a:pt x="16" y="53"/>
                  <a:pt x="15" y="53"/>
                  <a:pt x="15" y="54"/>
                </a:cubicBezTo>
                <a:cubicBezTo>
                  <a:pt x="15" y="55"/>
                  <a:pt x="16" y="56"/>
                  <a:pt x="16" y="56"/>
                </a:cubicBezTo>
                <a:cubicBezTo>
                  <a:pt x="16" y="56"/>
                  <a:pt x="16" y="57"/>
                  <a:pt x="17" y="58"/>
                </a:cubicBezTo>
                <a:cubicBezTo>
                  <a:pt x="18" y="58"/>
                  <a:pt x="19" y="56"/>
                  <a:pt x="19" y="56"/>
                </a:cubicBezTo>
                <a:cubicBezTo>
                  <a:pt x="19" y="56"/>
                  <a:pt x="19" y="56"/>
                  <a:pt x="19" y="55"/>
                </a:cubicBezTo>
                <a:cubicBezTo>
                  <a:pt x="22" y="54"/>
                  <a:pt x="24" y="61"/>
                  <a:pt x="25" y="63"/>
                </a:cubicBezTo>
                <a:cubicBezTo>
                  <a:pt x="25" y="62"/>
                  <a:pt x="24" y="61"/>
                  <a:pt x="25" y="60"/>
                </a:cubicBezTo>
                <a:cubicBezTo>
                  <a:pt x="25" y="60"/>
                  <a:pt x="25" y="59"/>
                  <a:pt x="25" y="59"/>
                </a:cubicBezTo>
                <a:cubicBezTo>
                  <a:pt x="25" y="59"/>
                  <a:pt x="25" y="58"/>
                  <a:pt x="25" y="58"/>
                </a:cubicBezTo>
                <a:cubicBezTo>
                  <a:pt x="27" y="57"/>
                  <a:pt x="31" y="61"/>
                  <a:pt x="32" y="62"/>
                </a:cubicBezTo>
                <a:cubicBezTo>
                  <a:pt x="30" y="58"/>
                  <a:pt x="29" y="54"/>
                  <a:pt x="27" y="49"/>
                </a:cubicBezTo>
                <a:cubicBezTo>
                  <a:pt x="28" y="50"/>
                  <a:pt x="31" y="51"/>
                  <a:pt x="31" y="52"/>
                </a:cubicBezTo>
                <a:cubicBezTo>
                  <a:pt x="31" y="52"/>
                  <a:pt x="32" y="52"/>
                  <a:pt x="33" y="51"/>
                </a:cubicBezTo>
                <a:cubicBezTo>
                  <a:pt x="34" y="51"/>
                  <a:pt x="35" y="51"/>
                  <a:pt x="34" y="49"/>
                </a:cubicBezTo>
                <a:cubicBezTo>
                  <a:pt x="34" y="49"/>
                  <a:pt x="34" y="48"/>
                  <a:pt x="34" y="48"/>
                </a:cubicBezTo>
                <a:cubicBezTo>
                  <a:pt x="34" y="48"/>
                  <a:pt x="33" y="48"/>
                  <a:pt x="32" y="48"/>
                </a:cubicBezTo>
                <a:cubicBezTo>
                  <a:pt x="32" y="49"/>
                  <a:pt x="31" y="46"/>
                  <a:pt x="31" y="46"/>
                </a:cubicBezTo>
                <a:cubicBezTo>
                  <a:pt x="30" y="46"/>
                  <a:pt x="30" y="46"/>
                  <a:pt x="30" y="45"/>
                </a:cubicBezTo>
                <a:cubicBezTo>
                  <a:pt x="30" y="44"/>
                  <a:pt x="33" y="44"/>
                  <a:pt x="34" y="44"/>
                </a:cubicBezTo>
                <a:cubicBezTo>
                  <a:pt x="35" y="44"/>
                  <a:pt x="35" y="43"/>
                  <a:pt x="36" y="43"/>
                </a:cubicBezTo>
                <a:cubicBezTo>
                  <a:pt x="36" y="43"/>
                  <a:pt x="35" y="44"/>
                  <a:pt x="36" y="44"/>
                </a:cubicBezTo>
                <a:cubicBezTo>
                  <a:pt x="36" y="44"/>
                  <a:pt x="36" y="44"/>
                  <a:pt x="36" y="44"/>
                </a:cubicBezTo>
                <a:cubicBezTo>
                  <a:pt x="36" y="44"/>
                  <a:pt x="37" y="44"/>
                  <a:pt x="37" y="44"/>
                </a:cubicBezTo>
                <a:cubicBezTo>
                  <a:pt x="37" y="45"/>
                  <a:pt x="37" y="46"/>
                  <a:pt x="38" y="46"/>
                </a:cubicBezTo>
                <a:cubicBezTo>
                  <a:pt x="38" y="46"/>
                  <a:pt x="38" y="46"/>
                  <a:pt x="39" y="46"/>
                </a:cubicBezTo>
                <a:cubicBezTo>
                  <a:pt x="39" y="46"/>
                  <a:pt x="39" y="47"/>
                  <a:pt x="39" y="47"/>
                </a:cubicBezTo>
                <a:cubicBezTo>
                  <a:pt x="39" y="47"/>
                  <a:pt x="39" y="48"/>
                  <a:pt x="40" y="48"/>
                </a:cubicBezTo>
                <a:cubicBezTo>
                  <a:pt x="41" y="48"/>
                  <a:pt x="41" y="47"/>
                  <a:pt x="41" y="46"/>
                </a:cubicBezTo>
                <a:cubicBezTo>
                  <a:pt x="41" y="45"/>
                  <a:pt x="39" y="42"/>
                  <a:pt x="41" y="42"/>
                </a:cubicBezTo>
                <a:cubicBezTo>
                  <a:pt x="41" y="41"/>
                  <a:pt x="33" y="38"/>
                  <a:pt x="32" y="37"/>
                </a:cubicBezTo>
                <a:cubicBezTo>
                  <a:pt x="31" y="36"/>
                  <a:pt x="30" y="35"/>
                  <a:pt x="29" y="34"/>
                </a:cubicBezTo>
                <a:cubicBezTo>
                  <a:pt x="28" y="34"/>
                  <a:pt x="28" y="34"/>
                  <a:pt x="27" y="34"/>
                </a:cubicBezTo>
                <a:cubicBezTo>
                  <a:pt x="27" y="34"/>
                  <a:pt x="26" y="34"/>
                  <a:pt x="25" y="33"/>
                </a:cubicBezTo>
                <a:cubicBezTo>
                  <a:pt x="27" y="33"/>
                  <a:pt x="28" y="32"/>
                  <a:pt x="30" y="32"/>
                </a:cubicBezTo>
                <a:cubicBezTo>
                  <a:pt x="29" y="31"/>
                  <a:pt x="29" y="30"/>
                  <a:pt x="29" y="30"/>
                </a:cubicBezTo>
                <a:cubicBezTo>
                  <a:pt x="28" y="30"/>
                  <a:pt x="28" y="30"/>
                  <a:pt x="28" y="30"/>
                </a:cubicBezTo>
                <a:cubicBezTo>
                  <a:pt x="27" y="29"/>
                  <a:pt x="30" y="27"/>
                  <a:pt x="31" y="28"/>
                </a:cubicBezTo>
                <a:cubicBezTo>
                  <a:pt x="31" y="28"/>
                  <a:pt x="32" y="28"/>
                  <a:pt x="32" y="29"/>
                </a:cubicBezTo>
                <a:cubicBezTo>
                  <a:pt x="32" y="30"/>
                  <a:pt x="32" y="29"/>
                  <a:pt x="31" y="30"/>
                </a:cubicBezTo>
                <a:cubicBezTo>
                  <a:pt x="31" y="31"/>
                  <a:pt x="31" y="31"/>
                  <a:pt x="31" y="30"/>
                </a:cubicBezTo>
                <a:cubicBezTo>
                  <a:pt x="31" y="30"/>
                  <a:pt x="31" y="30"/>
                  <a:pt x="30" y="31"/>
                </a:cubicBezTo>
                <a:cubicBezTo>
                  <a:pt x="31" y="31"/>
                  <a:pt x="32" y="30"/>
                  <a:pt x="32" y="30"/>
                </a:cubicBezTo>
                <a:cubicBezTo>
                  <a:pt x="33" y="30"/>
                  <a:pt x="34" y="30"/>
                  <a:pt x="33" y="29"/>
                </a:cubicBezTo>
                <a:cubicBezTo>
                  <a:pt x="30" y="26"/>
                  <a:pt x="28" y="23"/>
                  <a:pt x="26" y="20"/>
                </a:cubicBezTo>
                <a:cubicBezTo>
                  <a:pt x="26" y="19"/>
                  <a:pt x="25" y="19"/>
                  <a:pt x="25" y="18"/>
                </a:cubicBezTo>
                <a:cubicBezTo>
                  <a:pt x="25" y="17"/>
                  <a:pt x="26" y="14"/>
                  <a:pt x="27" y="13"/>
                </a:cubicBezTo>
                <a:cubicBezTo>
                  <a:pt x="27" y="13"/>
                  <a:pt x="28" y="13"/>
                  <a:pt x="28" y="13"/>
                </a:cubicBezTo>
                <a:cubicBezTo>
                  <a:pt x="28" y="13"/>
                  <a:pt x="28" y="12"/>
                  <a:pt x="28" y="12"/>
                </a:cubicBezTo>
                <a:cubicBezTo>
                  <a:pt x="30" y="12"/>
                  <a:pt x="29" y="13"/>
                  <a:pt x="28" y="14"/>
                </a:cubicBezTo>
                <a:cubicBezTo>
                  <a:pt x="28" y="14"/>
                  <a:pt x="28" y="14"/>
                  <a:pt x="28" y="14"/>
                </a:cubicBezTo>
                <a:cubicBezTo>
                  <a:pt x="28" y="14"/>
                  <a:pt x="30" y="15"/>
                  <a:pt x="30" y="16"/>
                </a:cubicBezTo>
                <a:cubicBezTo>
                  <a:pt x="31" y="16"/>
                  <a:pt x="32" y="16"/>
                  <a:pt x="33" y="17"/>
                </a:cubicBezTo>
                <a:cubicBezTo>
                  <a:pt x="33" y="17"/>
                  <a:pt x="33" y="18"/>
                  <a:pt x="33" y="19"/>
                </a:cubicBezTo>
                <a:cubicBezTo>
                  <a:pt x="33" y="19"/>
                  <a:pt x="34" y="19"/>
                  <a:pt x="34" y="20"/>
                </a:cubicBezTo>
                <a:cubicBezTo>
                  <a:pt x="35" y="20"/>
                  <a:pt x="36" y="21"/>
                  <a:pt x="37" y="21"/>
                </a:cubicBezTo>
                <a:cubicBezTo>
                  <a:pt x="36" y="19"/>
                  <a:pt x="34" y="19"/>
                  <a:pt x="33" y="17"/>
                </a:cubicBezTo>
                <a:cubicBezTo>
                  <a:pt x="35" y="17"/>
                  <a:pt x="37" y="17"/>
                  <a:pt x="38" y="18"/>
                </a:cubicBezTo>
                <a:cubicBezTo>
                  <a:pt x="38" y="19"/>
                  <a:pt x="38" y="19"/>
                  <a:pt x="38" y="20"/>
                </a:cubicBezTo>
                <a:cubicBezTo>
                  <a:pt x="38" y="20"/>
                  <a:pt x="39" y="20"/>
                  <a:pt x="39" y="20"/>
                </a:cubicBezTo>
                <a:cubicBezTo>
                  <a:pt x="39" y="20"/>
                  <a:pt x="39" y="20"/>
                  <a:pt x="40" y="20"/>
                </a:cubicBezTo>
                <a:cubicBezTo>
                  <a:pt x="39" y="19"/>
                  <a:pt x="35" y="15"/>
                  <a:pt x="39" y="15"/>
                </a:cubicBezTo>
                <a:cubicBezTo>
                  <a:pt x="40" y="15"/>
                  <a:pt x="40" y="16"/>
                  <a:pt x="41" y="16"/>
                </a:cubicBezTo>
                <a:cubicBezTo>
                  <a:pt x="39" y="15"/>
                  <a:pt x="38" y="14"/>
                  <a:pt x="37" y="11"/>
                </a:cubicBezTo>
                <a:cubicBezTo>
                  <a:pt x="40" y="10"/>
                  <a:pt x="43" y="8"/>
                  <a:pt x="46" y="9"/>
                </a:cubicBezTo>
                <a:cubicBezTo>
                  <a:pt x="47" y="9"/>
                  <a:pt x="48" y="9"/>
                  <a:pt x="49" y="9"/>
                </a:cubicBezTo>
                <a:cubicBezTo>
                  <a:pt x="50" y="9"/>
                  <a:pt x="51" y="7"/>
                  <a:pt x="52" y="8"/>
                </a:cubicBezTo>
                <a:cubicBezTo>
                  <a:pt x="54" y="8"/>
                  <a:pt x="56" y="9"/>
                  <a:pt x="57" y="10"/>
                </a:cubicBezTo>
                <a:cubicBezTo>
                  <a:pt x="58" y="10"/>
                  <a:pt x="59" y="10"/>
                  <a:pt x="60" y="10"/>
                </a:cubicBezTo>
                <a:close/>
              </a:path>
            </a:pathLst>
          </a:custGeom>
          <a:solidFill>
            <a:srgbClr val="00A5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52" name="Freeform 3109">
            <a:extLst>
              <a:ext uri="{FF2B5EF4-FFF2-40B4-BE49-F238E27FC236}">
                <a16:creationId xmlns:a16="http://schemas.microsoft.com/office/drawing/2014/main" id="{91075BD6-449A-4528-BD11-7475C46C0BF7}"/>
              </a:ext>
            </a:extLst>
          </p:cNvPr>
          <p:cNvSpPr>
            <a:spLocks/>
          </p:cNvSpPr>
          <p:nvPr/>
        </p:nvSpPr>
        <p:spPr bwMode="auto">
          <a:xfrm>
            <a:off x="3610075" y="3081886"/>
            <a:ext cx="72352" cy="47488"/>
          </a:xfrm>
          <a:custGeom>
            <a:avLst/>
            <a:gdLst>
              <a:gd name="T0" fmla="*/ 50 w 62"/>
              <a:gd name="T1" fmla="*/ 2 h 34"/>
              <a:gd name="T2" fmla="*/ 48 w 62"/>
              <a:gd name="T3" fmla="*/ 1 h 34"/>
              <a:gd name="T4" fmla="*/ 47 w 62"/>
              <a:gd name="T5" fmla="*/ 1 h 34"/>
              <a:gd name="T6" fmla="*/ 39 w 62"/>
              <a:gd name="T7" fmla="*/ 3 h 34"/>
              <a:gd name="T8" fmla="*/ 37 w 62"/>
              <a:gd name="T9" fmla="*/ 5 h 34"/>
              <a:gd name="T10" fmla="*/ 29 w 62"/>
              <a:gd name="T11" fmla="*/ 7 h 34"/>
              <a:gd name="T12" fmla="*/ 24 w 62"/>
              <a:gd name="T13" fmla="*/ 7 h 34"/>
              <a:gd name="T14" fmla="*/ 21 w 62"/>
              <a:gd name="T15" fmla="*/ 6 h 34"/>
              <a:gd name="T16" fmla="*/ 16 w 62"/>
              <a:gd name="T17" fmla="*/ 7 h 34"/>
              <a:gd name="T18" fmla="*/ 11 w 62"/>
              <a:gd name="T19" fmla="*/ 5 h 34"/>
              <a:gd name="T20" fmla="*/ 7 w 62"/>
              <a:gd name="T21" fmla="*/ 5 h 34"/>
              <a:gd name="T22" fmla="*/ 4 w 62"/>
              <a:gd name="T23" fmla="*/ 5 h 34"/>
              <a:gd name="T24" fmla="*/ 3 w 62"/>
              <a:gd name="T25" fmla="*/ 3 h 34"/>
              <a:gd name="T26" fmla="*/ 3 w 62"/>
              <a:gd name="T27" fmla="*/ 1 h 34"/>
              <a:gd name="T28" fmla="*/ 3 w 62"/>
              <a:gd name="T29" fmla="*/ 1 h 34"/>
              <a:gd name="T30" fmla="*/ 2 w 62"/>
              <a:gd name="T31" fmla="*/ 1 h 34"/>
              <a:gd name="T32" fmla="*/ 2 w 62"/>
              <a:gd name="T33" fmla="*/ 1 h 34"/>
              <a:gd name="T34" fmla="*/ 0 w 62"/>
              <a:gd name="T35" fmla="*/ 4 h 34"/>
              <a:gd name="T36" fmla="*/ 0 w 62"/>
              <a:gd name="T37" fmla="*/ 4 h 34"/>
              <a:gd name="T38" fmla="*/ 1 w 62"/>
              <a:gd name="T39" fmla="*/ 7 h 34"/>
              <a:gd name="T40" fmla="*/ 3 w 62"/>
              <a:gd name="T41" fmla="*/ 9 h 34"/>
              <a:gd name="T42" fmla="*/ 4 w 62"/>
              <a:gd name="T43" fmla="*/ 10 h 34"/>
              <a:gd name="T44" fmla="*/ 7 w 62"/>
              <a:gd name="T45" fmla="*/ 12 h 34"/>
              <a:gd name="T46" fmla="*/ 4 w 62"/>
              <a:gd name="T47" fmla="*/ 14 h 34"/>
              <a:gd name="T48" fmla="*/ 1 w 62"/>
              <a:gd name="T49" fmla="*/ 16 h 34"/>
              <a:gd name="T50" fmla="*/ 0 w 62"/>
              <a:gd name="T51" fmla="*/ 17 h 34"/>
              <a:gd name="T52" fmla="*/ 0 w 62"/>
              <a:gd name="T53" fmla="*/ 18 h 34"/>
              <a:gd name="T54" fmla="*/ 1 w 62"/>
              <a:gd name="T55" fmla="*/ 19 h 34"/>
              <a:gd name="T56" fmla="*/ 1 w 62"/>
              <a:gd name="T57" fmla="*/ 20 h 34"/>
              <a:gd name="T58" fmla="*/ 0 w 62"/>
              <a:gd name="T59" fmla="*/ 23 h 34"/>
              <a:gd name="T60" fmla="*/ 2 w 62"/>
              <a:gd name="T61" fmla="*/ 24 h 34"/>
              <a:gd name="T62" fmla="*/ 4 w 62"/>
              <a:gd name="T63" fmla="*/ 22 h 34"/>
              <a:gd name="T64" fmla="*/ 3 w 62"/>
              <a:gd name="T65" fmla="*/ 25 h 34"/>
              <a:gd name="T66" fmla="*/ 3 w 62"/>
              <a:gd name="T67" fmla="*/ 25 h 34"/>
              <a:gd name="T68" fmla="*/ 6 w 62"/>
              <a:gd name="T69" fmla="*/ 33 h 34"/>
              <a:gd name="T70" fmla="*/ 7 w 62"/>
              <a:gd name="T71" fmla="*/ 33 h 34"/>
              <a:gd name="T72" fmla="*/ 12 w 62"/>
              <a:gd name="T73" fmla="*/ 32 h 34"/>
              <a:gd name="T74" fmla="*/ 14 w 62"/>
              <a:gd name="T75" fmla="*/ 32 h 34"/>
              <a:gd name="T76" fmla="*/ 18 w 62"/>
              <a:gd name="T77" fmla="*/ 31 h 34"/>
              <a:gd name="T78" fmla="*/ 21 w 62"/>
              <a:gd name="T79" fmla="*/ 31 h 34"/>
              <a:gd name="T80" fmla="*/ 23 w 62"/>
              <a:gd name="T81" fmla="*/ 32 h 34"/>
              <a:gd name="T82" fmla="*/ 25 w 62"/>
              <a:gd name="T83" fmla="*/ 33 h 34"/>
              <a:gd name="T84" fmla="*/ 28 w 62"/>
              <a:gd name="T85" fmla="*/ 34 h 34"/>
              <a:gd name="T86" fmla="*/ 29 w 62"/>
              <a:gd name="T87" fmla="*/ 34 h 34"/>
              <a:gd name="T88" fmla="*/ 31 w 62"/>
              <a:gd name="T89" fmla="*/ 34 h 34"/>
              <a:gd name="T90" fmla="*/ 34 w 62"/>
              <a:gd name="T91" fmla="*/ 34 h 34"/>
              <a:gd name="T92" fmla="*/ 36 w 62"/>
              <a:gd name="T93" fmla="*/ 32 h 34"/>
              <a:gd name="T94" fmla="*/ 35 w 62"/>
              <a:gd name="T95" fmla="*/ 30 h 34"/>
              <a:gd name="T96" fmla="*/ 38 w 62"/>
              <a:gd name="T97" fmla="*/ 29 h 34"/>
              <a:gd name="T98" fmla="*/ 39 w 62"/>
              <a:gd name="T99" fmla="*/ 28 h 34"/>
              <a:gd name="T100" fmla="*/ 40 w 62"/>
              <a:gd name="T101" fmla="*/ 28 h 34"/>
              <a:gd name="T102" fmla="*/ 41 w 62"/>
              <a:gd name="T103" fmla="*/ 26 h 34"/>
              <a:gd name="T104" fmla="*/ 47 w 62"/>
              <a:gd name="T105" fmla="*/ 25 h 34"/>
              <a:gd name="T106" fmla="*/ 50 w 62"/>
              <a:gd name="T107" fmla="*/ 24 h 34"/>
              <a:gd name="T108" fmla="*/ 50 w 62"/>
              <a:gd name="T109" fmla="*/ 25 h 34"/>
              <a:gd name="T110" fmla="*/ 52 w 62"/>
              <a:gd name="T111" fmla="*/ 26 h 34"/>
              <a:gd name="T112" fmla="*/ 53 w 62"/>
              <a:gd name="T113" fmla="*/ 21 h 34"/>
              <a:gd name="T114" fmla="*/ 51 w 62"/>
              <a:gd name="T115" fmla="*/ 21 h 34"/>
              <a:gd name="T116" fmla="*/ 53 w 62"/>
              <a:gd name="T117" fmla="*/ 19 h 34"/>
              <a:gd name="T118" fmla="*/ 55 w 62"/>
              <a:gd name="T119" fmla="*/ 14 h 34"/>
              <a:gd name="T120" fmla="*/ 61 w 62"/>
              <a:gd name="T121" fmla="*/ 10 h 34"/>
              <a:gd name="T122" fmla="*/ 53 w 62"/>
              <a:gd name="T123"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2" h="34">
                <a:moveTo>
                  <a:pt x="53" y="3"/>
                </a:moveTo>
                <a:cubicBezTo>
                  <a:pt x="52" y="3"/>
                  <a:pt x="51" y="2"/>
                  <a:pt x="50" y="2"/>
                </a:cubicBezTo>
                <a:cubicBezTo>
                  <a:pt x="49" y="2"/>
                  <a:pt x="49" y="2"/>
                  <a:pt x="49" y="2"/>
                </a:cubicBezTo>
                <a:cubicBezTo>
                  <a:pt x="49" y="2"/>
                  <a:pt x="48" y="2"/>
                  <a:pt x="48" y="1"/>
                </a:cubicBezTo>
                <a:cubicBezTo>
                  <a:pt x="48" y="1"/>
                  <a:pt x="48" y="1"/>
                  <a:pt x="48" y="1"/>
                </a:cubicBezTo>
                <a:cubicBezTo>
                  <a:pt x="48" y="1"/>
                  <a:pt x="48" y="1"/>
                  <a:pt x="47" y="1"/>
                </a:cubicBezTo>
                <a:cubicBezTo>
                  <a:pt x="41" y="2"/>
                  <a:pt x="41" y="2"/>
                  <a:pt x="41" y="2"/>
                </a:cubicBezTo>
                <a:cubicBezTo>
                  <a:pt x="40" y="2"/>
                  <a:pt x="39" y="3"/>
                  <a:pt x="39" y="3"/>
                </a:cubicBezTo>
                <a:cubicBezTo>
                  <a:pt x="39" y="3"/>
                  <a:pt x="38" y="4"/>
                  <a:pt x="38" y="4"/>
                </a:cubicBezTo>
                <a:cubicBezTo>
                  <a:pt x="38" y="4"/>
                  <a:pt x="37" y="4"/>
                  <a:pt x="37" y="5"/>
                </a:cubicBezTo>
                <a:cubicBezTo>
                  <a:pt x="35" y="6"/>
                  <a:pt x="33" y="7"/>
                  <a:pt x="30" y="7"/>
                </a:cubicBezTo>
                <a:cubicBezTo>
                  <a:pt x="30" y="7"/>
                  <a:pt x="30" y="7"/>
                  <a:pt x="29" y="7"/>
                </a:cubicBezTo>
                <a:cubicBezTo>
                  <a:pt x="28" y="7"/>
                  <a:pt x="27" y="7"/>
                  <a:pt x="26" y="7"/>
                </a:cubicBezTo>
                <a:cubicBezTo>
                  <a:pt x="25" y="7"/>
                  <a:pt x="25" y="7"/>
                  <a:pt x="24" y="7"/>
                </a:cubicBezTo>
                <a:cubicBezTo>
                  <a:pt x="24" y="7"/>
                  <a:pt x="23" y="6"/>
                  <a:pt x="23" y="6"/>
                </a:cubicBezTo>
                <a:cubicBezTo>
                  <a:pt x="22" y="6"/>
                  <a:pt x="21" y="6"/>
                  <a:pt x="21" y="6"/>
                </a:cubicBezTo>
                <a:cubicBezTo>
                  <a:pt x="20" y="6"/>
                  <a:pt x="18" y="7"/>
                  <a:pt x="17" y="7"/>
                </a:cubicBezTo>
                <a:cubicBezTo>
                  <a:pt x="17" y="7"/>
                  <a:pt x="17" y="7"/>
                  <a:pt x="16" y="7"/>
                </a:cubicBezTo>
                <a:cubicBezTo>
                  <a:pt x="15" y="7"/>
                  <a:pt x="13" y="6"/>
                  <a:pt x="12" y="6"/>
                </a:cubicBezTo>
                <a:cubicBezTo>
                  <a:pt x="11" y="5"/>
                  <a:pt x="11" y="5"/>
                  <a:pt x="11" y="5"/>
                </a:cubicBezTo>
                <a:cubicBezTo>
                  <a:pt x="10" y="5"/>
                  <a:pt x="9" y="5"/>
                  <a:pt x="8" y="5"/>
                </a:cubicBezTo>
                <a:cubicBezTo>
                  <a:pt x="7" y="5"/>
                  <a:pt x="7" y="5"/>
                  <a:pt x="7" y="5"/>
                </a:cubicBezTo>
                <a:cubicBezTo>
                  <a:pt x="6" y="5"/>
                  <a:pt x="6" y="5"/>
                  <a:pt x="5" y="5"/>
                </a:cubicBezTo>
                <a:cubicBezTo>
                  <a:pt x="5" y="5"/>
                  <a:pt x="5" y="5"/>
                  <a:pt x="4" y="5"/>
                </a:cubicBezTo>
                <a:cubicBezTo>
                  <a:pt x="4" y="5"/>
                  <a:pt x="3" y="5"/>
                  <a:pt x="3" y="4"/>
                </a:cubicBezTo>
                <a:cubicBezTo>
                  <a:pt x="2" y="4"/>
                  <a:pt x="2" y="3"/>
                  <a:pt x="3" y="3"/>
                </a:cubicBezTo>
                <a:cubicBezTo>
                  <a:pt x="3" y="2"/>
                  <a:pt x="3" y="2"/>
                  <a:pt x="3" y="1"/>
                </a:cubicBezTo>
                <a:cubicBezTo>
                  <a:pt x="3" y="1"/>
                  <a:pt x="3" y="1"/>
                  <a:pt x="3" y="1"/>
                </a:cubicBezTo>
                <a:cubicBezTo>
                  <a:pt x="3" y="1"/>
                  <a:pt x="3" y="1"/>
                  <a:pt x="3" y="1"/>
                </a:cubicBezTo>
                <a:cubicBezTo>
                  <a:pt x="3" y="1"/>
                  <a:pt x="3" y="1"/>
                  <a:pt x="3" y="1"/>
                </a:cubicBezTo>
                <a:cubicBezTo>
                  <a:pt x="2" y="1"/>
                  <a:pt x="2" y="1"/>
                  <a:pt x="2" y="1"/>
                </a:cubicBezTo>
                <a:cubicBezTo>
                  <a:pt x="2" y="1"/>
                  <a:pt x="2" y="1"/>
                  <a:pt x="2" y="1"/>
                </a:cubicBezTo>
                <a:cubicBezTo>
                  <a:pt x="2" y="0"/>
                  <a:pt x="2" y="0"/>
                  <a:pt x="2" y="0"/>
                </a:cubicBezTo>
                <a:cubicBezTo>
                  <a:pt x="2" y="1"/>
                  <a:pt x="2" y="1"/>
                  <a:pt x="2" y="1"/>
                </a:cubicBezTo>
                <a:cubicBezTo>
                  <a:pt x="1" y="2"/>
                  <a:pt x="1" y="2"/>
                  <a:pt x="1" y="2"/>
                </a:cubicBezTo>
                <a:cubicBezTo>
                  <a:pt x="0" y="4"/>
                  <a:pt x="0" y="4"/>
                  <a:pt x="0" y="4"/>
                </a:cubicBezTo>
                <a:cubicBezTo>
                  <a:pt x="0" y="4"/>
                  <a:pt x="0" y="4"/>
                  <a:pt x="0" y="4"/>
                </a:cubicBezTo>
                <a:cubicBezTo>
                  <a:pt x="0" y="4"/>
                  <a:pt x="0" y="4"/>
                  <a:pt x="0" y="4"/>
                </a:cubicBezTo>
                <a:cubicBezTo>
                  <a:pt x="0" y="5"/>
                  <a:pt x="0" y="5"/>
                  <a:pt x="0" y="5"/>
                </a:cubicBezTo>
                <a:cubicBezTo>
                  <a:pt x="0" y="6"/>
                  <a:pt x="1" y="7"/>
                  <a:pt x="1" y="7"/>
                </a:cubicBezTo>
                <a:cubicBezTo>
                  <a:pt x="1" y="7"/>
                  <a:pt x="1" y="8"/>
                  <a:pt x="2" y="8"/>
                </a:cubicBezTo>
                <a:cubicBezTo>
                  <a:pt x="2" y="8"/>
                  <a:pt x="2" y="9"/>
                  <a:pt x="3" y="9"/>
                </a:cubicBezTo>
                <a:cubicBezTo>
                  <a:pt x="3" y="9"/>
                  <a:pt x="3" y="9"/>
                  <a:pt x="4" y="9"/>
                </a:cubicBezTo>
                <a:cubicBezTo>
                  <a:pt x="4" y="10"/>
                  <a:pt x="4" y="10"/>
                  <a:pt x="4" y="10"/>
                </a:cubicBezTo>
                <a:cubicBezTo>
                  <a:pt x="5" y="10"/>
                  <a:pt x="5" y="10"/>
                  <a:pt x="6" y="11"/>
                </a:cubicBezTo>
                <a:cubicBezTo>
                  <a:pt x="7" y="12"/>
                  <a:pt x="7" y="12"/>
                  <a:pt x="7" y="12"/>
                </a:cubicBezTo>
                <a:cubicBezTo>
                  <a:pt x="6" y="13"/>
                  <a:pt x="6" y="13"/>
                  <a:pt x="6" y="13"/>
                </a:cubicBezTo>
                <a:cubicBezTo>
                  <a:pt x="5" y="13"/>
                  <a:pt x="5" y="13"/>
                  <a:pt x="4" y="14"/>
                </a:cubicBezTo>
                <a:cubicBezTo>
                  <a:pt x="4" y="14"/>
                  <a:pt x="4" y="14"/>
                  <a:pt x="4" y="14"/>
                </a:cubicBezTo>
                <a:cubicBezTo>
                  <a:pt x="3" y="15"/>
                  <a:pt x="2" y="16"/>
                  <a:pt x="1" y="16"/>
                </a:cubicBezTo>
                <a:cubicBezTo>
                  <a:pt x="1" y="16"/>
                  <a:pt x="1" y="17"/>
                  <a:pt x="1" y="17"/>
                </a:cubicBezTo>
                <a:cubicBezTo>
                  <a:pt x="1" y="17"/>
                  <a:pt x="0" y="17"/>
                  <a:pt x="0" y="17"/>
                </a:cubicBezTo>
                <a:cubicBezTo>
                  <a:pt x="0" y="17"/>
                  <a:pt x="0" y="17"/>
                  <a:pt x="0" y="17"/>
                </a:cubicBezTo>
                <a:cubicBezTo>
                  <a:pt x="0" y="17"/>
                  <a:pt x="0" y="17"/>
                  <a:pt x="0" y="18"/>
                </a:cubicBezTo>
                <a:cubicBezTo>
                  <a:pt x="0" y="18"/>
                  <a:pt x="1" y="18"/>
                  <a:pt x="1" y="18"/>
                </a:cubicBezTo>
                <a:cubicBezTo>
                  <a:pt x="1" y="19"/>
                  <a:pt x="1" y="19"/>
                  <a:pt x="1" y="19"/>
                </a:cubicBezTo>
                <a:cubicBezTo>
                  <a:pt x="1" y="19"/>
                  <a:pt x="1" y="19"/>
                  <a:pt x="1" y="19"/>
                </a:cubicBezTo>
                <a:cubicBezTo>
                  <a:pt x="1" y="19"/>
                  <a:pt x="2" y="20"/>
                  <a:pt x="1" y="20"/>
                </a:cubicBezTo>
                <a:cubicBezTo>
                  <a:pt x="1" y="21"/>
                  <a:pt x="1" y="22"/>
                  <a:pt x="0" y="23"/>
                </a:cubicBezTo>
                <a:cubicBezTo>
                  <a:pt x="0" y="23"/>
                  <a:pt x="0" y="23"/>
                  <a:pt x="0" y="23"/>
                </a:cubicBezTo>
                <a:cubicBezTo>
                  <a:pt x="0" y="23"/>
                  <a:pt x="1" y="23"/>
                  <a:pt x="1" y="23"/>
                </a:cubicBezTo>
                <a:cubicBezTo>
                  <a:pt x="1" y="24"/>
                  <a:pt x="1" y="24"/>
                  <a:pt x="2" y="24"/>
                </a:cubicBezTo>
                <a:cubicBezTo>
                  <a:pt x="2" y="24"/>
                  <a:pt x="2" y="24"/>
                  <a:pt x="2" y="24"/>
                </a:cubicBezTo>
                <a:cubicBezTo>
                  <a:pt x="4" y="22"/>
                  <a:pt x="4" y="22"/>
                  <a:pt x="4" y="22"/>
                </a:cubicBezTo>
                <a:cubicBezTo>
                  <a:pt x="2" y="25"/>
                  <a:pt x="2" y="25"/>
                  <a:pt x="2" y="25"/>
                </a:cubicBezTo>
                <a:cubicBezTo>
                  <a:pt x="3" y="25"/>
                  <a:pt x="3" y="25"/>
                  <a:pt x="3" y="25"/>
                </a:cubicBezTo>
                <a:cubicBezTo>
                  <a:pt x="3" y="25"/>
                  <a:pt x="3" y="25"/>
                  <a:pt x="3" y="25"/>
                </a:cubicBezTo>
                <a:cubicBezTo>
                  <a:pt x="3" y="25"/>
                  <a:pt x="3" y="25"/>
                  <a:pt x="3" y="25"/>
                </a:cubicBezTo>
                <a:cubicBezTo>
                  <a:pt x="5" y="27"/>
                  <a:pt x="7" y="29"/>
                  <a:pt x="6" y="30"/>
                </a:cubicBezTo>
                <a:cubicBezTo>
                  <a:pt x="6" y="31"/>
                  <a:pt x="6" y="32"/>
                  <a:pt x="6" y="33"/>
                </a:cubicBezTo>
                <a:cubicBezTo>
                  <a:pt x="6" y="33"/>
                  <a:pt x="6" y="33"/>
                  <a:pt x="6" y="33"/>
                </a:cubicBezTo>
                <a:cubicBezTo>
                  <a:pt x="7" y="33"/>
                  <a:pt x="7" y="33"/>
                  <a:pt x="7" y="33"/>
                </a:cubicBezTo>
                <a:cubicBezTo>
                  <a:pt x="8" y="33"/>
                  <a:pt x="10" y="33"/>
                  <a:pt x="11" y="33"/>
                </a:cubicBezTo>
                <a:cubicBezTo>
                  <a:pt x="11" y="33"/>
                  <a:pt x="12" y="33"/>
                  <a:pt x="12" y="32"/>
                </a:cubicBezTo>
                <a:cubicBezTo>
                  <a:pt x="13" y="32"/>
                  <a:pt x="13" y="32"/>
                  <a:pt x="13" y="32"/>
                </a:cubicBezTo>
                <a:cubicBezTo>
                  <a:pt x="13" y="32"/>
                  <a:pt x="14" y="32"/>
                  <a:pt x="14" y="32"/>
                </a:cubicBezTo>
                <a:cubicBezTo>
                  <a:pt x="15" y="31"/>
                  <a:pt x="16" y="31"/>
                  <a:pt x="17" y="31"/>
                </a:cubicBezTo>
                <a:cubicBezTo>
                  <a:pt x="18" y="31"/>
                  <a:pt x="18" y="31"/>
                  <a:pt x="18" y="31"/>
                </a:cubicBezTo>
                <a:cubicBezTo>
                  <a:pt x="19" y="31"/>
                  <a:pt x="20" y="30"/>
                  <a:pt x="20" y="31"/>
                </a:cubicBezTo>
                <a:cubicBezTo>
                  <a:pt x="21" y="31"/>
                  <a:pt x="21" y="31"/>
                  <a:pt x="21" y="31"/>
                </a:cubicBezTo>
                <a:cubicBezTo>
                  <a:pt x="21" y="31"/>
                  <a:pt x="21" y="31"/>
                  <a:pt x="21" y="31"/>
                </a:cubicBezTo>
                <a:cubicBezTo>
                  <a:pt x="22" y="31"/>
                  <a:pt x="23" y="32"/>
                  <a:pt x="23" y="32"/>
                </a:cubicBezTo>
                <a:cubicBezTo>
                  <a:pt x="23" y="33"/>
                  <a:pt x="23" y="33"/>
                  <a:pt x="23" y="33"/>
                </a:cubicBezTo>
                <a:cubicBezTo>
                  <a:pt x="24" y="33"/>
                  <a:pt x="24" y="33"/>
                  <a:pt x="25" y="33"/>
                </a:cubicBezTo>
                <a:cubicBezTo>
                  <a:pt x="26" y="33"/>
                  <a:pt x="26" y="33"/>
                  <a:pt x="26" y="34"/>
                </a:cubicBezTo>
                <a:cubicBezTo>
                  <a:pt x="26" y="34"/>
                  <a:pt x="27" y="34"/>
                  <a:pt x="28" y="34"/>
                </a:cubicBezTo>
                <a:cubicBezTo>
                  <a:pt x="28" y="34"/>
                  <a:pt x="28" y="34"/>
                  <a:pt x="28" y="34"/>
                </a:cubicBezTo>
                <a:cubicBezTo>
                  <a:pt x="28" y="34"/>
                  <a:pt x="29" y="34"/>
                  <a:pt x="29" y="34"/>
                </a:cubicBezTo>
                <a:cubicBezTo>
                  <a:pt x="31" y="34"/>
                  <a:pt x="31" y="34"/>
                  <a:pt x="31" y="34"/>
                </a:cubicBezTo>
                <a:cubicBezTo>
                  <a:pt x="31" y="34"/>
                  <a:pt x="31" y="34"/>
                  <a:pt x="31" y="34"/>
                </a:cubicBezTo>
                <a:cubicBezTo>
                  <a:pt x="32" y="34"/>
                  <a:pt x="32" y="34"/>
                  <a:pt x="32" y="34"/>
                </a:cubicBezTo>
                <a:cubicBezTo>
                  <a:pt x="33" y="34"/>
                  <a:pt x="34" y="34"/>
                  <a:pt x="34" y="34"/>
                </a:cubicBezTo>
                <a:cubicBezTo>
                  <a:pt x="34" y="34"/>
                  <a:pt x="35" y="33"/>
                  <a:pt x="36" y="33"/>
                </a:cubicBezTo>
                <a:cubicBezTo>
                  <a:pt x="36" y="33"/>
                  <a:pt x="36" y="32"/>
                  <a:pt x="36" y="32"/>
                </a:cubicBezTo>
                <a:cubicBezTo>
                  <a:pt x="36" y="32"/>
                  <a:pt x="35" y="32"/>
                  <a:pt x="35" y="32"/>
                </a:cubicBezTo>
                <a:cubicBezTo>
                  <a:pt x="35" y="31"/>
                  <a:pt x="35" y="31"/>
                  <a:pt x="35" y="30"/>
                </a:cubicBezTo>
                <a:cubicBezTo>
                  <a:pt x="35" y="30"/>
                  <a:pt x="35" y="29"/>
                  <a:pt x="36" y="29"/>
                </a:cubicBezTo>
                <a:cubicBezTo>
                  <a:pt x="37" y="29"/>
                  <a:pt x="37" y="29"/>
                  <a:pt x="38" y="29"/>
                </a:cubicBezTo>
                <a:cubicBezTo>
                  <a:pt x="39" y="29"/>
                  <a:pt x="39" y="29"/>
                  <a:pt x="39" y="29"/>
                </a:cubicBezTo>
                <a:cubicBezTo>
                  <a:pt x="39" y="29"/>
                  <a:pt x="39" y="28"/>
                  <a:pt x="39" y="28"/>
                </a:cubicBezTo>
                <a:cubicBezTo>
                  <a:pt x="39" y="28"/>
                  <a:pt x="39" y="28"/>
                  <a:pt x="39" y="28"/>
                </a:cubicBezTo>
                <a:cubicBezTo>
                  <a:pt x="40" y="28"/>
                  <a:pt x="40" y="28"/>
                  <a:pt x="40" y="28"/>
                </a:cubicBezTo>
                <a:cubicBezTo>
                  <a:pt x="40" y="28"/>
                  <a:pt x="40" y="28"/>
                  <a:pt x="40" y="28"/>
                </a:cubicBezTo>
                <a:cubicBezTo>
                  <a:pt x="40" y="27"/>
                  <a:pt x="41" y="27"/>
                  <a:pt x="41" y="26"/>
                </a:cubicBezTo>
                <a:cubicBezTo>
                  <a:pt x="44" y="26"/>
                  <a:pt x="44" y="26"/>
                  <a:pt x="44" y="26"/>
                </a:cubicBezTo>
                <a:cubicBezTo>
                  <a:pt x="45" y="25"/>
                  <a:pt x="46" y="25"/>
                  <a:pt x="47" y="25"/>
                </a:cubicBezTo>
                <a:cubicBezTo>
                  <a:pt x="49" y="24"/>
                  <a:pt x="49" y="24"/>
                  <a:pt x="49" y="24"/>
                </a:cubicBezTo>
                <a:cubicBezTo>
                  <a:pt x="50" y="24"/>
                  <a:pt x="50" y="24"/>
                  <a:pt x="50" y="24"/>
                </a:cubicBezTo>
                <a:cubicBezTo>
                  <a:pt x="50" y="25"/>
                  <a:pt x="50" y="25"/>
                  <a:pt x="50" y="25"/>
                </a:cubicBezTo>
                <a:cubicBezTo>
                  <a:pt x="50" y="25"/>
                  <a:pt x="50" y="25"/>
                  <a:pt x="50" y="25"/>
                </a:cubicBezTo>
                <a:cubicBezTo>
                  <a:pt x="50" y="25"/>
                  <a:pt x="51" y="25"/>
                  <a:pt x="51" y="26"/>
                </a:cubicBezTo>
                <a:cubicBezTo>
                  <a:pt x="51" y="26"/>
                  <a:pt x="52" y="26"/>
                  <a:pt x="52" y="26"/>
                </a:cubicBezTo>
                <a:cubicBezTo>
                  <a:pt x="55" y="25"/>
                  <a:pt x="55" y="25"/>
                  <a:pt x="55" y="25"/>
                </a:cubicBezTo>
                <a:cubicBezTo>
                  <a:pt x="54" y="24"/>
                  <a:pt x="53" y="23"/>
                  <a:pt x="53" y="21"/>
                </a:cubicBezTo>
                <a:cubicBezTo>
                  <a:pt x="52" y="21"/>
                  <a:pt x="52" y="21"/>
                  <a:pt x="52" y="21"/>
                </a:cubicBezTo>
                <a:cubicBezTo>
                  <a:pt x="52" y="21"/>
                  <a:pt x="51" y="21"/>
                  <a:pt x="51" y="21"/>
                </a:cubicBezTo>
                <a:cubicBezTo>
                  <a:pt x="50" y="21"/>
                  <a:pt x="50" y="21"/>
                  <a:pt x="50" y="21"/>
                </a:cubicBezTo>
                <a:cubicBezTo>
                  <a:pt x="50" y="20"/>
                  <a:pt x="53" y="19"/>
                  <a:pt x="53" y="19"/>
                </a:cubicBezTo>
                <a:cubicBezTo>
                  <a:pt x="55" y="18"/>
                  <a:pt x="55" y="18"/>
                  <a:pt x="55" y="16"/>
                </a:cubicBezTo>
                <a:cubicBezTo>
                  <a:pt x="55" y="16"/>
                  <a:pt x="55" y="15"/>
                  <a:pt x="55" y="14"/>
                </a:cubicBezTo>
                <a:cubicBezTo>
                  <a:pt x="55" y="13"/>
                  <a:pt x="56" y="12"/>
                  <a:pt x="55" y="12"/>
                </a:cubicBezTo>
                <a:cubicBezTo>
                  <a:pt x="56" y="11"/>
                  <a:pt x="59" y="8"/>
                  <a:pt x="61" y="10"/>
                </a:cubicBezTo>
                <a:cubicBezTo>
                  <a:pt x="61" y="9"/>
                  <a:pt x="61" y="7"/>
                  <a:pt x="62" y="6"/>
                </a:cubicBezTo>
                <a:lnTo>
                  <a:pt x="53" y="3"/>
                </a:ln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53" name="Freeform 3110">
            <a:extLst>
              <a:ext uri="{FF2B5EF4-FFF2-40B4-BE49-F238E27FC236}">
                <a16:creationId xmlns:a16="http://schemas.microsoft.com/office/drawing/2014/main" id="{CD8B850B-3930-4E1C-BE97-554734E72ED6}"/>
              </a:ext>
            </a:extLst>
          </p:cNvPr>
          <p:cNvSpPr>
            <a:spLocks/>
          </p:cNvSpPr>
          <p:nvPr/>
        </p:nvSpPr>
        <p:spPr bwMode="auto">
          <a:xfrm>
            <a:off x="3652197" y="3119877"/>
            <a:ext cx="36176" cy="32054"/>
          </a:xfrm>
          <a:custGeom>
            <a:avLst/>
            <a:gdLst>
              <a:gd name="T0" fmla="*/ 22 w 31"/>
              <a:gd name="T1" fmla="*/ 5 h 23"/>
              <a:gd name="T2" fmla="*/ 20 w 31"/>
              <a:gd name="T3" fmla="*/ 1 h 23"/>
              <a:gd name="T4" fmla="*/ 16 w 31"/>
              <a:gd name="T5" fmla="*/ 1 h 23"/>
              <a:gd name="T6" fmla="*/ 13 w 31"/>
              <a:gd name="T7" fmla="*/ 0 h 23"/>
              <a:gd name="T8" fmla="*/ 13 w 31"/>
              <a:gd name="T9" fmla="*/ 0 h 23"/>
              <a:gd name="T10" fmla="*/ 13 w 31"/>
              <a:gd name="T11" fmla="*/ 0 h 23"/>
              <a:gd name="T12" fmla="*/ 12 w 31"/>
              <a:gd name="T13" fmla="*/ 0 h 23"/>
              <a:gd name="T14" fmla="*/ 9 w 31"/>
              <a:gd name="T15" fmla="*/ 1 h 23"/>
              <a:gd name="T16" fmla="*/ 6 w 31"/>
              <a:gd name="T17" fmla="*/ 2 h 23"/>
              <a:gd name="T18" fmla="*/ 6 w 31"/>
              <a:gd name="T19" fmla="*/ 2 h 23"/>
              <a:gd name="T20" fmla="*/ 6 w 31"/>
              <a:gd name="T21" fmla="*/ 2 h 23"/>
              <a:gd name="T22" fmla="*/ 5 w 31"/>
              <a:gd name="T23" fmla="*/ 3 h 23"/>
              <a:gd name="T24" fmla="*/ 6 w 31"/>
              <a:gd name="T25" fmla="*/ 3 h 23"/>
              <a:gd name="T26" fmla="*/ 6 w 31"/>
              <a:gd name="T27" fmla="*/ 3 h 23"/>
              <a:gd name="T28" fmla="*/ 7 w 31"/>
              <a:gd name="T29" fmla="*/ 4 h 23"/>
              <a:gd name="T30" fmla="*/ 7 w 31"/>
              <a:gd name="T31" fmla="*/ 7 h 23"/>
              <a:gd name="T32" fmla="*/ 5 w 31"/>
              <a:gd name="T33" fmla="*/ 9 h 23"/>
              <a:gd name="T34" fmla="*/ 4 w 31"/>
              <a:gd name="T35" fmla="*/ 9 h 23"/>
              <a:gd name="T36" fmla="*/ 4 w 31"/>
              <a:gd name="T37" fmla="*/ 9 h 23"/>
              <a:gd name="T38" fmla="*/ 4 w 31"/>
              <a:gd name="T39" fmla="*/ 10 h 23"/>
              <a:gd name="T40" fmla="*/ 4 w 31"/>
              <a:gd name="T41" fmla="*/ 10 h 23"/>
              <a:gd name="T42" fmla="*/ 4 w 31"/>
              <a:gd name="T43" fmla="*/ 12 h 23"/>
              <a:gd name="T44" fmla="*/ 4 w 31"/>
              <a:gd name="T45" fmla="*/ 12 h 23"/>
              <a:gd name="T46" fmla="*/ 3 w 31"/>
              <a:gd name="T47" fmla="*/ 13 h 23"/>
              <a:gd name="T48" fmla="*/ 3 w 31"/>
              <a:gd name="T49" fmla="*/ 14 h 23"/>
              <a:gd name="T50" fmla="*/ 1 w 31"/>
              <a:gd name="T51" fmla="*/ 16 h 23"/>
              <a:gd name="T52" fmla="*/ 0 w 31"/>
              <a:gd name="T53" fmla="*/ 16 h 23"/>
              <a:gd name="T54" fmla="*/ 5 w 31"/>
              <a:gd name="T55" fmla="*/ 16 h 23"/>
              <a:gd name="T56" fmla="*/ 7 w 31"/>
              <a:gd name="T57" fmla="*/ 17 h 23"/>
              <a:gd name="T58" fmla="*/ 6 w 31"/>
              <a:gd name="T59" fmla="*/ 18 h 23"/>
              <a:gd name="T60" fmla="*/ 2 w 31"/>
              <a:gd name="T61" fmla="*/ 20 h 23"/>
              <a:gd name="T62" fmla="*/ 1 w 31"/>
              <a:gd name="T63" fmla="*/ 23 h 23"/>
              <a:gd name="T64" fmla="*/ 12 w 31"/>
              <a:gd name="T65" fmla="*/ 15 h 23"/>
              <a:gd name="T66" fmla="*/ 17 w 31"/>
              <a:gd name="T67" fmla="*/ 12 h 23"/>
              <a:gd name="T68" fmla="*/ 24 w 31"/>
              <a:gd name="T69" fmla="*/ 11 h 23"/>
              <a:gd name="T70" fmla="*/ 27 w 31"/>
              <a:gd name="T71" fmla="*/ 12 h 23"/>
              <a:gd name="T72" fmla="*/ 27 w 31"/>
              <a:gd name="T73" fmla="*/ 11 h 23"/>
              <a:gd name="T74" fmla="*/ 30 w 31"/>
              <a:gd name="T75" fmla="*/ 9 h 23"/>
              <a:gd name="T76" fmla="*/ 31 w 31"/>
              <a:gd name="T77" fmla="*/ 9 h 23"/>
              <a:gd name="T78" fmla="*/ 31 w 31"/>
              <a:gd name="T79" fmla="*/ 9 h 23"/>
              <a:gd name="T80" fmla="*/ 29 w 31"/>
              <a:gd name="T81" fmla="*/ 8 h 23"/>
              <a:gd name="T82" fmla="*/ 22 w 31"/>
              <a:gd name="T83"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 h="23">
                <a:moveTo>
                  <a:pt x="22" y="5"/>
                </a:moveTo>
                <a:cubicBezTo>
                  <a:pt x="20" y="4"/>
                  <a:pt x="20" y="2"/>
                  <a:pt x="20" y="1"/>
                </a:cubicBezTo>
                <a:cubicBezTo>
                  <a:pt x="16" y="1"/>
                  <a:pt x="16" y="1"/>
                  <a:pt x="16" y="1"/>
                </a:cubicBezTo>
                <a:cubicBezTo>
                  <a:pt x="15" y="2"/>
                  <a:pt x="14" y="1"/>
                  <a:pt x="13" y="0"/>
                </a:cubicBezTo>
                <a:cubicBezTo>
                  <a:pt x="13" y="0"/>
                  <a:pt x="13" y="0"/>
                  <a:pt x="13" y="0"/>
                </a:cubicBezTo>
                <a:cubicBezTo>
                  <a:pt x="13" y="0"/>
                  <a:pt x="13" y="0"/>
                  <a:pt x="13" y="0"/>
                </a:cubicBezTo>
                <a:cubicBezTo>
                  <a:pt x="12" y="0"/>
                  <a:pt x="12" y="0"/>
                  <a:pt x="12" y="0"/>
                </a:cubicBezTo>
                <a:cubicBezTo>
                  <a:pt x="11" y="0"/>
                  <a:pt x="10" y="1"/>
                  <a:pt x="9" y="1"/>
                </a:cubicBezTo>
                <a:cubicBezTo>
                  <a:pt x="6" y="2"/>
                  <a:pt x="6" y="2"/>
                  <a:pt x="6" y="2"/>
                </a:cubicBezTo>
                <a:cubicBezTo>
                  <a:pt x="6" y="2"/>
                  <a:pt x="6" y="2"/>
                  <a:pt x="6" y="2"/>
                </a:cubicBezTo>
                <a:cubicBezTo>
                  <a:pt x="6" y="2"/>
                  <a:pt x="6" y="2"/>
                  <a:pt x="6" y="2"/>
                </a:cubicBezTo>
                <a:cubicBezTo>
                  <a:pt x="6" y="3"/>
                  <a:pt x="5" y="3"/>
                  <a:pt x="5" y="3"/>
                </a:cubicBezTo>
                <a:cubicBezTo>
                  <a:pt x="6" y="3"/>
                  <a:pt x="6" y="3"/>
                  <a:pt x="6" y="3"/>
                </a:cubicBezTo>
                <a:cubicBezTo>
                  <a:pt x="6" y="3"/>
                  <a:pt x="6" y="3"/>
                  <a:pt x="6" y="3"/>
                </a:cubicBezTo>
                <a:cubicBezTo>
                  <a:pt x="6" y="3"/>
                  <a:pt x="6" y="4"/>
                  <a:pt x="7" y="4"/>
                </a:cubicBezTo>
                <a:cubicBezTo>
                  <a:pt x="7" y="5"/>
                  <a:pt x="7" y="6"/>
                  <a:pt x="7" y="7"/>
                </a:cubicBezTo>
                <a:cubicBezTo>
                  <a:pt x="6" y="8"/>
                  <a:pt x="5" y="9"/>
                  <a:pt x="5" y="9"/>
                </a:cubicBezTo>
                <a:cubicBezTo>
                  <a:pt x="4" y="9"/>
                  <a:pt x="4" y="9"/>
                  <a:pt x="4" y="9"/>
                </a:cubicBezTo>
                <a:cubicBezTo>
                  <a:pt x="4" y="9"/>
                  <a:pt x="4" y="9"/>
                  <a:pt x="4" y="9"/>
                </a:cubicBezTo>
                <a:cubicBezTo>
                  <a:pt x="4" y="9"/>
                  <a:pt x="4" y="10"/>
                  <a:pt x="4" y="10"/>
                </a:cubicBezTo>
                <a:cubicBezTo>
                  <a:pt x="4" y="10"/>
                  <a:pt x="4" y="10"/>
                  <a:pt x="4" y="10"/>
                </a:cubicBezTo>
                <a:cubicBezTo>
                  <a:pt x="4" y="10"/>
                  <a:pt x="4" y="11"/>
                  <a:pt x="4" y="12"/>
                </a:cubicBezTo>
                <a:cubicBezTo>
                  <a:pt x="4" y="12"/>
                  <a:pt x="4" y="12"/>
                  <a:pt x="4" y="12"/>
                </a:cubicBezTo>
                <a:cubicBezTo>
                  <a:pt x="4" y="13"/>
                  <a:pt x="3" y="13"/>
                  <a:pt x="3" y="13"/>
                </a:cubicBezTo>
                <a:cubicBezTo>
                  <a:pt x="3" y="14"/>
                  <a:pt x="3" y="14"/>
                  <a:pt x="3" y="14"/>
                </a:cubicBezTo>
                <a:cubicBezTo>
                  <a:pt x="2" y="14"/>
                  <a:pt x="1" y="16"/>
                  <a:pt x="1" y="16"/>
                </a:cubicBezTo>
                <a:cubicBezTo>
                  <a:pt x="0" y="16"/>
                  <a:pt x="0" y="16"/>
                  <a:pt x="0" y="16"/>
                </a:cubicBezTo>
                <a:cubicBezTo>
                  <a:pt x="1" y="17"/>
                  <a:pt x="4" y="16"/>
                  <a:pt x="5" y="16"/>
                </a:cubicBezTo>
                <a:cubicBezTo>
                  <a:pt x="6" y="16"/>
                  <a:pt x="7" y="15"/>
                  <a:pt x="7" y="17"/>
                </a:cubicBezTo>
                <a:cubicBezTo>
                  <a:pt x="7" y="17"/>
                  <a:pt x="6" y="17"/>
                  <a:pt x="6" y="18"/>
                </a:cubicBezTo>
                <a:cubicBezTo>
                  <a:pt x="5" y="18"/>
                  <a:pt x="2" y="19"/>
                  <a:pt x="2" y="20"/>
                </a:cubicBezTo>
                <a:cubicBezTo>
                  <a:pt x="1" y="21"/>
                  <a:pt x="1" y="22"/>
                  <a:pt x="1" y="23"/>
                </a:cubicBezTo>
                <a:cubicBezTo>
                  <a:pt x="5" y="20"/>
                  <a:pt x="8" y="18"/>
                  <a:pt x="12" y="15"/>
                </a:cubicBezTo>
                <a:cubicBezTo>
                  <a:pt x="14" y="14"/>
                  <a:pt x="16" y="12"/>
                  <a:pt x="17" y="12"/>
                </a:cubicBezTo>
                <a:cubicBezTo>
                  <a:pt x="19" y="11"/>
                  <a:pt x="22" y="11"/>
                  <a:pt x="24" y="11"/>
                </a:cubicBezTo>
                <a:cubicBezTo>
                  <a:pt x="25" y="11"/>
                  <a:pt x="26" y="12"/>
                  <a:pt x="27" y="12"/>
                </a:cubicBezTo>
                <a:cubicBezTo>
                  <a:pt x="27" y="12"/>
                  <a:pt x="27" y="12"/>
                  <a:pt x="27" y="11"/>
                </a:cubicBezTo>
                <a:cubicBezTo>
                  <a:pt x="27" y="10"/>
                  <a:pt x="28" y="9"/>
                  <a:pt x="30" y="9"/>
                </a:cubicBezTo>
                <a:cubicBezTo>
                  <a:pt x="30" y="9"/>
                  <a:pt x="31" y="9"/>
                  <a:pt x="31" y="9"/>
                </a:cubicBezTo>
                <a:cubicBezTo>
                  <a:pt x="31" y="9"/>
                  <a:pt x="31" y="9"/>
                  <a:pt x="31" y="9"/>
                </a:cubicBezTo>
                <a:cubicBezTo>
                  <a:pt x="31" y="9"/>
                  <a:pt x="29" y="8"/>
                  <a:pt x="29" y="8"/>
                </a:cubicBezTo>
                <a:cubicBezTo>
                  <a:pt x="26" y="7"/>
                  <a:pt x="24" y="6"/>
                  <a:pt x="22" y="5"/>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54" name="Freeform 3111">
            <a:extLst>
              <a:ext uri="{FF2B5EF4-FFF2-40B4-BE49-F238E27FC236}">
                <a16:creationId xmlns:a16="http://schemas.microsoft.com/office/drawing/2014/main" id="{E2FE2BB6-0E44-43F2-99CC-90BCF7D34B08}"/>
              </a:ext>
            </a:extLst>
          </p:cNvPr>
          <p:cNvSpPr>
            <a:spLocks/>
          </p:cNvSpPr>
          <p:nvPr/>
        </p:nvSpPr>
        <p:spPr bwMode="auto">
          <a:xfrm>
            <a:off x="3567952" y="3046864"/>
            <a:ext cx="45592" cy="65889"/>
          </a:xfrm>
          <a:custGeom>
            <a:avLst/>
            <a:gdLst>
              <a:gd name="T0" fmla="*/ 38 w 39"/>
              <a:gd name="T1" fmla="*/ 36 h 47"/>
              <a:gd name="T2" fmla="*/ 35 w 39"/>
              <a:gd name="T3" fmla="*/ 34 h 47"/>
              <a:gd name="T4" fmla="*/ 33 w 39"/>
              <a:gd name="T5" fmla="*/ 30 h 47"/>
              <a:gd name="T6" fmla="*/ 36 w 39"/>
              <a:gd name="T7" fmla="*/ 25 h 47"/>
              <a:gd name="T8" fmla="*/ 35 w 39"/>
              <a:gd name="T9" fmla="*/ 20 h 47"/>
              <a:gd name="T10" fmla="*/ 34 w 39"/>
              <a:gd name="T11" fmla="*/ 21 h 47"/>
              <a:gd name="T12" fmla="*/ 34 w 39"/>
              <a:gd name="T13" fmla="*/ 21 h 47"/>
              <a:gd name="T14" fmla="*/ 33 w 39"/>
              <a:gd name="T15" fmla="*/ 22 h 47"/>
              <a:gd name="T16" fmla="*/ 32 w 39"/>
              <a:gd name="T17" fmla="*/ 22 h 47"/>
              <a:gd name="T18" fmla="*/ 29 w 39"/>
              <a:gd name="T19" fmla="*/ 20 h 47"/>
              <a:gd name="T20" fmla="*/ 25 w 39"/>
              <a:gd name="T21" fmla="*/ 15 h 47"/>
              <a:gd name="T22" fmla="*/ 24 w 39"/>
              <a:gd name="T23" fmla="*/ 13 h 47"/>
              <a:gd name="T24" fmla="*/ 20 w 39"/>
              <a:gd name="T25" fmla="*/ 11 h 47"/>
              <a:gd name="T26" fmla="*/ 19 w 39"/>
              <a:gd name="T27" fmla="*/ 10 h 47"/>
              <a:gd name="T28" fmla="*/ 18 w 39"/>
              <a:gd name="T29" fmla="*/ 9 h 47"/>
              <a:gd name="T30" fmla="*/ 17 w 39"/>
              <a:gd name="T31" fmla="*/ 9 h 47"/>
              <a:gd name="T32" fmla="*/ 17 w 39"/>
              <a:gd name="T33" fmla="*/ 7 h 47"/>
              <a:gd name="T34" fmla="*/ 12 w 39"/>
              <a:gd name="T35" fmla="*/ 1 h 47"/>
              <a:gd name="T36" fmla="*/ 8 w 39"/>
              <a:gd name="T37" fmla="*/ 0 h 47"/>
              <a:gd name="T38" fmla="*/ 0 w 39"/>
              <a:gd name="T39" fmla="*/ 3 h 47"/>
              <a:gd name="T40" fmla="*/ 0 w 39"/>
              <a:gd name="T41" fmla="*/ 6 h 47"/>
              <a:gd name="T42" fmla="*/ 2 w 39"/>
              <a:gd name="T43" fmla="*/ 8 h 47"/>
              <a:gd name="T44" fmla="*/ 4 w 39"/>
              <a:gd name="T45" fmla="*/ 12 h 47"/>
              <a:gd name="T46" fmla="*/ 2 w 39"/>
              <a:gd name="T47" fmla="*/ 13 h 47"/>
              <a:gd name="T48" fmla="*/ 5 w 39"/>
              <a:gd name="T49" fmla="*/ 14 h 47"/>
              <a:gd name="T50" fmla="*/ 4 w 39"/>
              <a:gd name="T51" fmla="*/ 18 h 47"/>
              <a:gd name="T52" fmla="*/ 3 w 39"/>
              <a:gd name="T53" fmla="*/ 20 h 47"/>
              <a:gd name="T54" fmla="*/ 3 w 39"/>
              <a:gd name="T55" fmla="*/ 22 h 47"/>
              <a:gd name="T56" fmla="*/ 5 w 39"/>
              <a:gd name="T57" fmla="*/ 24 h 47"/>
              <a:gd name="T58" fmla="*/ 6 w 39"/>
              <a:gd name="T59" fmla="*/ 24 h 47"/>
              <a:gd name="T60" fmla="*/ 7 w 39"/>
              <a:gd name="T61" fmla="*/ 27 h 47"/>
              <a:gd name="T62" fmla="*/ 6 w 39"/>
              <a:gd name="T63" fmla="*/ 28 h 47"/>
              <a:gd name="T64" fmla="*/ 5 w 39"/>
              <a:gd name="T65" fmla="*/ 28 h 47"/>
              <a:gd name="T66" fmla="*/ 6 w 39"/>
              <a:gd name="T67" fmla="*/ 30 h 47"/>
              <a:gd name="T68" fmla="*/ 6 w 39"/>
              <a:gd name="T69" fmla="*/ 32 h 47"/>
              <a:gd name="T70" fmla="*/ 5 w 39"/>
              <a:gd name="T71" fmla="*/ 33 h 47"/>
              <a:gd name="T72" fmla="*/ 16 w 39"/>
              <a:gd name="T73" fmla="*/ 38 h 47"/>
              <a:gd name="T74" fmla="*/ 16 w 39"/>
              <a:gd name="T75" fmla="*/ 35 h 47"/>
              <a:gd name="T76" fmla="*/ 18 w 39"/>
              <a:gd name="T77" fmla="*/ 34 h 47"/>
              <a:gd name="T78" fmla="*/ 20 w 39"/>
              <a:gd name="T79" fmla="*/ 35 h 47"/>
              <a:gd name="T80" fmla="*/ 26 w 39"/>
              <a:gd name="T81" fmla="*/ 41 h 47"/>
              <a:gd name="T82" fmla="*/ 29 w 39"/>
              <a:gd name="T83" fmla="*/ 42 h 47"/>
              <a:gd name="T84" fmla="*/ 28 w 39"/>
              <a:gd name="T85" fmla="*/ 47 h 47"/>
              <a:gd name="T86" fmla="*/ 34 w 39"/>
              <a:gd name="T87" fmla="*/ 46 h 47"/>
              <a:gd name="T88" fmla="*/ 35 w 39"/>
              <a:gd name="T89" fmla="*/ 45 h 47"/>
              <a:gd name="T90" fmla="*/ 34 w 39"/>
              <a:gd name="T91" fmla="*/ 41 h 47"/>
              <a:gd name="T92" fmla="*/ 36 w 39"/>
              <a:gd name="T93"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 h="47">
                <a:moveTo>
                  <a:pt x="39" y="37"/>
                </a:moveTo>
                <a:cubicBezTo>
                  <a:pt x="38" y="37"/>
                  <a:pt x="38" y="37"/>
                  <a:pt x="38" y="37"/>
                </a:cubicBezTo>
                <a:cubicBezTo>
                  <a:pt x="38" y="36"/>
                  <a:pt x="38" y="36"/>
                  <a:pt x="38" y="36"/>
                </a:cubicBezTo>
                <a:cubicBezTo>
                  <a:pt x="37" y="36"/>
                  <a:pt x="37" y="36"/>
                  <a:pt x="37" y="36"/>
                </a:cubicBezTo>
                <a:cubicBezTo>
                  <a:pt x="37" y="35"/>
                  <a:pt x="36" y="35"/>
                  <a:pt x="36" y="35"/>
                </a:cubicBezTo>
                <a:cubicBezTo>
                  <a:pt x="36" y="34"/>
                  <a:pt x="35" y="34"/>
                  <a:pt x="35" y="34"/>
                </a:cubicBezTo>
                <a:cubicBezTo>
                  <a:pt x="34" y="33"/>
                  <a:pt x="34" y="32"/>
                  <a:pt x="34" y="31"/>
                </a:cubicBezTo>
                <a:cubicBezTo>
                  <a:pt x="34" y="31"/>
                  <a:pt x="34" y="31"/>
                  <a:pt x="34" y="31"/>
                </a:cubicBezTo>
                <a:cubicBezTo>
                  <a:pt x="34" y="31"/>
                  <a:pt x="34" y="30"/>
                  <a:pt x="33" y="30"/>
                </a:cubicBezTo>
                <a:cubicBezTo>
                  <a:pt x="33" y="30"/>
                  <a:pt x="33" y="29"/>
                  <a:pt x="33" y="29"/>
                </a:cubicBezTo>
                <a:cubicBezTo>
                  <a:pt x="34" y="29"/>
                  <a:pt x="34" y="29"/>
                  <a:pt x="34" y="29"/>
                </a:cubicBezTo>
                <a:cubicBezTo>
                  <a:pt x="36" y="25"/>
                  <a:pt x="36" y="25"/>
                  <a:pt x="36" y="25"/>
                </a:cubicBezTo>
                <a:cubicBezTo>
                  <a:pt x="36" y="24"/>
                  <a:pt x="36" y="24"/>
                  <a:pt x="36" y="24"/>
                </a:cubicBezTo>
                <a:cubicBezTo>
                  <a:pt x="35" y="23"/>
                  <a:pt x="35" y="22"/>
                  <a:pt x="35" y="22"/>
                </a:cubicBezTo>
                <a:cubicBezTo>
                  <a:pt x="35" y="21"/>
                  <a:pt x="35" y="20"/>
                  <a:pt x="35" y="20"/>
                </a:cubicBezTo>
                <a:cubicBezTo>
                  <a:pt x="35" y="20"/>
                  <a:pt x="35" y="20"/>
                  <a:pt x="35" y="20"/>
                </a:cubicBezTo>
                <a:cubicBezTo>
                  <a:pt x="35" y="20"/>
                  <a:pt x="35" y="20"/>
                  <a:pt x="35" y="20"/>
                </a:cubicBezTo>
                <a:cubicBezTo>
                  <a:pt x="35" y="20"/>
                  <a:pt x="34" y="21"/>
                  <a:pt x="34" y="21"/>
                </a:cubicBezTo>
                <a:cubicBezTo>
                  <a:pt x="34" y="21"/>
                  <a:pt x="34" y="21"/>
                  <a:pt x="34" y="21"/>
                </a:cubicBezTo>
                <a:cubicBezTo>
                  <a:pt x="33" y="21"/>
                  <a:pt x="33" y="21"/>
                  <a:pt x="33" y="21"/>
                </a:cubicBezTo>
                <a:cubicBezTo>
                  <a:pt x="34" y="21"/>
                  <a:pt x="34" y="21"/>
                  <a:pt x="34" y="21"/>
                </a:cubicBezTo>
                <a:cubicBezTo>
                  <a:pt x="34" y="21"/>
                  <a:pt x="34" y="21"/>
                  <a:pt x="33" y="21"/>
                </a:cubicBezTo>
                <a:cubicBezTo>
                  <a:pt x="33" y="22"/>
                  <a:pt x="33" y="22"/>
                  <a:pt x="33" y="22"/>
                </a:cubicBezTo>
                <a:cubicBezTo>
                  <a:pt x="33" y="22"/>
                  <a:pt x="33" y="22"/>
                  <a:pt x="33" y="22"/>
                </a:cubicBezTo>
                <a:cubicBezTo>
                  <a:pt x="32" y="22"/>
                  <a:pt x="32" y="22"/>
                  <a:pt x="32" y="22"/>
                </a:cubicBezTo>
                <a:cubicBezTo>
                  <a:pt x="32" y="22"/>
                  <a:pt x="32" y="22"/>
                  <a:pt x="32" y="22"/>
                </a:cubicBezTo>
                <a:cubicBezTo>
                  <a:pt x="32" y="22"/>
                  <a:pt x="32" y="22"/>
                  <a:pt x="32" y="22"/>
                </a:cubicBezTo>
                <a:cubicBezTo>
                  <a:pt x="31" y="22"/>
                  <a:pt x="31" y="22"/>
                  <a:pt x="31" y="22"/>
                </a:cubicBezTo>
                <a:cubicBezTo>
                  <a:pt x="31" y="21"/>
                  <a:pt x="31" y="21"/>
                  <a:pt x="31" y="21"/>
                </a:cubicBezTo>
                <a:cubicBezTo>
                  <a:pt x="31" y="21"/>
                  <a:pt x="30" y="20"/>
                  <a:pt x="29" y="20"/>
                </a:cubicBezTo>
                <a:cubicBezTo>
                  <a:pt x="21" y="16"/>
                  <a:pt x="21" y="16"/>
                  <a:pt x="21" y="16"/>
                </a:cubicBezTo>
                <a:cubicBezTo>
                  <a:pt x="24" y="15"/>
                  <a:pt x="24" y="15"/>
                  <a:pt x="24" y="15"/>
                </a:cubicBezTo>
                <a:cubicBezTo>
                  <a:pt x="24" y="15"/>
                  <a:pt x="24" y="15"/>
                  <a:pt x="25" y="15"/>
                </a:cubicBezTo>
                <a:cubicBezTo>
                  <a:pt x="25" y="15"/>
                  <a:pt x="25" y="15"/>
                  <a:pt x="25" y="15"/>
                </a:cubicBezTo>
                <a:cubicBezTo>
                  <a:pt x="25" y="14"/>
                  <a:pt x="24" y="14"/>
                  <a:pt x="24" y="13"/>
                </a:cubicBezTo>
                <a:cubicBezTo>
                  <a:pt x="24" y="13"/>
                  <a:pt x="24" y="13"/>
                  <a:pt x="24" y="13"/>
                </a:cubicBezTo>
                <a:cubicBezTo>
                  <a:pt x="21" y="11"/>
                  <a:pt x="21" y="11"/>
                  <a:pt x="21" y="11"/>
                </a:cubicBezTo>
                <a:cubicBezTo>
                  <a:pt x="21" y="11"/>
                  <a:pt x="21" y="11"/>
                  <a:pt x="20" y="11"/>
                </a:cubicBezTo>
                <a:cubicBezTo>
                  <a:pt x="20" y="11"/>
                  <a:pt x="20" y="11"/>
                  <a:pt x="20" y="11"/>
                </a:cubicBezTo>
                <a:cubicBezTo>
                  <a:pt x="20" y="11"/>
                  <a:pt x="19" y="10"/>
                  <a:pt x="19" y="10"/>
                </a:cubicBezTo>
                <a:cubicBezTo>
                  <a:pt x="19" y="10"/>
                  <a:pt x="19" y="10"/>
                  <a:pt x="19" y="10"/>
                </a:cubicBezTo>
                <a:cubicBezTo>
                  <a:pt x="19" y="10"/>
                  <a:pt x="19" y="10"/>
                  <a:pt x="19" y="10"/>
                </a:cubicBezTo>
                <a:cubicBezTo>
                  <a:pt x="18" y="10"/>
                  <a:pt x="18" y="10"/>
                  <a:pt x="18" y="10"/>
                </a:cubicBezTo>
                <a:cubicBezTo>
                  <a:pt x="18" y="10"/>
                  <a:pt x="18" y="9"/>
                  <a:pt x="18" y="9"/>
                </a:cubicBezTo>
                <a:cubicBezTo>
                  <a:pt x="18" y="9"/>
                  <a:pt x="18" y="9"/>
                  <a:pt x="18" y="9"/>
                </a:cubicBezTo>
                <a:cubicBezTo>
                  <a:pt x="18" y="9"/>
                  <a:pt x="18" y="9"/>
                  <a:pt x="18" y="9"/>
                </a:cubicBezTo>
                <a:cubicBezTo>
                  <a:pt x="17" y="9"/>
                  <a:pt x="17" y="9"/>
                  <a:pt x="17" y="9"/>
                </a:cubicBezTo>
                <a:cubicBezTo>
                  <a:pt x="17" y="9"/>
                  <a:pt x="17" y="9"/>
                  <a:pt x="17" y="9"/>
                </a:cubicBezTo>
                <a:cubicBezTo>
                  <a:pt x="17" y="8"/>
                  <a:pt x="17" y="8"/>
                  <a:pt x="17" y="8"/>
                </a:cubicBezTo>
                <a:cubicBezTo>
                  <a:pt x="17" y="8"/>
                  <a:pt x="17" y="8"/>
                  <a:pt x="17" y="8"/>
                </a:cubicBezTo>
                <a:cubicBezTo>
                  <a:pt x="17" y="7"/>
                  <a:pt x="17" y="7"/>
                  <a:pt x="17" y="7"/>
                </a:cubicBezTo>
                <a:cubicBezTo>
                  <a:pt x="17" y="7"/>
                  <a:pt x="17" y="7"/>
                  <a:pt x="16" y="6"/>
                </a:cubicBezTo>
                <a:cubicBezTo>
                  <a:pt x="16" y="6"/>
                  <a:pt x="16" y="6"/>
                  <a:pt x="16" y="6"/>
                </a:cubicBezTo>
                <a:cubicBezTo>
                  <a:pt x="12" y="1"/>
                  <a:pt x="12" y="1"/>
                  <a:pt x="12" y="1"/>
                </a:cubicBezTo>
                <a:cubicBezTo>
                  <a:pt x="12" y="1"/>
                  <a:pt x="11" y="1"/>
                  <a:pt x="11" y="1"/>
                </a:cubicBezTo>
                <a:cubicBezTo>
                  <a:pt x="10" y="1"/>
                  <a:pt x="10" y="0"/>
                  <a:pt x="10" y="0"/>
                </a:cubicBezTo>
                <a:cubicBezTo>
                  <a:pt x="8" y="0"/>
                  <a:pt x="8" y="0"/>
                  <a:pt x="8" y="0"/>
                </a:cubicBezTo>
                <a:cubicBezTo>
                  <a:pt x="7" y="0"/>
                  <a:pt x="7" y="0"/>
                  <a:pt x="7" y="0"/>
                </a:cubicBezTo>
                <a:cubicBezTo>
                  <a:pt x="7" y="1"/>
                  <a:pt x="7" y="1"/>
                  <a:pt x="7" y="1"/>
                </a:cubicBezTo>
                <a:cubicBezTo>
                  <a:pt x="0" y="3"/>
                  <a:pt x="0" y="3"/>
                  <a:pt x="0" y="3"/>
                </a:cubicBezTo>
                <a:cubicBezTo>
                  <a:pt x="0" y="3"/>
                  <a:pt x="0" y="4"/>
                  <a:pt x="0" y="4"/>
                </a:cubicBezTo>
                <a:cubicBezTo>
                  <a:pt x="1" y="4"/>
                  <a:pt x="1" y="4"/>
                  <a:pt x="1" y="4"/>
                </a:cubicBezTo>
                <a:cubicBezTo>
                  <a:pt x="0" y="6"/>
                  <a:pt x="0" y="6"/>
                  <a:pt x="0" y="6"/>
                </a:cubicBezTo>
                <a:cubicBezTo>
                  <a:pt x="0" y="6"/>
                  <a:pt x="0" y="6"/>
                  <a:pt x="0" y="6"/>
                </a:cubicBezTo>
                <a:cubicBezTo>
                  <a:pt x="1" y="7"/>
                  <a:pt x="1" y="7"/>
                  <a:pt x="1" y="7"/>
                </a:cubicBezTo>
                <a:cubicBezTo>
                  <a:pt x="1" y="7"/>
                  <a:pt x="2" y="7"/>
                  <a:pt x="2" y="8"/>
                </a:cubicBezTo>
                <a:cubicBezTo>
                  <a:pt x="2" y="8"/>
                  <a:pt x="2" y="8"/>
                  <a:pt x="2" y="8"/>
                </a:cubicBezTo>
                <a:cubicBezTo>
                  <a:pt x="7" y="12"/>
                  <a:pt x="7" y="12"/>
                  <a:pt x="7" y="12"/>
                </a:cubicBezTo>
                <a:cubicBezTo>
                  <a:pt x="4" y="12"/>
                  <a:pt x="4" y="12"/>
                  <a:pt x="4" y="12"/>
                </a:cubicBezTo>
                <a:cubicBezTo>
                  <a:pt x="4" y="12"/>
                  <a:pt x="4" y="12"/>
                  <a:pt x="3" y="12"/>
                </a:cubicBezTo>
                <a:cubicBezTo>
                  <a:pt x="3" y="13"/>
                  <a:pt x="2" y="13"/>
                  <a:pt x="2" y="13"/>
                </a:cubicBezTo>
                <a:cubicBezTo>
                  <a:pt x="2" y="13"/>
                  <a:pt x="2" y="13"/>
                  <a:pt x="2" y="13"/>
                </a:cubicBezTo>
                <a:cubicBezTo>
                  <a:pt x="2" y="13"/>
                  <a:pt x="2" y="14"/>
                  <a:pt x="2" y="14"/>
                </a:cubicBezTo>
                <a:cubicBezTo>
                  <a:pt x="2" y="14"/>
                  <a:pt x="3" y="14"/>
                  <a:pt x="3" y="14"/>
                </a:cubicBezTo>
                <a:cubicBezTo>
                  <a:pt x="5" y="14"/>
                  <a:pt x="5" y="14"/>
                  <a:pt x="5" y="14"/>
                </a:cubicBezTo>
                <a:cubicBezTo>
                  <a:pt x="5" y="17"/>
                  <a:pt x="5" y="17"/>
                  <a:pt x="5" y="17"/>
                </a:cubicBezTo>
                <a:cubicBezTo>
                  <a:pt x="4" y="17"/>
                  <a:pt x="4" y="17"/>
                  <a:pt x="4" y="18"/>
                </a:cubicBezTo>
                <a:cubicBezTo>
                  <a:pt x="4" y="18"/>
                  <a:pt x="4" y="18"/>
                  <a:pt x="4" y="18"/>
                </a:cubicBezTo>
                <a:cubicBezTo>
                  <a:pt x="4" y="18"/>
                  <a:pt x="4" y="18"/>
                  <a:pt x="4" y="18"/>
                </a:cubicBezTo>
                <a:cubicBezTo>
                  <a:pt x="4" y="19"/>
                  <a:pt x="3" y="20"/>
                  <a:pt x="3" y="20"/>
                </a:cubicBezTo>
                <a:cubicBezTo>
                  <a:pt x="3" y="20"/>
                  <a:pt x="3" y="20"/>
                  <a:pt x="3" y="20"/>
                </a:cubicBezTo>
                <a:cubicBezTo>
                  <a:pt x="3" y="21"/>
                  <a:pt x="2" y="21"/>
                  <a:pt x="2" y="21"/>
                </a:cubicBezTo>
                <a:cubicBezTo>
                  <a:pt x="2" y="22"/>
                  <a:pt x="2" y="22"/>
                  <a:pt x="3" y="22"/>
                </a:cubicBezTo>
                <a:cubicBezTo>
                  <a:pt x="3" y="22"/>
                  <a:pt x="3" y="22"/>
                  <a:pt x="3" y="22"/>
                </a:cubicBezTo>
                <a:cubicBezTo>
                  <a:pt x="3" y="22"/>
                  <a:pt x="3" y="22"/>
                  <a:pt x="3" y="22"/>
                </a:cubicBezTo>
                <a:cubicBezTo>
                  <a:pt x="4" y="22"/>
                  <a:pt x="4" y="22"/>
                  <a:pt x="4" y="22"/>
                </a:cubicBezTo>
                <a:cubicBezTo>
                  <a:pt x="4" y="23"/>
                  <a:pt x="5" y="23"/>
                  <a:pt x="5" y="24"/>
                </a:cubicBezTo>
                <a:cubicBezTo>
                  <a:pt x="5" y="24"/>
                  <a:pt x="5" y="24"/>
                  <a:pt x="6" y="24"/>
                </a:cubicBezTo>
                <a:cubicBezTo>
                  <a:pt x="6" y="24"/>
                  <a:pt x="6" y="24"/>
                  <a:pt x="6" y="24"/>
                </a:cubicBezTo>
                <a:cubicBezTo>
                  <a:pt x="6" y="24"/>
                  <a:pt x="6" y="24"/>
                  <a:pt x="6" y="24"/>
                </a:cubicBezTo>
                <a:cubicBezTo>
                  <a:pt x="7" y="25"/>
                  <a:pt x="7" y="25"/>
                  <a:pt x="7" y="25"/>
                </a:cubicBezTo>
                <a:cubicBezTo>
                  <a:pt x="7" y="25"/>
                  <a:pt x="8" y="26"/>
                  <a:pt x="7" y="27"/>
                </a:cubicBezTo>
                <a:cubicBezTo>
                  <a:pt x="7" y="27"/>
                  <a:pt x="7" y="27"/>
                  <a:pt x="7" y="27"/>
                </a:cubicBezTo>
                <a:cubicBezTo>
                  <a:pt x="7" y="27"/>
                  <a:pt x="7" y="27"/>
                  <a:pt x="7" y="27"/>
                </a:cubicBezTo>
                <a:cubicBezTo>
                  <a:pt x="7" y="27"/>
                  <a:pt x="7" y="28"/>
                  <a:pt x="7" y="28"/>
                </a:cubicBezTo>
                <a:cubicBezTo>
                  <a:pt x="6" y="28"/>
                  <a:pt x="6" y="28"/>
                  <a:pt x="6" y="28"/>
                </a:cubicBezTo>
                <a:cubicBezTo>
                  <a:pt x="6" y="28"/>
                  <a:pt x="6" y="28"/>
                  <a:pt x="6" y="28"/>
                </a:cubicBezTo>
                <a:cubicBezTo>
                  <a:pt x="6" y="28"/>
                  <a:pt x="6" y="28"/>
                  <a:pt x="6" y="28"/>
                </a:cubicBezTo>
                <a:cubicBezTo>
                  <a:pt x="6" y="28"/>
                  <a:pt x="5" y="28"/>
                  <a:pt x="5" y="28"/>
                </a:cubicBezTo>
                <a:cubicBezTo>
                  <a:pt x="6" y="29"/>
                  <a:pt x="6" y="29"/>
                  <a:pt x="6" y="29"/>
                </a:cubicBezTo>
                <a:cubicBezTo>
                  <a:pt x="6" y="30"/>
                  <a:pt x="6" y="30"/>
                  <a:pt x="6" y="30"/>
                </a:cubicBezTo>
                <a:cubicBezTo>
                  <a:pt x="6" y="30"/>
                  <a:pt x="6" y="30"/>
                  <a:pt x="6" y="30"/>
                </a:cubicBezTo>
                <a:cubicBezTo>
                  <a:pt x="6" y="30"/>
                  <a:pt x="6" y="30"/>
                  <a:pt x="6" y="30"/>
                </a:cubicBezTo>
                <a:cubicBezTo>
                  <a:pt x="6" y="31"/>
                  <a:pt x="6" y="31"/>
                  <a:pt x="6" y="32"/>
                </a:cubicBezTo>
                <a:cubicBezTo>
                  <a:pt x="6" y="32"/>
                  <a:pt x="6" y="32"/>
                  <a:pt x="6" y="32"/>
                </a:cubicBezTo>
                <a:cubicBezTo>
                  <a:pt x="6" y="32"/>
                  <a:pt x="5" y="32"/>
                  <a:pt x="5" y="32"/>
                </a:cubicBezTo>
                <a:cubicBezTo>
                  <a:pt x="5" y="33"/>
                  <a:pt x="5" y="33"/>
                  <a:pt x="5" y="33"/>
                </a:cubicBezTo>
                <a:cubicBezTo>
                  <a:pt x="5" y="33"/>
                  <a:pt x="5" y="33"/>
                  <a:pt x="5" y="33"/>
                </a:cubicBezTo>
                <a:cubicBezTo>
                  <a:pt x="14" y="39"/>
                  <a:pt x="14" y="39"/>
                  <a:pt x="14" y="39"/>
                </a:cubicBezTo>
                <a:cubicBezTo>
                  <a:pt x="14" y="39"/>
                  <a:pt x="14" y="38"/>
                  <a:pt x="16" y="38"/>
                </a:cubicBezTo>
                <a:cubicBezTo>
                  <a:pt x="16" y="38"/>
                  <a:pt x="16" y="38"/>
                  <a:pt x="16" y="38"/>
                </a:cubicBezTo>
                <a:cubicBezTo>
                  <a:pt x="15" y="37"/>
                  <a:pt x="15" y="37"/>
                  <a:pt x="15" y="36"/>
                </a:cubicBezTo>
                <a:cubicBezTo>
                  <a:pt x="16" y="35"/>
                  <a:pt x="16" y="35"/>
                  <a:pt x="16" y="35"/>
                </a:cubicBezTo>
                <a:cubicBezTo>
                  <a:pt x="16" y="35"/>
                  <a:pt x="16" y="35"/>
                  <a:pt x="16" y="35"/>
                </a:cubicBezTo>
                <a:cubicBezTo>
                  <a:pt x="17" y="35"/>
                  <a:pt x="17" y="35"/>
                  <a:pt x="17" y="35"/>
                </a:cubicBezTo>
                <a:cubicBezTo>
                  <a:pt x="17" y="34"/>
                  <a:pt x="17" y="34"/>
                  <a:pt x="18" y="34"/>
                </a:cubicBezTo>
                <a:cubicBezTo>
                  <a:pt x="18" y="34"/>
                  <a:pt x="18" y="34"/>
                  <a:pt x="18" y="34"/>
                </a:cubicBezTo>
                <a:cubicBezTo>
                  <a:pt x="18" y="34"/>
                  <a:pt x="18" y="34"/>
                  <a:pt x="18" y="34"/>
                </a:cubicBezTo>
                <a:cubicBezTo>
                  <a:pt x="19" y="34"/>
                  <a:pt x="19" y="34"/>
                  <a:pt x="19" y="35"/>
                </a:cubicBezTo>
                <a:cubicBezTo>
                  <a:pt x="20" y="35"/>
                  <a:pt x="20" y="35"/>
                  <a:pt x="20" y="35"/>
                </a:cubicBezTo>
                <a:cubicBezTo>
                  <a:pt x="23" y="35"/>
                  <a:pt x="23" y="36"/>
                  <a:pt x="23" y="37"/>
                </a:cubicBezTo>
                <a:cubicBezTo>
                  <a:pt x="23" y="38"/>
                  <a:pt x="23" y="38"/>
                  <a:pt x="24" y="38"/>
                </a:cubicBezTo>
                <a:cubicBezTo>
                  <a:pt x="26" y="38"/>
                  <a:pt x="26" y="40"/>
                  <a:pt x="26" y="41"/>
                </a:cubicBezTo>
                <a:cubicBezTo>
                  <a:pt x="26" y="41"/>
                  <a:pt x="26" y="41"/>
                  <a:pt x="26" y="41"/>
                </a:cubicBezTo>
                <a:cubicBezTo>
                  <a:pt x="27" y="42"/>
                  <a:pt x="27" y="42"/>
                  <a:pt x="27" y="42"/>
                </a:cubicBezTo>
                <a:cubicBezTo>
                  <a:pt x="28" y="42"/>
                  <a:pt x="28" y="42"/>
                  <a:pt x="29" y="42"/>
                </a:cubicBezTo>
                <a:cubicBezTo>
                  <a:pt x="29" y="43"/>
                  <a:pt x="29" y="43"/>
                  <a:pt x="30" y="44"/>
                </a:cubicBezTo>
                <a:cubicBezTo>
                  <a:pt x="30" y="45"/>
                  <a:pt x="29" y="46"/>
                  <a:pt x="28" y="47"/>
                </a:cubicBezTo>
                <a:cubicBezTo>
                  <a:pt x="28" y="47"/>
                  <a:pt x="28" y="47"/>
                  <a:pt x="28" y="47"/>
                </a:cubicBezTo>
                <a:cubicBezTo>
                  <a:pt x="30" y="47"/>
                  <a:pt x="31" y="47"/>
                  <a:pt x="33" y="46"/>
                </a:cubicBezTo>
                <a:cubicBezTo>
                  <a:pt x="33" y="46"/>
                  <a:pt x="33" y="46"/>
                  <a:pt x="33" y="46"/>
                </a:cubicBezTo>
                <a:cubicBezTo>
                  <a:pt x="34" y="46"/>
                  <a:pt x="34" y="46"/>
                  <a:pt x="34" y="46"/>
                </a:cubicBezTo>
                <a:cubicBezTo>
                  <a:pt x="34" y="46"/>
                  <a:pt x="34" y="46"/>
                  <a:pt x="34" y="46"/>
                </a:cubicBezTo>
                <a:cubicBezTo>
                  <a:pt x="34" y="46"/>
                  <a:pt x="34" y="46"/>
                  <a:pt x="34" y="46"/>
                </a:cubicBezTo>
                <a:cubicBezTo>
                  <a:pt x="34" y="46"/>
                  <a:pt x="35" y="45"/>
                  <a:pt x="35" y="45"/>
                </a:cubicBezTo>
                <a:cubicBezTo>
                  <a:pt x="34" y="45"/>
                  <a:pt x="34" y="45"/>
                  <a:pt x="34" y="45"/>
                </a:cubicBezTo>
                <a:cubicBezTo>
                  <a:pt x="34" y="44"/>
                  <a:pt x="34" y="44"/>
                  <a:pt x="34" y="43"/>
                </a:cubicBezTo>
                <a:cubicBezTo>
                  <a:pt x="34" y="42"/>
                  <a:pt x="34" y="41"/>
                  <a:pt x="34" y="41"/>
                </a:cubicBezTo>
                <a:cubicBezTo>
                  <a:pt x="34" y="40"/>
                  <a:pt x="34" y="40"/>
                  <a:pt x="35" y="40"/>
                </a:cubicBezTo>
                <a:cubicBezTo>
                  <a:pt x="35" y="40"/>
                  <a:pt x="35" y="40"/>
                  <a:pt x="36" y="39"/>
                </a:cubicBezTo>
                <a:cubicBezTo>
                  <a:pt x="36" y="39"/>
                  <a:pt x="36" y="39"/>
                  <a:pt x="36" y="39"/>
                </a:cubicBezTo>
                <a:cubicBezTo>
                  <a:pt x="37" y="39"/>
                  <a:pt x="38" y="38"/>
                  <a:pt x="39" y="37"/>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55" name="Rectangle 3112">
            <a:extLst>
              <a:ext uri="{FF2B5EF4-FFF2-40B4-BE49-F238E27FC236}">
                <a16:creationId xmlns:a16="http://schemas.microsoft.com/office/drawing/2014/main" id="{F556C85E-77FF-4613-887D-32544F80380C}"/>
              </a:ext>
            </a:extLst>
          </p:cNvPr>
          <p:cNvSpPr>
            <a:spLocks noChangeArrowheads="1"/>
          </p:cNvSpPr>
          <p:nvPr/>
        </p:nvSpPr>
        <p:spPr bwMode="auto">
          <a:xfrm>
            <a:off x="3567952" y="3051019"/>
            <a:ext cx="496" cy="594"/>
          </a:xfrm>
          <a:prstGeom prst="rect">
            <a:avLst/>
          </a:prstGeom>
          <a:solidFill>
            <a:schemeClr val="tx1">
              <a:lumMod val="40000"/>
              <a:lumOff val="60000"/>
            </a:schemeClr>
          </a:solid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56" name="Freeform 3113">
            <a:extLst>
              <a:ext uri="{FF2B5EF4-FFF2-40B4-BE49-F238E27FC236}">
                <a16:creationId xmlns:a16="http://schemas.microsoft.com/office/drawing/2014/main" id="{CA103CDC-F453-4E9D-935B-D9FD8FF9E815}"/>
              </a:ext>
            </a:extLst>
          </p:cNvPr>
          <p:cNvSpPr>
            <a:spLocks/>
          </p:cNvSpPr>
          <p:nvPr/>
        </p:nvSpPr>
        <p:spPr bwMode="auto">
          <a:xfrm>
            <a:off x="3585297" y="3010061"/>
            <a:ext cx="110510" cy="78948"/>
          </a:xfrm>
          <a:custGeom>
            <a:avLst/>
            <a:gdLst>
              <a:gd name="T0" fmla="*/ 93 w 94"/>
              <a:gd name="T1" fmla="*/ 36 h 56"/>
              <a:gd name="T2" fmla="*/ 88 w 94"/>
              <a:gd name="T3" fmla="*/ 37 h 56"/>
              <a:gd name="T4" fmla="*/ 85 w 94"/>
              <a:gd name="T5" fmla="*/ 39 h 56"/>
              <a:gd name="T6" fmla="*/ 81 w 94"/>
              <a:gd name="T7" fmla="*/ 37 h 56"/>
              <a:gd name="T8" fmla="*/ 78 w 94"/>
              <a:gd name="T9" fmla="*/ 36 h 56"/>
              <a:gd name="T10" fmla="*/ 77 w 94"/>
              <a:gd name="T11" fmla="*/ 34 h 56"/>
              <a:gd name="T12" fmla="*/ 76 w 94"/>
              <a:gd name="T13" fmla="*/ 32 h 56"/>
              <a:gd name="T14" fmla="*/ 78 w 94"/>
              <a:gd name="T15" fmla="*/ 22 h 56"/>
              <a:gd name="T16" fmla="*/ 77 w 94"/>
              <a:gd name="T17" fmla="*/ 17 h 56"/>
              <a:gd name="T18" fmla="*/ 74 w 94"/>
              <a:gd name="T19" fmla="*/ 13 h 56"/>
              <a:gd name="T20" fmla="*/ 68 w 94"/>
              <a:gd name="T21" fmla="*/ 5 h 56"/>
              <a:gd name="T22" fmla="*/ 67 w 94"/>
              <a:gd name="T23" fmla="*/ 2 h 56"/>
              <a:gd name="T24" fmla="*/ 66 w 94"/>
              <a:gd name="T25" fmla="*/ 1 h 56"/>
              <a:gd name="T26" fmla="*/ 59 w 94"/>
              <a:gd name="T27" fmla="*/ 3 h 56"/>
              <a:gd name="T28" fmla="*/ 51 w 94"/>
              <a:gd name="T29" fmla="*/ 4 h 56"/>
              <a:gd name="T30" fmla="*/ 49 w 94"/>
              <a:gd name="T31" fmla="*/ 5 h 56"/>
              <a:gd name="T32" fmla="*/ 43 w 94"/>
              <a:gd name="T33" fmla="*/ 5 h 56"/>
              <a:gd name="T34" fmla="*/ 39 w 94"/>
              <a:gd name="T35" fmla="*/ 3 h 56"/>
              <a:gd name="T36" fmla="*/ 35 w 94"/>
              <a:gd name="T37" fmla="*/ 3 h 56"/>
              <a:gd name="T38" fmla="*/ 32 w 94"/>
              <a:gd name="T39" fmla="*/ 3 h 56"/>
              <a:gd name="T40" fmla="*/ 28 w 94"/>
              <a:gd name="T41" fmla="*/ 2 h 56"/>
              <a:gd name="T42" fmla="*/ 27 w 94"/>
              <a:gd name="T43" fmla="*/ 2 h 56"/>
              <a:gd name="T44" fmla="*/ 25 w 94"/>
              <a:gd name="T45" fmla="*/ 3 h 56"/>
              <a:gd name="T46" fmla="*/ 19 w 94"/>
              <a:gd name="T47" fmla="*/ 7 h 56"/>
              <a:gd name="T48" fmla="*/ 16 w 94"/>
              <a:gd name="T49" fmla="*/ 10 h 56"/>
              <a:gd name="T50" fmla="*/ 13 w 94"/>
              <a:gd name="T51" fmla="*/ 15 h 56"/>
              <a:gd name="T52" fmla="*/ 12 w 94"/>
              <a:gd name="T53" fmla="*/ 18 h 56"/>
              <a:gd name="T54" fmla="*/ 6 w 94"/>
              <a:gd name="T55" fmla="*/ 25 h 56"/>
              <a:gd name="T56" fmla="*/ 4 w 94"/>
              <a:gd name="T57" fmla="*/ 25 h 56"/>
              <a:gd name="T58" fmla="*/ 3 w 94"/>
              <a:gd name="T59" fmla="*/ 30 h 56"/>
              <a:gd name="T60" fmla="*/ 5 w 94"/>
              <a:gd name="T61" fmla="*/ 33 h 56"/>
              <a:gd name="T62" fmla="*/ 7 w 94"/>
              <a:gd name="T63" fmla="*/ 35 h 56"/>
              <a:gd name="T64" fmla="*/ 12 w 94"/>
              <a:gd name="T65" fmla="*/ 40 h 56"/>
              <a:gd name="T66" fmla="*/ 15 w 94"/>
              <a:gd name="T67" fmla="*/ 44 h 56"/>
              <a:gd name="T68" fmla="*/ 21 w 94"/>
              <a:gd name="T69" fmla="*/ 43 h 56"/>
              <a:gd name="T70" fmla="*/ 24 w 94"/>
              <a:gd name="T71" fmla="*/ 44 h 56"/>
              <a:gd name="T72" fmla="*/ 24 w 94"/>
              <a:gd name="T73" fmla="*/ 45 h 56"/>
              <a:gd name="T74" fmla="*/ 24 w 94"/>
              <a:gd name="T75" fmla="*/ 46 h 56"/>
              <a:gd name="T76" fmla="*/ 23 w 94"/>
              <a:gd name="T77" fmla="*/ 47 h 56"/>
              <a:gd name="T78" fmla="*/ 22 w 94"/>
              <a:gd name="T79" fmla="*/ 47 h 56"/>
              <a:gd name="T80" fmla="*/ 23 w 94"/>
              <a:gd name="T81" fmla="*/ 48 h 56"/>
              <a:gd name="T82" fmla="*/ 24 w 94"/>
              <a:gd name="T83" fmla="*/ 49 h 56"/>
              <a:gd name="T84" fmla="*/ 27 w 94"/>
              <a:gd name="T85" fmla="*/ 53 h 56"/>
              <a:gd name="T86" fmla="*/ 27 w 94"/>
              <a:gd name="T87" fmla="*/ 54 h 56"/>
              <a:gd name="T88" fmla="*/ 34 w 94"/>
              <a:gd name="T89" fmla="*/ 54 h 56"/>
              <a:gd name="T90" fmla="*/ 45 w 94"/>
              <a:gd name="T91" fmla="*/ 55 h 56"/>
              <a:gd name="T92" fmla="*/ 47 w 94"/>
              <a:gd name="T93" fmla="*/ 56 h 56"/>
              <a:gd name="T94" fmla="*/ 51 w 94"/>
              <a:gd name="T95" fmla="*/ 56 h 56"/>
              <a:gd name="T96" fmla="*/ 58 w 94"/>
              <a:gd name="T97" fmla="*/ 53 h 56"/>
              <a:gd name="T98" fmla="*/ 68 w 94"/>
              <a:gd name="T99" fmla="*/ 50 h 56"/>
              <a:gd name="T100" fmla="*/ 71 w 94"/>
              <a:gd name="T101" fmla="*/ 50 h 56"/>
              <a:gd name="T102" fmla="*/ 83 w 94"/>
              <a:gd name="T103" fmla="*/ 55 h 56"/>
              <a:gd name="T104" fmla="*/ 85 w 94"/>
              <a:gd name="T105" fmla="*/ 45 h 56"/>
              <a:gd name="T106" fmla="*/ 85 w 94"/>
              <a:gd name="T107" fmla="*/ 44 h 56"/>
              <a:gd name="T108" fmla="*/ 93 w 94"/>
              <a:gd name="T109" fmla="*/ 42 h 56"/>
              <a:gd name="T110" fmla="*/ 93 w 94"/>
              <a:gd name="T11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4" h="56">
                <a:moveTo>
                  <a:pt x="93" y="38"/>
                </a:moveTo>
                <a:cubicBezTo>
                  <a:pt x="93" y="38"/>
                  <a:pt x="93" y="38"/>
                  <a:pt x="93" y="38"/>
                </a:cubicBezTo>
                <a:cubicBezTo>
                  <a:pt x="93" y="37"/>
                  <a:pt x="93" y="37"/>
                  <a:pt x="93" y="36"/>
                </a:cubicBezTo>
                <a:cubicBezTo>
                  <a:pt x="92" y="36"/>
                  <a:pt x="92" y="36"/>
                  <a:pt x="91" y="36"/>
                </a:cubicBezTo>
                <a:cubicBezTo>
                  <a:pt x="91" y="36"/>
                  <a:pt x="89" y="37"/>
                  <a:pt x="88" y="37"/>
                </a:cubicBezTo>
                <a:cubicBezTo>
                  <a:pt x="88" y="37"/>
                  <a:pt x="88" y="37"/>
                  <a:pt x="88" y="37"/>
                </a:cubicBezTo>
                <a:cubicBezTo>
                  <a:pt x="87" y="37"/>
                  <a:pt x="87" y="37"/>
                  <a:pt x="87" y="38"/>
                </a:cubicBezTo>
                <a:cubicBezTo>
                  <a:pt x="86" y="38"/>
                  <a:pt x="86" y="38"/>
                  <a:pt x="86" y="38"/>
                </a:cubicBezTo>
                <a:cubicBezTo>
                  <a:pt x="85" y="38"/>
                  <a:pt x="85" y="38"/>
                  <a:pt x="85" y="39"/>
                </a:cubicBezTo>
                <a:cubicBezTo>
                  <a:pt x="85" y="39"/>
                  <a:pt x="85" y="39"/>
                  <a:pt x="85" y="39"/>
                </a:cubicBezTo>
                <a:cubicBezTo>
                  <a:pt x="84" y="39"/>
                  <a:pt x="84" y="38"/>
                  <a:pt x="83" y="38"/>
                </a:cubicBezTo>
                <a:cubicBezTo>
                  <a:pt x="83" y="38"/>
                  <a:pt x="82" y="38"/>
                  <a:pt x="81" y="37"/>
                </a:cubicBezTo>
                <a:cubicBezTo>
                  <a:pt x="81" y="37"/>
                  <a:pt x="80" y="37"/>
                  <a:pt x="80" y="36"/>
                </a:cubicBezTo>
                <a:cubicBezTo>
                  <a:pt x="79" y="36"/>
                  <a:pt x="79" y="36"/>
                  <a:pt x="79" y="36"/>
                </a:cubicBezTo>
                <a:cubicBezTo>
                  <a:pt x="79" y="36"/>
                  <a:pt x="79" y="36"/>
                  <a:pt x="78" y="36"/>
                </a:cubicBezTo>
                <a:cubicBezTo>
                  <a:pt x="77" y="35"/>
                  <a:pt x="77" y="35"/>
                  <a:pt x="77" y="35"/>
                </a:cubicBezTo>
                <a:cubicBezTo>
                  <a:pt x="77" y="34"/>
                  <a:pt x="77" y="34"/>
                  <a:pt x="77" y="34"/>
                </a:cubicBezTo>
                <a:cubicBezTo>
                  <a:pt x="77" y="34"/>
                  <a:pt x="77" y="34"/>
                  <a:pt x="77" y="34"/>
                </a:cubicBezTo>
                <a:cubicBezTo>
                  <a:pt x="77" y="34"/>
                  <a:pt x="77" y="34"/>
                  <a:pt x="77" y="34"/>
                </a:cubicBezTo>
                <a:cubicBezTo>
                  <a:pt x="77" y="34"/>
                  <a:pt x="77" y="34"/>
                  <a:pt x="77" y="33"/>
                </a:cubicBezTo>
                <a:cubicBezTo>
                  <a:pt x="76" y="33"/>
                  <a:pt x="76" y="33"/>
                  <a:pt x="76" y="32"/>
                </a:cubicBezTo>
                <a:cubicBezTo>
                  <a:pt x="76" y="31"/>
                  <a:pt x="76" y="30"/>
                  <a:pt x="77" y="30"/>
                </a:cubicBezTo>
                <a:cubicBezTo>
                  <a:pt x="77" y="29"/>
                  <a:pt x="77" y="29"/>
                  <a:pt x="77" y="29"/>
                </a:cubicBezTo>
                <a:cubicBezTo>
                  <a:pt x="77" y="26"/>
                  <a:pt x="77" y="25"/>
                  <a:pt x="78" y="22"/>
                </a:cubicBezTo>
                <a:cubicBezTo>
                  <a:pt x="78" y="22"/>
                  <a:pt x="78" y="21"/>
                  <a:pt x="78" y="20"/>
                </a:cubicBezTo>
                <a:cubicBezTo>
                  <a:pt x="78" y="19"/>
                  <a:pt x="78" y="19"/>
                  <a:pt x="77" y="18"/>
                </a:cubicBezTo>
                <a:cubicBezTo>
                  <a:pt x="77" y="17"/>
                  <a:pt x="77" y="17"/>
                  <a:pt x="77" y="17"/>
                </a:cubicBezTo>
                <a:cubicBezTo>
                  <a:pt x="77" y="16"/>
                  <a:pt x="77" y="16"/>
                  <a:pt x="77" y="16"/>
                </a:cubicBezTo>
                <a:cubicBezTo>
                  <a:pt x="77" y="16"/>
                  <a:pt x="77" y="15"/>
                  <a:pt x="76" y="15"/>
                </a:cubicBezTo>
                <a:cubicBezTo>
                  <a:pt x="76" y="14"/>
                  <a:pt x="75" y="14"/>
                  <a:pt x="74" y="13"/>
                </a:cubicBezTo>
                <a:cubicBezTo>
                  <a:pt x="73" y="12"/>
                  <a:pt x="73" y="12"/>
                  <a:pt x="73" y="12"/>
                </a:cubicBezTo>
                <a:cubicBezTo>
                  <a:pt x="72" y="11"/>
                  <a:pt x="71" y="10"/>
                  <a:pt x="70" y="8"/>
                </a:cubicBezTo>
                <a:cubicBezTo>
                  <a:pt x="69" y="7"/>
                  <a:pt x="69" y="6"/>
                  <a:pt x="68" y="5"/>
                </a:cubicBezTo>
                <a:cubicBezTo>
                  <a:pt x="68" y="4"/>
                  <a:pt x="68" y="4"/>
                  <a:pt x="68" y="4"/>
                </a:cubicBezTo>
                <a:cubicBezTo>
                  <a:pt x="68" y="4"/>
                  <a:pt x="68" y="3"/>
                  <a:pt x="68" y="3"/>
                </a:cubicBezTo>
                <a:cubicBezTo>
                  <a:pt x="67" y="3"/>
                  <a:pt x="67" y="3"/>
                  <a:pt x="67" y="2"/>
                </a:cubicBezTo>
                <a:cubicBezTo>
                  <a:pt x="67" y="2"/>
                  <a:pt x="67" y="2"/>
                  <a:pt x="67" y="2"/>
                </a:cubicBezTo>
                <a:cubicBezTo>
                  <a:pt x="67" y="2"/>
                  <a:pt x="67" y="1"/>
                  <a:pt x="66" y="1"/>
                </a:cubicBezTo>
                <a:cubicBezTo>
                  <a:pt x="66" y="1"/>
                  <a:pt x="66" y="1"/>
                  <a:pt x="66" y="1"/>
                </a:cubicBezTo>
                <a:cubicBezTo>
                  <a:pt x="65" y="0"/>
                  <a:pt x="64" y="0"/>
                  <a:pt x="63" y="0"/>
                </a:cubicBezTo>
                <a:cubicBezTo>
                  <a:pt x="63" y="0"/>
                  <a:pt x="63" y="0"/>
                  <a:pt x="63" y="0"/>
                </a:cubicBezTo>
                <a:cubicBezTo>
                  <a:pt x="59" y="3"/>
                  <a:pt x="59" y="3"/>
                  <a:pt x="59" y="3"/>
                </a:cubicBezTo>
                <a:cubicBezTo>
                  <a:pt x="58" y="3"/>
                  <a:pt x="58" y="3"/>
                  <a:pt x="58" y="3"/>
                </a:cubicBezTo>
                <a:cubicBezTo>
                  <a:pt x="56" y="4"/>
                  <a:pt x="55" y="4"/>
                  <a:pt x="53" y="4"/>
                </a:cubicBezTo>
                <a:cubicBezTo>
                  <a:pt x="53" y="4"/>
                  <a:pt x="52" y="4"/>
                  <a:pt x="51" y="4"/>
                </a:cubicBezTo>
                <a:cubicBezTo>
                  <a:pt x="51" y="4"/>
                  <a:pt x="51" y="4"/>
                  <a:pt x="51" y="4"/>
                </a:cubicBezTo>
                <a:cubicBezTo>
                  <a:pt x="51" y="4"/>
                  <a:pt x="50" y="4"/>
                  <a:pt x="50" y="4"/>
                </a:cubicBezTo>
                <a:cubicBezTo>
                  <a:pt x="50" y="4"/>
                  <a:pt x="49" y="4"/>
                  <a:pt x="49" y="5"/>
                </a:cubicBezTo>
                <a:cubicBezTo>
                  <a:pt x="47" y="6"/>
                  <a:pt x="47" y="6"/>
                  <a:pt x="47" y="6"/>
                </a:cubicBezTo>
                <a:cubicBezTo>
                  <a:pt x="47" y="6"/>
                  <a:pt x="46" y="6"/>
                  <a:pt x="45" y="6"/>
                </a:cubicBezTo>
                <a:cubicBezTo>
                  <a:pt x="44" y="6"/>
                  <a:pt x="44" y="6"/>
                  <a:pt x="43" y="5"/>
                </a:cubicBezTo>
                <a:cubicBezTo>
                  <a:pt x="43" y="5"/>
                  <a:pt x="43" y="5"/>
                  <a:pt x="43" y="5"/>
                </a:cubicBezTo>
                <a:cubicBezTo>
                  <a:pt x="42" y="4"/>
                  <a:pt x="42" y="4"/>
                  <a:pt x="41" y="3"/>
                </a:cubicBezTo>
                <a:cubicBezTo>
                  <a:pt x="41" y="3"/>
                  <a:pt x="40" y="3"/>
                  <a:pt x="39" y="3"/>
                </a:cubicBezTo>
                <a:cubicBezTo>
                  <a:pt x="39" y="3"/>
                  <a:pt x="39" y="3"/>
                  <a:pt x="39" y="3"/>
                </a:cubicBezTo>
                <a:cubicBezTo>
                  <a:pt x="38" y="3"/>
                  <a:pt x="38" y="3"/>
                  <a:pt x="37" y="3"/>
                </a:cubicBezTo>
                <a:cubicBezTo>
                  <a:pt x="35" y="3"/>
                  <a:pt x="35" y="3"/>
                  <a:pt x="35" y="3"/>
                </a:cubicBezTo>
                <a:cubicBezTo>
                  <a:pt x="34" y="3"/>
                  <a:pt x="34" y="3"/>
                  <a:pt x="34" y="3"/>
                </a:cubicBezTo>
                <a:cubicBezTo>
                  <a:pt x="34" y="3"/>
                  <a:pt x="34" y="3"/>
                  <a:pt x="34" y="3"/>
                </a:cubicBezTo>
                <a:cubicBezTo>
                  <a:pt x="33" y="3"/>
                  <a:pt x="32" y="3"/>
                  <a:pt x="32" y="3"/>
                </a:cubicBezTo>
                <a:cubicBezTo>
                  <a:pt x="31" y="4"/>
                  <a:pt x="29" y="3"/>
                  <a:pt x="29" y="2"/>
                </a:cubicBezTo>
                <a:cubicBezTo>
                  <a:pt x="28" y="2"/>
                  <a:pt x="28" y="2"/>
                  <a:pt x="28" y="2"/>
                </a:cubicBezTo>
                <a:cubicBezTo>
                  <a:pt x="28" y="2"/>
                  <a:pt x="28" y="2"/>
                  <a:pt x="28" y="2"/>
                </a:cubicBezTo>
                <a:cubicBezTo>
                  <a:pt x="28" y="2"/>
                  <a:pt x="28" y="2"/>
                  <a:pt x="28" y="2"/>
                </a:cubicBezTo>
                <a:cubicBezTo>
                  <a:pt x="27" y="2"/>
                  <a:pt x="27" y="2"/>
                  <a:pt x="27" y="2"/>
                </a:cubicBezTo>
                <a:cubicBezTo>
                  <a:pt x="27" y="2"/>
                  <a:pt x="27" y="2"/>
                  <a:pt x="27" y="2"/>
                </a:cubicBezTo>
                <a:cubicBezTo>
                  <a:pt x="27" y="3"/>
                  <a:pt x="27" y="3"/>
                  <a:pt x="27" y="3"/>
                </a:cubicBezTo>
                <a:cubicBezTo>
                  <a:pt x="26" y="3"/>
                  <a:pt x="26" y="3"/>
                  <a:pt x="26" y="3"/>
                </a:cubicBezTo>
                <a:cubicBezTo>
                  <a:pt x="25" y="3"/>
                  <a:pt x="25" y="3"/>
                  <a:pt x="25" y="3"/>
                </a:cubicBezTo>
                <a:cubicBezTo>
                  <a:pt x="25" y="3"/>
                  <a:pt x="25" y="4"/>
                  <a:pt x="25" y="4"/>
                </a:cubicBezTo>
                <a:cubicBezTo>
                  <a:pt x="20" y="7"/>
                  <a:pt x="20" y="7"/>
                  <a:pt x="20" y="7"/>
                </a:cubicBezTo>
                <a:cubicBezTo>
                  <a:pt x="19" y="7"/>
                  <a:pt x="19" y="7"/>
                  <a:pt x="19" y="7"/>
                </a:cubicBezTo>
                <a:cubicBezTo>
                  <a:pt x="19" y="8"/>
                  <a:pt x="19" y="8"/>
                  <a:pt x="19" y="8"/>
                </a:cubicBezTo>
                <a:cubicBezTo>
                  <a:pt x="18" y="8"/>
                  <a:pt x="18" y="8"/>
                  <a:pt x="18" y="8"/>
                </a:cubicBezTo>
                <a:cubicBezTo>
                  <a:pt x="17" y="8"/>
                  <a:pt x="17" y="10"/>
                  <a:pt x="16" y="10"/>
                </a:cubicBezTo>
                <a:cubicBezTo>
                  <a:pt x="16" y="10"/>
                  <a:pt x="16" y="10"/>
                  <a:pt x="16" y="10"/>
                </a:cubicBezTo>
                <a:cubicBezTo>
                  <a:pt x="15" y="12"/>
                  <a:pt x="14" y="13"/>
                  <a:pt x="14" y="14"/>
                </a:cubicBezTo>
                <a:cubicBezTo>
                  <a:pt x="13" y="15"/>
                  <a:pt x="13" y="15"/>
                  <a:pt x="13" y="15"/>
                </a:cubicBezTo>
                <a:cubicBezTo>
                  <a:pt x="13" y="15"/>
                  <a:pt x="13" y="15"/>
                  <a:pt x="13" y="15"/>
                </a:cubicBezTo>
                <a:cubicBezTo>
                  <a:pt x="13" y="16"/>
                  <a:pt x="12" y="17"/>
                  <a:pt x="12" y="17"/>
                </a:cubicBezTo>
                <a:cubicBezTo>
                  <a:pt x="12" y="18"/>
                  <a:pt x="12" y="18"/>
                  <a:pt x="12" y="18"/>
                </a:cubicBezTo>
                <a:cubicBezTo>
                  <a:pt x="12" y="18"/>
                  <a:pt x="11" y="19"/>
                  <a:pt x="11" y="20"/>
                </a:cubicBezTo>
                <a:cubicBezTo>
                  <a:pt x="11" y="21"/>
                  <a:pt x="10" y="22"/>
                  <a:pt x="9" y="23"/>
                </a:cubicBezTo>
                <a:cubicBezTo>
                  <a:pt x="9" y="24"/>
                  <a:pt x="8" y="25"/>
                  <a:pt x="6" y="25"/>
                </a:cubicBezTo>
                <a:cubicBezTo>
                  <a:pt x="6" y="25"/>
                  <a:pt x="5" y="25"/>
                  <a:pt x="5" y="25"/>
                </a:cubicBezTo>
                <a:cubicBezTo>
                  <a:pt x="4" y="25"/>
                  <a:pt x="4" y="25"/>
                  <a:pt x="4" y="25"/>
                </a:cubicBezTo>
                <a:cubicBezTo>
                  <a:pt x="4" y="25"/>
                  <a:pt x="4" y="25"/>
                  <a:pt x="4" y="25"/>
                </a:cubicBezTo>
                <a:cubicBezTo>
                  <a:pt x="4" y="26"/>
                  <a:pt x="3" y="26"/>
                  <a:pt x="2" y="27"/>
                </a:cubicBezTo>
                <a:cubicBezTo>
                  <a:pt x="1" y="27"/>
                  <a:pt x="1" y="27"/>
                  <a:pt x="0" y="27"/>
                </a:cubicBezTo>
                <a:cubicBezTo>
                  <a:pt x="3" y="30"/>
                  <a:pt x="3" y="30"/>
                  <a:pt x="3" y="30"/>
                </a:cubicBezTo>
                <a:cubicBezTo>
                  <a:pt x="3" y="30"/>
                  <a:pt x="3" y="30"/>
                  <a:pt x="3" y="31"/>
                </a:cubicBezTo>
                <a:cubicBezTo>
                  <a:pt x="4" y="31"/>
                  <a:pt x="4" y="32"/>
                  <a:pt x="4" y="32"/>
                </a:cubicBezTo>
                <a:cubicBezTo>
                  <a:pt x="4" y="32"/>
                  <a:pt x="4" y="32"/>
                  <a:pt x="5" y="33"/>
                </a:cubicBezTo>
                <a:cubicBezTo>
                  <a:pt x="5" y="33"/>
                  <a:pt x="5" y="33"/>
                  <a:pt x="5" y="34"/>
                </a:cubicBezTo>
                <a:cubicBezTo>
                  <a:pt x="5" y="34"/>
                  <a:pt x="6" y="34"/>
                  <a:pt x="7" y="35"/>
                </a:cubicBezTo>
                <a:cubicBezTo>
                  <a:pt x="7" y="35"/>
                  <a:pt x="7" y="35"/>
                  <a:pt x="7" y="35"/>
                </a:cubicBezTo>
                <a:cubicBezTo>
                  <a:pt x="11" y="37"/>
                  <a:pt x="11" y="37"/>
                  <a:pt x="11" y="37"/>
                </a:cubicBezTo>
                <a:cubicBezTo>
                  <a:pt x="12" y="38"/>
                  <a:pt x="12" y="38"/>
                  <a:pt x="12" y="39"/>
                </a:cubicBezTo>
                <a:cubicBezTo>
                  <a:pt x="12" y="39"/>
                  <a:pt x="12" y="40"/>
                  <a:pt x="12" y="40"/>
                </a:cubicBezTo>
                <a:cubicBezTo>
                  <a:pt x="12" y="40"/>
                  <a:pt x="12" y="40"/>
                  <a:pt x="12" y="40"/>
                </a:cubicBezTo>
                <a:cubicBezTo>
                  <a:pt x="12" y="41"/>
                  <a:pt x="12" y="42"/>
                  <a:pt x="12" y="42"/>
                </a:cubicBezTo>
                <a:cubicBezTo>
                  <a:pt x="15" y="44"/>
                  <a:pt x="15" y="44"/>
                  <a:pt x="15" y="44"/>
                </a:cubicBezTo>
                <a:cubicBezTo>
                  <a:pt x="16" y="44"/>
                  <a:pt x="17" y="45"/>
                  <a:pt x="17" y="45"/>
                </a:cubicBezTo>
                <a:cubicBezTo>
                  <a:pt x="18" y="45"/>
                  <a:pt x="18" y="44"/>
                  <a:pt x="18" y="44"/>
                </a:cubicBezTo>
                <a:cubicBezTo>
                  <a:pt x="19" y="43"/>
                  <a:pt x="20" y="43"/>
                  <a:pt x="21" y="43"/>
                </a:cubicBezTo>
                <a:cubicBezTo>
                  <a:pt x="21" y="43"/>
                  <a:pt x="21" y="43"/>
                  <a:pt x="21" y="43"/>
                </a:cubicBezTo>
                <a:cubicBezTo>
                  <a:pt x="21" y="43"/>
                  <a:pt x="21" y="43"/>
                  <a:pt x="21" y="43"/>
                </a:cubicBezTo>
                <a:cubicBezTo>
                  <a:pt x="22" y="43"/>
                  <a:pt x="23" y="43"/>
                  <a:pt x="24" y="44"/>
                </a:cubicBezTo>
                <a:cubicBezTo>
                  <a:pt x="24" y="44"/>
                  <a:pt x="24" y="44"/>
                  <a:pt x="24" y="44"/>
                </a:cubicBezTo>
                <a:cubicBezTo>
                  <a:pt x="24" y="45"/>
                  <a:pt x="24" y="45"/>
                  <a:pt x="24" y="45"/>
                </a:cubicBezTo>
                <a:cubicBezTo>
                  <a:pt x="24" y="45"/>
                  <a:pt x="24" y="45"/>
                  <a:pt x="24" y="45"/>
                </a:cubicBezTo>
                <a:cubicBezTo>
                  <a:pt x="24" y="45"/>
                  <a:pt x="24" y="46"/>
                  <a:pt x="24" y="46"/>
                </a:cubicBezTo>
                <a:cubicBezTo>
                  <a:pt x="24" y="46"/>
                  <a:pt x="24" y="46"/>
                  <a:pt x="24" y="46"/>
                </a:cubicBezTo>
                <a:cubicBezTo>
                  <a:pt x="24" y="46"/>
                  <a:pt x="24" y="46"/>
                  <a:pt x="24" y="46"/>
                </a:cubicBezTo>
                <a:cubicBezTo>
                  <a:pt x="24" y="46"/>
                  <a:pt x="24" y="47"/>
                  <a:pt x="24" y="47"/>
                </a:cubicBezTo>
                <a:cubicBezTo>
                  <a:pt x="24" y="47"/>
                  <a:pt x="24" y="47"/>
                  <a:pt x="24" y="47"/>
                </a:cubicBezTo>
                <a:cubicBezTo>
                  <a:pt x="23" y="47"/>
                  <a:pt x="23" y="47"/>
                  <a:pt x="23" y="47"/>
                </a:cubicBezTo>
                <a:cubicBezTo>
                  <a:pt x="23" y="47"/>
                  <a:pt x="23" y="47"/>
                  <a:pt x="23" y="47"/>
                </a:cubicBezTo>
                <a:cubicBezTo>
                  <a:pt x="23" y="47"/>
                  <a:pt x="23" y="47"/>
                  <a:pt x="22" y="47"/>
                </a:cubicBezTo>
                <a:cubicBezTo>
                  <a:pt x="22" y="47"/>
                  <a:pt x="22" y="47"/>
                  <a:pt x="22" y="47"/>
                </a:cubicBezTo>
                <a:cubicBezTo>
                  <a:pt x="22" y="47"/>
                  <a:pt x="22" y="47"/>
                  <a:pt x="22" y="47"/>
                </a:cubicBezTo>
                <a:cubicBezTo>
                  <a:pt x="22" y="47"/>
                  <a:pt x="22" y="47"/>
                  <a:pt x="22" y="47"/>
                </a:cubicBezTo>
                <a:cubicBezTo>
                  <a:pt x="22" y="48"/>
                  <a:pt x="22" y="48"/>
                  <a:pt x="23" y="48"/>
                </a:cubicBezTo>
                <a:cubicBezTo>
                  <a:pt x="23" y="49"/>
                  <a:pt x="23" y="49"/>
                  <a:pt x="23" y="49"/>
                </a:cubicBezTo>
                <a:cubicBezTo>
                  <a:pt x="23" y="49"/>
                  <a:pt x="23" y="49"/>
                  <a:pt x="23" y="49"/>
                </a:cubicBezTo>
                <a:cubicBezTo>
                  <a:pt x="24" y="49"/>
                  <a:pt x="24" y="49"/>
                  <a:pt x="24" y="49"/>
                </a:cubicBezTo>
                <a:cubicBezTo>
                  <a:pt x="26" y="50"/>
                  <a:pt x="28" y="51"/>
                  <a:pt x="27" y="52"/>
                </a:cubicBezTo>
                <a:cubicBezTo>
                  <a:pt x="27" y="52"/>
                  <a:pt x="27" y="52"/>
                  <a:pt x="27" y="53"/>
                </a:cubicBezTo>
                <a:cubicBezTo>
                  <a:pt x="27" y="53"/>
                  <a:pt x="27" y="53"/>
                  <a:pt x="27" y="53"/>
                </a:cubicBezTo>
                <a:cubicBezTo>
                  <a:pt x="26" y="53"/>
                  <a:pt x="26" y="54"/>
                  <a:pt x="26" y="54"/>
                </a:cubicBezTo>
                <a:cubicBezTo>
                  <a:pt x="26" y="54"/>
                  <a:pt x="26" y="54"/>
                  <a:pt x="26" y="54"/>
                </a:cubicBezTo>
                <a:cubicBezTo>
                  <a:pt x="27" y="54"/>
                  <a:pt x="27" y="54"/>
                  <a:pt x="27" y="54"/>
                </a:cubicBezTo>
                <a:cubicBezTo>
                  <a:pt x="28" y="53"/>
                  <a:pt x="28" y="53"/>
                  <a:pt x="28" y="53"/>
                </a:cubicBezTo>
                <a:cubicBezTo>
                  <a:pt x="30" y="53"/>
                  <a:pt x="31" y="54"/>
                  <a:pt x="33" y="54"/>
                </a:cubicBezTo>
                <a:cubicBezTo>
                  <a:pt x="34" y="54"/>
                  <a:pt x="34" y="54"/>
                  <a:pt x="34" y="54"/>
                </a:cubicBezTo>
                <a:cubicBezTo>
                  <a:pt x="35" y="55"/>
                  <a:pt x="36" y="55"/>
                  <a:pt x="37" y="55"/>
                </a:cubicBezTo>
                <a:cubicBezTo>
                  <a:pt x="39" y="55"/>
                  <a:pt x="40" y="55"/>
                  <a:pt x="41" y="55"/>
                </a:cubicBezTo>
                <a:cubicBezTo>
                  <a:pt x="42" y="54"/>
                  <a:pt x="43" y="55"/>
                  <a:pt x="45" y="55"/>
                </a:cubicBezTo>
                <a:cubicBezTo>
                  <a:pt x="45" y="55"/>
                  <a:pt x="45" y="55"/>
                  <a:pt x="45" y="55"/>
                </a:cubicBezTo>
                <a:cubicBezTo>
                  <a:pt x="46" y="55"/>
                  <a:pt x="47" y="55"/>
                  <a:pt x="47" y="55"/>
                </a:cubicBezTo>
                <a:cubicBezTo>
                  <a:pt x="47" y="56"/>
                  <a:pt x="47" y="56"/>
                  <a:pt x="47" y="56"/>
                </a:cubicBezTo>
                <a:cubicBezTo>
                  <a:pt x="47" y="56"/>
                  <a:pt x="47" y="56"/>
                  <a:pt x="47" y="56"/>
                </a:cubicBezTo>
                <a:cubicBezTo>
                  <a:pt x="48" y="56"/>
                  <a:pt x="50" y="56"/>
                  <a:pt x="51" y="56"/>
                </a:cubicBezTo>
                <a:cubicBezTo>
                  <a:pt x="51" y="56"/>
                  <a:pt x="51" y="56"/>
                  <a:pt x="51" y="56"/>
                </a:cubicBezTo>
                <a:cubicBezTo>
                  <a:pt x="53" y="56"/>
                  <a:pt x="55" y="55"/>
                  <a:pt x="56" y="53"/>
                </a:cubicBezTo>
                <a:cubicBezTo>
                  <a:pt x="57" y="53"/>
                  <a:pt x="57" y="53"/>
                  <a:pt x="57" y="53"/>
                </a:cubicBezTo>
                <a:cubicBezTo>
                  <a:pt x="57" y="53"/>
                  <a:pt x="57" y="53"/>
                  <a:pt x="58" y="53"/>
                </a:cubicBezTo>
                <a:cubicBezTo>
                  <a:pt x="58" y="52"/>
                  <a:pt x="58" y="52"/>
                  <a:pt x="58" y="52"/>
                </a:cubicBezTo>
                <a:cubicBezTo>
                  <a:pt x="59" y="52"/>
                  <a:pt x="60" y="51"/>
                  <a:pt x="61" y="51"/>
                </a:cubicBezTo>
                <a:cubicBezTo>
                  <a:pt x="68" y="50"/>
                  <a:pt x="68" y="50"/>
                  <a:pt x="68" y="50"/>
                </a:cubicBezTo>
                <a:cubicBezTo>
                  <a:pt x="68" y="50"/>
                  <a:pt x="69" y="50"/>
                  <a:pt x="69" y="50"/>
                </a:cubicBezTo>
                <a:cubicBezTo>
                  <a:pt x="69" y="50"/>
                  <a:pt x="70" y="50"/>
                  <a:pt x="70" y="50"/>
                </a:cubicBezTo>
                <a:cubicBezTo>
                  <a:pt x="70" y="50"/>
                  <a:pt x="70" y="50"/>
                  <a:pt x="71" y="50"/>
                </a:cubicBezTo>
                <a:cubicBezTo>
                  <a:pt x="72" y="51"/>
                  <a:pt x="72" y="51"/>
                  <a:pt x="72" y="51"/>
                </a:cubicBezTo>
                <a:cubicBezTo>
                  <a:pt x="73" y="51"/>
                  <a:pt x="74" y="51"/>
                  <a:pt x="74" y="52"/>
                </a:cubicBezTo>
                <a:cubicBezTo>
                  <a:pt x="83" y="55"/>
                  <a:pt x="83" y="55"/>
                  <a:pt x="83" y="55"/>
                </a:cubicBezTo>
                <a:cubicBezTo>
                  <a:pt x="83" y="52"/>
                  <a:pt x="83" y="50"/>
                  <a:pt x="84" y="48"/>
                </a:cubicBezTo>
                <a:cubicBezTo>
                  <a:pt x="84" y="47"/>
                  <a:pt x="85" y="46"/>
                  <a:pt x="86" y="45"/>
                </a:cubicBezTo>
                <a:cubicBezTo>
                  <a:pt x="85" y="46"/>
                  <a:pt x="84" y="46"/>
                  <a:pt x="85" y="45"/>
                </a:cubicBezTo>
                <a:cubicBezTo>
                  <a:pt x="85" y="45"/>
                  <a:pt x="85" y="45"/>
                  <a:pt x="85" y="45"/>
                </a:cubicBezTo>
                <a:cubicBezTo>
                  <a:pt x="86" y="45"/>
                  <a:pt x="86" y="44"/>
                  <a:pt x="87" y="44"/>
                </a:cubicBezTo>
                <a:cubicBezTo>
                  <a:pt x="86" y="44"/>
                  <a:pt x="86" y="45"/>
                  <a:pt x="85" y="44"/>
                </a:cubicBezTo>
                <a:cubicBezTo>
                  <a:pt x="85" y="44"/>
                  <a:pt x="87" y="38"/>
                  <a:pt x="88" y="40"/>
                </a:cubicBezTo>
                <a:cubicBezTo>
                  <a:pt x="88" y="41"/>
                  <a:pt x="86" y="41"/>
                  <a:pt x="89" y="42"/>
                </a:cubicBezTo>
                <a:cubicBezTo>
                  <a:pt x="90" y="42"/>
                  <a:pt x="93" y="42"/>
                  <a:pt x="93" y="42"/>
                </a:cubicBezTo>
                <a:cubicBezTo>
                  <a:pt x="94" y="41"/>
                  <a:pt x="94" y="41"/>
                  <a:pt x="94" y="40"/>
                </a:cubicBezTo>
                <a:cubicBezTo>
                  <a:pt x="94" y="40"/>
                  <a:pt x="94" y="39"/>
                  <a:pt x="94" y="38"/>
                </a:cubicBezTo>
                <a:lnTo>
                  <a:pt x="93" y="38"/>
                </a:ln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57" name="Freeform 3114">
            <a:extLst>
              <a:ext uri="{FF2B5EF4-FFF2-40B4-BE49-F238E27FC236}">
                <a16:creationId xmlns:a16="http://schemas.microsoft.com/office/drawing/2014/main" id="{8C820793-9346-47DD-BA6B-177FCC19797E}"/>
              </a:ext>
            </a:extLst>
          </p:cNvPr>
          <p:cNvSpPr>
            <a:spLocks/>
          </p:cNvSpPr>
          <p:nvPr/>
        </p:nvSpPr>
        <p:spPr bwMode="auto">
          <a:xfrm>
            <a:off x="3536236" y="3002938"/>
            <a:ext cx="74830" cy="48081"/>
          </a:xfrm>
          <a:custGeom>
            <a:avLst/>
            <a:gdLst>
              <a:gd name="T0" fmla="*/ 12 w 64"/>
              <a:gd name="T1" fmla="*/ 32 h 34"/>
              <a:gd name="T2" fmla="*/ 16 w 64"/>
              <a:gd name="T3" fmla="*/ 34 h 34"/>
              <a:gd name="T4" fmla="*/ 17 w 64"/>
              <a:gd name="T5" fmla="*/ 34 h 34"/>
              <a:gd name="T6" fmla="*/ 19 w 64"/>
              <a:gd name="T7" fmla="*/ 34 h 34"/>
              <a:gd name="T8" fmla="*/ 21 w 64"/>
              <a:gd name="T9" fmla="*/ 34 h 34"/>
              <a:gd name="T10" fmla="*/ 21 w 64"/>
              <a:gd name="T11" fmla="*/ 34 h 34"/>
              <a:gd name="T12" fmla="*/ 23 w 64"/>
              <a:gd name="T13" fmla="*/ 33 h 34"/>
              <a:gd name="T14" fmla="*/ 25 w 64"/>
              <a:gd name="T15" fmla="*/ 32 h 34"/>
              <a:gd name="T16" fmla="*/ 29 w 64"/>
              <a:gd name="T17" fmla="*/ 31 h 34"/>
              <a:gd name="T18" fmla="*/ 35 w 64"/>
              <a:gd name="T19" fmla="*/ 29 h 34"/>
              <a:gd name="T20" fmla="*/ 37 w 64"/>
              <a:gd name="T21" fmla="*/ 29 h 34"/>
              <a:gd name="T22" fmla="*/ 38 w 64"/>
              <a:gd name="T23" fmla="*/ 29 h 34"/>
              <a:gd name="T24" fmla="*/ 40 w 64"/>
              <a:gd name="T25" fmla="*/ 30 h 34"/>
              <a:gd name="T26" fmla="*/ 43 w 64"/>
              <a:gd name="T27" fmla="*/ 29 h 34"/>
              <a:gd name="T28" fmla="*/ 45 w 64"/>
              <a:gd name="T29" fmla="*/ 28 h 34"/>
              <a:gd name="T30" fmla="*/ 47 w 64"/>
              <a:gd name="T31" fmla="*/ 28 h 34"/>
              <a:gd name="T32" fmla="*/ 49 w 64"/>
              <a:gd name="T33" fmla="*/ 26 h 34"/>
              <a:gd name="T34" fmla="*/ 52 w 64"/>
              <a:gd name="T35" fmla="*/ 22 h 34"/>
              <a:gd name="T36" fmla="*/ 53 w 64"/>
              <a:gd name="T37" fmla="*/ 18 h 34"/>
              <a:gd name="T38" fmla="*/ 56 w 64"/>
              <a:gd name="T39" fmla="*/ 14 h 34"/>
              <a:gd name="T40" fmla="*/ 60 w 64"/>
              <a:gd name="T41" fmla="*/ 10 h 34"/>
              <a:gd name="T42" fmla="*/ 64 w 64"/>
              <a:gd name="T43" fmla="*/ 7 h 34"/>
              <a:gd name="T44" fmla="*/ 64 w 64"/>
              <a:gd name="T45" fmla="*/ 7 h 34"/>
              <a:gd name="T46" fmla="*/ 62 w 64"/>
              <a:gd name="T47" fmla="*/ 5 h 34"/>
              <a:gd name="T48" fmla="*/ 61 w 64"/>
              <a:gd name="T49" fmla="*/ 4 h 34"/>
              <a:gd name="T50" fmla="*/ 61 w 64"/>
              <a:gd name="T51" fmla="*/ 4 h 34"/>
              <a:gd name="T52" fmla="*/ 59 w 64"/>
              <a:gd name="T53" fmla="*/ 3 h 34"/>
              <a:gd name="T54" fmla="*/ 56 w 64"/>
              <a:gd name="T55" fmla="*/ 3 h 34"/>
              <a:gd name="T56" fmla="*/ 55 w 64"/>
              <a:gd name="T57" fmla="*/ 3 h 34"/>
              <a:gd name="T58" fmla="*/ 52 w 64"/>
              <a:gd name="T59" fmla="*/ 1 h 34"/>
              <a:gd name="T60" fmla="*/ 52 w 64"/>
              <a:gd name="T61" fmla="*/ 1 h 34"/>
              <a:gd name="T62" fmla="*/ 50 w 64"/>
              <a:gd name="T63" fmla="*/ 1 h 34"/>
              <a:gd name="T64" fmla="*/ 49 w 64"/>
              <a:gd name="T65" fmla="*/ 1 h 34"/>
              <a:gd name="T66" fmla="*/ 41 w 64"/>
              <a:gd name="T67" fmla="*/ 3 h 34"/>
              <a:gd name="T68" fmla="*/ 38 w 64"/>
              <a:gd name="T69" fmla="*/ 5 h 34"/>
              <a:gd name="T70" fmla="*/ 34 w 64"/>
              <a:gd name="T71" fmla="*/ 5 h 34"/>
              <a:gd name="T72" fmla="*/ 30 w 64"/>
              <a:gd name="T73" fmla="*/ 6 h 34"/>
              <a:gd name="T74" fmla="*/ 26 w 64"/>
              <a:gd name="T75" fmla="*/ 8 h 34"/>
              <a:gd name="T76" fmla="*/ 27 w 64"/>
              <a:gd name="T77" fmla="*/ 10 h 34"/>
              <a:gd name="T78" fmla="*/ 23 w 64"/>
              <a:gd name="T79" fmla="*/ 11 h 34"/>
              <a:gd name="T80" fmla="*/ 19 w 64"/>
              <a:gd name="T81" fmla="*/ 11 h 34"/>
              <a:gd name="T82" fmla="*/ 16 w 64"/>
              <a:gd name="T83" fmla="*/ 11 h 34"/>
              <a:gd name="T84" fmla="*/ 9 w 64"/>
              <a:gd name="T85" fmla="*/ 8 h 34"/>
              <a:gd name="T86" fmla="*/ 9 w 64"/>
              <a:gd name="T87" fmla="*/ 9 h 34"/>
              <a:gd name="T88" fmla="*/ 9 w 64"/>
              <a:gd name="T89" fmla="*/ 10 h 34"/>
              <a:gd name="T90" fmla="*/ 8 w 64"/>
              <a:gd name="T91" fmla="*/ 12 h 34"/>
              <a:gd name="T92" fmla="*/ 4 w 64"/>
              <a:gd name="T93" fmla="*/ 13 h 34"/>
              <a:gd name="T94" fmla="*/ 3 w 64"/>
              <a:gd name="T95" fmla="*/ 16 h 34"/>
              <a:gd name="T96" fmla="*/ 2 w 64"/>
              <a:gd name="T97" fmla="*/ 17 h 34"/>
              <a:gd name="T98" fmla="*/ 3 w 64"/>
              <a:gd name="T99" fmla="*/ 19 h 34"/>
              <a:gd name="T100" fmla="*/ 2 w 64"/>
              <a:gd name="T101" fmla="*/ 21 h 34"/>
              <a:gd name="T102" fmla="*/ 0 w 64"/>
              <a:gd name="T103" fmla="*/ 21 h 34"/>
              <a:gd name="T104" fmla="*/ 0 w 64"/>
              <a:gd name="T105" fmla="*/ 21 h 34"/>
              <a:gd name="T106" fmla="*/ 1 w 64"/>
              <a:gd name="T107" fmla="*/ 22 h 34"/>
              <a:gd name="T108" fmla="*/ 2 w 64"/>
              <a:gd name="T109" fmla="*/ 24 h 34"/>
              <a:gd name="T110" fmla="*/ 2 w 64"/>
              <a:gd name="T111" fmla="*/ 24 h 34"/>
              <a:gd name="T112" fmla="*/ 3 w 64"/>
              <a:gd name="T113" fmla="*/ 25 h 34"/>
              <a:gd name="T114" fmla="*/ 5 w 64"/>
              <a:gd name="T115" fmla="*/ 26 h 34"/>
              <a:gd name="T116" fmla="*/ 6 w 64"/>
              <a:gd name="T117" fmla="*/ 27 h 34"/>
              <a:gd name="T118" fmla="*/ 11 w 64"/>
              <a:gd name="T119"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 h="34">
                <a:moveTo>
                  <a:pt x="11" y="32"/>
                </a:moveTo>
                <a:cubicBezTo>
                  <a:pt x="11" y="32"/>
                  <a:pt x="12" y="32"/>
                  <a:pt x="12" y="32"/>
                </a:cubicBezTo>
                <a:cubicBezTo>
                  <a:pt x="12" y="32"/>
                  <a:pt x="12" y="32"/>
                  <a:pt x="12" y="32"/>
                </a:cubicBezTo>
                <a:cubicBezTo>
                  <a:pt x="14" y="33"/>
                  <a:pt x="15" y="34"/>
                  <a:pt x="16" y="34"/>
                </a:cubicBezTo>
                <a:cubicBezTo>
                  <a:pt x="16" y="34"/>
                  <a:pt x="16" y="34"/>
                  <a:pt x="16" y="34"/>
                </a:cubicBezTo>
                <a:cubicBezTo>
                  <a:pt x="17" y="34"/>
                  <a:pt x="17" y="34"/>
                  <a:pt x="17" y="34"/>
                </a:cubicBezTo>
                <a:cubicBezTo>
                  <a:pt x="17" y="34"/>
                  <a:pt x="17" y="34"/>
                  <a:pt x="17" y="34"/>
                </a:cubicBezTo>
                <a:cubicBezTo>
                  <a:pt x="18" y="34"/>
                  <a:pt x="18" y="34"/>
                  <a:pt x="19" y="34"/>
                </a:cubicBezTo>
                <a:cubicBezTo>
                  <a:pt x="19" y="34"/>
                  <a:pt x="20" y="34"/>
                  <a:pt x="20" y="34"/>
                </a:cubicBezTo>
                <a:cubicBezTo>
                  <a:pt x="20" y="34"/>
                  <a:pt x="21" y="34"/>
                  <a:pt x="21" y="34"/>
                </a:cubicBezTo>
                <a:cubicBezTo>
                  <a:pt x="21" y="34"/>
                  <a:pt x="21" y="34"/>
                  <a:pt x="21" y="34"/>
                </a:cubicBezTo>
                <a:cubicBezTo>
                  <a:pt x="21" y="34"/>
                  <a:pt x="21" y="34"/>
                  <a:pt x="21" y="34"/>
                </a:cubicBezTo>
                <a:cubicBezTo>
                  <a:pt x="21" y="34"/>
                  <a:pt x="22" y="34"/>
                  <a:pt x="22" y="33"/>
                </a:cubicBezTo>
                <a:cubicBezTo>
                  <a:pt x="23" y="33"/>
                  <a:pt x="23" y="33"/>
                  <a:pt x="23" y="33"/>
                </a:cubicBezTo>
                <a:cubicBezTo>
                  <a:pt x="24" y="33"/>
                  <a:pt x="24" y="33"/>
                  <a:pt x="24" y="33"/>
                </a:cubicBezTo>
                <a:cubicBezTo>
                  <a:pt x="24" y="33"/>
                  <a:pt x="25" y="32"/>
                  <a:pt x="25" y="32"/>
                </a:cubicBezTo>
                <a:cubicBezTo>
                  <a:pt x="31" y="27"/>
                  <a:pt x="31" y="27"/>
                  <a:pt x="31" y="27"/>
                </a:cubicBezTo>
                <a:cubicBezTo>
                  <a:pt x="29" y="31"/>
                  <a:pt x="29" y="31"/>
                  <a:pt x="29" y="31"/>
                </a:cubicBezTo>
                <a:cubicBezTo>
                  <a:pt x="34" y="29"/>
                  <a:pt x="34" y="29"/>
                  <a:pt x="34" y="29"/>
                </a:cubicBezTo>
                <a:cubicBezTo>
                  <a:pt x="35" y="29"/>
                  <a:pt x="35" y="29"/>
                  <a:pt x="35" y="29"/>
                </a:cubicBezTo>
                <a:cubicBezTo>
                  <a:pt x="36" y="29"/>
                  <a:pt x="36" y="29"/>
                  <a:pt x="36" y="29"/>
                </a:cubicBezTo>
                <a:cubicBezTo>
                  <a:pt x="37" y="29"/>
                  <a:pt x="37" y="29"/>
                  <a:pt x="37" y="29"/>
                </a:cubicBezTo>
                <a:cubicBezTo>
                  <a:pt x="37" y="29"/>
                  <a:pt x="38" y="29"/>
                  <a:pt x="38" y="29"/>
                </a:cubicBezTo>
                <a:cubicBezTo>
                  <a:pt x="38" y="29"/>
                  <a:pt x="38" y="29"/>
                  <a:pt x="38" y="29"/>
                </a:cubicBezTo>
                <a:cubicBezTo>
                  <a:pt x="39" y="29"/>
                  <a:pt x="39" y="29"/>
                  <a:pt x="40" y="30"/>
                </a:cubicBezTo>
                <a:cubicBezTo>
                  <a:pt x="40" y="30"/>
                  <a:pt x="40" y="30"/>
                  <a:pt x="40" y="30"/>
                </a:cubicBezTo>
                <a:cubicBezTo>
                  <a:pt x="42" y="29"/>
                  <a:pt x="42" y="29"/>
                  <a:pt x="42" y="29"/>
                </a:cubicBezTo>
                <a:cubicBezTo>
                  <a:pt x="43" y="29"/>
                  <a:pt x="43" y="29"/>
                  <a:pt x="43" y="29"/>
                </a:cubicBezTo>
                <a:cubicBezTo>
                  <a:pt x="43" y="29"/>
                  <a:pt x="44" y="29"/>
                  <a:pt x="44" y="29"/>
                </a:cubicBezTo>
                <a:cubicBezTo>
                  <a:pt x="44" y="28"/>
                  <a:pt x="44" y="28"/>
                  <a:pt x="45" y="28"/>
                </a:cubicBezTo>
                <a:cubicBezTo>
                  <a:pt x="45" y="28"/>
                  <a:pt x="45" y="28"/>
                  <a:pt x="45" y="28"/>
                </a:cubicBezTo>
                <a:cubicBezTo>
                  <a:pt x="45" y="28"/>
                  <a:pt x="46" y="28"/>
                  <a:pt x="47" y="28"/>
                </a:cubicBezTo>
                <a:cubicBezTo>
                  <a:pt x="47" y="28"/>
                  <a:pt x="48" y="28"/>
                  <a:pt x="48" y="27"/>
                </a:cubicBezTo>
                <a:cubicBezTo>
                  <a:pt x="48" y="27"/>
                  <a:pt x="49" y="27"/>
                  <a:pt x="49" y="26"/>
                </a:cubicBezTo>
                <a:cubicBezTo>
                  <a:pt x="50" y="26"/>
                  <a:pt x="50" y="25"/>
                  <a:pt x="51" y="24"/>
                </a:cubicBezTo>
                <a:cubicBezTo>
                  <a:pt x="51" y="23"/>
                  <a:pt x="51" y="22"/>
                  <a:pt x="52" y="22"/>
                </a:cubicBezTo>
                <a:cubicBezTo>
                  <a:pt x="52" y="21"/>
                  <a:pt x="53" y="20"/>
                  <a:pt x="53" y="19"/>
                </a:cubicBezTo>
                <a:cubicBezTo>
                  <a:pt x="53" y="19"/>
                  <a:pt x="53" y="18"/>
                  <a:pt x="53" y="18"/>
                </a:cubicBezTo>
                <a:cubicBezTo>
                  <a:pt x="53" y="18"/>
                  <a:pt x="53" y="18"/>
                  <a:pt x="53" y="18"/>
                </a:cubicBezTo>
                <a:cubicBezTo>
                  <a:pt x="54" y="17"/>
                  <a:pt x="55" y="15"/>
                  <a:pt x="56" y="14"/>
                </a:cubicBezTo>
                <a:cubicBezTo>
                  <a:pt x="57" y="13"/>
                  <a:pt x="57" y="12"/>
                  <a:pt x="58" y="11"/>
                </a:cubicBezTo>
                <a:cubicBezTo>
                  <a:pt x="59" y="11"/>
                  <a:pt x="59" y="11"/>
                  <a:pt x="60" y="10"/>
                </a:cubicBezTo>
                <a:cubicBezTo>
                  <a:pt x="60" y="10"/>
                  <a:pt x="60" y="10"/>
                  <a:pt x="60" y="10"/>
                </a:cubicBezTo>
                <a:cubicBezTo>
                  <a:pt x="64" y="7"/>
                  <a:pt x="64" y="7"/>
                  <a:pt x="64" y="7"/>
                </a:cubicBezTo>
                <a:cubicBezTo>
                  <a:pt x="64" y="7"/>
                  <a:pt x="64" y="7"/>
                  <a:pt x="64" y="7"/>
                </a:cubicBezTo>
                <a:cubicBezTo>
                  <a:pt x="64" y="7"/>
                  <a:pt x="64" y="7"/>
                  <a:pt x="64" y="7"/>
                </a:cubicBezTo>
                <a:cubicBezTo>
                  <a:pt x="63" y="6"/>
                  <a:pt x="63" y="6"/>
                  <a:pt x="63" y="6"/>
                </a:cubicBezTo>
                <a:cubicBezTo>
                  <a:pt x="62" y="5"/>
                  <a:pt x="62" y="5"/>
                  <a:pt x="62" y="5"/>
                </a:cubicBezTo>
                <a:cubicBezTo>
                  <a:pt x="62" y="5"/>
                  <a:pt x="62" y="5"/>
                  <a:pt x="62" y="5"/>
                </a:cubicBezTo>
                <a:cubicBezTo>
                  <a:pt x="62" y="5"/>
                  <a:pt x="61" y="5"/>
                  <a:pt x="61" y="4"/>
                </a:cubicBezTo>
                <a:cubicBezTo>
                  <a:pt x="61" y="4"/>
                  <a:pt x="61" y="4"/>
                  <a:pt x="61" y="4"/>
                </a:cubicBezTo>
                <a:cubicBezTo>
                  <a:pt x="61" y="4"/>
                  <a:pt x="61" y="4"/>
                  <a:pt x="61" y="4"/>
                </a:cubicBezTo>
                <a:cubicBezTo>
                  <a:pt x="60" y="4"/>
                  <a:pt x="59" y="3"/>
                  <a:pt x="59" y="3"/>
                </a:cubicBezTo>
                <a:cubicBezTo>
                  <a:pt x="59" y="3"/>
                  <a:pt x="59" y="3"/>
                  <a:pt x="59" y="3"/>
                </a:cubicBezTo>
                <a:cubicBezTo>
                  <a:pt x="58" y="3"/>
                  <a:pt x="58" y="3"/>
                  <a:pt x="58" y="3"/>
                </a:cubicBezTo>
                <a:cubicBezTo>
                  <a:pt x="58" y="3"/>
                  <a:pt x="57" y="3"/>
                  <a:pt x="56" y="3"/>
                </a:cubicBezTo>
                <a:cubicBezTo>
                  <a:pt x="56" y="3"/>
                  <a:pt x="56" y="3"/>
                  <a:pt x="56" y="3"/>
                </a:cubicBezTo>
                <a:cubicBezTo>
                  <a:pt x="56" y="3"/>
                  <a:pt x="55" y="3"/>
                  <a:pt x="55" y="3"/>
                </a:cubicBezTo>
                <a:cubicBezTo>
                  <a:pt x="55" y="3"/>
                  <a:pt x="54" y="3"/>
                  <a:pt x="54" y="3"/>
                </a:cubicBezTo>
                <a:cubicBezTo>
                  <a:pt x="54" y="3"/>
                  <a:pt x="53" y="2"/>
                  <a:pt x="52" y="1"/>
                </a:cubicBezTo>
                <a:cubicBezTo>
                  <a:pt x="52" y="1"/>
                  <a:pt x="52" y="1"/>
                  <a:pt x="52" y="1"/>
                </a:cubicBezTo>
                <a:cubicBezTo>
                  <a:pt x="52" y="1"/>
                  <a:pt x="52" y="1"/>
                  <a:pt x="52" y="1"/>
                </a:cubicBezTo>
                <a:cubicBezTo>
                  <a:pt x="52" y="1"/>
                  <a:pt x="51" y="1"/>
                  <a:pt x="51" y="1"/>
                </a:cubicBezTo>
                <a:cubicBezTo>
                  <a:pt x="51" y="1"/>
                  <a:pt x="51" y="1"/>
                  <a:pt x="50" y="1"/>
                </a:cubicBezTo>
                <a:cubicBezTo>
                  <a:pt x="49" y="1"/>
                  <a:pt x="49" y="1"/>
                  <a:pt x="49" y="1"/>
                </a:cubicBezTo>
                <a:cubicBezTo>
                  <a:pt x="49" y="1"/>
                  <a:pt x="49" y="1"/>
                  <a:pt x="49" y="1"/>
                </a:cubicBezTo>
                <a:cubicBezTo>
                  <a:pt x="47" y="1"/>
                  <a:pt x="46" y="0"/>
                  <a:pt x="45" y="1"/>
                </a:cubicBezTo>
                <a:cubicBezTo>
                  <a:pt x="44" y="1"/>
                  <a:pt x="42" y="2"/>
                  <a:pt x="41" y="3"/>
                </a:cubicBezTo>
                <a:cubicBezTo>
                  <a:pt x="40" y="4"/>
                  <a:pt x="40" y="4"/>
                  <a:pt x="40" y="4"/>
                </a:cubicBezTo>
                <a:cubicBezTo>
                  <a:pt x="40" y="5"/>
                  <a:pt x="39" y="5"/>
                  <a:pt x="38" y="5"/>
                </a:cubicBezTo>
                <a:cubicBezTo>
                  <a:pt x="38" y="6"/>
                  <a:pt x="37" y="6"/>
                  <a:pt x="36" y="6"/>
                </a:cubicBezTo>
                <a:cubicBezTo>
                  <a:pt x="36" y="6"/>
                  <a:pt x="35" y="6"/>
                  <a:pt x="34" y="5"/>
                </a:cubicBezTo>
                <a:cubicBezTo>
                  <a:pt x="33" y="5"/>
                  <a:pt x="32" y="5"/>
                  <a:pt x="30" y="6"/>
                </a:cubicBezTo>
                <a:cubicBezTo>
                  <a:pt x="30" y="6"/>
                  <a:pt x="30" y="6"/>
                  <a:pt x="30" y="6"/>
                </a:cubicBezTo>
                <a:cubicBezTo>
                  <a:pt x="28" y="7"/>
                  <a:pt x="28" y="7"/>
                  <a:pt x="28" y="7"/>
                </a:cubicBezTo>
                <a:cubicBezTo>
                  <a:pt x="27" y="7"/>
                  <a:pt x="27" y="7"/>
                  <a:pt x="26" y="8"/>
                </a:cubicBezTo>
                <a:cubicBezTo>
                  <a:pt x="26" y="8"/>
                  <a:pt x="26" y="8"/>
                  <a:pt x="27" y="8"/>
                </a:cubicBezTo>
                <a:cubicBezTo>
                  <a:pt x="27" y="10"/>
                  <a:pt x="27" y="10"/>
                  <a:pt x="27" y="10"/>
                </a:cubicBezTo>
                <a:cubicBezTo>
                  <a:pt x="26" y="10"/>
                  <a:pt x="26" y="10"/>
                  <a:pt x="26" y="10"/>
                </a:cubicBezTo>
                <a:cubicBezTo>
                  <a:pt x="25" y="10"/>
                  <a:pt x="24" y="11"/>
                  <a:pt x="23" y="11"/>
                </a:cubicBezTo>
                <a:cubicBezTo>
                  <a:pt x="22" y="11"/>
                  <a:pt x="21" y="11"/>
                  <a:pt x="20" y="11"/>
                </a:cubicBezTo>
                <a:cubicBezTo>
                  <a:pt x="20" y="11"/>
                  <a:pt x="19" y="11"/>
                  <a:pt x="19" y="11"/>
                </a:cubicBezTo>
                <a:cubicBezTo>
                  <a:pt x="18" y="11"/>
                  <a:pt x="18" y="11"/>
                  <a:pt x="18" y="11"/>
                </a:cubicBezTo>
                <a:cubicBezTo>
                  <a:pt x="18" y="11"/>
                  <a:pt x="17" y="11"/>
                  <a:pt x="16" y="11"/>
                </a:cubicBezTo>
                <a:cubicBezTo>
                  <a:pt x="13" y="11"/>
                  <a:pt x="11" y="10"/>
                  <a:pt x="10" y="8"/>
                </a:cubicBezTo>
                <a:cubicBezTo>
                  <a:pt x="10" y="8"/>
                  <a:pt x="9" y="8"/>
                  <a:pt x="9" y="8"/>
                </a:cubicBezTo>
                <a:cubicBezTo>
                  <a:pt x="9" y="8"/>
                  <a:pt x="9" y="8"/>
                  <a:pt x="9" y="8"/>
                </a:cubicBezTo>
                <a:cubicBezTo>
                  <a:pt x="9" y="9"/>
                  <a:pt x="9" y="9"/>
                  <a:pt x="9" y="9"/>
                </a:cubicBezTo>
                <a:cubicBezTo>
                  <a:pt x="9" y="9"/>
                  <a:pt x="9" y="9"/>
                  <a:pt x="9" y="9"/>
                </a:cubicBezTo>
                <a:cubicBezTo>
                  <a:pt x="9" y="10"/>
                  <a:pt x="9" y="10"/>
                  <a:pt x="9" y="10"/>
                </a:cubicBezTo>
                <a:cubicBezTo>
                  <a:pt x="10" y="11"/>
                  <a:pt x="10" y="11"/>
                  <a:pt x="10" y="11"/>
                </a:cubicBezTo>
                <a:cubicBezTo>
                  <a:pt x="8" y="12"/>
                  <a:pt x="8" y="12"/>
                  <a:pt x="8" y="12"/>
                </a:cubicBezTo>
                <a:cubicBezTo>
                  <a:pt x="7" y="12"/>
                  <a:pt x="5" y="12"/>
                  <a:pt x="4" y="12"/>
                </a:cubicBezTo>
                <a:cubicBezTo>
                  <a:pt x="4" y="12"/>
                  <a:pt x="4" y="13"/>
                  <a:pt x="4" y="13"/>
                </a:cubicBezTo>
                <a:cubicBezTo>
                  <a:pt x="4" y="13"/>
                  <a:pt x="4" y="13"/>
                  <a:pt x="4" y="13"/>
                </a:cubicBezTo>
                <a:cubicBezTo>
                  <a:pt x="4" y="15"/>
                  <a:pt x="3" y="15"/>
                  <a:pt x="3" y="16"/>
                </a:cubicBezTo>
                <a:cubicBezTo>
                  <a:pt x="2" y="16"/>
                  <a:pt x="2" y="16"/>
                  <a:pt x="2" y="16"/>
                </a:cubicBezTo>
                <a:cubicBezTo>
                  <a:pt x="2" y="16"/>
                  <a:pt x="2" y="17"/>
                  <a:pt x="2" y="17"/>
                </a:cubicBezTo>
                <a:cubicBezTo>
                  <a:pt x="2" y="18"/>
                  <a:pt x="2" y="18"/>
                  <a:pt x="2" y="18"/>
                </a:cubicBezTo>
                <a:cubicBezTo>
                  <a:pt x="3" y="18"/>
                  <a:pt x="3" y="19"/>
                  <a:pt x="3" y="19"/>
                </a:cubicBezTo>
                <a:cubicBezTo>
                  <a:pt x="3" y="21"/>
                  <a:pt x="3" y="21"/>
                  <a:pt x="3" y="21"/>
                </a:cubicBezTo>
                <a:cubicBezTo>
                  <a:pt x="2" y="21"/>
                  <a:pt x="2" y="21"/>
                  <a:pt x="2" y="21"/>
                </a:cubicBezTo>
                <a:cubicBezTo>
                  <a:pt x="1" y="21"/>
                  <a:pt x="1" y="21"/>
                  <a:pt x="1" y="21"/>
                </a:cubicBezTo>
                <a:cubicBezTo>
                  <a:pt x="0" y="21"/>
                  <a:pt x="0" y="21"/>
                  <a:pt x="0" y="21"/>
                </a:cubicBezTo>
                <a:cubicBezTo>
                  <a:pt x="0" y="21"/>
                  <a:pt x="0" y="21"/>
                  <a:pt x="0" y="21"/>
                </a:cubicBezTo>
                <a:cubicBezTo>
                  <a:pt x="0" y="21"/>
                  <a:pt x="0" y="21"/>
                  <a:pt x="0" y="21"/>
                </a:cubicBezTo>
                <a:cubicBezTo>
                  <a:pt x="0" y="21"/>
                  <a:pt x="0" y="21"/>
                  <a:pt x="0" y="21"/>
                </a:cubicBezTo>
                <a:cubicBezTo>
                  <a:pt x="0" y="21"/>
                  <a:pt x="1" y="21"/>
                  <a:pt x="1" y="22"/>
                </a:cubicBezTo>
                <a:cubicBezTo>
                  <a:pt x="1" y="22"/>
                  <a:pt x="1" y="23"/>
                  <a:pt x="1" y="23"/>
                </a:cubicBezTo>
                <a:cubicBezTo>
                  <a:pt x="2" y="24"/>
                  <a:pt x="2" y="24"/>
                  <a:pt x="2" y="24"/>
                </a:cubicBezTo>
                <a:cubicBezTo>
                  <a:pt x="2" y="24"/>
                  <a:pt x="2" y="24"/>
                  <a:pt x="2" y="24"/>
                </a:cubicBezTo>
                <a:cubicBezTo>
                  <a:pt x="2" y="24"/>
                  <a:pt x="2" y="24"/>
                  <a:pt x="2" y="24"/>
                </a:cubicBezTo>
                <a:cubicBezTo>
                  <a:pt x="2" y="24"/>
                  <a:pt x="2" y="25"/>
                  <a:pt x="3" y="25"/>
                </a:cubicBezTo>
                <a:cubicBezTo>
                  <a:pt x="3" y="25"/>
                  <a:pt x="3" y="25"/>
                  <a:pt x="3" y="25"/>
                </a:cubicBezTo>
                <a:cubicBezTo>
                  <a:pt x="4" y="26"/>
                  <a:pt x="4" y="26"/>
                  <a:pt x="5" y="26"/>
                </a:cubicBezTo>
                <a:cubicBezTo>
                  <a:pt x="5" y="26"/>
                  <a:pt x="5" y="26"/>
                  <a:pt x="5" y="26"/>
                </a:cubicBezTo>
                <a:cubicBezTo>
                  <a:pt x="5" y="26"/>
                  <a:pt x="5" y="27"/>
                  <a:pt x="5" y="27"/>
                </a:cubicBezTo>
                <a:cubicBezTo>
                  <a:pt x="6" y="27"/>
                  <a:pt x="6" y="27"/>
                  <a:pt x="6" y="27"/>
                </a:cubicBezTo>
                <a:cubicBezTo>
                  <a:pt x="6" y="27"/>
                  <a:pt x="6" y="28"/>
                  <a:pt x="6" y="28"/>
                </a:cubicBezTo>
                <a:cubicBezTo>
                  <a:pt x="7" y="29"/>
                  <a:pt x="9" y="31"/>
                  <a:pt x="11" y="32"/>
                </a:cubicBezTo>
                <a:close/>
              </a:path>
            </a:pathLst>
          </a:custGeom>
          <a:solidFill>
            <a:srgbClr val="00A5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58" name="Freeform 3115">
            <a:extLst>
              <a:ext uri="{FF2B5EF4-FFF2-40B4-BE49-F238E27FC236}">
                <a16:creationId xmlns:a16="http://schemas.microsoft.com/office/drawing/2014/main" id="{64F9DBA7-F246-467C-B3E7-968FFF62B86E}"/>
              </a:ext>
            </a:extLst>
          </p:cNvPr>
          <p:cNvSpPr>
            <a:spLocks/>
          </p:cNvSpPr>
          <p:nvPr/>
        </p:nvSpPr>
        <p:spPr bwMode="auto">
          <a:xfrm>
            <a:off x="3543174" y="2986318"/>
            <a:ext cx="64423" cy="29680"/>
          </a:xfrm>
          <a:custGeom>
            <a:avLst/>
            <a:gdLst>
              <a:gd name="T0" fmla="*/ 14 w 55"/>
              <a:gd name="T1" fmla="*/ 3 h 21"/>
              <a:gd name="T2" fmla="*/ 13 w 55"/>
              <a:gd name="T3" fmla="*/ 4 h 21"/>
              <a:gd name="T4" fmla="*/ 13 w 55"/>
              <a:gd name="T5" fmla="*/ 5 h 21"/>
              <a:gd name="T6" fmla="*/ 5 w 55"/>
              <a:gd name="T7" fmla="*/ 9 h 21"/>
              <a:gd name="T8" fmla="*/ 5 w 55"/>
              <a:gd name="T9" fmla="*/ 9 h 21"/>
              <a:gd name="T10" fmla="*/ 3 w 55"/>
              <a:gd name="T11" fmla="*/ 9 h 21"/>
              <a:gd name="T12" fmla="*/ 2 w 55"/>
              <a:gd name="T13" fmla="*/ 9 h 21"/>
              <a:gd name="T14" fmla="*/ 1 w 55"/>
              <a:gd name="T15" fmla="*/ 11 h 21"/>
              <a:gd name="T16" fmla="*/ 1 w 55"/>
              <a:gd name="T17" fmla="*/ 13 h 21"/>
              <a:gd name="T18" fmla="*/ 0 w 55"/>
              <a:gd name="T19" fmla="*/ 14 h 21"/>
              <a:gd name="T20" fmla="*/ 1 w 55"/>
              <a:gd name="T21" fmla="*/ 14 h 21"/>
              <a:gd name="T22" fmla="*/ 2 w 55"/>
              <a:gd name="T23" fmla="*/ 16 h 21"/>
              <a:gd name="T24" fmla="*/ 3 w 55"/>
              <a:gd name="T25" fmla="*/ 17 h 21"/>
              <a:gd name="T26" fmla="*/ 3 w 55"/>
              <a:gd name="T27" fmla="*/ 17 h 21"/>
              <a:gd name="T28" fmla="*/ 4 w 55"/>
              <a:gd name="T29" fmla="*/ 17 h 21"/>
              <a:gd name="T30" fmla="*/ 5 w 55"/>
              <a:gd name="T31" fmla="*/ 18 h 21"/>
              <a:gd name="T32" fmla="*/ 10 w 55"/>
              <a:gd name="T33" fmla="*/ 21 h 21"/>
              <a:gd name="T34" fmla="*/ 18 w 55"/>
              <a:gd name="T35" fmla="*/ 20 h 21"/>
              <a:gd name="T36" fmla="*/ 19 w 55"/>
              <a:gd name="T37" fmla="*/ 18 h 21"/>
              <a:gd name="T38" fmla="*/ 23 w 55"/>
              <a:gd name="T39" fmla="*/ 16 h 21"/>
              <a:gd name="T40" fmla="*/ 28 w 55"/>
              <a:gd name="T41" fmla="*/ 15 h 21"/>
              <a:gd name="T42" fmla="*/ 28 w 55"/>
              <a:gd name="T43" fmla="*/ 15 h 21"/>
              <a:gd name="T44" fmla="*/ 30 w 55"/>
              <a:gd name="T45" fmla="*/ 15 h 21"/>
              <a:gd name="T46" fmla="*/ 33 w 55"/>
              <a:gd name="T47" fmla="*/ 14 h 21"/>
              <a:gd name="T48" fmla="*/ 38 w 55"/>
              <a:gd name="T49" fmla="*/ 10 h 21"/>
              <a:gd name="T50" fmla="*/ 43 w 55"/>
              <a:gd name="T51" fmla="*/ 10 h 21"/>
              <a:gd name="T52" fmla="*/ 44 w 55"/>
              <a:gd name="T53" fmla="*/ 10 h 21"/>
              <a:gd name="T54" fmla="*/ 48 w 55"/>
              <a:gd name="T55" fmla="*/ 11 h 21"/>
              <a:gd name="T56" fmla="*/ 49 w 55"/>
              <a:gd name="T57" fmla="*/ 13 h 21"/>
              <a:gd name="T58" fmla="*/ 52 w 55"/>
              <a:gd name="T59" fmla="*/ 12 h 21"/>
              <a:gd name="T60" fmla="*/ 52 w 55"/>
              <a:gd name="T61" fmla="*/ 12 h 21"/>
              <a:gd name="T62" fmla="*/ 53 w 55"/>
              <a:gd name="T63" fmla="*/ 10 h 21"/>
              <a:gd name="T64" fmla="*/ 55 w 55"/>
              <a:gd name="T65" fmla="*/ 5 h 21"/>
              <a:gd name="T66" fmla="*/ 54 w 55"/>
              <a:gd name="T67" fmla="*/ 5 h 21"/>
              <a:gd name="T68" fmla="*/ 52 w 55"/>
              <a:gd name="T69" fmla="*/ 4 h 21"/>
              <a:gd name="T70" fmla="*/ 46 w 55"/>
              <a:gd name="T71" fmla="*/ 1 h 21"/>
              <a:gd name="T72" fmla="*/ 42 w 55"/>
              <a:gd name="T73" fmla="*/ 2 h 21"/>
              <a:gd name="T74" fmla="*/ 37 w 55"/>
              <a:gd name="T75" fmla="*/ 2 h 21"/>
              <a:gd name="T76" fmla="*/ 36 w 55"/>
              <a:gd name="T77" fmla="*/ 2 h 21"/>
              <a:gd name="T78" fmla="*/ 33 w 55"/>
              <a:gd name="T79" fmla="*/ 3 h 21"/>
              <a:gd name="T80" fmla="*/ 30 w 55"/>
              <a:gd name="T81" fmla="*/ 4 h 21"/>
              <a:gd name="T82" fmla="*/ 30 w 55"/>
              <a:gd name="T83" fmla="*/ 4 h 21"/>
              <a:gd name="T84" fmla="*/ 29 w 55"/>
              <a:gd name="T85" fmla="*/ 4 h 21"/>
              <a:gd name="T86" fmla="*/ 28 w 55"/>
              <a:gd name="T87" fmla="*/ 4 h 21"/>
              <a:gd name="T88" fmla="*/ 27 w 55"/>
              <a:gd name="T89" fmla="*/ 4 h 21"/>
              <a:gd name="T90" fmla="*/ 28 w 55"/>
              <a:gd name="T91" fmla="*/ 3 h 21"/>
              <a:gd name="T92" fmla="*/ 26 w 55"/>
              <a:gd name="T93" fmla="*/ 0 h 21"/>
              <a:gd name="T94" fmla="*/ 22 w 55"/>
              <a:gd name="T95" fmla="*/ 1 h 21"/>
              <a:gd name="T96" fmla="*/ 21 w 55"/>
              <a:gd name="T97" fmla="*/ 1 h 21"/>
              <a:gd name="T98" fmla="*/ 20 w 55"/>
              <a:gd name="T99" fmla="*/ 1 h 21"/>
              <a:gd name="T100" fmla="*/ 19 w 55"/>
              <a:gd name="T101" fmla="*/ 0 h 21"/>
              <a:gd name="T102" fmla="*/ 18 w 55"/>
              <a:gd name="T103"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5" h="21">
                <a:moveTo>
                  <a:pt x="17" y="1"/>
                </a:moveTo>
                <a:cubicBezTo>
                  <a:pt x="16" y="1"/>
                  <a:pt x="15" y="2"/>
                  <a:pt x="14" y="3"/>
                </a:cubicBezTo>
                <a:cubicBezTo>
                  <a:pt x="14" y="3"/>
                  <a:pt x="14" y="3"/>
                  <a:pt x="14" y="3"/>
                </a:cubicBezTo>
                <a:cubicBezTo>
                  <a:pt x="13" y="3"/>
                  <a:pt x="13" y="4"/>
                  <a:pt x="13" y="4"/>
                </a:cubicBezTo>
                <a:cubicBezTo>
                  <a:pt x="13" y="4"/>
                  <a:pt x="13" y="4"/>
                  <a:pt x="13" y="4"/>
                </a:cubicBezTo>
                <a:cubicBezTo>
                  <a:pt x="13" y="4"/>
                  <a:pt x="13" y="5"/>
                  <a:pt x="13" y="5"/>
                </a:cubicBezTo>
                <a:cubicBezTo>
                  <a:pt x="12" y="6"/>
                  <a:pt x="11" y="7"/>
                  <a:pt x="10" y="8"/>
                </a:cubicBezTo>
                <a:cubicBezTo>
                  <a:pt x="8" y="8"/>
                  <a:pt x="7" y="9"/>
                  <a:pt x="5" y="9"/>
                </a:cubicBezTo>
                <a:cubicBezTo>
                  <a:pt x="5" y="9"/>
                  <a:pt x="5" y="9"/>
                  <a:pt x="5" y="9"/>
                </a:cubicBezTo>
                <a:cubicBezTo>
                  <a:pt x="5" y="9"/>
                  <a:pt x="5" y="9"/>
                  <a:pt x="5" y="9"/>
                </a:cubicBezTo>
                <a:cubicBezTo>
                  <a:pt x="4" y="9"/>
                  <a:pt x="4" y="9"/>
                  <a:pt x="3" y="9"/>
                </a:cubicBezTo>
                <a:cubicBezTo>
                  <a:pt x="3" y="9"/>
                  <a:pt x="3" y="9"/>
                  <a:pt x="3" y="9"/>
                </a:cubicBezTo>
                <a:cubicBezTo>
                  <a:pt x="3" y="9"/>
                  <a:pt x="3" y="8"/>
                  <a:pt x="3" y="8"/>
                </a:cubicBezTo>
                <a:cubicBezTo>
                  <a:pt x="2" y="9"/>
                  <a:pt x="2" y="9"/>
                  <a:pt x="2" y="9"/>
                </a:cubicBezTo>
                <a:cubicBezTo>
                  <a:pt x="2" y="10"/>
                  <a:pt x="1" y="10"/>
                  <a:pt x="1" y="11"/>
                </a:cubicBezTo>
                <a:cubicBezTo>
                  <a:pt x="1" y="11"/>
                  <a:pt x="1" y="11"/>
                  <a:pt x="1" y="11"/>
                </a:cubicBezTo>
                <a:cubicBezTo>
                  <a:pt x="1" y="14"/>
                  <a:pt x="1" y="14"/>
                  <a:pt x="1" y="14"/>
                </a:cubicBezTo>
                <a:cubicBezTo>
                  <a:pt x="1" y="13"/>
                  <a:pt x="1" y="13"/>
                  <a:pt x="1" y="13"/>
                </a:cubicBezTo>
                <a:cubicBezTo>
                  <a:pt x="0" y="13"/>
                  <a:pt x="0" y="13"/>
                  <a:pt x="0" y="13"/>
                </a:cubicBezTo>
                <a:cubicBezTo>
                  <a:pt x="0" y="14"/>
                  <a:pt x="0" y="14"/>
                  <a:pt x="0" y="14"/>
                </a:cubicBezTo>
                <a:cubicBezTo>
                  <a:pt x="0" y="14"/>
                  <a:pt x="0" y="14"/>
                  <a:pt x="0" y="14"/>
                </a:cubicBezTo>
                <a:cubicBezTo>
                  <a:pt x="1" y="14"/>
                  <a:pt x="1" y="14"/>
                  <a:pt x="1" y="14"/>
                </a:cubicBezTo>
                <a:cubicBezTo>
                  <a:pt x="1" y="15"/>
                  <a:pt x="1" y="15"/>
                  <a:pt x="1" y="16"/>
                </a:cubicBezTo>
                <a:cubicBezTo>
                  <a:pt x="2" y="16"/>
                  <a:pt x="2" y="16"/>
                  <a:pt x="2" y="16"/>
                </a:cubicBezTo>
                <a:cubicBezTo>
                  <a:pt x="2" y="17"/>
                  <a:pt x="3" y="17"/>
                  <a:pt x="3" y="17"/>
                </a:cubicBezTo>
                <a:cubicBezTo>
                  <a:pt x="3" y="17"/>
                  <a:pt x="3" y="17"/>
                  <a:pt x="3" y="17"/>
                </a:cubicBezTo>
                <a:cubicBezTo>
                  <a:pt x="3" y="17"/>
                  <a:pt x="3" y="17"/>
                  <a:pt x="3" y="17"/>
                </a:cubicBezTo>
                <a:cubicBezTo>
                  <a:pt x="3" y="17"/>
                  <a:pt x="3" y="17"/>
                  <a:pt x="3" y="17"/>
                </a:cubicBezTo>
                <a:cubicBezTo>
                  <a:pt x="3" y="17"/>
                  <a:pt x="4" y="17"/>
                  <a:pt x="4" y="17"/>
                </a:cubicBezTo>
                <a:cubicBezTo>
                  <a:pt x="4" y="17"/>
                  <a:pt x="4" y="17"/>
                  <a:pt x="4" y="17"/>
                </a:cubicBezTo>
                <a:cubicBezTo>
                  <a:pt x="4" y="18"/>
                  <a:pt x="5" y="18"/>
                  <a:pt x="5" y="18"/>
                </a:cubicBezTo>
                <a:cubicBezTo>
                  <a:pt x="5" y="18"/>
                  <a:pt x="5" y="18"/>
                  <a:pt x="5" y="18"/>
                </a:cubicBezTo>
                <a:cubicBezTo>
                  <a:pt x="6" y="19"/>
                  <a:pt x="8" y="20"/>
                  <a:pt x="9" y="20"/>
                </a:cubicBezTo>
                <a:cubicBezTo>
                  <a:pt x="9" y="21"/>
                  <a:pt x="9" y="21"/>
                  <a:pt x="10" y="21"/>
                </a:cubicBezTo>
                <a:cubicBezTo>
                  <a:pt x="12" y="21"/>
                  <a:pt x="15" y="21"/>
                  <a:pt x="17" y="20"/>
                </a:cubicBezTo>
                <a:cubicBezTo>
                  <a:pt x="17" y="20"/>
                  <a:pt x="17" y="20"/>
                  <a:pt x="18" y="20"/>
                </a:cubicBezTo>
                <a:cubicBezTo>
                  <a:pt x="18" y="20"/>
                  <a:pt x="18" y="19"/>
                  <a:pt x="18" y="18"/>
                </a:cubicBezTo>
                <a:cubicBezTo>
                  <a:pt x="18" y="18"/>
                  <a:pt x="18" y="18"/>
                  <a:pt x="19" y="18"/>
                </a:cubicBezTo>
                <a:cubicBezTo>
                  <a:pt x="19" y="17"/>
                  <a:pt x="20" y="17"/>
                  <a:pt x="21" y="16"/>
                </a:cubicBezTo>
                <a:cubicBezTo>
                  <a:pt x="23" y="16"/>
                  <a:pt x="23" y="16"/>
                  <a:pt x="23" y="16"/>
                </a:cubicBezTo>
                <a:cubicBezTo>
                  <a:pt x="24" y="15"/>
                  <a:pt x="26" y="15"/>
                  <a:pt x="27" y="15"/>
                </a:cubicBezTo>
                <a:cubicBezTo>
                  <a:pt x="27" y="15"/>
                  <a:pt x="27" y="15"/>
                  <a:pt x="28" y="15"/>
                </a:cubicBezTo>
                <a:cubicBezTo>
                  <a:pt x="28" y="15"/>
                  <a:pt x="28" y="15"/>
                  <a:pt x="28" y="15"/>
                </a:cubicBezTo>
                <a:cubicBezTo>
                  <a:pt x="28" y="15"/>
                  <a:pt x="28" y="15"/>
                  <a:pt x="28" y="15"/>
                </a:cubicBezTo>
                <a:cubicBezTo>
                  <a:pt x="29" y="15"/>
                  <a:pt x="29" y="15"/>
                  <a:pt x="29" y="15"/>
                </a:cubicBezTo>
                <a:cubicBezTo>
                  <a:pt x="30" y="15"/>
                  <a:pt x="30" y="15"/>
                  <a:pt x="30" y="15"/>
                </a:cubicBezTo>
                <a:cubicBezTo>
                  <a:pt x="30" y="15"/>
                  <a:pt x="31" y="15"/>
                  <a:pt x="31" y="15"/>
                </a:cubicBezTo>
                <a:cubicBezTo>
                  <a:pt x="32" y="15"/>
                  <a:pt x="32" y="14"/>
                  <a:pt x="33" y="14"/>
                </a:cubicBezTo>
                <a:cubicBezTo>
                  <a:pt x="33" y="13"/>
                  <a:pt x="33" y="13"/>
                  <a:pt x="33" y="13"/>
                </a:cubicBezTo>
                <a:cubicBezTo>
                  <a:pt x="35" y="12"/>
                  <a:pt x="36" y="11"/>
                  <a:pt x="38" y="10"/>
                </a:cubicBezTo>
                <a:cubicBezTo>
                  <a:pt x="39" y="10"/>
                  <a:pt x="39" y="10"/>
                  <a:pt x="39" y="10"/>
                </a:cubicBezTo>
                <a:cubicBezTo>
                  <a:pt x="40" y="10"/>
                  <a:pt x="41" y="10"/>
                  <a:pt x="43" y="10"/>
                </a:cubicBezTo>
                <a:cubicBezTo>
                  <a:pt x="43" y="10"/>
                  <a:pt x="43" y="10"/>
                  <a:pt x="43" y="10"/>
                </a:cubicBezTo>
                <a:cubicBezTo>
                  <a:pt x="44" y="10"/>
                  <a:pt x="44" y="10"/>
                  <a:pt x="44" y="10"/>
                </a:cubicBezTo>
                <a:cubicBezTo>
                  <a:pt x="45" y="10"/>
                  <a:pt x="46" y="10"/>
                  <a:pt x="46" y="10"/>
                </a:cubicBezTo>
                <a:cubicBezTo>
                  <a:pt x="47" y="10"/>
                  <a:pt x="48" y="11"/>
                  <a:pt x="48" y="11"/>
                </a:cubicBezTo>
                <a:cubicBezTo>
                  <a:pt x="48" y="12"/>
                  <a:pt x="48" y="12"/>
                  <a:pt x="48" y="12"/>
                </a:cubicBezTo>
                <a:cubicBezTo>
                  <a:pt x="49" y="12"/>
                  <a:pt x="49" y="13"/>
                  <a:pt x="49" y="13"/>
                </a:cubicBezTo>
                <a:cubicBezTo>
                  <a:pt x="50" y="13"/>
                  <a:pt x="50" y="13"/>
                  <a:pt x="50" y="13"/>
                </a:cubicBezTo>
                <a:cubicBezTo>
                  <a:pt x="50" y="13"/>
                  <a:pt x="51" y="13"/>
                  <a:pt x="52" y="12"/>
                </a:cubicBezTo>
                <a:cubicBezTo>
                  <a:pt x="52" y="12"/>
                  <a:pt x="52" y="12"/>
                  <a:pt x="52" y="12"/>
                </a:cubicBezTo>
                <a:cubicBezTo>
                  <a:pt x="52" y="12"/>
                  <a:pt x="52" y="12"/>
                  <a:pt x="52" y="12"/>
                </a:cubicBezTo>
                <a:cubicBezTo>
                  <a:pt x="52" y="12"/>
                  <a:pt x="52" y="11"/>
                  <a:pt x="52" y="11"/>
                </a:cubicBezTo>
                <a:cubicBezTo>
                  <a:pt x="52" y="10"/>
                  <a:pt x="52" y="10"/>
                  <a:pt x="53" y="10"/>
                </a:cubicBezTo>
                <a:cubicBezTo>
                  <a:pt x="49" y="13"/>
                  <a:pt x="49" y="13"/>
                  <a:pt x="49" y="13"/>
                </a:cubicBezTo>
                <a:cubicBezTo>
                  <a:pt x="55" y="5"/>
                  <a:pt x="55" y="5"/>
                  <a:pt x="55" y="5"/>
                </a:cubicBezTo>
                <a:cubicBezTo>
                  <a:pt x="55" y="5"/>
                  <a:pt x="55" y="5"/>
                  <a:pt x="54" y="5"/>
                </a:cubicBezTo>
                <a:cubicBezTo>
                  <a:pt x="54" y="5"/>
                  <a:pt x="54" y="5"/>
                  <a:pt x="54" y="5"/>
                </a:cubicBezTo>
                <a:cubicBezTo>
                  <a:pt x="54" y="5"/>
                  <a:pt x="54" y="5"/>
                  <a:pt x="54" y="5"/>
                </a:cubicBezTo>
                <a:cubicBezTo>
                  <a:pt x="53" y="4"/>
                  <a:pt x="52" y="4"/>
                  <a:pt x="52" y="4"/>
                </a:cubicBezTo>
                <a:cubicBezTo>
                  <a:pt x="51" y="3"/>
                  <a:pt x="51" y="3"/>
                  <a:pt x="50" y="3"/>
                </a:cubicBezTo>
                <a:cubicBezTo>
                  <a:pt x="49" y="2"/>
                  <a:pt x="47" y="1"/>
                  <a:pt x="46" y="1"/>
                </a:cubicBezTo>
                <a:cubicBezTo>
                  <a:pt x="45" y="1"/>
                  <a:pt x="45" y="2"/>
                  <a:pt x="44" y="2"/>
                </a:cubicBezTo>
                <a:cubicBezTo>
                  <a:pt x="42" y="2"/>
                  <a:pt x="42" y="2"/>
                  <a:pt x="42" y="2"/>
                </a:cubicBezTo>
                <a:cubicBezTo>
                  <a:pt x="41" y="3"/>
                  <a:pt x="39" y="3"/>
                  <a:pt x="38" y="2"/>
                </a:cubicBezTo>
                <a:cubicBezTo>
                  <a:pt x="37" y="2"/>
                  <a:pt x="37" y="2"/>
                  <a:pt x="37" y="2"/>
                </a:cubicBezTo>
                <a:cubicBezTo>
                  <a:pt x="37" y="2"/>
                  <a:pt x="37" y="2"/>
                  <a:pt x="37" y="2"/>
                </a:cubicBezTo>
                <a:cubicBezTo>
                  <a:pt x="36" y="2"/>
                  <a:pt x="36" y="2"/>
                  <a:pt x="36" y="2"/>
                </a:cubicBezTo>
                <a:cubicBezTo>
                  <a:pt x="35" y="2"/>
                  <a:pt x="35" y="2"/>
                  <a:pt x="35" y="2"/>
                </a:cubicBezTo>
                <a:cubicBezTo>
                  <a:pt x="34" y="2"/>
                  <a:pt x="34" y="3"/>
                  <a:pt x="33" y="3"/>
                </a:cubicBezTo>
                <a:cubicBezTo>
                  <a:pt x="33" y="3"/>
                  <a:pt x="33" y="3"/>
                  <a:pt x="33" y="3"/>
                </a:cubicBezTo>
                <a:cubicBezTo>
                  <a:pt x="32" y="3"/>
                  <a:pt x="31" y="4"/>
                  <a:pt x="30" y="4"/>
                </a:cubicBezTo>
                <a:cubicBezTo>
                  <a:pt x="30" y="4"/>
                  <a:pt x="30" y="4"/>
                  <a:pt x="30" y="4"/>
                </a:cubicBezTo>
                <a:cubicBezTo>
                  <a:pt x="30" y="4"/>
                  <a:pt x="30" y="4"/>
                  <a:pt x="30" y="4"/>
                </a:cubicBezTo>
                <a:cubicBezTo>
                  <a:pt x="29" y="4"/>
                  <a:pt x="29" y="4"/>
                  <a:pt x="29" y="4"/>
                </a:cubicBezTo>
                <a:cubicBezTo>
                  <a:pt x="29" y="4"/>
                  <a:pt x="29" y="4"/>
                  <a:pt x="29" y="4"/>
                </a:cubicBezTo>
                <a:cubicBezTo>
                  <a:pt x="29" y="4"/>
                  <a:pt x="29" y="4"/>
                  <a:pt x="29" y="4"/>
                </a:cubicBezTo>
                <a:cubicBezTo>
                  <a:pt x="28" y="4"/>
                  <a:pt x="28" y="4"/>
                  <a:pt x="28" y="4"/>
                </a:cubicBezTo>
                <a:cubicBezTo>
                  <a:pt x="28" y="4"/>
                  <a:pt x="28" y="4"/>
                  <a:pt x="28" y="4"/>
                </a:cubicBezTo>
                <a:cubicBezTo>
                  <a:pt x="27" y="4"/>
                  <a:pt x="27" y="4"/>
                  <a:pt x="27" y="4"/>
                </a:cubicBezTo>
                <a:cubicBezTo>
                  <a:pt x="28" y="3"/>
                  <a:pt x="28" y="3"/>
                  <a:pt x="28" y="3"/>
                </a:cubicBezTo>
                <a:cubicBezTo>
                  <a:pt x="28" y="3"/>
                  <a:pt x="28" y="3"/>
                  <a:pt x="28" y="3"/>
                </a:cubicBezTo>
                <a:cubicBezTo>
                  <a:pt x="27" y="2"/>
                  <a:pt x="28" y="2"/>
                  <a:pt x="28" y="1"/>
                </a:cubicBezTo>
                <a:cubicBezTo>
                  <a:pt x="27" y="1"/>
                  <a:pt x="26" y="0"/>
                  <a:pt x="26" y="0"/>
                </a:cubicBezTo>
                <a:cubicBezTo>
                  <a:pt x="25" y="0"/>
                  <a:pt x="24" y="1"/>
                  <a:pt x="23" y="1"/>
                </a:cubicBezTo>
                <a:cubicBezTo>
                  <a:pt x="23" y="1"/>
                  <a:pt x="22" y="1"/>
                  <a:pt x="22" y="1"/>
                </a:cubicBezTo>
                <a:cubicBezTo>
                  <a:pt x="22" y="1"/>
                  <a:pt x="22" y="1"/>
                  <a:pt x="22" y="1"/>
                </a:cubicBezTo>
                <a:cubicBezTo>
                  <a:pt x="22" y="1"/>
                  <a:pt x="21" y="1"/>
                  <a:pt x="21" y="1"/>
                </a:cubicBezTo>
                <a:cubicBezTo>
                  <a:pt x="21" y="1"/>
                  <a:pt x="21" y="1"/>
                  <a:pt x="21" y="1"/>
                </a:cubicBezTo>
                <a:cubicBezTo>
                  <a:pt x="21" y="1"/>
                  <a:pt x="20" y="1"/>
                  <a:pt x="20" y="1"/>
                </a:cubicBezTo>
                <a:cubicBezTo>
                  <a:pt x="20" y="0"/>
                  <a:pt x="20" y="0"/>
                  <a:pt x="20" y="0"/>
                </a:cubicBezTo>
                <a:cubicBezTo>
                  <a:pt x="19" y="0"/>
                  <a:pt x="19" y="0"/>
                  <a:pt x="19" y="0"/>
                </a:cubicBezTo>
                <a:cubicBezTo>
                  <a:pt x="19" y="0"/>
                  <a:pt x="19" y="0"/>
                  <a:pt x="19" y="0"/>
                </a:cubicBezTo>
                <a:cubicBezTo>
                  <a:pt x="19" y="0"/>
                  <a:pt x="18" y="1"/>
                  <a:pt x="18" y="1"/>
                </a:cubicBezTo>
                <a:lnTo>
                  <a:pt x="17" y="1"/>
                </a:lnTo>
                <a:close/>
              </a:path>
            </a:pathLst>
          </a:custGeom>
          <a:solidFill>
            <a:srgbClr val="00A5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59" name="Freeform 3116">
            <a:extLst>
              <a:ext uri="{FF2B5EF4-FFF2-40B4-BE49-F238E27FC236}">
                <a16:creationId xmlns:a16="http://schemas.microsoft.com/office/drawing/2014/main" id="{92E79E32-55E0-4D9A-AE97-A74FE4C2449C}"/>
              </a:ext>
            </a:extLst>
          </p:cNvPr>
          <p:cNvSpPr>
            <a:spLocks/>
          </p:cNvSpPr>
          <p:nvPr/>
        </p:nvSpPr>
        <p:spPr bwMode="auto">
          <a:xfrm>
            <a:off x="3505511" y="2881251"/>
            <a:ext cx="121908" cy="109221"/>
          </a:xfrm>
          <a:custGeom>
            <a:avLst/>
            <a:gdLst>
              <a:gd name="T0" fmla="*/ 8 w 104"/>
              <a:gd name="T1" fmla="*/ 15 h 78"/>
              <a:gd name="T2" fmla="*/ 6 w 104"/>
              <a:gd name="T3" fmla="*/ 18 h 78"/>
              <a:gd name="T4" fmla="*/ 6 w 104"/>
              <a:gd name="T5" fmla="*/ 27 h 78"/>
              <a:gd name="T6" fmla="*/ 6 w 104"/>
              <a:gd name="T7" fmla="*/ 28 h 78"/>
              <a:gd name="T8" fmla="*/ 9 w 104"/>
              <a:gd name="T9" fmla="*/ 32 h 78"/>
              <a:gd name="T10" fmla="*/ 9 w 104"/>
              <a:gd name="T11" fmla="*/ 36 h 78"/>
              <a:gd name="T12" fmla="*/ 9 w 104"/>
              <a:gd name="T13" fmla="*/ 43 h 78"/>
              <a:gd name="T14" fmla="*/ 11 w 104"/>
              <a:gd name="T15" fmla="*/ 46 h 78"/>
              <a:gd name="T16" fmla="*/ 13 w 104"/>
              <a:gd name="T17" fmla="*/ 49 h 78"/>
              <a:gd name="T18" fmla="*/ 13 w 104"/>
              <a:gd name="T19" fmla="*/ 52 h 78"/>
              <a:gd name="T20" fmla="*/ 16 w 104"/>
              <a:gd name="T21" fmla="*/ 54 h 78"/>
              <a:gd name="T22" fmla="*/ 17 w 104"/>
              <a:gd name="T23" fmla="*/ 56 h 78"/>
              <a:gd name="T24" fmla="*/ 25 w 104"/>
              <a:gd name="T25" fmla="*/ 57 h 78"/>
              <a:gd name="T26" fmla="*/ 27 w 104"/>
              <a:gd name="T27" fmla="*/ 61 h 78"/>
              <a:gd name="T28" fmla="*/ 28 w 104"/>
              <a:gd name="T29" fmla="*/ 63 h 78"/>
              <a:gd name="T30" fmla="*/ 30 w 104"/>
              <a:gd name="T31" fmla="*/ 64 h 78"/>
              <a:gd name="T32" fmla="*/ 33 w 104"/>
              <a:gd name="T33" fmla="*/ 61 h 78"/>
              <a:gd name="T34" fmla="*/ 35 w 104"/>
              <a:gd name="T35" fmla="*/ 61 h 78"/>
              <a:gd name="T36" fmla="*/ 39 w 104"/>
              <a:gd name="T37" fmla="*/ 62 h 78"/>
              <a:gd name="T38" fmla="*/ 41 w 104"/>
              <a:gd name="T39" fmla="*/ 66 h 78"/>
              <a:gd name="T40" fmla="*/ 45 w 104"/>
              <a:gd name="T41" fmla="*/ 66 h 78"/>
              <a:gd name="T42" fmla="*/ 50 w 104"/>
              <a:gd name="T43" fmla="*/ 70 h 78"/>
              <a:gd name="T44" fmla="*/ 54 w 104"/>
              <a:gd name="T45" fmla="*/ 74 h 78"/>
              <a:gd name="T46" fmla="*/ 54 w 104"/>
              <a:gd name="T47" fmla="*/ 74 h 78"/>
              <a:gd name="T48" fmla="*/ 59 w 104"/>
              <a:gd name="T49" fmla="*/ 71 h 78"/>
              <a:gd name="T50" fmla="*/ 61 w 104"/>
              <a:gd name="T51" fmla="*/ 74 h 78"/>
              <a:gd name="T52" fmla="*/ 62 w 104"/>
              <a:gd name="T53" fmla="*/ 76 h 78"/>
              <a:gd name="T54" fmla="*/ 66 w 104"/>
              <a:gd name="T55" fmla="*/ 75 h 78"/>
              <a:gd name="T56" fmla="*/ 70 w 104"/>
              <a:gd name="T57" fmla="*/ 75 h 78"/>
              <a:gd name="T58" fmla="*/ 78 w 104"/>
              <a:gd name="T59" fmla="*/ 74 h 78"/>
              <a:gd name="T60" fmla="*/ 89 w 104"/>
              <a:gd name="T61" fmla="*/ 78 h 78"/>
              <a:gd name="T62" fmla="*/ 89 w 104"/>
              <a:gd name="T63" fmla="*/ 76 h 78"/>
              <a:gd name="T64" fmla="*/ 99 w 104"/>
              <a:gd name="T65" fmla="*/ 63 h 78"/>
              <a:gd name="T66" fmla="*/ 104 w 104"/>
              <a:gd name="T67" fmla="*/ 59 h 78"/>
              <a:gd name="T68" fmla="*/ 103 w 104"/>
              <a:gd name="T69" fmla="*/ 55 h 78"/>
              <a:gd name="T70" fmla="*/ 99 w 104"/>
              <a:gd name="T71" fmla="*/ 48 h 78"/>
              <a:gd name="T72" fmla="*/ 96 w 104"/>
              <a:gd name="T73" fmla="*/ 47 h 78"/>
              <a:gd name="T74" fmla="*/ 98 w 104"/>
              <a:gd name="T75" fmla="*/ 45 h 78"/>
              <a:gd name="T76" fmla="*/ 99 w 104"/>
              <a:gd name="T77" fmla="*/ 42 h 78"/>
              <a:gd name="T78" fmla="*/ 97 w 104"/>
              <a:gd name="T79" fmla="*/ 38 h 78"/>
              <a:gd name="T80" fmla="*/ 101 w 104"/>
              <a:gd name="T81" fmla="*/ 30 h 78"/>
              <a:gd name="T82" fmla="*/ 102 w 104"/>
              <a:gd name="T83" fmla="*/ 29 h 78"/>
              <a:gd name="T84" fmla="*/ 98 w 104"/>
              <a:gd name="T85" fmla="*/ 14 h 78"/>
              <a:gd name="T86" fmla="*/ 97 w 104"/>
              <a:gd name="T87" fmla="*/ 11 h 78"/>
              <a:gd name="T88" fmla="*/ 92 w 104"/>
              <a:gd name="T89" fmla="*/ 9 h 78"/>
              <a:gd name="T90" fmla="*/ 61 w 104"/>
              <a:gd name="T91" fmla="*/ 8 h 78"/>
              <a:gd name="T92" fmla="*/ 57 w 104"/>
              <a:gd name="T93" fmla="*/ 9 h 78"/>
              <a:gd name="T94" fmla="*/ 53 w 104"/>
              <a:gd name="T95" fmla="*/ 8 h 78"/>
              <a:gd name="T96" fmla="*/ 51 w 104"/>
              <a:gd name="T97" fmla="*/ 4 h 78"/>
              <a:gd name="T98" fmla="*/ 15 w 104"/>
              <a:gd name="T99" fmla="*/ 11 h 78"/>
              <a:gd name="T100" fmla="*/ 2 w 104"/>
              <a:gd name="T101" fmla="*/ 1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 h="78">
                <a:moveTo>
                  <a:pt x="2" y="15"/>
                </a:moveTo>
                <a:cubicBezTo>
                  <a:pt x="2" y="15"/>
                  <a:pt x="2" y="14"/>
                  <a:pt x="3" y="14"/>
                </a:cubicBezTo>
                <a:cubicBezTo>
                  <a:pt x="3" y="14"/>
                  <a:pt x="4" y="15"/>
                  <a:pt x="4" y="14"/>
                </a:cubicBezTo>
                <a:cubicBezTo>
                  <a:pt x="6" y="15"/>
                  <a:pt x="7" y="15"/>
                  <a:pt x="8" y="15"/>
                </a:cubicBezTo>
                <a:cubicBezTo>
                  <a:pt x="8" y="15"/>
                  <a:pt x="8" y="16"/>
                  <a:pt x="8" y="16"/>
                </a:cubicBezTo>
                <a:cubicBezTo>
                  <a:pt x="8" y="17"/>
                  <a:pt x="8" y="18"/>
                  <a:pt x="8" y="18"/>
                </a:cubicBezTo>
                <a:cubicBezTo>
                  <a:pt x="8" y="18"/>
                  <a:pt x="7" y="17"/>
                  <a:pt x="6" y="17"/>
                </a:cubicBezTo>
                <a:cubicBezTo>
                  <a:pt x="6" y="18"/>
                  <a:pt x="6" y="18"/>
                  <a:pt x="6" y="18"/>
                </a:cubicBezTo>
                <a:cubicBezTo>
                  <a:pt x="6" y="19"/>
                  <a:pt x="6" y="19"/>
                  <a:pt x="6" y="19"/>
                </a:cubicBezTo>
                <a:cubicBezTo>
                  <a:pt x="7" y="19"/>
                  <a:pt x="7" y="19"/>
                  <a:pt x="7" y="19"/>
                </a:cubicBezTo>
                <a:cubicBezTo>
                  <a:pt x="7" y="21"/>
                  <a:pt x="7" y="22"/>
                  <a:pt x="7" y="24"/>
                </a:cubicBezTo>
                <a:cubicBezTo>
                  <a:pt x="7" y="25"/>
                  <a:pt x="7" y="26"/>
                  <a:pt x="6" y="27"/>
                </a:cubicBezTo>
                <a:cubicBezTo>
                  <a:pt x="6" y="27"/>
                  <a:pt x="6" y="27"/>
                  <a:pt x="6" y="27"/>
                </a:cubicBezTo>
                <a:cubicBezTo>
                  <a:pt x="5" y="27"/>
                  <a:pt x="5" y="28"/>
                  <a:pt x="5" y="28"/>
                </a:cubicBezTo>
                <a:cubicBezTo>
                  <a:pt x="5" y="28"/>
                  <a:pt x="5" y="28"/>
                  <a:pt x="5" y="28"/>
                </a:cubicBezTo>
                <a:cubicBezTo>
                  <a:pt x="5" y="28"/>
                  <a:pt x="5" y="28"/>
                  <a:pt x="6" y="28"/>
                </a:cubicBezTo>
                <a:cubicBezTo>
                  <a:pt x="6" y="29"/>
                  <a:pt x="6" y="29"/>
                  <a:pt x="6" y="29"/>
                </a:cubicBezTo>
                <a:cubicBezTo>
                  <a:pt x="7" y="30"/>
                  <a:pt x="7" y="30"/>
                  <a:pt x="8" y="31"/>
                </a:cubicBezTo>
                <a:cubicBezTo>
                  <a:pt x="8" y="31"/>
                  <a:pt x="9" y="31"/>
                  <a:pt x="9" y="31"/>
                </a:cubicBezTo>
                <a:cubicBezTo>
                  <a:pt x="9" y="32"/>
                  <a:pt x="9" y="32"/>
                  <a:pt x="9" y="32"/>
                </a:cubicBezTo>
                <a:cubicBezTo>
                  <a:pt x="10" y="33"/>
                  <a:pt x="9" y="34"/>
                  <a:pt x="9" y="34"/>
                </a:cubicBezTo>
                <a:cubicBezTo>
                  <a:pt x="9" y="35"/>
                  <a:pt x="9" y="35"/>
                  <a:pt x="9" y="35"/>
                </a:cubicBezTo>
                <a:cubicBezTo>
                  <a:pt x="9" y="35"/>
                  <a:pt x="9" y="35"/>
                  <a:pt x="9" y="36"/>
                </a:cubicBezTo>
                <a:cubicBezTo>
                  <a:pt x="9" y="36"/>
                  <a:pt x="9" y="36"/>
                  <a:pt x="9" y="36"/>
                </a:cubicBezTo>
                <a:cubicBezTo>
                  <a:pt x="10" y="37"/>
                  <a:pt x="10" y="37"/>
                  <a:pt x="10" y="37"/>
                </a:cubicBezTo>
                <a:cubicBezTo>
                  <a:pt x="10" y="37"/>
                  <a:pt x="10" y="37"/>
                  <a:pt x="10" y="38"/>
                </a:cubicBezTo>
                <a:cubicBezTo>
                  <a:pt x="10" y="38"/>
                  <a:pt x="10" y="39"/>
                  <a:pt x="10" y="39"/>
                </a:cubicBezTo>
                <a:cubicBezTo>
                  <a:pt x="10" y="41"/>
                  <a:pt x="10" y="41"/>
                  <a:pt x="9" y="43"/>
                </a:cubicBezTo>
                <a:cubicBezTo>
                  <a:pt x="9" y="43"/>
                  <a:pt x="10" y="43"/>
                  <a:pt x="10" y="44"/>
                </a:cubicBezTo>
                <a:cubicBezTo>
                  <a:pt x="10" y="44"/>
                  <a:pt x="10" y="44"/>
                  <a:pt x="10" y="44"/>
                </a:cubicBezTo>
                <a:cubicBezTo>
                  <a:pt x="10" y="45"/>
                  <a:pt x="11" y="45"/>
                  <a:pt x="11" y="46"/>
                </a:cubicBezTo>
                <a:cubicBezTo>
                  <a:pt x="11" y="46"/>
                  <a:pt x="11" y="46"/>
                  <a:pt x="11" y="46"/>
                </a:cubicBezTo>
                <a:cubicBezTo>
                  <a:pt x="11" y="46"/>
                  <a:pt x="11" y="46"/>
                  <a:pt x="11" y="46"/>
                </a:cubicBezTo>
                <a:cubicBezTo>
                  <a:pt x="11" y="46"/>
                  <a:pt x="11" y="46"/>
                  <a:pt x="11" y="46"/>
                </a:cubicBezTo>
                <a:cubicBezTo>
                  <a:pt x="11" y="46"/>
                  <a:pt x="11" y="46"/>
                  <a:pt x="11" y="46"/>
                </a:cubicBezTo>
                <a:cubicBezTo>
                  <a:pt x="12" y="47"/>
                  <a:pt x="13" y="48"/>
                  <a:pt x="13" y="49"/>
                </a:cubicBezTo>
                <a:cubicBezTo>
                  <a:pt x="13" y="49"/>
                  <a:pt x="14" y="50"/>
                  <a:pt x="14" y="50"/>
                </a:cubicBezTo>
                <a:cubicBezTo>
                  <a:pt x="14" y="50"/>
                  <a:pt x="14" y="50"/>
                  <a:pt x="14" y="50"/>
                </a:cubicBezTo>
                <a:cubicBezTo>
                  <a:pt x="14" y="51"/>
                  <a:pt x="14" y="51"/>
                  <a:pt x="13" y="51"/>
                </a:cubicBezTo>
                <a:cubicBezTo>
                  <a:pt x="13" y="52"/>
                  <a:pt x="13" y="52"/>
                  <a:pt x="13" y="52"/>
                </a:cubicBezTo>
                <a:cubicBezTo>
                  <a:pt x="13" y="52"/>
                  <a:pt x="13" y="52"/>
                  <a:pt x="13" y="52"/>
                </a:cubicBezTo>
                <a:cubicBezTo>
                  <a:pt x="14" y="52"/>
                  <a:pt x="14" y="52"/>
                  <a:pt x="14" y="52"/>
                </a:cubicBezTo>
                <a:cubicBezTo>
                  <a:pt x="15" y="53"/>
                  <a:pt x="15" y="53"/>
                  <a:pt x="16" y="54"/>
                </a:cubicBezTo>
                <a:cubicBezTo>
                  <a:pt x="16" y="54"/>
                  <a:pt x="16" y="54"/>
                  <a:pt x="16" y="54"/>
                </a:cubicBezTo>
                <a:cubicBezTo>
                  <a:pt x="16" y="55"/>
                  <a:pt x="16" y="55"/>
                  <a:pt x="17" y="56"/>
                </a:cubicBezTo>
                <a:cubicBezTo>
                  <a:pt x="17" y="56"/>
                  <a:pt x="17" y="56"/>
                  <a:pt x="17" y="56"/>
                </a:cubicBezTo>
                <a:cubicBezTo>
                  <a:pt x="17" y="56"/>
                  <a:pt x="17" y="56"/>
                  <a:pt x="17" y="56"/>
                </a:cubicBezTo>
                <a:cubicBezTo>
                  <a:pt x="17" y="56"/>
                  <a:pt x="17" y="56"/>
                  <a:pt x="17" y="56"/>
                </a:cubicBezTo>
                <a:cubicBezTo>
                  <a:pt x="18" y="56"/>
                  <a:pt x="18" y="56"/>
                  <a:pt x="18" y="56"/>
                </a:cubicBezTo>
                <a:cubicBezTo>
                  <a:pt x="23" y="57"/>
                  <a:pt x="23" y="57"/>
                  <a:pt x="23" y="57"/>
                </a:cubicBezTo>
                <a:cubicBezTo>
                  <a:pt x="23" y="57"/>
                  <a:pt x="24" y="57"/>
                  <a:pt x="24" y="57"/>
                </a:cubicBezTo>
                <a:cubicBezTo>
                  <a:pt x="24" y="57"/>
                  <a:pt x="25" y="57"/>
                  <a:pt x="25" y="57"/>
                </a:cubicBezTo>
                <a:cubicBezTo>
                  <a:pt x="26" y="57"/>
                  <a:pt x="26" y="57"/>
                  <a:pt x="26" y="57"/>
                </a:cubicBezTo>
                <a:cubicBezTo>
                  <a:pt x="27" y="58"/>
                  <a:pt x="27" y="58"/>
                  <a:pt x="27" y="59"/>
                </a:cubicBezTo>
                <a:cubicBezTo>
                  <a:pt x="27" y="60"/>
                  <a:pt x="27" y="60"/>
                  <a:pt x="27" y="60"/>
                </a:cubicBezTo>
                <a:cubicBezTo>
                  <a:pt x="27" y="60"/>
                  <a:pt x="27" y="61"/>
                  <a:pt x="27" y="61"/>
                </a:cubicBezTo>
                <a:cubicBezTo>
                  <a:pt x="26" y="62"/>
                  <a:pt x="26" y="62"/>
                  <a:pt x="26" y="62"/>
                </a:cubicBezTo>
                <a:cubicBezTo>
                  <a:pt x="27" y="62"/>
                  <a:pt x="27" y="62"/>
                  <a:pt x="27" y="62"/>
                </a:cubicBezTo>
                <a:cubicBezTo>
                  <a:pt x="27" y="62"/>
                  <a:pt x="27" y="62"/>
                  <a:pt x="27" y="62"/>
                </a:cubicBezTo>
                <a:cubicBezTo>
                  <a:pt x="27" y="63"/>
                  <a:pt x="28" y="63"/>
                  <a:pt x="28" y="63"/>
                </a:cubicBezTo>
                <a:cubicBezTo>
                  <a:pt x="28" y="64"/>
                  <a:pt x="29" y="64"/>
                  <a:pt x="29" y="64"/>
                </a:cubicBezTo>
                <a:cubicBezTo>
                  <a:pt x="29" y="64"/>
                  <a:pt x="29" y="64"/>
                  <a:pt x="29" y="64"/>
                </a:cubicBezTo>
                <a:cubicBezTo>
                  <a:pt x="29" y="64"/>
                  <a:pt x="30" y="64"/>
                  <a:pt x="30" y="64"/>
                </a:cubicBezTo>
                <a:cubicBezTo>
                  <a:pt x="30" y="64"/>
                  <a:pt x="30" y="64"/>
                  <a:pt x="30" y="64"/>
                </a:cubicBezTo>
                <a:cubicBezTo>
                  <a:pt x="31" y="64"/>
                  <a:pt x="31" y="63"/>
                  <a:pt x="31" y="63"/>
                </a:cubicBezTo>
                <a:cubicBezTo>
                  <a:pt x="31" y="63"/>
                  <a:pt x="31" y="63"/>
                  <a:pt x="31" y="63"/>
                </a:cubicBezTo>
                <a:cubicBezTo>
                  <a:pt x="29" y="60"/>
                  <a:pt x="29" y="60"/>
                  <a:pt x="29" y="60"/>
                </a:cubicBezTo>
                <a:cubicBezTo>
                  <a:pt x="33" y="61"/>
                  <a:pt x="33" y="61"/>
                  <a:pt x="33" y="61"/>
                </a:cubicBezTo>
                <a:cubicBezTo>
                  <a:pt x="34" y="61"/>
                  <a:pt x="34" y="61"/>
                  <a:pt x="34" y="61"/>
                </a:cubicBezTo>
                <a:cubicBezTo>
                  <a:pt x="34" y="61"/>
                  <a:pt x="34" y="61"/>
                  <a:pt x="34" y="61"/>
                </a:cubicBezTo>
                <a:cubicBezTo>
                  <a:pt x="35" y="61"/>
                  <a:pt x="35" y="61"/>
                  <a:pt x="35" y="61"/>
                </a:cubicBezTo>
                <a:cubicBezTo>
                  <a:pt x="35" y="61"/>
                  <a:pt x="35" y="61"/>
                  <a:pt x="35" y="61"/>
                </a:cubicBezTo>
                <a:cubicBezTo>
                  <a:pt x="35" y="61"/>
                  <a:pt x="36" y="61"/>
                  <a:pt x="36" y="61"/>
                </a:cubicBezTo>
                <a:cubicBezTo>
                  <a:pt x="36" y="62"/>
                  <a:pt x="36" y="62"/>
                  <a:pt x="36" y="62"/>
                </a:cubicBezTo>
                <a:cubicBezTo>
                  <a:pt x="37" y="62"/>
                  <a:pt x="38" y="62"/>
                  <a:pt x="39" y="62"/>
                </a:cubicBezTo>
                <a:cubicBezTo>
                  <a:pt x="39" y="62"/>
                  <a:pt x="39" y="62"/>
                  <a:pt x="39" y="62"/>
                </a:cubicBezTo>
                <a:cubicBezTo>
                  <a:pt x="41" y="59"/>
                  <a:pt x="41" y="59"/>
                  <a:pt x="41" y="59"/>
                </a:cubicBezTo>
                <a:cubicBezTo>
                  <a:pt x="41" y="63"/>
                  <a:pt x="41" y="63"/>
                  <a:pt x="41" y="63"/>
                </a:cubicBezTo>
                <a:cubicBezTo>
                  <a:pt x="41" y="64"/>
                  <a:pt x="41" y="65"/>
                  <a:pt x="41" y="65"/>
                </a:cubicBezTo>
                <a:cubicBezTo>
                  <a:pt x="41" y="66"/>
                  <a:pt x="41" y="66"/>
                  <a:pt x="41" y="66"/>
                </a:cubicBezTo>
                <a:cubicBezTo>
                  <a:pt x="41" y="66"/>
                  <a:pt x="41" y="66"/>
                  <a:pt x="42" y="66"/>
                </a:cubicBezTo>
                <a:cubicBezTo>
                  <a:pt x="42" y="66"/>
                  <a:pt x="42" y="66"/>
                  <a:pt x="42" y="66"/>
                </a:cubicBezTo>
                <a:cubicBezTo>
                  <a:pt x="42" y="66"/>
                  <a:pt x="42" y="66"/>
                  <a:pt x="42" y="66"/>
                </a:cubicBezTo>
                <a:cubicBezTo>
                  <a:pt x="43" y="66"/>
                  <a:pt x="43" y="65"/>
                  <a:pt x="45" y="66"/>
                </a:cubicBezTo>
                <a:cubicBezTo>
                  <a:pt x="46" y="65"/>
                  <a:pt x="46" y="65"/>
                  <a:pt x="46" y="65"/>
                </a:cubicBezTo>
                <a:cubicBezTo>
                  <a:pt x="45" y="66"/>
                  <a:pt x="45" y="66"/>
                  <a:pt x="45" y="66"/>
                </a:cubicBezTo>
                <a:cubicBezTo>
                  <a:pt x="46" y="67"/>
                  <a:pt x="46" y="67"/>
                  <a:pt x="46" y="67"/>
                </a:cubicBezTo>
                <a:cubicBezTo>
                  <a:pt x="48" y="68"/>
                  <a:pt x="49" y="68"/>
                  <a:pt x="50" y="70"/>
                </a:cubicBezTo>
                <a:cubicBezTo>
                  <a:pt x="51" y="71"/>
                  <a:pt x="51" y="71"/>
                  <a:pt x="52" y="72"/>
                </a:cubicBezTo>
                <a:cubicBezTo>
                  <a:pt x="52" y="72"/>
                  <a:pt x="52" y="72"/>
                  <a:pt x="52" y="72"/>
                </a:cubicBezTo>
                <a:cubicBezTo>
                  <a:pt x="52" y="72"/>
                  <a:pt x="52" y="72"/>
                  <a:pt x="52" y="73"/>
                </a:cubicBezTo>
                <a:cubicBezTo>
                  <a:pt x="54" y="74"/>
                  <a:pt x="54" y="74"/>
                  <a:pt x="54" y="74"/>
                </a:cubicBezTo>
                <a:cubicBezTo>
                  <a:pt x="54" y="74"/>
                  <a:pt x="54" y="74"/>
                  <a:pt x="54" y="74"/>
                </a:cubicBezTo>
                <a:cubicBezTo>
                  <a:pt x="54" y="74"/>
                  <a:pt x="54" y="74"/>
                  <a:pt x="54" y="74"/>
                </a:cubicBezTo>
                <a:cubicBezTo>
                  <a:pt x="54" y="74"/>
                  <a:pt x="54" y="74"/>
                  <a:pt x="54" y="74"/>
                </a:cubicBezTo>
                <a:cubicBezTo>
                  <a:pt x="54" y="74"/>
                  <a:pt x="54" y="74"/>
                  <a:pt x="54" y="74"/>
                </a:cubicBezTo>
                <a:cubicBezTo>
                  <a:pt x="55" y="74"/>
                  <a:pt x="56" y="73"/>
                  <a:pt x="57" y="73"/>
                </a:cubicBezTo>
                <a:cubicBezTo>
                  <a:pt x="57" y="72"/>
                  <a:pt x="57" y="72"/>
                  <a:pt x="57" y="72"/>
                </a:cubicBezTo>
                <a:cubicBezTo>
                  <a:pt x="57" y="72"/>
                  <a:pt x="57" y="72"/>
                  <a:pt x="58" y="72"/>
                </a:cubicBezTo>
                <a:cubicBezTo>
                  <a:pt x="59" y="71"/>
                  <a:pt x="59" y="71"/>
                  <a:pt x="59" y="71"/>
                </a:cubicBezTo>
                <a:cubicBezTo>
                  <a:pt x="59" y="72"/>
                  <a:pt x="59" y="72"/>
                  <a:pt x="59" y="72"/>
                </a:cubicBezTo>
                <a:cubicBezTo>
                  <a:pt x="60" y="73"/>
                  <a:pt x="60" y="74"/>
                  <a:pt x="60" y="74"/>
                </a:cubicBezTo>
                <a:cubicBezTo>
                  <a:pt x="60" y="74"/>
                  <a:pt x="60" y="74"/>
                  <a:pt x="61" y="74"/>
                </a:cubicBezTo>
                <a:cubicBezTo>
                  <a:pt x="61" y="74"/>
                  <a:pt x="61" y="74"/>
                  <a:pt x="61" y="74"/>
                </a:cubicBezTo>
                <a:cubicBezTo>
                  <a:pt x="62" y="74"/>
                  <a:pt x="62" y="74"/>
                  <a:pt x="62" y="74"/>
                </a:cubicBezTo>
                <a:cubicBezTo>
                  <a:pt x="62" y="75"/>
                  <a:pt x="62" y="75"/>
                  <a:pt x="62" y="75"/>
                </a:cubicBezTo>
                <a:cubicBezTo>
                  <a:pt x="62" y="75"/>
                  <a:pt x="62" y="76"/>
                  <a:pt x="62" y="76"/>
                </a:cubicBezTo>
                <a:cubicBezTo>
                  <a:pt x="62" y="76"/>
                  <a:pt x="62" y="76"/>
                  <a:pt x="62" y="76"/>
                </a:cubicBezTo>
                <a:cubicBezTo>
                  <a:pt x="62" y="76"/>
                  <a:pt x="62" y="76"/>
                  <a:pt x="62" y="77"/>
                </a:cubicBezTo>
                <a:cubicBezTo>
                  <a:pt x="63" y="76"/>
                  <a:pt x="63" y="76"/>
                  <a:pt x="63" y="76"/>
                </a:cubicBezTo>
                <a:cubicBezTo>
                  <a:pt x="64" y="76"/>
                  <a:pt x="64" y="76"/>
                  <a:pt x="64" y="76"/>
                </a:cubicBezTo>
                <a:cubicBezTo>
                  <a:pt x="65" y="75"/>
                  <a:pt x="65" y="75"/>
                  <a:pt x="66" y="75"/>
                </a:cubicBezTo>
                <a:cubicBezTo>
                  <a:pt x="66" y="75"/>
                  <a:pt x="67" y="74"/>
                  <a:pt x="67" y="74"/>
                </a:cubicBezTo>
                <a:cubicBezTo>
                  <a:pt x="67" y="74"/>
                  <a:pt x="67" y="74"/>
                  <a:pt x="68" y="74"/>
                </a:cubicBezTo>
                <a:cubicBezTo>
                  <a:pt x="68" y="74"/>
                  <a:pt x="69" y="74"/>
                  <a:pt x="69" y="74"/>
                </a:cubicBezTo>
                <a:cubicBezTo>
                  <a:pt x="69" y="74"/>
                  <a:pt x="70" y="75"/>
                  <a:pt x="70" y="75"/>
                </a:cubicBezTo>
                <a:cubicBezTo>
                  <a:pt x="72" y="75"/>
                  <a:pt x="73" y="75"/>
                  <a:pt x="73" y="75"/>
                </a:cubicBezTo>
                <a:cubicBezTo>
                  <a:pt x="75" y="75"/>
                  <a:pt x="75" y="75"/>
                  <a:pt x="75" y="75"/>
                </a:cubicBezTo>
                <a:cubicBezTo>
                  <a:pt x="76" y="74"/>
                  <a:pt x="77" y="74"/>
                  <a:pt x="78" y="74"/>
                </a:cubicBezTo>
                <a:cubicBezTo>
                  <a:pt x="78" y="74"/>
                  <a:pt x="78" y="74"/>
                  <a:pt x="78" y="74"/>
                </a:cubicBezTo>
                <a:cubicBezTo>
                  <a:pt x="80" y="74"/>
                  <a:pt x="83" y="75"/>
                  <a:pt x="85" y="77"/>
                </a:cubicBezTo>
                <a:cubicBezTo>
                  <a:pt x="86" y="77"/>
                  <a:pt x="86" y="77"/>
                  <a:pt x="87" y="78"/>
                </a:cubicBezTo>
                <a:cubicBezTo>
                  <a:pt x="87" y="78"/>
                  <a:pt x="88" y="78"/>
                  <a:pt x="88" y="78"/>
                </a:cubicBezTo>
                <a:cubicBezTo>
                  <a:pt x="88" y="78"/>
                  <a:pt x="89" y="78"/>
                  <a:pt x="89" y="78"/>
                </a:cubicBezTo>
                <a:cubicBezTo>
                  <a:pt x="90" y="78"/>
                  <a:pt x="90" y="78"/>
                  <a:pt x="90" y="78"/>
                </a:cubicBezTo>
                <a:cubicBezTo>
                  <a:pt x="90" y="78"/>
                  <a:pt x="90" y="78"/>
                  <a:pt x="90" y="77"/>
                </a:cubicBezTo>
                <a:cubicBezTo>
                  <a:pt x="90" y="77"/>
                  <a:pt x="90" y="77"/>
                  <a:pt x="89" y="77"/>
                </a:cubicBezTo>
                <a:cubicBezTo>
                  <a:pt x="89" y="76"/>
                  <a:pt x="89" y="76"/>
                  <a:pt x="89" y="76"/>
                </a:cubicBezTo>
                <a:cubicBezTo>
                  <a:pt x="89" y="74"/>
                  <a:pt x="89" y="73"/>
                  <a:pt x="90" y="72"/>
                </a:cubicBezTo>
                <a:cubicBezTo>
                  <a:pt x="95" y="66"/>
                  <a:pt x="95" y="66"/>
                  <a:pt x="95" y="66"/>
                </a:cubicBezTo>
                <a:cubicBezTo>
                  <a:pt x="95" y="66"/>
                  <a:pt x="96" y="66"/>
                  <a:pt x="96" y="65"/>
                </a:cubicBezTo>
                <a:cubicBezTo>
                  <a:pt x="97" y="64"/>
                  <a:pt x="98" y="63"/>
                  <a:pt x="99" y="63"/>
                </a:cubicBezTo>
                <a:cubicBezTo>
                  <a:pt x="99" y="63"/>
                  <a:pt x="100" y="63"/>
                  <a:pt x="100" y="62"/>
                </a:cubicBezTo>
                <a:cubicBezTo>
                  <a:pt x="100" y="62"/>
                  <a:pt x="100" y="62"/>
                  <a:pt x="100" y="62"/>
                </a:cubicBezTo>
                <a:cubicBezTo>
                  <a:pt x="101" y="62"/>
                  <a:pt x="103" y="61"/>
                  <a:pt x="103" y="61"/>
                </a:cubicBezTo>
                <a:cubicBezTo>
                  <a:pt x="103" y="61"/>
                  <a:pt x="104" y="60"/>
                  <a:pt x="104" y="59"/>
                </a:cubicBezTo>
                <a:cubicBezTo>
                  <a:pt x="104" y="59"/>
                  <a:pt x="104" y="59"/>
                  <a:pt x="104" y="59"/>
                </a:cubicBezTo>
                <a:cubicBezTo>
                  <a:pt x="103" y="58"/>
                  <a:pt x="103" y="58"/>
                  <a:pt x="103" y="58"/>
                </a:cubicBezTo>
                <a:cubicBezTo>
                  <a:pt x="102" y="57"/>
                  <a:pt x="102" y="56"/>
                  <a:pt x="103" y="55"/>
                </a:cubicBezTo>
                <a:cubicBezTo>
                  <a:pt x="103" y="55"/>
                  <a:pt x="103" y="55"/>
                  <a:pt x="103" y="55"/>
                </a:cubicBezTo>
                <a:cubicBezTo>
                  <a:pt x="103" y="55"/>
                  <a:pt x="103" y="55"/>
                  <a:pt x="103" y="55"/>
                </a:cubicBezTo>
                <a:cubicBezTo>
                  <a:pt x="103" y="55"/>
                  <a:pt x="103" y="55"/>
                  <a:pt x="103" y="55"/>
                </a:cubicBezTo>
                <a:cubicBezTo>
                  <a:pt x="101" y="54"/>
                  <a:pt x="101" y="52"/>
                  <a:pt x="100" y="50"/>
                </a:cubicBezTo>
                <a:cubicBezTo>
                  <a:pt x="100" y="49"/>
                  <a:pt x="100" y="49"/>
                  <a:pt x="99" y="48"/>
                </a:cubicBezTo>
                <a:cubicBezTo>
                  <a:pt x="99" y="48"/>
                  <a:pt x="99" y="48"/>
                  <a:pt x="99" y="47"/>
                </a:cubicBezTo>
                <a:cubicBezTo>
                  <a:pt x="99" y="47"/>
                  <a:pt x="99" y="47"/>
                  <a:pt x="99" y="47"/>
                </a:cubicBezTo>
                <a:cubicBezTo>
                  <a:pt x="99" y="47"/>
                  <a:pt x="99" y="47"/>
                  <a:pt x="99" y="47"/>
                </a:cubicBezTo>
                <a:cubicBezTo>
                  <a:pt x="96" y="47"/>
                  <a:pt x="96" y="47"/>
                  <a:pt x="96" y="47"/>
                </a:cubicBezTo>
                <a:cubicBezTo>
                  <a:pt x="98" y="46"/>
                  <a:pt x="98" y="46"/>
                  <a:pt x="98" y="46"/>
                </a:cubicBezTo>
                <a:cubicBezTo>
                  <a:pt x="98" y="46"/>
                  <a:pt x="98" y="46"/>
                  <a:pt x="98" y="46"/>
                </a:cubicBezTo>
                <a:cubicBezTo>
                  <a:pt x="98" y="46"/>
                  <a:pt x="98" y="46"/>
                  <a:pt x="98" y="46"/>
                </a:cubicBezTo>
                <a:cubicBezTo>
                  <a:pt x="98" y="46"/>
                  <a:pt x="98" y="45"/>
                  <a:pt x="98" y="45"/>
                </a:cubicBezTo>
                <a:cubicBezTo>
                  <a:pt x="98" y="45"/>
                  <a:pt x="98" y="45"/>
                  <a:pt x="98" y="45"/>
                </a:cubicBezTo>
                <a:cubicBezTo>
                  <a:pt x="98" y="44"/>
                  <a:pt x="98" y="44"/>
                  <a:pt x="98" y="43"/>
                </a:cubicBezTo>
                <a:cubicBezTo>
                  <a:pt x="98" y="43"/>
                  <a:pt x="98" y="43"/>
                  <a:pt x="99" y="42"/>
                </a:cubicBezTo>
                <a:cubicBezTo>
                  <a:pt x="99" y="42"/>
                  <a:pt x="99" y="42"/>
                  <a:pt x="99" y="42"/>
                </a:cubicBezTo>
                <a:cubicBezTo>
                  <a:pt x="99" y="41"/>
                  <a:pt x="99" y="40"/>
                  <a:pt x="99" y="40"/>
                </a:cubicBezTo>
                <a:cubicBezTo>
                  <a:pt x="99" y="40"/>
                  <a:pt x="98" y="39"/>
                  <a:pt x="98" y="39"/>
                </a:cubicBezTo>
                <a:cubicBezTo>
                  <a:pt x="98" y="39"/>
                  <a:pt x="98" y="39"/>
                  <a:pt x="98" y="39"/>
                </a:cubicBezTo>
                <a:cubicBezTo>
                  <a:pt x="97" y="39"/>
                  <a:pt x="97" y="39"/>
                  <a:pt x="97" y="38"/>
                </a:cubicBezTo>
                <a:cubicBezTo>
                  <a:pt x="97" y="38"/>
                  <a:pt x="97" y="38"/>
                  <a:pt x="97" y="38"/>
                </a:cubicBezTo>
                <a:cubicBezTo>
                  <a:pt x="96" y="38"/>
                  <a:pt x="95" y="38"/>
                  <a:pt x="95" y="38"/>
                </a:cubicBezTo>
                <a:cubicBezTo>
                  <a:pt x="93" y="37"/>
                  <a:pt x="93" y="37"/>
                  <a:pt x="93" y="37"/>
                </a:cubicBezTo>
                <a:cubicBezTo>
                  <a:pt x="101" y="30"/>
                  <a:pt x="101" y="30"/>
                  <a:pt x="101" y="30"/>
                </a:cubicBezTo>
                <a:cubicBezTo>
                  <a:pt x="101" y="30"/>
                  <a:pt x="101" y="30"/>
                  <a:pt x="101" y="30"/>
                </a:cubicBezTo>
                <a:cubicBezTo>
                  <a:pt x="101" y="30"/>
                  <a:pt x="102" y="29"/>
                  <a:pt x="102" y="29"/>
                </a:cubicBezTo>
                <a:cubicBezTo>
                  <a:pt x="102" y="29"/>
                  <a:pt x="102" y="29"/>
                  <a:pt x="102" y="29"/>
                </a:cubicBezTo>
                <a:cubicBezTo>
                  <a:pt x="102" y="29"/>
                  <a:pt x="102" y="29"/>
                  <a:pt x="102" y="29"/>
                </a:cubicBezTo>
                <a:cubicBezTo>
                  <a:pt x="102" y="28"/>
                  <a:pt x="102" y="26"/>
                  <a:pt x="102" y="24"/>
                </a:cubicBezTo>
                <a:cubicBezTo>
                  <a:pt x="101" y="23"/>
                  <a:pt x="101" y="22"/>
                  <a:pt x="100" y="21"/>
                </a:cubicBezTo>
                <a:cubicBezTo>
                  <a:pt x="100" y="20"/>
                  <a:pt x="100" y="20"/>
                  <a:pt x="100" y="20"/>
                </a:cubicBezTo>
                <a:cubicBezTo>
                  <a:pt x="99" y="18"/>
                  <a:pt x="98" y="16"/>
                  <a:pt x="98" y="14"/>
                </a:cubicBezTo>
                <a:cubicBezTo>
                  <a:pt x="98" y="13"/>
                  <a:pt x="98" y="13"/>
                  <a:pt x="98" y="13"/>
                </a:cubicBezTo>
                <a:cubicBezTo>
                  <a:pt x="98" y="13"/>
                  <a:pt x="98" y="13"/>
                  <a:pt x="98" y="13"/>
                </a:cubicBezTo>
                <a:cubicBezTo>
                  <a:pt x="97" y="12"/>
                  <a:pt x="97" y="12"/>
                  <a:pt x="97" y="11"/>
                </a:cubicBezTo>
                <a:cubicBezTo>
                  <a:pt x="97" y="11"/>
                  <a:pt x="97" y="11"/>
                  <a:pt x="97" y="11"/>
                </a:cubicBezTo>
                <a:cubicBezTo>
                  <a:pt x="96" y="11"/>
                  <a:pt x="96" y="10"/>
                  <a:pt x="95" y="10"/>
                </a:cubicBezTo>
                <a:cubicBezTo>
                  <a:pt x="95" y="10"/>
                  <a:pt x="94" y="9"/>
                  <a:pt x="94" y="9"/>
                </a:cubicBezTo>
                <a:cubicBezTo>
                  <a:pt x="94" y="9"/>
                  <a:pt x="94" y="9"/>
                  <a:pt x="94" y="9"/>
                </a:cubicBezTo>
                <a:cubicBezTo>
                  <a:pt x="93" y="9"/>
                  <a:pt x="93" y="9"/>
                  <a:pt x="92" y="9"/>
                </a:cubicBezTo>
                <a:cubicBezTo>
                  <a:pt x="92" y="9"/>
                  <a:pt x="92" y="9"/>
                  <a:pt x="92" y="9"/>
                </a:cubicBezTo>
                <a:cubicBezTo>
                  <a:pt x="92" y="9"/>
                  <a:pt x="92" y="9"/>
                  <a:pt x="92" y="9"/>
                </a:cubicBezTo>
                <a:cubicBezTo>
                  <a:pt x="91" y="9"/>
                  <a:pt x="91" y="9"/>
                  <a:pt x="91" y="9"/>
                </a:cubicBezTo>
                <a:cubicBezTo>
                  <a:pt x="82" y="9"/>
                  <a:pt x="72" y="9"/>
                  <a:pt x="61" y="8"/>
                </a:cubicBezTo>
                <a:cubicBezTo>
                  <a:pt x="60" y="8"/>
                  <a:pt x="60" y="8"/>
                  <a:pt x="60" y="8"/>
                </a:cubicBezTo>
                <a:cubicBezTo>
                  <a:pt x="60" y="7"/>
                  <a:pt x="60" y="7"/>
                  <a:pt x="60" y="7"/>
                </a:cubicBezTo>
                <a:cubicBezTo>
                  <a:pt x="60" y="7"/>
                  <a:pt x="60" y="7"/>
                  <a:pt x="60" y="7"/>
                </a:cubicBezTo>
                <a:cubicBezTo>
                  <a:pt x="59" y="8"/>
                  <a:pt x="58" y="8"/>
                  <a:pt x="57" y="9"/>
                </a:cubicBezTo>
                <a:cubicBezTo>
                  <a:pt x="57" y="9"/>
                  <a:pt x="57" y="9"/>
                  <a:pt x="57" y="9"/>
                </a:cubicBezTo>
                <a:cubicBezTo>
                  <a:pt x="56" y="9"/>
                  <a:pt x="55" y="8"/>
                  <a:pt x="55" y="8"/>
                </a:cubicBezTo>
                <a:cubicBezTo>
                  <a:pt x="57" y="7"/>
                  <a:pt x="58" y="7"/>
                  <a:pt x="60" y="6"/>
                </a:cubicBezTo>
                <a:cubicBezTo>
                  <a:pt x="58" y="6"/>
                  <a:pt x="54" y="7"/>
                  <a:pt x="53" y="8"/>
                </a:cubicBezTo>
                <a:cubicBezTo>
                  <a:pt x="52" y="8"/>
                  <a:pt x="49" y="7"/>
                  <a:pt x="49" y="6"/>
                </a:cubicBezTo>
                <a:cubicBezTo>
                  <a:pt x="48" y="6"/>
                  <a:pt x="48" y="4"/>
                  <a:pt x="47" y="3"/>
                </a:cubicBezTo>
                <a:cubicBezTo>
                  <a:pt x="47" y="3"/>
                  <a:pt x="47" y="2"/>
                  <a:pt x="47" y="2"/>
                </a:cubicBezTo>
                <a:cubicBezTo>
                  <a:pt x="48" y="1"/>
                  <a:pt x="51" y="3"/>
                  <a:pt x="51" y="4"/>
                </a:cubicBezTo>
                <a:cubicBezTo>
                  <a:pt x="48" y="0"/>
                  <a:pt x="44" y="1"/>
                  <a:pt x="40" y="2"/>
                </a:cubicBezTo>
                <a:cubicBezTo>
                  <a:pt x="36" y="3"/>
                  <a:pt x="31" y="4"/>
                  <a:pt x="27" y="5"/>
                </a:cubicBezTo>
                <a:cubicBezTo>
                  <a:pt x="26" y="6"/>
                  <a:pt x="25" y="8"/>
                  <a:pt x="25" y="9"/>
                </a:cubicBezTo>
                <a:cubicBezTo>
                  <a:pt x="22" y="10"/>
                  <a:pt x="18" y="10"/>
                  <a:pt x="15" y="11"/>
                </a:cubicBezTo>
                <a:cubicBezTo>
                  <a:pt x="13" y="11"/>
                  <a:pt x="11" y="12"/>
                  <a:pt x="8" y="13"/>
                </a:cubicBezTo>
                <a:cubicBezTo>
                  <a:pt x="7" y="13"/>
                  <a:pt x="5" y="13"/>
                  <a:pt x="4" y="14"/>
                </a:cubicBezTo>
                <a:cubicBezTo>
                  <a:pt x="4" y="13"/>
                  <a:pt x="2" y="12"/>
                  <a:pt x="2" y="12"/>
                </a:cubicBezTo>
                <a:cubicBezTo>
                  <a:pt x="2" y="12"/>
                  <a:pt x="2" y="12"/>
                  <a:pt x="2" y="12"/>
                </a:cubicBezTo>
                <a:cubicBezTo>
                  <a:pt x="0" y="13"/>
                  <a:pt x="0" y="15"/>
                  <a:pt x="2" y="15"/>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60" name="Rectangle 3117">
            <a:extLst>
              <a:ext uri="{FF2B5EF4-FFF2-40B4-BE49-F238E27FC236}">
                <a16:creationId xmlns:a16="http://schemas.microsoft.com/office/drawing/2014/main" id="{5F4D2012-6E87-4CF5-92C0-E9D3A757FDC9}"/>
              </a:ext>
            </a:extLst>
          </p:cNvPr>
          <p:cNvSpPr>
            <a:spLocks noChangeArrowheads="1"/>
          </p:cNvSpPr>
          <p:nvPr/>
        </p:nvSpPr>
        <p:spPr bwMode="auto">
          <a:xfrm>
            <a:off x="3517405" y="2945360"/>
            <a:ext cx="496" cy="594"/>
          </a:xfrm>
          <a:prstGeom prst="rect">
            <a:avLst/>
          </a:prstGeom>
          <a:solidFill>
            <a:schemeClr val="tx1">
              <a:lumMod val="40000"/>
              <a:lumOff val="60000"/>
            </a:schemeClr>
          </a:solid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61" name="Freeform 3118">
            <a:extLst>
              <a:ext uri="{FF2B5EF4-FFF2-40B4-BE49-F238E27FC236}">
                <a16:creationId xmlns:a16="http://schemas.microsoft.com/office/drawing/2014/main" id="{A0DF77ED-CDFA-4186-8AF5-EF7BC60E9F1C}"/>
              </a:ext>
            </a:extLst>
          </p:cNvPr>
          <p:cNvSpPr>
            <a:spLocks/>
          </p:cNvSpPr>
          <p:nvPr/>
        </p:nvSpPr>
        <p:spPr bwMode="auto">
          <a:xfrm>
            <a:off x="3584305" y="298631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62" name="Freeform 3119">
            <a:extLst>
              <a:ext uri="{FF2B5EF4-FFF2-40B4-BE49-F238E27FC236}">
                <a16:creationId xmlns:a16="http://schemas.microsoft.com/office/drawing/2014/main" id="{BF8B4292-F0B4-4668-96D7-225D5556342D}"/>
              </a:ext>
            </a:extLst>
          </p:cNvPr>
          <p:cNvSpPr>
            <a:spLocks/>
          </p:cNvSpPr>
          <p:nvPr/>
        </p:nvSpPr>
        <p:spPr bwMode="auto">
          <a:xfrm>
            <a:off x="3690851" y="304092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63" name="Freeform 3120">
            <a:extLst>
              <a:ext uri="{FF2B5EF4-FFF2-40B4-BE49-F238E27FC236}">
                <a16:creationId xmlns:a16="http://schemas.microsoft.com/office/drawing/2014/main" id="{614E2E6D-3D20-40D2-A7EF-1A0E2E450565}"/>
              </a:ext>
            </a:extLst>
          </p:cNvPr>
          <p:cNvSpPr>
            <a:spLocks/>
          </p:cNvSpPr>
          <p:nvPr/>
        </p:nvSpPr>
        <p:spPr bwMode="auto">
          <a:xfrm>
            <a:off x="3662604" y="3005906"/>
            <a:ext cx="35185" cy="50456"/>
          </a:xfrm>
          <a:custGeom>
            <a:avLst/>
            <a:gdLst>
              <a:gd name="T0" fmla="*/ 30 w 30"/>
              <a:gd name="T1" fmla="*/ 21 h 36"/>
              <a:gd name="T2" fmla="*/ 29 w 30"/>
              <a:gd name="T3" fmla="*/ 20 h 36"/>
              <a:gd name="T4" fmla="*/ 28 w 30"/>
              <a:gd name="T5" fmla="*/ 20 h 36"/>
              <a:gd name="T6" fmla="*/ 25 w 30"/>
              <a:gd name="T7" fmla="*/ 17 h 36"/>
              <a:gd name="T8" fmla="*/ 25 w 30"/>
              <a:gd name="T9" fmla="*/ 15 h 36"/>
              <a:gd name="T10" fmla="*/ 25 w 30"/>
              <a:gd name="T11" fmla="*/ 15 h 36"/>
              <a:gd name="T12" fmla="*/ 23 w 30"/>
              <a:gd name="T13" fmla="*/ 13 h 36"/>
              <a:gd name="T14" fmla="*/ 21 w 30"/>
              <a:gd name="T15" fmla="*/ 10 h 36"/>
              <a:gd name="T16" fmla="*/ 22 w 30"/>
              <a:gd name="T17" fmla="*/ 9 h 36"/>
              <a:gd name="T18" fmla="*/ 22 w 30"/>
              <a:gd name="T19" fmla="*/ 6 h 36"/>
              <a:gd name="T20" fmla="*/ 22 w 30"/>
              <a:gd name="T21" fmla="*/ 6 h 36"/>
              <a:gd name="T22" fmla="*/ 18 w 30"/>
              <a:gd name="T23" fmla="*/ 5 h 36"/>
              <a:gd name="T24" fmla="*/ 17 w 30"/>
              <a:gd name="T25" fmla="*/ 5 h 36"/>
              <a:gd name="T26" fmla="*/ 13 w 30"/>
              <a:gd name="T27" fmla="*/ 3 h 36"/>
              <a:gd name="T28" fmla="*/ 7 w 30"/>
              <a:gd name="T29" fmla="*/ 0 h 36"/>
              <a:gd name="T30" fmla="*/ 6 w 30"/>
              <a:gd name="T31" fmla="*/ 0 h 36"/>
              <a:gd name="T32" fmla="*/ 2 w 30"/>
              <a:gd name="T33" fmla="*/ 1 h 36"/>
              <a:gd name="T34" fmla="*/ 0 w 30"/>
              <a:gd name="T35" fmla="*/ 1 h 36"/>
              <a:gd name="T36" fmla="*/ 0 w 30"/>
              <a:gd name="T37" fmla="*/ 1 h 36"/>
              <a:gd name="T38" fmla="*/ 2 w 30"/>
              <a:gd name="T39" fmla="*/ 2 h 36"/>
              <a:gd name="T40" fmla="*/ 4 w 30"/>
              <a:gd name="T41" fmla="*/ 5 h 36"/>
              <a:gd name="T42" fmla="*/ 4 w 30"/>
              <a:gd name="T43" fmla="*/ 7 h 36"/>
              <a:gd name="T44" fmla="*/ 9 w 30"/>
              <a:gd name="T45" fmla="*/ 13 h 36"/>
              <a:gd name="T46" fmla="*/ 12 w 30"/>
              <a:gd name="T47" fmla="*/ 17 h 36"/>
              <a:gd name="T48" fmla="*/ 14 w 30"/>
              <a:gd name="T49" fmla="*/ 20 h 36"/>
              <a:gd name="T50" fmla="*/ 14 w 30"/>
              <a:gd name="T51" fmla="*/ 26 h 36"/>
              <a:gd name="T52" fmla="*/ 13 w 30"/>
              <a:gd name="T53" fmla="*/ 33 h 36"/>
              <a:gd name="T54" fmla="*/ 13 w 30"/>
              <a:gd name="T55" fmla="*/ 35 h 36"/>
              <a:gd name="T56" fmla="*/ 13 w 30"/>
              <a:gd name="T57" fmla="*/ 36 h 36"/>
              <a:gd name="T58" fmla="*/ 14 w 30"/>
              <a:gd name="T59" fmla="*/ 35 h 36"/>
              <a:gd name="T60" fmla="*/ 15 w 30"/>
              <a:gd name="T61" fmla="*/ 34 h 36"/>
              <a:gd name="T62" fmla="*/ 17 w 30"/>
              <a:gd name="T63" fmla="*/ 32 h 36"/>
              <a:gd name="T64" fmla="*/ 17 w 30"/>
              <a:gd name="T65" fmla="*/ 32 h 36"/>
              <a:gd name="T66" fmla="*/ 18 w 30"/>
              <a:gd name="T67" fmla="*/ 31 h 36"/>
              <a:gd name="T68" fmla="*/ 19 w 30"/>
              <a:gd name="T69" fmla="*/ 29 h 36"/>
              <a:gd name="T70" fmla="*/ 19 w 30"/>
              <a:gd name="T71" fmla="*/ 29 h 36"/>
              <a:gd name="T72" fmla="*/ 20 w 30"/>
              <a:gd name="T73" fmla="*/ 28 h 36"/>
              <a:gd name="T74" fmla="*/ 20 w 30"/>
              <a:gd name="T75" fmla="*/ 27 h 36"/>
              <a:gd name="T76" fmla="*/ 20 w 30"/>
              <a:gd name="T77" fmla="*/ 25 h 36"/>
              <a:gd name="T78" fmla="*/ 22 w 30"/>
              <a:gd name="T79" fmla="*/ 23 h 36"/>
              <a:gd name="T80" fmla="*/ 23 w 30"/>
              <a:gd name="T81" fmla="*/ 23 h 36"/>
              <a:gd name="T82" fmla="*/ 24 w 30"/>
              <a:gd name="T83" fmla="*/ 24 h 36"/>
              <a:gd name="T84" fmla="*/ 24 w 30"/>
              <a:gd name="T85" fmla="*/ 24 h 36"/>
              <a:gd name="T86" fmla="*/ 26 w 30"/>
              <a:gd name="T87" fmla="*/ 23 h 36"/>
              <a:gd name="T88" fmla="*/ 27 w 30"/>
              <a:gd name="T89" fmla="*/ 23 h 36"/>
              <a:gd name="T90" fmla="*/ 27 w 30"/>
              <a:gd name="T91" fmla="*/ 24 h 36"/>
              <a:gd name="T92" fmla="*/ 28 w 30"/>
              <a:gd name="T93" fmla="*/ 24 h 36"/>
              <a:gd name="T94" fmla="*/ 29 w 30"/>
              <a:gd name="T95" fmla="*/ 24 h 36"/>
              <a:gd name="T96" fmla="*/ 30 w 30"/>
              <a:gd name="T9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 h="36">
                <a:moveTo>
                  <a:pt x="29" y="22"/>
                </a:moveTo>
                <a:cubicBezTo>
                  <a:pt x="30" y="21"/>
                  <a:pt x="30" y="21"/>
                  <a:pt x="30" y="21"/>
                </a:cubicBezTo>
                <a:cubicBezTo>
                  <a:pt x="29" y="21"/>
                  <a:pt x="29" y="21"/>
                  <a:pt x="29" y="21"/>
                </a:cubicBezTo>
                <a:cubicBezTo>
                  <a:pt x="29" y="21"/>
                  <a:pt x="29" y="21"/>
                  <a:pt x="29" y="20"/>
                </a:cubicBezTo>
                <a:cubicBezTo>
                  <a:pt x="27" y="22"/>
                  <a:pt x="27" y="22"/>
                  <a:pt x="27" y="22"/>
                </a:cubicBezTo>
                <a:cubicBezTo>
                  <a:pt x="28" y="20"/>
                  <a:pt x="28" y="20"/>
                  <a:pt x="28" y="20"/>
                </a:cubicBezTo>
                <a:cubicBezTo>
                  <a:pt x="28" y="20"/>
                  <a:pt x="28" y="20"/>
                  <a:pt x="28" y="20"/>
                </a:cubicBezTo>
                <a:cubicBezTo>
                  <a:pt x="27" y="19"/>
                  <a:pt x="26" y="18"/>
                  <a:pt x="25" y="17"/>
                </a:cubicBezTo>
                <a:cubicBezTo>
                  <a:pt x="24" y="15"/>
                  <a:pt x="24" y="15"/>
                  <a:pt x="24" y="15"/>
                </a:cubicBezTo>
                <a:cubicBezTo>
                  <a:pt x="25" y="15"/>
                  <a:pt x="25" y="15"/>
                  <a:pt x="25" y="15"/>
                </a:cubicBezTo>
                <a:cubicBezTo>
                  <a:pt x="25" y="15"/>
                  <a:pt x="25" y="15"/>
                  <a:pt x="25" y="15"/>
                </a:cubicBezTo>
                <a:cubicBezTo>
                  <a:pt x="25" y="15"/>
                  <a:pt x="25" y="15"/>
                  <a:pt x="25" y="15"/>
                </a:cubicBezTo>
                <a:cubicBezTo>
                  <a:pt x="25" y="15"/>
                  <a:pt x="25" y="15"/>
                  <a:pt x="25" y="15"/>
                </a:cubicBezTo>
                <a:cubicBezTo>
                  <a:pt x="24" y="14"/>
                  <a:pt x="23" y="14"/>
                  <a:pt x="23" y="13"/>
                </a:cubicBezTo>
                <a:cubicBezTo>
                  <a:pt x="22" y="12"/>
                  <a:pt x="21" y="11"/>
                  <a:pt x="21" y="10"/>
                </a:cubicBezTo>
                <a:cubicBezTo>
                  <a:pt x="21" y="10"/>
                  <a:pt x="21" y="10"/>
                  <a:pt x="21" y="10"/>
                </a:cubicBezTo>
                <a:cubicBezTo>
                  <a:pt x="22" y="10"/>
                  <a:pt x="22" y="10"/>
                  <a:pt x="22" y="10"/>
                </a:cubicBezTo>
                <a:cubicBezTo>
                  <a:pt x="22" y="9"/>
                  <a:pt x="22" y="9"/>
                  <a:pt x="22" y="9"/>
                </a:cubicBezTo>
                <a:cubicBezTo>
                  <a:pt x="22" y="9"/>
                  <a:pt x="22" y="9"/>
                  <a:pt x="22" y="9"/>
                </a:cubicBezTo>
                <a:cubicBezTo>
                  <a:pt x="22" y="8"/>
                  <a:pt x="22" y="7"/>
                  <a:pt x="22" y="6"/>
                </a:cubicBezTo>
                <a:cubicBezTo>
                  <a:pt x="22" y="6"/>
                  <a:pt x="22" y="6"/>
                  <a:pt x="22" y="6"/>
                </a:cubicBezTo>
                <a:cubicBezTo>
                  <a:pt x="22" y="6"/>
                  <a:pt x="22" y="6"/>
                  <a:pt x="22" y="6"/>
                </a:cubicBezTo>
                <a:cubicBezTo>
                  <a:pt x="22" y="6"/>
                  <a:pt x="22" y="6"/>
                  <a:pt x="22" y="6"/>
                </a:cubicBezTo>
                <a:cubicBezTo>
                  <a:pt x="21" y="6"/>
                  <a:pt x="20" y="6"/>
                  <a:pt x="18" y="5"/>
                </a:cubicBezTo>
                <a:cubicBezTo>
                  <a:pt x="18" y="5"/>
                  <a:pt x="18" y="5"/>
                  <a:pt x="18" y="5"/>
                </a:cubicBezTo>
                <a:cubicBezTo>
                  <a:pt x="18" y="5"/>
                  <a:pt x="17" y="5"/>
                  <a:pt x="17" y="5"/>
                </a:cubicBezTo>
                <a:cubicBezTo>
                  <a:pt x="16" y="4"/>
                  <a:pt x="15" y="4"/>
                  <a:pt x="14" y="4"/>
                </a:cubicBezTo>
                <a:cubicBezTo>
                  <a:pt x="14" y="3"/>
                  <a:pt x="13" y="3"/>
                  <a:pt x="13" y="3"/>
                </a:cubicBezTo>
                <a:cubicBezTo>
                  <a:pt x="11" y="2"/>
                  <a:pt x="9" y="1"/>
                  <a:pt x="8" y="0"/>
                </a:cubicBezTo>
                <a:cubicBezTo>
                  <a:pt x="7" y="0"/>
                  <a:pt x="7" y="0"/>
                  <a:pt x="7" y="0"/>
                </a:cubicBezTo>
                <a:cubicBezTo>
                  <a:pt x="6" y="0"/>
                  <a:pt x="6" y="0"/>
                  <a:pt x="6" y="0"/>
                </a:cubicBezTo>
                <a:cubicBezTo>
                  <a:pt x="6" y="0"/>
                  <a:pt x="6" y="0"/>
                  <a:pt x="6" y="0"/>
                </a:cubicBezTo>
                <a:cubicBezTo>
                  <a:pt x="5" y="0"/>
                  <a:pt x="4" y="1"/>
                  <a:pt x="2" y="1"/>
                </a:cubicBezTo>
                <a:cubicBezTo>
                  <a:pt x="2" y="1"/>
                  <a:pt x="2" y="1"/>
                  <a:pt x="2" y="1"/>
                </a:cubicBezTo>
                <a:cubicBezTo>
                  <a:pt x="1" y="1"/>
                  <a:pt x="1" y="1"/>
                  <a:pt x="1" y="1"/>
                </a:cubicBezTo>
                <a:cubicBezTo>
                  <a:pt x="1" y="1"/>
                  <a:pt x="0" y="1"/>
                  <a:pt x="0" y="1"/>
                </a:cubicBezTo>
                <a:cubicBezTo>
                  <a:pt x="0" y="1"/>
                  <a:pt x="0" y="1"/>
                  <a:pt x="0" y="1"/>
                </a:cubicBezTo>
                <a:cubicBezTo>
                  <a:pt x="0" y="1"/>
                  <a:pt x="0" y="1"/>
                  <a:pt x="0" y="1"/>
                </a:cubicBezTo>
                <a:cubicBezTo>
                  <a:pt x="0" y="1"/>
                  <a:pt x="1" y="1"/>
                  <a:pt x="1" y="2"/>
                </a:cubicBezTo>
                <a:cubicBezTo>
                  <a:pt x="2" y="2"/>
                  <a:pt x="2" y="2"/>
                  <a:pt x="2" y="2"/>
                </a:cubicBezTo>
                <a:cubicBezTo>
                  <a:pt x="3" y="3"/>
                  <a:pt x="3" y="4"/>
                  <a:pt x="3" y="4"/>
                </a:cubicBezTo>
                <a:cubicBezTo>
                  <a:pt x="3" y="5"/>
                  <a:pt x="4" y="5"/>
                  <a:pt x="4" y="5"/>
                </a:cubicBezTo>
                <a:cubicBezTo>
                  <a:pt x="4" y="5"/>
                  <a:pt x="4" y="5"/>
                  <a:pt x="4" y="6"/>
                </a:cubicBezTo>
                <a:cubicBezTo>
                  <a:pt x="4" y="7"/>
                  <a:pt x="4" y="7"/>
                  <a:pt x="4" y="7"/>
                </a:cubicBezTo>
                <a:cubicBezTo>
                  <a:pt x="5" y="8"/>
                  <a:pt x="5" y="9"/>
                  <a:pt x="6" y="9"/>
                </a:cubicBezTo>
                <a:cubicBezTo>
                  <a:pt x="7" y="11"/>
                  <a:pt x="8" y="12"/>
                  <a:pt x="9" y="13"/>
                </a:cubicBezTo>
                <a:cubicBezTo>
                  <a:pt x="10" y="14"/>
                  <a:pt x="10" y="14"/>
                  <a:pt x="10" y="14"/>
                </a:cubicBezTo>
                <a:cubicBezTo>
                  <a:pt x="11" y="15"/>
                  <a:pt x="11" y="16"/>
                  <a:pt x="12" y="17"/>
                </a:cubicBezTo>
                <a:cubicBezTo>
                  <a:pt x="13" y="17"/>
                  <a:pt x="13" y="18"/>
                  <a:pt x="13" y="19"/>
                </a:cubicBezTo>
                <a:cubicBezTo>
                  <a:pt x="13" y="19"/>
                  <a:pt x="13" y="20"/>
                  <a:pt x="14" y="20"/>
                </a:cubicBezTo>
                <a:cubicBezTo>
                  <a:pt x="14" y="21"/>
                  <a:pt x="14" y="21"/>
                  <a:pt x="14" y="22"/>
                </a:cubicBezTo>
                <a:cubicBezTo>
                  <a:pt x="15" y="24"/>
                  <a:pt x="15" y="25"/>
                  <a:pt x="14" y="26"/>
                </a:cubicBezTo>
                <a:cubicBezTo>
                  <a:pt x="14" y="28"/>
                  <a:pt x="13" y="30"/>
                  <a:pt x="13" y="32"/>
                </a:cubicBezTo>
                <a:cubicBezTo>
                  <a:pt x="13" y="32"/>
                  <a:pt x="13" y="32"/>
                  <a:pt x="13" y="33"/>
                </a:cubicBezTo>
                <a:cubicBezTo>
                  <a:pt x="13" y="33"/>
                  <a:pt x="13" y="33"/>
                  <a:pt x="13" y="33"/>
                </a:cubicBezTo>
                <a:cubicBezTo>
                  <a:pt x="13" y="34"/>
                  <a:pt x="13" y="34"/>
                  <a:pt x="13" y="35"/>
                </a:cubicBezTo>
                <a:cubicBezTo>
                  <a:pt x="13" y="35"/>
                  <a:pt x="13" y="35"/>
                  <a:pt x="13" y="35"/>
                </a:cubicBezTo>
                <a:cubicBezTo>
                  <a:pt x="13" y="36"/>
                  <a:pt x="13" y="36"/>
                  <a:pt x="13" y="36"/>
                </a:cubicBezTo>
                <a:cubicBezTo>
                  <a:pt x="13" y="36"/>
                  <a:pt x="14" y="35"/>
                  <a:pt x="14" y="35"/>
                </a:cubicBezTo>
                <a:cubicBezTo>
                  <a:pt x="14" y="35"/>
                  <a:pt x="14" y="35"/>
                  <a:pt x="14" y="35"/>
                </a:cubicBezTo>
                <a:cubicBezTo>
                  <a:pt x="14" y="35"/>
                  <a:pt x="15" y="35"/>
                  <a:pt x="15" y="35"/>
                </a:cubicBezTo>
                <a:cubicBezTo>
                  <a:pt x="15" y="34"/>
                  <a:pt x="15" y="34"/>
                  <a:pt x="15" y="34"/>
                </a:cubicBezTo>
                <a:cubicBezTo>
                  <a:pt x="16" y="33"/>
                  <a:pt x="16" y="33"/>
                  <a:pt x="16" y="32"/>
                </a:cubicBezTo>
                <a:cubicBezTo>
                  <a:pt x="17" y="32"/>
                  <a:pt x="17" y="32"/>
                  <a:pt x="17" y="32"/>
                </a:cubicBezTo>
                <a:cubicBezTo>
                  <a:pt x="17" y="32"/>
                  <a:pt x="17" y="32"/>
                  <a:pt x="17" y="32"/>
                </a:cubicBezTo>
                <a:cubicBezTo>
                  <a:pt x="17" y="32"/>
                  <a:pt x="17" y="32"/>
                  <a:pt x="17" y="32"/>
                </a:cubicBezTo>
                <a:cubicBezTo>
                  <a:pt x="17" y="32"/>
                  <a:pt x="17" y="32"/>
                  <a:pt x="17" y="31"/>
                </a:cubicBezTo>
                <a:cubicBezTo>
                  <a:pt x="18" y="31"/>
                  <a:pt x="18" y="31"/>
                  <a:pt x="18" y="31"/>
                </a:cubicBezTo>
                <a:cubicBezTo>
                  <a:pt x="18" y="30"/>
                  <a:pt x="18" y="30"/>
                  <a:pt x="19" y="29"/>
                </a:cubicBezTo>
                <a:cubicBezTo>
                  <a:pt x="19" y="29"/>
                  <a:pt x="19" y="29"/>
                  <a:pt x="19" y="29"/>
                </a:cubicBezTo>
                <a:cubicBezTo>
                  <a:pt x="19" y="29"/>
                  <a:pt x="19" y="29"/>
                  <a:pt x="19" y="29"/>
                </a:cubicBezTo>
                <a:cubicBezTo>
                  <a:pt x="19" y="29"/>
                  <a:pt x="19" y="29"/>
                  <a:pt x="19" y="29"/>
                </a:cubicBezTo>
                <a:cubicBezTo>
                  <a:pt x="20" y="28"/>
                  <a:pt x="20" y="28"/>
                  <a:pt x="20" y="28"/>
                </a:cubicBezTo>
                <a:cubicBezTo>
                  <a:pt x="20" y="28"/>
                  <a:pt x="20" y="28"/>
                  <a:pt x="20" y="28"/>
                </a:cubicBezTo>
                <a:cubicBezTo>
                  <a:pt x="20" y="28"/>
                  <a:pt x="20" y="28"/>
                  <a:pt x="20" y="28"/>
                </a:cubicBezTo>
                <a:cubicBezTo>
                  <a:pt x="20" y="27"/>
                  <a:pt x="20" y="27"/>
                  <a:pt x="20" y="27"/>
                </a:cubicBezTo>
                <a:cubicBezTo>
                  <a:pt x="20" y="27"/>
                  <a:pt x="20" y="26"/>
                  <a:pt x="20" y="26"/>
                </a:cubicBezTo>
                <a:cubicBezTo>
                  <a:pt x="20" y="25"/>
                  <a:pt x="20" y="25"/>
                  <a:pt x="20" y="25"/>
                </a:cubicBezTo>
                <a:cubicBezTo>
                  <a:pt x="20" y="25"/>
                  <a:pt x="20" y="23"/>
                  <a:pt x="21" y="23"/>
                </a:cubicBezTo>
                <a:cubicBezTo>
                  <a:pt x="22" y="23"/>
                  <a:pt x="22" y="23"/>
                  <a:pt x="22" y="23"/>
                </a:cubicBezTo>
                <a:cubicBezTo>
                  <a:pt x="22" y="23"/>
                  <a:pt x="22" y="23"/>
                  <a:pt x="22" y="23"/>
                </a:cubicBezTo>
                <a:cubicBezTo>
                  <a:pt x="22" y="23"/>
                  <a:pt x="23" y="23"/>
                  <a:pt x="23" y="23"/>
                </a:cubicBezTo>
                <a:cubicBezTo>
                  <a:pt x="23" y="24"/>
                  <a:pt x="23" y="24"/>
                  <a:pt x="23" y="24"/>
                </a:cubicBezTo>
                <a:cubicBezTo>
                  <a:pt x="24" y="24"/>
                  <a:pt x="24" y="24"/>
                  <a:pt x="24" y="24"/>
                </a:cubicBezTo>
                <a:cubicBezTo>
                  <a:pt x="24" y="24"/>
                  <a:pt x="24" y="24"/>
                  <a:pt x="24" y="24"/>
                </a:cubicBezTo>
                <a:cubicBezTo>
                  <a:pt x="24" y="24"/>
                  <a:pt x="24" y="24"/>
                  <a:pt x="24" y="24"/>
                </a:cubicBezTo>
                <a:cubicBezTo>
                  <a:pt x="25" y="23"/>
                  <a:pt x="25" y="23"/>
                  <a:pt x="26" y="23"/>
                </a:cubicBezTo>
                <a:cubicBezTo>
                  <a:pt x="26" y="23"/>
                  <a:pt x="26" y="23"/>
                  <a:pt x="26" y="23"/>
                </a:cubicBezTo>
                <a:cubicBezTo>
                  <a:pt x="26" y="23"/>
                  <a:pt x="26" y="23"/>
                  <a:pt x="26" y="23"/>
                </a:cubicBezTo>
                <a:cubicBezTo>
                  <a:pt x="27" y="23"/>
                  <a:pt x="27" y="23"/>
                  <a:pt x="27" y="23"/>
                </a:cubicBezTo>
                <a:cubicBezTo>
                  <a:pt x="27" y="24"/>
                  <a:pt x="27" y="24"/>
                  <a:pt x="27" y="24"/>
                </a:cubicBezTo>
                <a:cubicBezTo>
                  <a:pt x="27" y="24"/>
                  <a:pt x="27" y="24"/>
                  <a:pt x="27" y="24"/>
                </a:cubicBezTo>
                <a:cubicBezTo>
                  <a:pt x="28" y="24"/>
                  <a:pt x="28" y="24"/>
                  <a:pt x="28" y="24"/>
                </a:cubicBezTo>
                <a:cubicBezTo>
                  <a:pt x="28" y="24"/>
                  <a:pt x="28" y="24"/>
                  <a:pt x="28" y="24"/>
                </a:cubicBezTo>
                <a:cubicBezTo>
                  <a:pt x="28" y="24"/>
                  <a:pt x="28" y="24"/>
                  <a:pt x="29" y="24"/>
                </a:cubicBezTo>
                <a:cubicBezTo>
                  <a:pt x="29" y="24"/>
                  <a:pt x="29" y="24"/>
                  <a:pt x="29" y="24"/>
                </a:cubicBezTo>
                <a:cubicBezTo>
                  <a:pt x="29" y="24"/>
                  <a:pt x="29" y="24"/>
                  <a:pt x="29" y="24"/>
                </a:cubicBezTo>
                <a:cubicBezTo>
                  <a:pt x="30" y="24"/>
                  <a:pt x="30" y="24"/>
                  <a:pt x="30" y="24"/>
                </a:cubicBezTo>
                <a:cubicBezTo>
                  <a:pt x="29" y="23"/>
                  <a:pt x="29" y="23"/>
                  <a:pt x="29" y="22"/>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64" name="Freeform 3121">
            <a:extLst>
              <a:ext uri="{FF2B5EF4-FFF2-40B4-BE49-F238E27FC236}">
                <a16:creationId xmlns:a16="http://schemas.microsoft.com/office/drawing/2014/main" id="{59CC6843-A978-4888-90BC-417412B75152}"/>
              </a:ext>
            </a:extLst>
          </p:cNvPr>
          <p:cNvSpPr>
            <a:spLocks/>
          </p:cNvSpPr>
          <p:nvPr/>
        </p:nvSpPr>
        <p:spPr bwMode="auto">
          <a:xfrm>
            <a:off x="3606606" y="2931707"/>
            <a:ext cx="213091" cy="146024"/>
          </a:xfrm>
          <a:custGeom>
            <a:avLst/>
            <a:gdLst>
              <a:gd name="T0" fmla="*/ 170 w 182"/>
              <a:gd name="T1" fmla="*/ 59 h 104"/>
              <a:gd name="T2" fmla="*/ 178 w 182"/>
              <a:gd name="T3" fmla="*/ 51 h 104"/>
              <a:gd name="T4" fmla="*/ 178 w 182"/>
              <a:gd name="T5" fmla="*/ 46 h 104"/>
              <a:gd name="T6" fmla="*/ 175 w 182"/>
              <a:gd name="T7" fmla="*/ 36 h 104"/>
              <a:gd name="T8" fmla="*/ 171 w 182"/>
              <a:gd name="T9" fmla="*/ 35 h 104"/>
              <a:gd name="T10" fmla="*/ 164 w 182"/>
              <a:gd name="T11" fmla="*/ 32 h 104"/>
              <a:gd name="T12" fmla="*/ 155 w 182"/>
              <a:gd name="T13" fmla="*/ 27 h 104"/>
              <a:gd name="T14" fmla="*/ 133 w 182"/>
              <a:gd name="T15" fmla="*/ 21 h 104"/>
              <a:gd name="T16" fmla="*/ 122 w 182"/>
              <a:gd name="T17" fmla="*/ 15 h 104"/>
              <a:gd name="T18" fmla="*/ 122 w 182"/>
              <a:gd name="T19" fmla="*/ 7 h 104"/>
              <a:gd name="T20" fmla="*/ 106 w 182"/>
              <a:gd name="T21" fmla="*/ 1 h 104"/>
              <a:gd name="T22" fmla="*/ 96 w 182"/>
              <a:gd name="T23" fmla="*/ 4 h 104"/>
              <a:gd name="T24" fmla="*/ 91 w 182"/>
              <a:gd name="T25" fmla="*/ 5 h 104"/>
              <a:gd name="T26" fmla="*/ 87 w 182"/>
              <a:gd name="T27" fmla="*/ 8 h 104"/>
              <a:gd name="T28" fmla="*/ 86 w 182"/>
              <a:gd name="T29" fmla="*/ 17 h 104"/>
              <a:gd name="T30" fmla="*/ 72 w 182"/>
              <a:gd name="T31" fmla="*/ 13 h 104"/>
              <a:gd name="T32" fmla="*/ 70 w 182"/>
              <a:gd name="T33" fmla="*/ 11 h 104"/>
              <a:gd name="T34" fmla="*/ 66 w 182"/>
              <a:gd name="T35" fmla="*/ 13 h 104"/>
              <a:gd name="T36" fmla="*/ 57 w 182"/>
              <a:gd name="T37" fmla="*/ 12 h 104"/>
              <a:gd name="T38" fmla="*/ 31 w 182"/>
              <a:gd name="T39" fmla="*/ 6 h 104"/>
              <a:gd name="T40" fmla="*/ 25 w 182"/>
              <a:gd name="T41" fmla="*/ 7 h 104"/>
              <a:gd name="T42" fmla="*/ 18 w 182"/>
              <a:gd name="T43" fmla="*/ 11 h 104"/>
              <a:gd name="T44" fmla="*/ 16 w 182"/>
              <a:gd name="T45" fmla="*/ 13 h 104"/>
              <a:gd name="T46" fmla="*/ 20 w 182"/>
              <a:gd name="T47" fmla="*/ 21 h 104"/>
              <a:gd name="T48" fmla="*/ 12 w 182"/>
              <a:gd name="T49" fmla="*/ 31 h 104"/>
              <a:gd name="T50" fmla="*/ 6 w 182"/>
              <a:gd name="T51" fmla="*/ 40 h 104"/>
              <a:gd name="T52" fmla="*/ 6 w 182"/>
              <a:gd name="T53" fmla="*/ 46 h 104"/>
              <a:gd name="T54" fmla="*/ 2 w 182"/>
              <a:gd name="T55" fmla="*/ 48 h 104"/>
              <a:gd name="T56" fmla="*/ 1 w 182"/>
              <a:gd name="T57" fmla="*/ 52 h 104"/>
              <a:gd name="T58" fmla="*/ 7 w 182"/>
              <a:gd name="T59" fmla="*/ 57 h 104"/>
              <a:gd name="T60" fmla="*/ 11 w 182"/>
              <a:gd name="T61" fmla="*/ 55 h 104"/>
              <a:gd name="T62" fmla="*/ 20 w 182"/>
              <a:gd name="T63" fmla="*/ 57 h 104"/>
              <a:gd name="T64" fmla="*/ 29 w 182"/>
              <a:gd name="T65" fmla="*/ 59 h 104"/>
              <a:gd name="T66" fmla="*/ 39 w 182"/>
              <a:gd name="T67" fmla="*/ 57 h 104"/>
              <a:gd name="T68" fmla="*/ 53 w 182"/>
              <a:gd name="T69" fmla="*/ 50 h 104"/>
              <a:gd name="T70" fmla="*/ 66 w 182"/>
              <a:gd name="T71" fmla="*/ 55 h 104"/>
              <a:gd name="T72" fmla="*/ 73 w 182"/>
              <a:gd name="T73" fmla="*/ 59 h 104"/>
              <a:gd name="T74" fmla="*/ 74 w 182"/>
              <a:gd name="T75" fmla="*/ 65 h 104"/>
              <a:gd name="T76" fmla="*/ 78 w 182"/>
              <a:gd name="T77" fmla="*/ 71 h 104"/>
              <a:gd name="T78" fmla="*/ 80 w 182"/>
              <a:gd name="T79" fmla="*/ 76 h 104"/>
              <a:gd name="T80" fmla="*/ 82 w 182"/>
              <a:gd name="T81" fmla="*/ 79 h 104"/>
              <a:gd name="T82" fmla="*/ 96 w 182"/>
              <a:gd name="T83" fmla="*/ 73 h 104"/>
              <a:gd name="T84" fmla="*/ 99 w 182"/>
              <a:gd name="T85" fmla="*/ 71 h 104"/>
              <a:gd name="T86" fmla="*/ 98 w 182"/>
              <a:gd name="T87" fmla="*/ 68 h 104"/>
              <a:gd name="T88" fmla="*/ 100 w 182"/>
              <a:gd name="T89" fmla="*/ 74 h 104"/>
              <a:gd name="T90" fmla="*/ 96 w 182"/>
              <a:gd name="T91" fmla="*/ 77 h 104"/>
              <a:gd name="T92" fmla="*/ 108 w 182"/>
              <a:gd name="T93" fmla="*/ 82 h 104"/>
              <a:gd name="T94" fmla="*/ 112 w 182"/>
              <a:gd name="T95" fmla="*/ 87 h 104"/>
              <a:gd name="T96" fmla="*/ 115 w 182"/>
              <a:gd name="T97" fmla="*/ 99 h 104"/>
              <a:gd name="T98" fmla="*/ 139 w 182"/>
              <a:gd name="T99" fmla="*/ 96 h 104"/>
              <a:gd name="T100" fmla="*/ 146 w 182"/>
              <a:gd name="T101" fmla="*/ 92 h 104"/>
              <a:gd name="T102" fmla="*/ 129 w 182"/>
              <a:gd name="T103" fmla="*/ 81 h 104"/>
              <a:gd name="T104" fmla="*/ 135 w 182"/>
              <a:gd name="T105" fmla="*/ 79 h 104"/>
              <a:gd name="T106" fmla="*/ 155 w 182"/>
              <a:gd name="T107" fmla="*/ 7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2" h="104">
                <a:moveTo>
                  <a:pt x="162" y="69"/>
                </a:moveTo>
                <a:cubicBezTo>
                  <a:pt x="162" y="69"/>
                  <a:pt x="162" y="69"/>
                  <a:pt x="162" y="69"/>
                </a:cubicBezTo>
                <a:cubicBezTo>
                  <a:pt x="162" y="69"/>
                  <a:pt x="162" y="68"/>
                  <a:pt x="162" y="68"/>
                </a:cubicBezTo>
                <a:cubicBezTo>
                  <a:pt x="162" y="67"/>
                  <a:pt x="162" y="66"/>
                  <a:pt x="162" y="65"/>
                </a:cubicBezTo>
                <a:cubicBezTo>
                  <a:pt x="163" y="63"/>
                  <a:pt x="164" y="61"/>
                  <a:pt x="167" y="60"/>
                </a:cubicBezTo>
                <a:cubicBezTo>
                  <a:pt x="168" y="60"/>
                  <a:pt x="169" y="60"/>
                  <a:pt x="170" y="59"/>
                </a:cubicBezTo>
                <a:cubicBezTo>
                  <a:pt x="171" y="58"/>
                  <a:pt x="173" y="58"/>
                  <a:pt x="177" y="59"/>
                </a:cubicBezTo>
                <a:cubicBezTo>
                  <a:pt x="177" y="59"/>
                  <a:pt x="178" y="59"/>
                  <a:pt x="178" y="59"/>
                </a:cubicBezTo>
                <a:cubicBezTo>
                  <a:pt x="178" y="58"/>
                  <a:pt x="178" y="58"/>
                  <a:pt x="178" y="58"/>
                </a:cubicBezTo>
                <a:cubicBezTo>
                  <a:pt x="178" y="57"/>
                  <a:pt x="179" y="55"/>
                  <a:pt x="180" y="54"/>
                </a:cubicBezTo>
                <a:cubicBezTo>
                  <a:pt x="180" y="54"/>
                  <a:pt x="180" y="54"/>
                  <a:pt x="179" y="52"/>
                </a:cubicBezTo>
                <a:cubicBezTo>
                  <a:pt x="179" y="52"/>
                  <a:pt x="179" y="51"/>
                  <a:pt x="178" y="51"/>
                </a:cubicBezTo>
                <a:cubicBezTo>
                  <a:pt x="178" y="51"/>
                  <a:pt x="178" y="51"/>
                  <a:pt x="178" y="51"/>
                </a:cubicBezTo>
                <a:cubicBezTo>
                  <a:pt x="177" y="51"/>
                  <a:pt x="177" y="51"/>
                  <a:pt x="177" y="51"/>
                </a:cubicBezTo>
                <a:cubicBezTo>
                  <a:pt x="177" y="50"/>
                  <a:pt x="176" y="49"/>
                  <a:pt x="177" y="49"/>
                </a:cubicBezTo>
                <a:cubicBezTo>
                  <a:pt x="177" y="48"/>
                  <a:pt x="177" y="47"/>
                  <a:pt x="178" y="47"/>
                </a:cubicBezTo>
                <a:cubicBezTo>
                  <a:pt x="178" y="47"/>
                  <a:pt x="178" y="46"/>
                  <a:pt x="178" y="46"/>
                </a:cubicBezTo>
                <a:cubicBezTo>
                  <a:pt x="178" y="46"/>
                  <a:pt x="178" y="46"/>
                  <a:pt x="178" y="46"/>
                </a:cubicBezTo>
                <a:cubicBezTo>
                  <a:pt x="176" y="45"/>
                  <a:pt x="176" y="45"/>
                  <a:pt x="176" y="45"/>
                </a:cubicBezTo>
                <a:cubicBezTo>
                  <a:pt x="178" y="44"/>
                  <a:pt x="178" y="44"/>
                  <a:pt x="178" y="44"/>
                </a:cubicBezTo>
                <a:cubicBezTo>
                  <a:pt x="179" y="43"/>
                  <a:pt x="181" y="41"/>
                  <a:pt x="181" y="41"/>
                </a:cubicBezTo>
                <a:cubicBezTo>
                  <a:pt x="181" y="41"/>
                  <a:pt x="181" y="41"/>
                  <a:pt x="181" y="41"/>
                </a:cubicBezTo>
                <a:cubicBezTo>
                  <a:pt x="182" y="40"/>
                  <a:pt x="182" y="39"/>
                  <a:pt x="182" y="38"/>
                </a:cubicBezTo>
                <a:cubicBezTo>
                  <a:pt x="178" y="39"/>
                  <a:pt x="177" y="37"/>
                  <a:pt x="175" y="36"/>
                </a:cubicBezTo>
                <a:cubicBezTo>
                  <a:pt x="175" y="36"/>
                  <a:pt x="175" y="35"/>
                  <a:pt x="175" y="35"/>
                </a:cubicBezTo>
                <a:cubicBezTo>
                  <a:pt x="173" y="34"/>
                  <a:pt x="173" y="34"/>
                  <a:pt x="172" y="35"/>
                </a:cubicBezTo>
                <a:cubicBezTo>
                  <a:pt x="172" y="35"/>
                  <a:pt x="172" y="35"/>
                  <a:pt x="171" y="35"/>
                </a:cubicBezTo>
                <a:cubicBezTo>
                  <a:pt x="171" y="35"/>
                  <a:pt x="171" y="35"/>
                  <a:pt x="171" y="35"/>
                </a:cubicBezTo>
                <a:cubicBezTo>
                  <a:pt x="171" y="35"/>
                  <a:pt x="171" y="35"/>
                  <a:pt x="171" y="35"/>
                </a:cubicBezTo>
                <a:cubicBezTo>
                  <a:pt x="171" y="35"/>
                  <a:pt x="171" y="35"/>
                  <a:pt x="171" y="35"/>
                </a:cubicBezTo>
                <a:cubicBezTo>
                  <a:pt x="171" y="35"/>
                  <a:pt x="171" y="35"/>
                  <a:pt x="171" y="35"/>
                </a:cubicBezTo>
                <a:cubicBezTo>
                  <a:pt x="171" y="35"/>
                  <a:pt x="170" y="35"/>
                  <a:pt x="170" y="35"/>
                </a:cubicBezTo>
                <a:cubicBezTo>
                  <a:pt x="169" y="35"/>
                  <a:pt x="169" y="34"/>
                  <a:pt x="168" y="33"/>
                </a:cubicBezTo>
                <a:cubicBezTo>
                  <a:pt x="168" y="33"/>
                  <a:pt x="167" y="32"/>
                  <a:pt x="167" y="32"/>
                </a:cubicBezTo>
                <a:cubicBezTo>
                  <a:pt x="166" y="32"/>
                  <a:pt x="165" y="32"/>
                  <a:pt x="165" y="32"/>
                </a:cubicBezTo>
                <a:cubicBezTo>
                  <a:pt x="164" y="32"/>
                  <a:pt x="164" y="32"/>
                  <a:pt x="164" y="32"/>
                </a:cubicBezTo>
                <a:cubicBezTo>
                  <a:pt x="164" y="32"/>
                  <a:pt x="163" y="33"/>
                  <a:pt x="162" y="33"/>
                </a:cubicBezTo>
                <a:cubicBezTo>
                  <a:pt x="161" y="34"/>
                  <a:pt x="161" y="34"/>
                  <a:pt x="161" y="34"/>
                </a:cubicBezTo>
                <a:cubicBezTo>
                  <a:pt x="160" y="33"/>
                  <a:pt x="160" y="33"/>
                  <a:pt x="160" y="33"/>
                </a:cubicBezTo>
                <a:cubicBezTo>
                  <a:pt x="158" y="31"/>
                  <a:pt x="157" y="29"/>
                  <a:pt x="156" y="28"/>
                </a:cubicBezTo>
                <a:cubicBezTo>
                  <a:pt x="156" y="27"/>
                  <a:pt x="155" y="27"/>
                  <a:pt x="155" y="27"/>
                </a:cubicBezTo>
                <a:cubicBezTo>
                  <a:pt x="155" y="27"/>
                  <a:pt x="155" y="27"/>
                  <a:pt x="155" y="27"/>
                </a:cubicBezTo>
                <a:cubicBezTo>
                  <a:pt x="154" y="27"/>
                  <a:pt x="152" y="28"/>
                  <a:pt x="151" y="28"/>
                </a:cubicBezTo>
                <a:cubicBezTo>
                  <a:pt x="148" y="29"/>
                  <a:pt x="145" y="29"/>
                  <a:pt x="143" y="28"/>
                </a:cubicBezTo>
                <a:cubicBezTo>
                  <a:pt x="142" y="27"/>
                  <a:pt x="141" y="27"/>
                  <a:pt x="140" y="27"/>
                </a:cubicBezTo>
                <a:cubicBezTo>
                  <a:pt x="138" y="28"/>
                  <a:pt x="137" y="28"/>
                  <a:pt x="135" y="27"/>
                </a:cubicBezTo>
                <a:cubicBezTo>
                  <a:pt x="135" y="26"/>
                  <a:pt x="134" y="25"/>
                  <a:pt x="134" y="24"/>
                </a:cubicBezTo>
                <a:cubicBezTo>
                  <a:pt x="134" y="23"/>
                  <a:pt x="134" y="22"/>
                  <a:pt x="133" y="21"/>
                </a:cubicBezTo>
                <a:cubicBezTo>
                  <a:pt x="132" y="20"/>
                  <a:pt x="132" y="19"/>
                  <a:pt x="132" y="18"/>
                </a:cubicBezTo>
                <a:cubicBezTo>
                  <a:pt x="132" y="18"/>
                  <a:pt x="132" y="17"/>
                  <a:pt x="131" y="17"/>
                </a:cubicBezTo>
                <a:cubicBezTo>
                  <a:pt x="130" y="16"/>
                  <a:pt x="130" y="16"/>
                  <a:pt x="130" y="16"/>
                </a:cubicBezTo>
                <a:cubicBezTo>
                  <a:pt x="129" y="17"/>
                  <a:pt x="127" y="17"/>
                  <a:pt x="125" y="16"/>
                </a:cubicBezTo>
                <a:cubicBezTo>
                  <a:pt x="125" y="16"/>
                  <a:pt x="125" y="16"/>
                  <a:pt x="123" y="16"/>
                </a:cubicBezTo>
                <a:cubicBezTo>
                  <a:pt x="122" y="16"/>
                  <a:pt x="122" y="16"/>
                  <a:pt x="122" y="15"/>
                </a:cubicBezTo>
                <a:cubicBezTo>
                  <a:pt x="121" y="15"/>
                  <a:pt x="121" y="14"/>
                  <a:pt x="121" y="12"/>
                </a:cubicBezTo>
                <a:cubicBezTo>
                  <a:pt x="121" y="11"/>
                  <a:pt x="121" y="10"/>
                  <a:pt x="120" y="10"/>
                </a:cubicBezTo>
                <a:cubicBezTo>
                  <a:pt x="120" y="9"/>
                  <a:pt x="120" y="9"/>
                  <a:pt x="120" y="9"/>
                </a:cubicBezTo>
                <a:cubicBezTo>
                  <a:pt x="120" y="8"/>
                  <a:pt x="120" y="8"/>
                  <a:pt x="120" y="8"/>
                </a:cubicBezTo>
                <a:cubicBezTo>
                  <a:pt x="120" y="8"/>
                  <a:pt x="121" y="7"/>
                  <a:pt x="122" y="7"/>
                </a:cubicBezTo>
                <a:cubicBezTo>
                  <a:pt x="122" y="7"/>
                  <a:pt x="122" y="7"/>
                  <a:pt x="122" y="7"/>
                </a:cubicBezTo>
                <a:cubicBezTo>
                  <a:pt x="121" y="6"/>
                  <a:pt x="120" y="4"/>
                  <a:pt x="120" y="3"/>
                </a:cubicBezTo>
                <a:cubicBezTo>
                  <a:pt x="120" y="3"/>
                  <a:pt x="119" y="2"/>
                  <a:pt x="118" y="1"/>
                </a:cubicBezTo>
                <a:cubicBezTo>
                  <a:pt x="117" y="0"/>
                  <a:pt x="117" y="0"/>
                  <a:pt x="117" y="0"/>
                </a:cubicBezTo>
                <a:cubicBezTo>
                  <a:pt x="117" y="0"/>
                  <a:pt x="117" y="0"/>
                  <a:pt x="117" y="0"/>
                </a:cubicBezTo>
                <a:cubicBezTo>
                  <a:pt x="116" y="0"/>
                  <a:pt x="115" y="0"/>
                  <a:pt x="114" y="1"/>
                </a:cubicBezTo>
                <a:cubicBezTo>
                  <a:pt x="111" y="2"/>
                  <a:pt x="109" y="2"/>
                  <a:pt x="106" y="1"/>
                </a:cubicBezTo>
                <a:cubicBezTo>
                  <a:pt x="105" y="1"/>
                  <a:pt x="105" y="2"/>
                  <a:pt x="104" y="3"/>
                </a:cubicBezTo>
                <a:cubicBezTo>
                  <a:pt x="104" y="3"/>
                  <a:pt x="104" y="3"/>
                  <a:pt x="104" y="3"/>
                </a:cubicBezTo>
                <a:cubicBezTo>
                  <a:pt x="102" y="6"/>
                  <a:pt x="98" y="5"/>
                  <a:pt x="97" y="4"/>
                </a:cubicBezTo>
                <a:cubicBezTo>
                  <a:pt x="97" y="4"/>
                  <a:pt x="97" y="4"/>
                  <a:pt x="97" y="4"/>
                </a:cubicBezTo>
                <a:cubicBezTo>
                  <a:pt x="96" y="4"/>
                  <a:pt x="96" y="4"/>
                  <a:pt x="96" y="4"/>
                </a:cubicBezTo>
                <a:cubicBezTo>
                  <a:pt x="96" y="4"/>
                  <a:pt x="96" y="4"/>
                  <a:pt x="96" y="4"/>
                </a:cubicBezTo>
                <a:cubicBezTo>
                  <a:pt x="96" y="4"/>
                  <a:pt x="95" y="4"/>
                  <a:pt x="95" y="4"/>
                </a:cubicBezTo>
                <a:cubicBezTo>
                  <a:pt x="95" y="4"/>
                  <a:pt x="94" y="4"/>
                  <a:pt x="94" y="4"/>
                </a:cubicBezTo>
                <a:cubicBezTo>
                  <a:pt x="94" y="4"/>
                  <a:pt x="94" y="4"/>
                  <a:pt x="93" y="4"/>
                </a:cubicBezTo>
                <a:cubicBezTo>
                  <a:pt x="93" y="4"/>
                  <a:pt x="93" y="4"/>
                  <a:pt x="93" y="4"/>
                </a:cubicBezTo>
                <a:cubicBezTo>
                  <a:pt x="93" y="4"/>
                  <a:pt x="93" y="5"/>
                  <a:pt x="92" y="5"/>
                </a:cubicBezTo>
                <a:cubicBezTo>
                  <a:pt x="92" y="5"/>
                  <a:pt x="91" y="5"/>
                  <a:pt x="91" y="5"/>
                </a:cubicBezTo>
                <a:cubicBezTo>
                  <a:pt x="91" y="4"/>
                  <a:pt x="91" y="4"/>
                  <a:pt x="91" y="4"/>
                </a:cubicBezTo>
                <a:cubicBezTo>
                  <a:pt x="90" y="5"/>
                  <a:pt x="89" y="5"/>
                  <a:pt x="88" y="6"/>
                </a:cubicBezTo>
                <a:cubicBezTo>
                  <a:pt x="87" y="7"/>
                  <a:pt x="87" y="7"/>
                  <a:pt x="87" y="7"/>
                </a:cubicBezTo>
                <a:cubicBezTo>
                  <a:pt x="87" y="7"/>
                  <a:pt x="87" y="7"/>
                  <a:pt x="87" y="8"/>
                </a:cubicBezTo>
                <a:cubicBezTo>
                  <a:pt x="87" y="8"/>
                  <a:pt x="87" y="8"/>
                  <a:pt x="87" y="8"/>
                </a:cubicBezTo>
                <a:cubicBezTo>
                  <a:pt x="87" y="8"/>
                  <a:pt x="87" y="8"/>
                  <a:pt x="87" y="8"/>
                </a:cubicBezTo>
                <a:cubicBezTo>
                  <a:pt x="87" y="8"/>
                  <a:pt x="87" y="9"/>
                  <a:pt x="86" y="9"/>
                </a:cubicBezTo>
                <a:cubicBezTo>
                  <a:pt x="86" y="9"/>
                  <a:pt x="86" y="10"/>
                  <a:pt x="86" y="10"/>
                </a:cubicBezTo>
                <a:cubicBezTo>
                  <a:pt x="86" y="11"/>
                  <a:pt x="86" y="11"/>
                  <a:pt x="86" y="11"/>
                </a:cubicBezTo>
                <a:cubicBezTo>
                  <a:pt x="86" y="11"/>
                  <a:pt x="86" y="11"/>
                  <a:pt x="86" y="11"/>
                </a:cubicBezTo>
                <a:cubicBezTo>
                  <a:pt x="87" y="12"/>
                  <a:pt x="87" y="13"/>
                  <a:pt x="86" y="15"/>
                </a:cubicBezTo>
                <a:cubicBezTo>
                  <a:pt x="86" y="17"/>
                  <a:pt x="86" y="17"/>
                  <a:pt x="86" y="17"/>
                </a:cubicBezTo>
                <a:cubicBezTo>
                  <a:pt x="84" y="15"/>
                  <a:pt x="84" y="15"/>
                  <a:pt x="84" y="15"/>
                </a:cubicBezTo>
                <a:cubicBezTo>
                  <a:pt x="84" y="15"/>
                  <a:pt x="83" y="15"/>
                  <a:pt x="83" y="14"/>
                </a:cubicBezTo>
                <a:cubicBezTo>
                  <a:pt x="82" y="14"/>
                  <a:pt x="82" y="13"/>
                  <a:pt x="81" y="13"/>
                </a:cubicBezTo>
                <a:cubicBezTo>
                  <a:pt x="81" y="12"/>
                  <a:pt x="78" y="13"/>
                  <a:pt x="77" y="13"/>
                </a:cubicBezTo>
                <a:cubicBezTo>
                  <a:pt x="76" y="14"/>
                  <a:pt x="74" y="14"/>
                  <a:pt x="73" y="14"/>
                </a:cubicBezTo>
                <a:cubicBezTo>
                  <a:pt x="72" y="14"/>
                  <a:pt x="72" y="14"/>
                  <a:pt x="72" y="13"/>
                </a:cubicBezTo>
                <a:cubicBezTo>
                  <a:pt x="71" y="13"/>
                  <a:pt x="71" y="13"/>
                  <a:pt x="71" y="13"/>
                </a:cubicBezTo>
                <a:cubicBezTo>
                  <a:pt x="71" y="13"/>
                  <a:pt x="71" y="13"/>
                  <a:pt x="71" y="13"/>
                </a:cubicBezTo>
                <a:cubicBezTo>
                  <a:pt x="71" y="13"/>
                  <a:pt x="71" y="13"/>
                  <a:pt x="71" y="13"/>
                </a:cubicBezTo>
                <a:cubicBezTo>
                  <a:pt x="71" y="12"/>
                  <a:pt x="71" y="12"/>
                  <a:pt x="71" y="12"/>
                </a:cubicBezTo>
                <a:cubicBezTo>
                  <a:pt x="71" y="12"/>
                  <a:pt x="71" y="12"/>
                  <a:pt x="70" y="12"/>
                </a:cubicBezTo>
                <a:cubicBezTo>
                  <a:pt x="70" y="11"/>
                  <a:pt x="70" y="11"/>
                  <a:pt x="70" y="11"/>
                </a:cubicBezTo>
                <a:cubicBezTo>
                  <a:pt x="70" y="11"/>
                  <a:pt x="70" y="11"/>
                  <a:pt x="70" y="11"/>
                </a:cubicBezTo>
                <a:cubicBezTo>
                  <a:pt x="70" y="11"/>
                  <a:pt x="69" y="11"/>
                  <a:pt x="69" y="11"/>
                </a:cubicBezTo>
                <a:cubicBezTo>
                  <a:pt x="69" y="11"/>
                  <a:pt x="69" y="11"/>
                  <a:pt x="69" y="12"/>
                </a:cubicBezTo>
                <a:cubicBezTo>
                  <a:pt x="68" y="12"/>
                  <a:pt x="68" y="12"/>
                  <a:pt x="68" y="13"/>
                </a:cubicBezTo>
                <a:cubicBezTo>
                  <a:pt x="67" y="14"/>
                  <a:pt x="67" y="14"/>
                  <a:pt x="67" y="14"/>
                </a:cubicBezTo>
                <a:cubicBezTo>
                  <a:pt x="66" y="13"/>
                  <a:pt x="66" y="13"/>
                  <a:pt x="66" y="13"/>
                </a:cubicBezTo>
                <a:cubicBezTo>
                  <a:pt x="65" y="13"/>
                  <a:pt x="65" y="13"/>
                  <a:pt x="64" y="12"/>
                </a:cubicBezTo>
                <a:cubicBezTo>
                  <a:pt x="63" y="12"/>
                  <a:pt x="62" y="12"/>
                  <a:pt x="61" y="11"/>
                </a:cubicBezTo>
                <a:cubicBezTo>
                  <a:pt x="61" y="11"/>
                  <a:pt x="61" y="11"/>
                  <a:pt x="61" y="11"/>
                </a:cubicBezTo>
                <a:cubicBezTo>
                  <a:pt x="60" y="11"/>
                  <a:pt x="60" y="11"/>
                  <a:pt x="60" y="11"/>
                </a:cubicBezTo>
                <a:cubicBezTo>
                  <a:pt x="60" y="11"/>
                  <a:pt x="60" y="11"/>
                  <a:pt x="60" y="11"/>
                </a:cubicBezTo>
                <a:cubicBezTo>
                  <a:pt x="58" y="11"/>
                  <a:pt x="58" y="11"/>
                  <a:pt x="57" y="12"/>
                </a:cubicBezTo>
                <a:cubicBezTo>
                  <a:pt x="49" y="19"/>
                  <a:pt x="49" y="19"/>
                  <a:pt x="49" y="19"/>
                </a:cubicBezTo>
                <a:cubicBezTo>
                  <a:pt x="55" y="11"/>
                  <a:pt x="55" y="11"/>
                  <a:pt x="55" y="11"/>
                </a:cubicBezTo>
                <a:cubicBezTo>
                  <a:pt x="54" y="11"/>
                  <a:pt x="54" y="10"/>
                  <a:pt x="52" y="10"/>
                </a:cubicBezTo>
                <a:cubicBezTo>
                  <a:pt x="52" y="10"/>
                  <a:pt x="52" y="10"/>
                  <a:pt x="51" y="10"/>
                </a:cubicBezTo>
                <a:cubicBezTo>
                  <a:pt x="38" y="7"/>
                  <a:pt x="38" y="7"/>
                  <a:pt x="38" y="7"/>
                </a:cubicBezTo>
                <a:cubicBezTo>
                  <a:pt x="36" y="7"/>
                  <a:pt x="34" y="7"/>
                  <a:pt x="31" y="6"/>
                </a:cubicBezTo>
                <a:cubicBezTo>
                  <a:pt x="31" y="6"/>
                  <a:pt x="31" y="6"/>
                  <a:pt x="30" y="6"/>
                </a:cubicBezTo>
                <a:cubicBezTo>
                  <a:pt x="30" y="6"/>
                  <a:pt x="29" y="6"/>
                  <a:pt x="29" y="7"/>
                </a:cubicBezTo>
                <a:cubicBezTo>
                  <a:pt x="29" y="7"/>
                  <a:pt x="29" y="7"/>
                  <a:pt x="29" y="7"/>
                </a:cubicBezTo>
                <a:cubicBezTo>
                  <a:pt x="28" y="7"/>
                  <a:pt x="27" y="7"/>
                  <a:pt x="27" y="7"/>
                </a:cubicBezTo>
                <a:cubicBezTo>
                  <a:pt x="26" y="7"/>
                  <a:pt x="26" y="7"/>
                  <a:pt x="25" y="7"/>
                </a:cubicBezTo>
                <a:cubicBezTo>
                  <a:pt x="25" y="7"/>
                  <a:pt x="25" y="7"/>
                  <a:pt x="25" y="7"/>
                </a:cubicBezTo>
                <a:cubicBezTo>
                  <a:pt x="24" y="7"/>
                  <a:pt x="24" y="7"/>
                  <a:pt x="23" y="7"/>
                </a:cubicBezTo>
                <a:cubicBezTo>
                  <a:pt x="23" y="7"/>
                  <a:pt x="22" y="8"/>
                  <a:pt x="21" y="8"/>
                </a:cubicBezTo>
                <a:cubicBezTo>
                  <a:pt x="21" y="9"/>
                  <a:pt x="20" y="10"/>
                  <a:pt x="20" y="10"/>
                </a:cubicBezTo>
                <a:cubicBezTo>
                  <a:pt x="19" y="10"/>
                  <a:pt x="19" y="11"/>
                  <a:pt x="19" y="11"/>
                </a:cubicBezTo>
                <a:cubicBezTo>
                  <a:pt x="20" y="13"/>
                  <a:pt x="20" y="13"/>
                  <a:pt x="20" y="13"/>
                </a:cubicBezTo>
                <a:cubicBezTo>
                  <a:pt x="18" y="11"/>
                  <a:pt x="18" y="11"/>
                  <a:pt x="18" y="11"/>
                </a:cubicBezTo>
                <a:cubicBezTo>
                  <a:pt x="18" y="11"/>
                  <a:pt x="18" y="11"/>
                  <a:pt x="18" y="11"/>
                </a:cubicBezTo>
                <a:cubicBezTo>
                  <a:pt x="18" y="11"/>
                  <a:pt x="17" y="11"/>
                  <a:pt x="17" y="11"/>
                </a:cubicBezTo>
                <a:cubicBezTo>
                  <a:pt x="17" y="12"/>
                  <a:pt x="17" y="12"/>
                  <a:pt x="17" y="12"/>
                </a:cubicBezTo>
                <a:cubicBezTo>
                  <a:pt x="16" y="12"/>
                  <a:pt x="16" y="12"/>
                  <a:pt x="16" y="12"/>
                </a:cubicBezTo>
                <a:cubicBezTo>
                  <a:pt x="16" y="12"/>
                  <a:pt x="16" y="12"/>
                  <a:pt x="16" y="13"/>
                </a:cubicBezTo>
                <a:cubicBezTo>
                  <a:pt x="16" y="13"/>
                  <a:pt x="16" y="13"/>
                  <a:pt x="16" y="13"/>
                </a:cubicBezTo>
                <a:cubicBezTo>
                  <a:pt x="17" y="15"/>
                  <a:pt x="18" y="16"/>
                  <a:pt x="19" y="17"/>
                </a:cubicBezTo>
                <a:cubicBezTo>
                  <a:pt x="19" y="18"/>
                  <a:pt x="19" y="18"/>
                  <a:pt x="19" y="18"/>
                </a:cubicBezTo>
                <a:cubicBezTo>
                  <a:pt x="19" y="18"/>
                  <a:pt x="19" y="18"/>
                  <a:pt x="19" y="18"/>
                </a:cubicBezTo>
                <a:cubicBezTo>
                  <a:pt x="20" y="18"/>
                  <a:pt x="20" y="18"/>
                  <a:pt x="20" y="19"/>
                </a:cubicBezTo>
                <a:cubicBezTo>
                  <a:pt x="22" y="20"/>
                  <a:pt x="22" y="20"/>
                  <a:pt x="22" y="20"/>
                </a:cubicBezTo>
                <a:cubicBezTo>
                  <a:pt x="20" y="21"/>
                  <a:pt x="20" y="21"/>
                  <a:pt x="20" y="21"/>
                </a:cubicBezTo>
                <a:cubicBezTo>
                  <a:pt x="20" y="21"/>
                  <a:pt x="20" y="21"/>
                  <a:pt x="19" y="21"/>
                </a:cubicBezTo>
                <a:cubicBezTo>
                  <a:pt x="20" y="22"/>
                  <a:pt x="20" y="22"/>
                  <a:pt x="20" y="23"/>
                </a:cubicBezTo>
                <a:cubicBezTo>
                  <a:pt x="21" y="24"/>
                  <a:pt x="20" y="26"/>
                  <a:pt x="19" y="27"/>
                </a:cubicBezTo>
                <a:cubicBezTo>
                  <a:pt x="18" y="28"/>
                  <a:pt x="17" y="28"/>
                  <a:pt x="15" y="29"/>
                </a:cubicBezTo>
                <a:cubicBezTo>
                  <a:pt x="15" y="29"/>
                  <a:pt x="14" y="29"/>
                  <a:pt x="14" y="29"/>
                </a:cubicBezTo>
                <a:cubicBezTo>
                  <a:pt x="13" y="29"/>
                  <a:pt x="13" y="30"/>
                  <a:pt x="12" y="31"/>
                </a:cubicBezTo>
                <a:cubicBezTo>
                  <a:pt x="12" y="31"/>
                  <a:pt x="12" y="31"/>
                  <a:pt x="12" y="31"/>
                </a:cubicBezTo>
                <a:cubicBezTo>
                  <a:pt x="12" y="32"/>
                  <a:pt x="11" y="32"/>
                  <a:pt x="11" y="32"/>
                </a:cubicBezTo>
                <a:cubicBezTo>
                  <a:pt x="6" y="38"/>
                  <a:pt x="6" y="38"/>
                  <a:pt x="6" y="38"/>
                </a:cubicBezTo>
                <a:cubicBezTo>
                  <a:pt x="6" y="38"/>
                  <a:pt x="6" y="38"/>
                  <a:pt x="6" y="38"/>
                </a:cubicBezTo>
                <a:cubicBezTo>
                  <a:pt x="6" y="38"/>
                  <a:pt x="6" y="38"/>
                  <a:pt x="6" y="40"/>
                </a:cubicBezTo>
                <a:cubicBezTo>
                  <a:pt x="6" y="40"/>
                  <a:pt x="6" y="40"/>
                  <a:pt x="6" y="40"/>
                </a:cubicBezTo>
                <a:cubicBezTo>
                  <a:pt x="6" y="41"/>
                  <a:pt x="6" y="41"/>
                  <a:pt x="6" y="41"/>
                </a:cubicBezTo>
                <a:cubicBezTo>
                  <a:pt x="9" y="40"/>
                  <a:pt x="9" y="40"/>
                  <a:pt x="9" y="40"/>
                </a:cubicBezTo>
                <a:cubicBezTo>
                  <a:pt x="7" y="42"/>
                  <a:pt x="7" y="42"/>
                  <a:pt x="7" y="42"/>
                </a:cubicBezTo>
                <a:cubicBezTo>
                  <a:pt x="7" y="43"/>
                  <a:pt x="7" y="43"/>
                  <a:pt x="7" y="43"/>
                </a:cubicBezTo>
                <a:cubicBezTo>
                  <a:pt x="10" y="47"/>
                  <a:pt x="10" y="47"/>
                  <a:pt x="10" y="47"/>
                </a:cubicBezTo>
                <a:cubicBezTo>
                  <a:pt x="6" y="46"/>
                  <a:pt x="6" y="46"/>
                  <a:pt x="6" y="46"/>
                </a:cubicBezTo>
                <a:cubicBezTo>
                  <a:pt x="6" y="46"/>
                  <a:pt x="5" y="45"/>
                  <a:pt x="5" y="45"/>
                </a:cubicBezTo>
                <a:cubicBezTo>
                  <a:pt x="4" y="45"/>
                  <a:pt x="4" y="45"/>
                  <a:pt x="4" y="45"/>
                </a:cubicBezTo>
                <a:cubicBezTo>
                  <a:pt x="3" y="45"/>
                  <a:pt x="3" y="46"/>
                  <a:pt x="3" y="46"/>
                </a:cubicBezTo>
                <a:cubicBezTo>
                  <a:pt x="3" y="47"/>
                  <a:pt x="3" y="47"/>
                  <a:pt x="3" y="47"/>
                </a:cubicBezTo>
                <a:cubicBezTo>
                  <a:pt x="3" y="47"/>
                  <a:pt x="3" y="47"/>
                  <a:pt x="3" y="47"/>
                </a:cubicBezTo>
                <a:cubicBezTo>
                  <a:pt x="2" y="47"/>
                  <a:pt x="2" y="47"/>
                  <a:pt x="2" y="48"/>
                </a:cubicBezTo>
                <a:cubicBezTo>
                  <a:pt x="2" y="49"/>
                  <a:pt x="1" y="50"/>
                  <a:pt x="1" y="50"/>
                </a:cubicBezTo>
                <a:cubicBezTo>
                  <a:pt x="1" y="51"/>
                  <a:pt x="1" y="51"/>
                  <a:pt x="1" y="51"/>
                </a:cubicBezTo>
                <a:cubicBezTo>
                  <a:pt x="1" y="51"/>
                  <a:pt x="1" y="51"/>
                  <a:pt x="1" y="51"/>
                </a:cubicBezTo>
                <a:cubicBezTo>
                  <a:pt x="0" y="51"/>
                  <a:pt x="0" y="51"/>
                  <a:pt x="0" y="51"/>
                </a:cubicBezTo>
                <a:cubicBezTo>
                  <a:pt x="1" y="51"/>
                  <a:pt x="1" y="51"/>
                  <a:pt x="1" y="51"/>
                </a:cubicBezTo>
                <a:cubicBezTo>
                  <a:pt x="1" y="52"/>
                  <a:pt x="1" y="52"/>
                  <a:pt x="1" y="52"/>
                </a:cubicBezTo>
                <a:cubicBezTo>
                  <a:pt x="1" y="52"/>
                  <a:pt x="2" y="53"/>
                  <a:pt x="2" y="53"/>
                </a:cubicBezTo>
                <a:cubicBezTo>
                  <a:pt x="3" y="53"/>
                  <a:pt x="3" y="53"/>
                  <a:pt x="3" y="53"/>
                </a:cubicBezTo>
                <a:cubicBezTo>
                  <a:pt x="3" y="54"/>
                  <a:pt x="3" y="54"/>
                  <a:pt x="3" y="54"/>
                </a:cubicBezTo>
                <a:cubicBezTo>
                  <a:pt x="4" y="54"/>
                  <a:pt x="4" y="55"/>
                  <a:pt x="4" y="55"/>
                </a:cubicBezTo>
                <a:cubicBezTo>
                  <a:pt x="5" y="56"/>
                  <a:pt x="6" y="56"/>
                  <a:pt x="7" y="57"/>
                </a:cubicBezTo>
                <a:cubicBezTo>
                  <a:pt x="7" y="57"/>
                  <a:pt x="7" y="57"/>
                  <a:pt x="7" y="57"/>
                </a:cubicBezTo>
                <a:cubicBezTo>
                  <a:pt x="7" y="56"/>
                  <a:pt x="8" y="56"/>
                  <a:pt x="9" y="55"/>
                </a:cubicBezTo>
                <a:cubicBezTo>
                  <a:pt x="9" y="55"/>
                  <a:pt x="9" y="55"/>
                  <a:pt x="10" y="55"/>
                </a:cubicBezTo>
                <a:cubicBezTo>
                  <a:pt x="10" y="55"/>
                  <a:pt x="10" y="55"/>
                  <a:pt x="10" y="55"/>
                </a:cubicBezTo>
                <a:cubicBezTo>
                  <a:pt x="10" y="55"/>
                  <a:pt x="10" y="55"/>
                  <a:pt x="10" y="55"/>
                </a:cubicBezTo>
                <a:cubicBezTo>
                  <a:pt x="11" y="55"/>
                  <a:pt x="11" y="55"/>
                  <a:pt x="11" y="55"/>
                </a:cubicBezTo>
                <a:cubicBezTo>
                  <a:pt x="11" y="55"/>
                  <a:pt x="11" y="55"/>
                  <a:pt x="11" y="55"/>
                </a:cubicBezTo>
                <a:cubicBezTo>
                  <a:pt x="12" y="56"/>
                  <a:pt x="12" y="56"/>
                  <a:pt x="12" y="56"/>
                </a:cubicBezTo>
                <a:cubicBezTo>
                  <a:pt x="12" y="56"/>
                  <a:pt x="13" y="56"/>
                  <a:pt x="13" y="56"/>
                </a:cubicBezTo>
                <a:cubicBezTo>
                  <a:pt x="14" y="56"/>
                  <a:pt x="15" y="56"/>
                  <a:pt x="16" y="56"/>
                </a:cubicBezTo>
                <a:cubicBezTo>
                  <a:pt x="16" y="56"/>
                  <a:pt x="16" y="56"/>
                  <a:pt x="16" y="56"/>
                </a:cubicBezTo>
                <a:cubicBezTo>
                  <a:pt x="17" y="56"/>
                  <a:pt x="17" y="56"/>
                  <a:pt x="17" y="57"/>
                </a:cubicBezTo>
                <a:cubicBezTo>
                  <a:pt x="20" y="57"/>
                  <a:pt x="20" y="57"/>
                  <a:pt x="20" y="57"/>
                </a:cubicBezTo>
                <a:cubicBezTo>
                  <a:pt x="20" y="57"/>
                  <a:pt x="20" y="57"/>
                  <a:pt x="21" y="57"/>
                </a:cubicBezTo>
                <a:cubicBezTo>
                  <a:pt x="22" y="57"/>
                  <a:pt x="23" y="57"/>
                  <a:pt x="24" y="57"/>
                </a:cubicBezTo>
                <a:cubicBezTo>
                  <a:pt x="25" y="58"/>
                  <a:pt x="26" y="58"/>
                  <a:pt x="27" y="59"/>
                </a:cubicBezTo>
                <a:cubicBezTo>
                  <a:pt x="27" y="59"/>
                  <a:pt x="27" y="60"/>
                  <a:pt x="28" y="60"/>
                </a:cubicBezTo>
                <a:cubicBezTo>
                  <a:pt x="28" y="60"/>
                  <a:pt x="28" y="60"/>
                  <a:pt x="28" y="60"/>
                </a:cubicBezTo>
                <a:cubicBezTo>
                  <a:pt x="29" y="59"/>
                  <a:pt x="29" y="59"/>
                  <a:pt x="29" y="59"/>
                </a:cubicBezTo>
                <a:cubicBezTo>
                  <a:pt x="30" y="58"/>
                  <a:pt x="31" y="58"/>
                  <a:pt x="32" y="57"/>
                </a:cubicBezTo>
                <a:cubicBezTo>
                  <a:pt x="32" y="57"/>
                  <a:pt x="32" y="57"/>
                  <a:pt x="33" y="57"/>
                </a:cubicBezTo>
                <a:cubicBezTo>
                  <a:pt x="33" y="57"/>
                  <a:pt x="33" y="57"/>
                  <a:pt x="33" y="57"/>
                </a:cubicBezTo>
                <a:cubicBezTo>
                  <a:pt x="34" y="57"/>
                  <a:pt x="34" y="57"/>
                  <a:pt x="35" y="57"/>
                </a:cubicBezTo>
                <a:cubicBezTo>
                  <a:pt x="35" y="57"/>
                  <a:pt x="35" y="57"/>
                  <a:pt x="35" y="57"/>
                </a:cubicBezTo>
                <a:cubicBezTo>
                  <a:pt x="36" y="57"/>
                  <a:pt x="38" y="57"/>
                  <a:pt x="39" y="57"/>
                </a:cubicBezTo>
                <a:cubicBezTo>
                  <a:pt x="39" y="57"/>
                  <a:pt x="39" y="57"/>
                  <a:pt x="39" y="57"/>
                </a:cubicBezTo>
                <a:cubicBezTo>
                  <a:pt x="45" y="53"/>
                  <a:pt x="45" y="53"/>
                  <a:pt x="45" y="53"/>
                </a:cubicBezTo>
                <a:cubicBezTo>
                  <a:pt x="45" y="52"/>
                  <a:pt x="46" y="52"/>
                  <a:pt x="47" y="51"/>
                </a:cubicBezTo>
                <a:cubicBezTo>
                  <a:pt x="48" y="51"/>
                  <a:pt x="49" y="51"/>
                  <a:pt x="50" y="51"/>
                </a:cubicBezTo>
                <a:cubicBezTo>
                  <a:pt x="50" y="51"/>
                  <a:pt x="50" y="51"/>
                  <a:pt x="50" y="51"/>
                </a:cubicBezTo>
                <a:cubicBezTo>
                  <a:pt x="51" y="51"/>
                  <a:pt x="52" y="51"/>
                  <a:pt x="53" y="50"/>
                </a:cubicBezTo>
                <a:cubicBezTo>
                  <a:pt x="54" y="50"/>
                  <a:pt x="54" y="50"/>
                  <a:pt x="54" y="50"/>
                </a:cubicBezTo>
                <a:cubicBezTo>
                  <a:pt x="55" y="51"/>
                  <a:pt x="55" y="51"/>
                  <a:pt x="55" y="51"/>
                </a:cubicBezTo>
                <a:cubicBezTo>
                  <a:pt x="56" y="51"/>
                  <a:pt x="56" y="51"/>
                  <a:pt x="56" y="51"/>
                </a:cubicBezTo>
                <a:cubicBezTo>
                  <a:pt x="58" y="52"/>
                  <a:pt x="60" y="53"/>
                  <a:pt x="62" y="54"/>
                </a:cubicBezTo>
                <a:cubicBezTo>
                  <a:pt x="64" y="54"/>
                  <a:pt x="64" y="54"/>
                  <a:pt x="64" y="54"/>
                </a:cubicBezTo>
                <a:cubicBezTo>
                  <a:pt x="65" y="55"/>
                  <a:pt x="65" y="55"/>
                  <a:pt x="66" y="55"/>
                </a:cubicBezTo>
                <a:cubicBezTo>
                  <a:pt x="66" y="55"/>
                  <a:pt x="67" y="56"/>
                  <a:pt x="67" y="56"/>
                </a:cubicBezTo>
                <a:cubicBezTo>
                  <a:pt x="68" y="56"/>
                  <a:pt x="68" y="56"/>
                  <a:pt x="68" y="56"/>
                </a:cubicBezTo>
                <a:cubicBezTo>
                  <a:pt x="68" y="56"/>
                  <a:pt x="69" y="57"/>
                  <a:pt x="69" y="57"/>
                </a:cubicBezTo>
                <a:cubicBezTo>
                  <a:pt x="70" y="57"/>
                  <a:pt x="70" y="56"/>
                  <a:pt x="71" y="57"/>
                </a:cubicBezTo>
                <a:cubicBezTo>
                  <a:pt x="72" y="57"/>
                  <a:pt x="72" y="58"/>
                  <a:pt x="72" y="58"/>
                </a:cubicBezTo>
                <a:cubicBezTo>
                  <a:pt x="73" y="58"/>
                  <a:pt x="73" y="59"/>
                  <a:pt x="73" y="59"/>
                </a:cubicBezTo>
                <a:cubicBezTo>
                  <a:pt x="73" y="61"/>
                  <a:pt x="72" y="63"/>
                  <a:pt x="72" y="63"/>
                </a:cubicBezTo>
                <a:cubicBezTo>
                  <a:pt x="72" y="63"/>
                  <a:pt x="72" y="63"/>
                  <a:pt x="72" y="64"/>
                </a:cubicBezTo>
                <a:cubicBezTo>
                  <a:pt x="72" y="64"/>
                  <a:pt x="72" y="64"/>
                  <a:pt x="72" y="64"/>
                </a:cubicBezTo>
                <a:cubicBezTo>
                  <a:pt x="73" y="65"/>
                  <a:pt x="73" y="65"/>
                  <a:pt x="73" y="65"/>
                </a:cubicBezTo>
                <a:cubicBezTo>
                  <a:pt x="74" y="65"/>
                  <a:pt x="74" y="65"/>
                  <a:pt x="74" y="65"/>
                </a:cubicBezTo>
                <a:cubicBezTo>
                  <a:pt x="74" y="65"/>
                  <a:pt x="74" y="65"/>
                  <a:pt x="74" y="65"/>
                </a:cubicBezTo>
                <a:cubicBezTo>
                  <a:pt x="75" y="65"/>
                  <a:pt x="75" y="65"/>
                  <a:pt x="75" y="65"/>
                </a:cubicBezTo>
                <a:cubicBezTo>
                  <a:pt x="76" y="65"/>
                  <a:pt x="76" y="66"/>
                  <a:pt x="76" y="67"/>
                </a:cubicBezTo>
                <a:cubicBezTo>
                  <a:pt x="76" y="68"/>
                  <a:pt x="76" y="69"/>
                  <a:pt x="76" y="69"/>
                </a:cubicBezTo>
                <a:cubicBezTo>
                  <a:pt x="77" y="70"/>
                  <a:pt x="77" y="71"/>
                  <a:pt x="78" y="71"/>
                </a:cubicBezTo>
                <a:cubicBezTo>
                  <a:pt x="78" y="71"/>
                  <a:pt x="78" y="71"/>
                  <a:pt x="78" y="71"/>
                </a:cubicBezTo>
                <a:cubicBezTo>
                  <a:pt x="78" y="71"/>
                  <a:pt x="78" y="71"/>
                  <a:pt x="78" y="71"/>
                </a:cubicBezTo>
                <a:cubicBezTo>
                  <a:pt x="79" y="71"/>
                  <a:pt x="79" y="71"/>
                  <a:pt x="79" y="71"/>
                </a:cubicBezTo>
                <a:cubicBezTo>
                  <a:pt x="79" y="71"/>
                  <a:pt x="79" y="71"/>
                  <a:pt x="79" y="71"/>
                </a:cubicBezTo>
                <a:cubicBezTo>
                  <a:pt x="79" y="72"/>
                  <a:pt x="79" y="72"/>
                  <a:pt x="79" y="72"/>
                </a:cubicBezTo>
                <a:cubicBezTo>
                  <a:pt x="79" y="72"/>
                  <a:pt x="80" y="72"/>
                  <a:pt x="80" y="73"/>
                </a:cubicBezTo>
                <a:cubicBezTo>
                  <a:pt x="80" y="74"/>
                  <a:pt x="80" y="75"/>
                  <a:pt x="80" y="76"/>
                </a:cubicBezTo>
                <a:cubicBezTo>
                  <a:pt x="80" y="76"/>
                  <a:pt x="80" y="76"/>
                  <a:pt x="80" y="76"/>
                </a:cubicBezTo>
                <a:cubicBezTo>
                  <a:pt x="80" y="76"/>
                  <a:pt x="80" y="76"/>
                  <a:pt x="80" y="76"/>
                </a:cubicBezTo>
                <a:cubicBezTo>
                  <a:pt x="80" y="76"/>
                  <a:pt x="80" y="76"/>
                  <a:pt x="80" y="76"/>
                </a:cubicBezTo>
                <a:cubicBezTo>
                  <a:pt x="81" y="77"/>
                  <a:pt x="81" y="77"/>
                  <a:pt x="81" y="77"/>
                </a:cubicBezTo>
                <a:cubicBezTo>
                  <a:pt x="82" y="78"/>
                  <a:pt x="82" y="78"/>
                  <a:pt x="82" y="78"/>
                </a:cubicBezTo>
                <a:cubicBezTo>
                  <a:pt x="82" y="78"/>
                  <a:pt x="82" y="78"/>
                  <a:pt x="82" y="78"/>
                </a:cubicBezTo>
                <a:cubicBezTo>
                  <a:pt x="82" y="79"/>
                  <a:pt x="82" y="79"/>
                  <a:pt x="82" y="79"/>
                </a:cubicBezTo>
                <a:cubicBezTo>
                  <a:pt x="82" y="79"/>
                  <a:pt x="82" y="79"/>
                  <a:pt x="83" y="79"/>
                </a:cubicBezTo>
                <a:cubicBezTo>
                  <a:pt x="83" y="80"/>
                  <a:pt x="84" y="80"/>
                  <a:pt x="84" y="81"/>
                </a:cubicBezTo>
                <a:cubicBezTo>
                  <a:pt x="85" y="79"/>
                  <a:pt x="86" y="77"/>
                  <a:pt x="89" y="76"/>
                </a:cubicBezTo>
                <a:cubicBezTo>
                  <a:pt x="89" y="76"/>
                  <a:pt x="90" y="76"/>
                  <a:pt x="90" y="76"/>
                </a:cubicBezTo>
                <a:cubicBezTo>
                  <a:pt x="92" y="75"/>
                  <a:pt x="93" y="76"/>
                  <a:pt x="94" y="75"/>
                </a:cubicBezTo>
                <a:cubicBezTo>
                  <a:pt x="94" y="74"/>
                  <a:pt x="95" y="74"/>
                  <a:pt x="96" y="73"/>
                </a:cubicBezTo>
                <a:cubicBezTo>
                  <a:pt x="96" y="73"/>
                  <a:pt x="95" y="74"/>
                  <a:pt x="95" y="74"/>
                </a:cubicBezTo>
                <a:cubicBezTo>
                  <a:pt x="95" y="74"/>
                  <a:pt x="95" y="74"/>
                  <a:pt x="96" y="74"/>
                </a:cubicBezTo>
                <a:cubicBezTo>
                  <a:pt x="97" y="75"/>
                  <a:pt x="98" y="75"/>
                  <a:pt x="99" y="75"/>
                </a:cubicBezTo>
                <a:cubicBezTo>
                  <a:pt x="99" y="74"/>
                  <a:pt x="99" y="73"/>
                  <a:pt x="99" y="72"/>
                </a:cubicBezTo>
                <a:cubicBezTo>
                  <a:pt x="100" y="72"/>
                  <a:pt x="99" y="72"/>
                  <a:pt x="99" y="72"/>
                </a:cubicBezTo>
                <a:cubicBezTo>
                  <a:pt x="99" y="72"/>
                  <a:pt x="99" y="71"/>
                  <a:pt x="99" y="71"/>
                </a:cubicBezTo>
                <a:cubicBezTo>
                  <a:pt x="99" y="71"/>
                  <a:pt x="99" y="71"/>
                  <a:pt x="99" y="71"/>
                </a:cubicBezTo>
                <a:cubicBezTo>
                  <a:pt x="99" y="70"/>
                  <a:pt x="98" y="71"/>
                  <a:pt x="98" y="71"/>
                </a:cubicBezTo>
                <a:cubicBezTo>
                  <a:pt x="98" y="70"/>
                  <a:pt x="99" y="70"/>
                  <a:pt x="98" y="70"/>
                </a:cubicBezTo>
                <a:cubicBezTo>
                  <a:pt x="98" y="69"/>
                  <a:pt x="98" y="69"/>
                  <a:pt x="98" y="69"/>
                </a:cubicBezTo>
                <a:cubicBezTo>
                  <a:pt x="98" y="69"/>
                  <a:pt x="98" y="69"/>
                  <a:pt x="98" y="68"/>
                </a:cubicBezTo>
                <a:cubicBezTo>
                  <a:pt x="98" y="68"/>
                  <a:pt x="98" y="68"/>
                  <a:pt x="98" y="68"/>
                </a:cubicBezTo>
                <a:cubicBezTo>
                  <a:pt x="98" y="68"/>
                  <a:pt x="98" y="70"/>
                  <a:pt x="99" y="70"/>
                </a:cubicBezTo>
                <a:cubicBezTo>
                  <a:pt x="98" y="70"/>
                  <a:pt x="99" y="71"/>
                  <a:pt x="99" y="70"/>
                </a:cubicBezTo>
                <a:cubicBezTo>
                  <a:pt x="99" y="70"/>
                  <a:pt x="99" y="70"/>
                  <a:pt x="99" y="70"/>
                </a:cubicBezTo>
                <a:cubicBezTo>
                  <a:pt x="100" y="71"/>
                  <a:pt x="99" y="71"/>
                  <a:pt x="99" y="71"/>
                </a:cubicBezTo>
                <a:cubicBezTo>
                  <a:pt x="99" y="72"/>
                  <a:pt x="100" y="71"/>
                  <a:pt x="100" y="72"/>
                </a:cubicBezTo>
                <a:cubicBezTo>
                  <a:pt x="100" y="73"/>
                  <a:pt x="99" y="73"/>
                  <a:pt x="100" y="74"/>
                </a:cubicBezTo>
                <a:cubicBezTo>
                  <a:pt x="101" y="76"/>
                  <a:pt x="101" y="77"/>
                  <a:pt x="103" y="76"/>
                </a:cubicBezTo>
                <a:cubicBezTo>
                  <a:pt x="104" y="76"/>
                  <a:pt x="105" y="75"/>
                  <a:pt x="106" y="75"/>
                </a:cubicBezTo>
                <a:cubicBezTo>
                  <a:pt x="105" y="76"/>
                  <a:pt x="104" y="77"/>
                  <a:pt x="102" y="77"/>
                </a:cubicBezTo>
                <a:cubicBezTo>
                  <a:pt x="100" y="77"/>
                  <a:pt x="97" y="76"/>
                  <a:pt x="95" y="76"/>
                </a:cubicBezTo>
                <a:cubicBezTo>
                  <a:pt x="95" y="76"/>
                  <a:pt x="95" y="77"/>
                  <a:pt x="96" y="77"/>
                </a:cubicBezTo>
                <a:cubicBezTo>
                  <a:pt x="96" y="77"/>
                  <a:pt x="96" y="77"/>
                  <a:pt x="96" y="77"/>
                </a:cubicBezTo>
                <a:cubicBezTo>
                  <a:pt x="97" y="78"/>
                  <a:pt x="98" y="77"/>
                  <a:pt x="98" y="78"/>
                </a:cubicBezTo>
                <a:cubicBezTo>
                  <a:pt x="99" y="78"/>
                  <a:pt x="99" y="78"/>
                  <a:pt x="99" y="79"/>
                </a:cubicBezTo>
                <a:cubicBezTo>
                  <a:pt x="99" y="79"/>
                  <a:pt x="97" y="79"/>
                  <a:pt x="97" y="79"/>
                </a:cubicBezTo>
                <a:cubicBezTo>
                  <a:pt x="97" y="80"/>
                  <a:pt x="101" y="81"/>
                  <a:pt x="102" y="81"/>
                </a:cubicBezTo>
                <a:cubicBezTo>
                  <a:pt x="103" y="81"/>
                  <a:pt x="102" y="82"/>
                  <a:pt x="103" y="82"/>
                </a:cubicBezTo>
                <a:cubicBezTo>
                  <a:pt x="104" y="83"/>
                  <a:pt x="106" y="82"/>
                  <a:pt x="108" y="82"/>
                </a:cubicBezTo>
                <a:cubicBezTo>
                  <a:pt x="109" y="81"/>
                  <a:pt x="110" y="81"/>
                  <a:pt x="111" y="81"/>
                </a:cubicBezTo>
                <a:cubicBezTo>
                  <a:pt x="113" y="81"/>
                  <a:pt x="112" y="82"/>
                  <a:pt x="113" y="82"/>
                </a:cubicBezTo>
                <a:cubicBezTo>
                  <a:pt x="114" y="83"/>
                  <a:pt x="115" y="82"/>
                  <a:pt x="116" y="82"/>
                </a:cubicBezTo>
                <a:cubicBezTo>
                  <a:pt x="117" y="83"/>
                  <a:pt x="116" y="84"/>
                  <a:pt x="117" y="85"/>
                </a:cubicBezTo>
                <a:cubicBezTo>
                  <a:pt x="117" y="86"/>
                  <a:pt x="115" y="85"/>
                  <a:pt x="114" y="86"/>
                </a:cubicBezTo>
                <a:cubicBezTo>
                  <a:pt x="113" y="86"/>
                  <a:pt x="113" y="87"/>
                  <a:pt x="112" y="87"/>
                </a:cubicBezTo>
                <a:cubicBezTo>
                  <a:pt x="112" y="87"/>
                  <a:pt x="110" y="87"/>
                  <a:pt x="109" y="88"/>
                </a:cubicBezTo>
                <a:cubicBezTo>
                  <a:pt x="109" y="88"/>
                  <a:pt x="108" y="89"/>
                  <a:pt x="108" y="89"/>
                </a:cubicBezTo>
                <a:cubicBezTo>
                  <a:pt x="107" y="89"/>
                  <a:pt x="106" y="90"/>
                  <a:pt x="106" y="90"/>
                </a:cubicBezTo>
                <a:cubicBezTo>
                  <a:pt x="102" y="92"/>
                  <a:pt x="111" y="93"/>
                  <a:pt x="112" y="94"/>
                </a:cubicBezTo>
                <a:cubicBezTo>
                  <a:pt x="114" y="94"/>
                  <a:pt x="116" y="94"/>
                  <a:pt x="116" y="97"/>
                </a:cubicBezTo>
                <a:cubicBezTo>
                  <a:pt x="116" y="98"/>
                  <a:pt x="116" y="98"/>
                  <a:pt x="115" y="99"/>
                </a:cubicBezTo>
                <a:cubicBezTo>
                  <a:pt x="115" y="99"/>
                  <a:pt x="115" y="101"/>
                  <a:pt x="116" y="101"/>
                </a:cubicBezTo>
                <a:cubicBezTo>
                  <a:pt x="115" y="101"/>
                  <a:pt x="114" y="101"/>
                  <a:pt x="114" y="101"/>
                </a:cubicBezTo>
                <a:cubicBezTo>
                  <a:pt x="114" y="102"/>
                  <a:pt x="115" y="102"/>
                  <a:pt x="115" y="102"/>
                </a:cubicBezTo>
                <a:cubicBezTo>
                  <a:pt x="117" y="103"/>
                  <a:pt x="117" y="104"/>
                  <a:pt x="119" y="103"/>
                </a:cubicBezTo>
                <a:cubicBezTo>
                  <a:pt x="124" y="101"/>
                  <a:pt x="129" y="98"/>
                  <a:pt x="135" y="95"/>
                </a:cubicBezTo>
                <a:cubicBezTo>
                  <a:pt x="136" y="94"/>
                  <a:pt x="137" y="95"/>
                  <a:pt x="139" y="96"/>
                </a:cubicBezTo>
                <a:cubicBezTo>
                  <a:pt x="139" y="96"/>
                  <a:pt x="139" y="96"/>
                  <a:pt x="140" y="96"/>
                </a:cubicBezTo>
                <a:cubicBezTo>
                  <a:pt x="140" y="96"/>
                  <a:pt x="141" y="96"/>
                  <a:pt x="142" y="96"/>
                </a:cubicBezTo>
                <a:cubicBezTo>
                  <a:pt x="143" y="96"/>
                  <a:pt x="143" y="96"/>
                  <a:pt x="144" y="96"/>
                </a:cubicBezTo>
                <a:cubicBezTo>
                  <a:pt x="145" y="95"/>
                  <a:pt x="144" y="95"/>
                  <a:pt x="145" y="94"/>
                </a:cubicBezTo>
                <a:cubicBezTo>
                  <a:pt x="145" y="92"/>
                  <a:pt x="146" y="92"/>
                  <a:pt x="147" y="92"/>
                </a:cubicBezTo>
                <a:cubicBezTo>
                  <a:pt x="147" y="92"/>
                  <a:pt x="146" y="92"/>
                  <a:pt x="146" y="92"/>
                </a:cubicBezTo>
                <a:cubicBezTo>
                  <a:pt x="144" y="92"/>
                  <a:pt x="142" y="92"/>
                  <a:pt x="141" y="92"/>
                </a:cubicBezTo>
                <a:cubicBezTo>
                  <a:pt x="140" y="92"/>
                  <a:pt x="139" y="91"/>
                  <a:pt x="138" y="91"/>
                </a:cubicBezTo>
                <a:cubicBezTo>
                  <a:pt x="137" y="92"/>
                  <a:pt x="137" y="92"/>
                  <a:pt x="136" y="92"/>
                </a:cubicBezTo>
                <a:cubicBezTo>
                  <a:pt x="135" y="92"/>
                  <a:pt x="134" y="91"/>
                  <a:pt x="133" y="90"/>
                </a:cubicBezTo>
                <a:cubicBezTo>
                  <a:pt x="131" y="88"/>
                  <a:pt x="129" y="86"/>
                  <a:pt x="129" y="82"/>
                </a:cubicBezTo>
                <a:cubicBezTo>
                  <a:pt x="129" y="81"/>
                  <a:pt x="128" y="81"/>
                  <a:pt x="129" y="81"/>
                </a:cubicBezTo>
                <a:cubicBezTo>
                  <a:pt x="130" y="80"/>
                  <a:pt x="131" y="80"/>
                  <a:pt x="131" y="80"/>
                </a:cubicBezTo>
                <a:cubicBezTo>
                  <a:pt x="132" y="79"/>
                  <a:pt x="132" y="78"/>
                  <a:pt x="132" y="77"/>
                </a:cubicBezTo>
                <a:cubicBezTo>
                  <a:pt x="132" y="77"/>
                  <a:pt x="133" y="78"/>
                  <a:pt x="133" y="78"/>
                </a:cubicBezTo>
                <a:cubicBezTo>
                  <a:pt x="133" y="78"/>
                  <a:pt x="133" y="79"/>
                  <a:pt x="134" y="79"/>
                </a:cubicBezTo>
                <a:cubicBezTo>
                  <a:pt x="135" y="79"/>
                  <a:pt x="131" y="82"/>
                  <a:pt x="130" y="82"/>
                </a:cubicBezTo>
                <a:cubicBezTo>
                  <a:pt x="132" y="81"/>
                  <a:pt x="133" y="80"/>
                  <a:pt x="135" y="79"/>
                </a:cubicBezTo>
                <a:cubicBezTo>
                  <a:pt x="136" y="78"/>
                  <a:pt x="138" y="76"/>
                  <a:pt x="139" y="75"/>
                </a:cubicBezTo>
                <a:cubicBezTo>
                  <a:pt x="140" y="75"/>
                  <a:pt x="141" y="75"/>
                  <a:pt x="142" y="75"/>
                </a:cubicBezTo>
                <a:cubicBezTo>
                  <a:pt x="143" y="75"/>
                  <a:pt x="146" y="73"/>
                  <a:pt x="147" y="74"/>
                </a:cubicBezTo>
                <a:cubicBezTo>
                  <a:pt x="149" y="74"/>
                  <a:pt x="149" y="74"/>
                  <a:pt x="149" y="75"/>
                </a:cubicBezTo>
                <a:cubicBezTo>
                  <a:pt x="149" y="74"/>
                  <a:pt x="150" y="74"/>
                  <a:pt x="151" y="73"/>
                </a:cubicBezTo>
                <a:cubicBezTo>
                  <a:pt x="152" y="72"/>
                  <a:pt x="154" y="73"/>
                  <a:pt x="155" y="71"/>
                </a:cubicBezTo>
                <a:cubicBezTo>
                  <a:pt x="156" y="70"/>
                  <a:pt x="156" y="70"/>
                  <a:pt x="157" y="69"/>
                </a:cubicBezTo>
                <a:cubicBezTo>
                  <a:pt x="159" y="69"/>
                  <a:pt x="161" y="69"/>
                  <a:pt x="162" y="69"/>
                </a:cubicBezTo>
                <a:cubicBezTo>
                  <a:pt x="162" y="69"/>
                  <a:pt x="162" y="69"/>
                  <a:pt x="162" y="69"/>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65" name="Freeform 3122">
            <a:extLst>
              <a:ext uri="{FF2B5EF4-FFF2-40B4-BE49-F238E27FC236}">
                <a16:creationId xmlns:a16="http://schemas.microsoft.com/office/drawing/2014/main" id="{5CC49EBC-3C91-4DDB-961F-C3E5D070F90F}"/>
              </a:ext>
            </a:extLst>
          </p:cNvPr>
          <p:cNvSpPr>
            <a:spLocks/>
          </p:cNvSpPr>
          <p:nvPr/>
        </p:nvSpPr>
        <p:spPr bwMode="auto">
          <a:xfrm>
            <a:off x="3714142" y="293586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66" name="Freeform 3123">
            <a:extLst>
              <a:ext uri="{FF2B5EF4-FFF2-40B4-BE49-F238E27FC236}">
                <a16:creationId xmlns:a16="http://schemas.microsoft.com/office/drawing/2014/main" id="{507874FA-0DB2-4117-AC73-5FD36A31BE21}"/>
              </a:ext>
            </a:extLst>
          </p:cNvPr>
          <p:cNvSpPr>
            <a:spLocks/>
          </p:cNvSpPr>
          <p:nvPr/>
        </p:nvSpPr>
        <p:spPr bwMode="auto">
          <a:xfrm>
            <a:off x="3620481" y="2856914"/>
            <a:ext cx="110014" cy="91414"/>
          </a:xfrm>
          <a:custGeom>
            <a:avLst/>
            <a:gdLst>
              <a:gd name="T0" fmla="*/ 82 w 94"/>
              <a:gd name="T1" fmla="*/ 51 h 65"/>
              <a:gd name="T2" fmla="*/ 79 w 94"/>
              <a:gd name="T3" fmla="*/ 43 h 65"/>
              <a:gd name="T4" fmla="*/ 80 w 94"/>
              <a:gd name="T5" fmla="*/ 41 h 65"/>
              <a:gd name="T6" fmla="*/ 85 w 94"/>
              <a:gd name="T7" fmla="*/ 41 h 65"/>
              <a:gd name="T8" fmla="*/ 91 w 94"/>
              <a:gd name="T9" fmla="*/ 35 h 65"/>
              <a:gd name="T10" fmla="*/ 85 w 94"/>
              <a:gd name="T11" fmla="*/ 30 h 65"/>
              <a:gd name="T12" fmla="*/ 74 w 94"/>
              <a:gd name="T13" fmla="*/ 18 h 65"/>
              <a:gd name="T14" fmla="*/ 76 w 94"/>
              <a:gd name="T15" fmla="*/ 9 h 65"/>
              <a:gd name="T16" fmla="*/ 66 w 94"/>
              <a:gd name="T17" fmla="*/ 5 h 65"/>
              <a:gd name="T18" fmla="*/ 62 w 94"/>
              <a:gd name="T19" fmla="*/ 7 h 65"/>
              <a:gd name="T20" fmla="*/ 61 w 94"/>
              <a:gd name="T21" fmla="*/ 6 h 65"/>
              <a:gd name="T22" fmla="*/ 60 w 94"/>
              <a:gd name="T23" fmla="*/ 4 h 65"/>
              <a:gd name="T24" fmla="*/ 58 w 94"/>
              <a:gd name="T25" fmla="*/ 3 h 65"/>
              <a:gd name="T26" fmla="*/ 54 w 94"/>
              <a:gd name="T27" fmla="*/ 3 h 65"/>
              <a:gd name="T28" fmla="*/ 52 w 94"/>
              <a:gd name="T29" fmla="*/ 2 h 65"/>
              <a:gd name="T30" fmla="*/ 50 w 94"/>
              <a:gd name="T31" fmla="*/ 1 h 65"/>
              <a:gd name="T32" fmla="*/ 49 w 94"/>
              <a:gd name="T33" fmla="*/ 1 h 65"/>
              <a:gd name="T34" fmla="*/ 47 w 94"/>
              <a:gd name="T35" fmla="*/ 1 h 65"/>
              <a:gd name="T36" fmla="*/ 43 w 94"/>
              <a:gd name="T37" fmla="*/ 5 h 65"/>
              <a:gd name="T38" fmla="*/ 39 w 94"/>
              <a:gd name="T39" fmla="*/ 5 h 65"/>
              <a:gd name="T40" fmla="*/ 35 w 94"/>
              <a:gd name="T41" fmla="*/ 6 h 65"/>
              <a:gd name="T42" fmla="*/ 34 w 94"/>
              <a:gd name="T43" fmla="*/ 7 h 65"/>
              <a:gd name="T44" fmla="*/ 33 w 94"/>
              <a:gd name="T45" fmla="*/ 10 h 65"/>
              <a:gd name="T46" fmla="*/ 34 w 94"/>
              <a:gd name="T47" fmla="*/ 10 h 65"/>
              <a:gd name="T48" fmla="*/ 32 w 94"/>
              <a:gd name="T49" fmla="*/ 14 h 65"/>
              <a:gd name="T50" fmla="*/ 25 w 94"/>
              <a:gd name="T51" fmla="*/ 19 h 65"/>
              <a:gd name="T52" fmla="*/ 24 w 94"/>
              <a:gd name="T53" fmla="*/ 25 h 65"/>
              <a:gd name="T54" fmla="*/ 23 w 94"/>
              <a:gd name="T55" fmla="*/ 29 h 65"/>
              <a:gd name="T56" fmla="*/ 20 w 94"/>
              <a:gd name="T57" fmla="*/ 27 h 65"/>
              <a:gd name="T58" fmla="*/ 17 w 94"/>
              <a:gd name="T59" fmla="*/ 29 h 65"/>
              <a:gd name="T60" fmla="*/ 15 w 94"/>
              <a:gd name="T61" fmla="*/ 31 h 65"/>
              <a:gd name="T62" fmla="*/ 10 w 94"/>
              <a:gd name="T63" fmla="*/ 32 h 65"/>
              <a:gd name="T64" fmla="*/ 5 w 94"/>
              <a:gd name="T65" fmla="*/ 32 h 65"/>
              <a:gd name="T66" fmla="*/ 3 w 94"/>
              <a:gd name="T67" fmla="*/ 33 h 65"/>
              <a:gd name="T68" fmla="*/ 7 w 94"/>
              <a:gd name="T69" fmla="*/ 46 h 65"/>
              <a:gd name="T70" fmla="*/ 0 w 94"/>
              <a:gd name="T71" fmla="*/ 53 h 65"/>
              <a:gd name="T72" fmla="*/ 3 w 94"/>
              <a:gd name="T73" fmla="*/ 56 h 65"/>
              <a:gd name="T74" fmla="*/ 3 w 94"/>
              <a:gd name="T75" fmla="*/ 62 h 65"/>
              <a:gd name="T76" fmla="*/ 7 w 94"/>
              <a:gd name="T77" fmla="*/ 60 h 65"/>
              <a:gd name="T78" fmla="*/ 14 w 94"/>
              <a:gd name="T79" fmla="*/ 57 h 65"/>
              <a:gd name="T80" fmla="*/ 26 w 94"/>
              <a:gd name="T81" fmla="*/ 58 h 65"/>
              <a:gd name="T82" fmla="*/ 47 w 94"/>
              <a:gd name="T83" fmla="*/ 61 h 65"/>
              <a:gd name="T84" fmla="*/ 50 w 94"/>
              <a:gd name="T85" fmla="*/ 61 h 65"/>
              <a:gd name="T86" fmla="*/ 54 w 94"/>
              <a:gd name="T87" fmla="*/ 64 h 65"/>
              <a:gd name="T88" fmla="*/ 57 w 94"/>
              <a:gd name="T89" fmla="*/ 61 h 65"/>
              <a:gd name="T90" fmla="*/ 61 w 94"/>
              <a:gd name="T91" fmla="*/ 64 h 65"/>
              <a:gd name="T92" fmla="*/ 65 w 94"/>
              <a:gd name="T93" fmla="*/ 64 h 65"/>
              <a:gd name="T94" fmla="*/ 69 w 94"/>
              <a:gd name="T95" fmla="*/ 63 h 65"/>
              <a:gd name="T96" fmla="*/ 72 w 94"/>
              <a:gd name="T97" fmla="*/ 61 h 65"/>
              <a:gd name="T98" fmla="*/ 77 w 94"/>
              <a:gd name="T99" fmla="*/ 55 h 65"/>
              <a:gd name="T100" fmla="*/ 80 w 94"/>
              <a:gd name="T101" fmla="*/ 5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4" h="65">
                <a:moveTo>
                  <a:pt x="80" y="55"/>
                </a:moveTo>
                <a:cubicBezTo>
                  <a:pt x="80" y="55"/>
                  <a:pt x="80" y="55"/>
                  <a:pt x="80" y="55"/>
                </a:cubicBezTo>
                <a:cubicBezTo>
                  <a:pt x="81" y="55"/>
                  <a:pt x="81" y="54"/>
                  <a:pt x="82" y="54"/>
                </a:cubicBezTo>
                <a:cubicBezTo>
                  <a:pt x="83" y="54"/>
                  <a:pt x="83" y="54"/>
                  <a:pt x="83" y="54"/>
                </a:cubicBezTo>
                <a:cubicBezTo>
                  <a:pt x="83" y="54"/>
                  <a:pt x="82" y="53"/>
                  <a:pt x="82" y="51"/>
                </a:cubicBezTo>
                <a:cubicBezTo>
                  <a:pt x="83" y="47"/>
                  <a:pt x="82" y="47"/>
                  <a:pt x="82" y="47"/>
                </a:cubicBezTo>
                <a:cubicBezTo>
                  <a:pt x="81" y="46"/>
                  <a:pt x="80" y="45"/>
                  <a:pt x="80" y="44"/>
                </a:cubicBezTo>
                <a:cubicBezTo>
                  <a:pt x="80" y="44"/>
                  <a:pt x="80" y="44"/>
                  <a:pt x="79" y="44"/>
                </a:cubicBezTo>
                <a:cubicBezTo>
                  <a:pt x="79" y="44"/>
                  <a:pt x="79" y="44"/>
                  <a:pt x="79" y="44"/>
                </a:cubicBezTo>
                <a:cubicBezTo>
                  <a:pt x="79" y="43"/>
                  <a:pt x="79" y="43"/>
                  <a:pt x="79" y="43"/>
                </a:cubicBezTo>
                <a:cubicBezTo>
                  <a:pt x="79" y="43"/>
                  <a:pt x="79" y="42"/>
                  <a:pt x="79" y="42"/>
                </a:cubicBezTo>
                <a:cubicBezTo>
                  <a:pt x="80" y="42"/>
                  <a:pt x="80" y="42"/>
                  <a:pt x="80" y="42"/>
                </a:cubicBezTo>
                <a:cubicBezTo>
                  <a:pt x="80" y="42"/>
                  <a:pt x="80" y="42"/>
                  <a:pt x="80" y="42"/>
                </a:cubicBezTo>
                <a:cubicBezTo>
                  <a:pt x="80" y="42"/>
                  <a:pt x="80" y="42"/>
                  <a:pt x="80" y="42"/>
                </a:cubicBezTo>
                <a:cubicBezTo>
                  <a:pt x="80" y="41"/>
                  <a:pt x="80" y="41"/>
                  <a:pt x="80" y="41"/>
                </a:cubicBezTo>
                <a:cubicBezTo>
                  <a:pt x="80" y="41"/>
                  <a:pt x="80" y="41"/>
                  <a:pt x="80" y="41"/>
                </a:cubicBezTo>
                <a:cubicBezTo>
                  <a:pt x="81" y="41"/>
                  <a:pt x="81" y="41"/>
                  <a:pt x="81" y="41"/>
                </a:cubicBezTo>
                <a:cubicBezTo>
                  <a:pt x="81" y="41"/>
                  <a:pt x="82" y="41"/>
                  <a:pt x="82" y="41"/>
                </a:cubicBezTo>
                <a:cubicBezTo>
                  <a:pt x="82" y="41"/>
                  <a:pt x="83" y="40"/>
                  <a:pt x="84" y="40"/>
                </a:cubicBezTo>
                <a:cubicBezTo>
                  <a:pt x="84" y="41"/>
                  <a:pt x="85" y="41"/>
                  <a:pt x="85" y="41"/>
                </a:cubicBezTo>
                <a:cubicBezTo>
                  <a:pt x="86" y="41"/>
                  <a:pt x="87" y="41"/>
                  <a:pt x="87" y="41"/>
                </a:cubicBezTo>
                <a:cubicBezTo>
                  <a:pt x="89" y="41"/>
                  <a:pt x="91" y="40"/>
                  <a:pt x="93" y="39"/>
                </a:cubicBezTo>
                <a:cubicBezTo>
                  <a:pt x="93" y="39"/>
                  <a:pt x="94" y="38"/>
                  <a:pt x="94" y="38"/>
                </a:cubicBezTo>
                <a:cubicBezTo>
                  <a:pt x="94" y="38"/>
                  <a:pt x="93" y="38"/>
                  <a:pt x="93" y="38"/>
                </a:cubicBezTo>
                <a:cubicBezTo>
                  <a:pt x="92" y="37"/>
                  <a:pt x="91" y="36"/>
                  <a:pt x="91" y="35"/>
                </a:cubicBezTo>
                <a:cubicBezTo>
                  <a:pt x="91" y="35"/>
                  <a:pt x="91" y="35"/>
                  <a:pt x="91" y="35"/>
                </a:cubicBezTo>
                <a:cubicBezTo>
                  <a:pt x="87" y="34"/>
                  <a:pt x="85" y="34"/>
                  <a:pt x="84" y="33"/>
                </a:cubicBezTo>
                <a:cubicBezTo>
                  <a:pt x="84" y="32"/>
                  <a:pt x="84" y="32"/>
                  <a:pt x="84" y="32"/>
                </a:cubicBezTo>
                <a:cubicBezTo>
                  <a:pt x="84" y="31"/>
                  <a:pt x="84" y="31"/>
                  <a:pt x="84" y="31"/>
                </a:cubicBezTo>
                <a:cubicBezTo>
                  <a:pt x="85" y="31"/>
                  <a:pt x="85" y="31"/>
                  <a:pt x="85" y="30"/>
                </a:cubicBezTo>
                <a:cubicBezTo>
                  <a:pt x="85" y="29"/>
                  <a:pt x="84" y="29"/>
                  <a:pt x="83" y="28"/>
                </a:cubicBezTo>
                <a:cubicBezTo>
                  <a:pt x="79" y="26"/>
                  <a:pt x="78" y="23"/>
                  <a:pt x="78" y="21"/>
                </a:cubicBezTo>
                <a:cubicBezTo>
                  <a:pt x="78" y="21"/>
                  <a:pt x="77" y="20"/>
                  <a:pt x="75" y="20"/>
                </a:cubicBezTo>
                <a:cubicBezTo>
                  <a:pt x="74" y="19"/>
                  <a:pt x="74" y="19"/>
                  <a:pt x="74" y="19"/>
                </a:cubicBezTo>
                <a:cubicBezTo>
                  <a:pt x="74" y="18"/>
                  <a:pt x="74" y="18"/>
                  <a:pt x="74" y="18"/>
                </a:cubicBezTo>
                <a:cubicBezTo>
                  <a:pt x="74" y="17"/>
                  <a:pt x="75" y="16"/>
                  <a:pt x="76" y="15"/>
                </a:cubicBezTo>
                <a:cubicBezTo>
                  <a:pt x="76" y="14"/>
                  <a:pt x="76" y="14"/>
                  <a:pt x="76" y="14"/>
                </a:cubicBezTo>
                <a:cubicBezTo>
                  <a:pt x="75" y="13"/>
                  <a:pt x="75" y="13"/>
                  <a:pt x="74" y="12"/>
                </a:cubicBezTo>
                <a:cubicBezTo>
                  <a:pt x="74" y="11"/>
                  <a:pt x="74" y="11"/>
                  <a:pt x="74" y="11"/>
                </a:cubicBezTo>
                <a:cubicBezTo>
                  <a:pt x="76" y="9"/>
                  <a:pt x="76" y="9"/>
                  <a:pt x="76" y="9"/>
                </a:cubicBezTo>
                <a:cubicBezTo>
                  <a:pt x="75" y="8"/>
                  <a:pt x="75" y="8"/>
                  <a:pt x="75" y="8"/>
                </a:cubicBezTo>
                <a:cubicBezTo>
                  <a:pt x="75" y="7"/>
                  <a:pt x="74" y="6"/>
                  <a:pt x="72" y="5"/>
                </a:cubicBezTo>
                <a:cubicBezTo>
                  <a:pt x="71" y="5"/>
                  <a:pt x="70" y="5"/>
                  <a:pt x="70" y="5"/>
                </a:cubicBezTo>
                <a:cubicBezTo>
                  <a:pt x="70" y="5"/>
                  <a:pt x="70" y="5"/>
                  <a:pt x="70" y="5"/>
                </a:cubicBezTo>
                <a:cubicBezTo>
                  <a:pt x="68" y="4"/>
                  <a:pt x="66" y="5"/>
                  <a:pt x="66" y="5"/>
                </a:cubicBezTo>
                <a:cubicBezTo>
                  <a:pt x="65" y="5"/>
                  <a:pt x="65" y="6"/>
                  <a:pt x="65" y="6"/>
                </a:cubicBezTo>
                <a:cubicBezTo>
                  <a:pt x="64" y="6"/>
                  <a:pt x="64" y="6"/>
                  <a:pt x="64" y="6"/>
                </a:cubicBezTo>
                <a:cubicBezTo>
                  <a:pt x="64" y="6"/>
                  <a:pt x="64" y="6"/>
                  <a:pt x="63" y="6"/>
                </a:cubicBezTo>
                <a:cubicBezTo>
                  <a:pt x="63" y="7"/>
                  <a:pt x="63" y="7"/>
                  <a:pt x="63" y="7"/>
                </a:cubicBezTo>
                <a:cubicBezTo>
                  <a:pt x="62" y="7"/>
                  <a:pt x="62" y="7"/>
                  <a:pt x="62" y="7"/>
                </a:cubicBezTo>
                <a:cubicBezTo>
                  <a:pt x="62" y="7"/>
                  <a:pt x="62" y="7"/>
                  <a:pt x="62" y="7"/>
                </a:cubicBezTo>
                <a:cubicBezTo>
                  <a:pt x="62" y="7"/>
                  <a:pt x="62" y="7"/>
                  <a:pt x="62" y="7"/>
                </a:cubicBezTo>
                <a:cubicBezTo>
                  <a:pt x="61" y="6"/>
                  <a:pt x="61" y="6"/>
                  <a:pt x="61" y="6"/>
                </a:cubicBezTo>
                <a:cubicBezTo>
                  <a:pt x="61" y="6"/>
                  <a:pt x="61" y="6"/>
                  <a:pt x="61" y="6"/>
                </a:cubicBezTo>
                <a:cubicBezTo>
                  <a:pt x="61" y="6"/>
                  <a:pt x="61" y="6"/>
                  <a:pt x="61" y="6"/>
                </a:cubicBezTo>
                <a:cubicBezTo>
                  <a:pt x="60" y="6"/>
                  <a:pt x="60" y="6"/>
                  <a:pt x="60" y="6"/>
                </a:cubicBezTo>
                <a:cubicBezTo>
                  <a:pt x="60" y="6"/>
                  <a:pt x="60" y="6"/>
                  <a:pt x="60" y="6"/>
                </a:cubicBezTo>
                <a:cubicBezTo>
                  <a:pt x="60" y="5"/>
                  <a:pt x="60" y="5"/>
                  <a:pt x="60" y="5"/>
                </a:cubicBezTo>
                <a:cubicBezTo>
                  <a:pt x="60" y="5"/>
                  <a:pt x="60" y="5"/>
                  <a:pt x="60" y="4"/>
                </a:cubicBezTo>
                <a:cubicBezTo>
                  <a:pt x="60" y="4"/>
                  <a:pt x="60" y="4"/>
                  <a:pt x="60" y="4"/>
                </a:cubicBezTo>
                <a:cubicBezTo>
                  <a:pt x="60" y="4"/>
                  <a:pt x="60" y="4"/>
                  <a:pt x="60" y="4"/>
                </a:cubicBezTo>
                <a:cubicBezTo>
                  <a:pt x="60" y="3"/>
                  <a:pt x="60" y="3"/>
                  <a:pt x="60" y="3"/>
                </a:cubicBezTo>
                <a:cubicBezTo>
                  <a:pt x="59" y="3"/>
                  <a:pt x="59" y="3"/>
                  <a:pt x="59" y="3"/>
                </a:cubicBezTo>
                <a:cubicBezTo>
                  <a:pt x="59" y="3"/>
                  <a:pt x="58" y="3"/>
                  <a:pt x="58" y="3"/>
                </a:cubicBezTo>
                <a:cubicBezTo>
                  <a:pt x="58" y="3"/>
                  <a:pt x="58" y="3"/>
                  <a:pt x="58" y="3"/>
                </a:cubicBezTo>
                <a:cubicBezTo>
                  <a:pt x="57" y="3"/>
                  <a:pt x="57" y="3"/>
                  <a:pt x="57" y="3"/>
                </a:cubicBezTo>
                <a:cubicBezTo>
                  <a:pt x="57" y="3"/>
                  <a:pt x="56" y="3"/>
                  <a:pt x="56" y="3"/>
                </a:cubicBezTo>
                <a:cubicBezTo>
                  <a:pt x="56" y="3"/>
                  <a:pt x="56" y="3"/>
                  <a:pt x="56" y="3"/>
                </a:cubicBezTo>
                <a:cubicBezTo>
                  <a:pt x="55" y="3"/>
                  <a:pt x="55" y="3"/>
                  <a:pt x="55" y="3"/>
                </a:cubicBezTo>
                <a:cubicBezTo>
                  <a:pt x="54" y="3"/>
                  <a:pt x="54" y="3"/>
                  <a:pt x="54" y="3"/>
                </a:cubicBezTo>
                <a:cubicBezTo>
                  <a:pt x="54" y="3"/>
                  <a:pt x="53" y="3"/>
                  <a:pt x="53" y="3"/>
                </a:cubicBezTo>
                <a:cubicBezTo>
                  <a:pt x="53" y="3"/>
                  <a:pt x="53" y="3"/>
                  <a:pt x="53" y="3"/>
                </a:cubicBezTo>
                <a:cubicBezTo>
                  <a:pt x="53" y="2"/>
                  <a:pt x="53" y="2"/>
                  <a:pt x="53" y="2"/>
                </a:cubicBezTo>
                <a:cubicBezTo>
                  <a:pt x="53" y="2"/>
                  <a:pt x="53" y="2"/>
                  <a:pt x="53" y="2"/>
                </a:cubicBezTo>
                <a:cubicBezTo>
                  <a:pt x="53" y="2"/>
                  <a:pt x="52" y="2"/>
                  <a:pt x="52" y="2"/>
                </a:cubicBezTo>
                <a:cubicBezTo>
                  <a:pt x="52" y="2"/>
                  <a:pt x="52" y="2"/>
                  <a:pt x="52" y="2"/>
                </a:cubicBezTo>
                <a:cubicBezTo>
                  <a:pt x="52" y="2"/>
                  <a:pt x="52" y="2"/>
                  <a:pt x="51" y="2"/>
                </a:cubicBezTo>
                <a:cubicBezTo>
                  <a:pt x="51" y="2"/>
                  <a:pt x="51" y="2"/>
                  <a:pt x="51" y="2"/>
                </a:cubicBezTo>
                <a:cubicBezTo>
                  <a:pt x="51" y="2"/>
                  <a:pt x="51" y="2"/>
                  <a:pt x="51" y="1"/>
                </a:cubicBezTo>
                <a:cubicBezTo>
                  <a:pt x="50" y="1"/>
                  <a:pt x="50" y="1"/>
                  <a:pt x="50" y="1"/>
                </a:cubicBezTo>
                <a:cubicBezTo>
                  <a:pt x="50" y="1"/>
                  <a:pt x="50" y="1"/>
                  <a:pt x="50" y="1"/>
                </a:cubicBezTo>
                <a:cubicBezTo>
                  <a:pt x="50" y="1"/>
                  <a:pt x="50" y="1"/>
                  <a:pt x="50" y="1"/>
                </a:cubicBezTo>
                <a:cubicBezTo>
                  <a:pt x="49" y="1"/>
                  <a:pt x="49" y="1"/>
                  <a:pt x="49" y="1"/>
                </a:cubicBezTo>
                <a:cubicBezTo>
                  <a:pt x="49" y="1"/>
                  <a:pt x="49" y="1"/>
                  <a:pt x="49" y="1"/>
                </a:cubicBezTo>
                <a:cubicBezTo>
                  <a:pt x="49" y="1"/>
                  <a:pt x="49" y="1"/>
                  <a:pt x="49" y="1"/>
                </a:cubicBezTo>
                <a:cubicBezTo>
                  <a:pt x="49" y="0"/>
                  <a:pt x="49" y="0"/>
                  <a:pt x="49" y="0"/>
                </a:cubicBezTo>
                <a:cubicBezTo>
                  <a:pt x="48" y="0"/>
                  <a:pt x="48" y="0"/>
                  <a:pt x="48" y="0"/>
                </a:cubicBezTo>
                <a:cubicBezTo>
                  <a:pt x="48" y="0"/>
                  <a:pt x="48" y="0"/>
                  <a:pt x="48" y="0"/>
                </a:cubicBezTo>
                <a:cubicBezTo>
                  <a:pt x="48" y="0"/>
                  <a:pt x="48" y="0"/>
                  <a:pt x="48" y="0"/>
                </a:cubicBezTo>
                <a:cubicBezTo>
                  <a:pt x="48" y="1"/>
                  <a:pt x="48" y="1"/>
                  <a:pt x="47" y="1"/>
                </a:cubicBezTo>
                <a:cubicBezTo>
                  <a:pt x="47" y="1"/>
                  <a:pt x="47" y="1"/>
                  <a:pt x="46" y="2"/>
                </a:cubicBezTo>
                <a:cubicBezTo>
                  <a:pt x="46" y="2"/>
                  <a:pt x="45" y="2"/>
                  <a:pt x="45" y="2"/>
                </a:cubicBezTo>
                <a:cubicBezTo>
                  <a:pt x="45" y="3"/>
                  <a:pt x="45" y="3"/>
                  <a:pt x="44" y="3"/>
                </a:cubicBezTo>
                <a:cubicBezTo>
                  <a:pt x="44" y="3"/>
                  <a:pt x="44" y="3"/>
                  <a:pt x="44" y="3"/>
                </a:cubicBezTo>
                <a:cubicBezTo>
                  <a:pt x="44" y="5"/>
                  <a:pt x="44" y="5"/>
                  <a:pt x="43" y="5"/>
                </a:cubicBezTo>
                <a:cubicBezTo>
                  <a:pt x="42" y="5"/>
                  <a:pt x="42" y="5"/>
                  <a:pt x="42" y="5"/>
                </a:cubicBezTo>
                <a:cubicBezTo>
                  <a:pt x="41" y="5"/>
                  <a:pt x="41" y="5"/>
                  <a:pt x="40" y="5"/>
                </a:cubicBezTo>
                <a:cubicBezTo>
                  <a:pt x="40" y="5"/>
                  <a:pt x="40" y="5"/>
                  <a:pt x="40" y="5"/>
                </a:cubicBezTo>
                <a:cubicBezTo>
                  <a:pt x="40" y="5"/>
                  <a:pt x="40" y="5"/>
                  <a:pt x="40" y="5"/>
                </a:cubicBezTo>
                <a:cubicBezTo>
                  <a:pt x="39" y="5"/>
                  <a:pt x="39" y="5"/>
                  <a:pt x="39" y="5"/>
                </a:cubicBezTo>
                <a:cubicBezTo>
                  <a:pt x="38" y="5"/>
                  <a:pt x="38" y="5"/>
                  <a:pt x="38" y="5"/>
                </a:cubicBezTo>
                <a:cubicBezTo>
                  <a:pt x="37" y="5"/>
                  <a:pt x="37" y="5"/>
                  <a:pt x="37" y="5"/>
                </a:cubicBezTo>
                <a:cubicBezTo>
                  <a:pt x="37" y="5"/>
                  <a:pt x="37" y="5"/>
                  <a:pt x="37" y="5"/>
                </a:cubicBezTo>
                <a:cubicBezTo>
                  <a:pt x="39" y="5"/>
                  <a:pt x="39" y="5"/>
                  <a:pt x="39" y="5"/>
                </a:cubicBezTo>
                <a:cubicBezTo>
                  <a:pt x="35" y="6"/>
                  <a:pt x="35" y="6"/>
                  <a:pt x="35" y="6"/>
                </a:cubicBezTo>
                <a:cubicBezTo>
                  <a:pt x="35" y="7"/>
                  <a:pt x="35" y="7"/>
                  <a:pt x="35" y="7"/>
                </a:cubicBezTo>
                <a:cubicBezTo>
                  <a:pt x="35" y="7"/>
                  <a:pt x="35" y="7"/>
                  <a:pt x="35" y="7"/>
                </a:cubicBezTo>
                <a:cubicBezTo>
                  <a:pt x="34" y="7"/>
                  <a:pt x="34" y="7"/>
                  <a:pt x="34" y="7"/>
                </a:cubicBezTo>
                <a:cubicBezTo>
                  <a:pt x="34" y="7"/>
                  <a:pt x="34" y="7"/>
                  <a:pt x="34" y="7"/>
                </a:cubicBezTo>
                <a:cubicBezTo>
                  <a:pt x="34" y="7"/>
                  <a:pt x="34" y="7"/>
                  <a:pt x="34" y="7"/>
                </a:cubicBezTo>
                <a:cubicBezTo>
                  <a:pt x="34" y="7"/>
                  <a:pt x="34" y="7"/>
                  <a:pt x="34" y="7"/>
                </a:cubicBezTo>
                <a:cubicBezTo>
                  <a:pt x="34" y="8"/>
                  <a:pt x="34" y="8"/>
                  <a:pt x="34" y="8"/>
                </a:cubicBezTo>
                <a:cubicBezTo>
                  <a:pt x="34" y="8"/>
                  <a:pt x="33" y="8"/>
                  <a:pt x="33" y="8"/>
                </a:cubicBezTo>
                <a:cubicBezTo>
                  <a:pt x="33" y="9"/>
                  <a:pt x="33" y="9"/>
                  <a:pt x="33" y="9"/>
                </a:cubicBezTo>
                <a:cubicBezTo>
                  <a:pt x="33" y="10"/>
                  <a:pt x="33" y="10"/>
                  <a:pt x="33" y="10"/>
                </a:cubicBezTo>
                <a:cubicBezTo>
                  <a:pt x="33" y="10"/>
                  <a:pt x="33" y="10"/>
                  <a:pt x="33" y="10"/>
                </a:cubicBezTo>
                <a:cubicBezTo>
                  <a:pt x="33" y="10"/>
                  <a:pt x="33" y="10"/>
                  <a:pt x="33" y="10"/>
                </a:cubicBezTo>
                <a:cubicBezTo>
                  <a:pt x="33" y="10"/>
                  <a:pt x="33" y="10"/>
                  <a:pt x="33" y="10"/>
                </a:cubicBezTo>
                <a:cubicBezTo>
                  <a:pt x="33" y="10"/>
                  <a:pt x="33" y="10"/>
                  <a:pt x="33" y="10"/>
                </a:cubicBezTo>
                <a:cubicBezTo>
                  <a:pt x="34" y="10"/>
                  <a:pt x="34" y="10"/>
                  <a:pt x="34" y="10"/>
                </a:cubicBezTo>
                <a:cubicBezTo>
                  <a:pt x="34" y="11"/>
                  <a:pt x="34" y="11"/>
                  <a:pt x="35" y="11"/>
                </a:cubicBezTo>
                <a:cubicBezTo>
                  <a:pt x="36" y="12"/>
                  <a:pt x="36" y="12"/>
                  <a:pt x="36" y="12"/>
                </a:cubicBezTo>
                <a:cubicBezTo>
                  <a:pt x="35" y="13"/>
                  <a:pt x="35" y="13"/>
                  <a:pt x="35" y="13"/>
                </a:cubicBezTo>
                <a:cubicBezTo>
                  <a:pt x="34" y="13"/>
                  <a:pt x="34" y="14"/>
                  <a:pt x="33" y="14"/>
                </a:cubicBezTo>
                <a:cubicBezTo>
                  <a:pt x="32" y="14"/>
                  <a:pt x="32" y="14"/>
                  <a:pt x="32" y="14"/>
                </a:cubicBezTo>
                <a:cubicBezTo>
                  <a:pt x="31" y="15"/>
                  <a:pt x="30" y="16"/>
                  <a:pt x="29" y="17"/>
                </a:cubicBezTo>
                <a:cubicBezTo>
                  <a:pt x="29" y="17"/>
                  <a:pt x="29" y="17"/>
                  <a:pt x="29" y="17"/>
                </a:cubicBezTo>
                <a:cubicBezTo>
                  <a:pt x="28" y="17"/>
                  <a:pt x="28" y="17"/>
                  <a:pt x="27" y="17"/>
                </a:cubicBezTo>
                <a:cubicBezTo>
                  <a:pt x="26" y="18"/>
                  <a:pt x="26" y="18"/>
                  <a:pt x="26" y="18"/>
                </a:cubicBezTo>
                <a:cubicBezTo>
                  <a:pt x="26" y="18"/>
                  <a:pt x="25" y="19"/>
                  <a:pt x="25" y="19"/>
                </a:cubicBezTo>
                <a:cubicBezTo>
                  <a:pt x="25" y="20"/>
                  <a:pt x="25" y="20"/>
                  <a:pt x="25" y="20"/>
                </a:cubicBezTo>
                <a:cubicBezTo>
                  <a:pt x="25" y="20"/>
                  <a:pt x="25" y="20"/>
                  <a:pt x="25" y="20"/>
                </a:cubicBezTo>
                <a:cubicBezTo>
                  <a:pt x="25" y="21"/>
                  <a:pt x="25" y="21"/>
                  <a:pt x="24" y="22"/>
                </a:cubicBezTo>
                <a:cubicBezTo>
                  <a:pt x="24" y="23"/>
                  <a:pt x="24" y="24"/>
                  <a:pt x="23" y="25"/>
                </a:cubicBezTo>
                <a:cubicBezTo>
                  <a:pt x="23" y="25"/>
                  <a:pt x="24" y="25"/>
                  <a:pt x="24" y="25"/>
                </a:cubicBezTo>
                <a:cubicBezTo>
                  <a:pt x="25" y="26"/>
                  <a:pt x="25" y="26"/>
                  <a:pt x="25" y="26"/>
                </a:cubicBezTo>
                <a:cubicBezTo>
                  <a:pt x="25" y="26"/>
                  <a:pt x="25" y="27"/>
                  <a:pt x="25" y="27"/>
                </a:cubicBezTo>
                <a:cubicBezTo>
                  <a:pt x="26" y="28"/>
                  <a:pt x="26" y="28"/>
                  <a:pt x="26" y="28"/>
                </a:cubicBezTo>
                <a:cubicBezTo>
                  <a:pt x="24" y="29"/>
                  <a:pt x="24" y="29"/>
                  <a:pt x="24" y="29"/>
                </a:cubicBezTo>
                <a:cubicBezTo>
                  <a:pt x="24" y="29"/>
                  <a:pt x="24" y="29"/>
                  <a:pt x="23" y="29"/>
                </a:cubicBezTo>
                <a:cubicBezTo>
                  <a:pt x="23" y="29"/>
                  <a:pt x="23" y="29"/>
                  <a:pt x="23" y="29"/>
                </a:cubicBezTo>
                <a:cubicBezTo>
                  <a:pt x="23" y="29"/>
                  <a:pt x="23" y="29"/>
                  <a:pt x="23" y="29"/>
                </a:cubicBezTo>
                <a:cubicBezTo>
                  <a:pt x="23" y="29"/>
                  <a:pt x="23" y="29"/>
                  <a:pt x="23" y="29"/>
                </a:cubicBezTo>
                <a:cubicBezTo>
                  <a:pt x="22" y="29"/>
                  <a:pt x="22" y="29"/>
                  <a:pt x="21" y="29"/>
                </a:cubicBezTo>
                <a:cubicBezTo>
                  <a:pt x="21" y="29"/>
                  <a:pt x="20" y="28"/>
                  <a:pt x="20" y="27"/>
                </a:cubicBezTo>
                <a:cubicBezTo>
                  <a:pt x="20" y="27"/>
                  <a:pt x="20" y="27"/>
                  <a:pt x="20" y="27"/>
                </a:cubicBezTo>
                <a:cubicBezTo>
                  <a:pt x="20" y="27"/>
                  <a:pt x="20" y="28"/>
                  <a:pt x="19" y="28"/>
                </a:cubicBezTo>
                <a:cubicBezTo>
                  <a:pt x="19" y="28"/>
                  <a:pt x="19" y="28"/>
                  <a:pt x="19" y="28"/>
                </a:cubicBezTo>
                <a:cubicBezTo>
                  <a:pt x="19" y="28"/>
                  <a:pt x="18" y="29"/>
                  <a:pt x="18" y="29"/>
                </a:cubicBezTo>
                <a:cubicBezTo>
                  <a:pt x="17" y="29"/>
                  <a:pt x="17" y="29"/>
                  <a:pt x="17" y="29"/>
                </a:cubicBezTo>
                <a:cubicBezTo>
                  <a:pt x="17" y="29"/>
                  <a:pt x="16" y="29"/>
                  <a:pt x="16" y="29"/>
                </a:cubicBezTo>
                <a:cubicBezTo>
                  <a:pt x="16" y="29"/>
                  <a:pt x="16" y="29"/>
                  <a:pt x="16" y="29"/>
                </a:cubicBezTo>
                <a:cubicBezTo>
                  <a:pt x="16" y="29"/>
                  <a:pt x="16" y="30"/>
                  <a:pt x="15" y="30"/>
                </a:cubicBezTo>
                <a:cubicBezTo>
                  <a:pt x="15" y="30"/>
                  <a:pt x="15" y="31"/>
                  <a:pt x="15" y="31"/>
                </a:cubicBezTo>
                <a:cubicBezTo>
                  <a:pt x="15" y="31"/>
                  <a:pt x="15" y="31"/>
                  <a:pt x="15" y="31"/>
                </a:cubicBezTo>
                <a:cubicBezTo>
                  <a:pt x="14" y="31"/>
                  <a:pt x="14" y="31"/>
                  <a:pt x="14" y="31"/>
                </a:cubicBezTo>
                <a:cubicBezTo>
                  <a:pt x="14" y="32"/>
                  <a:pt x="13" y="32"/>
                  <a:pt x="13" y="32"/>
                </a:cubicBezTo>
                <a:cubicBezTo>
                  <a:pt x="12" y="32"/>
                  <a:pt x="11" y="32"/>
                  <a:pt x="10" y="32"/>
                </a:cubicBezTo>
                <a:cubicBezTo>
                  <a:pt x="10" y="32"/>
                  <a:pt x="10" y="32"/>
                  <a:pt x="10" y="32"/>
                </a:cubicBezTo>
                <a:cubicBezTo>
                  <a:pt x="10" y="32"/>
                  <a:pt x="10" y="32"/>
                  <a:pt x="10" y="32"/>
                </a:cubicBezTo>
                <a:cubicBezTo>
                  <a:pt x="9" y="32"/>
                  <a:pt x="9" y="32"/>
                  <a:pt x="9" y="32"/>
                </a:cubicBezTo>
                <a:cubicBezTo>
                  <a:pt x="9" y="32"/>
                  <a:pt x="9" y="32"/>
                  <a:pt x="9" y="32"/>
                </a:cubicBezTo>
                <a:cubicBezTo>
                  <a:pt x="9" y="32"/>
                  <a:pt x="9" y="32"/>
                  <a:pt x="8" y="32"/>
                </a:cubicBezTo>
                <a:cubicBezTo>
                  <a:pt x="8" y="32"/>
                  <a:pt x="8" y="32"/>
                  <a:pt x="8" y="32"/>
                </a:cubicBezTo>
                <a:cubicBezTo>
                  <a:pt x="7" y="32"/>
                  <a:pt x="6" y="32"/>
                  <a:pt x="5" y="32"/>
                </a:cubicBezTo>
                <a:cubicBezTo>
                  <a:pt x="4" y="32"/>
                  <a:pt x="4" y="32"/>
                  <a:pt x="3" y="32"/>
                </a:cubicBezTo>
                <a:cubicBezTo>
                  <a:pt x="3" y="32"/>
                  <a:pt x="3" y="32"/>
                  <a:pt x="3" y="32"/>
                </a:cubicBezTo>
                <a:cubicBezTo>
                  <a:pt x="3" y="32"/>
                  <a:pt x="3" y="32"/>
                  <a:pt x="3" y="32"/>
                </a:cubicBezTo>
                <a:cubicBezTo>
                  <a:pt x="3" y="32"/>
                  <a:pt x="3" y="33"/>
                  <a:pt x="3" y="33"/>
                </a:cubicBezTo>
                <a:cubicBezTo>
                  <a:pt x="3" y="33"/>
                  <a:pt x="3" y="33"/>
                  <a:pt x="3" y="33"/>
                </a:cubicBezTo>
                <a:cubicBezTo>
                  <a:pt x="3" y="33"/>
                  <a:pt x="3" y="33"/>
                  <a:pt x="3" y="34"/>
                </a:cubicBezTo>
                <a:cubicBezTo>
                  <a:pt x="4" y="34"/>
                  <a:pt x="4" y="35"/>
                  <a:pt x="4" y="36"/>
                </a:cubicBezTo>
                <a:cubicBezTo>
                  <a:pt x="4" y="37"/>
                  <a:pt x="4" y="37"/>
                  <a:pt x="4" y="37"/>
                </a:cubicBezTo>
                <a:cubicBezTo>
                  <a:pt x="5" y="38"/>
                  <a:pt x="6" y="39"/>
                  <a:pt x="6" y="41"/>
                </a:cubicBezTo>
                <a:cubicBezTo>
                  <a:pt x="6" y="42"/>
                  <a:pt x="7" y="44"/>
                  <a:pt x="7" y="46"/>
                </a:cubicBezTo>
                <a:cubicBezTo>
                  <a:pt x="7" y="47"/>
                  <a:pt x="7" y="47"/>
                  <a:pt x="7" y="47"/>
                </a:cubicBezTo>
                <a:cubicBezTo>
                  <a:pt x="7" y="47"/>
                  <a:pt x="6" y="48"/>
                  <a:pt x="5" y="48"/>
                </a:cubicBezTo>
                <a:cubicBezTo>
                  <a:pt x="5" y="49"/>
                  <a:pt x="5" y="49"/>
                  <a:pt x="5" y="49"/>
                </a:cubicBezTo>
                <a:cubicBezTo>
                  <a:pt x="4" y="49"/>
                  <a:pt x="4" y="49"/>
                  <a:pt x="4" y="49"/>
                </a:cubicBezTo>
                <a:cubicBezTo>
                  <a:pt x="0" y="53"/>
                  <a:pt x="0" y="53"/>
                  <a:pt x="0" y="53"/>
                </a:cubicBezTo>
                <a:cubicBezTo>
                  <a:pt x="0" y="53"/>
                  <a:pt x="1" y="54"/>
                  <a:pt x="1" y="54"/>
                </a:cubicBezTo>
                <a:cubicBezTo>
                  <a:pt x="1" y="54"/>
                  <a:pt x="1" y="54"/>
                  <a:pt x="1" y="54"/>
                </a:cubicBezTo>
                <a:cubicBezTo>
                  <a:pt x="2" y="54"/>
                  <a:pt x="2" y="55"/>
                  <a:pt x="3" y="55"/>
                </a:cubicBezTo>
                <a:cubicBezTo>
                  <a:pt x="3" y="55"/>
                  <a:pt x="3" y="55"/>
                  <a:pt x="3" y="55"/>
                </a:cubicBezTo>
                <a:cubicBezTo>
                  <a:pt x="3" y="56"/>
                  <a:pt x="3" y="56"/>
                  <a:pt x="3" y="56"/>
                </a:cubicBezTo>
                <a:cubicBezTo>
                  <a:pt x="3" y="56"/>
                  <a:pt x="4" y="56"/>
                  <a:pt x="4" y="57"/>
                </a:cubicBezTo>
                <a:cubicBezTo>
                  <a:pt x="4" y="57"/>
                  <a:pt x="3" y="58"/>
                  <a:pt x="3" y="60"/>
                </a:cubicBezTo>
                <a:cubicBezTo>
                  <a:pt x="3" y="60"/>
                  <a:pt x="3" y="61"/>
                  <a:pt x="3" y="61"/>
                </a:cubicBezTo>
                <a:cubicBezTo>
                  <a:pt x="3" y="61"/>
                  <a:pt x="3" y="61"/>
                  <a:pt x="3" y="62"/>
                </a:cubicBezTo>
                <a:cubicBezTo>
                  <a:pt x="3" y="62"/>
                  <a:pt x="3" y="62"/>
                  <a:pt x="3" y="62"/>
                </a:cubicBezTo>
                <a:cubicBezTo>
                  <a:pt x="3" y="62"/>
                  <a:pt x="3" y="62"/>
                  <a:pt x="3" y="62"/>
                </a:cubicBezTo>
                <a:cubicBezTo>
                  <a:pt x="4" y="62"/>
                  <a:pt x="4" y="62"/>
                  <a:pt x="5" y="62"/>
                </a:cubicBezTo>
                <a:cubicBezTo>
                  <a:pt x="5" y="62"/>
                  <a:pt x="5" y="62"/>
                  <a:pt x="5" y="62"/>
                </a:cubicBezTo>
                <a:cubicBezTo>
                  <a:pt x="6" y="61"/>
                  <a:pt x="6" y="61"/>
                  <a:pt x="6" y="61"/>
                </a:cubicBezTo>
                <a:cubicBezTo>
                  <a:pt x="7" y="61"/>
                  <a:pt x="7" y="60"/>
                  <a:pt x="7" y="60"/>
                </a:cubicBezTo>
                <a:cubicBezTo>
                  <a:pt x="8" y="59"/>
                  <a:pt x="9" y="58"/>
                  <a:pt x="11" y="58"/>
                </a:cubicBezTo>
                <a:cubicBezTo>
                  <a:pt x="11" y="58"/>
                  <a:pt x="11" y="57"/>
                  <a:pt x="12" y="57"/>
                </a:cubicBezTo>
                <a:cubicBezTo>
                  <a:pt x="12" y="57"/>
                  <a:pt x="12" y="57"/>
                  <a:pt x="12" y="57"/>
                </a:cubicBezTo>
                <a:cubicBezTo>
                  <a:pt x="12" y="57"/>
                  <a:pt x="13" y="57"/>
                  <a:pt x="13" y="57"/>
                </a:cubicBezTo>
                <a:cubicBezTo>
                  <a:pt x="14" y="57"/>
                  <a:pt x="14" y="57"/>
                  <a:pt x="14" y="57"/>
                </a:cubicBezTo>
                <a:cubicBezTo>
                  <a:pt x="15" y="57"/>
                  <a:pt x="15" y="57"/>
                  <a:pt x="16" y="57"/>
                </a:cubicBezTo>
                <a:cubicBezTo>
                  <a:pt x="16" y="57"/>
                  <a:pt x="16" y="57"/>
                  <a:pt x="16" y="57"/>
                </a:cubicBezTo>
                <a:cubicBezTo>
                  <a:pt x="17" y="57"/>
                  <a:pt x="17" y="57"/>
                  <a:pt x="18" y="57"/>
                </a:cubicBezTo>
                <a:cubicBezTo>
                  <a:pt x="19" y="57"/>
                  <a:pt x="19" y="57"/>
                  <a:pt x="20" y="57"/>
                </a:cubicBezTo>
                <a:cubicBezTo>
                  <a:pt x="22" y="57"/>
                  <a:pt x="24" y="58"/>
                  <a:pt x="26" y="58"/>
                </a:cubicBezTo>
                <a:cubicBezTo>
                  <a:pt x="27" y="58"/>
                  <a:pt x="27" y="58"/>
                  <a:pt x="27" y="58"/>
                </a:cubicBezTo>
                <a:cubicBezTo>
                  <a:pt x="40" y="61"/>
                  <a:pt x="40" y="61"/>
                  <a:pt x="40" y="61"/>
                </a:cubicBezTo>
                <a:cubicBezTo>
                  <a:pt x="40" y="61"/>
                  <a:pt x="40" y="61"/>
                  <a:pt x="41" y="61"/>
                </a:cubicBezTo>
                <a:cubicBezTo>
                  <a:pt x="42" y="61"/>
                  <a:pt x="43" y="61"/>
                  <a:pt x="44" y="62"/>
                </a:cubicBezTo>
                <a:cubicBezTo>
                  <a:pt x="45" y="61"/>
                  <a:pt x="46" y="61"/>
                  <a:pt x="47" y="61"/>
                </a:cubicBezTo>
                <a:cubicBezTo>
                  <a:pt x="48" y="61"/>
                  <a:pt x="48" y="61"/>
                  <a:pt x="48" y="61"/>
                </a:cubicBezTo>
                <a:cubicBezTo>
                  <a:pt x="48" y="61"/>
                  <a:pt x="48" y="61"/>
                  <a:pt x="48" y="61"/>
                </a:cubicBezTo>
                <a:cubicBezTo>
                  <a:pt x="49" y="61"/>
                  <a:pt x="49" y="61"/>
                  <a:pt x="49" y="61"/>
                </a:cubicBezTo>
                <a:cubicBezTo>
                  <a:pt x="49" y="61"/>
                  <a:pt x="49" y="61"/>
                  <a:pt x="49" y="61"/>
                </a:cubicBezTo>
                <a:cubicBezTo>
                  <a:pt x="50" y="61"/>
                  <a:pt x="50" y="61"/>
                  <a:pt x="50" y="61"/>
                </a:cubicBezTo>
                <a:cubicBezTo>
                  <a:pt x="50" y="61"/>
                  <a:pt x="50" y="61"/>
                  <a:pt x="50" y="61"/>
                </a:cubicBezTo>
                <a:cubicBezTo>
                  <a:pt x="50" y="61"/>
                  <a:pt x="50" y="61"/>
                  <a:pt x="50" y="61"/>
                </a:cubicBezTo>
                <a:cubicBezTo>
                  <a:pt x="51" y="61"/>
                  <a:pt x="51" y="62"/>
                  <a:pt x="51" y="62"/>
                </a:cubicBezTo>
                <a:cubicBezTo>
                  <a:pt x="51" y="62"/>
                  <a:pt x="52" y="63"/>
                  <a:pt x="53" y="63"/>
                </a:cubicBezTo>
                <a:cubicBezTo>
                  <a:pt x="53" y="63"/>
                  <a:pt x="54" y="63"/>
                  <a:pt x="54" y="64"/>
                </a:cubicBezTo>
                <a:cubicBezTo>
                  <a:pt x="54" y="63"/>
                  <a:pt x="55" y="63"/>
                  <a:pt x="56" y="62"/>
                </a:cubicBezTo>
                <a:cubicBezTo>
                  <a:pt x="56" y="62"/>
                  <a:pt x="56" y="62"/>
                  <a:pt x="56" y="62"/>
                </a:cubicBezTo>
                <a:cubicBezTo>
                  <a:pt x="56" y="62"/>
                  <a:pt x="56" y="62"/>
                  <a:pt x="56" y="62"/>
                </a:cubicBezTo>
                <a:cubicBezTo>
                  <a:pt x="56" y="62"/>
                  <a:pt x="56" y="62"/>
                  <a:pt x="56" y="62"/>
                </a:cubicBezTo>
                <a:cubicBezTo>
                  <a:pt x="57" y="61"/>
                  <a:pt x="57" y="61"/>
                  <a:pt x="57" y="61"/>
                </a:cubicBezTo>
                <a:cubicBezTo>
                  <a:pt x="57" y="61"/>
                  <a:pt x="57" y="61"/>
                  <a:pt x="57" y="61"/>
                </a:cubicBezTo>
                <a:cubicBezTo>
                  <a:pt x="59" y="61"/>
                  <a:pt x="60" y="62"/>
                  <a:pt x="61" y="63"/>
                </a:cubicBezTo>
                <a:cubicBezTo>
                  <a:pt x="61" y="63"/>
                  <a:pt x="61" y="64"/>
                  <a:pt x="61" y="64"/>
                </a:cubicBezTo>
                <a:cubicBezTo>
                  <a:pt x="62" y="63"/>
                  <a:pt x="62" y="63"/>
                  <a:pt x="62" y="63"/>
                </a:cubicBezTo>
                <a:cubicBezTo>
                  <a:pt x="61" y="64"/>
                  <a:pt x="61" y="64"/>
                  <a:pt x="61" y="64"/>
                </a:cubicBezTo>
                <a:cubicBezTo>
                  <a:pt x="61" y="64"/>
                  <a:pt x="61" y="64"/>
                  <a:pt x="61" y="64"/>
                </a:cubicBezTo>
                <a:cubicBezTo>
                  <a:pt x="62" y="65"/>
                  <a:pt x="62" y="65"/>
                  <a:pt x="62" y="65"/>
                </a:cubicBezTo>
                <a:cubicBezTo>
                  <a:pt x="62" y="65"/>
                  <a:pt x="63" y="64"/>
                  <a:pt x="63" y="64"/>
                </a:cubicBezTo>
                <a:cubicBezTo>
                  <a:pt x="63" y="64"/>
                  <a:pt x="63" y="64"/>
                  <a:pt x="63" y="64"/>
                </a:cubicBezTo>
                <a:cubicBezTo>
                  <a:pt x="64" y="64"/>
                  <a:pt x="64" y="64"/>
                  <a:pt x="65" y="64"/>
                </a:cubicBezTo>
                <a:cubicBezTo>
                  <a:pt x="65" y="64"/>
                  <a:pt x="66" y="64"/>
                  <a:pt x="66" y="64"/>
                </a:cubicBezTo>
                <a:cubicBezTo>
                  <a:pt x="67" y="63"/>
                  <a:pt x="67" y="63"/>
                  <a:pt x="67" y="63"/>
                </a:cubicBezTo>
                <a:cubicBezTo>
                  <a:pt x="67" y="63"/>
                  <a:pt x="68" y="63"/>
                  <a:pt x="68" y="63"/>
                </a:cubicBezTo>
                <a:cubicBezTo>
                  <a:pt x="68" y="63"/>
                  <a:pt x="69" y="63"/>
                  <a:pt x="69" y="63"/>
                </a:cubicBezTo>
                <a:cubicBezTo>
                  <a:pt x="69" y="63"/>
                  <a:pt x="69" y="63"/>
                  <a:pt x="69" y="63"/>
                </a:cubicBezTo>
                <a:cubicBezTo>
                  <a:pt x="69" y="63"/>
                  <a:pt x="69" y="63"/>
                  <a:pt x="69" y="63"/>
                </a:cubicBezTo>
                <a:cubicBezTo>
                  <a:pt x="70" y="63"/>
                  <a:pt x="70" y="63"/>
                  <a:pt x="70" y="64"/>
                </a:cubicBezTo>
                <a:cubicBezTo>
                  <a:pt x="71" y="64"/>
                  <a:pt x="71" y="64"/>
                  <a:pt x="72" y="65"/>
                </a:cubicBezTo>
                <a:cubicBezTo>
                  <a:pt x="72" y="64"/>
                  <a:pt x="72" y="64"/>
                  <a:pt x="72" y="64"/>
                </a:cubicBezTo>
                <a:cubicBezTo>
                  <a:pt x="71" y="62"/>
                  <a:pt x="72" y="62"/>
                  <a:pt x="72" y="61"/>
                </a:cubicBezTo>
                <a:cubicBezTo>
                  <a:pt x="72" y="60"/>
                  <a:pt x="72" y="60"/>
                  <a:pt x="73" y="60"/>
                </a:cubicBezTo>
                <a:cubicBezTo>
                  <a:pt x="73" y="60"/>
                  <a:pt x="73" y="60"/>
                  <a:pt x="73" y="60"/>
                </a:cubicBezTo>
                <a:cubicBezTo>
                  <a:pt x="73" y="59"/>
                  <a:pt x="73" y="59"/>
                  <a:pt x="73" y="59"/>
                </a:cubicBezTo>
                <a:cubicBezTo>
                  <a:pt x="74" y="58"/>
                  <a:pt x="74" y="58"/>
                  <a:pt x="74" y="58"/>
                </a:cubicBezTo>
                <a:cubicBezTo>
                  <a:pt x="75" y="56"/>
                  <a:pt x="76" y="56"/>
                  <a:pt x="77" y="55"/>
                </a:cubicBezTo>
                <a:cubicBezTo>
                  <a:pt x="78" y="55"/>
                  <a:pt x="78" y="55"/>
                  <a:pt x="79" y="55"/>
                </a:cubicBezTo>
                <a:cubicBezTo>
                  <a:pt x="79" y="55"/>
                  <a:pt x="79" y="55"/>
                  <a:pt x="79" y="55"/>
                </a:cubicBezTo>
                <a:cubicBezTo>
                  <a:pt x="79" y="55"/>
                  <a:pt x="79" y="55"/>
                  <a:pt x="79" y="55"/>
                </a:cubicBezTo>
                <a:cubicBezTo>
                  <a:pt x="79" y="55"/>
                  <a:pt x="80" y="55"/>
                  <a:pt x="80" y="55"/>
                </a:cubicBezTo>
                <a:cubicBezTo>
                  <a:pt x="80" y="55"/>
                  <a:pt x="80" y="55"/>
                  <a:pt x="80" y="55"/>
                </a:cubicBezTo>
                <a:cubicBezTo>
                  <a:pt x="80" y="55"/>
                  <a:pt x="80" y="55"/>
                  <a:pt x="80" y="55"/>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67" name="Freeform 3124">
            <a:extLst>
              <a:ext uri="{FF2B5EF4-FFF2-40B4-BE49-F238E27FC236}">
                <a16:creationId xmlns:a16="http://schemas.microsoft.com/office/drawing/2014/main" id="{AD205BB7-877E-43ED-A1A0-2F4B1441C08B}"/>
              </a:ext>
            </a:extLst>
          </p:cNvPr>
          <p:cNvSpPr>
            <a:spLocks/>
          </p:cNvSpPr>
          <p:nvPr/>
        </p:nvSpPr>
        <p:spPr bwMode="auto">
          <a:xfrm>
            <a:off x="3592234" y="2851572"/>
            <a:ext cx="64423" cy="47488"/>
          </a:xfrm>
          <a:custGeom>
            <a:avLst/>
            <a:gdLst>
              <a:gd name="T0" fmla="*/ 2 w 55"/>
              <a:gd name="T1" fmla="*/ 14 h 34"/>
              <a:gd name="T2" fmla="*/ 10 w 55"/>
              <a:gd name="T3" fmla="*/ 17 h 34"/>
              <a:gd name="T4" fmla="*/ 11 w 55"/>
              <a:gd name="T5" fmla="*/ 18 h 34"/>
              <a:gd name="T6" fmla="*/ 12 w 55"/>
              <a:gd name="T7" fmla="*/ 17 h 34"/>
              <a:gd name="T8" fmla="*/ 16 w 55"/>
              <a:gd name="T9" fmla="*/ 18 h 34"/>
              <a:gd name="T10" fmla="*/ 20 w 55"/>
              <a:gd name="T11" fmla="*/ 22 h 34"/>
              <a:gd name="T12" fmla="*/ 19 w 55"/>
              <a:gd name="T13" fmla="*/ 23 h 34"/>
              <a:gd name="T14" fmla="*/ 19 w 55"/>
              <a:gd name="T15" fmla="*/ 24 h 34"/>
              <a:gd name="T16" fmla="*/ 20 w 55"/>
              <a:gd name="T17" fmla="*/ 28 h 34"/>
              <a:gd name="T18" fmla="*/ 22 w 55"/>
              <a:gd name="T19" fmla="*/ 28 h 34"/>
              <a:gd name="T20" fmla="*/ 23 w 55"/>
              <a:gd name="T21" fmla="*/ 29 h 34"/>
              <a:gd name="T22" fmla="*/ 25 w 55"/>
              <a:gd name="T23" fmla="*/ 31 h 34"/>
              <a:gd name="T24" fmla="*/ 26 w 55"/>
              <a:gd name="T25" fmla="*/ 32 h 34"/>
              <a:gd name="T26" fmla="*/ 26 w 55"/>
              <a:gd name="T27" fmla="*/ 33 h 34"/>
              <a:gd name="T28" fmla="*/ 28 w 55"/>
              <a:gd name="T29" fmla="*/ 33 h 34"/>
              <a:gd name="T30" fmla="*/ 33 w 55"/>
              <a:gd name="T31" fmla="*/ 34 h 34"/>
              <a:gd name="T32" fmla="*/ 37 w 55"/>
              <a:gd name="T33" fmla="*/ 33 h 34"/>
              <a:gd name="T34" fmla="*/ 37 w 55"/>
              <a:gd name="T35" fmla="*/ 33 h 34"/>
              <a:gd name="T36" fmla="*/ 38 w 55"/>
              <a:gd name="T37" fmla="*/ 31 h 34"/>
              <a:gd name="T38" fmla="*/ 38 w 55"/>
              <a:gd name="T39" fmla="*/ 31 h 34"/>
              <a:gd name="T40" fmla="*/ 40 w 55"/>
              <a:gd name="T41" fmla="*/ 30 h 34"/>
              <a:gd name="T42" fmla="*/ 41 w 55"/>
              <a:gd name="T43" fmla="*/ 30 h 34"/>
              <a:gd name="T44" fmla="*/ 44 w 55"/>
              <a:gd name="T45" fmla="*/ 29 h 34"/>
              <a:gd name="T46" fmla="*/ 46 w 55"/>
              <a:gd name="T47" fmla="*/ 25 h 34"/>
              <a:gd name="T48" fmla="*/ 50 w 55"/>
              <a:gd name="T49" fmla="*/ 19 h 34"/>
              <a:gd name="T50" fmla="*/ 51 w 55"/>
              <a:gd name="T51" fmla="*/ 17 h 34"/>
              <a:gd name="T52" fmla="*/ 55 w 55"/>
              <a:gd name="T53" fmla="*/ 16 h 34"/>
              <a:gd name="T54" fmla="*/ 55 w 55"/>
              <a:gd name="T55" fmla="*/ 12 h 34"/>
              <a:gd name="T56" fmla="*/ 53 w 55"/>
              <a:gd name="T57" fmla="*/ 10 h 34"/>
              <a:gd name="T58" fmla="*/ 51 w 55"/>
              <a:gd name="T59" fmla="*/ 8 h 34"/>
              <a:gd name="T60" fmla="*/ 47 w 55"/>
              <a:gd name="T61" fmla="*/ 5 h 34"/>
              <a:gd name="T62" fmla="*/ 45 w 55"/>
              <a:gd name="T63" fmla="*/ 4 h 34"/>
              <a:gd name="T64" fmla="*/ 43 w 55"/>
              <a:gd name="T65" fmla="*/ 4 h 34"/>
              <a:gd name="T66" fmla="*/ 39 w 55"/>
              <a:gd name="T67" fmla="*/ 0 h 34"/>
              <a:gd name="T68" fmla="*/ 37 w 55"/>
              <a:gd name="T69" fmla="*/ 1 h 34"/>
              <a:gd name="T70" fmla="*/ 36 w 55"/>
              <a:gd name="T71" fmla="*/ 2 h 34"/>
              <a:gd name="T72" fmla="*/ 32 w 55"/>
              <a:gd name="T73" fmla="*/ 2 h 34"/>
              <a:gd name="T74" fmla="*/ 28 w 55"/>
              <a:gd name="T75" fmla="*/ 1 h 34"/>
              <a:gd name="T76" fmla="*/ 27 w 55"/>
              <a:gd name="T77" fmla="*/ 1 h 34"/>
              <a:gd name="T78" fmla="*/ 23 w 55"/>
              <a:gd name="T79" fmla="*/ 1 h 34"/>
              <a:gd name="T80" fmla="*/ 22 w 55"/>
              <a:gd name="T81" fmla="*/ 2 h 34"/>
              <a:gd name="T82" fmla="*/ 19 w 55"/>
              <a:gd name="T83" fmla="*/ 1 h 34"/>
              <a:gd name="T84" fmla="*/ 15 w 55"/>
              <a:gd name="T85" fmla="*/ 1 h 34"/>
              <a:gd name="T86" fmla="*/ 12 w 55"/>
              <a:gd name="T87" fmla="*/ 1 h 34"/>
              <a:gd name="T88" fmla="*/ 4 w 55"/>
              <a:gd name="T89" fmla="*/ 3 h 34"/>
              <a:gd name="T90" fmla="*/ 2 w 55"/>
              <a:gd name="T91" fmla="*/ 4 h 34"/>
              <a:gd name="T92" fmla="*/ 0 w 55"/>
              <a:gd name="T93"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 h="34">
                <a:moveTo>
                  <a:pt x="1" y="12"/>
                </a:moveTo>
                <a:cubicBezTo>
                  <a:pt x="2" y="13"/>
                  <a:pt x="2" y="14"/>
                  <a:pt x="2" y="15"/>
                </a:cubicBezTo>
                <a:cubicBezTo>
                  <a:pt x="2" y="14"/>
                  <a:pt x="2" y="14"/>
                  <a:pt x="2" y="14"/>
                </a:cubicBezTo>
                <a:cubicBezTo>
                  <a:pt x="3" y="15"/>
                  <a:pt x="3" y="15"/>
                  <a:pt x="3" y="15"/>
                </a:cubicBezTo>
                <a:cubicBezTo>
                  <a:pt x="3" y="15"/>
                  <a:pt x="3" y="15"/>
                  <a:pt x="3" y="15"/>
                </a:cubicBezTo>
                <a:cubicBezTo>
                  <a:pt x="5" y="16"/>
                  <a:pt x="8" y="17"/>
                  <a:pt x="10" y="17"/>
                </a:cubicBezTo>
                <a:cubicBezTo>
                  <a:pt x="10" y="18"/>
                  <a:pt x="10" y="18"/>
                  <a:pt x="10" y="18"/>
                </a:cubicBezTo>
                <a:cubicBezTo>
                  <a:pt x="11" y="18"/>
                  <a:pt x="11" y="18"/>
                  <a:pt x="11" y="18"/>
                </a:cubicBezTo>
                <a:cubicBezTo>
                  <a:pt x="11" y="18"/>
                  <a:pt x="11" y="18"/>
                  <a:pt x="11" y="18"/>
                </a:cubicBezTo>
                <a:cubicBezTo>
                  <a:pt x="11" y="18"/>
                  <a:pt x="11" y="18"/>
                  <a:pt x="11" y="18"/>
                </a:cubicBezTo>
                <a:cubicBezTo>
                  <a:pt x="11" y="18"/>
                  <a:pt x="12" y="18"/>
                  <a:pt x="12" y="17"/>
                </a:cubicBezTo>
                <a:cubicBezTo>
                  <a:pt x="12" y="17"/>
                  <a:pt x="12" y="17"/>
                  <a:pt x="12" y="17"/>
                </a:cubicBezTo>
                <a:cubicBezTo>
                  <a:pt x="13" y="17"/>
                  <a:pt x="13" y="17"/>
                  <a:pt x="14" y="17"/>
                </a:cubicBezTo>
                <a:cubicBezTo>
                  <a:pt x="15" y="17"/>
                  <a:pt x="16" y="17"/>
                  <a:pt x="16" y="18"/>
                </a:cubicBezTo>
                <a:cubicBezTo>
                  <a:pt x="16" y="18"/>
                  <a:pt x="16" y="18"/>
                  <a:pt x="16" y="18"/>
                </a:cubicBezTo>
                <a:cubicBezTo>
                  <a:pt x="17" y="18"/>
                  <a:pt x="17" y="18"/>
                  <a:pt x="17" y="18"/>
                </a:cubicBezTo>
                <a:cubicBezTo>
                  <a:pt x="17" y="18"/>
                  <a:pt x="17" y="19"/>
                  <a:pt x="17" y="19"/>
                </a:cubicBezTo>
                <a:cubicBezTo>
                  <a:pt x="20" y="22"/>
                  <a:pt x="20" y="22"/>
                  <a:pt x="20" y="22"/>
                </a:cubicBezTo>
                <a:cubicBezTo>
                  <a:pt x="19" y="23"/>
                  <a:pt x="19" y="23"/>
                  <a:pt x="19" y="23"/>
                </a:cubicBezTo>
                <a:cubicBezTo>
                  <a:pt x="19" y="23"/>
                  <a:pt x="19" y="23"/>
                  <a:pt x="19" y="23"/>
                </a:cubicBezTo>
                <a:cubicBezTo>
                  <a:pt x="19" y="23"/>
                  <a:pt x="19" y="23"/>
                  <a:pt x="19" y="23"/>
                </a:cubicBezTo>
                <a:cubicBezTo>
                  <a:pt x="19" y="23"/>
                  <a:pt x="19" y="23"/>
                  <a:pt x="19" y="24"/>
                </a:cubicBezTo>
                <a:cubicBezTo>
                  <a:pt x="19" y="24"/>
                  <a:pt x="19" y="24"/>
                  <a:pt x="19" y="24"/>
                </a:cubicBezTo>
                <a:cubicBezTo>
                  <a:pt x="19" y="24"/>
                  <a:pt x="19" y="24"/>
                  <a:pt x="19" y="24"/>
                </a:cubicBezTo>
                <a:cubicBezTo>
                  <a:pt x="19" y="27"/>
                  <a:pt x="19" y="27"/>
                  <a:pt x="19" y="27"/>
                </a:cubicBezTo>
                <a:cubicBezTo>
                  <a:pt x="19" y="27"/>
                  <a:pt x="19" y="27"/>
                  <a:pt x="19" y="27"/>
                </a:cubicBezTo>
                <a:cubicBezTo>
                  <a:pt x="20" y="27"/>
                  <a:pt x="20" y="27"/>
                  <a:pt x="20" y="28"/>
                </a:cubicBezTo>
                <a:cubicBezTo>
                  <a:pt x="20" y="28"/>
                  <a:pt x="21" y="28"/>
                  <a:pt x="21" y="28"/>
                </a:cubicBezTo>
                <a:cubicBezTo>
                  <a:pt x="21" y="28"/>
                  <a:pt x="21" y="28"/>
                  <a:pt x="21" y="28"/>
                </a:cubicBezTo>
                <a:cubicBezTo>
                  <a:pt x="22" y="28"/>
                  <a:pt x="22" y="28"/>
                  <a:pt x="22" y="28"/>
                </a:cubicBezTo>
                <a:cubicBezTo>
                  <a:pt x="22" y="28"/>
                  <a:pt x="22" y="28"/>
                  <a:pt x="22" y="28"/>
                </a:cubicBezTo>
                <a:cubicBezTo>
                  <a:pt x="22" y="28"/>
                  <a:pt x="22" y="29"/>
                  <a:pt x="23" y="29"/>
                </a:cubicBezTo>
                <a:cubicBezTo>
                  <a:pt x="23" y="29"/>
                  <a:pt x="23" y="29"/>
                  <a:pt x="23" y="29"/>
                </a:cubicBezTo>
                <a:cubicBezTo>
                  <a:pt x="23" y="29"/>
                  <a:pt x="24" y="30"/>
                  <a:pt x="24" y="30"/>
                </a:cubicBezTo>
                <a:cubicBezTo>
                  <a:pt x="24" y="30"/>
                  <a:pt x="24" y="30"/>
                  <a:pt x="24" y="30"/>
                </a:cubicBezTo>
                <a:cubicBezTo>
                  <a:pt x="24" y="30"/>
                  <a:pt x="25" y="31"/>
                  <a:pt x="25" y="31"/>
                </a:cubicBezTo>
                <a:cubicBezTo>
                  <a:pt x="25" y="31"/>
                  <a:pt x="25" y="31"/>
                  <a:pt x="25" y="31"/>
                </a:cubicBezTo>
                <a:cubicBezTo>
                  <a:pt x="25" y="32"/>
                  <a:pt x="25" y="32"/>
                  <a:pt x="25" y="32"/>
                </a:cubicBezTo>
                <a:cubicBezTo>
                  <a:pt x="25" y="32"/>
                  <a:pt x="25" y="32"/>
                  <a:pt x="26" y="32"/>
                </a:cubicBezTo>
                <a:cubicBezTo>
                  <a:pt x="26" y="33"/>
                  <a:pt x="26" y="33"/>
                  <a:pt x="26" y="33"/>
                </a:cubicBezTo>
                <a:cubicBezTo>
                  <a:pt x="26" y="33"/>
                  <a:pt x="26" y="33"/>
                  <a:pt x="26" y="33"/>
                </a:cubicBezTo>
                <a:cubicBezTo>
                  <a:pt x="26" y="33"/>
                  <a:pt x="26" y="33"/>
                  <a:pt x="26" y="33"/>
                </a:cubicBezTo>
                <a:cubicBezTo>
                  <a:pt x="26" y="33"/>
                  <a:pt x="27" y="33"/>
                  <a:pt x="27" y="33"/>
                </a:cubicBezTo>
                <a:cubicBezTo>
                  <a:pt x="27" y="33"/>
                  <a:pt x="27" y="33"/>
                  <a:pt x="27" y="33"/>
                </a:cubicBezTo>
                <a:cubicBezTo>
                  <a:pt x="28" y="33"/>
                  <a:pt x="28" y="33"/>
                  <a:pt x="28" y="33"/>
                </a:cubicBezTo>
                <a:cubicBezTo>
                  <a:pt x="30" y="33"/>
                  <a:pt x="31" y="33"/>
                  <a:pt x="32" y="33"/>
                </a:cubicBezTo>
                <a:cubicBezTo>
                  <a:pt x="33" y="34"/>
                  <a:pt x="33" y="34"/>
                  <a:pt x="33" y="34"/>
                </a:cubicBezTo>
                <a:cubicBezTo>
                  <a:pt x="33" y="34"/>
                  <a:pt x="33" y="34"/>
                  <a:pt x="33" y="34"/>
                </a:cubicBezTo>
                <a:cubicBezTo>
                  <a:pt x="34" y="34"/>
                  <a:pt x="34" y="34"/>
                  <a:pt x="34" y="34"/>
                </a:cubicBezTo>
                <a:cubicBezTo>
                  <a:pt x="34" y="34"/>
                  <a:pt x="35" y="34"/>
                  <a:pt x="36" y="33"/>
                </a:cubicBezTo>
                <a:cubicBezTo>
                  <a:pt x="36" y="33"/>
                  <a:pt x="37" y="33"/>
                  <a:pt x="37" y="33"/>
                </a:cubicBezTo>
                <a:cubicBezTo>
                  <a:pt x="37" y="33"/>
                  <a:pt x="37" y="33"/>
                  <a:pt x="37" y="33"/>
                </a:cubicBezTo>
                <a:cubicBezTo>
                  <a:pt x="37" y="33"/>
                  <a:pt x="37" y="33"/>
                  <a:pt x="37" y="33"/>
                </a:cubicBezTo>
                <a:cubicBezTo>
                  <a:pt x="37" y="33"/>
                  <a:pt x="37" y="33"/>
                  <a:pt x="37" y="33"/>
                </a:cubicBezTo>
                <a:cubicBezTo>
                  <a:pt x="37" y="33"/>
                  <a:pt x="37" y="32"/>
                  <a:pt x="37" y="32"/>
                </a:cubicBezTo>
                <a:cubicBezTo>
                  <a:pt x="37" y="32"/>
                  <a:pt x="37" y="32"/>
                  <a:pt x="37" y="32"/>
                </a:cubicBezTo>
                <a:cubicBezTo>
                  <a:pt x="37" y="31"/>
                  <a:pt x="38" y="31"/>
                  <a:pt x="38" y="31"/>
                </a:cubicBezTo>
                <a:cubicBezTo>
                  <a:pt x="38" y="31"/>
                  <a:pt x="38" y="31"/>
                  <a:pt x="38" y="31"/>
                </a:cubicBezTo>
                <a:cubicBezTo>
                  <a:pt x="38" y="31"/>
                  <a:pt x="38" y="31"/>
                  <a:pt x="38" y="31"/>
                </a:cubicBezTo>
                <a:cubicBezTo>
                  <a:pt x="38" y="31"/>
                  <a:pt x="38" y="31"/>
                  <a:pt x="38" y="31"/>
                </a:cubicBezTo>
                <a:cubicBezTo>
                  <a:pt x="38" y="31"/>
                  <a:pt x="38" y="30"/>
                  <a:pt x="38" y="30"/>
                </a:cubicBezTo>
                <a:cubicBezTo>
                  <a:pt x="39" y="30"/>
                  <a:pt x="39" y="30"/>
                  <a:pt x="39" y="30"/>
                </a:cubicBezTo>
                <a:cubicBezTo>
                  <a:pt x="39" y="30"/>
                  <a:pt x="40" y="30"/>
                  <a:pt x="40" y="30"/>
                </a:cubicBezTo>
                <a:cubicBezTo>
                  <a:pt x="40" y="30"/>
                  <a:pt x="40" y="30"/>
                  <a:pt x="40" y="30"/>
                </a:cubicBezTo>
                <a:cubicBezTo>
                  <a:pt x="41" y="30"/>
                  <a:pt x="41" y="30"/>
                  <a:pt x="41" y="30"/>
                </a:cubicBezTo>
                <a:cubicBezTo>
                  <a:pt x="41" y="30"/>
                  <a:pt x="41" y="30"/>
                  <a:pt x="41" y="30"/>
                </a:cubicBezTo>
                <a:cubicBezTo>
                  <a:pt x="41" y="30"/>
                  <a:pt x="42" y="30"/>
                  <a:pt x="42" y="30"/>
                </a:cubicBezTo>
                <a:cubicBezTo>
                  <a:pt x="42" y="30"/>
                  <a:pt x="42" y="30"/>
                  <a:pt x="42" y="30"/>
                </a:cubicBezTo>
                <a:cubicBezTo>
                  <a:pt x="43" y="29"/>
                  <a:pt x="43" y="29"/>
                  <a:pt x="44" y="29"/>
                </a:cubicBezTo>
                <a:cubicBezTo>
                  <a:pt x="44" y="29"/>
                  <a:pt x="44" y="29"/>
                  <a:pt x="44" y="29"/>
                </a:cubicBezTo>
                <a:cubicBezTo>
                  <a:pt x="44" y="29"/>
                  <a:pt x="45" y="28"/>
                  <a:pt x="45" y="28"/>
                </a:cubicBezTo>
                <a:cubicBezTo>
                  <a:pt x="45" y="27"/>
                  <a:pt x="45" y="26"/>
                  <a:pt x="46" y="25"/>
                </a:cubicBezTo>
                <a:cubicBezTo>
                  <a:pt x="47" y="23"/>
                  <a:pt x="47" y="23"/>
                  <a:pt x="47" y="23"/>
                </a:cubicBezTo>
                <a:cubicBezTo>
                  <a:pt x="47" y="21"/>
                  <a:pt x="48" y="21"/>
                  <a:pt x="49" y="20"/>
                </a:cubicBezTo>
                <a:cubicBezTo>
                  <a:pt x="49" y="20"/>
                  <a:pt x="49" y="20"/>
                  <a:pt x="50" y="19"/>
                </a:cubicBezTo>
                <a:cubicBezTo>
                  <a:pt x="50" y="19"/>
                  <a:pt x="50" y="19"/>
                  <a:pt x="50" y="19"/>
                </a:cubicBezTo>
                <a:cubicBezTo>
                  <a:pt x="51" y="19"/>
                  <a:pt x="51" y="19"/>
                  <a:pt x="51" y="19"/>
                </a:cubicBezTo>
                <a:cubicBezTo>
                  <a:pt x="51" y="17"/>
                  <a:pt x="51" y="17"/>
                  <a:pt x="51" y="17"/>
                </a:cubicBezTo>
                <a:cubicBezTo>
                  <a:pt x="52" y="18"/>
                  <a:pt x="52" y="18"/>
                  <a:pt x="52" y="18"/>
                </a:cubicBezTo>
                <a:cubicBezTo>
                  <a:pt x="53" y="18"/>
                  <a:pt x="54" y="17"/>
                  <a:pt x="55" y="16"/>
                </a:cubicBezTo>
                <a:cubicBezTo>
                  <a:pt x="55" y="16"/>
                  <a:pt x="55" y="16"/>
                  <a:pt x="55" y="16"/>
                </a:cubicBezTo>
                <a:cubicBezTo>
                  <a:pt x="55" y="16"/>
                  <a:pt x="55" y="16"/>
                  <a:pt x="54" y="16"/>
                </a:cubicBezTo>
                <a:cubicBezTo>
                  <a:pt x="54" y="15"/>
                  <a:pt x="54" y="13"/>
                  <a:pt x="55" y="13"/>
                </a:cubicBezTo>
                <a:cubicBezTo>
                  <a:pt x="55" y="12"/>
                  <a:pt x="55" y="12"/>
                  <a:pt x="55" y="12"/>
                </a:cubicBezTo>
                <a:cubicBezTo>
                  <a:pt x="55" y="11"/>
                  <a:pt x="55" y="11"/>
                  <a:pt x="55" y="11"/>
                </a:cubicBezTo>
                <a:cubicBezTo>
                  <a:pt x="55" y="11"/>
                  <a:pt x="55" y="11"/>
                  <a:pt x="55" y="11"/>
                </a:cubicBezTo>
                <a:cubicBezTo>
                  <a:pt x="54" y="11"/>
                  <a:pt x="54" y="10"/>
                  <a:pt x="53" y="10"/>
                </a:cubicBezTo>
                <a:cubicBezTo>
                  <a:pt x="53" y="9"/>
                  <a:pt x="53" y="9"/>
                  <a:pt x="53" y="9"/>
                </a:cubicBezTo>
                <a:cubicBezTo>
                  <a:pt x="52" y="9"/>
                  <a:pt x="52" y="9"/>
                  <a:pt x="52" y="8"/>
                </a:cubicBezTo>
                <a:cubicBezTo>
                  <a:pt x="51" y="8"/>
                  <a:pt x="51" y="8"/>
                  <a:pt x="51" y="8"/>
                </a:cubicBezTo>
                <a:cubicBezTo>
                  <a:pt x="50" y="7"/>
                  <a:pt x="50" y="7"/>
                  <a:pt x="49" y="7"/>
                </a:cubicBezTo>
                <a:cubicBezTo>
                  <a:pt x="49" y="6"/>
                  <a:pt x="49" y="6"/>
                  <a:pt x="48" y="6"/>
                </a:cubicBezTo>
                <a:cubicBezTo>
                  <a:pt x="48" y="6"/>
                  <a:pt x="48" y="5"/>
                  <a:pt x="47" y="5"/>
                </a:cubicBezTo>
                <a:cubicBezTo>
                  <a:pt x="47" y="5"/>
                  <a:pt x="46" y="4"/>
                  <a:pt x="46" y="4"/>
                </a:cubicBezTo>
                <a:cubicBezTo>
                  <a:pt x="46" y="4"/>
                  <a:pt x="46" y="4"/>
                  <a:pt x="45" y="4"/>
                </a:cubicBezTo>
                <a:cubicBezTo>
                  <a:pt x="45" y="4"/>
                  <a:pt x="45" y="4"/>
                  <a:pt x="45" y="4"/>
                </a:cubicBezTo>
                <a:cubicBezTo>
                  <a:pt x="45" y="4"/>
                  <a:pt x="45" y="4"/>
                  <a:pt x="45" y="4"/>
                </a:cubicBezTo>
                <a:cubicBezTo>
                  <a:pt x="44" y="4"/>
                  <a:pt x="44" y="4"/>
                  <a:pt x="43" y="4"/>
                </a:cubicBezTo>
                <a:cubicBezTo>
                  <a:pt x="43" y="4"/>
                  <a:pt x="43" y="4"/>
                  <a:pt x="43" y="4"/>
                </a:cubicBezTo>
                <a:cubicBezTo>
                  <a:pt x="41" y="4"/>
                  <a:pt x="40" y="3"/>
                  <a:pt x="39" y="2"/>
                </a:cubicBezTo>
                <a:cubicBezTo>
                  <a:pt x="39" y="1"/>
                  <a:pt x="39" y="1"/>
                  <a:pt x="39" y="1"/>
                </a:cubicBezTo>
                <a:cubicBezTo>
                  <a:pt x="39" y="1"/>
                  <a:pt x="39" y="0"/>
                  <a:pt x="39" y="0"/>
                </a:cubicBezTo>
                <a:cubicBezTo>
                  <a:pt x="39" y="0"/>
                  <a:pt x="38" y="0"/>
                  <a:pt x="38" y="1"/>
                </a:cubicBezTo>
                <a:cubicBezTo>
                  <a:pt x="38" y="1"/>
                  <a:pt x="38" y="1"/>
                  <a:pt x="37" y="1"/>
                </a:cubicBezTo>
                <a:cubicBezTo>
                  <a:pt x="37" y="1"/>
                  <a:pt x="37" y="1"/>
                  <a:pt x="37" y="1"/>
                </a:cubicBezTo>
                <a:cubicBezTo>
                  <a:pt x="37" y="2"/>
                  <a:pt x="37" y="2"/>
                  <a:pt x="37" y="2"/>
                </a:cubicBezTo>
                <a:cubicBezTo>
                  <a:pt x="36" y="2"/>
                  <a:pt x="36" y="2"/>
                  <a:pt x="36" y="2"/>
                </a:cubicBezTo>
                <a:cubicBezTo>
                  <a:pt x="36" y="2"/>
                  <a:pt x="36" y="2"/>
                  <a:pt x="36" y="2"/>
                </a:cubicBezTo>
                <a:cubicBezTo>
                  <a:pt x="35" y="2"/>
                  <a:pt x="35" y="2"/>
                  <a:pt x="34" y="2"/>
                </a:cubicBezTo>
                <a:cubicBezTo>
                  <a:pt x="34" y="2"/>
                  <a:pt x="34" y="2"/>
                  <a:pt x="33" y="2"/>
                </a:cubicBezTo>
                <a:cubicBezTo>
                  <a:pt x="33" y="2"/>
                  <a:pt x="32" y="2"/>
                  <a:pt x="32" y="2"/>
                </a:cubicBezTo>
                <a:cubicBezTo>
                  <a:pt x="31" y="3"/>
                  <a:pt x="31" y="2"/>
                  <a:pt x="30" y="2"/>
                </a:cubicBezTo>
                <a:cubicBezTo>
                  <a:pt x="29" y="2"/>
                  <a:pt x="29" y="2"/>
                  <a:pt x="28" y="2"/>
                </a:cubicBezTo>
                <a:cubicBezTo>
                  <a:pt x="28" y="1"/>
                  <a:pt x="28" y="1"/>
                  <a:pt x="28" y="1"/>
                </a:cubicBezTo>
                <a:cubicBezTo>
                  <a:pt x="28" y="3"/>
                  <a:pt x="28" y="3"/>
                  <a:pt x="28" y="3"/>
                </a:cubicBezTo>
                <a:cubicBezTo>
                  <a:pt x="28" y="1"/>
                  <a:pt x="28" y="1"/>
                  <a:pt x="28" y="1"/>
                </a:cubicBezTo>
                <a:cubicBezTo>
                  <a:pt x="27" y="1"/>
                  <a:pt x="27" y="1"/>
                  <a:pt x="27" y="1"/>
                </a:cubicBezTo>
                <a:cubicBezTo>
                  <a:pt x="27" y="1"/>
                  <a:pt x="27" y="1"/>
                  <a:pt x="26" y="1"/>
                </a:cubicBezTo>
                <a:cubicBezTo>
                  <a:pt x="25" y="1"/>
                  <a:pt x="25" y="1"/>
                  <a:pt x="25" y="1"/>
                </a:cubicBezTo>
                <a:cubicBezTo>
                  <a:pt x="24" y="1"/>
                  <a:pt x="23" y="1"/>
                  <a:pt x="23" y="1"/>
                </a:cubicBezTo>
                <a:cubicBezTo>
                  <a:pt x="22" y="1"/>
                  <a:pt x="22" y="1"/>
                  <a:pt x="22" y="1"/>
                </a:cubicBezTo>
                <a:cubicBezTo>
                  <a:pt x="22" y="1"/>
                  <a:pt x="22" y="1"/>
                  <a:pt x="22" y="1"/>
                </a:cubicBezTo>
                <a:cubicBezTo>
                  <a:pt x="22" y="2"/>
                  <a:pt x="22" y="2"/>
                  <a:pt x="22" y="2"/>
                </a:cubicBezTo>
                <a:cubicBezTo>
                  <a:pt x="20" y="2"/>
                  <a:pt x="19" y="1"/>
                  <a:pt x="19" y="1"/>
                </a:cubicBezTo>
                <a:cubicBezTo>
                  <a:pt x="19" y="1"/>
                  <a:pt x="19" y="1"/>
                  <a:pt x="19" y="1"/>
                </a:cubicBezTo>
                <a:cubicBezTo>
                  <a:pt x="19" y="1"/>
                  <a:pt x="19" y="1"/>
                  <a:pt x="19" y="1"/>
                </a:cubicBezTo>
                <a:cubicBezTo>
                  <a:pt x="18" y="1"/>
                  <a:pt x="18" y="1"/>
                  <a:pt x="18" y="1"/>
                </a:cubicBezTo>
                <a:cubicBezTo>
                  <a:pt x="17" y="1"/>
                  <a:pt x="16" y="1"/>
                  <a:pt x="16" y="1"/>
                </a:cubicBezTo>
                <a:cubicBezTo>
                  <a:pt x="16" y="1"/>
                  <a:pt x="16" y="1"/>
                  <a:pt x="15" y="1"/>
                </a:cubicBezTo>
                <a:cubicBezTo>
                  <a:pt x="15" y="1"/>
                  <a:pt x="15" y="1"/>
                  <a:pt x="15" y="1"/>
                </a:cubicBezTo>
                <a:cubicBezTo>
                  <a:pt x="14" y="1"/>
                  <a:pt x="13" y="1"/>
                  <a:pt x="13" y="1"/>
                </a:cubicBezTo>
                <a:cubicBezTo>
                  <a:pt x="12" y="1"/>
                  <a:pt x="12" y="1"/>
                  <a:pt x="12" y="1"/>
                </a:cubicBezTo>
                <a:cubicBezTo>
                  <a:pt x="12" y="1"/>
                  <a:pt x="12" y="1"/>
                  <a:pt x="12" y="1"/>
                </a:cubicBezTo>
                <a:cubicBezTo>
                  <a:pt x="10" y="1"/>
                  <a:pt x="7" y="1"/>
                  <a:pt x="5" y="2"/>
                </a:cubicBezTo>
                <a:cubicBezTo>
                  <a:pt x="5" y="3"/>
                  <a:pt x="4" y="3"/>
                  <a:pt x="4" y="3"/>
                </a:cubicBezTo>
                <a:cubicBezTo>
                  <a:pt x="3" y="3"/>
                  <a:pt x="3" y="3"/>
                  <a:pt x="3" y="3"/>
                </a:cubicBezTo>
                <a:cubicBezTo>
                  <a:pt x="3" y="4"/>
                  <a:pt x="3" y="4"/>
                  <a:pt x="3" y="4"/>
                </a:cubicBezTo>
                <a:cubicBezTo>
                  <a:pt x="3" y="4"/>
                  <a:pt x="2" y="4"/>
                  <a:pt x="2" y="4"/>
                </a:cubicBezTo>
                <a:cubicBezTo>
                  <a:pt x="2" y="5"/>
                  <a:pt x="1" y="5"/>
                  <a:pt x="1" y="5"/>
                </a:cubicBezTo>
                <a:cubicBezTo>
                  <a:pt x="0" y="6"/>
                  <a:pt x="0" y="6"/>
                  <a:pt x="0" y="6"/>
                </a:cubicBezTo>
                <a:cubicBezTo>
                  <a:pt x="0" y="5"/>
                  <a:pt x="0" y="5"/>
                  <a:pt x="0" y="5"/>
                </a:cubicBezTo>
                <a:cubicBezTo>
                  <a:pt x="0" y="6"/>
                  <a:pt x="0" y="6"/>
                  <a:pt x="0" y="7"/>
                </a:cubicBezTo>
                <a:cubicBezTo>
                  <a:pt x="0" y="9"/>
                  <a:pt x="1" y="10"/>
                  <a:pt x="1" y="12"/>
                </a:cubicBezTo>
                <a:close/>
              </a:path>
            </a:pathLst>
          </a:custGeom>
          <a:solidFill>
            <a:srgbClr val="00A5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68" name="Freeform 3125">
            <a:extLst>
              <a:ext uri="{FF2B5EF4-FFF2-40B4-BE49-F238E27FC236}">
                <a16:creationId xmlns:a16="http://schemas.microsoft.com/office/drawing/2014/main" id="{B73DD0F8-BE5A-4929-AE0B-1D2FAADA4092}"/>
              </a:ext>
            </a:extLst>
          </p:cNvPr>
          <p:cNvSpPr>
            <a:spLocks/>
          </p:cNvSpPr>
          <p:nvPr/>
        </p:nvSpPr>
        <p:spPr bwMode="auto">
          <a:xfrm>
            <a:off x="3575881" y="2871160"/>
            <a:ext cx="36671" cy="19589"/>
          </a:xfrm>
          <a:custGeom>
            <a:avLst/>
            <a:gdLst>
              <a:gd name="T0" fmla="*/ 1 w 31"/>
              <a:gd name="T1" fmla="*/ 12 h 14"/>
              <a:gd name="T2" fmla="*/ 3 w 31"/>
              <a:gd name="T3" fmla="*/ 10 h 14"/>
              <a:gd name="T4" fmla="*/ 4 w 31"/>
              <a:gd name="T5" fmla="*/ 10 h 14"/>
              <a:gd name="T6" fmla="*/ 5 w 31"/>
              <a:gd name="T7" fmla="*/ 10 h 14"/>
              <a:gd name="T8" fmla="*/ 7 w 31"/>
              <a:gd name="T9" fmla="*/ 10 h 14"/>
              <a:gd name="T10" fmla="*/ 3 w 31"/>
              <a:gd name="T11" fmla="*/ 13 h 14"/>
              <a:gd name="T12" fmla="*/ 30 w 31"/>
              <a:gd name="T13" fmla="*/ 13 h 14"/>
              <a:gd name="T14" fmla="*/ 30 w 31"/>
              <a:gd name="T15" fmla="*/ 10 h 14"/>
              <a:gd name="T16" fmla="*/ 31 w 31"/>
              <a:gd name="T17" fmla="*/ 8 h 14"/>
              <a:gd name="T18" fmla="*/ 30 w 31"/>
              <a:gd name="T19" fmla="*/ 7 h 14"/>
              <a:gd name="T20" fmla="*/ 29 w 31"/>
              <a:gd name="T21" fmla="*/ 7 h 14"/>
              <a:gd name="T22" fmla="*/ 29 w 31"/>
              <a:gd name="T23" fmla="*/ 7 h 14"/>
              <a:gd name="T24" fmla="*/ 29 w 31"/>
              <a:gd name="T25" fmla="*/ 6 h 14"/>
              <a:gd name="T26" fmla="*/ 29 w 31"/>
              <a:gd name="T27" fmla="*/ 6 h 14"/>
              <a:gd name="T28" fmla="*/ 28 w 31"/>
              <a:gd name="T29" fmla="*/ 6 h 14"/>
              <a:gd name="T30" fmla="*/ 27 w 31"/>
              <a:gd name="T31" fmla="*/ 6 h 14"/>
              <a:gd name="T32" fmla="*/ 26 w 31"/>
              <a:gd name="T33" fmla="*/ 6 h 14"/>
              <a:gd name="T34" fmla="*/ 26 w 31"/>
              <a:gd name="T35" fmla="*/ 9 h 14"/>
              <a:gd name="T36" fmla="*/ 25 w 31"/>
              <a:gd name="T37" fmla="*/ 6 h 14"/>
              <a:gd name="T38" fmla="*/ 23 w 31"/>
              <a:gd name="T39" fmla="*/ 6 h 14"/>
              <a:gd name="T40" fmla="*/ 16 w 31"/>
              <a:gd name="T41" fmla="*/ 3 h 14"/>
              <a:gd name="T42" fmla="*/ 16 w 31"/>
              <a:gd name="T43" fmla="*/ 3 h 14"/>
              <a:gd name="T44" fmla="*/ 16 w 31"/>
              <a:gd name="T45" fmla="*/ 5 h 14"/>
              <a:gd name="T46" fmla="*/ 13 w 31"/>
              <a:gd name="T47" fmla="*/ 6 h 14"/>
              <a:gd name="T48" fmla="*/ 9 w 31"/>
              <a:gd name="T49" fmla="*/ 6 h 14"/>
              <a:gd name="T50" fmla="*/ 13 w 31"/>
              <a:gd name="T51" fmla="*/ 2 h 14"/>
              <a:gd name="T52" fmla="*/ 13 w 31"/>
              <a:gd name="T53" fmla="*/ 0 h 14"/>
              <a:gd name="T54" fmla="*/ 13 w 31"/>
              <a:gd name="T55" fmla="*/ 1 h 14"/>
              <a:gd name="T56" fmla="*/ 4 w 31"/>
              <a:gd name="T57" fmla="*/ 6 h 14"/>
              <a:gd name="T58" fmla="*/ 3 w 31"/>
              <a:gd name="T59" fmla="*/ 9 h 14"/>
              <a:gd name="T60" fmla="*/ 0 w 31"/>
              <a:gd name="T61" fmla="*/ 12 h 14"/>
              <a:gd name="T62" fmla="*/ 1 w 31"/>
              <a:gd name="T63"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 h="14">
                <a:moveTo>
                  <a:pt x="1" y="12"/>
                </a:moveTo>
                <a:cubicBezTo>
                  <a:pt x="1" y="12"/>
                  <a:pt x="2" y="10"/>
                  <a:pt x="3" y="10"/>
                </a:cubicBezTo>
                <a:cubicBezTo>
                  <a:pt x="4" y="9"/>
                  <a:pt x="4" y="10"/>
                  <a:pt x="4" y="10"/>
                </a:cubicBezTo>
                <a:cubicBezTo>
                  <a:pt x="4" y="10"/>
                  <a:pt x="5" y="10"/>
                  <a:pt x="5" y="10"/>
                </a:cubicBezTo>
                <a:cubicBezTo>
                  <a:pt x="6" y="10"/>
                  <a:pt x="7" y="10"/>
                  <a:pt x="7" y="10"/>
                </a:cubicBezTo>
                <a:cubicBezTo>
                  <a:pt x="6" y="11"/>
                  <a:pt x="4" y="12"/>
                  <a:pt x="3" y="13"/>
                </a:cubicBezTo>
                <a:cubicBezTo>
                  <a:pt x="13" y="14"/>
                  <a:pt x="22" y="14"/>
                  <a:pt x="30" y="13"/>
                </a:cubicBezTo>
                <a:cubicBezTo>
                  <a:pt x="30" y="10"/>
                  <a:pt x="30" y="10"/>
                  <a:pt x="30" y="10"/>
                </a:cubicBezTo>
                <a:cubicBezTo>
                  <a:pt x="30" y="9"/>
                  <a:pt x="30" y="9"/>
                  <a:pt x="31" y="8"/>
                </a:cubicBezTo>
                <a:cubicBezTo>
                  <a:pt x="30" y="7"/>
                  <a:pt x="30" y="7"/>
                  <a:pt x="30" y="7"/>
                </a:cubicBezTo>
                <a:cubicBezTo>
                  <a:pt x="29" y="7"/>
                  <a:pt x="29" y="7"/>
                  <a:pt x="29" y="7"/>
                </a:cubicBezTo>
                <a:cubicBezTo>
                  <a:pt x="29" y="7"/>
                  <a:pt x="29" y="7"/>
                  <a:pt x="29" y="7"/>
                </a:cubicBezTo>
                <a:cubicBezTo>
                  <a:pt x="29" y="6"/>
                  <a:pt x="29" y="6"/>
                  <a:pt x="29" y="6"/>
                </a:cubicBezTo>
                <a:cubicBezTo>
                  <a:pt x="29" y="6"/>
                  <a:pt x="29" y="6"/>
                  <a:pt x="29" y="6"/>
                </a:cubicBezTo>
                <a:cubicBezTo>
                  <a:pt x="29" y="6"/>
                  <a:pt x="28" y="6"/>
                  <a:pt x="28" y="6"/>
                </a:cubicBezTo>
                <a:cubicBezTo>
                  <a:pt x="28" y="6"/>
                  <a:pt x="27" y="6"/>
                  <a:pt x="27" y="6"/>
                </a:cubicBezTo>
                <a:cubicBezTo>
                  <a:pt x="26" y="6"/>
                  <a:pt x="26" y="6"/>
                  <a:pt x="26" y="6"/>
                </a:cubicBezTo>
                <a:cubicBezTo>
                  <a:pt x="26" y="9"/>
                  <a:pt x="26" y="9"/>
                  <a:pt x="26" y="9"/>
                </a:cubicBezTo>
                <a:cubicBezTo>
                  <a:pt x="25" y="6"/>
                  <a:pt x="25" y="6"/>
                  <a:pt x="25" y="6"/>
                </a:cubicBezTo>
                <a:cubicBezTo>
                  <a:pt x="24" y="6"/>
                  <a:pt x="23" y="6"/>
                  <a:pt x="23" y="6"/>
                </a:cubicBezTo>
                <a:cubicBezTo>
                  <a:pt x="21" y="5"/>
                  <a:pt x="18" y="4"/>
                  <a:pt x="16" y="3"/>
                </a:cubicBezTo>
                <a:cubicBezTo>
                  <a:pt x="16" y="3"/>
                  <a:pt x="16" y="3"/>
                  <a:pt x="16" y="3"/>
                </a:cubicBezTo>
                <a:cubicBezTo>
                  <a:pt x="16" y="4"/>
                  <a:pt x="16" y="4"/>
                  <a:pt x="16" y="5"/>
                </a:cubicBezTo>
                <a:cubicBezTo>
                  <a:pt x="16" y="5"/>
                  <a:pt x="14" y="6"/>
                  <a:pt x="13" y="6"/>
                </a:cubicBezTo>
                <a:cubicBezTo>
                  <a:pt x="12" y="7"/>
                  <a:pt x="10" y="7"/>
                  <a:pt x="9" y="6"/>
                </a:cubicBezTo>
                <a:cubicBezTo>
                  <a:pt x="10" y="4"/>
                  <a:pt x="12" y="3"/>
                  <a:pt x="13" y="2"/>
                </a:cubicBezTo>
                <a:cubicBezTo>
                  <a:pt x="13" y="1"/>
                  <a:pt x="13" y="1"/>
                  <a:pt x="13" y="0"/>
                </a:cubicBezTo>
                <a:cubicBezTo>
                  <a:pt x="13" y="1"/>
                  <a:pt x="13" y="1"/>
                  <a:pt x="13" y="1"/>
                </a:cubicBezTo>
                <a:cubicBezTo>
                  <a:pt x="10" y="3"/>
                  <a:pt x="7" y="6"/>
                  <a:pt x="4" y="6"/>
                </a:cubicBezTo>
                <a:cubicBezTo>
                  <a:pt x="2" y="6"/>
                  <a:pt x="3" y="8"/>
                  <a:pt x="3" y="9"/>
                </a:cubicBezTo>
                <a:cubicBezTo>
                  <a:pt x="2" y="10"/>
                  <a:pt x="1" y="11"/>
                  <a:pt x="0" y="12"/>
                </a:cubicBezTo>
                <a:lnTo>
                  <a:pt x="1" y="12"/>
                </a:lnTo>
                <a:close/>
              </a:path>
            </a:pathLst>
          </a:custGeom>
          <a:solidFill>
            <a:srgbClr val="00A5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69" name="Freeform 3126">
            <a:extLst>
              <a:ext uri="{FF2B5EF4-FFF2-40B4-BE49-F238E27FC236}">
                <a16:creationId xmlns:a16="http://schemas.microsoft.com/office/drawing/2014/main" id="{BBD9C6DE-3FB6-4AAD-9D58-B97A67FFCE64}"/>
              </a:ext>
            </a:extLst>
          </p:cNvPr>
          <p:cNvSpPr>
            <a:spLocks/>
          </p:cNvSpPr>
          <p:nvPr/>
        </p:nvSpPr>
        <p:spPr bwMode="auto">
          <a:xfrm>
            <a:off x="3612552" y="289074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70" name="Freeform 3127">
            <a:extLst>
              <a:ext uri="{FF2B5EF4-FFF2-40B4-BE49-F238E27FC236}">
                <a16:creationId xmlns:a16="http://schemas.microsoft.com/office/drawing/2014/main" id="{EFF1E6C5-9582-4DE8-8FA9-BD95BB3DEE0D}"/>
              </a:ext>
            </a:extLst>
          </p:cNvPr>
          <p:cNvSpPr>
            <a:spLocks/>
          </p:cNvSpPr>
          <p:nvPr/>
        </p:nvSpPr>
        <p:spPr bwMode="auto">
          <a:xfrm>
            <a:off x="3574890" y="2889562"/>
            <a:ext cx="991"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71" name="Freeform 3128">
            <a:extLst>
              <a:ext uri="{FF2B5EF4-FFF2-40B4-BE49-F238E27FC236}">
                <a16:creationId xmlns:a16="http://schemas.microsoft.com/office/drawing/2014/main" id="{33C0912A-8E84-401E-84CD-27E961F626D1}"/>
              </a:ext>
            </a:extLst>
          </p:cNvPr>
          <p:cNvSpPr>
            <a:spLocks/>
          </p:cNvSpPr>
          <p:nvPr/>
        </p:nvSpPr>
        <p:spPr bwMode="auto">
          <a:xfrm>
            <a:off x="3591243" y="2817737"/>
            <a:ext cx="85732" cy="46300"/>
          </a:xfrm>
          <a:custGeom>
            <a:avLst/>
            <a:gdLst>
              <a:gd name="T0" fmla="*/ 3 w 73"/>
              <a:gd name="T1" fmla="*/ 25 h 33"/>
              <a:gd name="T2" fmla="*/ 13 w 73"/>
              <a:gd name="T3" fmla="*/ 22 h 33"/>
              <a:gd name="T4" fmla="*/ 16 w 73"/>
              <a:gd name="T5" fmla="*/ 22 h 33"/>
              <a:gd name="T6" fmla="*/ 18 w 73"/>
              <a:gd name="T7" fmla="*/ 23 h 33"/>
              <a:gd name="T8" fmla="*/ 20 w 73"/>
              <a:gd name="T9" fmla="*/ 22 h 33"/>
              <a:gd name="T10" fmla="*/ 22 w 73"/>
              <a:gd name="T11" fmla="*/ 23 h 33"/>
              <a:gd name="T12" fmla="*/ 27 w 73"/>
              <a:gd name="T13" fmla="*/ 23 h 33"/>
              <a:gd name="T14" fmla="*/ 29 w 73"/>
              <a:gd name="T15" fmla="*/ 23 h 33"/>
              <a:gd name="T16" fmla="*/ 33 w 73"/>
              <a:gd name="T17" fmla="*/ 24 h 33"/>
              <a:gd name="T18" fmla="*/ 35 w 73"/>
              <a:gd name="T19" fmla="*/ 24 h 33"/>
              <a:gd name="T20" fmla="*/ 36 w 73"/>
              <a:gd name="T21" fmla="*/ 24 h 33"/>
              <a:gd name="T22" fmla="*/ 39 w 73"/>
              <a:gd name="T23" fmla="*/ 22 h 33"/>
              <a:gd name="T24" fmla="*/ 41 w 73"/>
              <a:gd name="T25" fmla="*/ 21 h 33"/>
              <a:gd name="T26" fmla="*/ 42 w 73"/>
              <a:gd name="T27" fmla="*/ 24 h 33"/>
              <a:gd name="T28" fmla="*/ 45 w 73"/>
              <a:gd name="T29" fmla="*/ 25 h 33"/>
              <a:gd name="T30" fmla="*/ 48 w 73"/>
              <a:gd name="T31" fmla="*/ 26 h 33"/>
              <a:gd name="T32" fmla="*/ 51 w 73"/>
              <a:gd name="T33" fmla="*/ 28 h 33"/>
              <a:gd name="T34" fmla="*/ 54 w 73"/>
              <a:gd name="T35" fmla="*/ 30 h 33"/>
              <a:gd name="T36" fmla="*/ 56 w 73"/>
              <a:gd name="T37" fmla="*/ 32 h 33"/>
              <a:gd name="T38" fmla="*/ 58 w 73"/>
              <a:gd name="T39" fmla="*/ 33 h 33"/>
              <a:gd name="T40" fmla="*/ 58 w 73"/>
              <a:gd name="T41" fmla="*/ 33 h 33"/>
              <a:gd name="T42" fmla="*/ 59 w 73"/>
              <a:gd name="T43" fmla="*/ 32 h 33"/>
              <a:gd name="T44" fmla="*/ 64 w 73"/>
              <a:gd name="T45" fmla="*/ 30 h 33"/>
              <a:gd name="T46" fmla="*/ 67 w 73"/>
              <a:gd name="T47" fmla="*/ 30 h 33"/>
              <a:gd name="T48" fmla="*/ 68 w 73"/>
              <a:gd name="T49" fmla="*/ 29 h 33"/>
              <a:gd name="T50" fmla="*/ 72 w 73"/>
              <a:gd name="T51" fmla="*/ 26 h 33"/>
              <a:gd name="T52" fmla="*/ 73 w 73"/>
              <a:gd name="T53" fmla="*/ 25 h 33"/>
              <a:gd name="T54" fmla="*/ 72 w 73"/>
              <a:gd name="T55" fmla="*/ 24 h 33"/>
              <a:gd name="T56" fmla="*/ 72 w 73"/>
              <a:gd name="T57" fmla="*/ 23 h 33"/>
              <a:gd name="T58" fmla="*/ 70 w 73"/>
              <a:gd name="T59" fmla="*/ 18 h 33"/>
              <a:gd name="T60" fmla="*/ 67 w 73"/>
              <a:gd name="T61" fmla="*/ 16 h 33"/>
              <a:gd name="T62" fmla="*/ 68 w 73"/>
              <a:gd name="T63" fmla="*/ 14 h 33"/>
              <a:gd name="T64" fmla="*/ 68 w 73"/>
              <a:gd name="T65" fmla="*/ 11 h 33"/>
              <a:gd name="T66" fmla="*/ 67 w 73"/>
              <a:gd name="T67" fmla="*/ 10 h 33"/>
              <a:gd name="T68" fmla="*/ 66 w 73"/>
              <a:gd name="T69" fmla="*/ 9 h 33"/>
              <a:gd name="T70" fmla="*/ 64 w 73"/>
              <a:gd name="T71" fmla="*/ 10 h 33"/>
              <a:gd name="T72" fmla="*/ 62 w 73"/>
              <a:gd name="T73" fmla="*/ 7 h 33"/>
              <a:gd name="T74" fmla="*/ 60 w 73"/>
              <a:gd name="T75" fmla="*/ 7 h 33"/>
              <a:gd name="T76" fmla="*/ 56 w 73"/>
              <a:gd name="T77" fmla="*/ 8 h 33"/>
              <a:gd name="T78" fmla="*/ 51 w 73"/>
              <a:gd name="T79" fmla="*/ 4 h 33"/>
              <a:gd name="T80" fmla="*/ 48 w 73"/>
              <a:gd name="T81" fmla="*/ 2 h 33"/>
              <a:gd name="T82" fmla="*/ 46 w 73"/>
              <a:gd name="T83" fmla="*/ 2 h 33"/>
              <a:gd name="T84" fmla="*/ 45 w 73"/>
              <a:gd name="T85" fmla="*/ 1 h 33"/>
              <a:gd name="T86" fmla="*/ 42 w 73"/>
              <a:gd name="T87" fmla="*/ 1 h 33"/>
              <a:gd name="T88" fmla="*/ 38 w 73"/>
              <a:gd name="T89" fmla="*/ 2 h 33"/>
              <a:gd name="T90" fmla="*/ 35 w 73"/>
              <a:gd name="T91" fmla="*/ 10 h 33"/>
              <a:gd name="T92" fmla="*/ 23 w 73"/>
              <a:gd name="T93" fmla="*/ 10 h 33"/>
              <a:gd name="T94" fmla="*/ 13 w 73"/>
              <a:gd name="T95" fmla="*/ 5 h 33"/>
              <a:gd name="T96" fmla="*/ 5 w 73"/>
              <a:gd name="T97" fmla="*/ 14 h 33"/>
              <a:gd name="T98" fmla="*/ 1 w 73"/>
              <a:gd name="T99" fmla="*/ 22 h 33"/>
              <a:gd name="T100" fmla="*/ 2 w 73"/>
              <a:gd name="T101" fmla="*/ 2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3" h="33">
                <a:moveTo>
                  <a:pt x="2" y="26"/>
                </a:moveTo>
                <a:cubicBezTo>
                  <a:pt x="2" y="26"/>
                  <a:pt x="2" y="26"/>
                  <a:pt x="2" y="26"/>
                </a:cubicBezTo>
                <a:cubicBezTo>
                  <a:pt x="2" y="26"/>
                  <a:pt x="2" y="25"/>
                  <a:pt x="3" y="25"/>
                </a:cubicBezTo>
                <a:cubicBezTo>
                  <a:pt x="3" y="25"/>
                  <a:pt x="3" y="25"/>
                  <a:pt x="3" y="25"/>
                </a:cubicBezTo>
                <a:cubicBezTo>
                  <a:pt x="4" y="25"/>
                  <a:pt x="5" y="24"/>
                  <a:pt x="5" y="24"/>
                </a:cubicBezTo>
                <a:cubicBezTo>
                  <a:pt x="7" y="23"/>
                  <a:pt x="10" y="22"/>
                  <a:pt x="13" y="22"/>
                </a:cubicBezTo>
                <a:cubicBezTo>
                  <a:pt x="13" y="22"/>
                  <a:pt x="13" y="22"/>
                  <a:pt x="13" y="22"/>
                </a:cubicBezTo>
                <a:cubicBezTo>
                  <a:pt x="14" y="22"/>
                  <a:pt x="14" y="22"/>
                  <a:pt x="14" y="22"/>
                </a:cubicBezTo>
                <a:cubicBezTo>
                  <a:pt x="15" y="22"/>
                  <a:pt x="15" y="22"/>
                  <a:pt x="16" y="22"/>
                </a:cubicBezTo>
                <a:cubicBezTo>
                  <a:pt x="17" y="22"/>
                  <a:pt x="17" y="22"/>
                  <a:pt x="17" y="22"/>
                </a:cubicBezTo>
                <a:cubicBezTo>
                  <a:pt x="17" y="22"/>
                  <a:pt x="18" y="23"/>
                  <a:pt x="18" y="23"/>
                </a:cubicBezTo>
                <a:cubicBezTo>
                  <a:pt x="18" y="23"/>
                  <a:pt x="18" y="23"/>
                  <a:pt x="18" y="23"/>
                </a:cubicBezTo>
                <a:cubicBezTo>
                  <a:pt x="18" y="22"/>
                  <a:pt x="19" y="22"/>
                  <a:pt x="19" y="22"/>
                </a:cubicBezTo>
                <a:cubicBezTo>
                  <a:pt x="19" y="22"/>
                  <a:pt x="20" y="22"/>
                  <a:pt x="20" y="22"/>
                </a:cubicBezTo>
                <a:cubicBezTo>
                  <a:pt x="20" y="22"/>
                  <a:pt x="20" y="22"/>
                  <a:pt x="20" y="22"/>
                </a:cubicBezTo>
                <a:cubicBezTo>
                  <a:pt x="21" y="22"/>
                  <a:pt x="21" y="22"/>
                  <a:pt x="22" y="23"/>
                </a:cubicBezTo>
                <a:cubicBezTo>
                  <a:pt x="22" y="23"/>
                  <a:pt x="22" y="23"/>
                  <a:pt x="22" y="23"/>
                </a:cubicBezTo>
                <a:cubicBezTo>
                  <a:pt x="22" y="23"/>
                  <a:pt x="22" y="23"/>
                  <a:pt x="22" y="23"/>
                </a:cubicBezTo>
                <a:cubicBezTo>
                  <a:pt x="23" y="23"/>
                  <a:pt x="23" y="23"/>
                  <a:pt x="24" y="23"/>
                </a:cubicBezTo>
                <a:cubicBezTo>
                  <a:pt x="25" y="23"/>
                  <a:pt x="25" y="23"/>
                  <a:pt x="26" y="23"/>
                </a:cubicBezTo>
                <a:cubicBezTo>
                  <a:pt x="27" y="23"/>
                  <a:pt x="27" y="23"/>
                  <a:pt x="27" y="23"/>
                </a:cubicBezTo>
                <a:cubicBezTo>
                  <a:pt x="27" y="23"/>
                  <a:pt x="27" y="23"/>
                  <a:pt x="27" y="23"/>
                </a:cubicBezTo>
                <a:cubicBezTo>
                  <a:pt x="28" y="23"/>
                  <a:pt x="28" y="23"/>
                  <a:pt x="29" y="23"/>
                </a:cubicBezTo>
                <a:cubicBezTo>
                  <a:pt x="29" y="23"/>
                  <a:pt x="29" y="23"/>
                  <a:pt x="29" y="23"/>
                </a:cubicBezTo>
                <a:cubicBezTo>
                  <a:pt x="29" y="23"/>
                  <a:pt x="30" y="23"/>
                  <a:pt x="30" y="23"/>
                </a:cubicBezTo>
                <a:cubicBezTo>
                  <a:pt x="30" y="23"/>
                  <a:pt x="31" y="23"/>
                  <a:pt x="32" y="24"/>
                </a:cubicBezTo>
                <a:cubicBezTo>
                  <a:pt x="33" y="24"/>
                  <a:pt x="33" y="24"/>
                  <a:pt x="33" y="24"/>
                </a:cubicBezTo>
                <a:cubicBezTo>
                  <a:pt x="33" y="24"/>
                  <a:pt x="33" y="24"/>
                  <a:pt x="34" y="24"/>
                </a:cubicBezTo>
                <a:cubicBezTo>
                  <a:pt x="34" y="24"/>
                  <a:pt x="35" y="24"/>
                  <a:pt x="35" y="24"/>
                </a:cubicBezTo>
                <a:cubicBezTo>
                  <a:pt x="35" y="24"/>
                  <a:pt x="35" y="24"/>
                  <a:pt x="35" y="24"/>
                </a:cubicBezTo>
                <a:cubicBezTo>
                  <a:pt x="36" y="24"/>
                  <a:pt x="36" y="24"/>
                  <a:pt x="36" y="24"/>
                </a:cubicBezTo>
                <a:cubicBezTo>
                  <a:pt x="36" y="24"/>
                  <a:pt x="36" y="24"/>
                  <a:pt x="36" y="24"/>
                </a:cubicBezTo>
                <a:cubicBezTo>
                  <a:pt x="36" y="24"/>
                  <a:pt x="36" y="24"/>
                  <a:pt x="36" y="24"/>
                </a:cubicBezTo>
                <a:cubicBezTo>
                  <a:pt x="36" y="24"/>
                  <a:pt x="36" y="23"/>
                  <a:pt x="37" y="23"/>
                </a:cubicBezTo>
                <a:cubicBezTo>
                  <a:pt x="37" y="23"/>
                  <a:pt x="37" y="23"/>
                  <a:pt x="38" y="23"/>
                </a:cubicBezTo>
                <a:cubicBezTo>
                  <a:pt x="38" y="22"/>
                  <a:pt x="39" y="22"/>
                  <a:pt x="39" y="22"/>
                </a:cubicBezTo>
                <a:cubicBezTo>
                  <a:pt x="39" y="22"/>
                  <a:pt x="39" y="22"/>
                  <a:pt x="39" y="22"/>
                </a:cubicBezTo>
                <a:cubicBezTo>
                  <a:pt x="39" y="22"/>
                  <a:pt x="39" y="22"/>
                  <a:pt x="40" y="22"/>
                </a:cubicBezTo>
                <a:cubicBezTo>
                  <a:pt x="41" y="21"/>
                  <a:pt x="41" y="21"/>
                  <a:pt x="41" y="21"/>
                </a:cubicBezTo>
                <a:cubicBezTo>
                  <a:pt x="41" y="22"/>
                  <a:pt x="41" y="22"/>
                  <a:pt x="41" y="22"/>
                </a:cubicBezTo>
                <a:cubicBezTo>
                  <a:pt x="41" y="22"/>
                  <a:pt x="41" y="22"/>
                  <a:pt x="41" y="22"/>
                </a:cubicBezTo>
                <a:cubicBezTo>
                  <a:pt x="42" y="23"/>
                  <a:pt x="42" y="23"/>
                  <a:pt x="42" y="24"/>
                </a:cubicBezTo>
                <a:cubicBezTo>
                  <a:pt x="43" y="24"/>
                  <a:pt x="43" y="24"/>
                  <a:pt x="43" y="24"/>
                </a:cubicBezTo>
                <a:cubicBezTo>
                  <a:pt x="43" y="25"/>
                  <a:pt x="43" y="25"/>
                  <a:pt x="44" y="25"/>
                </a:cubicBezTo>
                <a:cubicBezTo>
                  <a:pt x="45" y="25"/>
                  <a:pt x="45" y="25"/>
                  <a:pt x="45" y="25"/>
                </a:cubicBezTo>
                <a:cubicBezTo>
                  <a:pt x="45" y="26"/>
                  <a:pt x="45" y="26"/>
                  <a:pt x="46" y="26"/>
                </a:cubicBezTo>
                <a:cubicBezTo>
                  <a:pt x="46" y="26"/>
                  <a:pt x="46" y="26"/>
                  <a:pt x="46" y="26"/>
                </a:cubicBezTo>
                <a:cubicBezTo>
                  <a:pt x="47" y="26"/>
                  <a:pt x="48" y="26"/>
                  <a:pt x="48" y="26"/>
                </a:cubicBezTo>
                <a:cubicBezTo>
                  <a:pt x="49" y="26"/>
                  <a:pt x="49" y="27"/>
                  <a:pt x="50" y="27"/>
                </a:cubicBezTo>
                <a:cubicBezTo>
                  <a:pt x="50" y="28"/>
                  <a:pt x="50" y="28"/>
                  <a:pt x="50" y="28"/>
                </a:cubicBezTo>
                <a:cubicBezTo>
                  <a:pt x="50" y="28"/>
                  <a:pt x="51" y="28"/>
                  <a:pt x="51" y="28"/>
                </a:cubicBezTo>
                <a:cubicBezTo>
                  <a:pt x="51" y="28"/>
                  <a:pt x="51" y="28"/>
                  <a:pt x="52" y="28"/>
                </a:cubicBezTo>
                <a:cubicBezTo>
                  <a:pt x="52" y="29"/>
                  <a:pt x="53" y="29"/>
                  <a:pt x="53" y="30"/>
                </a:cubicBezTo>
                <a:cubicBezTo>
                  <a:pt x="53" y="30"/>
                  <a:pt x="54" y="30"/>
                  <a:pt x="54" y="30"/>
                </a:cubicBezTo>
                <a:cubicBezTo>
                  <a:pt x="54" y="31"/>
                  <a:pt x="54" y="31"/>
                  <a:pt x="54" y="31"/>
                </a:cubicBezTo>
                <a:cubicBezTo>
                  <a:pt x="55" y="31"/>
                  <a:pt x="55" y="31"/>
                  <a:pt x="55" y="31"/>
                </a:cubicBezTo>
                <a:cubicBezTo>
                  <a:pt x="56" y="32"/>
                  <a:pt x="56" y="32"/>
                  <a:pt x="56" y="32"/>
                </a:cubicBezTo>
                <a:cubicBezTo>
                  <a:pt x="56" y="32"/>
                  <a:pt x="57" y="32"/>
                  <a:pt x="57" y="32"/>
                </a:cubicBezTo>
                <a:cubicBezTo>
                  <a:pt x="57" y="32"/>
                  <a:pt x="57" y="32"/>
                  <a:pt x="57" y="33"/>
                </a:cubicBezTo>
                <a:cubicBezTo>
                  <a:pt x="58" y="33"/>
                  <a:pt x="58" y="33"/>
                  <a:pt x="58" y="33"/>
                </a:cubicBezTo>
                <a:cubicBezTo>
                  <a:pt x="58" y="33"/>
                  <a:pt x="58" y="33"/>
                  <a:pt x="58" y="33"/>
                </a:cubicBezTo>
                <a:cubicBezTo>
                  <a:pt x="58" y="33"/>
                  <a:pt x="58" y="33"/>
                  <a:pt x="58" y="33"/>
                </a:cubicBezTo>
                <a:cubicBezTo>
                  <a:pt x="58" y="33"/>
                  <a:pt x="58" y="33"/>
                  <a:pt x="58" y="33"/>
                </a:cubicBezTo>
                <a:cubicBezTo>
                  <a:pt x="58" y="33"/>
                  <a:pt x="58" y="33"/>
                  <a:pt x="58" y="33"/>
                </a:cubicBezTo>
                <a:cubicBezTo>
                  <a:pt x="58" y="33"/>
                  <a:pt x="59" y="33"/>
                  <a:pt x="59" y="32"/>
                </a:cubicBezTo>
                <a:cubicBezTo>
                  <a:pt x="59" y="32"/>
                  <a:pt x="59" y="32"/>
                  <a:pt x="59" y="32"/>
                </a:cubicBezTo>
                <a:cubicBezTo>
                  <a:pt x="59" y="32"/>
                  <a:pt x="60" y="32"/>
                  <a:pt x="60" y="32"/>
                </a:cubicBezTo>
                <a:cubicBezTo>
                  <a:pt x="60" y="31"/>
                  <a:pt x="61" y="30"/>
                  <a:pt x="63" y="30"/>
                </a:cubicBezTo>
                <a:cubicBezTo>
                  <a:pt x="63" y="30"/>
                  <a:pt x="63" y="30"/>
                  <a:pt x="64" y="30"/>
                </a:cubicBezTo>
                <a:cubicBezTo>
                  <a:pt x="65" y="30"/>
                  <a:pt x="65" y="30"/>
                  <a:pt x="65" y="30"/>
                </a:cubicBezTo>
                <a:cubicBezTo>
                  <a:pt x="65" y="30"/>
                  <a:pt x="65" y="30"/>
                  <a:pt x="65" y="30"/>
                </a:cubicBezTo>
                <a:cubicBezTo>
                  <a:pt x="66" y="30"/>
                  <a:pt x="66" y="30"/>
                  <a:pt x="67" y="30"/>
                </a:cubicBezTo>
                <a:cubicBezTo>
                  <a:pt x="67" y="30"/>
                  <a:pt x="67" y="30"/>
                  <a:pt x="67" y="30"/>
                </a:cubicBezTo>
                <a:cubicBezTo>
                  <a:pt x="67" y="30"/>
                  <a:pt x="67" y="30"/>
                  <a:pt x="68" y="29"/>
                </a:cubicBezTo>
                <a:cubicBezTo>
                  <a:pt x="68" y="29"/>
                  <a:pt x="68" y="29"/>
                  <a:pt x="68" y="29"/>
                </a:cubicBezTo>
                <a:cubicBezTo>
                  <a:pt x="69" y="28"/>
                  <a:pt x="69" y="28"/>
                  <a:pt x="69" y="28"/>
                </a:cubicBezTo>
                <a:cubicBezTo>
                  <a:pt x="69" y="28"/>
                  <a:pt x="69" y="28"/>
                  <a:pt x="69" y="28"/>
                </a:cubicBezTo>
                <a:cubicBezTo>
                  <a:pt x="70" y="27"/>
                  <a:pt x="71" y="26"/>
                  <a:pt x="72" y="26"/>
                </a:cubicBezTo>
                <a:cubicBezTo>
                  <a:pt x="72" y="26"/>
                  <a:pt x="72" y="26"/>
                  <a:pt x="73" y="26"/>
                </a:cubicBezTo>
                <a:cubicBezTo>
                  <a:pt x="73" y="26"/>
                  <a:pt x="73" y="26"/>
                  <a:pt x="73" y="26"/>
                </a:cubicBezTo>
                <a:cubicBezTo>
                  <a:pt x="73" y="25"/>
                  <a:pt x="73" y="25"/>
                  <a:pt x="73" y="25"/>
                </a:cubicBezTo>
                <a:cubicBezTo>
                  <a:pt x="73" y="25"/>
                  <a:pt x="72" y="25"/>
                  <a:pt x="72" y="24"/>
                </a:cubicBezTo>
                <a:cubicBezTo>
                  <a:pt x="73" y="24"/>
                  <a:pt x="73" y="24"/>
                  <a:pt x="73" y="24"/>
                </a:cubicBezTo>
                <a:cubicBezTo>
                  <a:pt x="72" y="24"/>
                  <a:pt x="72" y="24"/>
                  <a:pt x="72" y="24"/>
                </a:cubicBezTo>
                <a:cubicBezTo>
                  <a:pt x="72" y="24"/>
                  <a:pt x="72" y="24"/>
                  <a:pt x="72" y="24"/>
                </a:cubicBezTo>
                <a:cubicBezTo>
                  <a:pt x="72" y="24"/>
                  <a:pt x="72" y="24"/>
                  <a:pt x="72" y="24"/>
                </a:cubicBezTo>
                <a:cubicBezTo>
                  <a:pt x="72" y="23"/>
                  <a:pt x="72" y="23"/>
                  <a:pt x="72" y="23"/>
                </a:cubicBezTo>
                <a:cubicBezTo>
                  <a:pt x="72" y="23"/>
                  <a:pt x="72" y="23"/>
                  <a:pt x="72" y="23"/>
                </a:cubicBezTo>
                <a:cubicBezTo>
                  <a:pt x="72" y="22"/>
                  <a:pt x="72" y="22"/>
                  <a:pt x="71" y="20"/>
                </a:cubicBezTo>
                <a:cubicBezTo>
                  <a:pt x="71" y="19"/>
                  <a:pt x="70" y="18"/>
                  <a:pt x="70" y="18"/>
                </a:cubicBezTo>
                <a:cubicBezTo>
                  <a:pt x="69" y="18"/>
                  <a:pt x="69" y="18"/>
                  <a:pt x="69" y="18"/>
                </a:cubicBezTo>
                <a:cubicBezTo>
                  <a:pt x="66" y="20"/>
                  <a:pt x="66" y="20"/>
                  <a:pt x="66" y="20"/>
                </a:cubicBezTo>
                <a:cubicBezTo>
                  <a:pt x="67" y="16"/>
                  <a:pt x="67" y="16"/>
                  <a:pt x="67" y="16"/>
                </a:cubicBezTo>
                <a:cubicBezTo>
                  <a:pt x="67" y="16"/>
                  <a:pt x="68" y="15"/>
                  <a:pt x="68" y="14"/>
                </a:cubicBezTo>
                <a:cubicBezTo>
                  <a:pt x="68" y="14"/>
                  <a:pt x="68" y="14"/>
                  <a:pt x="68" y="14"/>
                </a:cubicBezTo>
                <a:cubicBezTo>
                  <a:pt x="68" y="14"/>
                  <a:pt x="68" y="14"/>
                  <a:pt x="68" y="14"/>
                </a:cubicBezTo>
                <a:cubicBezTo>
                  <a:pt x="68" y="13"/>
                  <a:pt x="68" y="13"/>
                  <a:pt x="68" y="12"/>
                </a:cubicBezTo>
                <a:cubicBezTo>
                  <a:pt x="69" y="11"/>
                  <a:pt x="69" y="11"/>
                  <a:pt x="69" y="11"/>
                </a:cubicBezTo>
                <a:cubicBezTo>
                  <a:pt x="69" y="11"/>
                  <a:pt x="69" y="11"/>
                  <a:pt x="68" y="11"/>
                </a:cubicBezTo>
                <a:cubicBezTo>
                  <a:pt x="68" y="10"/>
                  <a:pt x="68" y="10"/>
                  <a:pt x="68" y="10"/>
                </a:cubicBezTo>
                <a:cubicBezTo>
                  <a:pt x="68" y="10"/>
                  <a:pt x="67" y="10"/>
                  <a:pt x="67" y="10"/>
                </a:cubicBezTo>
                <a:cubicBezTo>
                  <a:pt x="67" y="10"/>
                  <a:pt x="67" y="10"/>
                  <a:pt x="67" y="10"/>
                </a:cubicBezTo>
                <a:cubicBezTo>
                  <a:pt x="67" y="10"/>
                  <a:pt x="67" y="10"/>
                  <a:pt x="67" y="10"/>
                </a:cubicBezTo>
                <a:cubicBezTo>
                  <a:pt x="66" y="9"/>
                  <a:pt x="66" y="9"/>
                  <a:pt x="66" y="9"/>
                </a:cubicBezTo>
                <a:cubicBezTo>
                  <a:pt x="66" y="9"/>
                  <a:pt x="66" y="9"/>
                  <a:pt x="66" y="9"/>
                </a:cubicBezTo>
                <a:cubicBezTo>
                  <a:pt x="65" y="9"/>
                  <a:pt x="65" y="9"/>
                  <a:pt x="65" y="9"/>
                </a:cubicBezTo>
                <a:cubicBezTo>
                  <a:pt x="65" y="9"/>
                  <a:pt x="65" y="9"/>
                  <a:pt x="65" y="9"/>
                </a:cubicBezTo>
                <a:cubicBezTo>
                  <a:pt x="64" y="10"/>
                  <a:pt x="64" y="10"/>
                  <a:pt x="64" y="10"/>
                </a:cubicBezTo>
                <a:cubicBezTo>
                  <a:pt x="64" y="8"/>
                  <a:pt x="64" y="8"/>
                  <a:pt x="64" y="8"/>
                </a:cubicBezTo>
                <a:cubicBezTo>
                  <a:pt x="63" y="8"/>
                  <a:pt x="63" y="8"/>
                  <a:pt x="63" y="8"/>
                </a:cubicBezTo>
                <a:cubicBezTo>
                  <a:pt x="63" y="8"/>
                  <a:pt x="62" y="7"/>
                  <a:pt x="62" y="7"/>
                </a:cubicBezTo>
                <a:cubicBezTo>
                  <a:pt x="61" y="7"/>
                  <a:pt x="61" y="7"/>
                  <a:pt x="61" y="7"/>
                </a:cubicBezTo>
                <a:cubicBezTo>
                  <a:pt x="61" y="7"/>
                  <a:pt x="61" y="7"/>
                  <a:pt x="61" y="7"/>
                </a:cubicBezTo>
                <a:cubicBezTo>
                  <a:pt x="61" y="7"/>
                  <a:pt x="61" y="7"/>
                  <a:pt x="60" y="7"/>
                </a:cubicBezTo>
                <a:cubicBezTo>
                  <a:pt x="60" y="7"/>
                  <a:pt x="60" y="7"/>
                  <a:pt x="59" y="7"/>
                </a:cubicBezTo>
                <a:cubicBezTo>
                  <a:pt x="59" y="7"/>
                  <a:pt x="59" y="7"/>
                  <a:pt x="59" y="7"/>
                </a:cubicBezTo>
                <a:cubicBezTo>
                  <a:pt x="58" y="8"/>
                  <a:pt x="57" y="8"/>
                  <a:pt x="56" y="8"/>
                </a:cubicBezTo>
                <a:cubicBezTo>
                  <a:pt x="55" y="8"/>
                  <a:pt x="54" y="7"/>
                  <a:pt x="54" y="7"/>
                </a:cubicBezTo>
                <a:cubicBezTo>
                  <a:pt x="53" y="6"/>
                  <a:pt x="53" y="6"/>
                  <a:pt x="53" y="6"/>
                </a:cubicBezTo>
                <a:cubicBezTo>
                  <a:pt x="53" y="5"/>
                  <a:pt x="52" y="5"/>
                  <a:pt x="51" y="4"/>
                </a:cubicBezTo>
                <a:cubicBezTo>
                  <a:pt x="51" y="4"/>
                  <a:pt x="51" y="4"/>
                  <a:pt x="51" y="4"/>
                </a:cubicBezTo>
                <a:cubicBezTo>
                  <a:pt x="51" y="4"/>
                  <a:pt x="51" y="4"/>
                  <a:pt x="51" y="3"/>
                </a:cubicBezTo>
                <a:cubicBezTo>
                  <a:pt x="50" y="3"/>
                  <a:pt x="49" y="3"/>
                  <a:pt x="48" y="2"/>
                </a:cubicBezTo>
                <a:cubicBezTo>
                  <a:pt x="48" y="2"/>
                  <a:pt x="48" y="2"/>
                  <a:pt x="48" y="2"/>
                </a:cubicBezTo>
                <a:cubicBezTo>
                  <a:pt x="48" y="2"/>
                  <a:pt x="47" y="2"/>
                  <a:pt x="47" y="2"/>
                </a:cubicBezTo>
                <a:cubicBezTo>
                  <a:pt x="46" y="2"/>
                  <a:pt x="46" y="2"/>
                  <a:pt x="46" y="2"/>
                </a:cubicBezTo>
                <a:cubicBezTo>
                  <a:pt x="46" y="1"/>
                  <a:pt x="46" y="1"/>
                  <a:pt x="45" y="1"/>
                </a:cubicBezTo>
                <a:cubicBezTo>
                  <a:pt x="45" y="1"/>
                  <a:pt x="45" y="1"/>
                  <a:pt x="45" y="1"/>
                </a:cubicBezTo>
                <a:cubicBezTo>
                  <a:pt x="45" y="1"/>
                  <a:pt x="45" y="1"/>
                  <a:pt x="45" y="1"/>
                </a:cubicBezTo>
                <a:cubicBezTo>
                  <a:pt x="45" y="1"/>
                  <a:pt x="45" y="1"/>
                  <a:pt x="44" y="1"/>
                </a:cubicBezTo>
                <a:cubicBezTo>
                  <a:pt x="43" y="1"/>
                  <a:pt x="43" y="1"/>
                  <a:pt x="42" y="0"/>
                </a:cubicBezTo>
                <a:cubicBezTo>
                  <a:pt x="42" y="1"/>
                  <a:pt x="42" y="1"/>
                  <a:pt x="42" y="1"/>
                </a:cubicBezTo>
                <a:cubicBezTo>
                  <a:pt x="42" y="1"/>
                  <a:pt x="41" y="1"/>
                  <a:pt x="41" y="1"/>
                </a:cubicBezTo>
                <a:cubicBezTo>
                  <a:pt x="41" y="1"/>
                  <a:pt x="41" y="1"/>
                  <a:pt x="41" y="1"/>
                </a:cubicBezTo>
                <a:cubicBezTo>
                  <a:pt x="40" y="2"/>
                  <a:pt x="39" y="2"/>
                  <a:pt x="38" y="2"/>
                </a:cubicBezTo>
                <a:cubicBezTo>
                  <a:pt x="34" y="3"/>
                  <a:pt x="34" y="3"/>
                  <a:pt x="34" y="3"/>
                </a:cubicBezTo>
                <a:cubicBezTo>
                  <a:pt x="34" y="4"/>
                  <a:pt x="34" y="5"/>
                  <a:pt x="35" y="6"/>
                </a:cubicBezTo>
                <a:cubicBezTo>
                  <a:pt x="35" y="7"/>
                  <a:pt x="35" y="9"/>
                  <a:pt x="35" y="10"/>
                </a:cubicBezTo>
                <a:cubicBezTo>
                  <a:pt x="35" y="11"/>
                  <a:pt x="33" y="12"/>
                  <a:pt x="32" y="13"/>
                </a:cubicBezTo>
                <a:cubicBezTo>
                  <a:pt x="31" y="15"/>
                  <a:pt x="27" y="15"/>
                  <a:pt x="25" y="14"/>
                </a:cubicBezTo>
                <a:cubicBezTo>
                  <a:pt x="24" y="14"/>
                  <a:pt x="23" y="11"/>
                  <a:pt x="23" y="10"/>
                </a:cubicBezTo>
                <a:cubicBezTo>
                  <a:pt x="22" y="9"/>
                  <a:pt x="21" y="9"/>
                  <a:pt x="20" y="8"/>
                </a:cubicBezTo>
                <a:cubicBezTo>
                  <a:pt x="19" y="7"/>
                  <a:pt x="18" y="5"/>
                  <a:pt x="17" y="5"/>
                </a:cubicBezTo>
                <a:cubicBezTo>
                  <a:pt x="16" y="5"/>
                  <a:pt x="13" y="5"/>
                  <a:pt x="13" y="5"/>
                </a:cubicBezTo>
                <a:cubicBezTo>
                  <a:pt x="11" y="5"/>
                  <a:pt x="9" y="6"/>
                  <a:pt x="8" y="6"/>
                </a:cubicBezTo>
                <a:cubicBezTo>
                  <a:pt x="7" y="7"/>
                  <a:pt x="6" y="9"/>
                  <a:pt x="6" y="9"/>
                </a:cubicBezTo>
                <a:cubicBezTo>
                  <a:pt x="4" y="11"/>
                  <a:pt x="5" y="12"/>
                  <a:pt x="5" y="14"/>
                </a:cubicBezTo>
                <a:cubicBezTo>
                  <a:pt x="4" y="15"/>
                  <a:pt x="3" y="16"/>
                  <a:pt x="2" y="16"/>
                </a:cubicBezTo>
                <a:cubicBezTo>
                  <a:pt x="0" y="18"/>
                  <a:pt x="2" y="21"/>
                  <a:pt x="1" y="23"/>
                </a:cubicBezTo>
                <a:cubicBezTo>
                  <a:pt x="1" y="23"/>
                  <a:pt x="1" y="23"/>
                  <a:pt x="1" y="22"/>
                </a:cubicBezTo>
                <a:cubicBezTo>
                  <a:pt x="1" y="22"/>
                  <a:pt x="1" y="22"/>
                  <a:pt x="0" y="22"/>
                </a:cubicBezTo>
                <a:cubicBezTo>
                  <a:pt x="0" y="24"/>
                  <a:pt x="0" y="25"/>
                  <a:pt x="1" y="27"/>
                </a:cubicBezTo>
                <a:cubicBezTo>
                  <a:pt x="1" y="27"/>
                  <a:pt x="1" y="27"/>
                  <a:pt x="2" y="26"/>
                </a:cubicBezTo>
                <a:close/>
              </a:path>
            </a:pathLst>
          </a:custGeom>
          <a:solidFill>
            <a:srgbClr val="00A5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72" name="Freeform 3129">
            <a:extLst>
              <a:ext uri="{FF2B5EF4-FFF2-40B4-BE49-F238E27FC236}">
                <a16:creationId xmlns:a16="http://schemas.microsoft.com/office/drawing/2014/main" id="{0ABF563C-9C71-4093-BEBB-3F6366A5F7F4}"/>
              </a:ext>
            </a:extLst>
          </p:cNvPr>
          <p:cNvSpPr>
            <a:spLocks/>
          </p:cNvSpPr>
          <p:nvPr/>
        </p:nvSpPr>
        <p:spPr bwMode="auto">
          <a:xfrm>
            <a:off x="3620481" y="2782715"/>
            <a:ext cx="54016" cy="43332"/>
          </a:xfrm>
          <a:custGeom>
            <a:avLst/>
            <a:gdLst>
              <a:gd name="T0" fmla="*/ 1 w 46"/>
              <a:gd name="T1" fmla="*/ 10 h 31"/>
              <a:gd name="T2" fmla="*/ 2 w 46"/>
              <a:gd name="T3" fmla="*/ 10 h 31"/>
              <a:gd name="T4" fmla="*/ 1 w 46"/>
              <a:gd name="T5" fmla="*/ 12 h 31"/>
              <a:gd name="T6" fmla="*/ 5 w 46"/>
              <a:gd name="T7" fmla="*/ 14 h 31"/>
              <a:gd name="T8" fmla="*/ 1 w 46"/>
              <a:gd name="T9" fmla="*/ 16 h 31"/>
              <a:gd name="T10" fmla="*/ 7 w 46"/>
              <a:gd name="T11" fmla="*/ 21 h 31"/>
              <a:gd name="T12" fmla="*/ 11 w 46"/>
              <a:gd name="T13" fmla="*/ 20 h 31"/>
              <a:gd name="T14" fmla="*/ 13 w 46"/>
              <a:gd name="T15" fmla="*/ 24 h 31"/>
              <a:gd name="T16" fmla="*/ 15 w 46"/>
              <a:gd name="T17" fmla="*/ 24 h 31"/>
              <a:gd name="T18" fmla="*/ 16 w 46"/>
              <a:gd name="T19" fmla="*/ 23 h 31"/>
              <a:gd name="T20" fmla="*/ 17 w 46"/>
              <a:gd name="T21" fmla="*/ 22 h 31"/>
              <a:gd name="T22" fmla="*/ 19 w 46"/>
              <a:gd name="T23" fmla="*/ 24 h 31"/>
              <a:gd name="T24" fmla="*/ 21 w 46"/>
              <a:gd name="T25" fmla="*/ 24 h 31"/>
              <a:gd name="T26" fmla="*/ 23 w 46"/>
              <a:gd name="T27" fmla="*/ 24 h 31"/>
              <a:gd name="T28" fmla="*/ 24 w 46"/>
              <a:gd name="T29" fmla="*/ 25 h 31"/>
              <a:gd name="T30" fmla="*/ 29 w 46"/>
              <a:gd name="T31" fmla="*/ 26 h 31"/>
              <a:gd name="T32" fmla="*/ 30 w 46"/>
              <a:gd name="T33" fmla="*/ 29 h 31"/>
              <a:gd name="T34" fmla="*/ 32 w 46"/>
              <a:gd name="T35" fmla="*/ 31 h 31"/>
              <a:gd name="T36" fmla="*/ 33 w 46"/>
              <a:gd name="T37" fmla="*/ 30 h 31"/>
              <a:gd name="T38" fmla="*/ 35 w 46"/>
              <a:gd name="T39" fmla="*/ 29 h 31"/>
              <a:gd name="T40" fmla="*/ 38 w 46"/>
              <a:gd name="T41" fmla="*/ 30 h 31"/>
              <a:gd name="T42" fmla="*/ 40 w 46"/>
              <a:gd name="T43" fmla="*/ 31 h 31"/>
              <a:gd name="T44" fmla="*/ 40 w 46"/>
              <a:gd name="T45" fmla="*/ 30 h 31"/>
              <a:gd name="T46" fmla="*/ 40 w 46"/>
              <a:gd name="T47" fmla="*/ 29 h 31"/>
              <a:gd name="T48" fmla="*/ 41 w 46"/>
              <a:gd name="T49" fmla="*/ 28 h 31"/>
              <a:gd name="T50" fmla="*/ 42 w 46"/>
              <a:gd name="T51" fmla="*/ 27 h 31"/>
              <a:gd name="T52" fmla="*/ 42 w 46"/>
              <a:gd name="T53" fmla="*/ 27 h 31"/>
              <a:gd name="T54" fmla="*/ 43 w 46"/>
              <a:gd name="T55" fmla="*/ 26 h 31"/>
              <a:gd name="T56" fmla="*/ 42 w 46"/>
              <a:gd name="T57" fmla="*/ 25 h 31"/>
              <a:gd name="T58" fmla="*/ 40 w 46"/>
              <a:gd name="T59" fmla="*/ 19 h 31"/>
              <a:gd name="T60" fmla="*/ 40 w 46"/>
              <a:gd name="T61" fmla="*/ 15 h 31"/>
              <a:gd name="T62" fmla="*/ 44 w 46"/>
              <a:gd name="T63" fmla="*/ 8 h 31"/>
              <a:gd name="T64" fmla="*/ 45 w 46"/>
              <a:gd name="T65" fmla="*/ 5 h 31"/>
              <a:gd name="T66" fmla="*/ 46 w 46"/>
              <a:gd name="T67" fmla="*/ 4 h 31"/>
              <a:gd name="T68" fmla="*/ 37 w 46"/>
              <a:gd name="T69" fmla="*/ 3 h 31"/>
              <a:gd name="T70" fmla="*/ 25 w 46"/>
              <a:gd name="T71" fmla="*/ 1 h 31"/>
              <a:gd name="T72" fmla="*/ 22 w 46"/>
              <a:gd name="T73" fmla="*/ 2 h 31"/>
              <a:gd name="T74" fmla="*/ 10 w 46"/>
              <a:gd name="T75" fmla="*/ 4 h 31"/>
              <a:gd name="T76" fmla="*/ 7 w 46"/>
              <a:gd name="T77" fmla="*/ 6 h 31"/>
              <a:gd name="T78" fmla="*/ 0 w 46"/>
              <a:gd name="T79" fmla="*/ 1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 h="31">
                <a:moveTo>
                  <a:pt x="2" y="10"/>
                </a:moveTo>
                <a:cubicBezTo>
                  <a:pt x="1" y="10"/>
                  <a:pt x="1" y="10"/>
                  <a:pt x="1" y="10"/>
                </a:cubicBezTo>
                <a:cubicBezTo>
                  <a:pt x="1" y="10"/>
                  <a:pt x="1" y="10"/>
                  <a:pt x="1" y="10"/>
                </a:cubicBezTo>
                <a:cubicBezTo>
                  <a:pt x="2" y="10"/>
                  <a:pt x="2" y="10"/>
                  <a:pt x="2" y="10"/>
                </a:cubicBezTo>
                <a:cubicBezTo>
                  <a:pt x="2" y="10"/>
                  <a:pt x="2" y="10"/>
                  <a:pt x="2" y="11"/>
                </a:cubicBezTo>
                <a:cubicBezTo>
                  <a:pt x="1" y="11"/>
                  <a:pt x="1" y="11"/>
                  <a:pt x="1" y="12"/>
                </a:cubicBezTo>
                <a:cubicBezTo>
                  <a:pt x="1" y="13"/>
                  <a:pt x="1" y="13"/>
                  <a:pt x="0" y="13"/>
                </a:cubicBezTo>
                <a:cubicBezTo>
                  <a:pt x="2" y="14"/>
                  <a:pt x="3" y="13"/>
                  <a:pt x="5" y="14"/>
                </a:cubicBezTo>
                <a:cubicBezTo>
                  <a:pt x="4" y="14"/>
                  <a:pt x="2" y="14"/>
                  <a:pt x="1" y="14"/>
                </a:cubicBezTo>
                <a:cubicBezTo>
                  <a:pt x="1" y="15"/>
                  <a:pt x="1" y="16"/>
                  <a:pt x="1" y="16"/>
                </a:cubicBezTo>
                <a:cubicBezTo>
                  <a:pt x="1" y="17"/>
                  <a:pt x="2" y="17"/>
                  <a:pt x="2" y="17"/>
                </a:cubicBezTo>
                <a:cubicBezTo>
                  <a:pt x="4" y="19"/>
                  <a:pt x="4" y="20"/>
                  <a:pt x="7" y="21"/>
                </a:cubicBezTo>
                <a:cubicBezTo>
                  <a:pt x="8" y="21"/>
                  <a:pt x="8" y="21"/>
                  <a:pt x="10" y="20"/>
                </a:cubicBezTo>
                <a:cubicBezTo>
                  <a:pt x="11" y="19"/>
                  <a:pt x="12" y="19"/>
                  <a:pt x="11" y="20"/>
                </a:cubicBezTo>
                <a:cubicBezTo>
                  <a:pt x="11" y="22"/>
                  <a:pt x="10" y="24"/>
                  <a:pt x="10" y="25"/>
                </a:cubicBezTo>
                <a:cubicBezTo>
                  <a:pt x="13" y="24"/>
                  <a:pt x="13" y="24"/>
                  <a:pt x="13" y="24"/>
                </a:cubicBezTo>
                <a:cubicBezTo>
                  <a:pt x="13" y="24"/>
                  <a:pt x="14" y="24"/>
                  <a:pt x="15" y="24"/>
                </a:cubicBezTo>
                <a:cubicBezTo>
                  <a:pt x="15" y="24"/>
                  <a:pt x="15" y="24"/>
                  <a:pt x="15" y="24"/>
                </a:cubicBezTo>
                <a:cubicBezTo>
                  <a:pt x="15" y="24"/>
                  <a:pt x="16" y="23"/>
                  <a:pt x="16" y="23"/>
                </a:cubicBezTo>
                <a:cubicBezTo>
                  <a:pt x="16" y="23"/>
                  <a:pt x="16" y="23"/>
                  <a:pt x="16" y="23"/>
                </a:cubicBezTo>
                <a:cubicBezTo>
                  <a:pt x="16" y="23"/>
                  <a:pt x="16" y="23"/>
                  <a:pt x="17" y="23"/>
                </a:cubicBezTo>
                <a:cubicBezTo>
                  <a:pt x="17" y="22"/>
                  <a:pt x="17" y="22"/>
                  <a:pt x="17" y="22"/>
                </a:cubicBezTo>
                <a:cubicBezTo>
                  <a:pt x="18" y="23"/>
                  <a:pt x="18" y="23"/>
                  <a:pt x="18" y="23"/>
                </a:cubicBezTo>
                <a:cubicBezTo>
                  <a:pt x="19" y="24"/>
                  <a:pt x="19" y="24"/>
                  <a:pt x="19" y="24"/>
                </a:cubicBezTo>
                <a:cubicBezTo>
                  <a:pt x="20" y="24"/>
                  <a:pt x="20" y="24"/>
                  <a:pt x="20" y="24"/>
                </a:cubicBezTo>
                <a:cubicBezTo>
                  <a:pt x="20" y="23"/>
                  <a:pt x="21" y="23"/>
                  <a:pt x="21" y="24"/>
                </a:cubicBezTo>
                <a:cubicBezTo>
                  <a:pt x="21" y="24"/>
                  <a:pt x="22" y="24"/>
                  <a:pt x="23" y="24"/>
                </a:cubicBezTo>
                <a:cubicBezTo>
                  <a:pt x="23" y="24"/>
                  <a:pt x="23" y="24"/>
                  <a:pt x="23" y="24"/>
                </a:cubicBezTo>
                <a:cubicBezTo>
                  <a:pt x="23" y="25"/>
                  <a:pt x="24" y="25"/>
                  <a:pt x="24" y="25"/>
                </a:cubicBezTo>
                <a:cubicBezTo>
                  <a:pt x="24" y="25"/>
                  <a:pt x="24" y="25"/>
                  <a:pt x="24" y="25"/>
                </a:cubicBezTo>
                <a:cubicBezTo>
                  <a:pt x="25" y="26"/>
                  <a:pt x="26" y="26"/>
                  <a:pt x="27" y="26"/>
                </a:cubicBezTo>
                <a:cubicBezTo>
                  <a:pt x="29" y="26"/>
                  <a:pt x="29" y="26"/>
                  <a:pt x="29" y="26"/>
                </a:cubicBezTo>
                <a:cubicBezTo>
                  <a:pt x="28" y="28"/>
                  <a:pt x="28" y="28"/>
                  <a:pt x="28" y="28"/>
                </a:cubicBezTo>
                <a:cubicBezTo>
                  <a:pt x="29" y="28"/>
                  <a:pt x="29" y="29"/>
                  <a:pt x="30" y="29"/>
                </a:cubicBezTo>
                <a:cubicBezTo>
                  <a:pt x="30" y="30"/>
                  <a:pt x="30" y="30"/>
                  <a:pt x="30" y="30"/>
                </a:cubicBezTo>
                <a:cubicBezTo>
                  <a:pt x="31" y="30"/>
                  <a:pt x="31" y="30"/>
                  <a:pt x="32" y="31"/>
                </a:cubicBezTo>
                <a:cubicBezTo>
                  <a:pt x="32" y="31"/>
                  <a:pt x="33" y="31"/>
                  <a:pt x="33" y="30"/>
                </a:cubicBezTo>
                <a:cubicBezTo>
                  <a:pt x="33" y="30"/>
                  <a:pt x="33" y="30"/>
                  <a:pt x="33" y="30"/>
                </a:cubicBezTo>
                <a:cubicBezTo>
                  <a:pt x="34" y="30"/>
                  <a:pt x="34" y="30"/>
                  <a:pt x="34" y="30"/>
                </a:cubicBezTo>
                <a:cubicBezTo>
                  <a:pt x="34" y="30"/>
                  <a:pt x="35" y="29"/>
                  <a:pt x="35" y="29"/>
                </a:cubicBezTo>
                <a:cubicBezTo>
                  <a:pt x="36" y="29"/>
                  <a:pt x="36" y="29"/>
                  <a:pt x="36" y="29"/>
                </a:cubicBezTo>
                <a:cubicBezTo>
                  <a:pt x="37" y="29"/>
                  <a:pt x="37" y="30"/>
                  <a:pt x="38" y="30"/>
                </a:cubicBezTo>
                <a:cubicBezTo>
                  <a:pt x="38" y="30"/>
                  <a:pt x="38" y="30"/>
                  <a:pt x="39" y="30"/>
                </a:cubicBezTo>
                <a:cubicBezTo>
                  <a:pt x="40" y="31"/>
                  <a:pt x="40" y="31"/>
                  <a:pt x="40" y="31"/>
                </a:cubicBezTo>
                <a:cubicBezTo>
                  <a:pt x="40" y="31"/>
                  <a:pt x="40" y="30"/>
                  <a:pt x="40" y="30"/>
                </a:cubicBezTo>
                <a:cubicBezTo>
                  <a:pt x="40" y="30"/>
                  <a:pt x="40" y="30"/>
                  <a:pt x="40" y="30"/>
                </a:cubicBezTo>
                <a:cubicBezTo>
                  <a:pt x="40" y="30"/>
                  <a:pt x="40" y="30"/>
                  <a:pt x="40" y="30"/>
                </a:cubicBezTo>
                <a:cubicBezTo>
                  <a:pt x="40" y="30"/>
                  <a:pt x="40" y="29"/>
                  <a:pt x="40" y="29"/>
                </a:cubicBezTo>
                <a:cubicBezTo>
                  <a:pt x="40" y="29"/>
                  <a:pt x="40" y="29"/>
                  <a:pt x="40" y="28"/>
                </a:cubicBezTo>
                <a:cubicBezTo>
                  <a:pt x="41" y="28"/>
                  <a:pt x="41" y="28"/>
                  <a:pt x="41" y="28"/>
                </a:cubicBezTo>
                <a:cubicBezTo>
                  <a:pt x="41" y="28"/>
                  <a:pt x="41" y="28"/>
                  <a:pt x="41" y="28"/>
                </a:cubicBezTo>
                <a:cubicBezTo>
                  <a:pt x="41" y="27"/>
                  <a:pt x="41" y="27"/>
                  <a:pt x="42" y="27"/>
                </a:cubicBezTo>
                <a:cubicBezTo>
                  <a:pt x="42" y="27"/>
                  <a:pt x="42" y="27"/>
                  <a:pt x="42" y="27"/>
                </a:cubicBezTo>
                <a:cubicBezTo>
                  <a:pt x="42" y="27"/>
                  <a:pt x="42" y="27"/>
                  <a:pt x="42" y="27"/>
                </a:cubicBezTo>
                <a:cubicBezTo>
                  <a:pt x="42" y="27"/>
                  <a:pt x="42" y="27"/>
                  <a:pt x="42" y="27"/>
                </a:cubicBezTo>
                <a:cubicBezTo>
                  <a:pt x="43" y="26"/>
                  <a:pt x="43" y="26"/>
                  <a:pt x="43" y="26"/>
                </a:cubicBezTo>
                <a:cubicBezTo>
                  <a:pt x="43" y="26"/>
                  <a:pt x="43" y="26"/>
                  <a:pt x="43" y="25"/>
                </a:cubicBezTo>
                <a:cubicBezTo>
                  <a:pt x="43" y="25"/>
                  <a:pt x="42" y="25"/>
                  <a:pt x="42" y="25"/>
                </a:cubicBezTo>
                <a:cubicBezTo>
                  <a:pt x="40" y="23"/>
                  <a:pt x="40" y="20"/>
                  <a:pt x="40" y="20"/>
                </a:cubicBezTo>
                <a:cubicBezTo>
                  <a:pt x="40" y="19"/>
                  <a:pt x="40" y="19"/>
                  <a:pt x="40" y="19"/>
                </a:cubicBezTo>
                <a:cubicBezTo>
                  <a:pt x="40" y="19"/>
                  <a:pt x="40" y="19"/>
                  <a:pt x="40" y="19"/>
                </a:cubicBezTo>
                <a:cubicBezTo>
                  <a:pt x="40" y="18"/>
                  <a:pt x="40" y="16"/>
                  <a:pt x="40" y="15"/>
                </a:cubicBezTo>
                <a:cubicBezTo>
                  <a:pt x="40" y="14"/>
                  <a:pt x="40" y="12"/>
                  <a:pt x="41" y="11"/>
                </a:cubicBezTo>
                <a:cubicBezTo>
                  <a:pt x="42" y="11"/>
                  <a:pt x="43" y="9"/>
                  <a:pt x="44" y="8"/>
                </a:cubicBezTo>
                <a:cubicBezTo>
                  <a:pt x="44" y="7"/>
                  <a:pt x="45" y="6"/>
                  <a:pt x="45" y="5"/>
                </a:cubicBezTo>
                <a:cubicBezTo>
                  <a:pt x="45" y="5"/>
                  <a:pt x="45" y="5"/>
                  <a:pt x="45" y="5"/>
                </a:cubicBezTo>
                <a:cubicBezTo>
                  <a:pt x="46" y="4"/>
                  <a:pt x="46" y="4"/>
                  <a:pt x="46" y="4"/>
                </a:cubicBezTo>
                <a:cubicBezTo>
                  <a:pt x="46" y="4"/>
                  <a:pt x="46" y="4"/>
                  <a:pt x="46" y="4"/>
                </a:cubicBezTo>
                <a:cubicBezTo>
                  <a:pt x="44" y="4"/>
                  <a:pt x="42" y="3"/>
                  <a:pt x="41" y="3"/>
                </a:cubicBezTo>
                <a:cubicBezTo>
                  <a:pt x="39" y="3"/>
                  <a:pt x="38" y="3"/>
                  <a:pt x="37" y="3"/>
                </a:cubicBezTo>
                <a:cubicBezTo>
                  <a:pt x="36" y="3"/>
                  <a:pt x="35" y="3"/>
                  <a:pt x="34" y="2"/>
                </a:cubicBezTo>
                <a:cubicBezTo>
                  <a:pt x="31" y="2"/>
                  <a:pt x="28" y="2"/>
                  <a:pt x="25" y="1"/>
                </a:cubicBezTo>
                <a:cubicBezTo>
                  <a:pt x="24" y="1"/>
                  <a:pt x="23" y="1"/>
                  <a:pt x="21" y="0"/>
                </a:cubicBezTo>
                <a:cubicBezTo>
                  <a:pt x="21" y="1"/>
                  <a:pt x="22" y="1"/>
                  <a:pt x="22" y="2"/>
                </a:cubicBezTo>
                <a:cubicBezTo>
                  <a:pt x="19" y="3"/>
                  <a:pt x="17" y="2"/>
                  <a:pt x="14" y="3"/>
                </a:cubicBezTo>
                <a:cubicBezTo>
                  <a:pt x="13" y="3"/>
                  <a:pt x="11" y="3"/>
                  <a:pt x="10" y="4"/>
                </a:cubicBezTo>
                <a:cubicBezTo>
                  <a:pt x="9" y="4"/>
                  <a:pt x="8" y="5"/>
                  <a:pt x="7" y="5"/>
                </a:cubicBezTo>
                <a:cubicBezTo>
                  <a:pt x="7" y="5"/>
                  <a:pt x="7" y="5"/>
                  <a:pt x="7" y="6"/>
                </a:cubicBezTo>
                <a:cubicBezTo>
                  <a:pt x="6" y="6"/>
                  <a:pt x="1" y="7"/>
                  <a:pt x="1" y="7"/>
                </a:cubicBezTo>
                <a:cubicBezTo>
                  <a:pt x="0" y="8"/>
                  <a:pt x="0" y="9"/>
                  <a:pt x="0" y="10"/>
                </a:cubicBezTo>
                <a:cubicBezTo>
                  <a:pt x="0" y="10"/>
                  <a:pt x="1" y="10"/>
                  <a:pt x="2" y="10"/>
                </a:cubicBezTo>
                <a:close/>
              </a:path>
            </a:pathLst>
          </a:custGeom>
          <a:solidFill>
            <a:srgbClr val="00A5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73" name="Rectangle 3130">
            <a:extLst>
              <a:ext uri="{FF2B5EF4-FFF2-40B4-BE49-F238E27FC236}">
                <a16:creationId xmlns:a16="http://schemas.microsoft.com/office/drawing/2014/main" id="{09592B86-2E6A-4A95-80F4-4CC25BCF0520}"/>
              </a:ext>
            </a:extLst>
          </p:cNvPr>
          <p:cNvSpPr>
            <a:spLocks noChangeArrowheads="1"/>
          </p:cNvSpPr>
          <p:nvPr/>
        </p:nvSpPr>
        <p:spPr bwMode="auto">
          <a:xfrm>
            <a:off x="4357380" y="2979194"/>
            <a:ext cx="496" cy="594"/>
          </a:xfrm>
          <a:prstGeom prst="rect">
            <a:avLst/>
          </a:prstGeom>
          <a:solidFill>
            <a:schemeClr val="tx1">
              <a:lumMod val="40000"/>
              <a:lumOff val="60000"/>
            </a:schemeClr>
          </a:solid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74" name="Freeform 3131">
            <a:extLst>
              <a:ext uri="{FF2B5EF4-FFF2-40B4-BE49-F238E27FC236}">
                <a16:creationId xmlns:a16="http://schemas.microsoft.com/office/drawing/2014/main" id="{BEB5351D-932F-4739-9DB9-6CDD8A49F585}"/>
              </a:ext>
            </a:extLst>
          </p:cNvPr>
          <p:cNvSpPr>
            <a:spLocks/>
          </p:cNvSpPr>
          <p:nvPr/>
        </p:nvSpPr>
        <p:spPr bwMode="auto">
          <a:xfrm>
            <a:off x="4153704" y="288125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75" name="Freeform 3132">
            <a:extLst>
              <a:ext uri="{FF2B5EF4-FFF2-40B4-BE49-F238E27FC236}">
                <a16:creationId xmlns:a16="http://schemas.microsoft.com/office/drawing/2014/main" id="{C3EC4A2D-E4AE-4A2A-9D6A-1C38CAA99124}"/>
              </a:ext>
            </a:extLst>
          </p:cNvPr>
          <p:cNvSpPr>
            <a:spLocks/>
          </p:cNvSpPr>
          <p:nvPr/>
        </p:nvSpPr>
        <p:spPr bwMode="auto">
          <a:xfrm>
            <a:off x="3898491" y="2874128"/>
            <a:ext cx="482676" cy="266524"/>
          </a:xfrm>
          <a:custGeom>
            <a:avLst/>
            <a:gdLst>
              <a:gd name="T0" fmla="*/ 83 w 412"/>
              <a:gd name="T1" fmla="*/ 173 h 190"/>
              <a:gd name="T2" fmla="*/ 100 w 412"/>
              <a:gd name="T3" fmla="*/ 135 h 190"/>
              <a:gd name="T4" fmla="*/ 126 w 412"/>
              <a:gd name="T5" fmla="*/ 125 h 190"/>
              <a:gd name="T6" fmla="*/ 134 w 412"/>
              <a:gd name="T7" fmla="*/ 125 h 190"/>
              <a:gd name="T8" fmla="*/ 138 w 412"/>
              <a:gd name="T9" fmla="*/ 131 h 190"/>
              <a:gd name="T10" fmla="*/ 179 w 412"/>
              <a:gd name="T11" fmla="*/ 153 h 190"/>
              <a:gd name="T12" fmla="*/ 200 w 412"/>
              <a:gd name="T13" fmla="*/ 162 h 190"/>
              <a:gd name="T14" fmla="*/ 205 w 412"/>
              <a:gd name="T15" fmla="*/ 177 h 190"/>
              <a:gd name="T16" fmla="*/ 221 w 412"/>
              <a:gd name="T17" fmla="*/ 186 h 190"/>
              <a:gd name="T18" fmla="*/ 238 w 412"/>
              <a:gd name="T19" fmla="*/ 176 h 190"/>
              <a:gd name="T20" fmla="*/ 273 w 412"/>
              <a:gd name="T21" fmla="*/ 167 h 190"/>
              <a:gd name="T22" fmla="*/ 293 w 412"/>
              <a:gd name="T23" fmla="*/ 163 h 190"/>
              <a:gd name="T24" fmla="*/ 317 w 412"/>
              <a:gd name="T25" fmla="*/ 162 h 190"/>
              <a:gd name="T26" fmla="*/ 339 w 412"/>
              <a:gd name="T27" fmla="*/ 168 h 190"/>
              <a:gd name="T28" fmla="*/ 347 w 412"/>
              <a:gd name="T29" fmla="*/ 156 h 190"/>
              <a:gd name="T30" fmla="*/ 355 w 412"/>
              <a:gd name="T31" fmla="*/ 132 h 190"/>
              <a:gd name="T32" fmla="*/ 374 w 412"/>
              <a:gd name="T33" fmla="*/ 108 h 190"/>
              <a:gd name="T34" fmla="*/ 409 w 412"/>
              <a:gd name="T35" fmla="*/ 88 h 190"/>
              <a:gd name="T36" fmla="*/ 401 w 412"/>
              <a:gd name="T37" fmla="*/ 80 h 190"/>
              <a:gd name="T38" fmla="*/ 391 w 412"/>
              <a:gd name="T39" fmla="*/ 73 h 190"/>
              <a:gd name="T40" fmla="*/ 378 w 412"/>
              <a:gd name="T41" fmla="*/ 61 h 190"/>
              <a:gd name="T42" fmla="*/ 357 w 412"/>
              <a:gd name="T43" fmla="*/ 64 h 190"/>
              <a:gd name="T44" fmla="*/ 347 w 412"/>
              <a:gd name="T45" fmla="*/ 59 h 190"/>
              <a:gd name="T46" fmla="*/ 340 w 412"/>
              <a:gd name="T47" fmla="*/ 62 h 190"/>
              <a:gd name="T48" fmla="*/ 290 w 412"/>
              <a:gd name="T49" fmla="*/ 21 h 190"/>
              <a:gd name="T50" fmla="*/ 271 w 412"/>
              <a:gd name="T51" fmla="*/ 19 h 190"/>
              <a:gd name="T52" fmla="*/ 259 w 412"/>
              <a:gd name="T53" fmla="*/ 16 h 190"/>
              <a:gd name="T54" fmla="*/ 248 w 412"/>
              <a:gd name="T55" fmla="*/ 12 h 190"/>
              <a:gd name="T56" fmla="*/ 238 w 412"/>
              <a:gd name="T57" fmla="*/ 2 h 190"/>
              <a:gd name="T58" fmla="*/ 227 w 412"/>
              <a:gd name="T59" fmla="*/ 0 h 190"/>
              <a:gd name="T60" fmla="*/ 212 w 412"/>
              <a:gd name="T61" fmla="*/ 9 h 190"/>
              <a:gd name="T62" fmla="*/ 203 w 412"/>
              <a:gd name="T63" fmla="*/ 9 h 190"/>
              <a:gd name="T64" fmla="*/ 189 w 412"/>
              <a:gd name="T65" fmla="*/ 14 h 190"/>
              <a:gd name="T66" fmla="*/ 181 w 412"/>
              <a:gd name="T67" fmla="*/ 14 h 190"/>
              <a:gd name="T68" fmla="*/ 164 w 412"/>
              <a:gd name="T69" fmla="*/ 18 h 190"/>
              <a:gd name="T70" fmla="*/ 157 w 412"/>
              <a:gd name="T71" fmla="*/ 19 h 190"/>
              <a:gd name="T72" fmla="*/ 151 w 412"/>
              <a:gd name="T73" fmla="*/ 22 h 190"/>
              <a:gd name="T74" fmla="*/ 152 w 412"/>
              <a:gd name="T75" fmla="*/ 27 h 190"/>
              <a:gd name="T76" fmla="*/ 158 w 412"/>
              <a:gd name="T77" fmla="*/ 33 h 190"/>
              <a:gd name="T78" fmla="*/ 152 w 412"/>
              <a:gd name="T79" fmla="*/ 33 h 190"/>
              <a:gd name="T80" fmla="*/ 148 w 412"/>
              <a:gd name="T81" fmla="*/ 42 h 190"/>
              <a:gd name="T82" fmla="*/ 142 w 412"/>
              <a:gd name="T83" fmla="*/ 47 h 190"/>
              <a:gd name="T84" fmla="*/ 153 w 412"/>
              <a:gd name="T85" fmla="*/ 54 h 190"/>
              <a:gd name="T86" fmla="*/ 151 w 412"/>
              <a:gd name="T87" fmla="*/ 63 h 190"/>
              <a:gd name="T88" fmla="*/ 131 w 412"/>
              <a:gd name="T89" fmla="*/ 66 h 190"/>
              <a:gd name="T90" fmla="*/ 115 w 412"/>
              <a:gd name="T91" fmla="*/ 60 h 190"/>
              <a:gd name="T92" fmla="*/ 95 w 412"/>
              <a:gd name="T93" fmla="*/ 65 h 190"/>
              <a:gd name="T94" fmla="*/ 80 w 412"/>
              <a:gd name="T95" fmla="*/ 65 h 190"/>
              <a:gd name="T96" fmla="*/ 60 w 412"/>
              <a:gd name="T97" fmla="*/ 53 h 190"/>
              <a:gd name="T98" fmla="*/ 49 w 412"/>
              <a:gd name="T99" fmla="*/ 54 h 190"/>
              <a:gd name="T100" fmla="*/ 37 w 412"/>
              <a:gd name="T101" fmla="*/ 57 h 190"/>
              <a:gd name="T102" fmla="*/ 23 w 412"/>
              <a:gd name="T103" fmla="*/ 67 h 190"/>
              <a:gd name="T104" fmla="*/ 14 w 412"/>
              <a:gd name="T105" fmla="*/ 72 h 190"/>
              <a:gd name="T106" fmla="*/ 4 w 412"/>
              <a:gd name="T107" fmla="*/ 79 h 190"/>
              <a:gd name="T108" fmla="*/ 7 w 412"/>
              <a:gd name="T109" fmla="*/ 99 h 190"/>
              <a:gd name="T110" fmla="*/ 26 w 412"/>
              <a:gd name="T111" fmla="*/ 115 h 190"/>
              <a:gd name="T112" fmla="*/ 28 w 412"/>
              <a:gd name="T113" fmla="*/ 118 h 190"/>
              <a:gd name="T114" fmla="*/ 62 w 412"/>
              <a:gd name="T115" fmla="*/ 112 h 190"/>
              <a:gd name="T116" fmla="*/ 68 w 412"/>
              <a:gd name="T117" fmla="*/ 143 h 190"/>
              <a:gd name="T118" fmla="*/ 48 w 412"/>
              <a:gd name="T119" fmla="*/ 142 h 190"/>
              <a:gd name="T120" fmla="*/ 47 w 412"/>
              <a:gd name="T121" fmla="*/ 16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2" h="190">
                <a:moveTo>
                  <a:pt x="58" y="164"/>
                </a:moveTo>
                <a:cubicBezTo>
                  <a:pt x="59" y="164"/>
                  <a:pt x="60" y="164"/>
                  <a:pt x="60" y="164"/>
                </a:cubicBezTo>
                <a:cubicBezTo>
                  <a:pt x="61" y="165"/>
                  <a:pt x="62" y="165"/>
                  <a:pt x="62" y="166"/>
                </a:cubicBezTo>
                <a:cubicBezTo>
                  <a:pt x="62" y="166"/>
                  <a:pt x="62" y="166"/>
                  <a:pt x="61" y="166"/>
                </a:cubicBezTo>
                <a:cubicBezTo>
                  <a:pt x="62" y="168"/>
                  <a:pt x="62" y="168"/>
                  <a:pt x="61" y="170"/>
                </a:cubicBezTo>
                <a:cubicBezTo>
                  <a:pt x="60" y="171"/>
                  <a:pt x="59" y="172"/>
                  <a:pt x="59" y="173"/>
                </a:cubicBezTo>
                <a:cubicBezTo>
                  <a:pt x="59" y="174"/>
                  <a:pt x="59" y="175"/>
                  <a:pt x="59" y="176"/>
                </a:cubicBezTo>
                <a:cubicBezTo>
                  <a:pt x="60" y="176"/>
                  <a:pt x="60" y="176"/>
                  <a:pt x="60" y="175"/>
                </a:cubicBezTo>
                <a:cubicBezTo>
                  <a:pt x="61" y="175"/>
                  <a:pt x="61" y="174"/>
                  <a:pt x="62" y="174"/>
                </a:cubicBezTo>
                <a:cubicBezTo>
                  <a:pt x="63" y="173"/>
                  <a:pt x="63" y="172"/>
                  <a:pt x="64" y="172"/>
                </a:cubicBezTo>
                <a:cubicBezTo>
                  <a:pt x="66" y="171"/>
                  <a:pt x="69" y="170"/>
                  <a:pt x="71" y="170"/>
                </a:cubicBezTo>
                <a:cubicBezTo>
                  <a:pt x="72" y="170"/>
                  <a:pt x="73" y="169"/>
                  <a:pt x="74" y="169"/>
                </a:cubicBezTo>
                <a:cubicBezTo>
                  <a:pt x="75" y="169"/>
                  <a:pt x="75" y="169"/>
                  <a:pt x="75" y="169"/>
                </a:cubicBezTo>
                <a:cubicBezTo>
                  <a:pt x="76" y="169"/>
                  <a:pt x="76" y="169"/>
                  <a:pt x="77" y="169"/>
                </a:cubicBezTo>
                <a:cubicBezTo>
                  <a:pt x="78" y="169"/>
                  <a:pt x="78" y="170"/>
                  <a:pt x="79" y="170"/>
                </a:cubicBezTo>
                <a:cubicBezTo>
                  <a:pt x="80" y="171"/>
                  <a:pt x="82" y="172"/>
                  <a:pt x="83" y="173"/>
                </a:cubicBezTo>
                <a:cubicBezTo>
                  <a:pt x="83" y="173"/>
                  <a:pt x="83" y="173"/>
                  <a:pt x="83" y="173"/>
                </a:cubicBezTo>
                <a:cubicBezTo>
                  <a:pt x="84" y="174"/>
                  <a:pt x="84" y="174"/>
                  <a:pt x="85" y="175"/>
                </a:cubicBezTo>
                <a:cubicBezTo>
                  <a:pt x="85" y="175"/>
                  <a:pt x="85" y="175"/>
                  <a:pt x="85" y="175"/>
                </a:cubicBezTo>
                <a:cubicBezTo>
                  <a:pt x="86" y="176"/>
                  <a:pt x="87" y="177"/>
                  <a:pt x="88" y="177"/>
                </a:cubicBezTo>
                <a:cubicBezTo>
                  <a:pt x="88" y="178"/>
                  <a:pt x="88" y="178"/>
                  <a:pt x="89" y="179"/>
                </a:cubicBezTo>
                <a:cubicBezTo>
                  <a:pt x="89" y="179"/>
                  <a:pt x="89" y="179"/>
                  <a:pt x="89" y="179"/>
                </a:cubicBezTo>
                <a:cubicBezTo>
                  <a:pt x="89" y="180"/>
                  <a:pt x="90" y="181"/>
                  <a:pt x="91" y="181"/>
                </a:cubicBezTo>
                <a:cubicBezTo>
                  <a:pt x="91" y="181"/>
                  <a:pt x="91" y="182"/>
                  <a:pt x="91" y="182"/>
                </a:cubicBezTo>
                <a:cubicBezTo>
                  <a:pt x="92" y="182"/>
                  <a:pt x="92" y="182"/>
                  <a:pt x="93" y="182"/>
                </a:cubicBezTo>
                <a:cubicBezTo>
                  <a:pt x="93" y="182"/>
                  <a:pt x="94" y="181"/>
                  <a:pt x="95" y="181"/>
                </a:cubicBezTo>
                <a:cubicBezTo>
                  <a:pt x="95" y="159"/>
                  <a:pt x="95" y="159"/>
                  <a:pt x="95" y="159"/>
                </a:cubicBezTo>
                <a:cubicBezTo>
                  <a:pt x="95" y="152"/>
                  <a:pt x="95" y="145"/>
                  <a:pt x="95" y="138"/>
                </a:cubicBezTo>
                <a:cubicBezTo>
                  <a:pt x="95" y="137"/>
                  <a:pt x="95" y="137"/>
                  <a:pt x="95" y="137"/>
                </a:cubicBezTo>
                <a:cubicBezTo>
                  <a:pt x="95" y="137"/>
                  <a:pt x="95" y="136"/>
                  <a:pt x="96" y="136"/>
                </a:cubicBezTo>
                <a:cubicBezTo>
                  <a:pt x="97" y="135"/>
                  <a:pt x="98" y="135"/>
                  <a:pt x="99" y="135"/>
                </a:cubicBezTo>
                <a:cubicBezTo>
                  <a:pt x="99" y="135"/>
                  <a:pt x="100" y="135"/>
                  <a:pt x="100" y="135"/>
                </a:cubicBezTo>
                <a:cubicBezTo>
                  <a:pt x="104" y="133"/>
                  <a:pt x="109" y="132"/>
                  <a:pt x="113" y="131"/>
                </a:cubicBezTo>
                <a:cubicBezTo>
                  <a:pt x="118" y="130"/>
                  <a:pt x="118" y="130"/>
                  <a:pt x="118" y="130"/>
                </a:cubicBezTo>
                <a:cubicBezTo>
                  <a:pt x="119" y="129"/>
                  <a:pt x="120" y="129"/>
                  <a:pt x="120" y="129"/>
                </a:cubicBezTo>
                <a:cubicBezTo>
                  <a:pt x="121" y="129"/>
                  <a:pt x="121" y="129"/>
                  <a:pt x="121" y="129"/>
                </a:cubicBezTo>
                <a:cubicBezTo>
                  <a:pt x="122" y="129"/>
                  <a:pt x="122" y="129"/>
                  <a:pt x="123" y="129"/>
                </a:cubicBezTo>
                <a:cubicBezTo>
                  <a:pt x="123" y="128"/>
                  <a:pt x="123" y="128"/>
                  <a:pt x="123" y="127"/>
                </a:cubicBezTo>
                <a:cubicBezTo>
                  <a:pt x="124" y="127"/>
                  <a:pt x="124" y="126"/>
                  <a:pt x="125" y="126"/>
                </a:cubicBezTo>
                <a:cubicBezTo>
                  <a:pt x="125" y="126"/>
                  <a:pt x="126" y="126"/>
                  <a:pt x="126" y="126"/>
                </a:cubicBezTo>
                <a:cubicBezTo>
                  <a:pt x="126" y="125"/>
                  <a:pt x="126" y="125"/>
                  <a:pt x="126" y="125"/>
                </a:cubicBezTo>
                <a:cubicBezTo>
                  <a:pt x="126" y="125"/>
                  <a:pt x="126" y="125"/>
                  <a:pt x="126" y="125"/>
                </a:cubicBezTo>
                <a:cubicBezTo>
                  <a:pt x="126" y="125"/>
                  <a:pt x="126" y="125"/>
                  <a:pt x="126" y="126"/>
                </a:cubicBezTo>
                <a:cubicBezTo>
                  <a:pt x="126" y="126"/>
                  <a:pt x="126" y="126"/>
                  <a:pt x="126" y="126"/>
                </a:cubicBezTo>
                <a:cubicBezTo>
                  <a:pt x="126" y="126"/>
                  <a:pt x="126" y="126"/>
                  <a:pt x="126" y="126"/>
                </a:cubicBezTo>
                <a:cubicBezTo>
                  <a:pt x="126" y="126"/>
                  <a:pt x="126" y="126"/>
                  <a:pt x="126" y="126"/>
                </a:cubicBezTo>
                <a:cubicBezTo>
                  <a:pt x="127" y="126"/>
                  <a:pt x="126" y="126"/>
                  <a:pt x="126" y="126"/>
                </a:cubicBezTo>
                <a:cubicBezTo>
                  <a:pt x="126" y="126"/>
                  <a:pt x="126" y="125"/>
                  <a:pt x="126" y="125"/>
                </a:cubicBezTo>
                <a:cubicBezTo>
                  <a:pt x="127" y="126"/>
                  <a:pt x="127" y="126"/>
                  <a:pt x="127" y="126"/>
                </a:cubicBezTo>
                <a:cubicBezTo>
                  <a:pt x="127" y="126"/>
                  <a:pt x="128" y="126"/>
                  <a:pt x="128" y="126"/>
                </a:cubicBezTo>
                <a:cubicBezTo>
                  <a:pt x="129" y="126"/>
                  <a:pt x="129" y="125"/>
                  <a:pt x="129" y="125"/>
                </a:cubicBezTo>
                <a:cubicBezTo>
                  <a:pt x="131" y="125"/>
                  <a:pt x="129" y="126"/>
                  <a:pt x="129" y="127"/>
                </a:cubicBezTo>
                <a:cubicBezTo>
                  <a:pt x="129" y="127"/>
                  <a:pt x="128" y="128"/>
                  <a:pt x="129" y="129"/>
                </a:cubicBezTo>
                <a:cubicBezTo>
                  <a:pt x="130" y="129"/>
                  <a:pt x="131" y="127"/>
                  <a:pt x="131" y="129"/>
                </a:cubicBezTo>
                <a:cubicBezTo>
                  <a:pt x="131" y="129"/>
                  <a:pt x="131" y="128"/>
                  <a:pt x="132" y="128"/>
                </a:cubicBezTo>
                <a:cubicBezTo>
                  <a:pt x="132" y="128"/>
                  <a:pt x="133" y="128"/>
                  <a:pt x="133" y="128"/>
                </a:cubicBezTo>
                <a:cubicBezTo>
                  <a:pt x="133" y="128"/>
                  <a:pt x="133" y="127"/>
                  <a:pt x="133" y="127"/>
                </a:cubicBezTo>
                <a:cubicBezTo>
                  <a:pt x="133" y="127"/>
                  <a:pt x="133" y="126"/>
                  <a:pt x="134" y="126"/>
                </a:cubicBezTo>
                <a:cubicBezTo>
                  <a:pt x="134" y="124"/>
                  <a:pt x="134" y="124"/>
                  <a:pt x="133" y="123"/>
                </a:cubicBezTo>
                <a:cubicBezTo>
                  <a:pt x="133" y="122"/>
                  <a:pt x="132" y="122"/>
                  <a:pt x="132" y="121"/>
                </a:cubicBezTo>
                <a:cubicBezTo>
                  <a:pt x="132" y="120"/>
                  <a:pt x="132" y="121"/>
                  <a:pt x="133" y="121"/>
                </a:cubicBezTo>
                <a:cubicBezTo>
                  <a:pt x="134" y="121"/>
                  <a:pt x="134" y="121"/>
                  <a:pt x="135" y="122"/>
                </a:cubicBezTo>
                <a:cubicBezTo>
                  <a:pt x="135" y="122"/>
                  <a:pt x="135" y="123"/>
                  <a:pt x="135" y="123"/>
                </a:cubicBezTo>
                <a:cubicBezTo>
                  <a:pt x="135" y="124"/>
                  <a:pt x="133" y="124"/>
                  <a:pt x="134" y="125"/>
                </a:cubicBezTo>
                <a:cubicBezTo>
                  <a:pt x="135" y="125"/>
                  <a:pt x="136" y="124"/>
                  <a:pt x="136" y="124"/>
                </a:cubicBezTo>
                <a:cubicBezTo>
                  <a:pt x="137" y="124"/>
                  <a:pt x="137" y="124"/>
                  <a:pt x="138" y="124"/>
                </a:cubicBezTo>
                <a:cubicBezTo>
                  <a:pt x="139" y="124"/>
                  <a:pt x="139" y="124"/>
                  <a:pt x="140" y="124"/>
                </a:cubicBezTo>
                <a:cubicBezTo>
                  <a:pt x="141" y="124"/>
                  <a:pt x="143" y="124"/>
                  <a:pt x="144" y="124"/>
                </a:cubicBezTo>
                <a:cubicBezTo>
                  <a:pt x="144" y="125"/>
                  <a:pt x="143" y="125"/>
                  <a:pt x="142" y="126"/>
                </a:cubicBezTo>
                <a:cubicBezTo>
                  <a:pt x="141" y="127"/>
                  <a:pt x="141" y="127"/>
                  <a:pt x="140" y="127"/>
                </a:cubicBezTo>
                <a:cubicBezTo>
                  <a:pt x="139" y="127"/>
                  <a:pt x="139" y="126"/>
                  <a:pt x="138" y="126"/>
                </a:cubicBezTo>
                <a:cubicBezTo>
                  <a:pt x="137" y="126"/>
                  <a:pt x="136" y="126"/>
                  <a:pt x="135" y="126"/>
                </a:cubicBezTo>
                <a:cubicBezTo>
                  <a:pt x="135" y="126"/>
                  <a:pt x="136" y="126"/>
                  <a:pt x="136" y="126"/>
                </a:cubicBezTo>
                <a:cubicBezTo>
                  <a:pt x="135" y="126"/>
                  <a:pt x="135" y="126"/>
                  <a:pt x="134" y="126"/>
                </a:cubicBezTo>
                <a:cubicBezTo>
                  <a:pt x="135" y="126"/>
                  <a:pt x="135" y="126"/>
                  <a:pt x="134" y="126"/>
                </a:cubicBezTo>
                <a:cubicBezTo>
                  <a:pt x="135" y="127"/>
                  <a:pt x="135" y="127"/>
                  <a:pt x="135" y="127"/>
                </a:cubicBezTo>
                <a:cubicBezTo>
                  <a:pt x="135" y="127"/>
                  <a:pt x="134" y="127"/>
                  <a:pt x="134" y="127"/>
                </a:cubicBezTo>
                <a:cubicBezTo>
                  <a:pt x="134" y="127"/>
                  <a:pt x="135" y="128"/>
                  <a:pt x="134" y="128"/>
                </a:cubicBezTo>
                <a:cubicBezTo>
                  <a:pt x="135" y="128"/>
                  <a:pt x="133" y="130"/>
                  <a:pt x="134" y="130"/>
                </a:cubicBezTo>
                <a:cubicBezTo>
                  <a:pt x="135" y="131"/>
                  <a:pt x="137" y="129"/>
                  <a:pt x="138" y="131"/>
                </a:cubicBezTo>
                <a:cubicBezTo>
                  <a:pt x="139" y="133"/>
                  <a:pt x="138" y="136"/>
                  <a:pt x="138" y="138"/>
                </a:cubicBezTo>
                <a:cubicBezTo>
                  <a:pt x="139" y="138"/>
                  <a:pt x="139" y="138"/>
                  <a:pt x="139" y="138"/>
                </a:cubicBezTo>
                <a:cubicBezTo>
                  <a:pt x="139" y="138"/>
                  <a:pt x="140" y="139"/>
                  <a:pt x="140" y="139"/>
                </a:cubicBezTo>
                <a:cubicBezTo>
                  <a:pt x="145" y="141"/>
                  <a:pt x="148" y="144"/>
                  <a:pt x="149" y="145"/>
                </a:cubicBezTo>
                <a:cubicBezTo>
                  <a:pt x="150" y="147"/>
                  <a:pt x="152" y="149"/>
                  <a:pt x="152" y="149"/>
                </a:cubicBezTo>
                <a:cubicBezTo>
                  <a:pt x="153" y="150"/>
                  <a:pt x="154" y="151"/>
                  <a:pt x="156" y="152"/>
                </a:cubicBezTo>
                <a:cubicBezTo>
                  <a:pt x="156" y="153"/>
                  <a:pt x="156" y="153"/>
                  <a:pt x="156" y="153"/>
                </a:cubicBezTo>
                <a:cubicBezTo>
                  <a:pt x="157" y="153"/>
                  <a:pt x="157" y="153"/>
                  <a:pt x="157" y="153"/>
                </a:cubicBezTo>
                <a:cubicBezTo>
                  <a:pt x="157" y="154"/>
                  <a:pt x="157" y="154"/>
                  <a:pt x="157" y="154"/>
                </a:cubicBezTo>
                <a:cubicBezTo>
                  <a:pt x="158" y="154"/>
                  <a:pt x="158" y="155"/>
                  <a:pt x="158" y="155"/>
                </a:cubicBezTo>
                <a:cubicBezTo>
                  <a:pt x="158" y="155"/>
                  <a:pt x="158" y="155"/>
                  <a:pt x="159" y="155"/>
                </a:cubicBezTo>
                <a:cubicBezTo>
                  <a:pt x="160" y="154"/>
                  <a:pt x="162" y="154"/>
                  <a:pt x="163" y="154"/>
                </a:cubicBezTo>
                <a:cubicBezTo>
                  <a:pt x="165" y="154"/>
                  <a:pt x="167" y="153"/>
                  <a:pt x="169" y="153"/>
                </a:cubicBezTo>
                <a:cubicBezTo>
                  <a:pt x="171" y="153"/>
                  <a:pt x="173" y="153"/>
                  <a:pt x="176" y="153"/>
                </a:cubicBezTo>
                <a:cubicBezTo>
                  <a:pt x="176" y="153"/>
                  <a:pt x="176" y="153"/>
                  <a:pt x="176" y="153"/>
                </a:cubicBezTo>
                <a:cubicBezTo>
                  <a:pt x="177" y="153"/>
                  <a:pt x="178" y="153"/>
                  <a:pt x="179" y="153"/>
                </a:cubicBezTo>
                <a:cubicBezTo>
                  <a:pt x="182" y="154"/>
                  <a:pt x="182" y="154"/>
                  <a:pt x="182" y="154"/>
                </a:cubicBezTo>
                <a:cubicBezTo>
                  <a:pt x="183" y="154"/>
                  <a:pt x="183" y="153"/>
                  <a:pt x="184" y="153"/>
                </a:cubicBezTo>
                <a:cubicBezTo>
                  <a:pt x="184" y="153"/>
                  <a:pt x="184" y="153"/>
                  <a:pt x="184" y="153"/>
                </a:cubicBezTo>
                <a:cubicBezTo>
                  <a:pt x="184" y="153"/>
                  <a:pt x="184" y="153"/>
                  <a:pt x="184" y="153"/>
                </a:cubicBezTo>
                <a:cubicBezTo>
                  <a:pt x="185" y="152"/>
                  <a:pt x="186" y="152"/>
                  <a:pt x="187" y="152"/>
                </a:cubicBezTo>
                <a:cubicBezTo>
                  <a:pt x="188" y="152"/>
                  <a:pt x="188" y="152"/>
                  <a:pt x="189" y="153"/>
                </a:cubicBezTo>
                <a:cubicBezTo>
                  <a:pt x="189" y="153"/>
                  <a:pt x="190" y="154"/>
                  <a:pt x="191" y="155"/>
                </a:cubicBezTo>
                <a:cubicBezTo>
                  <a:pt x="192" y="156"/>
                  <a:pt x="192" y="156"/>
                  <a:pt x="192" y="156"/>
                </a:cubicBezTo>
                <a:cubicBezTo>
                  <a:pt x="192" y="156"/>
                  <a:pt x="192" y="156"/>
                  <a:pt x="192" y="156"/>
                </a:cubicBezTo>
                <a:cubicBezTo>
                  <a:pt x="193" y="156"/>
                  <a:pt x="193" y="156"/>
                  <a:pt x="193" y="156"/>
                </a:cubicBezTo>
                <a:cubicBezTo>
                  <a:pt x="194" y="157"/>
                  <a:pt x="195" y="158"/>
                  <a:pt x="196" y="160"/>
                </a:cubicBezTo>
                <a:cubicBezTo>
                  <a:pt x="197" y="161"/>
                  <a:pt x="197" y="161"/>
                  <a:pt x="197" y="161"/>
                </a:cubicBezTo>
                <a:cubicBezTo>
                  <a:pt x="197" y="161"/>
                  <a:pt x="197" y="161"/>
                  <a:pt x="197" y="161"/>
                </a:cubicBezTo>
                <a:cubicBezTo>
                  <a:pt x="197" y="161"/>
                  <a:pt x="197" y="161"/>
                  <a:pt x="198" y="162"/>
                </a:cubicBezTo>
                <a:cubicBezTo>
                  <a:pt x="199" y="161"/>
                  <a:pt x="199" y="161"/>
                  <a:pt x="199" y="161"/>
                </a:cubicBezTo>
                <a:cubicBezTo>
                  <a:pt x="199" y="161"/>
                  <a:pt x="200" y="161"/>
                  <a:pt x="200" y="162"/>
                </a:cubicBezTo>
                <a:cubicBezTo>
                  <a:pt x="201" y="162"/>
                  <a:pt x="201" y="164"/>
                  <a:pt x="200" y="166"/>
                </a:cubicBezTo>
                <a:cubicBezTo>
                  <a:pt x="200" y="166"/>
                  <a:pt x="200" y="166"/>
                  <a:pt x="200" y="166"/>
                </a:cubicBezTo>
                <a:cubicBezTo>
                  <a:pt x="200" y="167"/>
                  <a:pt x="200" y="167"/>
                  <a:pt x="200" y="168"/>
                </a:cubicBezTo>
                <a:cubicBezTo>
                  <a:pt x="200" y="169"/>
                  <a:pt x="200" y="170"/>
                  <a:pt x="200" y="170"/>
                </a:cubicBezTo>
                <a:cubicBezTo>
                  <a:pt x="200" y="171"/>
                  <a:pt x="200" y="171"/>
                  <a:pt x="200" y="171"/>
                </a:cubicBezTo>
                <a:cubicBezTo>
                  <a:pt x="200" y="171"/>
                  <a:pt x="200" y="171"/>
                  <a:pt x="200" y="171"/>
                </a:cubicBezTo>
                <a:cubicBezTo>
                  <a:pt x="200" y="172"/>
                  <a:pt x="200" y="172"/>
                  <a:pt x="200" y="172"/>
                </a:cubicBezTo>
                <a:cubicBezTo>
                  <a:pt x="200" y="173"/>
                  <a:pt x="200" y="173"/>
                  <a:pt x="200" y="173"/>
                </a:cubicBezTo>
                <a:cubicBezTo>
                  <a:pt x="200" y="173"/>
                  <a:pt x="200" y="173"/>
                  <a:pt x="200" y="173"/>
                </a:cubicBezTo>
                <a:cubicBezTo>
                  <a:pt x="200" y="173"/>
                  <a:pt x="200" y="173"/>
                  <a:pt x="201" y="173"/>
                </a:cubicBezTo>
                <a:cubicBezTo>
                  <a:pt x="201" y="173"/>
                  <a:pt x="201" y="173"/>
                  <a:pt x="201" y="173"/>
                </a:cubicBezTo>
                <a:cubicBezTo>
                  <a:pt x="202" y="173"/>
                  <a:pt x="203" y="173"/>
                  <a:pt x="204" y="174"/>
                </a:cubicBezTo>
                <a:cubicBezTo>
                  <a:pt x="205" y="174"/>
                  <a:pt x="205" y="174"/>
                  <a:pt x="205" y="175"/>
                </a:cubicBezTo>
                <a:cubicBezTo>
                  <a:pt x="205" y="175"/>
                  <a:pt x="205" y="176"/>
                  <a:pt x="205" y="176"/>
                </a:cubicBezTo>
                <a:cubicBezTo>
                  <a:pt x="205" y="176"/>
                  <a:pt x="205" y="176"/>
                  <a:pt x="205" y="176"/>
                </a:cubicBezTo>
                <a:cubicBezTo>
                  <a:pt x="205" y="176"/>
                  <a:pt x="205" y="176"/>
                  <a:pt x="205" y="177"/>
                </a:cubicBezTo>
                <a:cubicBezTo>
                  <a:pt x="205" y="178"/>
                  <a:pt x="205" y="179"/>
                  <a:pt x="206" y="180"/>
                </a:cubicBezTo>
                <a:cubicBezTo>
                  <a:pt x="206" y="182"/>
                  <a:pt x="206" y="182"/>
                  <a:pt x="206" y="182"/>
                </a:cubicBezTo>
                <a:cubicBezTo>
                  <a:pt x="206" y="182"/>
                  <a:pt x="206" y="182"/>
                  <a:pt x="206" y="182"/>
                </a:cubicBezTo>
                <a:cubicBezTo>
                  <a:pt x="207" y="183"/>
                  <a:pt x="207" y="183"/>
                  <a:pt x="207" y="183"/>
                </a:cubicBezTo>
                <a:cubicBezTo>
                  <a:pt x="215" y="183"/>
                  <a:pt x="215" y="183"/>
                  <a:pt x="215" y="183"/>
                </a:cubicBezTo>
                <a:cubicBezTo>
                  <a:pt x="215" y="183"/>
                  <a:pt x="215" y="183"/>
                  <a:pt x="215" y="183"/>
                </a:cubicBezTo>
                <a:cubicBezTo>
                  <a:pt x="216" y="183"/>
                  <a:pt x="217" y="183"/>
                  <a:pt x="218" y="183"/>
                </a:cubicBezTo>
                <a:cubicBezTo>
                  <a:pt x="218" y="183"/>
                  <a:pt x="218" y="183"/>
                  <a:pt x="218" y="183"/>
                </a:cubicBezTo>
                <a:cubicBezTo>
                  <a:pt x="218" y="183"/>
                  <a:pt x="218" y="183"/>
                  <a:pt x="218" y="183"/>
                </a:cubicBezTo>
                <a:cubicBezTo>
                  <a:pt x="219" y="183"/>
                  <a:pt x="219" y="183"/>
                  <a:pt x="219" y="183"/>
                </a:cubicBezTo>
                <a:cubicBezTo>
                  <a:pt x="219" y="184"/>
                  <a:pt x="219" y="184"/>
                  <a:pt x="219" y="184"/>
                </a:cubicBezTo>
                <a:cubicBezTo>
                  <a:pt x="219" y="184"/>
                  <a:pt x="219" y="184"/>
                  <a:pt x="219" y="184"/>
                </a:cubicBezTo>
                <a:cubicBezTo>
                  <a:pt x="219" y="184"/>
                  <a:pt x="219" y="184"/>
                  <a:pt x="219" y="184"/>
                </a:cubicBezTo>
                <a:cubicBezTo>
                  <a:pt x="219" y="184"/>
                  <a:pt x="219" y="184"/>
                  <a:pt x="219" y="184"/>
                </a:cubicBezTo>
                <a:cubicBezTo>
                  <a:pt x="220" y="184"/>
                  <a:pt x="220" y="185"/>
                  <a:pt x="220" y="185"/>
                </a:cubicBezTo>
                <a:cubicBezTo>
                  <a:pt x="221" y="185"/>
                  <a:pt x="221" y="185"/>
                  <a:pt x="221" y="186"/>
                </a:cubicBezTo>
                <a:cubicBezTo>
                  <a:pt x="221" y="186"/>
                  <a:pt x="221" y="186"/>
                  <a:pt x="221" y="186"/>
                </a:cubicBezTo>
                <a:cubicBezTo>
                  <a:pt x="221" y="187"/>
                  <a:pt x="221" y="188"/>
                  <a:pt x="221" y="189"/>
                </a:cubicBezTo>
                <a:cubicBezTo>
                  <a:pt x="221" y="189"/>
                  <a:pt x="222" y="190"/>
                  <a:pt x="224" y="190"/>
                </a:cubicBezTo>
                <a:cubicBezTo>
                  <a:pt x="224" y="190"/>
                  <a:pt x="224" y="190"/>
                  <a:pt x="224" y="190"/>
                </a:cubicBezTo>
                <a:cubicBezTo>
                  <a:pt x="224" y="190"/>
                  <a:pt x="224" y="190"/>
                  <a:pt x="224" y="189"/>
                </a:cubicBezTo>
                <a:cubicBezTo>
                  <a:pt x="224" y="188"/>
                  <a:pt x="224" y="188"/>
                  <a:pt x="224" y="188"/>
                </a:cubicBezTo>
                <a:cubicBezTo>
                  <a:pt x="224" y="186"/>
                  <a:pt x="225" y="185"/>
                  <a:pt x="227" y="184"/>
                </a:cubicBezTo>
                <a:cubicBezTo>
                  <a:pt x="227" y="184"/>
                  <a:pt x="227" y="184"/>
                  <a:pt x="228" y="184"/>
                </a:cubicBezTo>
                <a:cubicBezTo>
                  <a:pt x="228" y="183"/>
                  <a:pt x="228" y="183"/>
                  <a:pt x="228" y="183"/>
                </a:cubicBezTo>
                <a:cubicBezTo>
                  <a:pt x="228" y="183"/>
                  <a:pt x="228" y="183"/>
                  <a:pt x="228" y="183"/>
                </a:cubicBezTo>
                <a:cubicBezTo>
                  <a:pt x="228" y="183"/>
                  <a:pt x="228" y="183"/>
                  <a:pt x="228" y="183"/>
                </a:cubicBezTo>
                <a:cubicBezTo>
                  <a:pt x="229" y="182"/>
                  <a:pt x="229" y="182"/>
                  <a:pt x="230" y="181"/>
                </a:cubicBezTo>
                <a:cubicBezTo>
                  <a:pt x="230" y="181"/>
                  <a:pt x="230" y="181"/>
                  <a:pt x="230" y="181"/>
                </a:cubicBezTo>
                <a:cubicBezTo>
                  <a:pt x="231" y="181"/>
                  <a:pt x="231" y="181"/>
                  <a:pt x="231" y="181"/>
                </a:cubicBezTo>
                <a:cubicBezTo>
                  <a:pt x="232" y="180"/>
                  <a:pt x="233" y="180"/>
                  <a:pt x="233" y="179"/>
                </a:cubicBezTo>
                <a:cubicBezTo>
                  <a:pt x="235" y="178"/>
                  <a:pt x="236" y="177"/>
                  <a:pt x="238" y="176"/>
                </a:cubicBezTo>
                <a:cubicBezTo>
                  <a:pt x="247" y="171"/>
                  <a:pt x="247" y="171"/>
                  <a:pt x="247" y="171"/>
                </a:cubicBezTo>
                <a:cubicBezTo>
                  <a:pt x="247" y="171"/>
                  <a:pt x="247" y="170"/>
                  <a:pt x="247" y="170"/>
                </a:cubicBezTo>
                <a:cubicBezTo>
                  <a:pt x="247" y="169"/>
                  <a:pt x="247" y="169"/>
                  <a:pt x="248" y="169"/>
                </a:cubicBezTo>
                <a:cubicBezTo>
                  <a:pt x="248" y="168"/>
                  <a:pt x="249" y="168"/>
                  <a:pt x="249" y="167"/>
                </a:cubicBezTo>
                <a:cubicBezTo>
                  <a:pt x="250" y="167"/>
                  <a:pt x="250" y="167"/>
                  <a:pt x="250" y="167"/>
                </a:cubicBezTo>
                <a:cubicBezTo>
                  <a:pt x="250" y="167"/>
                  <a:pt x="250" y="166"/>
                  <a:pt x="250" y="166"/>
                </a:cubicBezTo>
                <a:cubicBezTo>
                  <a:pt x="251" y="166"/>
                  <a:pt x="251" y="165"/>
                  <a:pt x="252" y="164"/>
                </a:cubicBezTo>
                <a:cubicBezTo>
                  <a:pt x="252" y="164"/>
                  <a:pt x="252" y="164"/>
                  <a:pt x="252" y="164"/>
                </a:cubicBezTo>
                <a:cubicBezTo>
                  <a:pt x="253" y="164"/>
                  <a:pt x="254" y="164"/>
                  <a:pt x="255" y="164"/>
                </a:cubicBezTo>
                <a:cubicBezTo>
                  <a:pt x="255" y="164"/>
                  <a:pt x="255" y="164"/>
                  <a:pt x="255" y="164"/>
                </a:cubicBezTo>
                <a:cubicBezTo>
                  <a:pt x="255" y="164"/>
                  <a:pt x="255" y="164"/>
                  <a:pt x="255" y="164"/>
                </a:cubicBezTo>
                <a:cubicBezTo>
                  <a:pt x="260" y="164"/>
                  <a:pt x="260" y="164"/>
                  <a:pt x="260" y="164"/>
                </a:cubicBezTo>
                <a:cubicBezTo>
                  <a:pt x="262" y="164"/>
                  <a:pt x="263" y="164"/>
                  <a:pt x="264" y="165"/>
                </a:cubicBezTo>
                <a:cubicBezTo>
                  <a:pt x="266" y="165"/>
                  <a:pt x="269" y="166"/>
                  <a:pt x="271" y="167"/>
                </a:cubicBezTo>
                <a:cubicBezTo>
                  <a:pt x="272" y="167"/>
                  <a:pt x="272" y="167"/>
                  <a:pt x="272" y="167"/>
                </a:cubicBezTo>
                <a:cubicBezTo>
                  <a:pt x="273" y="167"/>
                  <a:pt x="273" y="167"/>
                  <a:pt x="273" y="167"/>
                </a:cubicBezTo>
                <a:cubicBezTo>
                  <a:pt x="273" y="165"/>
                  <a:pt x="274" y="161"/>
                  <a:pt x="277" y="160"/>
                </a:cubicBezTo>
                <a:cubicBezTo>
                  <a:pt x="276" y="157"/>
                  <a:pt x="276" y="157"/>
                  <a:pt x="276" y="157"/>
                </a:cubicBezTo>
                <a:cubicBezTo>
                  <a:pt x="277" y="159"/>
                  <a:pt x="277" y="159"/>
                  <a:pt x="277" y="159"/>
                </a:cubicBezTo>
                <a:cubicBezTo>
                  <a:pt x="279" y="159"/>
                  <a:pt x="280" y="158"/>
                  <a:pt x="281" y="158"/>
                </a:cubicBezTo>
                <a:cubicBezTo>
                  <a:pt x="282" y="158"/>
                  <a:pt x="282" y="158"/>
                  <a:pt x="282" y="158"/>
                </a:cubicBezTo>
                <a:cubicBezTo>
                  <a:pt x="282" y="159"/>
                  <a:pt x="282" y="159"/>
                  <a:pt x="282" y="159"/>
                </a:cubicBezTo>
                <a:cubicBezTo>
                  <a:pt x="283" y="159"/>
                  <a:pt x="284" y="159"/>
                  <a:pt x="285" y="159"/>
                </a:cubicBezTo>
                <a:cubicBezTo>
                  <a:pt x="286" y="160"/>
                  <a:pt x="287" y="160"/>
                  <a:pt x="287" y="160"/>
                </a:cubicBezTo>
                <a:cubicBezTo>
                  <a:pt x="287" y="160"/>
                  <a:pt x="287" y="161"/>
                  <a:pt x="287" y="161"/>
                </a:cubicBezTo>
                <a:cubicBezTo>
                  <a:pt x="288" y="161"/>
                  <a:pt x="288" y="161"/>
                  <a:pt x="288" y="161"/>
                </a:cubicBezTo>
                <a:cubicBezTo>
                  <a:pt x="288" y="161"/>
                  <a:pt x="289" y="161"/>
                  <a:pt x="289" y="161"/>
                </a:cubicBezTo>
                <a:cubicBezTo>
                  <a:pt x="290" y="162"/>
                  <a:pt x="290" y="162"/>
                  <a:pt x="290" y="162"/>
                </a:cubicBezTo>
                <a:cubicBezTo>
                  <a:pt x="290" y="162"/>
                  <a:pt x="291" y="162"/>
                  <a:pt x="291" y="162"/>
                </a:cubicBezTo>
                <a:cubicBezTo>
                  <a:pt x="292" y="162"/>
                  <a:pt x="292" y="162"/>
                  <a:pt x="292" y="162"/>
                </a:cubicBezTo>
                <a:cubicBezTo>
                  <a:pt x="292" y="162"/>
                  <a:pt x="292" y="162"/>
                  <a:pt x="293" y="162"/>
                </a:cubicBezTo>
                <a:cubicBezTo>
                  <a:pt x="293" y="163"/>
                  <a:pt x="293" y="163"/>
                  <a:pt x="293" y="163"/>
                </a:cubicBezTo>
                <a:cubicBezTo>
                  <a:pt x="294" y="163"/>
                  <a:pt x="294" y="163"/>
                  <a:pt x="294" y="163"/>
                </a:cubicBezTo>
                <a:cubicBezTo>
                  <a:pt x="294" y="163"/>
                  <a:pt x="295" y="163"/>
                  <a:pt x="295" y="163"/>
                </a:cubicBezTo>
                <a:cubicBezTo>
                  <a:pt x="295" y="162"/>
                  <a:pt x="295" y="162"/>
                  <a:pt x="295" y="162"/>
                </a:cubicBezTo>
                <a:cubicBezTo>
                  <a:pt x="296" y="162"/>
                  <a:pt x="296" y="162"/>
                  <a:pt x="296" y="162"/>
                </a:cubicBezTo>
                <a:cubicBezTo>
                  <a:pt x="297" y="162"/>
                  <a:pt x="297" y="162"/>
                  <a:pt x="298" y="162"/>
                </a:cubicBezTo>
                <a:cubicBezTo>
                  <a:pt x="298" y="162"/>
                  <a:pt x="298" y="162"/>
                  <a:pt x="298" y="162"/>
                </a:cubicBezTo>
                <a:cubicBezTo>
                  <a:pt x="298" y="162"/>
                  <a:pt x="299" y="162"/>
                  <a:pt x="299" y="162"/>
                </a:cubicBezTo>
                <a:cubicBezTo>
                  <a:pt x="301" y="161"/>
                  <a:pt x="302" y="161"/>
                  <a:pt x="304" y="162"/>
                </a:cubicBezTo>
                <a:cubicBezTo>
                  <a:pt x="304" y="162"/>
                  <a:pt x="304" y="162"/>
                  <a:pt x="304" y="162"/>
                </a:cubicBezTo>
                <a:cubicBezTo>
                  <a:pt x="305" y="162"/>
                  <a:pt x="306" y="162"/>
                  <a:pt x="307" y="162"/>
                </a:cubicBezTo>
                <a:cubicBezTo>
                  <a:pt x="308" y="162"/>
                  <a:pt x="308" y="162"/>
                  <a:pt x="308" y="162"/>
                </a:cubicBezTo>
                <a:cubicBezTo>
                  <a:pt x="310" y="162"/>
                  <a:pt x="312" y="162"/>
                  <a:pt x="314" y="162"/>
                </a:cubicBezTo>
                <a:cubicBezTo>
                  <a:pt x="314" y="160"/>
                  <a:pt x="314" y="160"/>
                  <a:pt x="314" y="160"/>
                </a:cubicBezTo>
                <a:cubicBezTo>
                  <a:pt x="315" y="162"/>
                  <a:pt x="315" y="162"/>
                  <a:pt x="315" y="162"/>
                </a:cubicBezTo>
                <a:cubicBezTo>
                  <a:pt x="315" y="162"/>
                  <a:pt x="315" y="162"/>
                  <a:pt x="315" y="162"/>
                </a:cubicBezTo>
                <a:cubicBezTo>
                  <a:pt x="316" y="162"/>
                  <a:pt x="317" y="162"/>
                  <a:pt x="317" y="162"/>
                </a:cubicBezTo>
                <a:cubicBezTo>
                  <a:pt x="319" y="162"/>
                  <a:pt x="322" y="162"/>
                  <a:pt x="324" y="162"/>
                </a:cubicBezTo>
                <a:cubicBezTo>
                  <a:pt x="324" y="162"/>
                  <a:pt x="324" y="162"/>
                  <a:pt x="324" y="162"/>
                </a:cubicBezTo>
                <a:cubicBezTo>
                  <a:pt x="325" y="162"/>
                  <a:pt x="325" y="162"/>
                  <a:pt x="326" y="162"/>
                </a:cubicBezTo>
                <a:cubicBezTo>
                  <a:pt x="326" y="162"/>
                  <a:pt x="327" y="162"/>
                  <a:pt x="327" y="163"/>
                </a:cubicBezTo>
                <a:cubicBezTo>
                  <a:pt x="327" y="163"/>
                  <a:pt x="328" y="163"/>
                  <a:pt x="328" y="163"/>
                </a:cubicBezTo>
                <a:cubicBezTo>
                  <a:pt x="329" y="163"/>
                  <a:pt x="329" y="163"/>
                  <a:pt x="329" y="163"/>
                </a:cubicBezTo>
                <a:cubicBezTo>
                  <a:pt x="330" y="163"/>
                  <a:pt x="330" y="164"/>
                  <a:pt x="331" y="164"/>
                </a:cubicBezTo>
                <a:cubicBezTo>
                  <a:pt x="331" y="164"/>
                  <a:pt x="331" y="164"/>
                  <a:pt x="331" y="164"/>
                </a:cubicBezTo>
                <a:cubicBezTo>
                  <a:pt x="331" y="163"/>
                  <a:pt x="332" y="163"/>
                  <a:pt x="332" y="163"/>
                </a:cubicBezTo>
                <a:cubicBezTo>
                  <a:pt x="332" y="163"/>
                  <a:pt x="332" y="163"/>
                  <a:pt x="332" y="163"/>
                </a:cubicBezTo>
                <a:cubicBezTo>
                  <a:pt x="333" y="163"/>
                  <a:pt x="333" y="163"/>
                  <a:pt x="333" y="163"/>
                </a:cubicBezTo>
                <a:cubicBezTo>
                  <a:pt x="334" y="164"/>
                  <a:pt x="335" y="165"/>
                  <a:pt x="335" y="166"/>
                </a:cubicBezTo>
                <a:cubicBezTo>
                  <a:pt x="335" y="167"/>
                  <a:pt x="335" y="167"/>
                  <a:pt x="335" y="167"/>
                </a:cubicBezTo>
                <a:cubicBezTo>
                  <a:pt x="336" y="167"/>
                  <a:pt x="336" y="167"/>
                  <a:pt x="338" y="168"/>
                </a:cubicBezTo>
                <a:cubicBezTo>
                  <a:pt x="338" y="168"/>
                  <a:pt x="338" y="168"/>
                  <a:pt x="338" y="168"/>
                </a:cubicBezTo>
                <a:cubicBezTo>
                  <a:pt x="338" y="168"/>
                  <a:pt x="338" y="168"/>
                  <a:pt x="339" y="168"/>
                </a:cubicBezTo>
                <a:cubicBezTo>
                  <a:pt x="339" y="168"/>
                  <a:pt x="339" y="168"/>
                  <a:pt x="339" y="168"/>
                </a:cubicBezTo>
                <a:cubicBezTo>
                  <a:pt x="340" y="168"/>
                  <a:pt x="340" y="168"/>
                  <a:pt x="341" y="168"/>
                </a:cubicBezTo>
                <a:cubicBezTo>
                  <a:pt x="341" y="168"/>
                  <a:pt x="341" y="169"/>
                  <a:pt x="342" y="169"/>
                </a:cubicBezTo>
                <a:cubicBezTo>
                  <a:pt x="342" y="169"/>
                  <a:pt x="342" y="169"/>
                  <a:pt x="342" y="169"/>
                </a:cubicBezTo>
                <a:cubicBezTo>
                  <a:pt x="342" y="169"/>
                  <a:pt x="342" y="169"/>
                  <a:pt x="342" y="169"/>
                </a:cubicBezTo>
                <a:cubicBezTo>
                  <a:pt x="342" y="168"/>
                  <a:pt x="342" y="168"/>
                  <a:pt x="342" y="168"/>
                </a:cubicBezTo>
                <a:cubicBezTo>
                  <a:pt x="342" y="167"/>
                  <a:pt x="342" y="166"/>
                  <a:pt x="342" y="164"/>
                </a:cubicBezTo>
                <a:cubicBezTo>
                  <a:pt x="343" y="163"/>
                  <a:pt x="344" y="163"/>
                  <a:pt x="344" y="163"/>
                </a:cubicBezTo>
                <a:cubicBezTo>
                  <a:pt x="344" y="163"/>
                  <a:pt x="344" y="163"/>
                  <a:pt x="344" y="163"/>
                </a:cubicBezTo>
                <a:cubicBezTo>
                  <a:pt x="344" y="162"/>
                  <a:pt x="344" y="162"/>
                  <a:pt x="344" y="161"/>
                </a:cubicBezTo>
                <a:cubicBezTo>
                  <a:pt x="344" y="160"/>
                  <a:pt x="346" y="160"/>
                  <a:pt x="347" y="159"/>
                </a:cubicBezTo>
                <a:cubicBezTo>
                  <a:pt x="347" y="159"/>
                  <a:pt x="348" y="159"/>
                  <a:pt x="348" y="159"/>
                </a:cubicBezTo>
                <a:cubicBezTo>
                  <a:pt x="348" y="159"/>
                  <a:pt x="348" y="158"/>
                  <a:pt x="348" y="157"/>
                </a:cubicBezTo>
                <a:cubicBezTo>
                  <a:pt x="347" y="157"/>
                  <a:pt x="347" y="157"/>
                  <a:pt x="347" y="157"/>
                </a:cubicBezTo>
                <a:cubicBezTo>
                  <a:pt x="347" y="157"/>
                  <a:pt x="347" y="157"/>
                  <a:pt x="347" y="157"/>
                </a:cubicBezTo>
                <a:cubicBezTo>
                  <a:pt x="347" y="156"/>
                  <a:pt x="347" y="156"/>
                  <a:pt x="347" y="156"/>
                </a:cubicBezTo>
                <a:cubicBezTo>
                  <a:pt x="347" y="156"/>
                  <a:pt x="347" y="156"/>
                  <a:pt x="347" y="156"/>
                </a:cubicBezTo>
                <a:cubicBezTo>
                  <a:pt x="346" y="155"/>
                  <a:pt x="346" y="154"/>
                  <a:pt x="346" y="153"/>
                </a:cubicBezTo>
                <a:cubicBezTo>
                  <a:pt x="345" y="152"/>
                  <a:pt x="345" y="152"/>
                  <a:pt x="345" y="151"/>
                </a:cubicBezTo>
                <a:cubicBezTo>
                  <a:pt x="344" y="150"/>
                  <a:pt x="344" y="148"/>
                  <a:pt x="344" y="147"/>
                </a:cubicBezTo>
                <a:cubicBezTo>
                  <a:pt x="344" y="146"/>
                  <a:pt x="344" y="146"/>
                  <a:pt x="344" y="146"/>
                </a:cubicBezTo>
                <a:cubicBezTo>
                  <a:pt x="343" y="145"/>
                  <a:pt x="343" y="143"/>
                  <a:pt x="344" y="142"/>
                </a:cubicBezTo>
                <a:cubicBezTo>
                  <a:pt x="344" y="141"/>
                  <a:pt x="344" y="141"/>
                  <a:pt x="344" y="141"/>
                </a:cubicBezTo>
                <a:cubicBezTo>
                  <a:pt x="344" y="141"/>
                  <a:pt x="343" y="141"/>
                  <a:pt x="343" y="141"/>
                </a:cubicBezTo>
                <a:cubicBezTo>
                  <a:pt x="343" y="141"/>
                  <a:pt x="343" y="141"/>
                  <a:pt x="343" y="141"/>
                </a:cubicBezTo>
                <a:cubicBezTo>
                  <a:pt x="342" y="141"/>
                  <a:pt x="341" y="141"/>
                  <a:pt x="340" y="140"/>
                </a:cubicBezTo>
                <a:cubicBezTo>
                  <a:pt x="339" y="140"/>
                  <a:pt x="339" y="140"/>
                  <a:pt x="339" y="140"/>
                </a:cubicBezTo>
                <a:cubicBezTo>
                  <a:pt x="339" y="140"/>
                  <a:pt x="338" y="139"/>
                  <a:pt x="339" y="138"/>
                </a:cubicBezTo>
                <a:cubicBezTo>
                  <a:pt x="340" y="136"/>
                  <a:pt x="341" y="136"/>
                  <a:pt x="342" y="136"/>
                </a:cubicBezTo>
                <a:cubicBezTo>
                  <a:pt x="343" y="135"/>
                  <a:pt x="343" y="135"/>
                  <a:pt x="343" y="135"/>
                </a:cubicBezTo>
                <a:cubicBezTo>
                  <a:pt x="345" y="135"/>
                  <a:pt x="347" y="134"/>
                  <a:pt x="349" y="134"/>
                </a:cubicBezTo>
                <a:cubicBezTo>
                  <a:pt x="355" y="132"/>
                  <a:pt x="355" y="132"/>
                  <a:pt x="355" y="132"/>
                </a:cubicBezTo>
                <a:cubicBezTo>
                  <a:pt x="355" y="132"/>
                  <a:pt x="356" y="132"/>
                  <a:pt x="356" y="132"/>
                </a:cubicBezTo>
                <a:cubicBezTo>
                  <a:pt x="356" y="132"/>
                  <a:pt x="356" y="132"/>
                  <a:pt x="356" y="132"/>
                </a:cubicBezTo>
                <a:cubicBezTo>
                  <a:pt x="357" y="132"/>
                  <a:pt x="358" y="131"/>
                  <a:pt x="359" y="131"/>
                </a:cubicBezTo>
                <a:cubicBezTo>
                  <a:pt x="360" y="132"/>
                  <a:pt x="360" y="133"/>
                  <a:pt x="361" y="133"/>
                </a:cubicBezTo>
                <a:cubicBezTo>
                  <a:pt x="361" y="133"/>
                  <a:pt x="361" y="133"/>
                  <a:pt x="361" y="133"/>
                </a:cubicBezTo>
                <a:cubicBezTo>
                  <a:pt x="361" y="134"/>
                  <a:pt x="362" y="133"/>
                  <a:pt x="362" y="133"/>
                </a:cubicBezTo>
                <a:cubicBezTo>
                  <a:pt x="363" y="133"/>
                  <a:pt x="363" y="133"/>
                  <a:pt x="364" y="133"/>
                </a:cubicBezTo>
                <a:cubicBezTo>
                  <a:pt x="364" y="133"/>
                  <a:pt x="364" y="133"/>
                  <a:pt x="364" y="133"/>
                </a:cubicBezTo>
                <a:cubicBezTo>
                  <a:pt x="365" y="133"/>
                  <a:pt x="366" y="133"/>
                  <a:pt x="367" y="133"/>
                </a:cubicBezTo>
                <a:cubicBezTo>
                  <a:pt x="367" y="133"/>
                  <a:pt x="367" y="132"/>
                  <a:pt x="367" y="132"/>
                </a:cubicBezTo>
                <a:cubicBezTo>
                  <a:pt x="367" y="132"/>
                  <a:pt x="366" y="132"/>
                  <a:pt x="366" y="132"/>
                </a:cubicBezTo>
                <a:cubicBezTo>
                  <a:pt x="366" y="132"/>
                  <a:pt x="366" y="132"/>
                  <a:pt x="366" y="132"/>
                </a:cubicBezTo>
                <a:cubicBezTo>
                  <a:pt x="365" y="132"/>
                  <a:pt x="364" y="132"/>
                  <a:pt x="364" y="131"/>
                </a:cubicBezTo>
                <a:cubicBezTo>
                  <a:pt x="363" y="131"/>
                  <a:pt x="363" y="130"/>
                  <a:pt x="364" y="130"/>
                </a:cubicBezTo>
                <a:cubicBezTo>
                  <a:pt x="370" y="110"/>
                  <a:pt x="370" y="110"/>
                  <a:pt x="370" y="110"/>
                </a:cubicBezTo>
                <a:cubicBezTo>
                  <a:pt x="371" y="109"/>
                  <a:pt x="371" y="107"/>
                  <a:pt x="374" y="108"/>
                </a:cubicBezTo>
                <a:cubicBezTo>
                  <a:pt x="375" y="108"/>
                  <a:pt x="376" y="108"/>
                  <a:pt x="377" y="109"/>
                </a:cubicBezTo>
                <a:cubicBezTo>
                  <a:pt x="377" y="109"/>
                  <a:pt x="377" y="109"/>
                  <a:pt x="377" y="109"/>
                </a:cubicBezTo>
                <a:cubicBezTo>
                  <a:pt x="379" y="110"/>
                  <a:pt x="382" y="111"/>
                  <a:pt x="383" y="111"/>
                </a:cubicBezTo>
                <a:cubicBezTo>
                  <a:pt x="385" y="110"/>
                  <a:pt x="389" y="111"/>
                  <a:pt x="390" y="111"/>
                </a:cubicBezTo>
                <a:cubicBezTo>
                  <a:pt x="392" y="112"/>
                  <a:pt x="392" y="111"/>
                  <a:pt x="394" y="110"/>
                </a:cubicBezTo>
                <a:cubicBezTo>
                  <a:pt x="395" y="110"/>
                  <a:pt x="395" y="110"/>
                  <a:pt x="395" y="110"/>
                </a:cubicBezTo>
                <a:cubicBezTo>
                  <a:pt x="397" y="109"/>
                  <a:pt x="398" y="108"/>
                  <a:pt x="398" y="107"/>
                </a:cubicBezTo>
                <a:cubicBezTo>
                  <a:pt x="398" y="105"/>
                  <a:pt x="398" y="104"/>
                  <a:pt x="397" y="103"/>
                </a:cubicBezTo>
                <a:cubicBezTo>
                  <a:pt x="397" y="101"/>
                  <a:pt x="397" y="100"/>
                  <a:pt x="397" y="99"/>
                </a:cubicBezTo>
                <a:cubicBezTo>
                  <a:pt x="397" y="97"/>
                  <a:pt x="398" y="93"/>
                  <a:pt x="400" y="92"/>
                </a:cubicBezTo>
                <a:cubicBezTo>
                  <a:pt x="401" y="92"/>
                  <a:pt x="402" y="92"/>
                  <a:pt x="402" y="92"/>
                </a:cubicBezTo>
                <a:cubicBezTo>
                  <a:pt x="402" y="92"/>
                  <a:pt x="403" y="92"/>
                  <a:pt x="403" y="92"/>
                </a:cubicBezTo>
                <a:cubicBezTo>
                  <a:pt x="404" y="92"/>
                  <a:pt x="406" y="91"/>
                  <a:pt x="407" y="91"/>
                </a:cubicBezTo>
                <a:cubicBezTo>
                  <a:pt x="408" y="90"/>
                  <a:pt x="409" y="89"/>
                  <a:pt x="409" y="89"/>
                </a:cubicBezTo>
                <a:cubicBezTo>
                  <a:pt x="409" y="89"/>
                  <a:pt x="409" y="89"/>
                  <a:pt x="409" y="89"/>
                </a:cubicBezTo>
                <a:cubicBezTo>
                  <a:pt x="409" y="88"/>
                  <a:pt x="409" y="88"/>
                  <a:pt x="409" y="88"/>
                </a:cubicBezTo>
                <a:cubicBezTo>
                  <a:pt x="409" y="88"/>
                  <a:pt x="409" y="87"/>
                  <a:pt x="409" y="87"/>
                </a:cubicBezTo>
                <a:cubicBezTo>
                  <a:pt x="409" y="87"/>
                  <a:pt x="409" y="86"/>
                  <a:pt x="409" y="86"/>
                </a:cubicBezTo>
                <a:cubicBezTo>
                  <a:pt x="409" y="86"/>
                  <a:pt x="409" y="86"/>
                  <a:pt x="409" y="86"/>
                </a:cubicBezTo>
                <a:cubicBezTo>
                  <a:pt x="410" y="84"/>
                  <a:pt x="410" y="83"/>
                  <a:pt x="411" y="83"/>
                </a:cubicBezTo>
                <a:cubicBezTo>
                  <a:pt x="411" y="83"/>
                  <a:pt x="412" y="83"/>
                  <a:pt x="412" y="83"/>
                </a:cubicBezTo>
                <a:cubicBezTo>
                  <a:pt x="412" y="83"/>
                  <a:pt x="412" y="83"/>
                  <a:pt x="412" y="83"/>
                </a:cubicBezTo>
                <a:cubicBezTo>
                  <a:pt x="411" y="82"/>
                  <a:pt x="410" y="81"/>
                  <a:pt x="409" y="80"/>
                </a:cubicBezTo>
                <a:cubicBezTo>
                  <a:pt x="408" y="79"/>
                  <a:pt x="408" y="79"/>
                  <a:pt x="408" y="79"/>
                </a:cubicBezTo>
                <a:cubicBezTo>
                  <a:pt x="408" y="79"/>
                  <a:pt x="407" y="78"/>
                  <a:pt x="407" y="78"/>
                </a:cubicBezTo>
                <a:cubicBezTo>
                  <a:pt x="407" y="78"/>
                  <a:pt x="407" y="78"/>
                  <a:pt x="407" y="79"/>
                </a:cubicBezTo>
                <a:cubicBezTo>
                  <a:pt x="404" y="81"/>
                  <a:pt x="404" y="81"/>
                  <a:pt x="404" y="81"/>
                </a:cubicBezTo>
                <a:cubicBezTo>
                  <a:pt x="403" y="80"/>
                  <a:pt x="403" y="80"/>
                  <a:pt x="403" y="80"/>
                </a:cubicBezTo>
                <a:cubicBezTo>
                  <a:pt x="403" y="80"/>
                  <a:pt x="403" y="80"/>
                  <a:pt x="403" y="80"/>
                </a:cubicBezTo>
                <a:cubicBezTo>
                  <a:pt x="402" y="80"/>
                  <a:pt x="402" y="80"/>
                  <a:pt x="402" y="80"/>
                </a:cubicBezTo>
                <a:cubicBezTo>
                  <a:pt x="401" y="80"/>
                  <a:pt x="401" y="80"/>
                  <a:pt x="401" y="80"/>
                </a:cubicBezTo>
                <a:cubicBezTo>
                  <a:pt x="401" y="80"/>
                  <a:pt x="401" y="80"/>
                  <a:pt x="401" y="80"/>
                </a:cubicBezTo>
                <a:cubicBezTo>
                  <a:pt x="401" y="80"/>
                  <a:pt x="401" y="80"/>
                  <a:pt x="401" y="80"/>
                </a:cubicBezTo>
                <a:cubicBezTo>
                  <a:pt x="400" y="80"/>
                  <a:pt x="400" y="80"/>
                  <a:pt x="400" y="80"/>
                </a:cubicBezTo>
                <a:cubicBezTo>
                  <a:pt x="400" y="79"/>
                  <a:pt x="400" y="79"/>
                  <a:pt x="400" y="79"/>
                </a:cubicBezTo>
                <a:cubicBezTo>
                  <a:pt x="394" y="79"/>
                  <a:pt x="394" y="79"/>
                  <a:pt x="394" y="79"/>
                </a:cubicBezTo>
                <a:cubicBezTo>
                  <a:pt x="393" y="78"/>
                  <a:pt x="393" y="78"/>
                  <a:pt x="393" y="78"/>
                </a:cubicBezTo>
                <a:cubicBezTo>
                  <a:pt x="393" y="78"/>
                  <a:pt x="393" y="78"/>
                  <a:pt x="393" y="78"/>
                </a:cubicBezTo>
                <a:cubicBezTo>
                  <a:pt x="393" y="77"/>
                  <a:pt x="393" y="77"/>
                  <a:pt x="393" y="77"/>
                </a:cubicBezTo>
                <a:cubicBezTo>
                  <a:pt x="393" y="77"/>
                  <a:pt x="393" y="77"/>
                  <a:pt x="393" y="77"/>
                </a:cubicBezTo>
                <a:cubicBezTo>
                  <a:pt x="393" y="77"/>
                  <a:pt x="393" y="77"/>
                  <a:pt x="393" y="77"/>
                </a:cubicBezTo>
                <a:cubicBezTo>
                  <a:pt x="393" y="77"/>
                  <a:pt x="393" y="77"/>
                  <a:pt x="393" y="76"/>
                </a:cubicBezTo>
                <a:cubicBezTo>
                  <a:pt x="393" y="76"/>
                  <a:pt x="392" y="76"/>
                  <a:pt x="392" y="76"/>
                </a:cubicBezTo>
                <a:cubicBezTo>
                  <a:pt x="392" y="76"/>
                  <a:pt x="392" y="75"/>
                  <a:pt x="392" y="75"/>
                </a:cubicBezTo>
                <a:cubicBezTo>
                  <a:pt x="392" y="75"/>
                  <a:pt x="392" y="75"/>
                  <a:pt x="392" y="75"/>
                </a:cubicBezTo>
                <a:cubicBezTo>
                  <a:pt x="392" y="75"/>
                  <a:pt x="391" y="75"/>
                  <a:pt x="391" y="74"/>
                </a:cubicBezTo>
                <a:cubicBezTo>
                  <a:pt x="391" y="74"/>
                  <a:pt x="391" y="74"/>
                  <a:pt x="391" y="74"/>
                </a:cubicBezTo>
                <a:cubicBezTo>
                  <a:pt x="391" y="73"/>
                  <a:pt x="391" y="73"/>
                  <a:pt x="391" y="73"/>
                </a:cubicBezTo>
                <a:cubicBezTo>
                  <a:pt x="391" y="72"/>
                  <a:pt x="391" y="72"/>
                  <a:pt x="391" y="72"/>
                </a:cubicBezTo>
                <a:cubicBezTo>
                  <a:pt x="386" y="70"/>
                  <a:pt x="386" y="70"/>
                  <a:pt x="386" y="70"/>
                </a:cubicBezTo>
                <a:cubicBezTo>
                  <a:pt x="386" y="70"/>
                  <a:pt x="386" y="70"/>
                  <a:pt x="386" y="70"/>
                </a:cubicBezTo>
                <a:cubicBezTo>
                  <a:pt x="386" y="70"/>
                  <a:pt x="386" y="70"/>
                  <a:pt x="386" y="70"/>
                </a:cubicBezTo>
                <a:cubicBezTo>
                  <a:pt x="385" y="70"/>
                  <a:pt x="385" y="70"/>
                  <a:pt x="385" y="70"/>
                </a:cubicBezTo>
                <a:cubicBezTo>
                  <a:pt x="384" y="70"/>
                  <a:pt x="384" y="70"/>
                  <a:pt x="384" y="70"/>
                </a:cubicBezTo>
                <a:cubicBezTo>
                  <a:pt x="383" y="69"/>
                  <a:pt x="383" y="69"/>
                  <a:pt x="383" y="69"/>
                </a:cubicBezTo>
                <a:cubicBezTo>
                  <a:pt x="383" y="69"/>
                  <a:pt x="383" y="68"/>
                  <a:pt x="383" y="67"/>
                </a:cubicBezTo>
                <a:cubicBezTo>
                  <a:pt x="383" y="67"/>
                  <a:pt x="383" y="67"/>
                  <a:pt x="383" y="67"/>
                </a:cubicBezTo>
                <a:cubicBezTo>
                  <a:pt x="383" y="67"/>
                  <a:pt x="383" y="67"/>
                  <a:pt x="383" y="67"/>
                </a:cubicBezTo>
                <a:cubicBezTo>
                  <a:pt x="383" y="66"/>
                  <a:pt x="383" y="66"/>
                  <a:pt x="383" y="66"/>
                </a:cubicBezTo>
                <a:cubicBezTo>
                  <a:pt x="382" y="65"/>
                  <a:pt x="382" y="65"/>
                  <a:pt x="382" y="64"/>
                </a:cubicBezTo>
                <a:cubicBezTo>
                  <a:pt x="381" y="62"/>
                  <a:pt x="381" y="62"/>
                  <a:pt x="381" y="62"/>
                </a:cubicBezTo>
                <a:cubicBezTo>
                  <a:pt x="380" y="62"/>
                  <a:pt x="380" y="62"/>
                  <a:pt x="380" y="62"/>
                </a:cubicBezTo>
                <a:cubicBezTo>
                  <a:pt x="380" y="62"/>
                  <a:pt x="379" y="62"/>
                  <a:pt x="379" y="62"/>
                </a:cubicBezTo>
                <a:cubicBezTo>
                  <a:pt x="379" y="61"/>
                  <a:pt x="378" y="61"/>
                  <a:pt x="378" y="61"/>
                </a:cubicBezTo>
                <a:cubicBezTo>
                  <a:pt x="373" y="60"/>
                  <a:pt x="373" y="60"/>
                  <a:pt x="373" y="60"/>
                </a:cubicBezTo>
                <a:cubicBezTo>
                  <a:pt x="370" y="61"/>
                  <a:pt x="370" y="61"/>
                  <a:pt x="370" y="61"/>
                </a:cubicBezTo>
                <a:cubicBezTo>
                  <a:pt x="370" y="61"/>
                  <a:pt x="370" y="61"/>
                  <a:pt x="370" y="61"/>
                </a:cubicBezTo>
                <a:cubicBezTo>
                  <a:pt x="369" y="63"/>
                  <a:pt x="369" y="63"/>
                  <a:pt x="369" y="63"/>
                </a:cubicBezTo>
                <a:cubicBezTo>
                  <a:pt x="369" y="63"/>
                  <a:pt x="369" y="63"/>
                  <a:pt x="369" y="63"/>
                </a:cubicBezTo>
                <a:cubicBezTo>
                  <a:pt x="369" y="63"/>
                  <a:pt x="369" y="63"/>
                  <a:pt x="369" y="63"/>
                </a:cubicBezTo>
                <a:cubicBezTo>
                  <a:pt x="368" y="63"/>
                  <a:pt x="368" y="63"/>
                  <a:pt x="368" y="63"/>
                </a:cubicBezTo>
                <a:cubicBezTo>
                  <a:pt x="368" y="63"/>
                  <a:pt x="368" y="63"/>
                  <a:pt x="368" y="63"/>
                </a:cubicBezTo>
                <a:cubicBezTo>
                  <a:pt x="367" y="64"/>
                  <a:pt x="367" y="64"/>
                  <a:pt x="367" y="64"/>
                </a:cubicBezTo>
                <a:cubicBezTo>
                  <a:pt x="367" y="64"/>
                  <a:pt x="367" y="64"/>
                  <a:pt x="367" y="64"/>
                </a:cubicBezTo>
                <a:cubicBezTo>
                  <a:pt x="365" y="64"/>
                  <a:pt x="365" y="64"/>
                  <a:pt x="365" y="64"/>
                </a:cubicBezTo>
                <a:cubicBezTo>
                  <a:pt x="361" y="63"/>
                  <a:pt x="361" y="63"/>
                  <a:pt x="361" y="63"/>
                </a:cubicBezTo>
                <a:cubicBezTo>
                  <a:pt x="360" y="63"/>
                  <a:pt x="360" y="63"/>
                  <a:pt x="359" y="63"/>
                </a:cubicBezTo>
                <a:cubicBezTo>
                  <a:pt x="359" y="63"/>
                  <a:pt x="359" y="64"/>
                  <a:pt x="358" y="64"/>
                </a:cubicBezTo>
                <a:cubicBezTo>
                  <a:pt x="358" y="64"/>
                  <a:pt x="358" y="64"/>
                  <a:pt x="358" y="64"/>
                </a:cubicBezTo>
                <a:cubicBezTo>
                  <a:pt x="358" y="64"/>
                  <a:pt x="357" y="64"/>
                  <a:pt x="357" y="64"/>
                </a:cubicBezTo>
                <a:cubicBezTo>
                  <a:pt x="356" y="64"/>
                  <a:pt x="356" y="64"/>
                  <a:pt x="356" y="64"/>
                </a:cubicBezTo>
                <a:cubicBezTo>
                  <a:pt x="355" y="63"/>
                  <a:pt x="355" y="63"/>
                  <a:pt x="355" y="63"/>
                </a:cubicBezTo>
                <a:cubicBezTo>
                  <a:pt x="355" y="63"/>
                  <a:pt x="355" y="63"/>
                  <a:pt x="355" y="63"/>
                </a:cubicBezTo>
                <a:cubicBezTo>
                  <a:pt x="354" y="63"/>
                  <a:pt x="354" y="62"/>
                  <a:pt x="353" y="62"/>
                </a:cubicBezTo>
                <a:cubicBezTo>
                  <a:pt x="353" y="61"/>
                  <a:pt x="353" y="61"/>
                  <a:pt x="353" y="61"/>
                </a:cubicBezTo>
                <a:cubicBezTo>
                  <a:pt x="351" y="61"/>
                  <a:pt x="351" y="61"/>
                  <a:pt x="351" y="61"/>
                </a:cubicBezTo>
                <a:cubicBezTo>
                  <a:pt x="351" y="60"/>
                  <a:pt x="351" y="60"/>
                  <a:pt x="351" y="60"/>
                </a:cubicBezTo>
                <a:cubicBezTo>
                  <a:pt x="351" y="59"/>
                  <a:pt x="351" y="59"/>
                  <a:pt x="351" y="59"/>
                </a:cubicBezTo>
                <a:cubicBezTo>
                  <a:pt x="351" y="59"/>
                  <a:pt x="351" y="59"/>
                  <a:pt x="351" y="58"/>
                </a:cubicBezTo>
                <a:cubicBezTo>
                  <a:pt x="351" y="58"/>
                  <a:pt x="351" y="57"/>
                  <a:pt x="351" y="57"/>
                </a:cubicBezTo>
                <a:cubicBezTo>
                  <a:pt x="349" y="56"/>
                  <a:pt x="349" y="56"/>
                  <a:pt x="349" y="56"/>
                </a:cubicBezTo>
                <a:cubicBezTo>
                  <a:pt x="348" y="57"/>
                  <a:pt x="348" y="57"/>
                  <a:pt x="348" y="57"/>
                </a:cubicBezTo>
                <a:cubicBezTo>
                  <a:pt x="348" y="57"/>
                  <a:pt x="348" y="57"/>
                  <a:pt x="348" y="57"/>
                </a:cubicBezTo>
                <a:cubicBezTo>
                  <a:pt x="347" y="57"/>
                  <a:pt x="347" y="57"/>
                  <a:pt x="347" y="57"/>
                </a:cubicBezTo>
                <a:cubicBezTo>
                  <a:pt x="347" y="57"/>
                  <a:pt x="347" y="57"/>
                  <a:pt x="347" y="57"/>
                </a:cubicBezTo>
                <a:cubicBezTo>
                  <a:pt x="347" y="58"/>
                  <a:pt x="347" y="58"/>
                  <a:pt x="347" y="59"/>
                </a:cubicBezTo>
                <a:cubicBezTo>
                  <a:pt x="347" y="59"/>
                  <a:pt x="347" y="59"/>
                  <a:pt x="347" y="59"/>
                </a:cubicBezTo>
                <a:cubicBezTo>
                  <a:pt x="347" y="59"/>
                  <a:pt x="347" y="60"/>
                  <a:pt x="347" y="60"/>
                </a:cubicBezTo>
                <a:cubicBezTo>
                  <a:pt x="350" y="62"/>
                  <a:pt x="350" y="62"/>
                  <a:pt x="350" y="62"/>
                </a:cubicBezTo>
                <a:cubicBezTo>
                  <a:pt x="347" y="60"/>
                  <a:pt x="347" y="60"/>
                  <a:pt x="347" y="60"/>
                </a:cubicBezTo>
                <a:cubicBezTo>
                  <a:pt x="347" y="60"/>
                  <a:pt x="346" y="60"/>
                  <a:pt x="346" y="61"/>
                </a:cubicBezTo>
                <a:cubicBezTo>
                  <a:pt x="345" y="61"/>
                  <a:pt x="345" y="61"/>
                  <a:pt x="345" y="61"/>
                </a:cubicBezTo>
                <a:cubicBezTo>
                  <a:pt x="345" y="61"/>
                  <a:pt x="345" y="61"/>
                  <a:pt x="345" y="61"/>
                </a:cubicBezTo>
                <a:cubicBezTo>
                  <a:pt x="344" y="61"/>
                  <a:pt x="344" y="61"/>
                  <a:pt x="344" y="61"/>
                </a:cubicBezTo>
                <a:cubicBezTo>
                  <a:pt x="344" y="61"/>
                  <a:pt x="344" y="61"/>
                  <a:pt x="344" y="61"/>
                </a:cubicBezTo>
                <a:cubicBezTo>
                  <a:pt x="344" y="61"/>
                  <a:pt x="344" y="61"/>
                  <a:pt x="344" y="61"/>
                </a:cubicBezTo>
                <a:cubicBezTo>
                  <a:pt x="344" y="62"/>
                  <a:pt x="344" y="62"/>
                  <a:pt x="343" y="62"/>
                </a:cubicBezTo>
                <a:cubicBezTo>
                  <a:pt x="343" y="63"/>
                  <a:pt x="343" y="63"/>
                  <a:pt x="343" y="63"/>
                </a:cubicBezTo>
                <a:cubicBezTo>
                  <a:pt x="342" y="63"/>
                  <a:pt x="342" y="63"/>
                  <a:pt x="342" y="63"/>
                </a:cubicBezTo>
                <a:cubicBezTo>
                  <a:pt x="342" y="63"/>
                  <a:pt x="342" y="63"/>
                  <a:pt x="342" y="63"/>
                </a:cubicBezTo>
                <a:cubicBezTo>
                  <a:pt x="341" y="63"/>
                  <a:pt x="341" y="63"/>
                  <a:pt x="341" y="63"/>
                </a:cubicBezTo>
                <a:cubicBezTo>
                  <a:pt x="340" y="62"/>
                  <a:pt x="340" y="62"/>
                  <a:pt x="340" y="62"/>
                </a:cubicBezTo>
                <a:cubicBezTo>
                  <a:pt x="339" y="60"/>
                  <a:pt x="339" y="60"/>
                  <a:pt x="339" y="60"/>
                </a:cubicBezTo>
                <a:cubicBezTo>
                  <a:pt x="339" y="60"/>
                  <a:pt x="339" y="60"/>
                  <a:pt x="339" y="60"/>
                </a:cubicBezTo>
                <a:cubicBezTo>
                  <a:pt x="337" y="57"/>
                  <a:pt x="335" y="54"/>
                  <a:pt x="333" y="51"/>
                </a:cubicBezTo>
                <a:cubicBezTo>
                  <a:pt x="332" y="49"/>
                  <a:pt x="332" y="49"/>
                  <a:pt x="332" y="49"/>
                </a:cubicBezTo>
                <a:cubicBezTo>
                  <a:pt x="330" y="45"/>
                  <a:pt x="328" y="42"/>
                  <a:pt x="325" y="38"/>
                </a:cubicBezTo>
                <a:cubicBezTo>
                  <a:pt x="323" y="35"/>
                  <a:pt x="323" y="35"/>
                  <a:pt x="323" y="35"/>
                </a:cubicBezTo>
                <a:cubicBezTo>
                  <a:pt x="319" y="30"/>
                  <a:pt x="319" y="30"/>
                  <a:pt x="319" y="30"/>
                </a:cubicBezTo>
                <a:cubicBezTo>
                  <a:pt x="318" y="28"/>
                  <a:pt x="317" y="27"/>
                  <a:pt x="315" y="26"/>
                </a:cubicBezTo>
                <a:cubicBezTo>
                  <a:pt x="310" y="22"/>
                  <a:pt x="310" y="22"/>
                  <a:pt x="310" y="22"/>
                </a:cubicBezTo>
                <a:cubicBezTo>
                  <a:pt x="307" y="20"/>
                  <a:pt x="307" y="20"/>
                  <a:pt x="307" y="20"/>
                </a:cubicBezTo>
                <a:cubicBezTo>
                  <a:pt x="307" y="19"/>
                  <a:pt x="306" y="19"/>
                  <a:pt x="305" y="18"/>
                </a:cubicBezTo>
                <a:cubicBezTo>
                  <a:pt x="302" y="15"/>
                  <a:pt x="302" y="15"/>
                  <a:pt x="302" y="15"/>
                </a:cubicBezTo>
                <a:cubicBezTo>
                  <a:pt x="298" y="17"/>
                  <a:pt x="298" y="17"/>
                  <a:pt x="298" y="17"/>
                </a:cubicBezTo>
                <a:cubicBezTo>
                  <a:pt x="297" y="17"/>
                  <a:pt x="296" y="18"/>
                  <a:pt x="294" y="19"/>
                </a:cubicBezTo>
                <a:cubicBezTo>
                  <a:pt x="294" y="19"/>
                  <a:pt x="294" y="19"/>
                  <a:pt x="294" y="19"/>
                </a:cubicBezTo>
                <a:cubicBezTo>
                  <a:pt x="293" y="20"/>
                  <a:pt x="291" y="20"/>
                  <a:pt x="290" y="21"/>
                </a:cubicBezTo>
                <a:cubicBezTo>
                  <a:pt x="286" y="23"/>
                  <a:pt x="286" y="23"/>
                  <a:pt x="286" y="23"/>
                </a:cubicBezTo>
                <a:cubicBezTo>
                  <a:pt x="286" y="23"/>
                  <a:pt x="286" y="23"/>
                  <a:pt x="286" y="23"/>
                </a:cubicBezTo>
                <a:cubicBezTo>
                  <a:pt x="286" y="23"/>
                  <a:pt x="285" y="24"/>
                  <a:pt x="285" y="24"/>
                </a:cubicBezTo>
                <a:cubicBezTo>
                  <a:pt x="285" y="25"/>
                  <a:pt x="285" y="25"/>
                  <a:pt x="285" y="25"/>
                </a:cubicBezTo>
                <a:cubicBezTo>
                  <a:pt x="284" y="26"/>
                  <a:pt x="284" y="26"/>
                  <a:pt x="284" y="26"/>
                </a:cubicBezTo>
                <a:cubicBezTo>
                  <a:pt x="282" y="25"/>
                  <a:pt x="282" y="25"/>
                  <a:pt x="282" y="25"/>
                </a:cubicBezTo>
                <a:cubicBezTo>
                  <a:pt x="282" y="25"/>
                  <a:pt x="282" y="25"/>
                  <a:pt x="282" y="25"/>
                </a:cubicBezTo>
                <a:cubicBezTo>
                  <a:pt x="281" y="25"/>
                  <a:pt x="281" y="25"/>
                  <a:pt x="281" y="25"/>
                </a:cubicBezTo>
                <a:cubicBezTo>
                  <a:pt x="278" y="25"/>
                  <a:pt x="278" y="25"/>
                  <a:pt x="278" y="25"/>
                </a:cubicBezTo>
                <a:cubicBezTo>
                  <a:pt x="278" y="25"/>
                  <a:pt x="277" y="25"/>
                  <a:pt x="277" y="25"/>
                </a:cubicBezTo>
                <a:cubicBezTo>
                  <a:pt x="274" y="27"/>
                  <a:pt x="274" y="27"/>
                  <a:pt x="274" y="27"/>
                </a:cubicBezTo>
                <a:cubicBezTo>
                  <a:pt x="271" y="22"/>
                  <a:pt x="271" y="22"/>
                  <a:pt x="271" y="22"/>
                </a:cubicBezTo>
                <a:cubicBezTo>
                  <a:pt x="271" y="21"/>
                  <a:pt x="271" y="21"/>
                  <a:pt x="271" y="21"/>
                </a:cubicBezTo>
                <a:cubicBezTo>
                  <a:pt x="272" y="20"/>
                  <a:pt x="272" y="20"/>
                  <a:pt x="273" y="19"/>
                </a:cubicBezTo>
                <a:cubicBezTo>
                  <a:pt x="273" y="19"/>
                  <a:pt x="273" y="19"/>
                  <a:pt x="273" y="19"/>
                </a:cubicBezTo>
                <a:cubicBezTo>
                  <a:pt x="271" y="19"/>
                  <a:pt x="271" y="19"/>
                  <a:pt x="271" y="19"/>
                </a:cubicBezTo>
                <a:cubicBezTo>
                  <a:pt x="270" y="19"/>
                  <a:pt x="270" y="19"/>
                  <a:pt x="270" y="19"/>
                </a:cubicBezTo>
                <a:cubicBezTo>
                  <a:pt x="269" y="19"/>
                  <a:pt x="268" y="18"/>
                  <a:pt x="267" y="18"/>
                </a:cubicBezTo>
                <a:cubicBezTo>
                  <a:pt x="267" y="18"/>
                  <a:pt x="267" y="18"/>
                  <a:pt x="267" y="18"/>
                </a:cubicBezTo>
                <a:cubicBezTo>
                  <a:pt x="267" y="18"/>
                  <a:pt x="267" y="18"/>
                  <a:pt x="267" y="18"/>
                </a:cubicBezTo>
                <a:cubicBezTo>
                  <a:pt x="266" y="19"/>
                  <a:pt x="266" y="19"/>
                  <a:pt x="266" y="19"/>
                </a:cubicBezTo>
                <a:cubicBezTo>
                  <a:pt x="266" y="19"/>
                  <a:pt x="265" y="19"/>
                  <a:pt x="265" y="19"/>
                </a:cubicBezTo>
                <a:cubicBezTo>
                  <a:pt x="264" y="20"/>
                  <a:pt x="264" y="20"/>
                  <a:pt x="264" y="20"/>
                </a:cubicBezTo>
                <a:cubicBezTo>
                  <a:pt x="261" y="21"/>
                  <a:pt x="261" y="21"/>
                  <a:pt x="261" y="21"/>
                </a:cubicBezTo>
                <a:cubicBezTo>
                  <a:pt x="262" y="18"/>
                  <a:pt x="262" y="18"/>
                  <a:pt x="262" y="18"/>
                </a:cubicBezTo>
                <a:cubicBezTo>
                  <a:pt x="262" y="18"/>
                  <a:pt x="262" y="18"/>
                  <a:pt x="262" y="18"/>
                </a:cubicBezTo>
                <a:cubicBezTo>
                  <a:pt x="262" y="17"/>
                  <a:pt x="262" y="17"/>
                  <a:pt x="262" y="17"/>
                </a:cubicBezTo>
                <a:cubicBezTo>
                  <a:pt x="262" y="17"/>
                  <a:pt x="262" y="17"/>
                  <a:pt x="262" y="17"/>
                </a:cubicBezTo>
                <a:cubicBezTo>
                  <a:pt x="262" y="17"/>
                  <a:pt x="262" y="16"/>
                  <a:pt x="262" y="16"/>
                </a:cubicBezTo>
                <a:cubicBezTo>
                  <a:pt x="261" y="17"/>
                  <a:pt x="261" y="17"/>
                  <a:pt x="261" y="17"/>
                </a:cubicBezTo>
                <a:cubicBezTo>
                  <a:pt x="260" y="16"/>
                  <a:pt x="260" y="16"/>
                  <a:pt x="260" y="16"/>
                </a:cubicBezTo>
                <a:cubicBezTo>
                  <a:pt x="259" y="16"/>
                  <a:pt x="259" y="16"/>
                  <a:pt x="259" y="16"/>
                </a:cubicBezTo>
                <a:cubicBezTo>
                  <a:pt x="259" y="16"/>
                  <a:pt x="259" y="16"/>
                  <a:pt x="259" y="16"/>
                </a:cubicBezTo>
                <a:cubicBezTo>
                  <a:pt x="257" y="17"/>
                  <a:pt x="257" y="17"/>
                  <a:pt x="257" y="17"/>
                </a:cubicBezTo>
                <a:cubicBezTo>
                  <a:pt x="255" y="17"/>
                  <a:pt x="255" y="17"/>
                  <a:pt x="255" y="17"/>
                </a:cubicBezTo>
                <a:cubicBezTo>
                  <a:pt x="254" y="17"/>
                  <a:pt x="253" y="17"/>
                  <a:pt x="252" y="17"/>
                </a:cubicBezTo>
                <a:cubicBezTo>
                  <a:pt x="252" y="17"/>
                  <a:pt x="252" y="17"/>
                  <a:pt x="252" y="17"/>
                </a:cubicBezTo>
                <a:cubicBezTo>
                  <a:pt x="251" y="17"/>
                  <a:pt x="251" y="17"/>
                  <a:pt x="251" y="17"/>
                </a:cubicBezTo>
                <a:cubicBezTo>
                  <a:pt x="250" y="17"/>
                  <a:pt x="250" y="17"/>
                  <a:pt x="250" y="17"/>
                </a:cubicBezTo>
                <a:cubicBezTo>
                  <a:pt x="250" y="16"/>
                  <a:pt x="250" y="16"/>
                  <a:pt x="250" y="16"/>
                </a:cubicBezTo>
                <a:cubicBezTo>
                  <a:pt x="249" y="16"/>
                  <a:pt x="249" y="16"/>
                  <a:pt x="249" y="16"/>
                </a:cubicBezTo>
                <a:cubicBezTo>
                  <a:pt x="249" y="16"/>
                  <a:pt x="249" y="16"/>
                  <a:pt x="249" y="16"/>
                </a:cubicBezTo>
                <a:cubicBezTo>
                  <a:pt x="249" y="15"/>
                  <a:pt x="249" y="15"/>
                  <a:pt x="249" y="15"/>
                </a:cubicBezTo>
                <a:cubicBezTo>
                  <a:pt x="248" y="15"/>
                  <a:pt x="248" y="15"/>
                  <a:pt x="248" y="14"/>
                </a:cubicBezTo>
                <a:cubicBezTo>
                  <a:pt x="248" y="14"/>
                  <a:pt x="248" y="14"/>
                  <a:pt x="248" y="13"/>
                </a:cubicBezTo>
                <a:cubicBezTo>
                  <a:pt x="248" y="13"/>
                  <a:pt x="248" y="13"/>
                  <a:pt x="248" y="13"/>
                </a:cubicBezTo>
                <a:cubicBezTo>
                  <a:pt x="248" y="12"/>
                  <a:pt x="248" y="12"/>
                  <a:pt x="248" y="12"/>
                </a:cubicBezTo>
                <a:cubicBezTo>
                  <a:pt x="248" y="12"/>
                  <a:pt x="248" y="12"/>
                  <a:pt x="248" y="12"/>
                </a:cubicBezTo>
                <a:cubicBezTo>
                  <a:pt x="249" y="12"/>
                  <a:pt x="249" y="12"/>
                  <a:pt x="249" y="12"/>
                </a:cubicBezTo>
                <a:cubicBezTo>
                  <a:pt x="249" y="12"/>
                  <a:pt x="249" y="12"/>
                  <a:pt x="249" y="12"/>
                </a:cubicBezTo>
                <a:cubicBezTo>
                  <a:pt x="250" y="12"/>
                  <a:pt x="250" y="12"/>
                  <a:pt x="250" y="12"/>
                </a:cubicBezTo>
                <a:cubicBezTo>
                  <a:pt x="250" y="11"/>
                  <a:pt x="250" y="11"/>
                  <a:pt x="250" y="11"/>
                </a:cubicBezTo>
                <a:cubicBezTo>
                  <a:pt x="249" y="9"/>
                  <a:pt x="249" y="9"/>
                  <a:pt x="249" y="9"/>
                </a:cubicBezTo>
                <a:cubicBezTo>
                  <a:pt x="250" y="8"/>
                  <a:pt x="250" y="8"/>
                  <a:pt x="250" y="8"/>
                </a:cubicBezTo>
                <a:cubicBezTo>
                  <a:pt x="250" y="7"/>
                  <a:pt x="250" y="7"/>
                  <a:pt x="250" y="7"/>
                </a:cubicBezTo>
                <a:cubicBezTo>
                  <a:pt x="249" y="5"/>
                  <a:pt x="249" y="5"/>
                  <a:pt x="249" y="5"/>
                </a:cubicBezTo>
                <a:cubicBezTo>
                  <a:pt x="248" y="3"/>
                  <a:pt x="247" y="2"/>
                  <a:pt x="246" y="0"/>
                </a:cubicBezTo>
                <a:cubicBezTo>
                  <a:pt x="246" y="0"/>
                  <a:pt x="246" y="0"/>
                  <a:pt x="246" y="0"/>
                </a:cubicBezTo>
                <a:cubicBezTo>
                  <a:pt x="245" y="0"/>
                  <a:pt x="245" y="0"/>
                  <a:pt x="245" y="0"/>
                </a:cubicBezTo>
                <a:cubicBezTo>
                  <a:pt x="244" y="1"/>
                  <a:pt x="243" y="2"/>
                  <a:pt x="243" y="2"/>
                </a:cubicBezTo>
                <a:cubicBezTo>
                  <a:pt x="242" y="2"/>
                  <a:pt x="242" y="2"/>
                  <a:pt x="242" y="2"/>
                </a:cubicBezTo>
                <a:cubicBezTo>
                  <a:pt x="241" y="3"/>
                  <a:pt x="241" y="3"/>
                  <a:pt x="241" y="3"/>
                </a:cubicBezTo>
                <a:cubicBezTo>
                  <a:pt x="240" y="2"/>
                  <a:pt x="240" y="2"/>
                  <a:pt x="240" y="2"/>
                </a:cubicBezTo>
                <a:cubicBezTo>
                  <a:pt x="239" y="2"/>
                  <a:pt x="239" y="2"/>
                  <a:pt x="238" y="2"/>
                </a:cubicBezTo>
                <a:cubicBezTo>
                  <a:pt x="238" y="2"/>
                  <a:pt x="238" y="2"/>
                  <a:pt x="238" y="2"/>
                </a:cubicBezTo>
                <a:cubicBezTo>
                  <a:pt x="237" y="1"/>
                  <a:pt x="236" y="1"/>
                  <a:pt x="236" y="0"/>
                </a:cubicBezTo>
                <a:cubicBezTo>
                  <a:pt x="235" y="0"/>
                  <a:pt x="235" y="0"/>
                  <a:pt x="235" y="0"/>
                </a:cubicBezTo>
                <a:cubicBezTo>
                  <a:pt x="235" y="0"/>
                  <a:pt x="235" y="0"/>
                  <a:pt x="235" y="0"/>
                </a:cubicBezTo>
                <a:cubicBezTo>
                  <a:pt x="232" y="0"/>
                  <a:pt x="232" y="0"/>
                  <a:pt x="232" y="0"/>
                </a:cubicBezTo>
                <a:cubicBezTo>
                  <a:pt x="232" y="0"/>
                  <a:pt x="232" y="0"/>
                  <a:pt x="232" y="0"/>
                </a:cubicBezTo>
                <a:cubicBezTo>
                  <a:pt x="232" y="0"/>
                  <a:pt x="232" y="0"/>
                  <a:pt x="231" y="0"/>
                </a:cubicBezTo>
                <a:cubicBezTo>
                  <a:pt x="231" y="0"/>
                  <a:pt x="231" y="0"/>
                  <a:pt x="231" y="0"/>
                </a:cubicBezTo>
                <a:cubicBezTo>
                  <a:pt x="231" y="0"/>
                  <a:pt x="231" y="0"/>
                  <a:pt x="231" y="0"/>
                </a:cubicBezTo>
                <a:cubicBezTo>
                  <a:pt x="231" y="0"/>
                  <a:pt x="231" y="0"/>
                  <a:pt x="231" y="0"/>
                </a:cubicBezTo>
                <a:cubicBezTo>
                  <a:pt x="230" y="0"/>
                  <a:pt x="230" y="0"/>
                  <a:pt x="230" y="0"/>
                </a:cubicBezTo>
                <a:cubicBezTo>
                  <a:pt x="230" y="0"/>
                  <a:pt x="230" y="0"/>
                  <a:pt x="230" y="0"/>
                </a:cubicBezTo>
                <a:cubicBezTo>
                  <a:pt x="230" y="0"/>
                  <a:pt x="230" y="0"/>
                  <a:pt x="229" y="0"/>
                </a:cubicBezTo>
                <a:cubicBezTo>
                  <a:pt x="229" y="1"/>
                  <a:pt x="228" y="0"/>
                  <a:pt x="227" y="0"/>
                </a:cubicBezTo>
                <a:cubicBezTo>
                  <a:pt x="227" y="0"/>
                  <a:pt x="227" y="0"/>
                  <a:pt x="227" y="0"/>
                </a:cubicBezTo>
                <a:cubicBezTo>
                  <a:pt x="227" y="0"/>
                  <a:pt x="227" y="0"/>
                  <a:pt x="227" y="0"/>
                </a:cubicBezTo>
                <a:cubicBezTo>
                  <a:pt x="227" y="0"/>
                  <a:pt x="226" y="1"/>
                  <a:pt x="226" y="1"/>
                </a:cubicBezTo>
                <a:cubicBezTo>
                  <a:pt x="226" y="2"/>
                  <a:pt x="225" y="2"/>
                  <a:pt x="223" y="3"/>
                </a:cubicBezTo>
                <a:cubicBezTo>
                  <a:pt x="223" y="3"/>
                  <a:pt x="223" y="4"/>
                  <a:pt x="222" y="4"/>
                </a:cubicBezTo>
                <a:cubicBezTo>
                  <a:pt x="222" y="4"/>
                  <a:pt x="222" y="4"/>
                  <a:pt x="222" y="4"/>
                </a:cubicBezTo>
                <a:cubicBezTo>
                  <a:pt x="222" y="4"/>
                  <a:pt x="221" y="5"/>
                  <a:pt x="221" y="5"/>
                </a:cubicBezTo>
                <a:cubicBezTo>
                  <a:pt x="220" y="5"/>
                  <a:pt x="220" y="5"/>
                  <a:pt x="219" y="5"/>
                </a:cubicBezTo>
                <a:cubicBezTo>
                  <a:pt x="219" y="5"/>
                  <a:pt x="219" y="5"/>
                  <a:pt x="219" y="5"/>
                </a:cubicBezTo>
                <a:cubicBezTo>
                  <a:pt x="219" y="5"/>
                  <a:pt x="218" y="5"/>
                  <a:pt x="218" y="5"/>
                </a:cubicBezTo>
                <a:cubicBezTo>
                  <a:pt x="218" y="5"/>
                  <a:pt x="218" y="5"/>
                  <a:pt x="218" y="5"/>
                </a:cubicBezTo>
                <a:cubicBezTo>
                  <a:pt x="218" y="5"/>
                  <a:pt x="218" y="5"/>
                  <a:pt x="218" y="5"/>
                </a:cubicBezTo>
                <a:cubicBezTo>
                  <a:pt x="217" y="5"/>
                  <a:pt x="217" y="5"/>
                  <a:pt x="217" y="5"/>
                </a:cubicBezTo>
                <a:cubicBezTo>
                  <a:pt x="217" y="5"/>
                  <a:pt x="217" y="5"/>
                  <a:pt x="217" y="5"/>
                </a:cubicBezTo>
                <a:cubicBezTo>
                  <a:pt x="217" y="6"/>
                  <a:pt x="217" y="6"/>
                  <a:pt x="217" y="6"/>
                </a:cubicBezTo>
                <a:cubicBezTo>
                  <a:pt x="211" y="7"/>
                  <a:pt x="211" y="7"/>
                  <a:pt x="211" y="7"/>
                </a:cubicBezTo>
                <a:cubicBezTo>
                  <a:pt x="211" y="7"/>
                  <a:pt x="210" y="7"/>
                  <a:pt x="210" y="7"/>
                </a:cubicBezTo>
                <a:cubicBezTo>
                  <a:pt x="212" y="9"/>
                  <a:pt x="212" y="9"/>
                  <a:pt x="212" y="9"/>
                </a:cubicBezTo>
                <a:cubicBezTo>
                  <a:pt x="207" y="8"/>
                  <a:pt x="207" y="8"/>
                  <a:pt x="207" y="8"/>
                </a:cubicBezTo>
                <a:cubicBezTo>
                  <a:pt x="207" y="8"/>
                  <a:pt x="207" y="8"/>
                  <a:pt x="207" y="8"/>
                </a:cubicBezTo>
                <a:cubicBezTo>
                  <a:pt x="207" y="8"/>
                  <a:pt x="207" y="8"/>
                  <a:pt x="207" y="8"/>
                </a:cubicBezTo>
                <a:cubicBezTo>
                  <a:pt x="207" y="8"/>
                  <a:pt x="207" y="8"/>
                  <a:pt x="207" y="8"/>
                </a:cubicBezTo>
                <a:cubicBezTo>
                  <a:pt x="207" y="8"/>
                  <a:pt x="207" y="8"/>
                  <a:pt x="207" y="8"/>
                </a:cubicBezTo>
                <a:cubicBezTo>
                  <a:pt x="206" y="8"/>
                  <a:pt x="206" y="8"/>
                  <a:pt x="206" y="8"/>
                </a:cubicBezTo>
                <a:cubicBezTo>
                  <a:pt x="206" y="9"/>
                  <a:pt x="206" y="9"/>
                  <a:pt x="205" y="9"/>
                </a:cubicBezTo>
                <a:cubicBezTo>
                  <a:pt x="205" y="9"/>
                  <a:pt x="205" y="9"/>
                  <a:pt x="205" y="9"/>
                </a:cubicBezTo>
                <a:cubicBezTo>
                  <a:pt x="205" y="9"/>
                  <a:pt x="205" y="9"/>
                  <a:pt x="205" y="9"/>
                </a:cubicBezTo>
                <a:cubicBezTo>
                  <a:pt x="205" y="9"/>
                  <a:pt x="205" y="9"/>
                  <a:pt x="205" y="9"/>
                </a:cubicBezTo>
                <a:cubicBezTo>
                  <a:pt x="205" y="9"/>
                  <a:pt x="205" y="9"/>
                  <a:pt x="205" y="9"/>
                </a:cubicBezTo>
                <a:cubicBezTo>
                  <a:pt x="205" y="9"/>
                  <a:pt x="205" y="9"/>
                  <a:pt x="205" y="9"/>
                </a:cubicBezTo>
                <a:cubicBezTo>
                  <a:pt x="205" y="9"/>
                  <a:pt x="205" y="9"/>
                  <a:pt x="205" y="9"/>
                </a:cubicBezTo>
                <a:cubicBezTo>
                  <a:pt x="204" y="9"/>
                  <a:pt x="204" y="9"/>
                  <a:pt x="204" y="9"/>
                </a:cubicBezTo>
                <a:cubicBezTo>
                  <a:pt x="204" y="9"/>
                  <a:pt x="204" y="9"/>
                  <a:pt x="203" y="9"/>
                </a:cubicBezTo>
                <a:cubicBezTo>
                  <a:pt x="203" y="9"/>
                  <a:pt x="203" y="9"/>
                  <a:pt x="203" y="9"/>
                </a:cubicBezTo>
                <a:cubicBezTo>
                  <a:pt x="202" y="9"/>
                  <a:pt x="202" y="9"/>
                  <a:pt x="202" y="9"/>
                </a:cubicBezTo>
                <a:cubicBezTo>
                  <a:pt x="202" y="9"/>
                  <a:pt x="201" y="9"/>
                  <a:pt x="201" y="9"/>
                </a:cubicBezTo>
                <a:cubicBezTo>
                  <a:pt x="199" y="10"/>
                  <a:pt x="199" y="10"/>
                  <a:pt x="199" y="10"/>
                </a:cubicBezTo>
                <a:cubicBezTo>
                  <a:pt x="199" y="10"/>
                  <a:pt x="199" y="10"/>
                  <a:pt x="199" y="10"/>
                </a:cubicBezTo>
                <a:cubicBezTo>
                  <a:pt x="197" y="10"/>
                  <a:pt x="197" y="10"/>
                  <a:pt x="197" y="10"/>
                </a:cubicBezTo>
                <a:cubicBezTo>
                  <a:pt x="197" y="10"/>
                  <a:pt x="197" y="10"/>
                  <a:pt x="197" y="10"/>
                </a:cubicBezTo>
                <a:cubicBezTo>
                  <a:pt x="197" y="10"/>
                  <a:pt x="197" y="10"/>
                  <a:pt x="197" y="10"/>
                </a:cubicBezTo>
                <a:cubicBezTo>
                  <a:pt x="194" y="10"/>
                  <a:pt x="194" y="10"/>
                  <a:pt x="194" y="10"/>
                </a:cubicBezTo>
                <a:cubicBezTo>
                  <a:pt x="193" y="10"/>
                  <a:pt x="193" y="10"/>
                  <a:pt x="193" y="10"/>
                </a:cubicBezTo>
                <a:cubicBezTo>
                  <a:pt x="193" y="10"/>
                  <a:pt x="193" y="10"/>
                  <a:pt x="193" y="10"/>
                </a:cubicBezTo>
                <a:cubicBezTo>
                  <a:pt x="191" y="11"/>
                  <a:pt x="191" y="11"/>
                  <a:pt x="191" y="11"/>
                </a:cubicBezTo>
                <a:cubicBezTo>
                  <a:pt x="193" y="13"/>
                  <a:pt x="193" y="13"/>
                  <a:pt x="193" y="13"/>
                </a:cubicBezTo>
                <a:cubicBezTo>
                  <a:pt x="191" y="12"/>
                  <a:pt x="191" y="12"/>
                  <a:pt x="191" y="12"/>
                </a:cubicBezTo>
                <a:cubicBezTo>
                  <a:pt x="191" y="12"/>
                  <a:pt x="191" y="12"/>
                  <a:pt x="191" y="12"/>
                </a:cubicBezTo>
                <a:cubicBezTo>
                  <a:pt x="190" y="12"/>
                  <a:pt x="190" y="12"/>
                  <a:pt x="190" y="13"/>
                </a:cubicBezTo>
                <a:cubicBezTo>
                  <a:pt x="189" y="14"/>
                  <a:pt x="189" y="14"/>
                  <a:pt x="189" y="14"/>
                </a:cubicBezTo>
                <a:cubicBezTo>
                  <a:pt x="188" y="14"/>
                  <a:pt x="188" y="14"/>
                  <a:pt x="188" y="14"/>
                </a:cubicBezTo>
                <a:cubicBezTo>
                  <a:pt x="187" y="13"/>
                  <a:pt x="187" y="13"/>
                  <a:pt x="187" y="13"/>
                </a:cubicBezTo>
                <a:cubicBezTo>
                  <a:pt x="187" y="13"/>
                  <a:pt x="187" y="13"/>
                  <a:pt x="187" y="13"/>
                </a:cubicBezTo>
                <a:cubicBezTo>
                  <a:pt x="186" y="14"/>
                  <a:pt x="186" y="14"/>
                  <a:pt x="186" y="14"/>
                </a:cubicBezTo>
                <a:cubicBezTo>
                  <a:pt x="186" y="14"/>
                  <a:pt x="186" y="14"/>
                  <a:pt x="186" y="14"/>
                </a:cubicBezTo>
                <a:cubicBezTo>
                  <a:pt x="185" y="14"/>
                  <a:pt x="185" y="14"/>
                  <a:pt x="185" y="14"/>
                </a:cubicBezTo>
                <a:cubicBezTo>
                  <a:pt x="184" y="14"/>
                  <a:pt x="184" y="14"/>
                  <a:pt x="184" y="14"/>
                </a:cubicBezTo>
                <a:cubicBezTo>
                  <a:pt x="184" y="14"/>
                  <a:pt x="184" y="14"/>
                  <a:pt x="184" y="14"/>
                </a:cubicBezTo>
                <a:cubicBezTo>
                  <a:pt x="184" y="14"/>
                  <a:pt x="184" y="14"/>
                  <a:pt x="184" y="14"/>
                </a:cubicBezTo>
                <a:cubicBezTo>
                  <a:pt x="183" y="14"/>
                  <a:pt x="183" y="14"/>
                  <a:pt x="183" y="14"/>
                </a:cubicBezTo>
                <a:cubicBezTo>
                  <a:pt x="183" y="14"/>
                  <a:pt x="183" y="14"/>
                  <a:pt x="183" y="14"/>
                </a:cubicBezTo>
                <a:cubicBezTo>
                  <a:pt x="182" y="14"/>
                  <a:pt x="182" y="14"/>
                  <a:pt x="182" y="14"/>
                </a:cubicBezTo>
                <a:cubicBezTo>
                  <a:pt x="182" y="14"/>
                  <a:pt x="182" y="14"/>
                  <a:pt x="182" y="14"/>
                </a:cubicBezTo>
                <a:cubicBezTo>
                  <a:pt x="181" y="14"/>
                  <a:pt x="181" y="14"/>
                  <a:pt x="181" y="14"/>
                </a:cubicBezTo>
                <a:cubicBezTo>
                  <a:pt x="181" y="14"/>
                  <a:pt x="181" y="14"/>
                  <a:pt x="181" y="14"/>
                </a:cubicBezTo>
                <a:cubicBezTo>
                  <a:pt x="181" y="14"/>
                  <a:pt x="181" y="14"/>
                  <a:pt x="181" y="14"/>
                </a:cubicBezTo>
                <a:cubicBezTo>
                  <a:pt x="175" y="15"/>
                  <a:pt x="175" y="15"/>
                  <a:pt x="175" y="15"/>
                </a:cubicBezTo>
                <a:cubicBezTo>
                  <a:pt x="175" y="15"/>
                  <a:pt x="175" y="15"/>
                  <a:pt x="175" y="15"/>
                </a:cubicBezTo>
                <a:cubicBezTo>
                  <a:pt x="175" y="15"/>
                  <a:pt x="175" y="15"/>
                  <a:pt x="175" y="15"/>
                </a:cubicBezTo>
                <a:cubicBezTo>
                  <a:pt x="175" y="15"/>
                  <a:pt x="175" y="15"/>
                  <a:pt x="175" y="15"/>
                </a:cubicBezTo>
                <a:cubicBezTo>
                  <a:pt x="171" y="16"/>
                  <a:pt x="171" y="16"/>
                  <a:pt x="171" y="16"/>
                </a:cubicBezTo>
                <a:cubicBezTo>
                  <a:pt x="170" y="16"/>
                  <a:pt x="170" y="16"/>
                  <a:pt x="170" y="16"/>
                </a:cubicBezTo>
                <a:cubicBezTo>
                  <a:pt x="170" y="16"/>
                  <a:pt x="170" y="16"/>
                  <a:pt x="170" y="16"/>
                </a:cubicBezTo>
                <a:cubicBezTo>
                  <a:pt x="169" y="16"/>
                  <a:pt x="169" y="16"/>
                  <a:pt x="169" y="16"/>
                </a:cubicBezTo>
                <a:cubicBezTo>
                  <a:pt x="169" y="17"/>
                  <a:pt x="169" y="17"/>
                  <a:pt x="169" y="17"/>
                </a:cubicBezTo>
                <a:cubicBezTo>
                  <a:pt x="169" y="17"/>
                  <a:pt x="169" y="17"/>
                  <a:pt x="169" y="17"/>
                </a:cubicBezTo>
                <a:cubicBezTo>
                  <a:pt x="166" y="17"/>
                  <a:pt x="166" y="17"/>
                  <a:pt x="166" y="17"/>
                </a:cubicBezTo>
                <a:cubicBezTo>
                  <a:pt x="166" y="17"/>
                  <a:pt x="166" y="17"/>
                  <a:pt x="166" y="17"/>
                </a:cubicBezTo>
                <a:cubicBezTo>
                  <a:pt x="166" y="17"/>
                  <a:pt x="166" y="17"/>
                  <a:pt x="166" y="17"/>
                </a:cubicBezTo>
                <a:cubicBezTo>
                  <a:pt x="165" y="18"/>
                  <a:pt x="165" y="18"/>
                  <a:pt x="165" y="18"/>
                </a:cubicBezTo>
                <a:cubicBezTo>
                  <a:pt x="164" y="18"/>
                  <a:pt x="164" y="18"/>
                  <a:pt x="164" y="18"/>
                </a:cubicBezTo>
                <a:cubicBezTo>
                  <a:pt x="164" y="18"/>
                  <a:pt x="164" y="18"/>
                  <a:pt x="164" y="18"/>
                </a:cubicBezTo>
                <a:cubicBezTo>
                  <a:pt x="164" y="18"/>
                  <a:pt x="164" y="18"/>
                  <a:pt x="164" y="18"/>
                </a:cubicBezTo>
                <a:cubicBezTo>
                  <a:pt x="163" y="19"/>
                  <a:pt x="163" y="19"/>
                  <a:pt x="163" y="19"/>
                </a:cubicBezTo>
                <a:cubicBezTo>
                  <a:pt x="163" y="19"/>
                  <a:pt x="163" y="20"/>
                  <a:pt x="163" y="20"/>
                </a:cubicBezTo>
                <a:cubicBezTo>
                  <a:pt x="162" y="20"/>
                  <a:pt x="162" y="20"/>
                  <a:pt x="162" y="20"/>
                </a:cubicBezTo>
                <a:cubicBezTo>
                  <a:pt x="162" y="20"/>
                  <a:pt x="162" y="20"/>
                  <a:pt x="162" y="20"/>
                </a:cubicBezTo>
                <a:cubicBezTo>
                  <a:pt x="159" y="22"/>
                  <a:pt x="159" y="22"/>
                  <a:pt x="159" y="22"/>
                </a:cubicBezTo>
                <a:cubicBezTo>
                  <a:pt x="161" y="19"/>
                  <a:pt x="161" y="19"/>
                  <a:pt x="161" y="19"/>
                </a:cubicBezTo>
                <a:cubicBezTo>
                  <a:pt x="161" y="19"/>
                  <a:pt x="161" y="19"/>
                  <a:pt x="161" y="19"/>
                </a:cubicBezTo>
                <a:cubicBezTo>
                  <a:pt x="161" y="19"/>
                  <a:pt x="160" y="19"/>
                  <a:pt x="160" y="19"/>
                </a:cubicBezTo>
                <a:cubicBezTo>
                  <a:pt x="160" y="19"/>
                  <a:pt x="160" y="19"/>
                  <a:pt x="160" y="19"/>
                </a:cubicBezTo>
                <a:cubicBezTo>
                  <a:pt x="160" y="19"/>
                  <a:pt x="160" y="19"/>
                  <a:pt x="160" y="19"/>
                </a:cubicBezTo>
                <a:cubicBezTo>
                  <a:pt x="159" y="19"/>
                  <a:pt x="159" y="19"/>
                  <a:pt x="159" y="19"/>
                </a:cubicBezTo>
                <a:cubicBezTo>
                  <a:pt x="158" y="21"/>
                  <a:pt x="158" y="21"/>
                  <a:pt x="158" y="21"/>
                </a:cubicBezTo>
                <a:cubicBezTo>
                  <a:pt x="158" y="18"/>
                  <a:pt x="158" y="18"/>
                  <a:pt x="158" y="18"/>
                </a:cubicBezTo>
                <a:cubicBezTo>
                  <a:pt x="158" y="19"/>
                  <a:pt x="158" y="19"/>
                  <a:pt x="158" y="19"/>
                </a:cubicBezTo>
                <a:cubicBezTo>
                  <a:pt x="157" y="19"/>
                  <a:pt x="157" y="19"/>
                  <a:pt x="157" y="19"/>
                </a:cubicBezTo>
                <a:cubicBezTo>
                  <a:pt x="155" y="19"/>
                  <a:pt x="155" y="19"/>
                  <a:pt x="155" y="19"/>
                </a:cubicBezTo>
                <a:cubicBezTo>
                  <a:pt x="154" y="19"/>
                  <a:pt x="153" y="19"/>
                  <a:pt x="151" y="18"/>
                </a:cubicBezTo>
                <a:cubicBezTo>
                  <a:pt x="151" y="18"/>
                  <a:pt x="151" y="18"/>
                  <a:pt x="151" y="18"/>
                </a:cubicBezTo>
                <a:cubicBezTo>
                  <a:pt x="151" y="18"/>
                  <a:pt x="151" y="18"/>
                  <a:pt x="151" y="18"/>
                </a:cubicBezTo>
                <a:cubicBezTo>
                  <a:pt x="151" y="18"/>
                  <a:pt x="151" y="18"/>
                  <a:pt x="151" y="18"/>
                </a:cubicBezTo>
                <a:cubicBezTo>
                  <a:pt x="150" y="18"/>
                  <a:pt x="150" y="19"/>
                  <a:pt x="149" y="19"/>
                </a:cubicBezTo>
                <a:cubicBezTo>
                  <a:pt x="149" y="19"/>
                  <a:pt x="149" y="19"/>
                  <a:pt x="149" y="19"/>
                </a:cubicBezTo>
                <a:cubicBezTo>
                  <a:pt x="150" y="20"/>
                  <a:pt x="150" y="20"/>
                  <a:pt x="150" y="20"/>
                </a:cubicBezTo>
                <a:cubicBezTo>
                  <a:pt x="150" y="20"/>
                  <a:pt x="150" y="20"/>
                  <a:pt x="150" y="20"/>
                </a:cubicBezTo>
                <a:cubicBezTo>
                  <a:pt x="150" y="21"/>
                  <a:pt x="150" y="21"/>
                  <a:pt x="150" y="21"/>
                </a:cubicBezTo>
                <a:cubicBezTo>
                  <a:pt x="150" y="21"/>
                  <a:pt x="150" y="21"/>
                  <a:pt x="150" y="21"/>
                </a:cubicBezTo>
                <a:cubicBezTo>
                  <a:pt x="150" y="21"/>
                  <a:pt x="150" y="21"/>
                  <a:pt x="150" y="21"/>
                </a:cubicBezTo>
                <a:cubicBezTo>
                  <a:pt x="150" y="21"/>
                  <a:pt x="150" y="21"/>
                  <a:pt x="150" y="21"/>
                </a:cubicBezTo>
                <a:cubicBezTo>
                  <a:pt x="149" y="22"/>
                  <a:pt x="149" y="22"/>
                  <a:pt x="149" y="22"/>
                </a:cubicBezTo>
                <a:cubicBezTo>
                  <a:pt x="150" y="23"/>
                  <a:pt x="150" y="23"/>
                  <a:pt x="150" y="23"/>
                </a:cubicBezTo>
                <a:cubicBezTo>
                  <a:pt x="150" y="22"/>
                  <a:pt x="151" y="22"/>
                  <a:pt x="151" y="22"/>
                </a:cubicBezTo>
                <a:cubicBezTo>
                  <a:pt x="151" y="22"/>
                  <a:pt x="151" y="22"/>
                  <a:pt x="151" y="22"/>
                </a:cubicBezTo>
                <a:cubicBezTo>
                  <a:pt x="151" y="22"/>
                  <a:pt x="151" y="22"/>
                  <a:pt x="152" y="22"/>
                </a:cubicBezTo>
                <a:cubicBezTo>
                  <a:pt x="152" y="22"/>
                  <a:pt x="152" y="22"/>
                  <a:pt x="152" y="22"/>
                </a:cubicBezTo>
                <a:cubicBezTo>
                  <a:pt x="152" y="22"/>
                  <a:pt x="152" y="22"/>
                  <a:pt x="152" y="22"/>
                </a:cubicBezTo>
                <a:cubicBezTo>
                  <a:pt x="153" y="22"/>
                  <a:pt x="153" y="22"/>
                  <a:pt x="153" y="22"/>
                </a:cubicBezTo>
                <a:cubicBezTo>
                  <a:pt x="153" y="22"/>
                  <a:pt x="153" y="22"/>
                  <a:pt x="153" y="22"/>
                </a:cubicBezTo>
                <a:cubicBezTo>
                  <a:pt x="154" y="23"/>
                  <a:pt x="154" y="23"/>
                  <a:pt x="154" y="23"/>
                </a:cubicBezTo>
                <a:cubicBezTo>
                  <a:pt x="154" y="23"/>
                  <a:pt x="154" y="23"/>
                  <a:pt x="154" y="23"/>
                </a:cubicBezTo>
                <a:cubicBezTo>
                  <a:pt x="156" y="23"/>
                  <a:pt x="156" y="23"/>
                  <a:pt x="156" y="23"/>
                </a:cubicBezTo>
                <a:cubicBezTo>
                  <a:pt x="154" y="25"/>
                  <a:pt x="154" y="25"/>
                  <a:pt x="154" y="25"/>
                </a:cubicBezTo>
                <a:cubicBezTo>
                  <a:pt x="154" y="25"/>
                  <a:pt x="154" y="25"/>
                  <a:pt x="154" y="25"/>
                </a:cubicBezTo>
                <a:cubicBezTo>
                  <a:pt x="153" y="25"/>
                  <a:pt x="153" y="25"/>
                  <a:pt x="153" y="25"/>
                </a:cubicBezTo>
                <a:cubicBezTo>
                  <a:pt x="153" y="26"/>
                  <a:pt x="153" y="26"/>
                  <a:pt x="153" y="26"/>
                </a:cubicBezTo>
                <a:cubicBezTo>
                  <a:pt x="153" y="26"/>
                  <a:pt x="153" y="26"/>
                  <a:pt x="153" y="26"/>
                </a:cubicBezTo>
                <a:cubicBezTo>
                  <a:pt x="152" y="27"/>
                  <a:pt x="152" y="27"/>
                  <a:pt x="152" y="27"/>
                </a:cubicBezTo>
                <a:cubicBezTo>
                  <a:pt x="152" y="27"/>
                  <a:pt x="152" y="27"/>
                  <a:pt x="152" y="27"/>
                </a:cubicBezTo>
                <a:cubicBezTo>
                  <a:pt x="152" y="27"/>
                  <a:pt x="152" y="27"/>
                  <a:pt x="151" y="27"/>
                </a:cubicBezTo>
                <a:cubicBezTo>
                  <a:pt x="151" y="27"/>
                  <a:pt x="151" y="27"/>
                  <a:pt x="151" y="27"/>
                </a:cubicBezTo>
                <a:cubicBezTo>
                  <a:pt x="151" y="27"/>
                  <a:pt x="152" y="27"/>
                  <a:pt x="152" y="27"/>
                </a:cubicBezTo>
                <a:cubicBezTo>
                  <a:pt x="153" y="27"/>
                  <a:pt x="153" y="27"/>
                  <a:pt x="153" y="27"/>
                </a:cubicBezTo>
                <a:cubicBezTo>
                  <a:pt x="153" y="27"/>
                  <a:pt x="153" y="27"/>
                  <a:pt x="153" y="27"/>
                </a:cubicBezTo>
                <a:cubicBezTo>
                  <a:pt x="153" y="27"/>
                  <a:pt x="153" y="27"/>
                  <a:pt x="153" y="27"/>
                </a:cubicBezTo>
                <a:cubicBezTo>
                  <a:pt x="154" y="27"/>
                  <a:pt x="154" y="28"/>
                  <a:pt x="155" y="28"/>
                </a:cubicBezTo>
                <a:cubicBezTo>
                  <a:pt x="157" y="29"/>
                  <a:pt x="157" y="29"/>
                  <a:pt x="157" y="29"/>
                </a:cubicBezTo>
                <a:cubicBezTo>
                  <a:pt x="158" y="29"/>
                  <a:pt x="158" y="29"/>
                  <a:pt x="159" y="29"/>
                </a:cubicBezTo>
                <a:cubicBezTo>
                  <a:pt x="160" y="30"/>
                  <a:pt x="160" y="30"/>
                  <a:pt x="160" y="30"/>
                </a:cubicBezTo>
                <a:cubicBezTo>
                  <a:pt x="160" y="31"/>
                  <a:pt x="160" y="31"/>
                  <a:pt x="160" y="31"/>
                </a:cubicBezTo>
                <a:cubicBezTo>
                  <a:pt x="160" y="31"/>
                  <a:pt x="159" y="31"/>
                  <a:pt x="159" y="32"/>
                </a:cubicBezTo>
                <a:cubicBezTo>
                  <a:pt x="159" y="32"/>
                  <a:pt x="159" y="32"/>
                  <a:pt x="159" y="32"/>
                </a:cubicBezTo>
                <a:cubicBezTo>
                  <a:pt x="159" y="32"/>
                  <a:pt x="159" y="32"/>
                  <a:pt x="159" y="32"/>
                </a:cubicBezTo>
                <a:cubicBezTo>
                  <a:pt x="159" y="33"/>
                  <a:pt x="159" y="33"/>
                  <a:pt x="159" y="33"/>
                </a:cubicBezTo>
                <a:cubicBezTo>
                  <a:pt x="158" y="33"/>
                  <a:pt x="158" y="33"/>
                  <a:pt x="158" y="33"/>
                </a:cubicBezTo>
                <a:cubicBezTo>
                  <a:pt x="158" y="33"/>
                  <a:pt x="158" y="33"/>
                  <a:pt x="158" y="33"/>
                </a:cubicBezTo>
                <a:cubicBezTo>
                  <a:pt x="158" y="33"/>
                  <a:pt x="158" y="33"/>
                  <a:pt x="158" y="33"/>
                </a:cubicBezTo>
                <a:cubicBezTo>
                  <a:pt x="158" y="33"/>
                  <a:pt x="158" y="33"/>
                  <a:pt x="158" y="33"/>
                </a:cubicBezTo>
                <a:cubicBezTo>
                  <a:pt x="157" y="33"/>
                  <a:pt x="157" y="33"/>
                  <a:pt x="157" y="33"/>
                </a:cubicBezTo>
                <a:cubicBezTo>
                  <a:pt x="157" y="34"/>
                  <a:pt x="156" y="33"/>
                  <a:pt x="156" y="33"/>
                </a:cubicBezTo>
                <a:cubicBezTo>
                  <a:pt x="156" y="33"/>
                  <a:pt x="156" y="33"/>
                  <a:pt x="156" y="33"/>
                </a:cubicBezTo>
                <a:cubicBezTo>
                  <a:pt x="156" y="33"/>
                  <a:pt x="156" y="33"/>
                  <a:pt x="156" y="33"/>
                </a:cubicBezTo>
                <a:cubicBezTo>
                  <a:pt x="156" y="33"/>
                  <a:pt x="156" y="33"/>
                  <a:pt x="156" y="33"/>
                </a:cubicBezTo>
                <a:cubicBezTo>
                  <a:pt x="156" y="33"/>
                  <a:pt x="156" y="33"/>
                  <a:pt x="156" y="33"/>
                </a:cubicBezTo>
                <a:cubicBezTo>
                  <a:pt x="156" y="36"/>
                  <a:pt x="156" y="36"/>
                  <a:pt x="156" y="36"/>
                </a:cubicBezTo>
                <a:cubicBezTo>
                  <a:pt x="155" y="33"/>
                  <a:pt x="155" y="33"/>
                  <a:pt x="155" y="33"/>
                </a:cubicBezTo>
                <a:cubicBezTo>
                  <a:pt x="155" y="33"/>
                  <a:pt x="154" y="33"/>
                  <a:pt x="154" y="33"/>
                </a:cubicBezTo>
                <a:cubicBezTo>
                  <a:pt x="154" y="33"/>
                  <a:pt x="154" y="33"/>
                  <a:pt x="154" y="33"/>
                </a:cubicBezTo>
                <a:cubicBezTo>
                  <a:pt x="154" y="33"/>
                  <a:pt x="154" y="33"/>
                  <a:pt x="154" y="33"/>
                </a:cubicBezTo>
                <a:cubicBezTo>
                  <a:pt x="154" y="33"/>
                  <a:pt x="153" y="33"/>
                  <a:pt x="153" y="33"/>
                </a:cubicBezTo>
                <a:cubicBezTo>
                  <a:pt x="152" y="33"/>
                  <a:pt x="152" y="33"/>
                  <a:pt x="152" y="33"/>
                </a:cubicBezTo>
                <a:cubicBezTo>
                  <a:pt x="152" y="33"/>
                  <a:pt x="152" y="33"/>
                  <a:pt x="152" y="33"/>
                </a:cubicBezTo>
                <a:cubicBezTo>
                  <a:pt x="152" y="33"/>
                  <a:pt x="152" y="33"/>
                  <a:pt x="152" y="33"/>
                </a:cubicBezTo>
                <a:cubicBezTo>
                  <a:pt x="151" y="35"/>
                  <a:pt x="151" y="35"/>
                  <a:pt x="151" y="35"/>
                </a:cubicBezTo>
                <a:cubicBezTo>
                  <a:pt x="151" y="33"/>
                  <a:pt x="151" y="33"/>
                  <a:pt x="151" y="33"/>
                </a:cubicBezTo>
                <a:cubicBezTo>
                  <a:pt x="151" y="33"/>
                  <a:pt x="151" y="33"/>
                  <a:pt x="151" y="33"/>
                </a:cubicBezTo>
                <a:cubicBezTo>
                  <a:pt x="151" y="33"/>
                  <a:pt x="150" y="33"/>
                  <a:pt x="150" y="33"/>
                </a:cubicBezTo>
                <a:cubicBezTo>
                  <a:pt x="149" y="33"/>
                  <a:pt x="149" y="33"/>
                  <a:pt x="149" y="33"/>
                </a:cubicBezTo>
                <a:cubicBezTo>
                  <a:pt x="149" y="33"/>
                  <a:pt x="149" y="33"/>
                  <a:pt x="149" y="33"/>
                </a:cubicBezTo>
                <a:cubicBezTo>
                  <a:pt x="148" y="33"/>
                  <a:pt x="148" y="33"/>
                  <a:pt x="148" y="33"/>
                </a:cubicBezTo>
                <a:cubicBezTo>
                  <a:pt x="147" y="34"/>
                  <a:pt x="147" y="34"/>
                  <a:pt x="147" y="34"/>
                </a:cubicBezTo>
                <a:cubicBezTo>
                  <a:pt x="147" y="35"/>
                  <a:pt x="146" y="35"/>
                  <a:pt x="146" y="36"/>
                </a:cubicBezTo>
                <a:cubicBezTo>
                  <a:pt x="145" y="36"/>
                  <a:pt x="145" y="36"/>
                  <a:pt x="145" y="36"/>
                </a:cubicBezTo>
                <a:cubicBezTo>
                  <a:pt x="148" y="38"/>
                  <a:pt x="148" y="38"/>
                  <a:pt x="148" y="38"/>
                </a:cubicBezTo>
                <a:cubicBezTo>
                  <a:pt x="148" y="39"/>
                  <a:pt x="148" y="39"/>
                  <a:pt x="148" y="39"/>
                </a:cubicBezTo>
                <a:cubicBezTo>
                  <a:pt x="148" y="40"/>
                  <a:pt x="148" y="40"/>
                  <a:pt x="148" y="40"/>
                </a:cubicBezTo>
                <a:cubicBezTo>
                  <a:pt x="149" y="41"/>
                  <a:pt x="149" y="41"/>
                  <a:pt x="148" y="42"/>
                </a:cubicBezTo>
                <a:cubicBezTo>
                  <a:pt x="148" y="42"/>
                  <a:pt x="148" y="42"/>
                  <a:pt x="148" y="42"/>
                </a:cubicBezTo>
                <a:cubicBezTo>
                  <a:pt x="148" y="42"/>
                  <a:pt x="148" y="42"/>
                  <a:pt x="148" y="42"/>
                </a:cubicBezTo>
                <a:cubicBezTo>
                  <a:pt x="147" y="42"/>
                  <a:pt x="147" y="42"/>
                  <a:pt x="147" y="42"/>
                </a:cubicBezTo>
                <a:cubicBezTo>
                  <a:pt x="147" y="42"/>
                  <a:pt x="147" y="43"/>
                  <a:pt x="146" y="43"/>
                </a:cubicBezTo>
                <a:cubicBezTo>
                  <a:pt x="146" y="43"/>
                  <a:pt x="146" y="43"/>
                  <a:pt x="146" y="43"/>
                </a:cubicBezTo>
                <a:cubicBezTo>
                  <a:pt x="146" y="43"/>
                  <a:pt x="146" y="43"/>
                  <a:pt x="146" y="43"/>
                </a:cubicBezTo>
                <a:cubicBezTo>
                  <a:pt x="146" y="43"/>
                  <a:pt x="146" y="43"/>
                  <a:pt x="146" y="43"/>
                </a:cubicBezTo>
                <a:cubicBezTo>
                  <a:pt x="145" y="44"/>
                  <a:pt x="145" y="44"/>
                  <a:pt x="145" y="44"/>
                </a:cubicBezTo>
                <a:cubicBezTo>
                  <a:pt x="144" y="44"/>
                  <a:pt x="144" y="44"/>
                  <a:pt x="143" y="44"/>
                </a:cubicBezTo>
                <a:cubicBezTo>
                  <a:pt x="143" y="44"/>
                  <a:pt x="143" y="44"/>
                  <a:pt x="143" y="44"/>
                </a:cubicBezTo>
                <a:cubicBezTo>
                  <a:pt x="142" y="44"/>
                  <a:pt x="142" y="44"/>
                  <a:pt x="142" y="44"/>
                </a:cubicBezTo>
                <a:cubicBezTo>
                  <a:pt x="142" y="44"/>
                  <a:pt x="142" y="44"/>
                  <a:pt x="142" y="44"/>
                </a:cubicBezTo>
                <a:cubicBezTo>
                  <a:pt x="142" y="45"/>
                  <a:pt x="142" y="45"/>
                  <a:pt x="142" y="45"/>
                </a:cubicBezTo>
                <a:cubicBezTo>
                  <a:pt x="141" y="45"/>
                  <a:pt x="141" y="45"/>
                  <a:pt x="141" y="45"/>
                </a:cubicBezTo>
                <a:cubicBezTo>
                  <a:pt x="144" y="47"/>
                  <a:pt x="144" y="47"/>
                  <a:pt x="144" y="47"/>
                </a:cubicBezTo>
                <a:cubicBezTo>
                  <a:pt x="142" y="47"/>
                  <a:pt x="142" y="47"/>
                  <a:pt x="142" y="47"/>
                </a:cubicBezTo>
                <a:cubicBezTo>
                  <a:pt x="142" y="47"/>
                  <a:pt x="142" y="47"/>
                  <a:pt x="142" y="47"/>
                </a:cubicBezTo>
                <a:cubicBezTo>
                  <a:pt x="142" y="47"/>
                  <a:pt x="142" y="47"/>
                  <a:pt x="142" y="47"/>
                </a:cubicBezTo>
                <a:cubicBezTo>
                  <a:pt x="139" y="47"/>
                  <a:pt x="139" y="47"/>
                  <a:pt x="139" y="47"/>
                </a:cubicBezTo>
                <a:cubicBezTo>
                  <a:pt x="140" y="47"/>
                  <a:pt x="140" y="47"/>
                  <a:pt x="141" y="47"/>
                </a:cubicBezTo>
                <a:cubicBezTo>
                  <a:pt x="141" y="47"/>
                  <a:pt x="141" y="47"/>
                  <a:pt x="141" y="47"/>
                </a:cubicBezTo>
                <a:cubicBezTo>
                  <a:pt x="141" y="48"/>
                  <a:pt x="141" y="48"/>
                  <a:pt x="142" y="48"/>
                </a:cubicBezTo>
                <a:cubicBezTo>
                  <a:pt x="143" y="48"/>
                  <a:pt x="143" y="48"/>
                  <a:pt x="143" y="48"/>
                </a:cubicBezTo>
                <a:cubicBezTo>
                  <a:pt x="143" y="49"/>
                  <a:pt x="143" y="49"/>
                  <a:pt x="143" y="49"/>
                </a:cubicBezTo>
                <a:cubicBezTo>
                  <a:pt x="143" y="49"/>
                  <a:pt x="143" y="49"/>
                  <a:pt x="143" y="49"/>
                </a:cubicBezTo>
                <a:cubicBezTo>
                  <a:pt x="143" y="49"/>
                  <a:pt x="143" y="49"/>
                  <a:pt x="143" y="49"/>
                </a:cubicBezTo>
                <a:cubicBezTo>
                  <a:pt x="143" y="49"/>
                  <a:pt x="143" y="49"/>
                  <a:pt x="143" y="49"/>
                </a:cubicBezTo>
                <a:cubicBezTo>
                  <a:pt x="145" y="49"/>
                  <a:pt x="145" y="49"/>
                  <a:pt x="145" y="49"/>
                </a:cubicBezTo>
                <a:cubicBezTo>
                  <a:pt x="148" y="51"/>
                  <a:pt x="148" y="51"/>
                  <a:pt x="148" y="51"/>
                </a:cubicBezTo>
                <a:cubicBezTo>
                  <a:pt x="149" y="51"/>
                  <a:pt x="149" y="51"/>
                  <a:pt x="149" y="51"/>
                </a:cubicBezTo>
                <a:cubicBezTo>
                  <a:pt x="149" y="52"/>
                  <a:pt x="149" y="52"/>
                  <a:pt x="149" y="52"/>
                </a:cubicBezTo>
                <a:cubicBezTo>
                  <a:pt x="153" y="54"/>
                  <a:pt x="153" y="54"/>
                  <a:pt x="153" y="54"/>
                </a:cubicBezTo>
                <a:cubicBezTo>
                  <a:pt x="154" y="52"/>
                  <a:pt x="154" y="52"/>
                  <a:pt x="154" y="52"/>
                </a:cubicBezTo>
                <a:cubicBezTo>
                  <a:pt x="154" y="54"/>
                  <a:pt x="154" y="54"/>
                  <a:pt x="154" y="54"/>
                </a:cubicBezTo>
                <a:cubicBezTo>
                  <a:pt x="156" y="55"/>
                  <a:pt x="156" y="55"/>
                  <a:pt x="156" y="55"/>
                </a:cubicBezTo>
                <a:cubicBezTo>
                  <a:pt x="156" y="55"/>
                  <a:pt x="156" y="55"/>
                  <a:pt x="156" y="55"/>
                </a:cubicBezTo>
                <a:cubicBezTo>
                  <a:pt x="158" y="57"/>
                  <a:pt x="158" y="57"/>
                  <a:pt x="158" y="57"/>
                </a:cubicBezTo>
                <a:cubicBezTo>
                  <a:pt x="155" y="57"/>
                  <a:pt x="155" y="57"/>
                  <a:pt x="155" y="57"/>
                </a:cubicBezTo>
                <a:cubicBezTo>
                  <a:pt x="154" y="57"/>
                  <a:pt x="154" y="57"/>
                  <a:pt x="154" y="57"/>
                </a:cubicBezTo>
                <a:cubicBezTo>
                  <a:pt x="154" y="57"/>
                  <a:pt x="154" y="58"/>
                  <a:pt x="153" y="59"/>
                </a:cubicBezTo>
                <a:cubicBezTo>
                  <a:pt x="153" y="59"/>
                  <a:pt x="153" y="59"/>
                  <a:pt x="153" y="59"/>
                </a:cubicBezTo>
                <a:cubicBezTo>
                  <a:pt x="153" y="59"/>
                  <a:pt x="153" y="59"/>
                  <a:pt x="153" y="59"/>
                </a:cubicBezTo>
                <a:cubicBezTo>
                  <a:pt x="153" y="59"/>
                  <a:pt x="153" y="60"/>
                  <a:pt x="153" y="60"/>
                </a:cubicBezTo>
                <a:cubicBezTo>
                  <a:pt x="153" y="60"/>
                  <a:pt x="153" y="60"/>
                  <a:pt x="153" y="60"/>
                </a:cubicBezTo>
                <a:cubicBezTo>
                  <a:pt x="153" y="61"/>
                  <a:pt x="153" y="61"/>
                  <a:pt x="153" y="61"/>
                </a:cubicBezTo>
                <a:cubicBezTo>
                  <a:pt x="153" y="61"/>
                  <a:pt x="153" y="61"/>
                  <a:pt x="153" y="62"/>
                </a:cubicBezTo>
                <a:cubicBezTo>
                  <a:pt x="152" y="63"/>
                  <a:pt x="152" y="63"/>
                  <a:pt x="152" y="63"/>
                </a:cubicBezTo>
                <a:cubicBezTo>
                  <a:pt x="151" y="63"/>
                  <a:pt x="151" y="63"/>
                  <a:pt x="151" y="63"/>
                </a:cubicBezTo>
                <a:cubicBezTo>
                  <a:pt x="150" y="64"/>
                  <a:pt x="147" y="64"/>
                  <a:pt x="145" y="65"/>
                </a:cubicBezTo>
                <a:cubicBezTo>
                  <a:pt x="145" y="65"/>
                  <a:pt x="145" y="65"/>
                  <a:pt x="145" y="65"/>
                </a:cubicBezTo>
                <a:cubicBezTo>
                  <a:pt x="145" y="65"/>
                  <a:pt x="145" y="65"/>
                  <a:pt x="145" y="65"/>
                </a:cubicBezTo>
                <a:cubicBezTo>
                  <a:pt x="144" y="65"/>
                  <a:pt x="144" y="65"/>
                  <a:pt x="144" y="65"/>
                </a:cubicBezTo>
                <a:cubicBezTo>
                  <a:pt x="142" y="64"/>
                  <a:pt x="141" y="64"/>
                  <a:pt x="139" y="63"/>
                </a:cubicBezTo>
                <a:cubicBezTo>
                  <a:pt x="138" y="63"/>
                  <a:pt x="138" y="63"/>
                  <a:pt x="138" y="63"/>
                </a:cubicBezTo>
                <a:cubicBezTo>
                  <a:pt x="137" y="63"/>
                  <a:pt x="137" y="63"/>
                  <a:pt x="137" y="63"/>
                </a:cubicBezTo>
                <a:cubicBezTo>
                  <a:pt x="137" y="63"/>
                  <a:pt x="137" y="63"/>
                  <a:pt x="137" y="64"/>
                </a:cubicBezTo>
                <a:cubicBezTo>
                  <a:pt x="137" y="64"/>
                  <a:pt x="136" y="65"/>
                  <a:pt x="136" y="65"/>
                </a:cubicBezTo>
                <a:cubicBezTo>
                  <a:pt x="136" y="66"/>
                  <a:pt x="136" y="66"/>
                  <a:pt x="136" y="66"/>
                </a:cubicBezTo>
                <a:cubicBezTo>
                  <a:pt x="135" y="66"/>
                  <a:pt x="135" y="66"/>
                  <a:pt x="134" y="66"/>
                </a:cubicBezTo>
                <a:cubicBezTo>
                  <a:pt x="134" y="66"/>
                  <a:pt x="134" y="66"/>
                  <a:pt x="134" y="67"/>
                </a:cubicBezTo>
                <a:cubicBezTo>
                  <a:pt x="133" y="67"/>
                  <a:pt x="133" y="67"/>
                  <a:pt x="133" y="67"/>
                </a:cubicBezTo>
                <a:cubicBezTo>
                  <a:pt x="133" y="67"/>
                  <a:pt x="133" y="67"/>
                  <a:pt x="133" y="67"/>
                </a:cubicBezTo>
                <a:cubicBezTo>
                  <a:pt x="131" y="69"/>
                  <a:pt x="131" y="69"/>
                  <a:pt x="131" y="69"/>
                </a:cubicBezTo>
                <a:cubicBezTo>
                  <a:pt x="131" y="66"/>
                  <a:pt x="131" y="66"/>
                  <a:pt x="131" y="66"/>
                </a:cubicBezTo>
                <a:cubicBezTo>
                  <a:pt x="131" y="66"/>
                  <a:pt x="131" y="65"/>
                  <a:pt x="131" y="65"/>
                </a:cubicBezTo>
                <a:cubicBezTo>
                  <a:pt x="130" y="65"/>
                  <a:pt x="129" y="65"/>
                  <a:pt x="128" y="65"/>
                </a:cubicBezTo>
                <a:cubicBezTo>
                  <a:pt x="128" y="65"/>
                  <a:pt x="128" y="65"/>
                  <a:pt x="127" y="65"/>
                </a:cubicBezTo>
                <a:cubicBezTo>
                  <a:pt x="127" y="65"/>
                  <a:pt x="126" y="65"/>
                  <a:pt x="126" y="64"/>
                </a:cubicBezTo>
                <a:cubicBezTo>
                  <a:pt x="125" y="66"/>
                  <a:pt x="125" y="66"/>
                  <a:pt x="125" y="66"/>
                </a:cubicBezTo>
                <a:cubicBezTo>
                  <a:pt x="125" y="64"/>
                  <a:pt x="125" y="64"/>
                  <a:pt x="125" y="64"/>
                </a:cubicBezTo>
                <a:cubicBezTo>
                  <a:pt x="125" y="64"/>
                  <a:pt x="125" y="64"/>
                  <a:pt x="125" y="64"/>
                </a:cubicBezTo>
                <a:cubicBezTo>
                  <a:pt x="125" y="64"/>
                  <a:pt x="124" y="64"/>
                  <a:pt x="124" y="64"/>
                </a:cubicBezTo>
                <a:cubicBezTo>
                  <a:pt x="123" y="63"/>
                  <a:pt x="122" y="63"/>
                  <a:pt x="122" y="62"/>
                </a:cubicBezTo>
                <a:cubicBezTo>
                  <a:pt x="122" y="62"/>
                  <a:pt x="122" y="61"/>
                  <a:pt x="122" y="60"/>
                </a:cubicBezTo>
                <a:cubicBezTo>
                  <a:pt x="122" y="60"/>
                  <a:pt x="121" y="59"/>
                  <a:pt x="121" y="59"/>
                </a:cubicBezTo>
                <a:cubicBezTo>
                  <a:pt x="120" y="58"/>
                  <a:pt x="118" y="58"/>
                  <a:pt x="116" y="58"/>
                </a:cubicBezTo>
                <a:cubicBezTo>
                  <a:pt x="116" y="58"/>
                  <a:pt x="116" y="58"/>
                  <a:pt x="116" y="58"/>
                </a:cubicBezTo>
                <a:cubicBezTo>
                  <a:pt x="116" y="58"/>
                  <a:pt x="115" y="58"/>
                  <a:pt x="115" y="58"/>
                </a:cubicBezTo>
                <a:cubicBezTo>
                  <a:pt x="115" y="59"/>
                  <a:pt x="115" y="60"/>
                  <a:pt x="115" y="60"/>
                </a:cubicBezTo>
                <a:cubicBezTo>
                  <a:pt x="115" y="60"/>
                  <a:pt x="115" y="60"/>
                  <a:pt x="115" y="60"/>
                </a:cubicBezTo>
                <a:cubicBezTo>
                  <a:pt x="115" y="61"/>
                  <a:pt x="114" y="61"/>
                  <a:pt x="114" y="61"/>
                </a:cubicBezTo>
                <a:cubicBezTo>
                  <a:pt x="113" y="62"/>
                  <a:pt x="113" y="62"/>
                  <a:pt x="112" y="62"/>
                </a:cubicBezTo>
                <a:cubicBezTo>
                  <a:pt x="112" y="62"/>
                  <a:pt x="111" y="62"/>
                  <a:pt x="111" y="62"/>
                </a:cubicBezTo>
                <a:cubicBezTo>
                  <a:pt x="110" y="62"/>
                  <a:pt x="109" y="61"/>
                  <a:pt x="108" y="60"/>
                </a:cubicBezTo>
                <a:cubicBezTo>
                  <a:pt x="108" y="60"/>
                  <a:pt x="108" y="59"/>
                  <a:pt x="107" y="59"/>
                </a:cubicBezTo>
                <a:cubicBezTo>
                  <a:pt x="107" y="59"/>
                  <a:pt x="107" y="59"/>
                  <a:pt x="107" y="59"/>
                </a:cubicBezTo>
                <a:cubicBezTo>
                  <a:pt x="107" y="59"/>
                  <a:pt x="107" y="59"/>
                  <a:pt x="107" y="59"/>
                </a:cubicBezTo>
                <a:cubicBezTo>
                  <a:pt x="105" y="59"/>
                  <a:pt x="105" y="59"/>
                  <a:pt x="105" y="59"/>
                </a:cubicBezTo>
                <a:cubicBezTo>
                  <a:pt x="104" y="59"/>
                  <a:pt x="103" y="59"/>
                  <a:pt x="102" y="59"/>
                </a:cubicBezTo>
                <a:cubicBezTo>
                  <a:pt x="102" y="60"/>
                  <a:pt x="101" y="60"/>
                  <a:pt x="101" y="60"/>
                </a:cubicBezTo>
                <a:cubicBezTo>
                  <a:pt x="101" y="60"/>
                  <a:pt x="101" y="60"/>
                  <a:pt x="100" y="61"/>
                </a:cubicBezTo>
                <a:cubicBezTo>
                  <a:pt x="100" y="61"/>
                  <a:pt x="99" y="62"/>
                  <a:pt x="99" y="62"/>
                </a:cubicBezTo>
                <a:cubicBezTo>
                  <a:pt x="99" y="62"/>
                  <a:pt x="98" y="62"/>
                  <a:pt x="98" y="62"/>
                </a:cubicBezTo>
                <a:cubicBezTo>
                  <a:pt x="98" y="62"/>
                  <a:pt x="98" y="63"/>
                  <a:pt x="98" y="63"/>
                </a:cubicBezTo>
                <a:cubicBezTo>
                  <a:pt x="97" y="64"/>
                  <a:pt x="97" y="64"/>
                  <a:pt x="96" y="65"/>
                </a:cubicBezTo>
                <a:cubicBezTo>
                  <a:pt x="96" y="65"/>
                  <a:pt x="96" y="65"/>
                  <a:pt x="95" y="65"/>
                </a:cubicBezTo>
                <a:cubicBezTo>
                  <a:pt x="95" y="65"/>
                  <a:pt x="95" y="65"/>
                  <a:pt x="95" y="65"/>
                </a:cubicBezTo>
                <a:cubicBezTo>
                  <a:pt x="95" y="65"/>
                  <a:pt x="95" y="65"/>
                  <a:pt x="95" y="65"/>
                </a:cubicBezTo>
                <a:cubicBezTo>
                  <a:pt x="94" y="66"/>
                  <a:pt x="94" y="66"/>
                  <a:pt x="93" y="66"/>
                </a:cubicBezTo>
                <a:cubicBezTo>
                  <a:pt x="92" y="66"/>
                  <a:pt x="91" y="66"/>
                  <a:pt x="89" y="65"/>
                </a:cubicBezTo>
                <a:cubicBezTo>
                  <a:pt x="88" y="64"/>
                  <a:pt x="86" y="63"/>
                  <a:pt x="85" y="62"/>
                </a:cubicBezTo>
                <a:cubicBezTo>
                  <a:pt x="84" y="61"/>
                  <a:pt x="84" y="61"/>
                  <a:pt x="84" y="61"/>
                </a:cubicBezTo>
                <a:cubicBezTo>
                  <a:pt x="84" y="61"/>
                  <a:pt x="84" y="61"/>
                  <a:pt x="84" y="61"/>
                </a:cubicBezTo>
                <a:cubicBezTo>
                  <a:pt x="84" y="61"/>
                  <a:pt x="83" y="60"/>
                  <a:pt x="83" y="60"/>
                </a:cubicBezTo>
                <a:cubicBezTo>
                  <a:pt x="83" y="61"/>
                  <a:pt x="83" y="61"/>
                  <a:pt x="83" y="61"/>
                </a:cubicBezTo>
                <a:cubicBezTo>
                  <a:pt x="84" y="61"/>
                  <a:pt x="84" y="61"/>
                  <a:pt x="84" y="61"/>
                </a:cubicBezTo>
                <a:cubicBezTo>
                  <a:pt x="84" y="62"/>
                  <a:pt x="84" y="62"/>
                  <a:pt x="84" y="62"/>
                </a:cubicBezTo>
                <a:cubicBezTo>
                  <a:pt x="84" y="63"/>
                  <a:pt x="84" y="63"/>
                  <a:pt x="84" y="63"/>
                </a:cubicBezTo>
                <a:cubicBezTo>
                  <a:pt x="84" y="63"/>
                  <a:pt x="84" y="64"/>
                  <a:pt x="83" y="65"/>
                </a:cubicBezTo>
                <a:cubicBezTo>
                  <a:pt x="83" y="65"/>
                  <a:pt x="83" y="65"/>
                  <a:pt x="81" y="66"/>
                </a:cubicBezTo>
                <a:cubicBezTo>
                  <a:pt x="80" y="67"/>
                  <a:pt x="80" y="67"/>
                  <a:pt x="80" y="67"/>
                </a:cubicBezTo>
                <a:cubicBezTo>
                  <a:pt x="80" y="65"/>
                  <a:pt x="80" y="65"/>
                  <a:pt x="80" y="65"/>
                </a:cubicBezTo>
                <a:cubicBezTo>
                  <a:pt x="79" y="64"/>
                  <a:pt x="79" y="63"/>
                  <a:pt x="79" y="62"/>
                </a:cubicBezTo>
                <a:cubicBezTo>
                  <a:pt x="79" y="61"/>
                  <a:pt x="79" y="61"/>
                  <a:pt x="79" y="61"/>
                </a:cubicBezTo>
                <a:cubicBezTo>
                  <a:pt x="79" y="61"/>
                  <a:pt x="79" y="61"/>
                  <a:pt x="78" y="60"/>
                </a:cubicBezTo>
                <a:cubicBezTo>
                  <a:pt x="78" y="60"/>
                  <a:pt x="77" y="59"/>
                  <a:pt x="76" y="59"/>
                </a:cubicBezTo>
                <a:cubicBezTo>
                  <a:pt x="76" y="59"/>
                  <a:pt x="76" y="59"/>
                  <a:pt x="76" y="59"/>
                </a:cubicBezTo>
                <a:cubicBezTo>
                  <a:pt x="74" y="57"/>
                  <a:pt x="72" y="55"/>
                  <a:pt x="69" y="54"/>
                </a:cubicBezTo>
                <a:cubicBezTo>
                  <a:pt x="69" y="53"/>
                  <a:pt x="67" y="53"/>
                  <a:pt x="66" y="53"/>
                </a:cubicBezTo>
                <a:cubicBezTo>
                  <a:pt x="65" y="53"/>
                  <a:pt x="64" y="53"/>
                  <a:pt x="63" y="54"/>
                </a:cubicBezTo>
                <a:cubicBezTo>
                  <a:pt x="63" y="54"/>
                  <a:pt x="63" y="54"/>
                  <a:pt x="63" y="54"/>
                </a:cubicBezTo>
                <a:cubicBezTo>
                  <a:pt x="63" y="54"/>
                  <a:pt x="63" y="54"/>
                  <a:pt x="63" y="54"/>
                </a:cubicBezTo>
                <a:cubicBezTo>
                  <a:pt x="62" y="54"/>
                  <a:pt x="62" y="54"/>
                  <a:pt x="61" y="54"/>
                </a:cubicBezTo>
                <a:cubicBezTo>
                  <a:pt x="61" y="54"/>
                  <a:pt x="61" y="54"/>
                  <a:pt x="61" y="54"/>
                </a:cubicBezTo>
                <a:cubicBezTo>
                  <a:pt x="61" y="54"/>
                  <a:pt x="61" y="54"/>
                  <a:pt x="61" y="54"/>
                </a:cubicBezTo>
                <a:cubicBezTo>
                  <a:pt x="60" y="54"/>
                  <a:pt x="60" y="54"/>
                  <a:pt x="60" y="54"/>
                </a:cubicBezTo>
                <a:cubicBezTo>
                  <a:pt x="60" y="54"/>
                  <a:pt x="60" y="54"/>
                  <a:pt x="60" y="53"/>
                </a:cubicBezTo>
                <a:cubicBezTo>
                  <a:pt x="60" y="53"/>
                  <a:pt x="60" y="53"/>
                  <a:pt x="60" y="53"/>
                </a:cubicBezTo>
                <a:cubicBezTo>
                  <a:pt x="60" y="53"/>
                  <a:pt x="59" y="53"/>
                  <a:pt x="59" y="53"/>
                </a:cubicBezTo>
                <a:cubicBezTo>
                  <a:pt x="59" y="52"/>
                  <a:pt x="59" y="52"/>
                  <a:pt x="59" y="52"/>
                </a:cubicBezTo>
                <a:cubicBezTo>
                  <a:pt x="59" y="52"/>
                  <a:pt x="59" y="52"/>
                  <a:pt x="59" y="52"/>
                </a:cubicBezTo>
                <a:cubicBezTo>
                  <a:pt x="58" y="51"/>
                  <a:pt x="58" y="51"/>
                  <a:pt x="58" y="50"/>
                </a:cubicBezTo>
                <a:cubicBezTo>
                  <a:pt x="57" y="51"/>
                  <a:pt x="56" y="51"/>
                  <a:pt x="54" y="51"/>
                </a:cubicBezTo>
                <a:cubicBezTo>
                  <a:pt x="54" y="51"/>
                  <a:pt x="54" y="51"/>
                  <a:pt x="54" y="51"/>
                </a:cubicBezTo>
                <a:cubicBezTo>
                  <a:pt x="54" y="51"/>
                  <a:pt x="54" y="51"/>
                  <a:pt x="54" y="51"/>
                </a:cubicBezTo>
                <a:cubicBezTo>
                  <a:pt x="54" y="52"/>
                  <a:pt x="54" y="52"/>
                  <a:pt x="54" y="52"/>
                </a:cubicBezTo>
                <a:cubicBezTo>
                  <a:pt x="54" y="52"/>
                  <a:pt x="54" y="53"/>
                  <a:pt x="54" y="53"/>
                </a:cubicBezTo>
                <a:cubicBezTo>
                  <a:pt x="54" y="53"/>
                  <a:pt x="53" y="53"/>
                  <a:pt x="53" y="53"/>
                </a:cubicBezTo>
                <a:cubicBezTo>
                  <a:pt x="53" y="54"/>
                  <a:pt x="52" y="54"/>
                  <a:pt x="52" y="54"/>
                </a:cubicBezTo>
                <a:cubicBezTo>
                  <a:pt x="51" y="54"/>
                  <a:pt x="51" y="54"/>
                  <a:pt x="51" y="54"/>
                </a:cubicBezTo>
                <a:cubicBezTo>
                  <a:pt x="51" y="54"/>
                  <a:pt x="51" y="54"/>
                  <a:pt x="51" y="54"/>
                </a:cubicBezTo>
                <a:cubicBezTo>
                  <a:pt x="51" y="54"/>
                  <a:pt x="50" y="54"/>
                  <a:pt x="50" y="54"/>
                </a:cubicBezTo>
                <a:cubicBezTo>
                  <a:pt x="49" y="56"/>
                  <a:pt x="49" y="56"/>
                  <a:pt x="49" y="56"/>
                </a:cubicBezTo>
                <a:cubicBezTo>
                  <a:pt x="49" y="54"/>
                  <a:pt x="49" y="54"/>
                  <a:pt x="49" y="54"/>
                </a:cubicBezTo>
                <a:cubicBezTo>
                  <a:pt x="49" y="54"/>
                  <a:pt x="49" y="54"/>
                  <a:pt x="49" y="54"/>
                </a:cubicBezTo>
                <a:cubicBezTo>
                  <a:pt x="48" y="53"/>
                  <a:pt x="48" y="53"/>
                  <a:pt x="47" y="52"/>
                </a:cubicBezTo>
                <a:cubicBezTo>
                  <a:pt x="47" y="51"/>
                  <a:pt x="47" y="51"/>
                  <a:pt x="47" y="51"/>
                </a:cubicBezTo>
                <a:cubicBezTo>
                  <a:pt x="47" y="51"/>
                  <a:pt x="47" y="51"/>
                  <a:pt x="47" y="51"/>
                </a:cubicBezTo>
                <a:cubicBezTo>
                  <a:pt x="47" y="51"/>
                  <a:pt x="46" y="51"/>
                  <a:pt x="46" y="51"/>
                </a:cubicBezTo>
                <a:cubicBezTo>
                  <a:pt x="45" y="50"/>
                  <a:pt x="45" y="50"/>
                  <a:pt x="45" y="50"/>
                </a:cubicBezTo>
                <a:cubicBezTo>
                  <a:pt x="45" y="50"/>
                  <a:pt x="44" y="50"/>
                  <a:pt x="44" y="50"/>
                </a:cubicBezTo>
                <a:cubicBezTo>
                  <a:pt x="44" y="50"/>
                  <a:pt x="44" y="50"/>
                  <a:pt x="44" y="51"/>
                </a:cubicBezTo>
                <a:cubicBezTo>
                  <a:pt x="44" y="51"/>
                  <a:pt x="44" y="51"/>
                  <a:pt x="44" y="51"/>
                </a:cubicBezTo>
                <a:cubicBezTo>
                  <a:pt x="44" y="52"/>
                  <a:pt x="43" y="52"/>
                  <a:pt x="42" y="52"/>
                </a:cubicBezTo>
                <a:cubicBezTo>
                  <a:pt x="42" y="52"/>
                  <a:pt x="42" y="52"/>
                  <a:pt x="42" y="52"/>
                </a:cubicBezTo>
                <a:cubicBezTo>
                  <a:pt x="42" y="52"/>
                  <a:pt x="42" y="52"/>
                  <a:pt x="42" y="52"/>
                </a:cubicBezTo>
                <a:cubicBezTo>
                  <a:pt x="41" y="52"/>
                  <a:pt x="41" y="52"/>
                  <a:pt x="40" y="53"/>
                </a:cubicBezTo>
                <a:cubicBezTo>
                  <a:pt x="40" y="54"/>
                  <a:pt x="40" y="54"/>
                  <a:pt x="40" y="54"/>
                </a:cubicBezTo>
                <a:cubicBezTo>
                  <a:pt x="40" y="55"/>
                  <a:pt x="40" y="55"/>
                  <a:pt x="39" y="55"/>
                </a:cubicBezTo>
                <a:cubicBezTo>
                  <a:pt x="39" y="56"/>
                  <a:pt x="38" y="56"/>
                  <a:pt x="37" y="57"/>
                </a:cubicBezTo>
                <a:cubicBezTo>
                  <a:pt x="37" y="57"/>
                  <a:pt x="37" y="57"/>
                  <a:pt x="37" y="57"/>
                </a:cubicBezTo>
                <a:cubicBezTo>
                  <a:pt x="36" y="57"/>
                  <a:pt x="36" y="57"/>
                  <a:pt x="36" y="57"/>
                </a:cubicBezTo>
                <a:cubicBezTo>
                  <a:pt x="30" y="60"/>
                  <a:pt x="30" y="60"/>
                  <a:pt x="30" y="60"/>
                </a:cubicBezTo>
                <a:cubicBezTo>
                  <a:pt x="30" y="60"/>
                  <a:pt x="30" y="61"/>
                  <a:pt x="30" y="61"/>
                </a:cubicBezTo>
                <a:cubicBezTo>
                  <a:pt x="30" y="61"/>
                  <a:pt x="30" y="61"/>
                  <a:pt x="30" y="61"/>
                </a:cubicBezTo>
                <a:cubicBezTo>
                  <a:pt x="29" y="62"/>
                  <a:pt x="28" y="62"/>
                  <a:pt x="27" y="63"/>
                </a:cubicBezTo>
                <a:cubicBezTo>
                  <a:pt x="26" y="63"/>
                  <a:pt x="26" y="63"/>
                  <a:pt x="26" y="63"/>
                </a:cubicBezTo>
                <a:cubicBezTo>
                  <a:pt x="26" y="63"/>
                  <a:pt x="26" y="63"/>
                  <a:pt x="26" y="63"/>
                </a:cubicBezTo>
                <a:cubicBezTo>
                  <a:pt x="26" y="63"/>
                  <a:pt x="26" y="63"/>
                  <a:pt x="26" y="63"/>
                </a:cubicBezTo>
                <a:cubicBezTo>
                  <a:pt x="25" y="63"/>
                  <a:pt x="25" y="63"/>
                  <a:pt x="25" y="63"/>
                </a:cubicBezTo>
                <a:cubicBezTo>
                  <a:pt x="25" y="63"/>
                  <a:pt x="25" y="63"/>
                  <a:pt x="25" y="63"/>
                </a:cubicBezTo>
                <a:cubicBezTo>
                  <a:pt x="25" y="64"/>
                  <a:pt x="25" y="64"/>
                  <a:pt x="25" y="64"/>
                </a:cubicBezTo>
                <a:cubicBezTo>
                  <a:pt x="25" y="64"/>
                  <a:pt x="25" y="64"/>
                  <a:pt x="25" y="64"/>
                </a:cubicBezTo>
                <a:cubicBezTo>
                  <a:pt x="24" y="64"/>
                  <a:pt x="23" y="65"/>
                  <a:pt x="22" y="65"/>
                </a:cubicBezTo>
                <a:cubicBezTo>
                  <a:pt x="22" y="65"/>
                  <a:pt x="22" y="65"/>
                  <a:pt x="22" y="65"/>
                </a:cubicBezTo>
                <a:cubicBezTo>
                  <a:pt x="23" y="66"/>
                  <a:pt x="23" y="67"/>
                  <a:pt x="23" y="67"/>
                </a:cubicBezTo>
                <a:cubicBezTo>
                  <a:pt x="23" y="68"/>
                  <a:pt x="23" y="68"/>
                  <a:pt x="23" y="68"/>
                </a:cubicBezTo>
                <a:cubicBezTo>
                  <a:pt x="23" y="68"/>
                  <a:pt x="23" y="68"/>
                  <a:pt x="23" y="68"/>
                </a:cubicBezTo>
                <a:cubicBezTo>
                  <a:pt x="23" y="69"/>
                  <a:pt x="23" y="69"/>
                  <a:pt x="23" y="69"/>
                </a:cubicBezTo>
                <a:cubicBezTo>
                  <a:pt x="23" y="69"/>
                  <a:pt x="24" y="69"/>
                  <a:pt x="24" y="69"/>
                </a:cubicBezTo>
                <a:cubicBezTo>
                  <a:pt x="24" y="70"/>
                  <a:pt x="24" y="70"/>
                  <a:pt x="24" y="70"/>
                </a:cubicBezTo>
                <a:cubicBezTo>
                  <a:pt x="24" y="70"/>
                  <a:pt x="24" y="70"/>
                  <a:pt x="24" y="70"/>
                </a:cubicBezTo>
                <a:cubicBezTo>
                  <a:pt x="24" y="70"/>
                  <a:pt x="24" y="70"/>
                  <a:pt x="24" y="70"/>
                </a:cubicBezTo>
                <a:cubicBezTo>
                  <a:pt x="24" y="70"/>
                  <a:pt x="24" y="70"/>
                  <a:pt x="24" y="70"/>
                </a:cubicBezTo>
                <a:cubicBezTo>
                  <a:pt x="25" y="71"/>
                  <a:pt x="25" y="71"/>
                  <a:pt x="25" y="72"/>
                </a:cubicBezTo>
                <a:cubicBezTo>
                  <a:pt x="25" y="73"/>
                  <a:pt x="24" y="73"/>
                  <a:pt x="23" y="74"/>
                </a:cubicBezTo>
                <a:cubicBezTo>
                  <a:pt x="23" y="74"/>
                  <a:pt x="22" y="75"/>
                  <a:pt x="21" y="75"/>
                </a:cubicBezTo>
                <a:cubicBezTo>
                  <a:pt x="20" y="75"/>
                  <a:pt x="20" y="75"/>
                  <a:pt x="20" y="76"/>
                </a:cubicBezTo>
                <a:cubicBezTo>
                  <a:pt x="19" y="76"/>
                  <a:pt x="17" y="75"/>
                  <a:pt x="17" y="75"/>
                </a:cubicBezTo>
                <a:cubicBezTo>
                  <a:pt x="16" y="74"/>
                  <a:pt x="15" y="73"/>
                  <a:pt x="15" y="72"/>
                </a:cubicBezTo>
                <a:cubicBezTo>
                  <a:pt x="14" y="72"/>
                  <a:pt x="14" y="72"/>
                  <a:pt x="14" y="72"/>
                </a:cubicBezTo>
                <a:cubicBezTo>
                  <a:pt x="14" y="72"/>
                  <a:pt x="14" y="72"/>
                  <a:pt x="14" y="72"/>
                </a:cubicBezTo>
                <a:cubicBezTo>
                  <a:pt x="13" y="71"/>
                  <a:pt x="13" y="71"/>
                  <a:pt x="13" y="71"/>
                </a:cubicBezTo>
                <a:cubicBezTo>
                  <a:pt x="13" y="70"/>
                  <a:pt x="11" y="69"/>
                  <a:pt x="10" y="68"/>
                </a:cubicBezTo>
                <a:cubicBezTo>
                  <a:pt x="10" y="68"/>
                  <a:pt x="10" y="68"/>
                  <a:pt x="10" y="68"/>
                </a:cubicBezTo>
                <a:cubicBezTo>
                  <a:pt x="10" y="68"/>
                  <a:pt x="10" y="68"/>
                  <a:pt x="9" y="68"/>
                </a:cubicBezTo>
                <a:cubicBezTo>
                  <a:pt x="9" y="69"/>
                  <a:pt x="9" y="69"/>
                  <a:pt x="9" y="69"/>
                </a:cubicBezTo>
                <a:cubicBezTo>
                  <a:pt x="9" y="69"/>
                  <a:pt x="9" y="69"/>
                  <a:pt x="9" y="70"/>
                </a:cubicBezTo>
                <a:cubicBezTo>
                  <a:pt x="9" y="70"/>
                  <a:pt x="9" y="71"/>
                  <a:pt x="8" y="72"/>
                </a:cubicBezTo>
                <a:cubicBezTo>
                  <a:pt x="8" y="73"/>
                  <a:pt x="8" y="73"/>
                  <a:pt x="8" y="73"/>
                </a:cubicBezTo>
                <a:cubicBezTo>
                  <a:pt x="8" y="73"/>
                  <a:pt x="8" y="73"/>
                  <a:pt x="8" y="73"/>
                </a:cubicBezTo>
                <a:cubicBezTo>
                  <a:pt x="7" y="73"/>
                  <a:pt x="7" y="73"/>
                  <a:pt x="7" y="74"/>
                </a:cubicBezTo>
                <a:cubicBezTo>
                  <a:pt x="7" y="74"/>
                  <a:pt x="7" y="74"/>
                  <a:pt x="7" y="74"/>
                </a:cubicBezTo>
                <a:cubicBezTo>
                  <a:pt x="6" y="74"/>
                  <a:pt x="6" y="74"/>
                  <a:pt x="5" y="75"/>
                </a:cubicBezTo>
                <a:cubicBezTo>
                  <a:pt x="5" y="75"/>
                  <a:pt x="4" y="75"/>
                  <a:pt x="4" y="75"/>
                </a:cubicBezTo>
                <a:cubicBezTo>
                  <a:pt x="4" y="76"/>
                  <a:pt x="4" y="76"/>
                  <a:pt x="4" y="76"/>
                </a:cubicBezTo>
                <a:cubicBezTo>
                  <a:pt x="4" y="76"/>
                  <a:pt x="4" y="77"/>
                  <a:pt x="4" y="77"/>
                </a:cubicBezTo>
                <a:cubicBezTo>
                  <a:pt x="4" y="79"/>
                  <a:pt x="4" y="79"/>
                  <a:pt x="4" y="79"/>
                </a:cubicBezTo>
                <a:cubicBezTo>
                  <a:pt x="4" y="79"/>
                  <a:pt x="3" y="80"/>
                  <a:pt x="3" y="80"/>
                </a:cubicBezTo>
                <a:cubicBezTo>
                  <a:pt x="3" y="80"/>
                  <a:pt x="3" y="80"/>
                  <a:pt x="3" y="80"/>
                </a:cubicBezTo>
                <a:cubicBezTo>
                  <a:pt x="3" y="80"/>
                  <a:pt x="4" y="80"/>
                  <a:pt x="4" y="81"/>
                </a:cubicBezTo>
                <a:cubicBezTo>
                  <a:pt x="4" y="81"/>
                  <a:pt x="4" y="81"/>
                  <a:pt x="4" y="81"/>
                </a:cubicBezTo>
                <a:cubicBezTo>
                  <a:pt x="4" y="81"/>
                  <a:pt x="4" y="81"/>
                  <a:pt x="4" y="81"/>
                </a:cubicBezTo>
                <a:cubicBezTo>
                  <a:pt x="7" y="83"/>
                  <a:pt x="5" y="85"/>
                  <a:pt x="5" y="86"/>
                </a:cubicBezTo>
                <a:cubicBezTo>
                  <a:pt x="5" y="86"/>
                  <a:pt x="5" y="86"/>
                  <a:pt x="4" y="86"/>
                </a:cubicBezTo>
                <a:cubicBezTo>
                  <a:pt x="3" y="88"/>
                  <a:pt x="2" y="89"/>
                  <a:pt x="1" y="91"/>
                </a:cubicBezTo>
                <a:cubicBezTo>
                  <a:pt x="1" y="91"/>
                  <a:pt x="1" y="92"/>
                  <a:pt x="0" y="92"/>
                </a:cubicBezTo>
                <a:cubicBezTo>
                  <a:pt x="1" y="92"/>
                  <a:pt x="1" y="92"/>
                  <a:pt x="1" y="92"/>
                </a:cubicBezTo>
                <a:cubicBezTo>
                  <a:pt x="2" y="93"/>
                  <a:pt x="2" y="93"/>
                  <a:pt x="2" y="93"/>
                </a:cubicBezTo>
                <a:cubicBezTo>
                  <a:pt x="2" y="93"/>
                  <a:pt x="3" y="93"/>
                  <a:pt x="4" y="93"/>
                </a:cubicBezTo>
                <a:cubicBezTo>
                  <a:pt x="5" y="94"/>
                  <a:pt x="5" y="94"/>
                  <a:pt x="5" y="94"/>
                </a:cubicBezTo>
                <a:cubicBezTo>
                  <a:pt x="5" y="94"/>
                  <a:pt x="5" y="94"/>
                  <a:pt x="5" y="94"/>
                </a:cubicBezTo>
                <a:cubicBezTo>
                  <a:pt x="7" y="95"/>
                  <a:pt x="7" y="97"/>
                  <a:pt x="7" y="98"/>
                </a:cubicBezTo>
                <a:cubicBezTo>
                  <a:pt x="7" y="98"/>
                  <a:pt x="7" y="99"/>
                  <a:pt x="7" y="99"/>
                </a:cubicBezTo>
                <a:cubicBezTo>
                  <a:pt x="7" y="100"/>
                  <a:pt x="7" y="100"/>
                  <a:pt x="7" y="101"/>
                </a:cubicBezTo>
                <a:cubicBezTo>
                  <a:pt x="8" y="101"/>
                  <a:pt x="9" y="101"/>
                  <a:pt x="10" y="101"/>
                </a:cubicBezTo>
                <a:cubicBezTo>
                  <a:pt x="10" y="101"/>
                  <a:pt x="10" y="101"/>
                  <a:pt x="11" y="101"/>
                </a:cubicBezTo>
                <a:cubicBezTo>
                  <a:pt x="11" y="101"/>
                  <a:pt x="11" y="101"/>
                  <a:pt x="11" y="101"/>
                </a:cubicBezTo>
                <a:cubicBezTo>
                  <a:pt x="12" y="101"/>
                  <a:pt x="12" y="101"/>
                  <a:pt x="13" y="100"/>
                </a:cubicBezTo>
                <a:cubicBezTo>
                  <a:pt x="14" y="100"/>
                  <a:pt x="15" y="100"/>
                  <a:pt x="16" y="100"/>
                </a:cubicBezTo>
                <a:cubicBezTo>
                  <a:pt x="16" y="101"/>
                  <a:pt x="16" y="101"/>
                  <a:pt x="16" y="101"/>
                </a:cubicBezTo>
                <a:cubicBezTo>
                  <a:pt x="17" y="101"/>
                  <a:pt x="18" y="102"/>
                  <a:pt x="18" y="103"/>
                </a:cubicBezTo>
                <a:cubicBezTo>
                  <a:pt x="19" y="104"/>
                  <a:pt x="19" y="104"/>
                  <a:pt x="19" y="105"/>
                </a:cubicBezTo>
                <a:cubicBezTo>
                  <a:pt x="21" y="107"/>
                  <a:pt x="21" y="107"/>
                  <a:pt x="21" y="107"/>
                </a:cubicBezTo>
                <a:cubicBezTo>
                  <a:pt x="22" y="108"/>
                  <a:pt x="22" y="109"/>
                  <a:pt x="23" y="110"/>
                </a:cubicBezTo>
                <a:cubicBezTo>
                  <a:pt x="23" y="110"/>
                  <a:pt x="23" y="110"/>
                  <a:pt x="23" y="110"/>
                </a:cubicBezTo>
                <a:cubicBezTo>
                  <a:pt x="24" y="111"/>
                  <a:pt x="24" y="111"/>
                  <a:pt x="24" y="111"/>
                </a:cubicBezTo>
                <a:cubicBezTo>
                  <a:pt x="25" y="112"/>
                  <a:pt x="26" y="113"/>
                  <a:pt x="26" y="114"/>
                </a:cubicBezTo>
                <a:cubicBezTo>
                  <a:pt x="26" y="114"/>
                  <a:pt x="26" y="114"/>
                  <a:pt x="26" y="114"/>
                </a:cubicBezTo>
                <a:cubicBezTo>
                  <a:pt x="26" y="115"/>
                  <a:pt x="26" y="115"/>
                  <a:pt x="26" y="115"/>
                </a:cubicBezTo>
                <a:cubicBezTo>
                  <a:pt x="26" y="115"/>
                  <a:pt x="26" y="115"/>
                  <a:pt x="26" y="115"/>
                </a:cubicBezTo>
                <a:cubicBezTo>
                  <a:pt x="26" y="115"/>
                  <a:pt x="26" y="115"/>
                  <a:pt x="26" y="115"/>
                </a:cubicBezTo>
                <a:cubicBezTo>
                  <a:pt x="25" y="116"/>
                  <a:pt x="25" y="116"/>
                  <a:pt x="25" y="116"/>
                </a:cubicBezTo>
                <a:cubicBezTo>
                  <a:pt x="24" y="117"/>
                  <a:pt x="24" y="117"/>
                  <a:pt x="24" y="117"/>
                </a:cubicBezTo>
                <a:cubicBezTo>
                  <a:pt x="24" y="117"/>
                  <a:pt x="24" y="117"/>
                  <a:pt x="24" y="117"/>
                </a:cubicBezTo>
                <a:cubicBezTo>
                  <a:pt x="24" y="117"/>
                  <a:pt x="24" y="117"/>
                  <a:pt x="24" y="117"/>
                </a:cubicBezTo>
                <a:cubicBezTo>
                  <a:pt x="24" y="117"/>
                  <a:pt x="24" y="117"/>
                  <a:pt x="24" y="117"/>
                </a:cubicBezTo>
                <a:cubicBezTo>
                  <a:pt x="24" y="117"/>
                  <a:pt x="23" y="117"/>
                  <a:pt x="23" y="117"/>
                </a:cubicBezTo>
                <a:cubicBezTo>
                  <a:pt x="23" y="117"/>
                  <a:pt x="23" y="117"/>
                  <a:pt x="23" y="117"/>
                </a:cubicBezTo>
                <a:cubicBezTo>
                  <a:pt x="24" y="117"/>
                  <a:pt x="24" y="117"/>
                  <a:pt x="24" y="117"/>
                </a:cubicBezTo>
                <a:cubicBezTo>
                  <a:pt x="25" y="118"/>
                  <a:pt x="25" y="118"/>
                  <a:pt x="26" y="118"/>
                </a:cubicBezTo>
                <a:cubicBezTo>
                  <a:pt x="26" y="118"/>
                  <a:pt x="26" y="118"/>
                  <a:pt x="27" y="119"/>
                </a:cubicBezTo>
                <a:cubicBezTo>
                  <a:pt x="27" y="119"/>
                  <a:pt x="27" y="119"/>
                  <a:pt x="27" y="119"/>
                </a:cubicBezTo>
                <a:cubicBezTo>
                  <a:pt x="27" y="119"/>
                  <a:pt x="27" y="119"/>
                  <a:pt x="27" y="118"/>
                </a:cubicBezTo>
                <a:cubicBezTo>
                  <a:pt x="27" y="119"/>
                  <a:pt x="28" y="118"/>
                  <a:pt x="27" y="118"/>
                </a:cubicBezTo>
                <a:cubicBezTo>
                  <a:pt x="27" y="118"/>
                  <a:pt x="28" y="118"/>
                  <a:pt x="28" y="118"/>
                </a:cubicBezTo>
                <a:cubicBezTo>
                  <a:pt x="28" y="118"/>
                  <a:pt x="28" y="117"/>
                  <a:pt x="27" y="117"/>
                </a:cubicBezTo>
                <a:cubicBezTo>
                  <a:pt x="30" y="117"/>
                  <a:pt x="32" y="117"/>
                  <a:pt x="34" y="117"/>
                </a:cubicBezTo>
                <a:cubicBezTo>
                  <a:pt x="35" y="117"/>
                  <a:pt x="35" y="116"/>
                  <a:pt x="36" y="116"/>
                </a:cubicBezTo>
                <a:cubicBezTo>
                  <a:pt x="36" y="115"/>
                  <a:pt x="37" y="115"/>
                  <a:pt x="38" y="114"/>
                </a:cubicBezTo>
                <a:cubicBezTo>
                  <a:pt x="38" y="114"/>
                  <a:pt x="38" y="114"/>
                  <a:pt x="39" y="113"/>
                </a:cubicBezTo>
                <a:cubicBezTo>
                  <a:pt x="39" y="113"/>
                  <a:pt x="40" y="113"/>
                  <a:pt x="41" y="113"/>
                </a:cubicBezTo>
                <a:cubicBezTo>
                  <a:pt x="41" y="113"/>
                  <a:pt x="43" y="112"/>
                  <a:pt x="43" y="112"/>
                </a:cubicBezTo>
                <a:cubicBezTo>
                  <a:pt x="43" y="112"/>
                  <a:pt x="43" y="111"/>
                  <a:pt x="43" y="111"/>
                </a:cubicBezTo>
                <a:cubicBezTo>
                  <a:pt x="44" y="111"/>
                  <a:pt x="44" y="111"/>
                  <a:pt x="44" y="111"/>
                </a:cubicBezTo>
                <a:cubicBezTo>
                  <a:pt x="45" y="111"/>
                  <a:pt x="45" y="111"/>
                  <a:pt x="46" y="111"/>
                </a:cubicBezTo>
                <a:cubicBezTo>
                  <a:pt x="46" y="111"/>
                  <a:pt x="46" y="110"/>
                  <a:pt x="47" y="110"/>
                </a:cubicBezTo>
                <a:cubicBezTo>
                  <a:pt x="48" y="110"/>
                  <a:pt x="50" y="111"/>
                  <a:pt x="51" y="111"/>
                </a:cubicBezTo>
                <a:cubicBezTo>
                  <a:pt x="53" y="111"/>
                  <a:pt x="55" y="113"/>
                  <a:pt x="57" y="114"/>
                </a:cubicBezTo>
                <a:cubicBezTo>
                  <a:pt x="57" y="114"/>
                  <a:pt x="57" y="113"/>
                  <a:pt x="57" y="113"/>
                </a:cubicBezTo>
                <a:cubicBezTo>
                  <a:pt x="59" y="114"/>
                  <a:pt x="59" y="112"/>
                  <a:pt x="60" y="112"/>
                </a:cubicBezTo>
                <a:cubicBezTo>
                  <a:pt x="60" y="111"/>
                  <a:pt x="62" y="112"/>
                  <a:pt x="62" y="112"/>
                </a:cubicBezTo>
                <a:cubicBezTo>
                  <a:pt x="64" y="112"/>
                  <a:pt x="65" y="113"/>
                  <a:pt x="66" y="114"/>
                </a:cubicBezTo>
                <a:cubicBezTo>
                  <a:pt x="67" y="117"/>
                  <a:pt x="68" y="120"/>
                  <a:pt x="68" y="123"/>
                </a:cubicBezTo>
                <a:cubicBezTo>
                  <a:pt x="68" y="125"/>
                  <a:pt x="66" y="127"/>
                  <a:pt x="66" y="129"/>
                </a:cubicBezTo>
                <a:cubicBezTo>
                  <a:pt x="66" y="130"/>
                  <a:pt x="66" y="130"/>
                  <a:pt x="66" y="131"/>
                </a:cubicBezTo>
                <a:cubicBezTo>
                  <a:pt x="67" y="132"/>
                  <a:pt x="67" y="132"/>
                  <a:pt x="68" y="132"/>
                </a:cubicBezTo>
                <a:cubicBezTo>
                  <a:pt x="69" y="133"/>
                  <a:pt x="70" y="133"/>
                  <a:pt x="72" y="133"/>
                </a:cubicBezTo>
                <a:cubicBezTo>
                  <a:pt x="73" y="133"/>
                  <a:pt x="74" y="132"/>
                  <a:pt x="75" y="132"/>
                </a:cubicBezTo>
                <a:cubicBezTo>
                  <a:pt x="75" y="131"/>
                  <a:pt x="75" y="131"/>
                  <a:pt x="76" y="131"/>
                </a:cubicBezTo>
                <a:cubicBezTo>
                  <a:pt x="79" y="130"/>
                  <a:pt x="77" y="133"/>
                  <a:pt x="78" y="135"/>
                </a:cubicBezTo>
                <a:cubicBezTo>
                  <a:pt x="78" y="135"/>
                  <a:pt x="79" y="136"/>
                  <a:pt x="79" y="136"/>
                </a:cubicBezTo>
                <a:cubicBezTo>
                  <a:pt x="79" y="137"/>
                  <a:pt x="77" y="137"/>
                  <a:pt x="77" y="137"/>
                </a:cubicBezTo>
                <a:cubicBezTo>
                  <a:pt x="76" y="137"/>
                  <a:pt x="76" y="137"/>
                  <a:pt x="75" y="138"/>
                </a:cubicBezTo>
                <a:cubicBezTo>
                  <a:pt x="74" y="138"/>
                  <a:pt x="74" y="138"/>
                  <a:pt x="73" y="138"/>
                </a:cubicBezTo>
                <a:cubicBezTo>
                  <a:pt x="71" y="138"/>
                  <a:pt x="71" y="140"/>
                  <a:pt x="70" y="141"/>
                </a:cubicBezTo>
                <a:cubicBezTo>
                  <a:pt x="70" y="141"/>
                  <a:pt x="68" y="144"/>
                  <a:pt x="68" y="144"/>
                </a:cubicBezTo>
                <a:cubicBezTo>
                  <a:pt x="67" y="144"/>
                  <a:pt x="67" y="143"/>
                  <a:pt x="68" y="143"/>
                </a:cubicBezTo>
                <a:cubicBezTo>
                  <a:pt x="68" y="141"/>
                  <a:pt x="69" y="139"/>
                  <a:pt x="71" y="138"/>
                </a:cubicBezTo>
                <a:cubicBezTo>
                  <a:pt x="72" y="137"/>
                  <a:pt x="73" y="137"/>
                  <a:pt x="74" y="137"/>
                </a:cubicBezTo>
                <a:cubicBezTo>
                  <a:pt x="76" y="136"/>
                  <a:pt x="76" y="133"/>
                  <a:pt x="74" y="134"/>
                </a:cubicBezTo>
                <a:cubicBezTo>
                  <a:pt x="73" y="135"/>
                  <a:pt x="72" y="135"/>
                  <a:pt x="70" y="134"/>
                </a:cubicBezTo>
                <a:cubicBezTo>
                  <a:pt x="69" y="134"/>
                  <a:pt x="68" y="134"/>
                  <a:pt x="66" y="134"/>
                </a:cubicBezTo>
                <a:cubicBezTo>
                  <a:pt x="64" y="134"/>
                  <a:pt x="62" y="133"/>
                  <a:pt x="61" y="133"/>
                </a:cubicBezTo>
                <a:cubicBezTo>
                  <a:pt x="58" y="133"/>
                  <a:pt x="55" y="133"/>
                  <a:pt x="53" y="132"/>
                </a:cubicBezTo>
                <a:cubicBezTo>
                  <a:pt x="53" y="132"/>
                  <a:pt x="52" y="131"/>
                  <a:pt x="52" y="132"/>
                </a:cubicBezTo>
                <a:cubicBezTo>
                  <a:pt x="52" y="132"/>
                  <a:pt x="51" y="133"/>
                  <a:pt x="51" y="133"/>
                </a:cubicBezTo>
                <a:cubicBezTo>
                  <a:pt x="50" y="133"/>
                  <a:pt x="49" y="132"/>
                  <a:pt x="49" y="132"/>
                </a:cubicBezTo>
                <a:cubicBezTo>
                  <a:pt x="49" y="132"/>
                  <a:pt x="48" y="133"/>
                  <a:pt x="48" y="134"/>
                </a:cubicBezTo>
                <a:cubicBezTo>
                  <a:pt x="48" y="135"/>
                  <a:pt x="47" y="136"/>
                  <a:pt x="47" y="136"/>
                </a:cubicBezTo>
                <a:cubicBezTo>
                  <a:pt x="47" y="136"/>
                  <a:pt x="46" y="137"/>
                  <a:pt x="46" y="137"/>
                </a:cubicBezTo>
                <a:cubicBezTo>
                  <a:pt x="45" y="137"/>
                  <a:pt x="44" y="137"/>
                  <a:pt x="45" y="138"/>
                </a:cubicBezTo>
                <a:cubicBezTo>
                  <a:pt x="45" y="139"/>
                  <a:pt x="47" y="140"/>
                  <a:pt x="47" y="141"/>
                </a:cubicBezTo>
                <a:cubicBezTo>
                  <a:pt x="47" y="141"/>
                  <a:pt x="48" y="142"/>
                  <a:pt x="48" y="142"/>
                </a:cubicBezTo>
                <a:cubicBezTo>
                  <a:pt x="48" y="142"/>
                  <a:pt x="49" y="142"/>
                  <a:pt x="49" y="142"/>
                </a:cubicBezTo>
                <a:cubicBezTo>
                  <a:pt x="49" y="142"/>
                  <a:pt x="50" y="142"/>
                  <a:pt x="50" y="143"/>
                </a:cubicBezTo>
                <a:cubicBezTo>
                  <a:pt x="50" y="143"/>
                  <a:pt x="51" y="143"/>
                  <a:pt x="51" y="143"/>
                </a:cubicBezTo>
                <a:cubicBezTo>
                  <a:pt x="50" y="143"/>
                  <a:pt x="49" y="144"/>
                  <a:pt x="48" y="143"/>
                </a:cubicBezTo>
                <a:cubicBezTo>
                  <a:pt x="48" y="142"/>
                  <a:pt x="47" y="143"/>
                  <a:pt x="47" y="143"/>
                </a:cubicBezTo>
                <a:cubicBezTo>
                  <a:pt x="46" y="144"/>
                  <a:pt x="45" y="143"/>
                  <a:pt x="44" y="142"/>
                </a:cubicBezTo>
                <a:cubicBezTo>
                  <a:pt x="43" y="142"/>
                  <a:pt x="43" y="142"/>
                  <a:pt x="41" y="142"/>
                </a:cubicBezTo>
                <a:cubicBezTo>
                  <a:pt x="41" y="142"/>
                  <a:pt x="39" y="141"/>
                  <a:pt x="38" y="142"/>
                </a:cubicBezTo>
                <a:cubicBezTo>
                  <a:pt x="38" y="142"/>
                  <a:pt x="37" y="142"/>
                  <a:pt x="37" y="143"/>
                </a:cubicBezTo>
                <a:cubicBezTo>
                  <a:pt x="37" y="143"/>
                  <a:pt x="37" y="142"/>
                  <a:pt x="37" y="142"/>
                </a:cubicBezTo>
                <a:cubicBezTo>
                  <a:pt x="37" y="145"/>
                  <a:pt x="37" y="146"/>
                  <a:pt x="39" y="146"/>
                </a:cubicBezTo>
                <a:cubicBezTo>
                  <a:pt x="40" y="146"/>
                  <a:pt x="40" y="146"/>
                  <a:pt x="41" y="146"/>
                </a:cubicBezTo>
                <a:cubicBezTo>
                  <a:pt x="44" y="147"/>
                  <a:pt x="45" y="151"/>
                  <a:pt x="46" y="154"/>
                </a:cubicBezTo>
                <a:cubicBezTo>
                  <a:pt x="47" y="155"/>
                  <a:pt x="47" y="157"/>
                  <a:pt x="48" y="158"/>
                </a:cubicBezTo>
                <a:cubicBezTo>
                  <a:pt x="48" y="159"/>
                  <a:pt x="48" y="159"/>
                  <a:pt x="48" y="159"/>
                </a:cubicBezTo>
                <a:cubicBezTo>
                  <a:pt x="48" y="159"/>
                  <a:pt x="47" y="160"/>
                  <a:pt x="47" y="160"/>
                </a:cubicBezTo>
                <a:cubicBezTo>
                  <a:pt x="48" y="160"/>
                  <a:pt x="49" y="160"/>
                  <a:pt x="49" y="160"/>
                </a:cubicBezTo>
                <a:cubicBezTo>
                  <a:pt x="50" y="160"/>
                  <a:pt x="50" y="160"/>
                  <a:pt x="51" y="160"/>
                </a:cubicBezTo>
                <a:cubicBezTo>
                  <a:pt x="53" y="160"/>
                  <a:pt x="53" y="163"/>
                  <a:pt x="54" y="164"/>
                </a:cubicBezTo>
                <a:cubicBezTo>
                  <a:pt x="55" y="164"/>
                  <a:pt x="55" y="164"/>
                  <a:pt x="56" y="164"/>
                </a:cubicBezTo>
                <a:cubicBezTo>
                  <a:pt x="57" y="164"/>
                  <a:pt x="57" y="164"/>
                  <a:pt x="57" y="164"/>
                </a:cubicBezTo>
                <a:cubicBezTo>
                  <a:pt x="57" y="164"/>
                  <a:pt x="58" y="164"/>
                  <a:pt x="58" y="165"/>
                </a:cubicBezTo>
                <a:cubicBezTo>
                  <a:pt x="58" y="165"/>
                  <a:pt x="58" y="164"/>
                  <a:pt x="58" y="164"/>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76" name="Freeform 3133">
            <a:extLst>
              <a:ext uri="{FF2B5EF4-FFF2-40B4-BE49-F238E27FC236}">
                <a16:creationId xmlns:a16="http://schemas.microsoft.com/office/drawing/2014/main" id="{40A696E8-CDA6-4002-A1D0-5B203FBFD2B4}"/>
              </a:ext>
            </a:extLst>
          </p:cNvPr>
          <p:cNvSpPr>
            <a:spLocks/>
          </p:cNvSpPr>
          <p:nvPr/>
        </p:nvSpPr>
        <p:spPr bwMode="auto">
          <a:xfrm>
            <a:off x="4256781" y="2891936"/>
            <a:ext cx="991" cy="1781"/>
          </a:xfrm>
          <a:custGeom>
            <a:avLst/>
            <a:gdLst>
              <a:gd name="T0" fmla="*/ 1 w 1"/>
              <a:gd name="T1" fmla="*/ 1 h 1"/>
              <a:gd name="T2" fmla="*/ 1 w 1"/>
              <a:gd name="T3" fmla="*/ 1 h 1"/>
              <a:gd name="T4" fmla="*/ 1 w 1"/>
              <a:gd name="T5" fmla="*/ 0 h 1"/>
              <a:gd name="T6" fmla="*/ 0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1" y="1"/>
                  <a:pt x="1" y="1"/>
                </a:cubicBezTo>
                <a:cubicBezTo>
                  <a:pt x="1" y="0"/>
                  <a:pt x="1" y="0"/>
                  <a:pt x="1" y="0"/>
                </a:cubicBezTo>
                <a:cubicBezTo>
                  <a:pt x="0" y="1"/>
                  <a:pt x="0" y="1"/>
                  <a:pt x="0" y="1"/>
                </a:cubicBezTo>
                <a:cubicBezTo>
                  <a:pt x="0" y="1"/>
                  <a:pt x="0" y="1"/>
                  <a:pt x="1" y="1"/>
                </a:cubicBezTo>
                <a:cubicBezTo>
                  <a:pt x="1" y="1"/>
                  <a:pt x="1" y="1"/>
                  <a:pt x="1"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77" name="Freeform 3134">
            <a:extLst>
              <a:ext uri="{FF2B5EF4-FFF2-40B4-BE49-F238E27FC236}">
                <a16:creationId xmlns:a16="http://schemas.microsoft.com/office/drawing/2014/main" id="{F1F13C8C-EFE2-4EFE-863E-A1EBA84695C8}"/>
              </a:ext>
            </a:extLst>
          </p:cNvPr>
          <p:cNvSpPr>
            <a:spLocks/>
          </p:cNvSpPr>
          <p:nvPr/>
        </p:nvSpPr>
        <p:spPr bwMode="auto">
          <a:xfrm>
            <a:off x="3950029" y="294536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78" name="Rectangle 3135">
            <a:extLst>
              <a:ext uri="{FF2B5EF4-FFF2-40B4-BE49-F238E27FC236}">
                <a16:creationId xmlns:a16="http://schemas.microsoft.com/office/drawing/2014/main" id="{4FDEBE22-38F2-4FF5-8D66-DE7D74357813}"/>
              </a:ext>
            </a:extLst>
          </p:cNvPr>
          <p:cNvSpPr>
            <a:spLocks noChangeArrowheads="1"/>
          </p:cNvSpPr>
          <p:nvPr/>
        </p:nvSpPr>
        <p:spPr bwMode="auto">
          <a:xfrm>
            <a:off x="4727563" y="3017185"/>
            <a:ext cx="496" cy="594"/>
          </a:xfrm>
          <a:prstGeom prst="rect">
            <a:avLst/>
          </a:prstGeom>
          <a:solidFill>
            <a:schemeClr val="tx1">
              <a:lumMod val="40000"/>
              <a:lumOff val="60000"/>
            </a:schemeClr>
          </a:solid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79" name="Freeform 3136">
            <a:extLst>
              <a:ext uri="{FF2B5EF4-FFF2-40B4-BE49-F238E27FC236}">
                <a16:creationId xmlns:a16="http://schemas.microsoft.com/office/drawing/2014/main" id="{D399BF1C-75CB-4CC7-B217-3CCD6AB32B6D}"/>
              </a:ext>
            </a:extLst>
          </p:cNvPr>
          <p:cNvSpPr>
            <a:spLocks/>
          </p:cNvSpPr>
          <p:nvPr/>
        </p:nvSpPr>
        <p:spPr bwMode="auto">
          <a:xfrm>
            <a:off x="4389096" y="2993441"/>
            <a:ext cx="1487" cy="1187"/>
          </a:xfrm>
          <a:custGeom>
            <a:avLst/>
            <a:gdLst>
              <a:gd name="T0" fmla="*/ 1 w 1"/>
              <a:gd name="T1" fmla="*/ 1 h 1"/>
              <a:gd name="T2" fmla="*/ 1 w 1"/>
              <a:gd name="T3" fmla="*/ 0 h 1"/>
              <a:gd name="T4" fmla="*/ 1 w 1"/>
              <a:gd name="T5" fmla="*/ 0 h 1"/>
              <a:gd name="T6" fmla="*/ 0 w 1"/>
              <a:gd name="T7" fmla="*/ 0 h 1"/>
              <a:gd name="T8" fmla="*/ 0 w 1"/>
              <a:gd name="T9" fmla="*/ 0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0"/>
                  <a:pt x="1" y="0"/>
                  <a:pt x="1" y="0"/>
                </a:cubicBezTo>
                <a:cubicBezTo>
                  <a:pt x="1" y="0"/>
                  <a:pt x="1" y="0"/>
                  <a:pt x="1" y="0"/>
                </a:cubicBezTo>
                <a:cubicBezTo>
                  <a:pt x="0" y="0"/>
                  <a:pt x="0" y="0"/>
                  <a:pt x="0" y="0"/>
                </a:cubicBezTo>
                <a:cubicBezTo>
                  <a:pt x="0" y="0"/>
                  <a:pt x="0" y="0"/>
                  <a:pt x="0" y="0"/>
                </a:cubicBezTo>
                <a:lnTo>
                  <a:pt x="1" y="1"/>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80" name="Freeform 3137">
            <a:extLst>
              <a:ext uri="{FF2B5EF4-FFF2-40B4-BE49-F238E27FC236}">
                <a16:creationId xmlns:a16="http://schemas.microsoft.com/office/drawing/2014/main" id="{342FEE38-938A-4701-A66A-5AA5FDC3542D}"/>
              </a:ext>
            </a:extLst>
          </p:cNvPr>
          <p:cNvSpPr>
            <a:spLocks/>
          </p:cNvSpPr>
          <p:nvPr/>
        </p:nvSpPr>
        <p:spPr bwMode="auto">
          <a:xfrm>
            <a:off x="4222587" y="2909150"/>
            <a:ext cx="728969" cy="557386"/>
          </a:xfrm>
          <a:custGeom>
            <a:avLst/>
            <a:gdLst>
              <a:gd name="T0" fmla="*/ 547 w 622"/>
              <a:gd name="T1" fmla="*/ 154 h 397"/>
              <a:gd name="T2" fmla="*/ 573 w 622"/>
              <a:gd name="T3" fmla="*/ 136 h 397"/>
              <a:gd name="T4" fmla="*/ 599 w 622"/>
              <a:gd name="T5" fmla="*/ 109 h 397"/>
              <a:gd name="T6" fmla="*/ 614 w 622"/>
              <a:gd name="T7" fmla="*/ 91 h 397"/>
              <a:gd name="T8" fmla="*/ 621 w 622"/>
              <a:gd name="T9" fmla="*/ 70 h 397"/>
              <a:gd name="T10" fmla="*/ 581 w 622"/>
              <a:gd name="T11" fmla="*/ 70 h 397"/>
              <a:gd name="T12" fmla="*/ 559 w 622"/>
              <a:gd name="T13" fmla="*/ 54 h 397"/>
              <a:gd name="T14" fmla="*/ 538 w 622"/>
              <a:gd name="T15" fmla="*/ 19 h 397"/>
              <a:gd name="T16" fmla="*/ 522 w 622"/>
              <a:gd name="T17" fmla="*/ 5 h 397"/>
              <a:gd name="T18" fmla="*/ 477 w 622"/>
              <a:gd name="T19" fmla="*/ 8 h 397"/>
              <a:gd name="T20" fmla="*/ 473 w 622"/>
              <a:gd name="T21" fmla="*/ 29 h 397"/>
              <a:gd name="T22" fmla="*/ 437 w 622"/>
              <a:gd name="T23" fmla="*/ 55 h 397"/>
              <a:gd name="T24" fmla="*/ 452 w 622"/>
              <a:gd name="T25" fmla="*/ 73 h 397"/>
              <a:gd name="T26" fmla="*/ 444 w 622"/>
              <a:gd name="T27" fmla="*/ 96 h 397"/>
              <a:gd name="T28" fmla="*/ 417 w 622"/>
              <a:gd name="T29" fmla="*/ 109 h 397"/>
              <a:gd name="T30" fmla="*/ 389 w 622"/>
              <a:gd name="T31" fmla="*/ 124 h 397"/>
              <a:gd name="T32" fmla="*/ 338 w 622"/>
              <a:gd name="T33" fmla="*/ 147 h 397"/>
              <a:gd name="T34" fmla="*/ 313 w 622"/>
              <a:gd name="T35" fmla="*/ 152 h 397"/>
              <a:gd name="T36" fmla="*/ 251 w 622"/>
              <a:gd name="T37" fmla="*/ 143 h 397"/>
              <a:gd name="T38" fmla="*/ 221 w 622"/>
              <a:gd name="T39" fmla="*/ 126 h 397"/>
              <a:gd name="T40" fmla="*/ 174 w 622"/>
              <a:gd name="T41" fmla="*/ 101 h 397"/>
              <a:gd name="T42" fmla="*/ 156 w 622"/>
              <a:gd name="T43" fmla="*/ 75 h 397"/>
              <a:gd name="T44" fmla="*/ 135 w 622"/>
              <a:gd name="T45" fmla="*/ 60 h 397"/>
              <a:gd name="T46" fmla="*/ 89 w 622"/>
              <a:gd name="T47" fmla="*/ 105 h 397"/>
              <a:gd name="T48" fmla="*/ 71 w 622"/>
              <a:gd name="T49" fmla="*/ 127 h 397"/>
              <a:gd name="T50" fmla="*/ 52 w 622"/>
              <a:gd name="T51" fmla="*/ 156 h 397"/>
              <a:gd name="T52" fmla="*/ 27 w 622"/>
              <a:gd name="T53" fmla="*/ 170 h 397"/>
              <a:gd name="T54" fmla="*/ 4 w 622"/>
              <a:gd name="T55" fmla="*/ 174 h 397"/>
              <a:gd name="T56" fmla="*/ 1 w 622"/>
              <a:gd name="T57" fmla="*/ 188 h 397"/>
              <a:gd name="T58" fmla="*/ 19 w 622"/>
              <a:gd name="T59" fmla="*/ 210 h 397"/>
              <a:gd name="T60" fmla="*/ 42 w 622"/>
              <a:gd name="T61" fmla="*/ 225 h 397"/>
              <a:gd name="T62" fmla="*/ 67 w 622"/>
              <a:gd name="T63" fmla="*/ 231 h 397"/>
              <a:gd name="T64" fmla="*/ 59 w 622"/>
              <a:gd name="T65" fmla="*/ 256 h 397"/>
              <a:gd name="T66" fmla="*/ 59 w 622"/>
              <a:gd name="T67" fmla="*/ 273 h 397"/>
              <a:gd name="T68" fmla="*/ 88 w 622"/>
              <a:gd name="T69" fmla="*/ 288 h 397"/>
              <a:gd name="T70" fmla="*/ 106 w 622"/>
              <a:gd name="T71" fmla="*/ 297 h 397"/>
              <a:gd name="T72" fmla="*/ 124 w 622"/>
              <a:gd name="T73" fmla="*/ 308 h 397"/>
              <a:gd name="T74" fmla="*/ 155 w 622"/>
              <a:gd name="T75" fmla="*/ 311 h 397"/>
              <a:gd name="T76" fmla="*/ 172 w 622"/>
              <a:gd name="T77" fmla="*/ 310 h 397"/>
              <a:gd name="T78" fmla="*/ 196 w 622"/>
              <a:gd name="T79" fmla="*/ 307 h 397"/>
              <a:gd name="T80" fmla="*/ 218 w 622"/>
              <a:gd name="T81" fmla="*/ 298 h 397"/>
              <a:gd name="T82" fmla="*/ 233 w 622"/>
              <a:gd name="T83" fmla="*/ 306 h 397"/>
              <a:gd name="T84" fmla="*/ 256 w 622"/>
              <a:gd name="T85" fmla="*/ 315 h 397"/>
              <a:gd name="T86" fmla="*/ 247 w 622"/>
              <a:gd name="T87" fmla="*/ 345 h 397"/>
              <a:gd name="T88" fmla="*/ 257 w 622"/>
              <a:gd name="T89" fmla="*/ 358 h 397"/>
              <a:gd name="T90" fmla="*/ 268 w 622"/>
              <a:gd name="T91" fmla="*/ 375 h 397"/>
              <a:gd name="T92" fmla="*/ 283 w 622"/>
              <a:gd name="T93" fmla="*/ 384 h 397"/>
              <a:gd name="T94" fmla="*/ 296 w 622"/>
              <a:gd name="T95" fmla="*/ 368 h 397"/>
              <a:gd name="T96" fmla="*/ 315 w 622"/>
              <a:gd name="T97" fmla="*/ 368 h 397"/>
              <a:gd name="T98" fmla="*/ 339 w 622"/>
              <a:gd name="T99" fmla="*/ 369 h 397"/>
              <a:gd name="T100" fmla="*/ 355 w 622"/>
              <a:gd name="T101" fmla="*/ 381 h 397"/>
              <a:gd name="T102" fmla="*/ 369 w 622"/>
              <a:gd name="T103" fmla="*/ 392 h 397"/>
              <a:gd name="T104" fmla="*/ 400 w 622"/>
              <a:gd name="T105" fmla="*/ 378 h 397"/>
              <a:gd name="T106" fmla="*/ 407 w 622"/>
              <a:gd name="T107" fmla="*/ 368 h 397"/>
              <a:gd name="T108" fmla="*/ 431 w 622"/>
              <a:gd name="T109" fmla="*/ 368 h 397"/>
              <a:gd name="T110" fmla="*/ 462 w 622"/>
              <a:gd name="T111" fmla="*/ 346 h 397"/>
              <a:gd name="T112" fmla="*/ 475 w 622"/>
              <a:gd name="T113" fmla="*/ 323 h 397"/>
              <a:gd name="T114" fmla="*/ 490 w 622"/>
              <a:gd name="T115" fmla="*/ 295 h 397"/>
              <a:gd name="T116" fmla="*/ 492 w 622"/>
              <a:gd name="T117" fmla="*/ 270 h 397"/>
              <a:gd name="T118" fmla="*/ 482 w 622"/>
              <a:gd name="T119" fmla="*/ 215 h 397"/>
              <a:gd name="T120" fmla="*/ 458 w 622"/>
              <a:gd name="T121" fmla="*/ 198 h 397"/>
              <a:gd name="T122" fmla="*/ 486 w 622"/>
              <a:gd name="T123" fmla="*/ 17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22" h="397">
                <a:moveTo>
                  <a:pt x="516" y="173"/>
                </a:moveTo>
                <a:cubicBezTo>
                  <a:pt x="516" y="173"/>
                  <a:pt x="516" y="173"/>
                  <a:pt x="516" y="173"/>
                </a:cubicBezTo>
                <a:cubicBezTo>
                  <a:pt x="516" y="172"/>
                  <a:pt x="517" y="171"/>
                  <a:pt x="517" y="171"/>
                </a:cubicBezTo>
                <a:cubicBezTo>
                  <a:pt x="517" y="171"/>
                  <a:pt x="517" y="171"/>
                  <a:pt x="517" y="171"/>
                </a:cubicBezTo>
                <a:cubicBezTo>
                  <a:pt x="519" y="170"/>
                  <a:pt x="519" y="170"/>
                  <a:pt x="519" y="170"/>
                </a:cubicBezTo>
                <a:cubicBezTo>
                  <a:pt x="522" y="168"/>
                  <a:pt x="524" y="167"/>
                  <a:pt x="527" y="165"/>
                </a:cubicBezTo>
                <a:cubicBezTo>
                  <a:pt x="527" y="165"/>
                  <a:pt x="528" y="164"/>
                  <a:pt x="529" y="164"/>
                </a:cubicBezTo>
                <a:cubicBezTo>
                  <a:pt x="529" y="163"/>
                  <a:pt x="529" y="163"/>
                  <a:pt x="529" y="163"/>
                </a:cubicBezTo>
                <a:cubicBezTo>
                  <a:pt x="530" y="162"/>
                  <a:pt x="531" y="162"/>
                  <a:pt x="532" y="162"/>
                </a:cubicBezTo>
                <a:cubicBezTo>
                  <a:pt x="532" y="162"/>
                  <a:pt x="533" y="162"/>
                  <a:pt x="533" y="162"/>
                </a:cubicBezTo>
                <a:cubicBezTo>
                  <a:pt x="533" y="162"/>
                  <a:pt x="533" y="162"/>
                  <a:pt x="533" y="162"/>
                </a:cubicBezTo>
                <a:cubicBezTo>
                  <a:pt x="533" y="162"/>
                  <a:pt x="534" y="161"/>
                  <a:pt x="534" y="161"/>
                </a:cubicBezTo>
                <a:cubicBezTo>
                  <a:pt x="534" y="161"/>
                  <a:pt x="534" y="160"/>
                  <a:pt x="535" y="160"/>
                </a:cubicBezTo>
                <a:cubicBezTo>
                  <a:pt x="536" y="158"/>
                  <a:pt x="538" y="156"/>
                  <a:pt x="539" y="154"/>
                </a:cubicBezTo>
                <a:cubicBezTo>
                  <a:pt x="539" y="153"/>
                  <a:pt x="540" y="152"/>
                  <a:pt x="540" y="152"/>
                </a:cubicBezTo>
                <a:cubicBezTo>
                  <a:pt x="539" y="150"/>
                  <a:pt x="539" y="150"/>
                  <a:pt x="539" y="150"/>
                </a:cubicBezTo>
                <a:cubicBezTo>
                  <a:pt x="541" y="151"/>
                  <a:pt x="541" y="151"/>
                  <a:pt x="541" y="151"/>
                </a:cubicBezTo>
                <a:cubicBezTo>
                  <a:pt x="541" y="151"/>
                  <a:pt x="541" y="151"/>
                  <a:pt x="541" y="151"/>
                </a:cubicBezTo>
                <a:cubicBezTo>
                  <a:pt x="541" y="151"/>
                  <a:pt x="541" y="151"/>
                  <a:pt x="541" y="151"/>
                </a:cubicBezTo>
                <a:cubicBezTo>
                  <a:pt x="542" y="151"/>
                  <a:pt x="542" y="151"/>
                  <a:pt x="543" y="151"/>
                </a:cubicBezTo>
                <a:cubicBezTo>
                  <a:pt x="543" y="151"/>
                  <a:pt x="543" y="151"/>
                  <a:pt x="543" y="151"/>
                </a:cubicBezTo>
                <a:cubicBezTo>
                  <a:pt x="543" y="151"/>
                  <a:pt x="543" y="151"/>
                  <a:pt x="543" y="151"/>
                </a:cubicBezTo>
                <a:cubicBezTo>
                  <a:pt x="544" y="151"/>
                  <a:pt x="544" y="151"/>
                  <a:pt x="544" y="151"/>
                </a:cubicBezTo>
                <a:cubicBezTo>
                  <a:pt x="544" y="151"/>
                  <a:pt x="544" y="151"/>
                  <a:pt x="544" y="151"/>
                </a:cubicBezTo>
                <a:cubicBezTo>
                  <a:pt x="545" y="152"/>
                  <a:pt x="546" y="153"/>
                  <a:pt x="546" y="153"/>
                </a:cubicBezTo>
                <a:cubicBezTo>
                  <a:pt x="546" y="154"/>
                  <a:pt x="547" y="154"/>
                  <a:pt x="547" y="154"/>
                </a:cubicBezTo>
                <a:cubicBezTo>
                  <a:pt x="548" y="155"/>
                  <a:pt x="548" y="155"/>
                  <a:pt x="548" y="155"/>
                </a:cubicBezTo>
                <a:cubicBezTo>
                  <a:pt x="548" y="155"/>
                  <a:pt x="550" y="155"/>
                  <a:pt x="552" y="155"/>
                </a:cubicBezTo>
                <a:cubicBezTo>
                  <a:pt x="552" y="155"/>
                  <a:pt x="552" y="155"/>
                  <a:pt x="552" y="155"/>
                </a:cubicBezTo>
                <a:cubicBezTo>
                  <a:pt x="554" y="156"/>
                  <a:pt x="554" y="156"/>
                  <a:pt x="555" y="156"/>
                </a:cubicBezTo>
                <a:cubicBezTo>
                  <a:pt x="555" y="156"/>
                  <a:pt x="555" y="156"/>
                  <a:pt x="555" y="156"/>
                </a:cubicBezTo>
                <a:cubicBezTo>
                  <a:pt x="556" y="156"/>
                  <a:pt x="556" y="156"/>
                  <a:pt x="556" y="156"/>
                </a:cubicBezTo>
                <a:cubicBezTo>
                  <a:pt x="556" y="155"/>
                  <a:pt x="556" y="155"/>
                  <a:pt x="556" y="155"/>
                </a:cubicBezTo>
                <a:cubicBezTo>
                  <a:pt x="556" y="155"/>
                  <a:pt x="556" y="155"/>
                  <a:pt x="556" y="155"/>
                </a:cubicBezTo>
                <a:cubicBezTo>
                  <a:pt x="556" y="155"/>
                  <a:pt x="556" y="155"/>
                  <a:pt x="556" y="155"/>
                </a:cubicBezTo>
                <a:cubicBezTo>
                  <a:pt x="555" y="154"/>
                  <a:pt x="555" y="154"/>
                  <a:pt x="555" y="154"/>
                </a:cubicBezTo>
                <a:cubicBezTo>
                  <a:pt x="554" y="153"/>
                  <a:pt x="554" y="151"/>
                  <a:pt x="554" y="150"/>
                </a:cubicBezTo>
                <a:cubicBezTo>
                  <a:pt x="553" y="149"/>
                  <a:pt x="553" y="149"/>
                  <a:pt x="553" y="149"/>
                </a:cubicBezTo>
                <a:cubicBezTo>
                  <a:pt x="560" y="148"/>
                  <a:pt x="560" y="148"/>
                  <a:pt x="560" y="148"/>
                </a:cubicBezTo>
                <a:cubicBezTo>
                  <a:pt x="560" y="148"/>
                  <a:pt x="561" y="148"/>
                  <a:pt x="561" y="148"/>
                </a:cubicBezTo>
                <a:cubicBezTo>
                  <a:pt x="562" y="148"/>
                  <a:pt x="563" y="147"/>
                  <a:pt x="564" y="147"/>
                </a:cubicBezTo>
                <a:cubicBezTo>
                  <a:pt x="564" y="147"/>
                  <a:pt x="565" y="147"/>
                  <a:pt x="565" y="146"/>
                </a:cubicBezTo>
                <a:cubicBezTo>
                  <a:pt x="565" y="146"/>
                  <a:pt x="565" y="146"/>
                  <a:pt x="565" y="146"/>
                </a:cubicBezTo>
                <a:cubicBezTo>
                  <a:pt x="565" y="145"/>
                  <a:pt x="565" y="145"/>
                  <a:pt x="565" y="145"/>
                </a:cubicBezTo>
                <a:cubicBezTo>
                  <a:pt x="566" y="144"/>
                  <a:pt x="567" y="143"/>
                  <a:pt x="568" y="143"/>
                </a:cubicBezTo>
                <a:cubicBezTo>
                  <a:pt x="569" y="143"/>
                  <a:pt x="569" y="142"/>
                  <a:pt x="569" y="142"/>
                </a:cubicBezTo>
                <a:cubicBezTo>
                  <a:pt x="570" y="142"/>
                  <a:pt x="570" y="142"/>
                  <a:pt x="571" y="142"/>
                </a:cubicBezTo>
                <a:cubicBezTo>
                  <a:pt x="571" y="142"/>
                  <a:pt x="571" y="142"/>
                  <a:pt x="571" y="142"/>
                </a:cubicBezTo>
                <a:cubicBezTo>
                  <a:pt x="571" y="141"/>
                  <a:pt x="571" y="141"/>
                  <a:pt x="571" y="141"/>
                </a:cubicBezTo>
                <a:cubicBezTo>
                  <a:pt x="571" y="141"/>
                  <a:pt x="571" y="141"/>
                  <a:pt x="571" y="141"/>
                </a:cubicBezTo>
                <a:cubicBezTo>
                  <a:pt x="571" y="139"/>
                  <a:pt x="572" y="138"/>
                  <a:pt x="573" y="137"/>
                </a:cubicBezTo>
                <a:cubicBezTo>
                  <a:pt x="573" y="136"/>
                  <a:pt x="573" y="136"/>
                  <a:pt x="573" y="136"/>
                </a:cubicBezTo>
                <a:cubicBezTo>
                  <a:pt x="573" y="136"/>
                  <a:pt x="574" y="136"/>
                  <a:pt x="575" y="136"/>
                </a:cubicBezTo>
                <a:cubicBezTo>
                  <a:pt x="576" y="136"/>
                  <a:pt x="577" y="137"/>
                  <a:pt x="578" y="138"/>
                </a:cubicBezTo>
                <a:cubicBezTo>
                  <a:pt x="578" y="138"/>
                  <a:pt x="578" y="139"/>
                  <a:pt x="579" y="139"/>
                </a:cubicBezTo>
                <a:cubicBezTo>
                  <a:pt x="579" y="139"/>
                  <a:pt x="579" y="139"/>
                  <a:pt x="579" y="139"/>
                </a:cubicBezTo>
                <a:cubicBezTo>
                  <a:pt x="580" y="138"/>
                  <a:pt x="582" y="138"/>
                  <a:pt x="584" y="138"/>
                </a:cubicBezTo>
                <a:cubicBezTo>
                  <a:pt x="585" y="138"/>
                  <a:pt x="585" y="138"/>
                  <a:pt x="586" y="136"/>
                </a:cubicBezTo>
                <a:cubicBezTo>
                  <a:pt x="586" y="135"/>
                  <a:pt x="586" y="135"/>
                  <a:pt x="586" y="135"/>
                </a:cubicBezTo>
                <a:cubicBezTo>
                  <a:pt x="586" y="134"/>
                  <a:pt x="587" y="132"/>
                  <a:pt x="587" y="131"/>
                </a:cubicBezTo>
                <a:cubicBezTo>
                  <a:pt x="587" y="130"/>
                  <a:pt x="586" y="130"/>
                  <a:pt x="586" y="129"/>
                </a:cubicBezTo>
                <a:cubicBezTo>
                  <a:pt x="586" y="129"/>
                  <a:pt x="586" y="129"/>
                  <a:pt x="586" y="129"/>
                </a:cubicBezTo>
                <a:cubicBezTo>
                  <a:pt x="586" y="127"/>
                  <a:pt x="586" y="126"/>
                  <a:pt x="586" y="125"/>
                </a:cubicBezTo>
                <a:cubicBezTo>
                  <a:pt x="586" y="121"/>
                  <a:pt x="585" y="118"/>
                  <a:pt x="584" y="114"/>
                </a:cubicBezTo>
                <a:cubicBezTo>
                  <a:pt x="583" y="113"/>
                  <a:pt x="583" y="113"/>
                  <a:pt x="583" y="113"/>
                </a:cubicBezTo>
                <a:cubicBezTo>
                  <a:pt x="584" y="113"/>
                  <a:pt x="584" y="113"/>
                  <a:pt x="584" y="113"/>
                </a:cubicBezTo>
                <a:cubicBezTo>
                  <a:pt x="585" y="113"/>
                  <a:pt x="585" y="112"/>
                  <a:pt x="586" y="112"/>
                </a:cubicBezTo>
                <a:cubicBezTo>
                  <a:pt x="587" y="112"/>
                  <a:pt x="589" y="112"/>
                  <a:pt x="589" y="111"/>
                </a:cubicBezTo>
                <a:cubicBezTo>
                  <a:pt x="590" y="111"/>
                  <a:pt x="590" y="111"/>
                  <a:pt x="590" y="111"/>
                </a:cubicBezTo>
                <a:cubicBezTo>
                  <a:pt x="590" y="110"/>
                  <a:pt x="591" y="110"/>
                  <a:pt x="592" y="109"/>
                </a:cubicBezTo>
                <a:cubicBezTo>
                  <a:pt x="592" y="108"/>
                  <a:pt x="592" y="108"/>
                  <a:pt x="592" y="108"/>
                </a:cubicBezTo>
                <a:cubicBezTo>
                  <a:pt x="592" y="108"/>
                  <a:pt x="593" y="107"/>
                  <a:pt x="594" y="107"/>
                </a:cubicBezTo>
                <a:cubicBezTo>
                  <a:pt x="594" y="107"/>
                  <a:pt x="594" y="107"/>
                  <a:pt x="594" y="107"/>
                </a:cubicBezTo>
                <a:cubicBezTo>
                  <a:pt x="594" y="107"/>
                  <a:pt x="594" y="107"/>
                  <a:pt x="594" y="107"/>
                </a:cubicBezTo>
                <a:cubicBezTo>
                  <a:pt x="594" y="107"/>
                  <a:pt x="594" y="107"/>
                  <a:pt x="595" y="107"/>
                </a:cubicBezTo>
                <a:cubicBezTo>
                  <a:pt x="595" y="107"/>
                  <a:pt x="595" y="107"/>
                  <a:pt x="596" y="108"/>
                </a:cubicBezTo>
                <a:cubicBezTo>
                  <a:pt x="596" y="108"/>
                  <a:pt x="596" y="108"/>
                  <a:pt x="596" y="108"/>
                </a:cubicBezTo>
                <a:cubicBezTo>
                  <a:pt x="596" y="108"/>
                  <a:pt x="598" y="109"/>
                  <a:pt x="599" y="109"/>
                </a:cubicBezTo>
                <a:cubicBezTo>
                  <a:pt x="599" y="109"/>
                  <a:pt x="599" y="109"/>
                  <a:pt x="599" y="109"/>
                </a:cubicBezTo>
                <a:cubicBezTo>
                  <a:pt x="599" y="109"/>
                  <a:pt x="600" y="109"/>
                  <a:pt x="600" y="109"/>
                </a:cubicBezTo>
                <a:cubicBezTo>
                  <a:pt x="600" y="109"/>
                  <a:pt x="600" y="109"/>
                  <a:pt x="600" y="109"/>
                </a:cubicBezTo>
                <a:cubicBezTo>
                  <a:pt x="600" y="109"/>
                  <a:pt x="601" y="109"/>
                  <a:pt x="601" y="109"/>
                </a:cubicBezTo>
                <a:cubicBezTo>
                  <a:pt x="603" y="110"/>
                  <a:pt x="603" y="110"/>
                  <a:pt x="603" y="110"/>
                </a:cubicBezTo>
                <a:cubicBezTo>
                  <a:pt x="604" y="110"/>
                  <a:pt x="604" y="110"/>
                  <a:pt x="604" y="110"/>
                </a:cubicBezTo>
                <a:cubicBezTo>
                  <a:pt x="604" y="110"/>
                  <a:pt x="604" y="110"/>
                  <a:pt x="604" y="110"/>
                </a:cubicBezTo>
                <a:cubicBezTo>
                  <a:pt x="604" y="110"/>
                  <a:pt x="605" y="110"/>
                  <a:pt x="605" y="110"/>
                </a:cubicBezTo>
                <a:cubicBezTo>
                  <a:pt x="605" y="109"/>
                  <a:pt x="605" y="109"/>
                  <a:pt x="605" y="109"/>
                </a:cubicBezTo>
                <a:cubicBezTo>
                  <a:pt x="605" y="109"/>
                  <a:pt x="605" y="108"/>
                  <a:pt x="605" y="108"/>
                </a:cubicBezTo>
                <a:cubicBezTo>
                  <a:pt x="605" y="107"/>
                  <a:pt x="605" y="107"/>
                  <a:pt x="605" y="107"/>
                </a:cubicBezTo>
                <a:cubicBezTo>
                  <a:pt x="606" y="106"/>
                  <a:pt x="606" y="106"/>
                  <a:pt x="607" y="105"/>
                </a:cubicBezTo>
                <a:cubicBezTo>
                  <a:pt x="607" y="105"/>
                  <a:pt x="607" y="105"/>
                  <a:pt x="607" y="105"/>
                </a:cubicBezTo>
                <a:cubicBezTo>
                  <a:pt x="608" y="104"/>
                  <a:pt x="609" y="104"/>
                  <a:pt x="609" y="104"/>
                </a:cubicBezTo>
                <a:cubicBezTo>
                  <a:pt x="609" y="104"/>
                  <a:pt x="609" y="103"/>
                  <a:pt x="609" y="103"/>
                </a:cubicBezTo>
                <a:cubicBezTo>
                  <a:pt x="609" y="103"/>
                  <a:pt x="609" y="103"/>
                  <a:pt x="609" y="103"/>
                </a:cubicBezTo>
                <a:cubicBezTo>
                  <a:pt x="609" y="103"/>
                  <a:pt x="609" y="103"/>
                  <a:pt x="609" y="103"/>
                </a:cubicBezTo>
                <a:cubicBezTo>
                  <a:pt x="609" y="102"/>
                  <a:pt x="609" y="101"/>
                  <a:pt x="610" y="100"/>
                </a:cubicBezTo>
                <a:cubicBezTo>
                  <a:pt x="610" y="99"/>
                  <a:pt x="611" y="99"/>
                  <a:pt x="611" y="99"/>
                </a:cubicBezTo>
                <a:cubicBezTo>
                  <a:pt x="612" y="98"/>
                  <a:pt x="613" y="97"/>
                  <a:pt x="613" y="97"/>
                </a:cubicBezTo>
                <a:cubicBezTo>
                  <a:pt x="613" y="96"/>
                  <a:pt x="613" y="96"/>
                  <a:pt x="613" y="96"/>
                </a:cubicBezTo>
                <a:cubicBezTo>
                  <a:pt x="613" y="96"/>
                  <a:pt x="613" y="95"/>
                  <a:pt x="613" y="94"/>
                </a:cubicBezTo>
                <a:cubicBezTo>
                  <a:pt x="613" y="94"/>
                  <a:pt x="613" y="94"/>
                  <a:pt x="613" y="94"/>
                </a:cubicBezTo>
                <a:cubicBezTo>
                  <a:pt x="613" y="93"/>
                  <a:pt x="613" y="93"/>
                  <a:pt x="613" y="93"/>
                </a:cubicBezTo>
                <a:cubicBezTo>
                  <a:pt x="613" y="93"/>
                  <a:pt x="613" y="93"/>
                  <a:pt x="613" y="93"/>
                </a:cubicBezTo>
                <a:cubicBezTo>
                  <a:pt x="613" y="92"/>
                  <a:pt x="614" y="92"/>
                  <a:pt x="614" y="91"/>
                </a:cubicBezTo>
                <a:cubicBezTo>
                  <a:pt x="614" y="91"/>
                  <a:pt x="614" y="91"/>
                  <a:pt x="614" y="91"/>
                </a:cubicBezTo>
                <a:cubicBezTo>
                  <a:pt x="614" y="91"/>
                  <a:pt x="614" y="91"/>
                  <a:pt x="614" y="91"/>
                </a:cubicBezTo>
                <a:cubicBezTo>
                  <a:pt x="614" y="91"/>
                  <a:pt x="614" y="91"/>
                  <a:pt x="614" y="91"/>
                </a:cubicBezTo>
                <a:cubicBezTo>
                  <a:pt x="614" y="91"/>
                  <a:pt x="615" y="90"/>
                  <a:pt x="615" y="90"/>
                </a:cubicBezTo>
                <a:cubicBezTo>
                  <a:pt x="615" y="90"/>
                  <a:pt x="615" y="89"/>
                  <a:pt x="615" y="89"/>
                </a:cubicBezTo>
                <a:cubicBezTo>
                  <a:pt x="615" y="88"/>
                  <a:pt x="615" y="88"/>
                  <a:pt x="615" y="88"/>
                </a:cubicBezTo>
                <a:cubicBezTo>
                  <a:pt x="615" y="87"/>
                  <a:pt x="615" y="87"/>
                  <a:pt x="616" y="87"/>
                </a:cubicBezTo>
                <a:cubicBezTo>
                  <a:pt x="616" y="87"/>
                  <a:pt x="616" y="87"/>
                  <a:pt x="616" y="87"/>
                </a:cubicBezTo>
                <a:cubicBezTo>
                  <a:pt x="616" y="86"/>
                  <a:pt x="616" y="86"/>
                  <a:pt x="616" y="85"/>
                </a:cubicBezTo>
                <a:cubicBezTo>
                  <a:pt x="614" y="85"/>
                  <a:pt x="614" y="85"/>
                  <a:pt x="614" y="85"/>
                </a:cubicBezTo>
                <a:cubicBezTo>
                  <a:pt x="616" y="84"/>
                  <a:pt x="616" y="84"/>
                  <a:pt x="616" y="84"/>
                </a:cubicBezTo>
                <a:cubicBezTo>
                  <a:pt x="616" y="84"/>
                  <a:pt x="616" y="84"/>
                  <a:pt x="616" y="84"/>
                </a:cubicBezTo>
                <a:cubicBezTo>
                  <a:pt x="616" y="84"/>
                  <a:pt x="616" y="83"/>
                  <a:pt x="616" y="83"/>
                </a:cubicBezTo>
                <a:cubicBezTo>
                  <a:pt x="616" y="83"/>
                  <a:pt x="617" y="82"/>
                  <a:pt x="617" y="82"/>
                </a:cubicBezTo>
                <a:cubicBezTo>
                  <a:pt x="617" y="81"/>
                  <a:pt x="617" y="81"/>
                  <a:pt x="618" y="80"/>
                </a:cubicBezTo>
                <a:cubicBezTo>
                  <a:pt x="618" y="80"/>
                  <a:pt x="619" y="80"/>
                  <a:pt x="619" y="80"/>
                </a:cubicBezTo>
                <a:cubicBezTo>
                  <a:pt x="619" y="80"/>
                  <a:pt x="619" y="80"/>
                  <a:pt x="619" y="79"/>
                </a:cubicBezTo>
                <a:cubicBezTo>
                  <a:pt x="620" y="79"/>
                  <a:pt x="620" y="79"/>
                  <a:pt x="620" y="79"/>
                </a:cubicBezTo>
                <a:cubicBezTo>
                  <a:pt x="620" y="79"/>
                  <a:pt x="622" y="78"/>
                  <a:pt x="622" y="77"/>
                </a:cubicBezTo>
                <a:cubicBezTo>
                  <a:pt x="622" y="77"/>
                  <a:pt x="622" y="77"/>
                  <a:pt x="622" y="77"/>
                </a:cubicBezTo>
                <a:cubicBezTo>
                  <a:pt x="622" y="77"/>
                  <a:pt x="622" y="77"/>
                  <a:pt x="621" y="76"/>
                </a:cubicBezTo>
                <a:cubicBezTo>
                  <a:pt x="621" y="76"/>
                  <a:pt x="621" y="76"/>
                  <a:pt x="621" y="76"/>
                </a:cubicBezTo>
                <a:cubicBezTo>
                  <a:pt x="621" y="76"/>
                  <a:pt x="620" y="75"/>
                  <a:pt x="620" y="74"/>
                </a:cubicBezTo>
                <a:cubicBezTo>
                  <a:pt x="620" y="72"/>
                  <a:pt x="621" y="71"/>
                  <a:pt x="622" y="70"/>
                </a:cubicBezTo>
                <a:cubicBezTo>
                  <a:pt x="622" y="70"/>
                  <a:pt x="622" y="70"/>
                  <a:pt x="622" y="70"/>
                </a:cubicBezTo>
                <a:cubicBezTo>
                  <a:pt x="622" y="70"/>
                  <a:pt x="621" y="70"/>
                  <a:pt x="621" y="70"/>
                </a:cubicBezTo>
                <a:cubicBezTo>
                  <a:pt x="620" y="70"/>
                  <a:pt x="620" y="70"/>
                  <a:pt x="620" y="70"/>
                </a:cubicBezTo>
                <a:cubicBezTo>
                  <a:pt x="620" y="70"/>
                  <a:pt x="620" y="70"/>
                  <a:pt x="620" y="70"/>
                </a:cubicBezTo>
                <a:cubicBezTo>
                  <a:pt x="619" y="70"/>
                  <a:pt x="619" y="70"/>
                  <a:pt x="618" y="70"/>
                </a:cubicBezTo>
                <a:cubicBezTo>
                  <a:pt x="618" y="70"/>
                  <a:pt x="618" y="70"/>
                  <a:pt x="618" y="70"/>
                </a:cubicBezTo>
                <a:cubicBezTo>
                  <a:pt x="618" y="70"/>
                  <a:pt x="618" y="70"/>
                  <a:pt x="618" y="70"/>
                </a:cubicBezTo>
                <a:cubicBezTo>
                  <a:pt x="616" y="71"/>
                  <a:pt x="615" y="71"/>
                  <a:pt x="613" y="72"/>
                </a:cubicBezTo>
                <a:cubicBezTo>
                  <a:pt x="613" y="72"/>
                  <a:pt x="613" y="72"/>
                  <a:pt x="613" y="72"/>
                </a:cubicBezTo>
                <a:cubicBezTo>
                  <a:pt x="612" y="72"/>
                  <a:pt x="612" y="72"/>
                  <a:pt x="612" y="72"/>
                </a:cubicBezTo>
                <a:cubicBezTo>
                  <a:pt x="610" y="73"/>
                  <a:pt x="610" y="73"/>
                  <a:pt x="610" y="73"/>
                </a:cubicBezTo>
                <a:cubicBezTo>
                  <a:pt x="609" y="74"/>
                  <a:pt x="608" y="74"/>
                  <a:pt x="607" y="74"/>
                </a:cubicBezTo>
                <a:cubicBezTo>
                  <a:pt x="606" y="74"/>
                  <a:pt x="605" y="74"/>
                  <a:pt x="605" y="74"/>
                </a:cubicBezTo>
                <a:cubicBezTo>
                  <a:pt x="604" y="75"/>
                  <a:pt x="603" y="75"/>
                  <a:pt x="603" y="76"/>
                </a:cubicBezTo>
                <a:cubicBezTo>
                  <a:pt x="602" y="76"/>
                  <a:pt x="602" y="76"/>
                  <a:pt x="602" y="77"/>
                </a:cubicBezTo>
                <a:cubicBezTo>
                  <a:pt x="602" y="78"/>
                  <a:pt x="601" y="79"/>
                  <a:pt x="599" y="79"/>
                </a:cubicBezTo>
                <a:cubicBezTo>
                  <a:pt x="596" y="79"/>
                  <a:pt x="593" y="79"/>
                  <a:pt x="590" y="79"/>
                </a:cubicBezTo>
                <a:cubicBezTo>
                  <a:pt x="588" y="79"/>
                  <a:pt x="587" y="79"/>
                  <a:pt x="585" y="79"/>
                </a:cubicBezTo>
                <a:cubicBezTo>
                  <a:pt x="584" y="79"/>
                  <a:pt x="584" y="78"/>
                  <a:pt x="584" y="78"/>
                </a:cubicBezTo>
                <a:cubicBezTo>
                  <a:pt x="583" y="78"/>
                  <a:pt x="583" y="78"/>
                  <a:pt x="583" y="78"/>
                </a:cubicBezTo>
                <a:cubicBezTo>
                  <a:pt x="583" y="77"/>
                  <a:pt x="583" y="77"/>
                  <a:pt x="583" y="77"/>
                </a:cubicBezTo>
                <a:cubicBezTo>
                  <a:pt x="583" y="77"/>
                  <a:pt x="583" y="77"/>
                  <a:pt x="583" y="77"/>
                </a:cubicBezTo>
                <a:cubicBezTo>
                  <a:pt x="583" y="77"/>
                  <a:pt x="583" y="76"/>
                  <a:pt x="583" y="76"/>
                </a:cubicBezTo>
                <a:cubicBezTo>
                  <a:pt x="583" y="76"/>
                  <a:pt x="583" y="76"/>
                  <a:pt x="583" y="76"/>
                </a:cubicBezTo>
                <a:cubicBezTo>
                  <a:pt x="583" y="76"/>
                  <a:pt x="583" y="76"/>
                  <a:pt x="582" y="75"/>
                </a:cubicBezTo>
                <a:cubicBezTo>
                  <a:pt x="582" y="75"/>
                  <a:pt x="582" y="75"/>
                  <a:pt x="582" y="75"/>
                </a:cubicBezTo>
                <a:cubicBezTo>
                  <a:pt x="582" y="75"/>
                  <a:pt x="582" y="75"/>
                  <a:pt x="582" y="75"/>
                </a:cubicBezTo>
                <a:cubicBezTo>
                  <a:pt x="580" y="73"/>
                  <a:pt x="580" y="72"/>
                  <a:pt x="581" y="70"/>
                </a:cubicBezTo>
                <a:cubicBezTo>
                  <a:pt x="581" y="70"/>
                  <a:pt x="581" y="70"/>
                  <a:pt x="582" y="70"/>
                </a:cubicBezTo>
                <a:cubicBezTo>
                  <a:pt x="582" y="70"/>
                  <a:pt x="582" y="70"/>
                  <a:pt x="582" y="70"/>
                </a:cubicBezTo>
                <a:cubicBezTo>
                  <a:pt x="582" y="70"/>
                  <a:pt x="582" y="70"/>
                  <a:pt x="582" y="70"/>
                </a:cubicBezTo>
                <a:cubicBezTo>
                  <a:pt x="582" y="69"/>
                  <a:pt x="582" y="69"/>
                  <a:pt x="582" y="69"/>
                </a:cubicBezTo>
                <a:cubicBezTo>
                  <a:pt x="582" y="69"/>
                  <a:pt x="582" y="69"/>
                  <a:pt x="582" y="69"/>
                </a:cubicBezTo>
                <a:cubicBezTo>
                  <a:pt x="582" y="69"/>
                  <a:pt x="582" y="68"/>
                  <a:pt x="581" y="68"/>
                </a:cubicBezTo>
                <a:cubicBezTo>
                  <a:pt x="581" y="68"/>
                  <a:pt x="581" y="68"/>
                  <a:pt x="581" y="68"/>
                </a:cubicBezTo>
                <a:cubicBezTo>
                  <a:pt x="581" y="68"/>
                  <a:pt x="580" y="67"/>
                  <a:pt x="579" y="67"/>
                </a:cubicBezTo>
                <a:cubicBezTo>
                  <a:pt x="579" y="66"/>
                  <a:pt x="579" y="66"/>
                  <a:pt x="579" y="65"/>
                </a:cubicBezTo>
                <a:cubicBezTo>
                  <a:pt x="579" y="65"/>
                  <a:pt x="579" y="65"/>
                  <a:pt x="579" y="65"/>
                </a:cubicBezTo>
                <a:cubicBezTo>
                  <a:pt x="579" y="65"/>
                  <a:pt x="579" y="65"/>
                  <a:pt x="579" y="64"/>
                </a:cubicBezTo>
                <a:cubicBezTo>
                  <a:pt x="580" y="63"/>
                  <a:pt x="580" y="63"/>
                  <a:pt x="580" y="63"/>
                </a:cubicBezTo>
                <a:cubicBezTo>
                  <a:pt x="579" y="63"/>
                  <a:pt x="579" y="63"/>
                  <a:pt x="579" y="63"/>
                </a:cubicBezTo>
                <a:cubicBezTo>
                  <a:pt x="578" y="63"/>
                  <a:pt x="578" y="63"/>
                  <a:pt x="578" y="63"/>
                </a:cubicBezTo>
                <a:cubicBezTo>
                  <a:pt x="578" y="63"/>
                  <a:pt x="578" y="64"/>
                  <a:pt x="578" y="64"/>
                </a:cubicBezTo>
                <a:cubicBezTo>
                  <a:pt x="578" y="64"/>
                  <a:pt x="578" y="64"/>
                  <a:pt x="578" y="64"/>
                </a:cubicBezTo>
                <a:cubicBezTo>
                  <a:pt x="578" y="64"/>
                  <a:pt x="577" y="64"/>
                  <a:pt x="577" y="64"/>
                </a:cubicBezTo>
                <a:cubicBezTo>
                  <a:pt x="576" y="63"/>
                  <a:pt x="576" y="63"/>
                  <a:pt x="576" y="63"/>
                </a:cubicBezTo>
                <a:cubicBezTo>
                  <a:pt x="569" y="56"/>
                  <a:pt x="569" y="56"/>
                  <a:pt x="569" y="56"/>
                </a:cubicBezTo>
                <a:cubicBezTo>
                  <a:pt x="568" y="57"/>
                  <a:pt x="568" y="57"/>
                  <a:pt x="568" y="57"/>
                </a:cubicBezTo>
                <a:cubicBezTo>
                  <a:pt x="568" y="57"/>
                  <a:pt x="567" y="57"/>
                  <a:pt x="567" y="57"/>
                </a:cubicBezTo>
                <a:cubicBezTo>
                  <a:pt x="567" y="57"/>
                  <a:pt x="567" y="57"/>
                  <a:pt x="567" y="57"/>
                </a:cubicBezTo>
                <a:cubicBezTo>
                  <a:pt x="563" y="56"/>
                  <a:pt x="563" y="56"/>
                  <a:pt x="563" y="56"/>
                </a:cubicBezTo>
                <a:cubicBezTo>
                  <a:pt x="563" y="55"/>
                  <a:pt x="562" y="55"/>
                  <a:pt x="562" y="55"/>
                </a:cubicBezTo>
                <a:cubicBezTo>
                  <a:pt x="562" y="55"/>
                  <a:pt x="562" y="55"/>
                  <a:pt x="562" y="55"/>
                </a:cubicBezTo>
                <a:cubicBezTo>
                  <a:pt x="561" y="55"/>
                  <a:pt x="560" y="54"/>
                  <a:pt x="559" y="54"/>
                </a:cubicBezTo>
                <a:cubicBezTo>
                  <a:pt x="559" y="54"/>
                  <a:pt x="559" y="54"/>
                  <a:pt x="559" y="54"/>
                </a:cubicBezTo>
                <a:cubicBezTo>
                  <a:pt x="554" y="54"/>
                  <a:pt x="554" y="54"/>
                  <a:pt x="554" y="54"/>
                </a:cubicBezTo>
                <a:cubicBezTo>
                  <a:pt x="553" y="54"/>
                  <a:pt x="552" y="54"/>
                  <a:pt x="551" y="53"/>
                </a:cubicBezTo>
                <a:cubicBezTo>
                  <a:pt x="550" y="51"/>
                  <a:pt x="550" y="51"/>
                  <a:pt x="550" y="51"/>
                </a:cubicBezTo>
                <a:cubicBezTo>
                  <a:pt x="549" y="49"/>
                  <a:pt x="549" y="49"/>
                  <a:pt x="549" y="49"/>
                </a:cubicBezTo>
                <a:cubicBezTo>
                  <a:pt x="548" y="48"/>
                  <a:pt x="548" y="47"/>
                  <a:pt x="548" y="46"/>
                </a:cubicBezTo>
                <a:cubicBezTo>
                  <a:pt x="548" y="46"/>
                  <a:pt x="548" y="46"/>
                  <a:pt x="548" y="46"/>
                </a:cubicBezTo>
                <a:cubicBezTo>
                  <a:pt x="549" y="46"/>
                  <a:pt x="549" y="45"/>
                  <a:pt x="549" y="45"/>
                </a:cubicBezTo>
                <a:cubicBezTo>
                  <a:pt x="549" y="45"/>
                  <a:pt x="549" y="45"/>
                  <a:pt x="549" y="45"/>
                </a:cubicBezTo>
                <a:cubicBezTo>
                  <a:pt x="549" y="45"/>
                  <a:pt x="549" y="45"/>
                  <a:pt x="549" y="45"/>
                </a:cubicBezTo>
                <a:cubicBezTo>
                  <a:pt x="549" y="45"/>
                  <a:pt x="548" y="45"/>
                  <a:pt x="548" y="44"/>
                </a:cubicBezTo>
                <a:cubicBezTo>
                  <a:pt x="548" y="44"/>
                  <a:pt x="548" y="43"/>
                  <a:pt x="547" y="43"/>
                </a:cubicBezTo>
                <a:cubicBezTo>
                  <a:pt x="544" y="36"/>
                  <a:pt x="544" y="36"/>
                  <a:pt x="544" y="36"/>
                </a:cubicBezTo>
                <a:cubicBezTo>
                  <a:pt x="543" y="35"/>
                  <a:pt x="543" y="35"/>
                  <a:pt x="543" y="35"/>
                </a:cubicBezTo>
                <a:cubicBezTo>
                  <a:pt x="543" y="35"/>
                  <a:pt x="543" y="35"/>
                  <a:pt x="543" y="35"/>
                </a:cubicBezTo>
                <a:cubicBezTo>
                  <a:pt x="543" y="31"/>
                  <a:pt x="543" y="31"/>
                  <a:pt x="543" y="31"/>
                </a:cubicBezTo>
                <a:cubicBezTo>
                  <a:pt x="543" y="31"/>
                  <a:pt x="543" y="31"/>
                  <a:pt x="543" y="31"/>
                </a:cubicBezTo>
                <a:cubicBezTo>
                  <a:pt x="542" y="31"/>
                  <a:pt x="541" y="31"/>
                  <a:pt x="541" y="30"/>
                </a:cubicBezTo>
                <a:cubicBezTo>
                  <a:pt x="541" y="30"/>
                  <a:pt x="541" y="30"/>
                  <a:pt x="541" y="30"/>
                </a:cubicBezTo>
                <a:cubicBezTo>
                  <a:pt x="541" y="30"/>
                  <a:pt x="541" y="30"/>
                  <a:pt x="541" y="30"/>
                </a:cubicBezTo>
                <a:cubicBezTo>
                  <a:pt x="540" y="28"/>
                  <a:pt x="540" y="28"/>
                  <a:pt x="540" y="28"/>
                </a:cubicBezTo>
                <a:cubicBezTo>
                  <a:pt x="539" y="26"/>
                  <a:pt x="539" y="24"/>
                  <a:pt x="538" y="22"/>
                </a:cubicBezTo>
                <a:cubicBezTo>
                  <a:pt x="537" y="22"/>
                  <a:pt x="537" y="22"/>
                  <a:pt x="537" y="22"/>
                </a:cubicBezTo>
                <a:cubicBezTo>
                  <a:pt x="537" y="21"/>
                  <a:pt x="537" y="20"/>
                  <a:pt x="537" y="20"/>
                </a:cubicBezTo>
                <a:cubicBezTo>
                  <a:pt x="538" y="19"/>
                  <a:pt x="538" y="19"/>
                  <a:pt x="538" y="19"/>
                </a:cubicBezTo>
                <a:cubicBezTo>
                  <a:pt x="538" y="19"/>
                  <a:pt x="538" y="19"/>
                  <a:pt x="538" y="19"/>
                </a:cubicBezTo>
                <a:cubicBezTo>
                  <a:pt x="538" y="19"/>
                  <a:pt x="538" y="19"/>
                  <a:pt x="538" y="19"/>
                </a:cubicBezTo>
                <a:cubicBezTo>
                  <a:pt x="538" y="19"/>
                  <a:pt x="538" y="19"/>
                  <a:pt x="538" y="19"/>
                </a:cubicBezTo>
                <a:cubicBezTo>
                  <a:pt x="537" y="18"/>
                  <a:pt x="536" y="16"/>
                  <a:pt x="535" y="15"/>
                </a:cubicBezTo>
                <a:cubicBezTo>
                  <a:pt x="534" y="15"/>
                  <a:pt x="534" y="15"/>
                  <a:pt x="534" y="15"/>
                </a:cubicBezTo>
                <a:cubicBezTo>
                  <a:pt x="534" y="15"/>
                  <a:pt x="534" y="14"/>
                  <a:pt x="534" y="14"/>
                </a:cubicBezTo>
                <a:cubicBezTo>
                  <a:pt x="533" y="13"/>
                  <a:pt x="533" y="13"/>
                  <a:pt x="533" y="13"/>
                </a:cubicBezTo>
                <a:cubicBezTo>
                  <a:pt x="532" y="12"/>
                  <a:pt x="532" y="11"/>
                  <a:pt x="533" y="10"/>
                </a:cubicBezTo>
                <a:cubicBezTo>
                  <a:pt x="533" y="10"/>
                  <a:pt x="533" y="10"/>
                  <a:pt x="533" y="10"/>
                </a:cubicBezTo>
                <a:cubicBezTo>
                  <a:pt x="533" y="10"/>
                  <a:pt x="533" y="10"/>
                  <a:pt x="533" y="10"/>
                </a:cubicBezTo>
                <a:cubicBezTo>
                  <a:pt x="533" y="10"/>
                  <a:pt x="532" y="10"/>
                  <a:pt x="532" y="9"/>
                </a:cubicBezTo>
                <a:cubicBezTo>
                  <a:pt x="532" y="9"/>
                  <a:pt x="532" y="9"/>
                  <a:pt x="532" y="9"/>
                </a:cubicBezTo>
                <a:cubicBezTo>
                  <a:pt x="529" y="7"/>
                  <a:pt x="529" y="7"/>
                  <a:pt x="529" y="7"/>
                </a:cubicBezTo>
                <a:cubicBezTo>
                  <a:pt x="529" y="7"/>
                  <a:pt x="529" y="7"/>
                  <a:pt x="529" y="7"/>
                </a:cubicBezTo>
                <a:cubicBezTo>
                  <a:pt x="529" y="7"/>
                  <a:pt x="529" y="7"/>
                  <a:pt x="529" y="7"/>
                </a:cubicBezTo>
                <a:cubicBezTo>
                  <a:pt x="527" y="6"/>
                  <a:pt x="527" y="6"/>
                  <a:pt x="527" y="6"/>
                </a:cubicBezTo>
                <a:cubicBezTo>
                  <a:pt x="527" y="6"/>
                  <a:pt x="527" y="6"/>
                  <a:pt x="527" y="6"/>
                </a:cubicBezTo>
                <a:cubicBezTo>
                  <a:pt x="527" y="6"/>
                  <a:pt x="527" y="6"/>
                  <a:pt x="527" y="6"/>
                </a:cubicBezTo>
                <a:cubicBezTo>
                  <a:pt x="527" y="6"/>
                  <a:pt x="526" y="6"/>
                  <a:pt x="526" y="6"/>
                </a:cubicBezTo>
                <a:cubicBezTo>
                  <a:pt x="526" y="6"/>
                  <a:pt x="526" y="6"/>
                  <a:pt x="526" y="6"/>
                </a:cubicBezTo>
                <a:cubicBezTo>
                  <a:pt x="526" y="5"/>
                  <a:pt x="526" y="5"/>
                  <a:pt x="526" y="5"/>
                </a:cubicBezTo>
                <a:cubicBezTo>
                  <a:pt x="525" y="5"/>
                  <a:pt x="525" y="5"/>
                  <a:pt x="525" y="5"/>
                </a:cubicBezTo>
                <a:cubicBezTo>
                  <a:pt x="525" y="5"/>
                  <a:pt x="525" y="5"/>
                  <a:pt x="525" y="5"/>
                </a:cubicBezTo>
                <a:cubicBezTo>
                  <a:pt x="525" y="5"/>
                  <a:pt x="524" y="5"/>
                  <a:pt x="523" y="5"/>
                </a:cubicBezTo>
                <a:cubicBezTo>
                  <a:pt x="523" y="5"/>
                  <a:pt x="523" y="5"/>
                  <a:pt x="523" y="5"/>
                </a:cubicBezTo>
                <a:cubicBezTo>
                  <a:pt x="523" y="5"/>
                  <a:pt x="523" y="5"/>
                  <a:pt x="523" y="5"/>
                </a:cubicBezTo>
                <a:cubicBezTo>
                  <a:pt x="523" y="5"/>
                  <a:pt x="522" y="5"/>
                  <a:pt x="522" y="5"/>
                </a:cubicBezTo>
                <a:cubicBezTo>
                  <a:pt x="520" y="5"/>
                  <a:pt x="520" y="5"/>
                  <a:pt x="520" y="5"/>
                </a:cubicBezTo>
                <a:cubicBezTo>
                  <a:pt x="520" y="5"/>
                  <a:pt x="520" y="5"/>
                  <a:pt x="519" y="5"/>
                </a:cubicBezTo>
                <a:cubicBezTo>
                  <a:pt x="519" y="5"/>
                  <a:pt x="519" y="5"/>
                  <a:pt x="519" y="5"/>
                </a:cubicBezTo>
                <a:cubicBezTo>
                  <a:pt x="514" y="3"/>
                  <a:pt x="514" y="3"/>
                  <a:pt x="514" y="3"/>
                </a:cubicBezTo>
                <a:cubicBezTo>
                  <a:pt x="513" y="2"/>
                  <a:pt x="511" y="1"/>
                  <a:pt x="510" y="1"/>
                </a:cubicBezTo>
                <a:cubicBezTo>
                  <a:pt x="509" y="0"/>
                  <a:pt x="509" y="0"/>
                  <a:pt x="509" y="0"/>
                </a:cubicBezTo>
                <a:cubicBezTo>
                  <a:pt x="509" y="0"/>
                  <a:pt x="509" y="0"/>
                  <a:pt x="509" y="0"/>
                </a:cubicBezTo>
                <a:cubicBezTo>
                  <a:pt x="508" y="0"/>
                  <a:pt x="508" y="0"/>
                  <a:pt x="508" y="0"/>
                </a:cubicBezTo>
                <a:cubicBezTo>
                  <a:pt x="506" y="0"/>
                  <a:pt x="506" y="0"/>
                  <a:pt x="506" y="0"/>
                </a:cubicBezTo>
                <a:cubicBezTo>
                  <a:pt x="506" y="0"/>
                  <a:pt x="506" y="0"/>
                  <a:pt x="506" y="0"/>
                </a:cubicBezTo>
                <a:cubicBezTo>
                  <a:pt x="505" y="0"/>
                  <a:pt x="505" y="0"/>
                  <a:pt x="505" y="0"/>
                </a:cubicBezTo>
                <a:cubicBezTo>
                  <a:pt x="505" y="1"/>
                  <a:pt x="505" y="1"/>
                  <a:pt x="505" y="1"/>
                </a:cubicBezTo>
                <a:cubicBezTo>
                  <a:pt x="503" y="1"/>
                  <a:pt x="503" y="1"/>
                  <a:pt x="503" y="1"/>
                </a:cubicBezTo>
                <a:cubicBezTo>
                  <a:pt x="502" y="1"/>
                  <a:pt x="500" y="1"/>
                  <a:pt x="498" y="2"/>
                </a:cubicBezTo>
                <a:cubicBezTo>
                  <a:pt x="493" y="2"/>
                  <a:pt x="493" y="2"/>
                  <a:pt x="493" y="2"/>
                </a:cubicBezTo>
                <a:cubicBezTo>
                  <a:pt x="492" y="2"/>
                  <a:pt x="492" y="2"/>
                  <a:pt x="492" y="2"/>
                </a:cubicBezTo>
                <a:cubicBezTo>
                  <a:pt x="490" y="3"/>
                  <a:pt x="487" y="3"/>
                  <a:pt x="485" y="4"/>
                </a:cubicBezTo>
                <a:cubicBezTo>
                  <a:pt x="485" y="4"/>
                  <a:pt x="484" y="4"/>
                  <a:pt x="484" y="4"/>
                </a:cubicBezTo>
                <a:cubicBezTo>
                  <a:pt x="484" y="4"/>
                  <a:pt x="484" y="4"/>
                  <a:pt x="484" y="4"/>
                </a:cubicBezTo>
                <a:cubicBezTo>
                  <a:pt x="483" y="4"/>
                  <a:pt x="483" y="4"/>
                  <a:pt x="483" y="4"/>
                </a:cubicBezTo>
                <a:cubicBezTo>
                  <a:pt x="482" y="4"/>
                  <a:pt x="482" y="4"/>
                  <a:pt x="482" y="4"/>
                </a:cubicBezTo>
                <a:cubicBezTo>
                  <a:pt x="482" y="4"/>
                  <a:pt x="482" y="4"/>
                  <a:pt x="482" y="4"/>
                </a:cubicBezTo>
                <a:cubicBezTo>
                  <a:pt x="481" y="5"/>
                  <a:pt x="481" y="5"/>
                  <a:pt x="481" y="5"/>
                </a:cubicBezTo>
                <a:cubicBezTo>
                  <a:pt x="480" y="5"/>
                  <a:pt x="480" y="6"/>
                  <a:pt x="479" y="7"/>
                </a:cubicBezTo>
                <a:cubicBezTo>
                  <a:pt x="478" y="7"/>
                  <a:pt x="478" y="7"/>
                  <a:pt x="478" y="7"/>
                </a:cubicBezTo>
                <a:cubicBezTo>
                  <a:pt x="478" y="8"/>
                  <a:pt x="477" y="8"/>
                  <a:pt x="477" y="8"/>
                </a:cubicBezTo>
                <a:cubicBezTo>
                  <a:pt x="477" y="8"/>
                  <a:pt x="477" y="8"/>
                  <a:pt x="477" y="8"/>
                </a:cubicBezTo>
                <a:cubicBezTo>
                  <a:pt x="477" y="9"/>
                  <a:pt x="476" y="9"/>
                  <a:pt x="476" y="9"/>
                </a:cubicBezTo>
                <a:cubicBezTo>
                  <a:pt x="475" y="10"/>
                  <a:pt x="475" y="10"/>
                  <a:pt x="474" y="10"/>
                </a:cubicBezTo>
                <a:cubicBezTo>
                  <a:pt x="474" y="11"/>
                  <a:pt x="474" y="11"/>
                  <a:pt x="474" y="11"/>
                </a:cubicBezTo>
                <a:cubicBezTo>
                  <a:pt x="474" y="11"/>
                  <a:pt x="474" y="11"/>
                  <a:pt x="474" y="11"/>
                </a:cubicBezTo>
                <a:cubicBezTo>
                  <a:pt x="475" y="11"/>
                  <a:pt x="475" y="11"/>
                  <a:pt x="476" y="11"/>
                </a:cubicBezTo>
                <a:cubicBezTo>
                  <a:pt x="476" y="11"/>
                  <a:pt x="477" y="10"/>
                  <a:pt x="478" y="11"/>
                </a:cubicBezTo>
                <a:cubicBezTo>
                  <a:pt x="478" y="11"/>
                  <a:pt x="478" y="11"/>
                  <a:pt x="478" y="11"/>
                </a:cubicBezTo>
                <a:cubicBezTo>
                  <a:pt x="479" y="11"/>
                  <a:pt x="479" y="11"/>
                  <a:pt x="479" y="11"/>
                </a:cubicBezTo>
                <a:cubicBezTo>
                  <a:pt x="479" y="11"/>
                  <a:pt x="479" y="11"/>
                  <a:pt x="479" y="11"/>
                </a:cubicBezTo>
                <a:cubicBezTo>
                  <a:pt x="479" y="11"/>
                  <a:pt x="480" y="11"/>
                  <a:pt x="480" y="11"/>
                </a:cubicBezTo>
                <a:cubicBezTo>
                  <a:pt x="480" y="12"/>
                  <a:pt x="480" y="12"/>
                  <a:pt x="480" y="12"/>
                </a:cubicBezTo>
                <a:cubicBezTo>
                  <a:pt x="480" y="12"/>
                  <a:pt x="480" y="12"/>
                  <a:pt x="480" y="12"/>
                </a:cubicBezTo>
                <a:cubicBezTo>
                  <a:pt x="481" y="12"/>
                  <a:pt x="481" y="13"/>
                  <a:pt x="481" y="14"/>
                </a:cubicBezTo>
                <a:cubicBezTo>
                  <a:pt x="481" y="14"/>
                  <a:pt x="481" y="14"/>
                  <a:pt x="481" y="14"/>
                </a:cubicBezTo>
                <a:cubicBezTo>
                  <a:pt x="481" y="16"/>
                  <a:pt x="481" y="16"/>
                  <a:pt x="481" y="16"/>
                </a:cubicBezTo>
                <a:cubicBezTo>
                  <a:pt x="481" y="16"/>
                  <a:pt x="481" y="16"/>
                  <a:pt x="481" y="16"/>
                </a:cubicBezTo>
                <a:cubicBezTo>
                  <a:pt x="481" y="16"/>
                  <a:pt x="481" y="17"/>
                  <a:pt x="481" y="17"/>
                </a:cubicBezTo>
                <a:cubicBezTo>
                  <a:pt x="482" y="17"/>
                  <a:pt x="482" y="17"/>
                  <a:pt x="482" y="17"/>
                </a:cubicBezTo>
                <a:cubicBezTo>
                  <a:pt x="482" y="17"/>
                  <a:pt x="482" y="17"/>
                  <a:pt x="482" y="17"/>
                </a:cubicBezTo>
                <a:cubicBezTo>
                  <a:pt x="482" y="18"/>
                  <a:pt x="482" y="18"/>
                  <a:pt x="482" y="18"/>
                </a:cubicBezTo>
                <a:cubicBezTo>
                  <a:pt x="482" y="18"/>
                  <a:pt x="482" y="18"/>
                  <a:pt x="482" y="18"/>
                </a:cubicBezTo>
                <a:cubicBezTo>
                  <a:pt x="482" y="18"/>
                  <a:pt x="482" y="19"/>
                  <a:pt x="481" y="19"/>
                </a:cubicBezTo>
                <a:cubicBezTo>
                  <a:pt x="481" y="20"/>
                  <a:pt x="480" y="21"/>
                  <a:pt x="479" y="22"/>
                </a:cubicBezTo>
                <a:cubicBezTo>
                  <a:pt x="474" y="28"/>
                  <a:pt x="474" y="28"/>
                  <a:pt x="474" y="28"/>
                </a:cubicBezTo>
                <a:cubicBezTo>
                  <a:pt x="473" y="29"/>
                  <a:pt x="473" y="29"/>
                  <a:pt x="473" y="29"/>
                </a:cubicBezTo>
                <a:cubicBezTo>
                  <a:pt x="472" y="30"/>
                  <a:pt x="472" y="31"/>
                  <a:pt x="471" y="32"/>
                </a:cubicBezTo>
                <a:cubicBezTo>
                  <a:pt x="469" y="36"/>
                  <a:pt x="469" y="36"/>
                  <a:pt x="469" y="36"/>
                </a:cubicBezTo>
                <a:cubicBezTo>
                  <a:pt x="468" y="39"/>
                  <a:pt x="468" y="39"/>
                  <a:pt x="468" y="39"/>
                </a:cubicBezTo>
                <a:cubicBezTo>
                  <a:pt x="467" y="42"/>
                  <a:pt x="467" y="42"/>
                  <a:pt x="467" y="42"/>
                </a:cubicBezTo>
                <a:cubicBezTo>
                  <a:pt x="467" y="43"/>
                  <a:pt x="467" y="43"/>
                  <a:pt x="467" y="43"/>
                </a:cubicBezTo>
                <a:cubicBezTo>
                  <a:pt x="467" y="43"/>
                  <a:pt x="467" y="43"/>
                  <a:pt x="467" y="43"/>
                </a:cubicBezTo>
                <a:cubicBezTo>
                  <a:pt x="467" y="43"/>
                  <a:pt x="467" y="44"/>
                  <a:pt x="467" y="44"/>
                </a:cubicBezTo>
                <a:cubicBezTo>
                  <a:pt x="467" y="44"/>
                  <a:pt x="467" y="44"/>
                  <a:pt x="467" y="44"/>
                </a:cubicBezTo>
                <a:cubicBezTo>
                  <a:pt x="467" y="44"/>
                  <a:pt x="467" y="44"/>
                  <a:pt x="467" y="44"/>
                </a:cubicBezTo>
                <a:cubicBezTo>
                  <a:pt x="467" y="45"/>
                  <a:pt x="467" y="45"/>
                  <a:pt x="467" y="45"/>
                </a:cubicBezTo>
                <a:cubicBezTo>
                  <a:pt x="467" y="45"/>
                  <a:pt x="467" y="45"/>
                  <a:pt x="467" y="45"/>
                </a:cubicBezTo>
                <a:cubicBezTo>
                  <a:pt x="467" y="46"/>
                  <a:pt x="467" y="46"/>
                  <a:pt x="467" y="46"/>
                </a:cubicBezTo>
                <a:cubicBezTo>
                  <a:pt x="467" y="46"/>
                  <a:pt x="467" y="46"/>
                  <a:pt x="467" y="46"/>
                </a:cubicBezTo>
                <a:cubicBezTo>
                  <a:pt x="466" y="47"/>
                  <a:pt x="466" y="47"/>
                  <a:pt x="466" y="47"/>
                </a:cubicBezTo>
                <a:cubicBezTo>
                  <a:pt x="466" y="47"/>
                  <a:pt x="466" y="47"/>
                  <a:pt x="466" y="47"/>
                </a:cubicBezTo>
                <a:cubicBezTo>
                  <a:pt x="462" y="49"/>
                  <a:pt x="462" y="49"/>
                  <a:pt x="462" y="49"/>
                </a:cubicBezTo>
                <a:cubicBezTo>
                  <a:pt x="458" y="50"/>
                  <a:pt x="458" y="50"/>
                  <a:pt x="458" y="50"/>
                </a:cubicBezTo>
                <a:cubicBezTo>
                  <a:pt x="457" y="50"/>
                  <a:pt x="456" y="51"/>
                  <a:pt x="455" y="52"/>
                </a:cubicBezTo>
                <a:cubicBezTo>
                  <a:pt x="455" y="52"/>
                  <a:pt x="455" y="52"/>
                  <a:pt x="455" y="52"/>
                </a:cubicBezTo>
                <a:cubicBezTo>
                  <a:pt x="451" y="55"/>
                  <a:pt x="451" y="55"/>
                  <a:pt x="451" y="55"/>
                </a:cubicBezTo>
                <a:cubicBezTo>
                  <a:pt x="447" y="54"/>
                  <a:pt x="447" y="54"/>
                  <a:pt x="447" y="54"/>
                </a:cubicBezTo>
                <a:cubicBezTo>
                  <a:pt x="447" y="55"/>
                  <a:pt x="447" y="55"/>
                  <a:pt x="447" y="55"/>
                </a:cubicBezTo>
                <a:cubicBezTo>
                  <a:pt x="447" y="53"/>
                  <a:pt x="447" y="53"/>
                  <a:pt x="447" y="53"/>
                </a:cubicBezTo>
                <a:cubicBezTo>
                  <a:pt x="441" y="51"/>
                  <a:pt x="441" y="51"/>
                  <a:pt x="441" y="51"/>
                </a:cubicBezTo>
                <a:cubicBezTo>
                  <a:pt x="441" y="51"/>
                  <a:pt x="440" y="51"/>
                  <a:pt x="440" y="51"/>
                </a:cubicBezTo>
                <a:cubicBezTo>
                  <a:pt x="437" y="55"/>
                  <a:pt x="437" y="55"/>
                  <a:pt x="437" y="55"/>
                </a:cubicBezTo>
                <a:cubicBezTo>
                  <a:pt x="436" y="58"/>
                  <a:pt x="435" y="60"/>
                  <a:pt x="434" y="62"/>
                </a:cubicBezTo>
                <a:cubicBezTo>
                  <a:pt x="431" y="68"/>
                  <a:pt x="431" y="68"/>
                  <a:pt x="431" y="68"/>
                </a:cubicBezTo>
                <a:cubicBezTo>
                  <a:pt x="431" y="68"/>
                  <a:pt x="431" y="68"/>
                  <a:pt x="431" y="68"/>
                </a:cubicBezTo>
                <a:cubicBezTo>
                  <a:pt x="431" y="69"/>
                  <a:pt x="431" y="69"/>
                  <a:pt x="431" y="69"/>
                </a:cubicBezTo>
                <a:cubicBezTo>
                  <a:pt x="431" y="70"/>
                  <a:pt x="431" y="70"/>
                  <a:pt x="430" y="71"/>
                </a:cubicBezTo>
                <a:cubicBezTo>
                  <a:pt x="430" y="72"/>
                  <a:pt x="429" y="72"/>
                  <a:pt x="429" y="72"/>
                </a:cubicBezTo>
                <a:cubicBezTo>
                  <a:pt x="429" y="72"/>
                  <a:pt x="429" y="72"/>
                  <a:pt x="428" y="72"/>
                </a:cubicBezTo>
                <a:cubicBezTo>
                  <a:pt x="428" y="73"/>
                  <a:pt x="429" y="73"/>
                  <a:pt x="429" y="73"/>
                </a:cubicBezTo>
                <a:cubicBezTo>
                  <a:pt x="429" y="73"/>
                  <a:pt x="429" y="73"/>
                  <a:pt x="429" y="73"/>
                </a:cubicBezTo>
                <a:cubicBezTo>
                  <a:pt x="429" y="73"/>
                  <a:pt x="429" y="74"/>
                  <a:pt x="429" y="74"/>
                </a:cubicBezTo>
                <a:cubicBezTo>
                  <a:pt x="429" y="74"/>
                  <a:pt x="429" y="74"/>
                  <a:pt x="429" y="74"/>
                </a:cubicBezTo>
                <a:cubicBezTo>
                  <a:pt x="429" y="74"/>
                  <a:pt x="429" y="75"/>
                  <a:pt x="430" y="75"/>
                </a:cubicBezTo>
                <a:cubicBezTo>
                  <a:pt x="430" y="76"/>
                  <a:pt x="431" y="76"/>
                  <a:pt x="431" y="76"/>
                </a:cubicBezTo>
                <a:cubicBezTo>
                  <a:pt x="431" y="76"/>
                  <a:pt x="432" y="75"/>
                  <a:pt x="432" y="75"/>
                </a:cubicBezTo>
                <a:cubicBezTo>
                  <a:pt x="433" y="75"/>
                  <a:pt x="434" y="75"/>
                  <a:pt x="436" y="75"/>
                </a:cubicBezTo>
                <a:cubicBezTo>
                  <a:pt x="440" y="74"/>
                  <a:pt x="440" y="74"/>
                  <a:pt x="440" y="74"/>
                </a:cubicBezTo>
                <a:cubicBezTo>
                  <a:pt x="441" y="74"/>
                  <a:pt x="441" y="74"/>
                  <a:pt x="441" y="74"/>
                </a:cubicBezTo>
                <a:cubicBezTo>
                  <a:pt x="441" y="74"/>
                  <a:pt x="442" y="75"/>
                  <a:pt x="443" y="75"/>
                </a:cubicBezTo>
                <a:cubicBezTo>
                  <a:pt x="443" y="75"/>
                  <a:pt x="443" y="75"/>
                  <a:pt x="444" y="75"/>
                </a:cubicBezTo>
                <a:cubicBezTo>
                  <a:pt x="444" y="75"/>
                  <a:pt x="444" y="75"/>
                  <a:pt x="444" y="75"/>
                </a:cubicBezTo>
                <a:cubicBezTo>
                  <a:pt x="445" y="76"/>
                  <a:pt x="445" y="77"/>
                  <a:pt x="446" y="77"/>
                </a:cubicBezTo>
                <a:cubicBezTo>
                  <a:pt x="446" y="77"/>
                  <a:pt x="446" y="77"/>
                  <a:pt x="446" y="77"/>
                </a:cubicBezTo>
                <a:cubicBezTo>
                  <a:pt x="446" y="76"/>
                  <a:pt x="446" y="76"/>
                  <a:pt x="446" y="76"/>
                </a:cubicBezTo>
                <a:cubicBezTo>
                  <a:pt x="446" y="76"/>
                  <a:pt x="446" y="76"/>
                  <a:pt x="446" y="76"/>
                </a:cubicBezTo>
                <a:cubicBezTo>
                  <a:pt x="447" y="75"/>
                  <a:pt x="448" y="74"/>
                  <a:pt x="450" y="73"/>
                </a:cubicBezTo>
                <a:cubicBezTo>
                  <a:pt x="451" y="73"/>
                  <a:pt x="451" y="73"/>
                  <a:pt x="452" y="73"/>
                </a:cubicBezTo>
                <a:cubicBezTo>
                  <a:pt x="452" y="73"/>
                  <a:pt x="452" y="73"/>
                  <a:pt x="452" y="73"/>
                </a:cubicBezTo>
                <a:cubicBezTo>
                  <a:pt x="453" y="73"/>
                  <a:pt x="453" y="73"/>
                  <a:pt x="454" y="73"/>
                </a:cubicBezTo>
                <a:cubicBezTo>
                  <a:pt x="455" y="73"/>
                  <a:pt x="456" y="73"/>
                  <a:pt x="457" y="73"/>
                </a:cubicBezTo>
                <a:cubicBezTo>
                  <a:pt x="458" y="73"/>
                  <a:pt x="458" y="73"/>
                  <a:pt x="458" y="73"/>
                </a:cubicBezTo>
                <a:cubicBezTo>
                  <a:pt x="459" y="73"/>
                  <a:pt x="459" y="73"/>
                  <a:pt x="459" y="74"/>
                </a:cubicBezTo>
                <a:cubicBezTo>
                  <a:pt x="460" y="74"/>
                  <a:pt x="460" y="74"/>
                  <a:pt x="460" y="75"/>
                </a:cubicBezTo>
                <a:cubicBezTo>
                  <a:pt x="460" y="75"/>
                  <a:pt x="460" y="75"/>
                  <a:pt x="460" y="75"/>
                </a:cubicBezTo>
                <a:cubicBezTo>
                  <a:pt x="461" y="75"/>
                  <a:pt x="461" y="76"/>
                  <a:pt x="462" y="76"/>
                </a:cubicBezTo>
                <a:cubicBezTo>
                  <a:pt x="463" y="76"/>
                  <a:pt x="464" y="77"/>
                  <a:pt x="464" y="78"/>
                </a:cubicBezTo>
                <a:cubicBezTo>
                  <a:pt x="465" y="78"/>
                  <a:pt x="465" y="78"/>
                  <a:pt x="465" y="78"/>
                </a:cubicBezTo>
                <a:cubicBezTo>
                  <a:pt x="465" y="78"/>
                  <a:pt x="465" y="78"/>
                  <a:pt x="465" y="79"/>
                </a:cubicBezTo>
                <a:cubicBezTo>
                  <a:pt x="465" y="79"/>
                  <a:pt x="466" y="79"/>
                  <a:pt x="466" y="79"/>
                </a:cubicBezTo>
                <a:cubicBezTo>
                  <a:pt x="467" y="80"/>
                  <a:pt x="467" y="80"/>
                  <a:pt x="468" y="81"/>
                </a:cubicBezTo>
                <a:cubicBezTo>
                  <a:pt x="468" y="82"/>
                  <a:pt x="469" y="82"/>
                  <a:pt x="469" y="82"/>
                </a:cubicBezTo>
                <a:cubicBezTo>
                  <a:pt x="470" y="83"/>
                  <a:pt x="471" y="84"/>
                  <a:pt x="471" y="84"/>
                </a:cubicBezTo>
                <a:cubicBezTo>
                  <a:pt x="473" y="86"/>
                  <a:pt x="473" y="88"/>
                  <a:pt x="473" y="90"/>
                </a:cubicBezTo>
                <a:cubicBezTo>
                  <a:pt x="473" y="91"/>
                  <a:pt x="473" y="91"/>
                  <a:pt x="473" y="91"/>
                </a:cubicBezTo>
                <a:cubicBezTo>
                  <a:pt x="473" y="91"/>
                  <a:pt x="473" y="91"/>
                  <a:pt x="473" y="91"/>
                </a:cubicBezTo>
                <a:cubicBezTo>
                  <a:pt x="472" y="92"/>
                  <a:pt x="471" y="92"/>
                  <a:pt x="471" y="92"/>
                </a:cubicBezTo>
                <a:cubicBezTo>
                  <a:pt x="465" y="92"/>
                  <a:pt x="465" y="92"/>
                  <a:pt x="465" y="92"/>
                </a:cubicBezTo>
                <a:cubicBezTo>
                  <a:pt x="464" y="92"/>
                  <a:pt x="464" y="92"/>
                  <a:pt x="463" y="92"/>
                </a:cubicBezTo>
                <a:cubicBezTo>
                  <a:pt x="461" y="92"/>
                  <a:pt x="458" y="91"/>
                  <a:pt x="457" y="92"/>
                </a:cubicBezTo>
                <a:cubicBezTo>
                  <a:pt x="455" y="93"/>
                  <a:pt x="452" y="94"/>
                  <a:pt x="450" y="95"/>
                </a:cubicBezTo>
                <a:cubicBezTo>
                  <a:pt x="447" y="96"/>
                  <a:pt x="447" y="96"/>
                  <a:pt x="447" y="96"/>
                </a:cubicBezTo>
                <a:cubicBezTo>
                  <a:pt x="446" y="96"/>
                  <a:pt x="446" y="96"/>
                  <a:pt x="445" y="96"/>
                </a:cubicBezTo>
                <a:cubicBezTo>
                  <a:pt x="444" y="96"/>
                  <a:pt x="444" y="96"/>
                  <a:pt x="444" y="96"/>
                </a:cubicBezTo>
                <a:cubicBezTo>
                  <a:pt x="443" y="96"/>
                  <a:pt x="443" y="96"/>
                  <a:pt x="442" y="96"/>
                </a:cubicBezTo>
                <a:cubicBezTo>
                  <a:pt x="440" y="96"/>
                  <a:pt x="439" y="96"/>
                  <a:pt x="438" y="97"/>
                </a:cubicBezTo>
                <a:cubicBezTo>
                  <a:pt x="436" y="99"/>
                  <a:pt x="435" y="100"/>
                  <a:pt x="435" y="101"/>
                </a:cubicBezTo>
                <a:cubicBezTo>
                  <a:pt x="435" y="101"/>
                  <a:pt x="435" y="101"/>
                  <a:pt x="435" y="101"/>
                </a:cubicBezTo>
                <a:cubicBezTo>
                  <a:pt x="436" y="102"/>
                  <a:pt x="436" y="102"/>
                  <a:pt x="435" y="103"/>
                </a:cubicBezTo>
                <a:cubicBezTo>
                  <a:pt x="435" y="103"/>
                  <a:pt x="435" y="104"/>
                  <a:pt x="434" y="104"/>
                </a:cubicBezTo>
                <a:cubicBezTo>
                  <a:pt x="434" y="104"/>
                  <a:pt x="434" y="105"/>
                  <a:pt x="433" y="105"/>
                </a:cubicBezTo>
                <a:cubicBezTo>
                  <a:pt x="433" y="105"/>
                  <a:pt x="433" y="105"/>
                  <a:pt x="433" y="105"/>
                </a:cubicBezTo>
                <a:cubicBezTo>
                  <a:pt x="433" y="105"/>
                  <a:pt x="433" y="105"/>
                  <a:pt x="432" y="105"/>
                </a:cubicBezTo>
                <a:cubicBezTo>
                  <a:pt x="432" y="106"/>
                  <a:pt x="432" y="106"/>
                  <a:pt x="432" y="106"/>
                </a:cubicBezTo>
                <a:cubicBezTo>
                  <a:pt x="432" y="106"/>
                  <a:pt x="431" y="106"/>
                  <a:pt x="431" y="106"/>
                </a:cubicBezTo>
                <a:cubicBezTo>
                  <a:pt x="431" y="106"/>
                  <a:pt x="431" y="106"/>
                  <a:pt x="431" y="106"/>
                </a:cubicBezTo>
                <a:cubicBezTo>
                  <a:pt x="430" y="106"/>
                  <a:pt x="430" y="106"/>
                  <a:pt x="430" y="106"/>
                </a:cubicBezTo>
                <a:cubicBezTo>
                  <a:pt x="430" y="107"/>
                  <a:pt x="430" y="107"/>
                  <a:pt x="430" y="107"/>
                </a:cubicBezTo>
                <a:cubicBezTo>
                  <a:pt x="429" y="107"/>
                  <a:pt x="428" y="108"/>
                  <a:pt x="428" y="108"/>
                </a:cubicBezTo>
                <a:cubicBezTo>
                  <a:pt x="421" y="108"/>
                  <a:pt x="421" y="108"/>
                  <a:pt x="421" y="108"/>
                </a:cubicBezTo>
                <a:cubicBezTo>
                  <a:pt x="421" y="108"/>
                  <a:pt x="421" y="108"/>
                  <a:pt x="421" y="108"/>
                </a:cubicBezTo>
                <a:cubicBezTo>
                  <a:pt x="421" y="108"/>
                  <a:pt x="421" y="108"/>
                  <a:pt x="421" y="108"/>
                </a:cubicBezTo>
                <a:cubicBezTo>
                  <a:pt x="420" y="108"/>
                  <a:pt x="420" y="108"/>
                  <a:pt x="420" y="108"/>
                </a:cubicBezTo>
                <a:cubicBezTo>
                  <a:pt x="419" y="108"/>
                  <a:pt x="419" y="108"/>
                  <a:pt x="419" y="108"/>
                </a:cubicBezTo>
                <a:cubicBezTo>
                  <a:pt x="419" y="108"/>
                  <a:pt x="419" y="108"/>
                  <a:pt x="419" y="108"/>
                </a:cubicBezTo>
                <a:cubicBezTo>
                  <a:pt x="419" y="108"/>
                  <a:pt x="418" y="108"/>
                  <a:pt x="418" y="109"/>
                </a:cubicBezTo>
                <a:cubicBezTo>
                  <a:pt x="418" y="109"/>
                  <a:pt x="418" y="109"/>
                  <a:pt x="418" y="109"/>
                </a:cubicBezTo>
                <a:cubicBezTo>
                  <a:pt x="418" y="109"/>
                  <a:pt x="418" y="109"/>
                  <a:pt x="418" y="109"/>
                </a:cubicBezTo>
                <a:cubicBezTo>
                  <a:pt x="419" y="110"/>
                  <a:pt x="419" y="110"/>
                  <a:pt x="419" y="110"/>
                </a:cubicBezTo>
                <a:cubicBezTo>
                  <a:pt x="417" y="109"/>
                  <a:pt x="417" y="109"/>
                  <a:pt x="417" y="109"/>
                </a:cubicBezTo>
                <a:cubicBezTo>
                  <a:pt x="417" y="110"/>
                  <a:pt x="417" y="110"/>
                  <a:pt x="417" y="110"/>
                </a:cubicBezTo>
                <a:cubicBezTo>
                  <a:pt x="415" y="111"/>
                  <a:pt x="414" y="113"/>
                  <a:pt x="411" y="114"/>
                </a:cubicBezTo>
                <a:cubicBezTo>
                  <a:pt x="411" y="114"/>
                  <a:pt x="411" y="115"/>
                  <a:pt x="411" y="115"/>
                </a:cubicBezTo>
                <a:cubicBezTo>
                  <a:pt x="410" y="115"/>
                  <a:pt x="410" y="115"/>
                  <a:pt x="410" y="115"/>
                </a:cubicBezTo>
                <a:cubicBezTo>
                  <a:pt x="409" y="116"/>
                  <a:pt x="408" y="116"/>
                  <a:pt x="407" y="116"/>
                </a:cubicBezTo>
                <a:cubicBezTo>
                  <a:pt x="406" y="116"/>
                  <a:pt x="406" y="116"/>
                  <a:pt x="405" y="116"/>
                </a:cubicBezTo>
                <a:cubicBezTo>
                  <a:pt x="405" y="116"/>
                  <a:pt x="405" y="116"/>
                  <a:pt x="405" y="116"/>
                </a:cubicBezTo>
                <a:cubicBezTo>
                  <a:pt x="404" y="116"/>
                  <a:pt x="403" y="116"/>
                  <a:pt x="402" y="116"/>
                </a:cubicBezTo>
                <a:cubicBezTo>
                  <a:pt x="401" y="115"/>
                  <a:pt x="401" y="115"/>
                  <a:pt x="400" y="115"/>
                </a:cubicBezTo>
                <a:cubicBezTo>
                  <a:pt x="400" y="115"/>
                  <a:pt x="400" y="115"/>
                  <a:pt x="400" y="115"/>
                </a:cubicBezTo>
                <a:cubicBezTo>
                  <a:pt x="399" y="114"/>
                  <a:pt x="397" y="113"/>
                  <a:pt x="396" y="113"/>
                </a:cubicBezTo>
                <a:cubicBezTo>
                  <a:pt x="395" y="113"/>
                  <a:pt x="395" y="113"/>
                  <a:pt x="395" y="113"/>
                </a:cubicBezTo>
                <a:cubicBezTo>
                  <a:pt x="395" y="112"/>
                  <a:pt x="394" y="112"/>
                  <a:pt x="393" y="112"/>
                </a:cubicBezTo>
                <a:cubicBezTo>
                  <a:pt x="393" y="112"/>
                  <a:pt x="392" y="112"/>
                  <a:pt x="392" y="112"/>
                </a:cubicBezTo>
                <a:cubicBezTo>
                  <a:pt x="391" y="112"/>
                  <a:pt x="391" y="112"/>
                  <a:pt x="391" y="112"/>
                </a:cubicBezTo>
                <a:cubicBezTo>
                  <a:pt x="391" y="112"/>
                  <a:pt x="391" y="112"/>
                  <a:pt x="391" y="112"/>
                </a:cubicBezTo>
                <a:cubicBezTo>
                  <a:pt x="391" y="112"/>
                  <a:pt x="390" y="113"/>
                  <a:pt x="390" y="113"/>
                </a:cubicBezTo>
                <a:cubicBezTo>
                  <a:pt x="390" y="113"/>
                  <a:pt x="390" y="113"/>
                  <a:pt x="390" y="113"/>
                </a:cubicBezTo>
                <a:cubicBezTo>
                  <a:pt x="390" y="114"/>
                  <a:pt x="389" y="114"/>
                  <a:pt x="389" y="115"/>
                </a:cubicBezTo>
                <a:cubicBezTo>
                  <a:pt x="388" y="116"/>
                  <a:pt x="388" y="117"/>
                  <a:pt x="387" y="118"/>
                </a:cubicBezTo>
                <a:cubicBezTo>
                  <a:pt x="387" y="119"/>
                  <a:pt x="387" y="119"/>
                  <a:pt x="387" y="119"/>
                </a:cubicBezTo>
                <a:cubicBezTo>
                  <a:pt x="386" y="120"/>
                  <a:pt x="386" y="120"/>
                  <a:pt x="386" y="120"/>
                </a:cubicBezTo>
                <a:cubicBezTo>
                  <a:pt x="386" y="120"/>
                  <a:pt x="386" y="120"/>
                  <a:pt x="386" y="120"/>
                </a:cubicBezTo>
                <a:cubicBezTo>
                  <a:pt x="387" y="121"/>
                  <a:pt x="387" y="122"/>
                  <a:pt x="388" y="122"/>
                </a:cubicBezTo>
                <a:cubicBezTo>
                  <a:pt x="388" y="123"/>
                  <a:pt x="388" y="123"/>
                  <a:pt x="388" y="123"/>
                </a:cubicBezTo>
                <a:cubicBezTo>
                  <a:pt x="389" y="123"/>
                  <a:pt x="389" y="123"/>
                  <a:pt x="389" y="124"/>
                </a:cubicBezTo>
                <a:cubicBezTo>
                  <a:pt x="390" y="124"/>
                  <a:pt x="390" y="124"/>
                  <a:pt x="391" y="125"/>
                </a:cubicBezTo>
                <a:cubicBezTo>
                  <a:pt x="391" y="126"/>
                  <a:pt x="391" y="126"/>
                  <a:pt x="391" y="126"/>
                </a:cubicBezTo>
                <a:cubicBezTo>
                  <a:pt x="392" y="127"/>
                  <a:pt x="391" y="129"/>
                  <a:pt x="390" y="130"/>
                </a:cubicBezTo>
                <a:cubicBezTo>
                  <a:pt x="389" y="130"/>
                  <a:pt x="387" y="131"/>
                  <a:pt x="385" y="132"/>
                </a:cubicBezTo>
                <a:cubicBezTo>
                  <a:pt x="385" y="133"/>
                  <a:pt x="385" y="133"/>
                  <a:pt x="385" y="133"/>
                </a:cubicBezTo>
                <a:cubicBezTo>
                  <a:pt x="383" y="133"/>
                  <a:pt x="382" y="134"/>
                  <a:pt x="381" y="134"/>
                </a:cubicBezTo>
                <a:cubicBezTo>
                  <a:pt x="380" y="135"/>
                  <a:pt x="379" y="136"/>
                  <a:pt x="379" y="137"/>
                </a:cubicBezTo>
                <a:cubicBezTo>
                  <a:pt x="379" y="137"/>
                  <a:pt x="379" y="137"/>
                  <a:pt x="379" y="137"/>
                </a:cubicBezTo>
                <a:cubicBezTo>
                  <a:pt x="378" y="138"/>
                  <a:pt x="378" y="139"/>
                  <a:pt x="377" y="139"/>
                </a:cubicBezTo>
                <a:cubicBezTo>
                  <a:pt x="376" y="140"/>
                  <a:pt x="375" y="141"/>
                  <a:pt x="375" y="141"/>
                </a:cubicBezTo>
                <a:cubicBezTo>
                  <a:pt x="374" y="141"/>
                  <a:pt x="373" y="142"/>
                  <a:pt x="372" y="142"/>
                </a:cubicBezTo>
                <a:cubicBezTo>
                  <a:pt x="370" y="143"/>
                  <a:pt x="370" y="143"/>
                  <a:pt x="370" y="143"/>
                </a:cubicBezTo>
                <a:cubicBezTo>
                  <a:pt x="369" y="144"/>
                  <a:pt x="369" y="144"/>
                  <a:pt x="369" y="144"/>
                </a:cubicBezTo>
                <a:cubicBezTo>
                  <a:pt x="368" y="144"/>
                  <a:pt x="367" y="144"/>
                  <a:pt x="366" y="145"/>
                </a:cubicBezTo>
                <a:cubicBezTo>
                  <a:pt x="365" y="145"/>
                  <a:pt x="363" y="145"/>
                  <a:pt x="362" y="145"/>
                </a:cubicBezTo>
                <a:cubicBezTo>
                  <a:pt x="361" y="145"/>
                  <a:pt x="361" y="145"/>
                  <a:pt x="360" y="145"/>
                </a:cubicBezTo>
                <a:cubicBezTo>
                  <a:pt x="360" y="145"/>
                  <a:pt x="360" y="145"/>
                  <a:pt x="360" y="145"/>
                </a:cubicBezTo>
                <a:cubicBezTo>
                  <a:pt x="359" y="145"/>
                  <a:pt x="359" y="145"/>
                  <a:pt x="358" y="145"/>
                </a:cubicBezTo>
                <a:cubicBezTo>
                  <a:pt x="358" y="145"/>
                  <a:pt x="358" y="145"/>
                  <a:pt x="358" y="145"/>
                </a:cubicBezTo>
                <a:cubicBezTo>
                  <a:pt x="357" y="145"/>
                  <a:pt x="357" y="145"/>
                  <a:pt x="357" y="145"/>
                </a:cubicBezTo>
                <a:cubicBezTo>
                  <a:pt x="354" y="145"/>
                  <a:pt x="354" y="145"/>
                  <a:pt x="354" y="145"/>
                </a:cubicBezTo>
                <a:cubicBezTo>
                  <a:pt x="353" y="145"/>
                  <a:pt x="352" y="145"/>
                  <a:pt x="350" y="145"/>
                </a:cubicBezTo>
                <a:cubicBezTo>
                  <a:pt x="348" y="146"/>
                  <a:pt x="348" y="146"/>
                  <a:pt x="348" y="146"/>
                </a:cubicBezTo>
                <a:cubicBezTo>
                  <a:pt x="347" y="146"/>
                  <a:pt x="346" y="146"/>
                  <a:pt x="345" y="146"/>
                </a:cubicBezTo>
                <a:cubicBezTo>
                  <a:pt x="344" y="146"/>
                  <a:pt x="344" y="146"/>
                  <a:pt x="344" y="146"/>
                </a:cubicBezTo>
                <a:cubicBezTo>
                  <a:pt x="342" y="146"/>
                  <a:pt x="340" y="147"/>
                  <a:pt x="338" y="147"/>
                </a:cubicBezTo>
                <a:cubicBezTo>
                  <a:pt x="338" y="147"/>
                  <a:pt x="337" y="147"/>
                  <a:pt x="337" y="147"/>
                </a:cubicBezTo>
                <a:cubicBezTo>
                  <a:pt x="337" y="147"/>
                  <a:pt x="337" y="147"/>
                  <a:pt x="337" y="147"/>
                </a:cubicBezTo>
                <a:cubicBezTo>
                  <a:pt x="338" y="149"/>
                  <a:pt x="338" y="149"/>
                  <a:pt x="338" y="149"/>
                </a:cubicBezTo>
                <a:cubicBezTo>
                  <a:pt x="337" y="147"/>
                  <a:pt x="337" y="147"/>
                  <a:pt x="337" y="147"/>
                </a:cubicBezTo>
                <a:cubicBezTo>
                  <a:pt x="336" y="147"/>
                  <a:pt x="336" y="147"/>
                  <a:pt x="336" y="147"/>
                </a:cubicBezTo>
                <a:cubicBezTo>
                  <a:pt x="336" y="147"/>
                  <a:pt x="336" y="147"/>
                  <a:pt x="336" y="147"/>
                </a:cubicBezTo>
                <a:cubicBezTo>
                  <a:pt x="335" y="148"/>
                  <a:pt x="333" y="149"/>
                  <a:pt x="331" y="150"/>
                </a:cubicBezTo>
                <a:cubicBezTo>
                  <a:pt x="330" y="150"/>
                  <a:pt x="330" y="150"/>
                  <a:pt x="330" y="150"/>
                </a:cubicBezTo>
                <a:cubicBezTo>
                  <a:pt x="329" y="151"/>
                  <a:pt x="328" y="151"/>
                  <a:pt x="328" y="151"/>
                </a:cubicBezTo>
                <a:cubicBezTo>
                  <a:pt x="326" y="152"/>
                  <a:pt x="324" y="152"/>
                  <a:pt x="323" y="153"/>
                </a:cubicBezTo>
                <a:cubicBezTo>
                  <a:pt x="323" y="153"/>
                  <a:pt x="323" y="153"/>
                  <a:pt x="323" y="153"/>
                </a:cubicBezTo>
                <a:cubicBezTo>
                  <a:pt x="322" y="154"/>
                  <a:pt x="321" y="154"/>
                  <a:pt x="321" y="155"/>
                </a:cubicBezTo>
                <a:cubicBezTo>
                  <a:pt x="321" y="155"/>
                  <a:pt x="321" y="155"/>
                  <a:pt x="321" y="155"/>
                </a:cubicBezTo>
                <a:cubicBezTo>
                  <a:pt x="320" y="155"/>
                  <a:pt x="319" y="156"/>
                  <a:pt x="319" y="156"/>
                </a:cubicBezTo>
                <a:cubicBezTo>
                  <a:pt x="319" y="156"/>
                  <a:pt x="319" y="156"/>
                  <a:pt x="319" y="156"/>
                </a:cubicBezTo>
                <a:cubicBezTo>
                  <a:pt x="318" y="155"/>
                  <a:pt x="317" y="155"/>
                  <a:pt x="316" y="155"/>
                </a:cubicBezTo>
                <a:cubicBezTo>
                  <a:pt x="316" y="155"/>
                  <a:pt x="315" y="155"/>
                  <a:pt x="315" y="155"/>
                </a:cubicBezTo>
                <a:cubicBezTo>
                  <a:pt x="315" y="155"/>
                  <a:pt x="315" y="155"/>
                  <a:pt x="314" y="155"/>
                </a:cubicBezTo>
                <a:cubicBezTo>
                  <a:pt x="314" y="155"/>
                  <a:pt x="314" y="155"/>
                  <a:pt x="314" y="154"/>
                </a:cubicBezTo>
                <a:cubicBezTo>
                  <a:pt x="313" y="156"/>
                  <a:pt x="313" y="156"/>
                  <a:pt x="313" y="156"/>
                </a:cubicBezTo>
                <a:cubicBezTo>
                  <a:pt x="314" y="154"/>
                  <a:pt x="314" y="154"/>
                  <a:pt x="314" y="154"/>
                </a:cubicBezTo>
                <a:cubicBezTo>
                  <a:pt x="314" y="154"/>
                  <a:pt x="313" y="154"/>
                  <a:pt x="313" y="154"/>
                </a:cubicBezTo>
                <a:cubicBezTo>
                  <a:pt x="313" y="154"/>
                  <a:pt x="313" y="153"/>
                  <a:pt x="313" y="153"/>
                </a:cubicBezTo>
                <a:cubicBezTo>
                  <a:pt x="311" y="154"/>
                  <a:pt x="311" y="154"/>
                  <a:pt x="311" y="154"/>
                </a:cubicBezTo>
                <a:cubicBezTo>
                  <a:pt x="313" y="153"/>
                  <a:pt x="313" y="153"/>
                  <a:pt x="313" y="153"/>
                </a:cubicBezTo>
                <a:cubicBezTo>
                  <a:pt x="313" y="152"/>
                  <a:pt x="313" y="152"/>
                  <a:pt x="313" y="152"/>
                </a:cubicBezTo>
                <a:cubicBezTo>
                  <a:pt x="313" y="152"/>
                  <a:pt x="312" y="152"/>
                  <a:pt x="312" y="152"/>
                </a:cubicBezTo>
                <a:cubicBezTo>
                  <a:pt x="312" y="152"/>
                  <a:pt x="311" y="153"/>
                  <a:pt x="310" y="153"/>
                </a:cubicBezTo>
                <a:cubicBezTo>
                  <a:pt x="310" y="153"/>
                  <a:pt x="310" y="153"/>
                  <a:pt x="310" y="153"/>
                </a:cubicBezTo>
                <a:cubicBezTo>
                  <a:pt x="310" y="153"/>
                  <a:pt x="309" y="153"/>
                  <a:pt x="309" y="153"/>
                </a:cubicBezTo>
                <a:cubicBezTo>
                  <a:pt x="308" y="153"/>
                  <a:pt x="307" y="153"/>
                  <a:pt x="306" y="153"/>
                </a:cubicBezTo>
                <a:cubicBezTo>
                  <a:pt x="304" y="153"/>
                  <a:pt x="303" y="152"/>
                  <a:pt x="302" y="152"/>
                </a:cubicBezTo>
                <a:cubicBezTo>
                  <a:pt x="300" y="151"/>
                  <a:pt x="299" y="151"/>
                  <a:pt x="298" y="150"/>
                </a:cubicBezTo>
                <a:cubicBezTo>
                  <a:pt x="297" y="150"/>
                  <a:pt x="295" y="150"/>
                  <a:pt x="293" y="149"/>
                </a:cubicBezTo>
                <a:cubicBezTo>
                  <a:pt x="288" y="148"/>
                  <a:pt x="288" y="148"/>
                  <a:pt x="288" y="148"/>
                </a:cubicBezTo>
                <a:cubicBezTo>
                  <a:pt x="288" y="148"/>
                  <a:pt x="288" y="148"/>
                  <a:pt x="288" y="148"/>
                </a:cubicBezTo>
                <a:cubicBezTo>
                  <a:pt x="288" y="148"/>
                  <a:pt x="288" y="148"/>
                  <a:pt x="288" y="148"/>
                </a:cubicBezTo>
                <a:cubicBezTo>
                  <a:pt x="287" y="147"/>
                  <a:pt x="287" y="147"/>
                  <a:pt x="287" y="147"/>
                </a:cubicBezTo>
                <a:cubicBezTo>
                  <a:pt x="287" y="146"/>
                  <a:pt x="286" y="146"/>
                  <a:pt x="286" y="145"/>
                </a:cubicBezTo>
                <a:cubicBezTo>
                  <a:pt x="286" y="145"/>
                  <a:pt x="286" y="145"/>
                  <a:pt x="286" y="145"/>
                </a:cubicBezTo>
                <a:cubicBezTo>
                  <a:pt x="286" y="145"/>
                  <a:pt x="285" y="145"/>
                  <a:pt x="284" y="145"/>
                </a:cubicBezTo>
                <a:cubicBezTo>
                  <a:pt x="284" y="145"/>
                  <a:pt x="284" y="145"/>
                  <a:pt x="283" y="145"/>
                </a:cubicBezTo>
                <a:cubicBezTo>
                  <a:pt x="269" y="142"/>
                  <a:pt x="269" y="142"/>
                  <a:pt x="269" y="142"/>
                </a:cubicBezTo>
                <a:cubicBezTo>
                  <a:pt x="269" y="142"/>
                  <a:pt x="269" y="142"/>
                  <a:pt x="269" y="142"/>
                </a:cubicBezTo>
                <a:cubicBezTo>
                  <a:pt x="268" y="142"/>
                  <a:pt x="268" y="142"/>
                  <a:pt x="268" y="142"/>
                </a:cubicBezTo>
                <a:cubicBezTo>
                  <a:pt x="268" y="142"/>
                  <a:pt x="267" y="142"/>
                  <a:pt x="267" y="143"/>
                </a:cubicBezTo>
                <a:cubicBezTo>
                  <a:pt x="267" y="143"/>
                  <a:pt x="267" y="143"/>
                  <a:pt x="267" y="143"/>
                </a:cubicBezTo>
                <a:cubicBezTo>
                  <a:pt x="266" y="143"/>
                  <a:pt x="266" y="143"/>
                  <a:pt x="265" y="143"/>
                </a:cubicBezTo>
                <a:cubicBezTo>
                  <a:pt x="265" y="143"/>
                  <a:pt x="265" y="143"/>
                  <a:pt x="265" y="143"/>
                </a:cubicBezTo>
                <a:cubicBezTo>
                  <a:pt x="265" y="143"/>
                  <a:pt x="264" y="143"/>
                  <a:pt x="264" y="143"/>
                </a:cubicBezTo>
                <a:cubicBezTo>
                  <a:pt x="264" y="143"/>
                  <a:pt x="264" y="143"/>
                  <a:pt x="264" y="143"/>
                </a:cubicBezTo>
                <a:cubicBezTo>
                  <a:pt x="259" y="143"/>
                  <a:pt x="255" y="143"/>
                  <a:pt x="251" y="143"/>
                </a:cubicBezTo>
                <a:cubicBezTo>
                  <a:pt x="250" y="143"/>
                  <a:pt x="250" y="143"/>
                  <a:pt x="249" y="142"/>
                </a:cubicBezTo>
                <a:cubicBezTo>
                  <a:pt x="247" y="142"/>
                  <a:pt x="247" y="142"/>
                  <a:pt x="247" y="142"/>
                </a:cubicBezTo>
                <a:cubicBezTo>
                  <a:pt x="247" y="142"/>
                  <a:pt x="246" y="142"/>
                  <a:pt x="246" y="142"/>
                </a:cubicBezTo>
                <a:cubicBezTo>
                  <a:pt x="244" y="142"/>
                  <a:pt x="244" y="142"/>
                  <a:pt x="244" y="142"/>
                </a:cubicBezTo>
                <a:cubicBezTo>
                  <a:pt x="242" y="141"/>
                  <a:pt x="240" y="141"/>
                  <a:pt x="238" y="141"/>
                </a:cubicBezTo>
                <a:cubicBezTo>
                  <a:pt x="237" y="141"/>
                  <a:pt x="236" y="141"/>
                  <a:pt x="235" y="141"/>
                </a:cubicBezTo>
                <a:cubicBezTo>
                  <a:pt x="230" y="142"/>
                  <a:pt x="230" y="142"/>
                  <a:pt x="230" y="142"/>
                </a:cubicBezTo>
                <a:cubicBezTo>
                  <a:pt x="230" y="140"/>
                  <a:pt x="230" y="140"/>
                  <a:pt x="230" y="140"/>
                </a:cubicBezTo>
                <a:cubicBezTo>
                  <a:pt x="230" y="140"/>
                  <a:pt x="230" y="140"/>
                  <a:pt x="230" y="140"/>
                </a:cubicBezTo>
                <a:cubicBezTo>
                  <a:pt x="230" y="140"/>
                  <a:pt x="230" y="140"/>
                  <a:pt x="230" y="140"/>
                </a:cubicBezTo>
                <a:cubicBezTo>
                  <a:pt x="230" y="140"/>
                  <a:pt x="230" y="140"/>
                  <a:pt x="230" y="140"/>
                </a:cubicBezTo>
                <a:cubicBezTo>
                  <a:pt x="230" y="140"/>
                  <a:pt x="230" y="140"/>
                  <a:pt x="230" y="140"/>
                </a:cubicBezTo>
                <a:cubicBezTo>
                  <a:pt x="230" y="139"/>
                  <a:pt x="230" y="139"/>
                  <a:pt x="229" y="139"/>
                </a:cubicBezTo>
                <a:cubicBezTo>
                  <a:pt x="229" y="139"/>
                  <a:pt x="229" y="139"/>
                  <a:pt x="229" y="139"/>
                </a:cubicBezTo>
                <a:cubicBezTo>
                  <a:pt x="229" y="139"/>
                  <a:pt x="229" y="139"/>
                  <a:pt x="229" y="139"/>
                </a:cubicBezTo>
                <a:cubicBezTo>
                  <a:pt x="229" y="138"/>
                  <a:pt x="229" y="138"/>
                  <a:pt x="228" y="138"/>
                </a:cubicBezTo>
                <a:cubicBezTo>
                  <a:pt x="228" y="138"/>
                  <a:pt x="228" y="138"/>
                  <a:pt x="228" y="138"/>
                </a:cubicBezTo>
                <a:cubicBezTo>
                  <a:pt x="227" y="136"/>
                  <a:pt x="226" y="135"/>
                  <a:pt x="225" y="133"/>
                </a:cubicBezTo>
                <a:cubicBezTo>
                  <a:pt x="223" y="128"/>
                  <a:pt x="223" y="128"/>
                  <a:pt x="223" y="128"/>
                </a:cubicBezTo>
                <a:cubicBezTo>
                  <a:pt x="223" y="128"/>
                  <a:pt x="222" y="127"/>
                  <a:pt x="222" y="127"/>
                </a:cubicBezTo>
                <a:cubicBezTo>
                  <a:pt x="222" y="126"/>
                  <a:pt x="222" y="126"/>
                  <a:pt x="222" y="126"/>
                </a:cubicBezTo>
                <a:cubicBezTo>
                  <a:pt x="222" y="126"/>
                  <a:pt x="222" y="126"/>
                  <a:pt x="222" y="126"/>
                </a:cubicBezTo>
                <a:cubicBezTo>
                  <a:pt x="222" y="126"/>
                  <a:pt x="222" y="126"/>
                  <a:pt x="222" y="126"/>
                </a:cubicBezTo>
                <a:cubicBezTo>
                  <a:pt x="222" y="126"/>
                  <a:pt x="222" y="126"/>
                  <a:pt x="222" y="126"/>
                </a:cubicBezTo>
                <a:cubicBezTo>
                  <a:pt x="222" y="126"/>
                  <a:pt x="222" y="126"/>
                  <a:pt x="222" y="126"/>
                </a:cubicBezTo>
                <a:cubicBezTo>
                  <a:pt x="221" y="126"/>
                  <a:pt x="221" y="126"/>
                  <a:pt x="221" y="126"/>
                </a:cubicBezTo>
                <a:cubicBezTo>
                  <a:pt x="221" y="126"/>
                  <a:pt x="221" y="126"/>
                  <a:pt x="221" y="126"/>
                </a:cubicBezTo>
                <a:cubicBezTo>
                  <a:pt x="221" y="126"/>
                  <a:pt x="221" y="126"/>
                  <a:pt x="221" y="126"/>
                </a:cubicBezTo>
                <a:cubicBezTo>
                  <a:pt x="220" y="125"/>
                  <a:pt x="220" y="125"/>
                  <a:pt x="220" y="124"/>
                </a:cubicBezTo>
                <a:cubicBezTo>
                  <a:pt x="220" y="124"/>
                  <a:pt x="220" y="124"/>
                  <a:pt x="220" y="124"/>
                </a:cubicBezTo>
                <a:cubicBezTo>
                  <a:pt x="220" y="123"/>
                  <a:pt x="220" y="123"/>
                  <a:pt x="220" y="122"/>
                </a:cubicBezTo>
                <a:cubicBezTo>
                  <a:pt x="219" y="123"/>
                  <a:pt x="217" y="123"/>
                  <a:pt x="216" y="122"/>
                </a:cubicBezTo>
                <a:cubicBezTo>
                  <a:pt x="214" y="121"/>
                  <a:pt x="212" y="120"/>
                  <a:pt x="211" y="119"/>
                </a:cubicBezTo>
                <a:cubicBezTo>
                  <a:pt x="210" y="119"/>
                  <a:pt x="210" y="119"/>
                  <a:pt x="210" y="119"/>
                </a:cubicBezTo>
                <a:cubicBezTo>
                  <a:pt x="210" y="119"/>
                  <a:pt x="210" y="118"/>
                  <a:pt x="209" y="118"/>
                </a:cubicBezTo>
                <a:cubicBezTo>
                  <a:pt x="202" y="114"/>
                  <a:pt x="202" y="114"/>
                  <a:pt x="202" y="114"/>
                </a:cubicBezTo>
                <a:cubicBezTo>
                  <a:pt x="202" y="114"/>
                  <a:pt x="201" y="114"/>
                  <a:pt x="200" y="114"/>
                </a:cubicBezTo>
                <a:cubicBezTo>
                  <a:pt x="200" y="113"/>
                  <a:pt x="200" y="113"/>
                  <a:pt x="200" y="113"/>
                </a:cubicBezTo>
                <a:cubicBezTo>
                  <a:pt x="199" y="113"/>
                  <a:pt x="199" y="113"/>
                  <a:pt x="198" y="113"/>
                </a:cubicBezTo>
                <a:cubicBezTo>
                  <a:pt x="195" y="113"/>
                  <a:pt x="191" y="113"/>
                  <a:pt x="187" y="112"/>
                </a:cubicBezTo>
                <a:cubicBezTo>
                  <a:pt x="186" y="112"/>
                  <a:pt x="186" y="112"/>
                  <a:pt x="186" y="112"/>
                </a:cubicBezTo>
                <a:cubicBezTo>
                  <a:pt x="184" y="112"/>
                  <a:pt x="182" y="112"/>
                  <a:pt x="181" y="112"/>
                </a:cubicBezTo>
                <a:cubicBezTo>
                  <a:pt x="179" y="112"/>
                  <a:pt x="178" y="111"/>
                  <a:pt x="176" y="111"/>
                </a:cubicBezTo>
                <a:cubicBezTo>
                  <a:pt x="176" y="111"/>
                  <a:pt x="176" y="111"/>
                  <a:pt x="176" y="111"/>
                </a:cubicBezTo>
                <a:cubicBezTo>
                  <a:pt x="176" y="111"/>
                  <a:pt x="176" y="111"/>
                  <a:pt x="176" y="111"/>
                </a:cubicBezTo>
                <a:cubicBezTo>
                  <a:pt x="175" y="111"/>
                  <a:pt x="174" y="110"/>
                  <a:pt x="174" y="110"/>
                </a:cubicBezTo>
                <a:cubicBezTo>
                  <a:pt x="174" y="109"/>
                  <a:pt x="173" y="108"/>
                  <a:pt x="172" y="107"/>
                </a:cubicBezTo>
                <a:cubicBezTo>
                  <a:pt x="172" y="105"/>
                  <a:pt x="172" y="104"/>
                  <a:pt x="173" y="103"/>
                </a:cubicBezTo>
                <a:cubicBezTo>
                  <a:pt x="173" y="103"/>
                  <a:pt x="173" y="103"/>
                  <a:pt x="173" y="103"/>
                </a:cubicBezTo>
                <a:cubicBezTo>
                  <a:pt x="173" y="102"/>
                  <a:pt x="174" y="102"/>
                  <a:pt x="174" y="102"/>
                </a:cubicBezTo>
                <a:cubicBezTo>
                  <a:pt x="174" y="102"/>
                  <a:pt x="174" y="102"/>
                  <a:pt x="174" y="101"/>
                </a:cubicBezTo>
                <a:cubicBezTo>
                  <a:pt x="174" y="101"/>
                  <a:pt x="174" y="101"/>
                  <a:pt x="174" y="101"/>
                </a:cubicBezTo>
                <a:cubicBezTo>
                  <a:pt x="174" y="101"/>
                  <a:pt x="175" y="100"/>
                  <a:pt x="175" y="100"/>
                </a:cubicBezTo>
                <a:cubicBezTo>
                  <a:pt x="175" y="100"/>
                  <a:pt x="175" y="100"/>
                  <a:pt x="175" y="100"/>
                </a:cubicBezTo>
                <a:cubicBezTo>
                  <a:pt x="175" y="99"/>
                  <a:pt x="175" y="99"/>
                  <a:pt x="175" y="99"/>
                </a:cubicBezTo>
                <a:cubicBezTo>
                  <a:pt x="175" y="99"/>
                  <a:pt x="175" y="98"/>
                  <a:pt x="175" y="98"/>
                </a:cubicBezTo>
                <a:cubicBezTo>
                  <a:pt x="175" y="98"/>
                  <a:pt x="175" y="98"/>
                  <a:pt x="175" y="98"/>
                </a:cubicBezTo>
                <a:cubicBezTo>
                  <a:pt x="175" y="98"/>
                  <a:pt x="175" y="98"/>
                  <a:pt x="175" y="98"/>
                </a:cubicBezTo>
                <a:cubicBezTo>
                  <a:pt x="175" y="96"/>
                  <a:pt x="175" y="95"/>
                  <a:pt x="175" y="93"/>
                </a:cubicBezTo>
                <a:cubicBezTo>
                  <a:pt x="175" y="92"/>
                  <a:pt x="175" y="92"/>
                  <a:pt x="175" y="92"/>
                </a:cubicBezTo>
                <a:cubicBezTo>
                  <a:pt x="176" y="92"/>
                  <a:pt x="176" y="91"/>
                  <a:pt x="175" y="91"/>
                </a:cubicBezTo>
                <a:cubicBezTo>
                  <a:pt x="175" y="90"/>
                  <a:pt x="175" y="90"/>
                  <a:pt x="175" y="90"/>
                </a:cubicBezTo>
                <a:cubicBezTo>
                  <a:pt x="174" y="89"/>
                  <a:pt x="174" y="88"/>
                  <a:pt x="173" y="87"/>
                </a:cubicBezTo>
                <a:cubicBezTo>
                  <a:pt x="172" y="85"/>
                  <a:pt x="172" y="85"/>
                  <a:pt x="172" y="85"/>
                </a:cubicBezTo>
                <a:cubicBezTo>
                  <a:pt x="171" y="84"/>
                  <a:pt x="170" y="83"/>
                  <a:pt x="170" y="82"/>
                </a:cubicBezTo>
                <a:cubicBezTo>
                  <a:pt x="170" y="82"/>
                  <a:pt x="170" y="82"/>
                  <a:pt x="170" y="81"/>
                </a:cubicBezTo>
                <a:cubicBezTo>
                  <a:pt x="170" y="81"/>
                  <a:pt x="170" y="81"/>
                  <a:pt x="170" y="81"/>
                </a:cubicBezTo>
                <a:cubicBezTo>
                  <a:pt x="169" y="80"/>
                  <a:pt x="169" y="79"/>
                  <a:pt x="169" y="79"/>
                </a:cubicBezTo>
                <a:cubicBezTo>
                  <a:pt x="168" y="79"/>
                  <a:pt x="168" y="78"/>
                  <a:pt x="168" y="78"/>
                </a:cubicBezTo>
                <a:cubicBezTo>
                  <a:pt x="167" y="77"/>
                  <a:pt x="167" y="77"/>
                  <a:pt x="166" y="77"/>
                </a:cubicBezTo>
                <a:cubicBezTo>
                  <a:pt x="166" y="77"/>
                  <a:pt x="166" y="77"/>
                  <a:pt x="166" y="77"/>
                </a:cubicBezTo>
                <a:cubicBezTo>
                  <a:pt x="166" y="77"/>
                  <a:pt x="166" y="77"/>
                  <a:pt x="165" y="77"/>
                </a:cubicBezTo>
                <a:cubicBezTo>
                  <a:pt x="164" y="77"/>
                  <a:pt x="163" y="76"/>
                  <a:pt x="161" y="75"/>
                </a:cubicBezTo>
                <a:cubicBezTo>
                  <a:pt x="161" y="75"/>
                  <a:pt x="161" y="75"/>
                  <a:pt x="161" y="75"/>
                </a:cubicBezTo>
                <a:cubicBezTo>
                  <a:pt x="161" y="75"/>
                  <a:pt x="160" y="75"/>
                  <a:pt x="160" y="75"/>
                </a:cubicBezTo>
                <a:cubicBezTo>
                  <a:pt x="159" y="75"/>
                  <a:pt x="159" y="75"/>
                  <a:pt x="158" y="75"/>
                </a:cubicBezTo>
                <a:cubicBezTo>
                  <a:pt x="158" y="75"/>
                  <a:pt x="158" y="75"/>
                  <a:pt x="158" y="75"/>
                </a:cubicBezTo>
                <a:cubicBezTo>
                  <a:pt x="157" y="75"/>
                  <a:pt x="157" y="75"/>
                  <a:pt x="156" y="75"/>
                </a:cubicBezTo>
                <a:cubicBezTo>
                  <a:pt x="156" y="75"/>
                  <a:pt x="156" y="75"/>
                  <a:pt x="155" y="74"/>
                </a:cubicBezTo>
                <a:cubicBezTo>
                  <a:pt x="155" y="74"/>
                  <a:pt x="155" y="74"/>
                  <a:pt x="155" y="74"/>
                </a:cubicBezTo>
                <a:cubicBezTo>
                  <a:pt x="155" y="74"/>
                  <a:pt x="155" y="74"/>
                  <a:pt x="155" y="74"/>
                </a:cubicBezTo>
                <a:cubicBezTo>
                  <a:pt x="153" y="73"/>
                  <a:pt x="152" y="72"/>
                  <a:pt x="151" y="70"/>
                </a:cubicBezTo>
                <a:cubicBezTo>
                  <a:pt x="151" y="70"/>
                  <a:pt x="150" y="69"/>
                  <a:pt x="149" y="69"/>
                </a:cubicBezTo>
                <a:cubicBezTo>
                  <a:pt x="148" y="68"/>
                  <a:pt x="148" y="68"/>
                  <a:pt x="148" y="68"/>
                </a:cubicBezTo>
                <a:cubicBezTo>
                  <a:pt x="147" y="68"/>
                  <a:pt x="147" y="68"/>
                  <a:pt x="147" y="68"/>
                </a:cubicBezTo>
                <a:cubicBezTo>
                  <a:pt x="147" y="68"/>
                  <a:pt x="146" y="68"/>
                  <a:pt x="146" y="68"/>
                </a:cubicBezTo>
                <a:cubicBezTo>
                  <a:pt x="146" y="68"/>
                  <a:pt x="146" y="68"/>
                  <a:pt x="146" y="68"/>
                </a:cubicBezTo>
                <a:cubicBezTo>
                  <a:pt x="145" y="68"/>
                  <a:pt x="145" y="67"/>
                  <a:pt x="145" y="67"/>
                </a:cubicBezTo>
                <a:cubicBezTo>
                  <a:pt x="144" y="66"/>
                  <a:pt x="144" y="65"/>
                  <a:pt x="145" y="65"/>
                </a:cubicBezTo>
                <a:cubicBezTo>
                  <a:pt x="145" y="65"/>
                  <a:pt x="145" y="65"/>
                  <a:pt x="145" y="65"/>
                </a:cubicBezTo>
                <a:cubicBezTo>
                  <a:pt x="144" y="65"/>
                  <a:pt x="144" y="65"/>
                  <a:pt x="143" y="64"/>
                </a:cubicBezTo>
                <a:cubicBezTo>
                  <a:pt x="143" y="64"/>
                  <a:pt x="143" y="64"/>
                  <a:pt x="142" y="63"/>
                </a:cubicBezTo>
                <a:cubicBezTo>
                  <a:pt x="142" y="62"/>
                  <a:pt x="142" y="62"/>
                  <a:pt x="142" y="61"/>
                </a:cubicBezTo>
                <a:cubicBezTo>
                  <a:pt x="139" y="60"/>
                  <a:pt x="139" y="60"/>
                  <a:pt x="139" y="60"/>
                </a:cubicBezTo>
                <a:cubicBezTo>
                  <a:pt x="139" y="60"/>
                  <a:pt x="139" y="60"/>
                  <a:pt x="139" y="60"/>
                </a:cubicBezTo>
                <a:cubicBezTo>
                  <a:pt x="138" y="60"/>
                  <a:pt x="138" y="60"/>
                  <a:pt x="138" y="60"/>
                </a:cubicBezTo>
                <a:cubicBezTo>
                  <a:pt x="138" y="60"/>
                  <a:pt x="138" y="60"/>
                  <a:pt x="138" y="60"/>
                </a:cubicBezTo>
                <a:cubicBezTo>
                  <a:pt x="138" y="60"/>
                  <a:pt x="138" y="60"/>
                  <a:pt x="138" y="60"/>
                </a:cubicBezTo>
                <a:cubicBezTo>
                  <a:pt x="137" y="60"/>
                  <a:pt x="137" y="60"/>
                  <a:pt x="137" y="60"/>
                </a:cubicBezTo>
                <a:cubicBezTo>
                  <a:pt x="136" y="60"/>
                  <a:pt x="136" y="60"/>
                  <a:pt x="136" y="60"/>
                </a:cubicBezTo>
                <a:cubicBezTo>
                  <a:pt x="136" y="60"/>
                  <a:pt x="136" y="60"/>
                  <a:pt x="136" y="60"/>
                </a:cubicBezTo>
                <a:cubicBezTo>
                  <a:pt x="136" y="60"/>
                  <a:pt x="136" y="60"/>
                  <a:pt x="136" y="60"/>
                </a:cubicBezTo>
                <a:cubicBezTo>
                  <a:pt x="135" y="60"/>
                  <a:pt x="135" y="60"/>
                  <a:pt x="135" y="60"/>
                </a:cubicBezTo>
                <a:cubicBezTo>
                  <a:pt x="135" y="60"/>
                  <a:pt x="135" y="60"/>
                  <a:pt x="135" y="60"/>
                </a:cubicBezTo>
                <a:cubicBezTo>
                  <a:pt x="135" y="60"/>
                  <a:pt x="135" y="61"/>
                  <a:pt x="135" y="61"/>
                </a:cubicBezTo>
                <a:cubicBezTo>
                  <a:pt x="135" y="61"/>
                  <a:pt x="135" y="62"/>
                  <a:pt x="135" y="62"/>
                </a:cubicBezTo>
                <a:cubicBezTo>
                  <a:pt x="135" y="62"/>
                  <a:pt x="135" y="62"/>
                  <a:pt x="135" y="63"/>
                </a:cubicBezTo>
                <a:cubicBezTo>
                  <a:pt x="135" y="64"/>
                  <a:pt x="135" y="64"/>
                  <a:pt x="135" y="64"/>
                </a:cubicBezTo>
                <a:cubicBezTo>
                  <a:pt x="135" y="64"/>
                  <a:pt x="135" y="64"/>
                  <a:pt x="135" y="64"/>
                </a:cubicBezTo>
                <a:cubicBezTo>
                  <a:pt x="135" y="64"/>
                  <a:pt x="135" y="64"/>
                  <a:pt x="135" y="64"/>
                </a:cubicBezTo>
                <a:cubicBezTo>
                  <a:pt x="135" y="64"/>
                  <a:pt x="135" y="64"/>
                  <a:pt x="135" y="64"/>
                </a:cubicBezTo>
                <a:cubicBezTo>
                  <a:pt x="134" y="65"/>
                  <a:pt x="134" y="65"/>
                  <a:pt x="134" y="65"/>
                </a:cubicBezTo>
                <a:cubicBezTo>
                  <a:pt x="134" y="65"/>
                  <a:pt x="133" y="67"/>
                  <a:pt x="131" y="68"/>
                </a:cubicBezTo>
                <a:cubicBezTo>
                  <a:pt x="129" y="69"/>
                  <a:pt x="128" y="69"/>
                  <a:pt x="126" y="69"/>
                </a:cubicBezTo>
                <a:cubicBezTo>
                  <a:pt x="126" y="69"/>
                  <a:pt x="126" y="69"/>
                  <a:pt x="125" y="69"/>
                </a:cubicBezTo>
                <a:cubicBezTo>
                  <a:pt x="125" y="69"/>
                  <a:pt x="124" y="69"/>
                  <a:pt x="124" y="69"/>
                </a:cubicBezTo>
                <a:cubicBezTo>
                  <a:pt x="124" y="70"/>
                  <a:pt x="122" y="73"/>
                  <a:pt x="122" y="74"/>
                </a:cubicBezTo>
                <a:cubicBezTo>
                  <a:pt x="122" y="75"/>
                  <a:pt x="123" y="76"/>
                  <a:pt x="123" y="77"/>
                </a:cubicBezTo>
                <a:cubicBezTo>
                  <a:pt x="123" y="77"/>
                  <a:pt x="123" y="77"/>
                  <a:pt x="123" y="77"/>
                </a:cubicBezTo>
                <a:cubicBezTo>
                  <a:pt x="123" y="79"/>
                  <a:pt x="123" y="80"/>
                  <a:pt x="123" y="81"/>
                </a:cubicBezTo>
                <a:cubicBezTo>
                  <a:pt x="124" y="85"/>
                  <a:pt x="121" y="86"/>
                  <a:pt x="119" y="87"/>
                </a:cubicBezTo>
                <a:cubicBezTo>
                  <a:pt x="118" y="88"/>
                  <a:pt x="118" y="88"/>
                  <a:pt x="118" y="88"/>
                </a:cubicBezTo>
                <a:cubicBezTo>
                  <a:pt x="116" y="89"/>
                  <a:pt x="115" y="89"/>
                  <a:pt x="112" y="88"/>
                </a:cubicBezTo>
                <a:cubicBezTo>
                  <a:pt x="111" y="88"/>
                  <a:pt x="108" y="87"/>
                  <a:pt x="107" y="88"/>
                </a:cubicBezTo>
                <a:cubicBezTo>
                  <a:pt x="104" y="89"/>
                  <a:pt x="99" y="86"/>
                  <a:pt x="99" y="86"/>
                </a:cubicBezTo>
                <a:cubicBezTo>
                  <a:pt x="98" y="86"/>
                  <a:pt x="98" y="86"/>
                  <a:pt x="98" y="86"/>
                </a:cubicBezTo>
                <a:cubicBezTo>
                  <a:pt x="98" y="86"/>
                  <a:pt x="97" y="85"/>
                  <a:pt x="96" y="85"/>
                </a:cubicBezTo>
                <a:cubicBezTo>
                  <a:pt x="96" y="85"/>
                  <a:pt x="96" y="85"/>
                  <a:pt x="96" y="85"/>
                </a:cubicBezTo>
                <a:cubicBezTo>
                  <a:pt x="96" y="85"/>
                  <a:pt x="96" y="85"/>
                  <a:pt x="96" y="85"/>
                </a:cubicBezTo>
                <a:cubicBezTo>
                  <a:pt x="89" y="105"/>
                  <a:pt x="89" y="105"/>
                  <a:pt x="89" y="105"/>
                </a:cubicBezTo>
                <a:cubicBezTo>
                  <a:pt x="89" y="105"/>
                  <a:pt x="89" y="105"/>
                  <a:pt x="90" y="105"/>
                </a:cubicBezTo>
                <a:cubicBezTo>
                  <a:pt x="91" y="105"/>
                  <a:pt x="91" y="105"/>
                  <a:pt x="92" y="106"/>
                </a:cubicBezTo>
                <a:cubicBezTo>
                  <a:pt x="92" y="106"/>
                  <a:pt x="92" y="108"/>
                  <a:pt x="92" y="109"/>
                </a:cubicBezTo>
                <a:cubicBezTo>
                  <a:pt x="92" y="109"/>
                  <a:pt x="92" y="109"/>
                  <a:pt x="92" y="109"/>
                </a:cubicBezTo>
                <a:cubicBezTo>
                  <a:pt x="92" y="111"/>
                  <a:pt x="91" y="111"/>
                  <a:pt x="87" y="111"/>
                </a:cubicBezTo>
                <a:cubicBezTo>
                  <a:pt x="87" y="111"/>
                  <a:pt x="87" y="111"/>
                  <a:pt x="87" y="111"/>
                </a:cubicBezTo>
                <a:cubicBezTo>
                  <a:pt x="86" y="111"/>
                  <a:pt x="86" y="111"/>
                  <a:pt x="86" y="111"/>
                </a:cubicBezTo>
                <a:cubicBezTo>
                  <a:pt x="84" y="111"/>
                  <a:pt x="83" y="111"/>
                  <a:pt x="82" y="110"/>
                </a:cubicBezTo>
                <a:cubicBezTo>
                  <a:pt x="81" y="110"/>
                  <a:pt x="81" y="109"/>
                  <a:pt x="81" y="109"/>
                </a:cubicBezTo>
                <a:cubicBezTo>
                  <a:pt x="81" y="109"/>
                  <a:pt x="80" y="109"/>
                  <a:pt x="80" y="109"/>
                </a:cubicBezTo>
                <a:cubicBezTo>
                  <a:pt x="79" y="109"/>
                  <a:pt x="79" y="110"/>
                  <a:pt x="79" y="110"/>
                </a:cubicBezTo>
                <a:cubicBezTo>
                  <a:pt x="73" y="111"/>
                  <a:pt x="73" y="111"/>
                  <a:pt x="73" y="111"/>
                </a:cubicBezTo>
                <a:cubicBezTo>
                  <a:pt x="71" y="112"/>
                  <a:pt x="69" y="112"/>
                  <a:pt x="66" y="113"/>
                </a:cubicBezTo>
                <a:cubicBezTo>
                  <a:pt x="66" y="113"/>
                  <a:pt x="66" y="113"/>
                  <a:pt x="66" y="113"/>
                </a:cubicBezTo>
                <a:cubicBezTo>
                  <a:pt x="66" y="113"/>
                  <a:pt x="65" y="113"/>
                  <a:pt x="65" y="113"/>
                </a:cubicBezTo>
                <a:cubicBezTo>
                  <a:pt x="65" y="113"/>
                  <a:pt x="65" y="113"/>
                  <a:pt x="65" y="113"/>
                </a:cubicBezTo>
                <a:cubicBezTo>
                  <a:pt x="65" y="113"/>
                  <a:pt x="66" y="113"/>
                  <a:pt x="66" y="113"/>
                </a:cubicBezTo>
                <a:cubicBezTo>
                  <a:pt x="67" y="113"/>
                  <a:pt x="69" y="114"/>
                  <a:pt x="70" y="114"/>
                </a:cubicBezTo>
                <a:cubicBezTo>
                  <a:pt x="71" y="115"/>
                  <a:pt x="71" y="115"/>
                  <a:pt x="71" y="115"/>
                </a:cubicBezTo>
                <a:cubicBezTo>
                  <a:pt x="70" y="116"/>
                  <a:pt x="70" y="116"/>
                  <a:pt x="70" y="116"/>
                </a:cubicBezTo>
                <a:cubicBezTo>
                  <a:pt x="70" y="117"/>
                  <a:pt x="70" y="117"/>
                  <a:pt x="69" y="117"/>
                </a:cubicBezTo>
                <a:cubicBezTo>
                  <a:pt x="69" y="117"/>
                  <a:pt x="69" y="117"/>
                  <a:pt x="69" y="117"/>
                </a:cubicBezTo>
                <a:cubicBezTo>
                  <a:pt x="69" y="118"/>
                  <a:pt x="69" y="120"/>
                  <a:pt x="69" y="120"/>
                </a:cubicBezTo>
                <a:cubicBezTo>
                  <a:pt x="69" y="121"/>
                  <a:pt x="69" y="121"/>
                  <a:pt x="69" y="121"/>
                </a:cubicBezTo>
                <a:cubicBezTo>
                  <a:pt x="69" y="123"/>
                  <a:pt x="70" y="124"/>
                  <a:pt x="70" y="125"/>
                </a:cubicBezTo>
                <a:cubicBezTo>
                  <a:pt x="70" y="126"/>
                  <a:pt x="71" y="126"/>
                  <a:pt x="71" y="127"/>
                </a:cubicBezTo>
                <a:cubicBezTo>
                  <a:pt x="71" y="127"/>
                  <a:pt x="71" y="127"/>
                  <a:pt x="71" y="127"/>
                </a:cubicBezTo>
                <a:cubicBezTo>
                  <a:pt x="71" y="128"/>
                  <a:pt x="72" y="129"/>
                  <a:pt x="72" y="129"/>
                </a:cubicBezTo>
                <a:cubicBezTo>
                  <a:pt x="72" y="130"/>
                  <a:pt x="73" y="131"/>
                  <a:pt x="73" y="131"/>
                </a:cubicBezTo>
                <a:cubicBezTo>
                  <a:pt x="73" y="131"/>
                  <a:pt x="73" y="131"/>
                  <a:pt x="73" y="131"/>
                </a:cubicBezTo>
                <a:cubicBezTo>
                  <a:pt x="73" y="131"/>
                  <a:pt x="73" y="132"/>
                  <a:pt x="73" y="132"/>
                </a:cubicBezTo>
                <a:cubicBezTo>
                  <a:pt x="74" y="135"/>
                  <a:pt x="74" y="135"/>
                  <a:pt x="73" y="136"/>
                </a:cubicBezTo>
                <a:cubicBezTo>
                  <a:pt x="73" y="136"/>
                  <a:pt x="72" y="137"/>
                  <a:pt x="71" y="137"/>
                </a:cubicBezTo>
                <a:cubicBezTo>
                  <a:pt x="71" y="137"/>
                  <a:pt x="70" y="137"/>
                  <a:pt x="70" y="137"/>
                </a:cubicBezTo>
                <a:cubicBezTo>
                  <a:pt x="71" y="137"/>
                  <a:pt x="71" y="138"/>
                  <a:pt x="71" y="139"/>
                </a:cubicBezTo>
                <a:cubicBezTo>
                  <a:pt x="71" y="140"/>
                  <a:pt x="70" y="140"/>
                  <a:pt x="68" y="140"/>
                </a:cubicBezTo>
                <a:cubicBezTo>
                  <a:pt x="68" y="141"/>
                  <a:pt x="68" y="141"/>
                  <a:pt x="68" y="141"/>
                </a:cubicBezTo>
                <a:cubicBezTo>
                  <a:pt x="67" y="141"/>
                  <a:pt x="67" y="142"/>
                  <a:pt x="67" y="142"/>
                </a:cubicBezTo>
                <a:cubicBezTo>
                  <a:pt x="68" y="143"/>
                  <a:pt x="68" y="143"/>
                  <a:pt x="68" y="143"/>
                </a:cubicBezTo>
                <a:cubicBezTo>
                  <a:pt x="68" y="144"/>
                  <a:pt x="68" y="145"/>
                  <a:pt x="68" y="147"/>
                </a:cubicBezTo>
                <a:cubicBezTo>
                  <a:pt x="68" y="147"/>
                  <a:pt x="68" y="147"/>
                  <a:pt x="68" y="147"/>
                </a:cubicBezTo>
                <a:cubicBezTo>
                  <a:pt x="68" y="147"/>
                  <a:pt x="68" y="147"/>
                  <a:pt x="68" y="147"/>
                </a:cubicBezTo>
                <a:cubicBezTo>
                  <a:pt x="68" y="148"/>
                  <a:pt x="68" y="148"/>
                  <a:pt x="68" y="148"/>
                </a:cubicBezTo>
                <a:cubicBezTo>
                  <a:pt x="68" y="149"/>
                  <a:pt x="68" y="149"/>
                  <a:pt x="67" y="150"/>
                </a:cubicBezTo>
                <a:cubicBezTo>
                  <a:pt x="67" y="151"/>
                  <a:pt x="67" y="151"/>
                  <a:pt x="67" y="151"/>
                </a:cubicBezTo>
                <a:cubicBezTo>
                  <a:pt x="67" y="150"/>
                  <a:pt x="67" y="150"/>
                  <a:pt x="67" y="150"/>
                </a:cubicBezTo>
                <a:cubicBezTo>
                  <a:pt x="66" y="150"/>
                  <a:pt x="66" y="151"/>
                  <a:pt x="66" y="151"/>
                </a:cubicBezTo>
                <a:cubicBezTo>
                  <a:pt x="64" y="151"/>
                  <a:pt x="64" y="151"/>
                  <a:pt x="64" y="151"/>
                </a:cubicBezTo>
                <a:cubicBezTo>
                  <a:pt x="62" y="152"/>
                  <a:pt x="60" y="153"/>
                  <a:pt x="58" y="153"/>
                </a:cubicBezTo>
                <a:cubicBezTo>
                  <a:pt x="57" y="154"/>
                  <a:pt x="57" y="154"/>
                  <a:pt x="56" y="154"/>
                </a:cubicBezTo>
                <a:cubicBezTo>
                  <a:pt x="56" y="154"/>
                  <a:pt x="56" y="154"/>
                  <a:pt x="56" y="154"/>
                </a:cubicBezTo>
                <a:cubicBezTo>
                  <a:pt x="54" y="155"/>
                  <a:pt x="53" y="155"/>
                  <a:pt x="52" y="156"/>
                </a:cubicBezTo>
                <a:cubicBezTo>
                  <a:pt x="51" y="156"/>
                  <a:pt x="51" y="156"/>
                  <a:pt x="51" y="156"/>
                </a:cubicBezTo>
                <a:cubicBezTo>
                  <a:pt x="51" y="156"/>
                  <a:pt x="50" y="157"/>
                  <a:pt x="50" y="158"/>
                </a:cubicBezTo>
                <a:cubicBezTo>
                  <a:pt x="50" y="158"/>
                  <a:pt x="50" y="158"/>
                  <a:pt x="50" y="158"/>
                </a:cubicBezTo>
                <a:cubicBezTo>
                  <a:pt x="49" y="158"/>
                  <a:pt x="49" y="158"/>
                  <a:pt x="49" y="158"/>
                </a:cubicBezTo>
                <a:cubicBezTo>
                  <a:pt x="49" y="159"/>
                  <a:pt x="49" y="159"/>
                  <a:pt x="49" y="159"/>
                </a:cubicBezTo>
                <a:cubicBezTo>
                  <a:pt x="48" y="159"/>
                  <a:pt x="48" y="159"/>
                  <a:pt x="48" y="159"/>
                </a:cubicBezTo>
                <a:cubicBezTo>
                  <a:pt x="48" y="160"/>
                  <a:pt x="48" y="160"/>
                  <a:pt x="47" y="160"/>
                </a:cubicBezTo>
                <a:cubicBezTo>
                  <a:pt x="47" y="160"/>
                  <a:pt x="47" y="161"/>
                  <a:pt x="47" y="161"/>
                </a:cubicBezTo>
                <a:cubicBezTo>
                  <a:pt x="46" y="161"/>
                  <a:pt x="46" y="161"/>
                  <a:pt x="46" y="161"/>
                </a:cubicBezTo>
                <a:cubicBezTo>
                  <a:pt x="43" y="161"/>
                  <a:pt x="43" y="161"/>
                  <a:pt x="43" y="161"/>
                </a:cubicBezTo>
                <a:cubicBezTo>
                  <a:pt x="42" y="161"/>
                  <a:pt x="41" y="161"/>
                  <a:pt x="40" y="162"/>
                </a:cubicBezTo>
                <a:cubicBezTo>
                  <a:pt x="39" y="162"/>
                  <a:pt x="39" y="162"/>
                  <a:pt x="39" y="162"/>
                </a:cubicBezTo>
                <a:cubicBezTo>
                  <a:pt x="39" y="162"/>
                  <a:pt x="38" y="162"/>
                  <a:pt x="37" y="162"/>
                </a:cubicBezTo>
                <a:cubicBezTo>
                  <a:pt x="36" y="162"/>
                  <a:pt x="35" y="162"/>
                  <a:pt x="34" y="162"/>
                </a:cubicBezTo>
                <a:cubicBezTo>
                  <a:pt x="34" y="162"/>
                  <a:pt x="33" y="163"/>
                  <a:pt x="33" y="164"/>
                </a:cubicBezTo>
                <a:cubicBezTo>
                  <a:pt x="32" y="164"/>
                  <a:pt x="32" y="164"/>
                  <a:pt x="32" y="164"/>
                </a:cubicBezTo>
                <a:cubicBezTo>
                  <a:pt x="32" y="164"/>
                  <a:pt x="32" y="164"/>
                  <a:pt x="32" y="165"/>
                </a:cubicBezTo>
                <a:cubicBezTo>
                  <a:pt x="32" y="165"/>
                  <a:pt x="32" y="165"/>
                  <a:pt x="31" y="165"/>
                </a:cubicBezTo>
                <a:cubicBezTo>
                  <a:pt x="31" y="165"/>
                  <a:pt x="31" y="165"/>
                  <a:pt x="31" y="165"/>
                </a:cubicBezTo>
                <a:cubicBezTo>
                  <a:pt x="31" y="165"/>
                  <a:pt x="31" y="165"/>
                  <a:pt x="31" y="165"/>
                </a:cubicBezTo>
                <a:cubicBezTo>
                  <a:pt x="31" y="165"/>
                  <a:pt x="31" y="165"/>
                  <a:pt x="31" y="166"/>
                </a:cubicBezTo>
                <a:cubicBezTo>
                  <a:pt x="31" y="166"/>
                  <a:pt x="31" y="166"/>
                  <a:pt x="31" y="167"/>
                </a:cubicBezTo>
                <a:cubicBezTo>
                  <a:pt x="31" y="167"/>
                  <a:pt x="30" y="168"/>
                  <a:pt x="30" y="168"/>
                </a:cubicBezTo>
                <a:cubicBezTo>
                  <a:pt x="29" y="169"/>
                  <a:pt x="29" y="169"/>
                  <a:pt x="29" y="170"/>
                </a:cubicBezTo>
                <a:cubicBezTo>
                  <a:pt x="28" y="170"/>
                  <a:pt x="28" y="170"/>
                  <a:pt x="28" y="170"/>
                </a:cubicBezTo>
                <a:cubicBezTo>
                  <a:pt x="27" y="170"/>
                  <a:pt x="27" y="170"/>
                  <a:pt x="27" y="170"/>
                </a:cubicBezTo>
                <a:cubicBezTo>
                  <a:pt x="27" y="171"/>
                  <a:pt x="27" y="171"/>
                  <a:pt x="27" y="171"/>
                </a:cubicBezTo>
                <a:cubicBezTo>
                  <a:pt x="27" y="171"/>
                  <a:pt x="27" y="171"/>
                  <a:pt x="27" y="171"/>
                </a:cubicBezTo>
                <a:cubicBezTo>
                  <a:pt x="27" y="171"/>
                  <a:pt x="26" y="170"/>
                  <a:pt x="26" y="170"/>
                </a:cubicBezTo>
                <a:cubicBezTo>
                  <a:pt x="26" y="170"/>
                  <a:pt x="25" y="170"/>
                  <a:pt x="25" y="170"/>
                </a:cubicBezTo>
                <a:cubicBezTo>
                  <a:pt x="25" y="170"/>
                  <a:pt x="25" y="170"/>
                  <a:pt x="25" y="170"/>
                </a:cubicBezTo>
                <a:cubicBezTo>
                  <a:pt x="24" y="170"/>
                  <a:pt x="24" y="170"/>
                  <a:pt x="24" y="170"/>
                </a:cubicBezTo>
                <a:cubicBezTo>
                  <a:pt x="24" y="170"/>
                  <a:pt x="24" y="170"/>
                  <a:pt x="24" y="170"/>
                </a:cubicBezTo>
                <a:cubicBezTo>
                  <a:pt x="24" y="170"/>
                  <a:pt x="24" y="170"/>
                  <a:pt x="24" y="170"/>
                </a:cubicBezTo>
                <a:cubicBezTo>
                  <a:pt x="23" y="170"/>
                  <a:pt x="23" y="170"/>
                  <a:pt x="23" y="170"/>
                </a:cubicBezTo>
                <a:cubicBezTo>
                  <a:pt x="23" y="170"/>
                  <a:pt x="23" y="170"/>
                  <a:pt x="23" y="170"/>
                </a:cubicBezTo>
                <a:cubicBezTo>
                  <a:pt x="24" y="170"/>
                  <a:pt x="24" y="170"/>
                  <a:pt x="24" y="170"/>
                </a:cubicBezTo>
                <a:cubicBezTo>
                  <a:pt x="23" y="171"/>
                  <a:pt x="23" y="171"/>
                  <a:pt x="23" y="171"/>
                </a:cubicBezTo>
                <a:cubicBezTo>
                  <a:pt x="23" y="171"/>
                  <a:pt x="23" y="171"/>
                  <a:pt x="22" y="171"/>
                </a:cubicBezTo>
                <a:cubicBezTo>
                  <a:pt x="22" y="171"/>
                  <a:pt x="22" y="171"/>
                  <a:pt x="22" y="171"/>
                </a:cubicBezTo>
                <a:cubicBezTo>
                  <a:pt x="20" y="171"/>
                  <a:pt x="19" y="171"/>
                  <a:pt x="19" y="170"/>
                </a:cubicBezTo>
                <a:cubicBezTo>
                  <a:pt x="19" y="169"/>
                  <a:pt x="19" y="169"/>
                  <a:pt x="19" y="169"/>
                </a:cubicBezTo>
                <a:cubicBezTo>
                  <a:pt x="19" y="168"/>
                  <a:pt x="18" y="168"/>
                  <a:pt x="18" y="168"/>
                </a:cubicBezTo>
                <a:cubicBezTo>
                  <a:pt x="18" y="168"/>
                  <a:pt x="18" y="168"/>
                  <a:pt x="18" y="168"/>
                </a:cubicBezTo>
                <a:cubicBezTo>
                  <a:pt x="18" y="168"/>
                  <a:pt x="18" y="168"/>
                  <a:pt x="18" y="168"/>
                </a:cubicBezTo>
                <a:cubicBezTo>
                  <a:pt x="16" y="169"/>
                  <a:pt x="15" y="169"/>
                  <a:pt x="13" y="169"/>
                </a:cubicBezTo>
                <a:cubicBezTo>
                  <a:pt x="13" y="170"/>
                  <a:pt x="13" y="170"/>
                  <a:pt x="13" y="170"/>
                </a:cubicBezTo>
                <a:cubicBezTo>
                  <a:pt x="13" y="171"/>
                  <a:pt x="12" y="171"/>
                  <a:pt x="12" y="171"/>
                </a:cubicBezTo>
                <a:cubicBezTo>
                  <a:pt x="11" y="172"/>
                  <a:pt x="10" y="172"/>
                  <a:pt x="8" y="173"/>
                </a:cubicBezTo>
                <a:cubicBezTo>
                  <a:pt x="7" y="173"/>
                  <a:pt x="7" y="173"/>
                  <a:pt x="7" y="173"/>
                </a:cubicBezTo>
                <a:cubicBezTo>
                  <a:pt x="7" y="173"/>
                  <a:pt x="7" y="173"/>
                  <a:pt x="7" y="173"/>
                </a:cubicBezTo>
                <a:cubicBezTo>
                  <a:pt x="4" y="174"/>
                  <a:pt x="4" y="174"/>
                  <a:pt x="4" y="174"/>
                </a:cubicBezTo>
                <a:cubicBezTo>
                  <a:pt x="4" y="174"/>
                  <a:pt x="4" y="174"/>
                  <a:pt x="4" y="175"/>
                </a:cubicBezTo>
                <a:cubicBezTo>
                  <a:pt x="4" y="175"/>
                  <a:pt x="4" y="175"/>
                  <a:pt x="4" y="175"/>
                </a:cubicBezTo>
                <a:cubicBezTo>
                  <a:pt x="4" y="176"/>
                  <a:pt x="4" y="176"/>
                  <a:pt x="4" y="176"/>
                </a:cubicBezTo>
                <a:cubicBezTo>
                  <a:pt x="4" y="176"/>
                  <a:pt x="4" y="176"/>
                  <a:pt x="4" y="176"/>
                </a:cubicBezTo>
                <a:cubicBezTo>
                  <a:pt x="3" y="178"/>
                  <a:pt x="3" y="178"/>
                  <a:pt x="3" y="178"/>
                </a:cubicBezTo>
                <a:cubicBezTo>
                  <a:pt x="3" y="179"/>
                  <a:pt x="3" y="179"/>
                  <a:pt x="3" y="180"/>
                </a:cubicBezTo>
                <a:cubicBezTo>
                  <a:pt x="2" y="180"/>
                  <a:pt x="2" y="180"/>
                  <a:pt x="2" y="180"/>
                </a:cubicBezTo>
                <a:cubicBezTo>
                  <a:pt x="1" y="181"/>
                  <a:pt x="1" y="181"/>
                  <a:pt x="1" y="181"/>
                </a:cubicBezTo>
                <a:cubicBezTo>
                  <a:pt x="1" y="181"/>
                  <a:pt x="1" y="181"/>
                  <a:pt x="1" y="181"/>
                </a:cubicBezTo>
                <a:cubicBezTo>
                  <a:pt x="1" y="181"/>
                  <a:pt x="1" y="181"/>
                  <a:pt x="1" y="181"/>
                </a:cubicBezTo>
                <a:cubicBezTo>
                  <a:pt x="1" y="181"/>
                  <a:pt x="1" y="181"/>
                  <a:pt x="1" y="181"/>
                </a:cubicBezTo>
                <a:cubicBezTo>
                  <a:pt x="0" y="183"/>
                  <a:pt x="0" y="183"/>
                  <a:pt x="0" y="183"/>
                </a:cubicBezTo>
                <a:cubicBezTo>
                  <a:pt x="0" y="183"/>
                  <a:pt x="0" y="183"/>
                  <a:pt x="1" y="183"/>
                </a:cubicBezTo>
                <a:cubicBezTo>
                  <a:pt x="1" y="183"/>
                  <a:pt x="1" y="183"/>
                  <a:pt x="1" y="183"/>
                </a:cubicBezTo>
                <a:cubicBezTo>
                  <a:pt x="1" y="184"/>
                  <a:pt x="1" y="184"/>
                  <a:pt x="1" y="184"/>
                </a:cubicBezTo>
                <a:cubicBezTo>
                  <a:pt x="1" y="184"/>
                  <a:pt x="1" y="184"/>
                  <a:pt x="1" y="184"/>
                </a:cubicBezTo>
                <a:cubicBezTo>
                  <a:pt x="1" y="184"/>
                  <a:pt x="1" y="184"/>
                  <a:pt x="1" y="184"/>
                </a:cubicBezTo>
                <a:cubicBezTo>
                  <a:pt x="1" y="184"/>
                  <a:pt x="1" y="184"/>
                  <a:pt x="1" y="184"/>
                </a:cubicBezTo>
                <a:cubicBezTo>
                  <a:pt x="1" y="184"/>
                  <a:pt x="1" y="184"/>
                  <a:pt x="1" y="184"/>
                </a:cubicBezTo>
                <a:cubicBezTo>
                  <a:pt x="2" y="185"/>
                  <a:pt x="2" y="185"/>
                  <a:pt x="2" y="185"/>
                </a:cubicBezTo>
                <a:cubicBezTo>
                  <a:pt x="2" y="185"/>
                  <a:pt x="2" y="185"/>
                  <a:pt x="2" y="185"/>
                </a:cubicBezTo>
                <a:cubicBezTo>
                  <a:pt x="2" y="186"/>
                  <a:pt x="2" y="186"/>
                  <a:pt x="2" y="187"/>
                </a:cubicBezTo>
                <a:cubicBezTo>
                  <a:pt x="2" y="188"/>
                  <a:pt x="2" y="188"/>
                  <a:pt x="2" y="188"/>
                </a:cubicBezTo>
                <a:cubicBezTo>
                  <a:pt x="1" y="188"/>
                  <a:pt x="1" y="188"/>
                  <a:pt x="1" y="188"/>
                </a:cubicBezTo>
                <a:cubicBezTo>
                  <a:pt x="1" y="188"/>
                  <a:pt x="1" y="188"/>
                  <a:pt x="1" y="188"/>
                </a:cubicBezTo>
                <a:cubicBezTo>
                  <a:pt x="1" y="188"/>
                  <a:pt x="1" y="188"/>
                  <a:pt x="1" y="188"/>
                </a:cubicBezTo>
                <a:cubicBezTo>
                  <a:pt x="1" y="189"/>
                  <a:pt x="2" y="189"/>
                  <a:pt x="2" y="189"/>
                </a:cubicBezTo>
                <a:cubicBezTo>
                  <a:pt x="2" y="189"/>
                  <a:pt x="2" y="189"/>
                  <a:pt x="2" y="189"/>
                </a:cubicBezTo>
                <a:cubicBezTo>
                  <a:pt x="3" y="189"/>
                  <a:pt x="3" y="189"/>
                  <a:pt x="3" y="189"/>
                </a:cubicBezTo>
                <a:cubicBezTo>
                  <a:pt x="3" y="189"/>
                  <a:pt x="4" y="188"/>
                  <a:pt x="5" y="188"/>
                </a:cubicBezTo>
                <a:cubicBezTo>
                  <a:pt x="5" y="188"/>
                  <a:pt x="5" y="188"/>
                  <a:pt x="5" y="188"/>
                </a:cubicBezTo>
                <a:cubicBezTo>
                  <a:pt x="5" y="188"/>
                  <a:pt x="5" y="188"/>
                  <a:pt x="5" y="188"/>
                </a:cubicBezTo>
                <a:cubicBezTo>
                  <a:pt x="6" y="188"/>
                  <a:pt x="6" y="188"/>
                  <a:pt x="6" y="188"/>
                </a:cubicBezTo>
                <a:cubicBezTo>
                  <a:pt x="7" y="189"/>
                  <a:pt x="7" y="189"/>
                  <a:pt x="8" y="189"/>
                </a:cubicBezTo>
                <a:cubicBezTo>
                  <a:pt x="9" y="189"/>
                  <a:pt x="9" y="190"/>
                  <a:pt x="9" y="190"/>
                </a:cubicBezTo>
                <a:cubicBezTo>
                  <a:pt x="10" y="190"/>
                  <a:pt x="10" y="190"/>
                  <a:pt x="10" y="190"/>
                </a:cubicBezTo>
                <a:cubicBezTo>
                  <a:pt x="10" y="190"/>
                  <a:pt x="10" y="191"/>
                  <a:pt x="10" y="191"/>
                </a:cubicBezTo>
                <a:cubicBezTo>
                  <a:pt x="11" y="191"/>
                  <a:pt x="11" y="191"/>
                  <a:pt x="11" y="191"/>
                </a:cubicBezTo>
                <a:cubicBezTo>
                  <a:pt x="12" y="192"/>
                  <a:pt x="13" y="192"/>
                  <a:pt x="13" y="194"/>
                </a:cubicBezTo>
                <a:cubicBezTo>
                  <a:pt x="13" y="196"/>
                  <a:pt x="13" y="197"/>
                  <a:pt x="14" y="199"/>
                </a:cubicBezTo>
                <a:cubicBezTo>
                  <a:pt x="14" y="200"/>
                  <a:pt x="14" y="200"/>
                  <a:pt x="14" y="200"/>
                </a:cubicBezTo>
                <a:cubicBezTo>
                  <a:pt x="14" y="200"/>
                  <a:pt x="14" y="201"/>
                  <a:pt x="14" y="201"/>
                </a:cubicBezTo>
                <a:cubicBezTo>
                  <a:pt x="14" y="202"/>
                  <a:pt x="14" y="202"/>
                  <a:pt x="14" y="202"/>
                </a:cubicBezTo>
                <a:cubicBezTo>
                  <a:pt x="14" y="202"/>
                  <a:pt x="15" y="203"/>
                  <a:pt x="15" y="204"/>
                </a:cubicBezTo>
                <a:cubicBezTo>
                  <a:pt x="17" y="204"/>
                  <a:pt x="17" y="204"/>
                  <a:pt x="17" y="204"/>
                </a:cubicBezTo>
                <a:cubicBezTo>
                  <a:pt x="16" y="205"/>
                  <a:pt x="16" y="205"/>
                  <a:pt x="16" y="205"/>
                </a:cubicBezTo>
                <a:cubicBezTo>
                  <a:pt x="15" y="206"/>
                  <a:pt x="15" y="206"/>
                  <a:pt x="14" y="207"/>
                </a:cubicBezTo>
                <a:cubicBezTo>
                  <a:pt x="19" y="206"/>
                  <a:pt x="19" y="206"/>
                  <a:pt x="19" y="206"/>
                </a:cubicBezTo>
                <a:cubicBezTo>
                  <a:pt x="13" y="208"/>
                  <a:pt x="13" y="208"/>
                  <a:pt x="13" y="208"/>
                </a:cubicBezTo>
                <a:cubicBezTo>
                  <a:pt x="13" y="208"/>
                  <a:pt x="13" y="208"/>
                  <a:pt x="13" y="208"/>
                </a:cubicBezTo>
                <a:cubicBezTo>
                  <a:pt x="14" y="208"/>
                  <a:pt x="15" y="208"/>
                  <a:pt x="17" y="209"/>
                </a:cubicBezTo>
                <a:cubicBezTo>
                  <a:pt x="17" y="209"/>
                  <a:pt x="18" y="210"/>
                  <a:pt x="19" y="210"/>
                </a:cubicBezTo>
                <a:cubicBezTo>
                  <a:pt x="19" y="211"/>
                  <a:pt x="20" y="211"/>
                  <a:pt x="20" y="211"/>
                </a:cubicBezTo>
                <a:cubicBezTo>
                  <a:pt x="20" y="211"/>
                  <a:pt x="20" y="211"/>
                  <a:pt x="20" y="211"/>
                </a:cubicBezTo>
                <a:cubicBezTo>
                  <a:pt x="21" y="211"/>
                  <a:pt x="21" y="211"/>
                  <a:pt x="21" y="211"/>
                </a:cubicBezTo>
                <a:cubicBezTo>
                  <a:pt x="22" y="212"/>
                  <a:pt x="23" y="213"/>
                  <a:pt x="24" y="214"/>
                </a:cubicBezTo>
                <a:cubicBezTo>
                  <a:pt x="24" y="215"/>
                  <a:pt x="24" y="216"/>
                  <a:pt x="25" y="216"/>
                </a:cubicBezTo>
                <a:cubicBezTo>
                  <a:pt x="25" y="217"/>
                  <a:pt x="25" y="218"/>
                  <a:pt x="25" y="218"/>
                </a:cubicBezTo>
                <a:cubicBezTo>
                  <a:pt x="25" y="219"/>
                  <a:pt x="24" y="219"/>
                  <a:pt x="24" y="220"/>
                </a:cubicBezTo>
                <a:cubicBezTo>
                  <a:pt x="24" y="220"/>
                  <a:pt x="24" y="220"/>
                  <a:pt x="24" y="220"/>
                </a:cubicBezTo>
                <a:cubicBezTo>
                  <a:pt x="24" y="220"/>
                  <a:pt x="24" y="220"/>
                  <a:pt x="24" y="220"/>
                </a:cubicBezTo>
                <a:cubicBezTo>
                  <a:pt x="25" y="221"/>
                  <a:pt x="25" y="221"/>
                  <a:pt x="25" y="221"/>
                </a:cubicBezTo>
                <a:cubicBezTo>
                  <a:pt x="25" y="222"/>
                  <a:pt x="25" y="222"/>
                  <a:pt x="26" y="222"/>
                </a:cubicBezTo>
                <a:cubicBezTo>
                  <a:pt x="26" y="222"/>
                  <a:pt x="26" y="222"/>
                  <a:pt x="26" y="222"/>
                </a:cubicBezTo>
                <a:cubicBezTo>
                  <a:pt x="26" y="222"/>
                  <a:pt x="26" y="222"/>
                  <a:pt x="26" y="222"/>
                </a:cubicBezTo>
                <a:cubicBezTo>
                  <a:pt x="26" y="222"/>
                  <a:pt x="26" y="222"/>
                  <a:pt x="26" y="222"/>
                </a:cubicBezTo>
                <a:cubicBezTo>
                  <a:pt x="27" y="222"/>
                  <a:pt x="28" y="222"/>
                  <a:pt x="28" y="221"/>
                </a:cubicBezTo>
                <a:cubicBezTo>
                  <a:pt x="29" y="219"/>
                  <a:pt x="29" y="219"/>
                  <a:pt x="29" y="219"/>
                </a:cubicBezTo>
                <a:cubicBezTo>
                  <a:pt x="30" y="222"/>
                  <a:pt x="30" y="222"/>
                  <a:pt x="30" y="222"/>
                </a:cubicBezTo>
                <a:cubicBezTo>
                  <a:pt x="30" y="222"/>
                  <a:pt x="30" y="222"/>
                  <a:pt x="30" y="222"/>
                </a:cubicBezTo>
                <a:cubicBezTo>
                  <a:pt x="30" y="223"/>
                  <a:pt x="30" y="223"/>
                  <a:pt x="30" y="223"/>
                </a:cubicBezTo>
                <a:cubicBezTo>
                  <a:pt x="30" y="223"/>
                  <a:pt x="30" y="223"/>
                  <a:pt x="30" y="223"/>
                </a:cubicBezTo>
                <a:cubicBezTo>
                  <a:pt x="30" y="223"/>
                  <a:pt x="30" y="223"/>
                  <a:pt x="30" y="223"/>
                </a:cubicBezTo>
                <a:cubicBezTo>
                  <a:pt x="31" y="223"/>
                  <a:pt x="31" y="224"/>
                  <a:pt x="32" y="224"/>
                </a:cubicBezTo>
                <a:cubicBezTo>
                  <a:pt x="34" y="225"/>
                  <a:pt x="36" y="225"/>
                  <a:pt x="39" y="225"/>
                </a:cubicBezTo>
                <a:cubicBezTo>
                  <a:pt x="40" y="225"/>
                  <a:pt x="41" y="226"/>
                  <a:pt x="42" y="226"/>
                </a:cubicBezTo>
                <a:cubicBezTo>
                  <a:pt x="42" y="226"/>
                  <a:pt x="42" y="226"/>
                  <a:pt x="42" y="226"/>
                </a:cubicBezTo>
                <a:cubicBezTo>
                  <a:pt x="42" y="225"/>
                  <a:pt x="42" y="225"/>
                  <a:pt x="42" y="225"/>
                </a:cubicBezTo>
                <a:cubicBezTo>
                  <a:pt x="43" y="225"/>
                  <a:pt x="44" y="225"/>
                  <a:pt x="45" y="225"/>
                </a:cubicBezTo>
                <a:cubicBezTo>
                  <a:pt x="45" y="224"/>
                  <a:pt x="45" y="224"/>
                  <a:pt x="45" y="224"/>
                </a:cubicBezTo>
                <a:cubicBezTo>
                  <a:pt x="45" y="226"/>
                  <a:pt x="45" y="226"/>
                  <a:pt x="45" y="226"/>
                </a:cubicBezTo>
                <a:cubicBezTo>
                  <a:pt x="45" y="226"/>
                  <a:pt x="45" y="225"/>
                  <a:pt x="45" y="225"/>
                </a:cubicBezTo>
                <a:cubicBezTo>
                  <a:pt x="46" y="225"/>
                  <a:pt x="46" y="225"/>
                  <a:pt x="46" y="225"/>
                </a:cubicBezTo>
                <a:cubicBezTo>
                  <a:pt x="47" y="225"/>
                  <a:pt x="49" y="224"/>
                  <a:pt x="51" y="223"/>
                </a:cubicBezTo>
                <a:cubicBezTo>
                  <a:pt x="51" y="222"/>
                  <a:pt x="52" y="222"/>
                  <a:pt x="53" y="222"/>
                </a:cubicBezTo>
                <a:cubicBezTo>
                  <a:pt x="53" y="222"/>
                  <a:pt x="53" y="222"/>
                  <a:pt x="53" y="222"/>
                </a:cubicBezTo>
                <a:cubicBezTo>
                  <a:pt x="54" y="222"/>
                  <a:pt x="55" y="222"/>
                  <a:pt x="56" y="222"/>
                </a:cubicBezTo>
                <a:cubicBezTo>
                  <a:pt x="56" y="222"/>
                  <a:pt x="56" y="222"/>
                  <a:pt x="57" y="222"/>
                </a:cubicBezTo>
                <a:cubicBezTo>
                  <a:pt x="57" y="222"/>
                  <a:pt x="57" y="222"/>
                  <a:pt x="57" y="222"/>
                </a:cubicBezTo>
                <a:cubicBezTo>
                  <a:pt x="57" y="222"/>
                  <a:pt x="57" y="222"/>
                  <a:pt x="57" y="222"/>
                </a:cubicBezTo>
                <a:cubicBezTo>
                  <a:pt x="57" y="222"/>
                  <a:pt x="58" y="222"/>
                  <a:pt x="58" y="222"/>
                </a:cubicBezTo>
                <a:cubicBezTo>
                  <a:pt x="58" y="222"/>
                  <a:pt x="59" y="223"/>
                  <a:pt x="59" y="223"/>
                </a:cubicBezTo>
                <a:cubicBezTo>
                  <a:pt x="59" y="223"/>
                  <a:pt x="59" y="223"/>
                  <a:pt x="60" y="223"/>
                </a:cubicBezTo>
                <a:cubicBezTo>
                  <a:pt x="60" y="224"/>
                  <a:pt x="61" y="224"/>
                  <a:pt x="62" y="225"/>
                </a:cubicBezTo>
                <a:cubicBezTo>
                  <a:pt x="62" y="225"/>
                  <a:pt x="62" y="226"/>
                  <a:pt x="63" y="226"/>
                </a:cubicBezTo>
                <a:cubicBezTo>
                  <a:pt x="63" y="226"/>
                  <a:pt x="63" y="226"/>
                  <a:pt x="63" y="226"/>
                </a:cubicBezTo>
                <a:cubicBezTo>
                  <a:pt x="63" y="226"/>
                  <a:pt x="63" y="226"/>
                  <a:pt x="64" y="227"/>
                </a:cubicBezTo>
                <a:cubicBezTo>
                  <a:pt x="64" y="227"/>
                  <a:pt x="64" y="228"/>
                  <a:pt x="65" y="228"/>
                </a:cubicBezTo>
                <a:cubicBezTo>
                  <a:pt x="65" y="228"/>
                  <a:pt x="65" y="228"/>
                  <a:pt x="65" y="228"/>
                </a:cubicBezTo>
                <a:cubicBezTo>
                  <a:pt x="65" y="228"/>
                  <a:pt x="65" y="228"/>
                  <a:pt x="65" y="228"/>
                </a:cubicBezTo>
                <a:cubicBezTo>
                  <a:pt x="65" y="228"/>
                  <a:pt x="66" y="227"/>
                  <a:pt x="66" y="227"/>
                </a:cubicBezTo>
                <a:cubicBezTo>
                  <a:pt x="67" y="227"/>
                  <a:pt x="67" y="227"/>
                  <a:pt x="68" y="227"/>
                </a:cubicBezTo>
                <a:cubicBezTo>
                  <a:pt x="68" y="227"/>
                  <a:pt x="68" y="228"/>
                  <a:pt x="68" y="228"/>
                </a:cubicBezTo>
                <a:cubicBezTo>
                  <a:pt x="67" y="229"/>
                  <a:pt x="67" y="230"/>
                  <a:pt x="67" y="231"/>
                </a:cubicBezTo>
                <a:cubicBezTo>
                  <a:pt x="67" y="231"/>
                  <a:pt x="67" y="231"/>
                  <a:pt x="67" y="231"/>
                </a:cubicBezTo>
                <a:cubicBezTo>
                  <a:pt x="66" y="232"/>
                  <a:pt x="66" y="232"/>
                  <a:pt x="66" y="232"/>
                </a:cubicBezTo>
                <a:cubicBezTo>
                  <a:pt x="66" y="233"/>
                  <a:pt x="66" y="233"/>
                  <a:pt x="65" y="234"/>
                </a:cubicBezTo>
                <a:cubicBezTo>
                  <a:pt x="65" y="235"/>
                  <a:pt x="64" y="236"/>
                  <a:pt x="63" y="237"/>
                </a:cubicBezTo>
                <a:cubicBezTo>
                  <a:pt x="62" y="238"/>
                  <a:pt x="62" y="238"/>
                  <a:pt x="61" y="239"/>
                </a:cubicBezTo>
                <a:cubicBezTo>
                  <a:pt x="61" y="240"/>
                  <a:pt x="61" y="239"/>
                  <a:pt x="60" y="239"/>
                </a:cubicBezTo>
                <a:cubicBezTo>
                  <a:pt x="60" y="239"/>
                  <a:pt x="59" y="239"/>
                  <a:pt x="59" y="240"/>
                </a:cubicBezTo>
                <a:cubicBezTo>
                  <a:pt x="59" y="240"/>
                  <a:pt x="60" y="241"/>
                  <a:pt x="60" y="242"/>
                </a:cubicBezTo>
                <a:cubicBezTo>
                  <a:pt x="59" y="243"/>
                  <a:pt x="57" y="244"/>
                  <a:pt x="56" y="244"/>
                </a:cubicBezTo>
                <a:cubicBezTo>
                  <a:pt x="56" y="244"/>
                  <a:pt x="56" y="244"/>
                  <a:pt x="55" y="244"/>
                </a:cubicBezTo>
                <a:cubicBezTo>
                  <a:pt x="55" y="244"/>
                  <a:pt x="55" y="244"/>
                  <a:pt x="55" y="244"/>
                </a:cubicBezTo>
                <a:cubicBezTo>
                  <a:pt x="53" y="245"/>
                  <a:pt x="53" y="245"/>
                  <a:pt x="53" y="245"/>
                </a:cubicBezTo>
                <a:cubicBezTo>
                  <a:pt x="53" y="245"/>
                  <a:pt x="53" y="245"/>
                  <a:pt x="53" y="245"/>
                </a:cubicBezTo>
                <a:cubicBezTo>
                  <a:pt x="53" y="246"/>
                  <a:pt x="53" y="246"/>
                  <a:pt x="53" y="246"/>
                </a:cubicBezTo>
                <a:cubicBezTo>
                  <a:pt x="53" y="246"/>
                  <a:pt x="53" y="246"/>
                  <a:pt x="53" y="246"/>
                </a:cubicBezTo>
                <a:cubicBezTo>
                  <a:pt x="53" y="248"/>
                  <a:pt x="53" y="248"/>
                  <a:pt x="53" y="248"/>
                </a:cubicBezTo>
                <a:cubicBezTo>
                  <a:pt x="53" y="248"/>
                  <a:pt x="53" y="248"/>
                  <a:pt x="53" y="248"/>
                </a:cubicBezTo>
                <a:cubicBezTo>
                  <a:pt x="54" y="249"/>
                  <a:pt x="54" y="249"/>
                  <a:pt x="54" y="249"/>
                </a:cubicBezTo>
                <a:cubicBezTo>
                  <a:pt x="54" y="250"/>
                  <a:pt x="54" y="250"/>
                  <a:pt x="54" y="250"/>
                </a:cubicBezTo>
                <a:cubicBezTo>
                  <a:pt x="54" y="250"/>
                  <a:pt x="54" y="250"/>
                  <a:pt x="54" y="250"/>
                </a:cubicBezTo>
                <a:cubicBezTo>
                  <a:pt x="55" y="251"/>
                  <a:pt x="55" y="251"/>
                  <a:pt x="55" y="251"/>
                </a:cubicBezTo>
                <a:cubicBezTo>
                  <a:pt x="55" y="251"/>
                  <a:pt x="56" y="252"/>
                  <a:pt x="57" y="252"/>
                </a:cubicBezTo>
                <a:cubicBezTo>
                  <a:pt x="57" y="252"/>
                  <a:pt x="57" y="252"/>
                  <a:pt x="57" y="252"/>
                </a:cubicBezTo>
                <a:cubicBezTo>
                  <a:pt x="58" y="252"/>
                  <a:pt x="59" y="253"/>
                  <a:pt x="59" y="254"/>
                </a:cubicBezTo>
                <a:cubicBezTo>
                  <a:pt x="59" y="254"/>
                  <a:pt x="59" y="254"/>
                  <a:pt x="59" y="255"/>
                </a:cubicBezTo>
                <a:cubicBezTo>
                  <a:pt x="59" y="256"/>
                  <a:pt x="59" y="256"/>
                  <a:pt x="59" y="256"/>
                </a:cubicBezTo>
                <a:cubicBezTo>
                  <a:pt x="59" y="256"/>
                  <a:pt x="60" y="256"/>
                  <a:pt x="60" y="257"/>
                </a:cubicBezTo>
                <a:cubicBezTo>
                  <a:pt x="60" y="257"/>
                  <a:pt x="60" y="257"/>
                  <a:pt x="60" y="257"/>
                </a:cubicBezTo>
                <a:cubicBezTo>
                  <a:pt x="60" y="257"/>
                  <a:pt x="60" y="257"/>
                  <a:pt x="60" y="257"/>
                </a:cubicBezTo>
                <a:cubicBezTo>
                  <a:pt x="60" y="257"/>
                  <a:pt x="60" y="257"/>
                  <a:pt x="60" y="257"/>
                </a:cubicBezTo>
                <a:cubicBezTo>
                  <a:pt x="61" y="258"/>
                  <a:pt x="61" y="258"/>
                  <a:pt x="61" y="258"/>
                </a:cubicBezTo>
                <a:cubicBezTo>
                  <a:pt x="60" y="259"/>
                  <a:pt x="60" y="259"/>
                  <a:pt x="60" y="259"/>
                </a:cubicBezTo>
                <a:cubicBezTo>
                  <a:pt x="58" y="261"/>
                  <a:pt x="56" y="264"/>
                  <a:pt x="54" y="264"/>
                </a:cubicBezTo>
                <a:cubicBezTo>
                  <a:pt x="54" y="264"/>
                  <a:pt x="54" y="264"/>
                  <a:pt x="54" y="264"/>
                </a:cubicBezTo>
                <a:cubicBezTo>
                  <a:pt x="53" y="264"/>
                  <a:pt x="53" y="264"/>
                  <a:pt x="53" y="264"/>
                </a:cubicBezTo>
                <a:cubicBezTo>
                  <a:pt x="52" y="264"/>
                  <a:pt x="51" y="262"/>
                  <a:pt x="50" y="262"/>
                </a:cubicBezTo>
                <a:cubicBezTo>
                  <a:pt x="50" y="262"/>
                  <a:pt x="50" y="262"/>
                  <a:pt x="50" y="261"/>
                </a:cubicBezTo>
                <a:cubicBezTo>
                  <a:pt x="50" y="262"/>
                  <a:pt x="50" y="262"/>
                  <a:pt x="50" y="262"/>
                </a:cubicBezTo>
                <a:cubicBezTo>
                  <a:pt x="50" y="262"/>
                  <a:pt x="49" y="262"/>
                  <a:pt x="49" y="262"/>
                </a:cubicBezTo>
                <a:cubicBezTo>
                  <a:pt x="49" y="263"/>
                  <a:pt x="50" y="264"/>
                  <a:pt x="50" y="265"/>
                </a:cubicBezTo>
                <a:cubicBezTo>
                  <a:pt x="51" y="265"/>
                  <a:pt x="52" y="266"/>
                  <a:pt x="52" y="267"/>
                </a:cubicBezTo>
                <a:cubicBezTo>
                  <a:pt x="52" y="267"/>
                  <a:pt x="52" y="268"/>
                  <a:pt x="52" y="268"/>
                </a:cubicBezTo>
                <a:cubicBezTo>
                  <a:pt x="52" y="269"/>
                  <a:pt x="52" y="269"/>
                  <a:pt x="52" y="269"/>
                </a:cubicBezTo>
                <a:cubicBezTo>
                  <a:pt x="52" y="270"/>
                  <a:pt x="52" y="271"/>
                  <a:pt x="52" y="272"/>
                </a:cubicBezTo>
                <a:cubicBezTo>
                  <a:pt x="52" y="272"/>
                  <a:pt x="52" y="272"/>
                  <a:pt x="52" y="272"/>
                </a:cubicBezTo>
                <a:cubicBezTo>
                  <a:pt x="52" y="272"/>
                  <a:pt x="52" y="272"/>
                  <a:pt x="52" y="272"/>
                </a:cubicBezTo>
                <a:cubicBezTo>
                  <a:pt x="52" y="272"/>
                  <a:pt x="52" y="273"/>
                  <a:pt x="53" y="273"/>
                </a:cubicBezTo>
                <a:cubicBezTo>
                  <a:pt x="53" y="273"/>
                  <a:pt x="53" y="273"/>
                  <a:pt x="53" y="273"/>
                </a:cubicBezTo>
                <a:cubicBezTo>
                  <a:pt x="53" y="273"/>
                  <a:pt x="54" y="272"/>
                  <a:pt x="55" y="272"/>
                </a:cubicBezTo>
                <a:cubicBezTo>
                  <a:pt x="56" y="273"/>
                  <a:pt x="56" y="273"/>
                  <a:pt x="56" y="273"/>
                </a:cubicBezTo>
                <a:cubicBezTo>
                  <a:pt x="57" y="273"/>
                  <a:pt x="57" y="274"/>
                  <a:pt x="57" y="274"/>
                </a:cubicBezTo>
                <a:cubicBezTo>
                  <a:pt x="59" y="273"/>
                  <a:pt x="59" y="273"/>
                  <a:pt x="59" y="273"/>
                </a:cubicBezTo>
                <a:cubicBezTo>
                  <a:pt x="57" y="274"/>
                  <a:pt x="57" y="274"/>
                  <a:pt x="57" y="274"/>
                </a:cubicBezTo>
                <a:cubicBezTo>
                  <a:pt x="58" y="275"/>
                  <a:pt x="58" y="275"/>
                  <a:pt x="58" y="276"/>
                </a:cubicBezTo>
                <a:cubicBezTo>
                  <a:pt x="58" y="276"/>
                  <a:pt x="58" y="276"/>
                  <a:pt x="58" y="276"/>
                </a:cubicBezTo>
                <a:cubicBezTo>
                  <a:pt x="58" y="276"/>
                  <a:pt x="59" y="276"/>
                  <a:pt x="59" y="276"/>
                </a:cubicBezTo>
                <a:cubicBezTo>
                  <a:pt x="59" y="276"/>
                  <a:pt x="59" y="277"/>
                  <a:pt x="59" y="277"/>
                </a:cubicBezTo>
                <a:cubicBezTo>
                  <a:pt x="59" y="277"/>
                  <a:pt x="60" y="277"/>
                  <a:pt x="60" y="277"/>
                </a:cubicBezTo>
                <a:cubicBezTo>
                  <a:pt x="60" y="277"/>
                  <a:pt x="60" y="277"/>
                  <a:pt x="61" y="277"/>
                </a:cubicBezTo>
                <a:cubicBezTo>
                  <a:pt x="62" y="278"/>
                  <a:pt x="64" y="278"/>
                  <a:pt x="66" y="279"/>
                </a:cubicBezTo>
                <a:cubicBezTo>
                  <a:pt x="66" y="280"/>
                  <a:pt x="67" y="280"/>
                  <a:pt x="67" y="280"/>
                </a:cubicBezTo>
                <a:cubicBezTo>
                  <a:pt x="68" y="280"/>
                  <a:pt x="68" y="280"/>
                  <a:pt x="68" y="280"/>
                </a:cubicBezTo>
                <a:cubicBezTo>
                  <a:pt x="67" y="280"/>
                  <a:pt x="67" y="280"/>
                  <a:pt x="67" y="280"/>
                </a:cubicBezTo>
                <a:cubicBezTo>
                  <a:pt x="68" y="281"/>
                  <a:pt x="68" y="281"/>
                  <a:pt x="68" y="281"/>
                </a:cubicBezTo>
                <a:cubicBezTo>
                  <a:pt x="68" y="281"/>
                  <a:pt x="68" y="282"/>
                  <a:pt x="68" y="282"/>
                </a:cubicBezTo>
                <a:cubicBezTo>
                  <a:pt x="74" y="286"/>
                  <a:pt x="74" y="286"/>
                  <a:pt x="74" y="286"/>
                </a:cubicBezTo>
                <a:cubicBezTo>
                  <a:pt x="75" y="286"/>
                  <a:pt x="75" y="286"/>
                  <a:pt x="75" y="286"/>
                </a:cubicBezTo>
                <a:cubicBezTo>
                  <a:pt x="76" y="287"/>
                  <a:pt x="76" y="287"/>
                  <a:pt x="76" y="287"/>
                </a:cubicBezTo>
                <a:cubicBezTo>
                  <a:pt x="77" y="287"/>
                  <a:pt x="77" y="286"/>
                  <a:pt x="77" y="286"/>
                </a:cubicBezTo>
                <a:cubicBezTo>
                  <a:pt x="77" y="285"/>
                  <a:pt x="77" y="285"/>
                  <a:pt x="77" y="285"/>
                </a:cubicBezTo>
                <a:cubicBezTo>
                  <a:pt x="77" y="285"/>
                  <a:pt x="78" y="285"/>
                  <a:pt x="78" y="285"/>
                </a:cubicBezTo>
                <a:cubicBezTo>
                  <a:pt x="78" y="285"/>
                  <a:pt x="78" y="285"/>
                  <a:pt x="78" y="284"/>
                </a:cubicBezTo>
                <a:cubicBezTo>
                  <a:pt x="78" y="284"/>
                  <a:pt x="78" y="284"/>
                  <a:pt x="78" y="284"/>
                </a:cubicBezTo>
                <a:cubicBezTo>
                  <a:pt x="79" y="284"/>
                  <a:pt x="80" y="284"/>
                  <a:pt x="81" y="284"/>
                </a:cubicBezTo>
                <a:cubicBezTo>
                  <a:pt x="83" y="284"/>
                  <a:pt x="85" y="284"/>
                  <a:pt x="86" y="285"/>
                </a:cubicBezTo>
                <a:cubicBezTo>
                  <a:pt x="86" y="285"/>
                  <a:pt x="87" y="286"/>
                  <a:pt x="87" y="287"/>
                </a:cubicBezTo>
                <a:cubicBezTo>
                  <a:pt x="87" y="287"/>
                  <a:pt x="87" y="287"/>
                  <a:pt x="87" y="288"/>
                </a:cubicBezTo>
                <a:cubicBezTo>
                  <a:pt x="87" y="288"/>
                  <a:pt x="88" y="288"/>
                  <a:pt x="88" y="288"/>
                </a:cubicBezTo>
                <a:cubicBezTo>
                  <a:pt x="88" y="288"/>
                  <a:pt x="88" y="288"/>
                  <a:pt x="88" y="288"/>
                </a:cubicBezTo>
                <a:cubicBezTo>
                  <a:pt x="89" y="288"/>
                  <a:pt x="89" y="289"/>
                  <a:pt x="89" y="289"/>
                </a:cubicBezTo>
                <a:cubicBezTo>
                  <a:pt x="90" y="289"/>
                  <a:pt x="90" y="289"/>
                  <a:pt x="90" y="289"/>
                </a:cubicBezTo>
                <a:cubicBezTo>
                  <a:pt x="91" y="289"/>
                  <a:pt x="91" y="290"/>
                  <a:pt x="92" y="290"/>
                </a:cubicBezTo>
                <a:cubicBezTo>
                  <a:pt x="92" y="290"/>
                  <a:pt x="92" y="291"/>
                  <a:pt x="93" y="291"/>
                </a:cubicBezTo>
                <a:cubicBezTo>
                  <a:pt x="93" y="292"/>
                  <a:pt x="93" y="292"/>
                  <a:pt x="93" y="292"/>
                </a:cubicBezTo>
                <a:cubicBezTo>
                  <a:pt x="94" y="292"/>
                  <a:pt x="94" y="292"/>
                  <a:pt x="95" y="292"/>
                </a:cubicBezTo>
                <a:cubicBezTo>
                  <a:pt x="95" y="292"/>
                  <a:pt x="96" y="292"/>
                  <a:pt x="96" y="292"/>
                </a:cubicBezTo>
                <a:cubicBezTo>
                  <a:pt x="96" y="292"/>
                  <a:pt x="96" y="292"/>
                  <a:pt x="96" y="292"/>
                </a:cubicBezTo>
                <a:cubicBezTo>
                  <a:pt x="96" y="293"/>
                  <a:pt x="96" y="293"/>
                  <a:pt x="96" y="293"/>
                </a:cubicBezTo>
                <a:cubicBezTo>
                  <a:pt x="97" y="293"/>
                  <a:pt x="97" y="293"/>
                  <a:pt x="97" y="293"/>
                </a:cubicBezTo>
                <a:cubicBezTo>
                  <a:pt x="97" y="293"/>
                  <a:pt x="97" y="293"/>
                  <a:pt x="98" y="293"/>
                </a:cubicBezTo>
                <a:cubicBezTo>
                  <a:pt x="98" y="293"/>
                  <a:pt x="98" y="293"/>
                  <a:pt x="98" y="293"/>
                </a:cubicBezTo>
                <a:cubicBezTo>
                  <a:pt x="98" y="293"/>
                  <a:pt x="98" y="293"/>
                  <a:pt x="98" y="293"/>
                </a:cubicBezTo>
                <a:cubicBezTo>
                  <a:pt x="98" y="294"/>
                  <a:pt x="98" y="294"/>
                  <a:pt x="99" y="294"/>
                </a:cubicBezTo>
                <a:cubicBezTo>
                  <a:pt x="100" y="293"/>
                  <a:pt x="100" y="293"/>
                  <a:pt x="100" y="293"/>
                </a:cubicBezTo>
                <a:cubicBezTo>
                  <a:pt x="99" y="294"/>
                  <a:pt x="99" y="294"/>
                  <a:pt x="99" y="294"/>
                </a:cubicBezTo>
                <a:cubicBezTo>
                  <a:pt x="99" y="294"/>
                  <a:pt x="99" y="294"/>
                  <a:pt x="99" y="294"/>
                </a:cubicBezTo>
                <a:cubicBezTo>
                  <a:pt x="100" y="295"/>
                  <a:pt x="100" y="296"/>
                  <a:pt x="101" y="296"/>
                </a:cubicBezTo>
                <a:cubicBezTo>
                  <a:pt x="101" y="296"/>
                  <a:pt x="101" y="297"/>
                  <a:pt x="101" y="297"/>
                </a:cubicBezTo>
                <a:cubicBezTo>
                  <a:pt x="101" y="297"/>
                  <a:pt x="101" y="297"/>
                  <a:pt x="101" y="297"/>
                </a:cubicBezTo>
                <a:cubicBezTo>
                  <a:pt x="101" y="297"/>
                  <a:pt x="102" y="297"/>
                  <a:pt x="102" y="297"/>
                </a:cubicBezTo>
                <a:cubicBezTo>
                  <a:pt x="102" y="297"/>
                  <a:pt x="102" y="297"/>
                  <a:pt x="102" y="297"/>
                </a:cubicBezTo>
                <a:cubicBezTo>
                  <a:pt x="102" y="297"/>
                  <a:pt x="102" y="297"/>
                  <a:pt x="102" y="297"/>
                </a:cubicBezTo>
                <a:cubicBezTo>
                  <a:pt x="103" y="297"/>
                  <a:pt x="104" y="297"/>
                  <a:pt x="105" y="297"/>
                </a:cubicBezTo>
                <a:cubicBezTo>
                  <a:pt x="105" y="297"/>
                  <a:pt x="105" y="297"/>
                  <a:pt x="106" y="297"/>
                </a:cubicBezTo>
                <a:cubicBezTo>
                  <a:pt x="106" y="297"/>
                  <a:pt x="107" y="297"/>
                  <a:pt x="107" y="297"/>
                </a:cubicBezTo>
                <a:cubicBezTo>
                  <a:pt x="108" y="298"/>
                  <a:pt x="108" y="299"/>
                  <a:pt x="108" y="299"/>
                </a:cubicBezTo>
                <a:cubicBezTo>
                  <a:pt x="108" y="299"/>
                  <a:pt x="108" y="299"/>
                  <a:pt x="108" y="299"/>
                </a:cubicBezTo>
                <a:cubicBezTo>
                  <a:pt x="108" y="299"/>
                  <a:pt x="108" y="299"/>
                  <a:pt x="108" y="299"/>
                </a:cubicBezTo>
                <a:cubicBezTo>
                  <a:pt x="109" y="300"/>
                  <a:pt x="109" y="300"/>
                  <a:pt x="109" y="301"/>
                </a:cubicBezTo>
                <a:cubicBezTo>
                  <a:pt x="109" y="301"/>
                  <a:pt x="109" y="302"/>
                  <a:pt x="109" y="302"/>
                </a:cubicBezTo>
                <a:cubicBezTo>
                  <a:pt x="109" y="302"/>
                  <a:pt x="109" y="302"/>
                  <a:pt x="109" y="302"/>
                </a:cubicBezTo>
                <a:cubicBezTo>
                  <a:pt x="110" y="302"/>
                  <a:pt x="110" y="302"/>
                  <a:pt x="110" y="302"/>
                </a:cubicBezTo>
                <a:cubicBezTo>
                  <a:pt x="111" y="303"/>
                  <a:pt x="111" y="303"/>
                  <a:pt x="111" y="303"/>
                </a:cubicBezTo>
                <a:cubicBezTo>
                  <a:pt x="111" y="303"/>
                  <a:pt x="111" y="303"/>
                  <a:pt x="111" y="303"/>
                </a:cubicBezTo>
                <a:cubicBezTo>
                  <a:pt x="112" y="303"/>
                  <a:pt x="112" y="303"/>
                  <a:pt x="112" y="303"/>
                </a:cubicBezTo>
                <a:cubicBezTo>
                  <a:pt x="112" y="304"/>
                  <a:pt x="113" y="304"/>
                  <a:pt x="113" y="304"/>
                </a:cubicBezTo>
                <a:cubicBezTo>
                  <a:pt x="113" y="304"/>
                  <a:pt x="114" y="304"/>
                  <a:pt x="114" y="304"/>
                </a:cubicBezTo>
                <a:cubicBezTo>
                  <a:pt x="114" y="304"/>
                  <a:pt x="115" y="304"/>
                  <a:pt x="115" y="304"/>
                </a:cubicBezTo>
                <a:cubicBezTo>
                  <a:pt x="116" y="304"/>
                  <a:pt x="116" y="304"/>
                  <a:pt x="116" y="304"/>
                </a:cubicBezTo>
                <a:cubicBezTo>
                  <a:pt x="116" y="304"/>
                  <a:pt x="117" y="304"/>
                  <a:pt x="117" y="304"/>
                </a:cubicBezTo>
                <a:cubicBezTo>
                  <a:pt x="119" y="304"/>
                  <a:pt x="119" y="304"/>
                  <a:pt x="119" y="304"/>
                </a:cubicBezTo>
                <a:cubicBezTo>
                  <a:pt x="118" y="306"/>
                  <a:pt x="118" y="306"/>
                  <a:pt x="118" y="306"/>
                </a:cubicBezTo>
                <a:cubicBezTo>
                  <a:pt x="118" y="307"/>
                  <a:pt x="118" y="307"/>
                  <a:pt x="118" y="307"/>
                </a:cubicBezTo>
                <a:cubicBezTo>
                  <a:pt x="118" y="307"/>
                  <a:pt x="118" y="307"/>
                  <a:pt x="118" y="307"/>
                </a:cubicBezTo>
                <a:cubicBezTo>
                  <a:pt x="118" y="307"/>
                  <a:pt x="118" y="307"/>
                  <a:pt x="118" y="307"/>
                </a:cubicBezTo>
                <a:cubicBezTo>
                  <a:pt x="118" y="307"/>
                  <a:pt x="118" y="307"/>
                  <a:pt x="118" y="307"/>
                </a:cubicBezTo>
                <a:cubicBezTo>
                  <a:pt x="119" y="307"/>
                  <a:pt x="119" y="307"/>
                  <a:pt x="119" y="307"/>
                </a:cubicBezTo>
                <a:cubicBezTo>
                  <a:pt x="120" y="307"/>
                  <a:pt x="120" y="307"/>
                  <a:pt x="121" y="307"/>
                </a:cubicBezTo>
                <a:cubicBezTo>
                  <a:pt x="122" y="307"/>
                  <a:pt x="123" y="307"/>
                  <a:pt x="123" y="308"/>
                </a:cubicBezTo>
                <a:cubicBezTo>
                  <a:pt x="124" y="308"/>
                  <a:pt x="124" y="308"/>
                  <a:pt x="124" y="308"/>
                </a:cubicBezTo>
                <a:cubicBezTo>
                  <a:pt x="125" y="309"/>
                  <a:pt x="125" y="309"/>
                  <a:pt x="125" y="309"/>
                </a:cubicBezTo>
                <a:cubicBezTo>
                  <a:pt x="125" y="310"/>
                  <a:pt x="125" y="310"/>
                  <a:pt x="126" y="310"/>
                </a:cubicBezTo>
                <a:cubicBezTo>
                  <a:pt x="126" y="310"/>
                  <a:pt x="126" y="310"/>
                  <a:pt x="126" y="309"/>
                </a:cubicBezTo>
                <a:cubicBezTo>
                  <a:pt x="129" y="306"/>
                  <a:pt x="129" y="306"/>
                  <a:pt x="129" y="306"/>
                </a:cubicBezTo>
                <a:cubicBezTo>
                  <a:pt x="129" y="310"/>
                  <a:pt x="129" y="310"/>
                  <a:pt x="129" y="310"/>
                </a:cubicBezTo>
                <a:cubicBezTo>
                  <a:pt x="129" y="310"/>
                  <a:pt x="129" y="310"/>
                  <a:pt x="129" y="310"/>
                </a:cubicBezTo>
                <a:cubicBezTo>
                  <a:pt x="129" y="310"/>
                  <a:pt x="129" y="311"/>
                  <a:pt x="130" y="311"/>
                </a:cubicBezTo>
                <a:cubicBezTo>
                  <a:pt x="130" y="311"/>
                  <a:pt x="130" y="311"/>
                  <a:pt x="130" y="311"/>
                </a:cubicBezTo>
                <a:cubicBezTo>
                  <a:pt x="130" y="311"/>
                  <a:pt x="130" y="311"/>
                  <a:pt x="130" y="311"/>
                </a:cubicBezTo>
                <a:cubicBezTo>
                  <a:pt x="130" y="310"/>
                  <a:pt x="131" y="310"/>
                  <a:pt x="132" y="310"/>
                </a:cubicBezTo>
                <a:cubicBezTo>
                  <a:pt x="132" y="310"/>
                  <a:pt x="132" y="310"/>
                  <a:pt x="133" y="310"/>
                </a:cubicBezTo>
                <a:cubicBezTo>
                  <a:pt x="133" y="310"/>
                  <a:pt x="133" y="310"/>
                  <a:pt x="133" y="310"/>
                </a:cubicBezTo>
                <a:cubicBezTo>
                  <a:pt x="133" y="310"/>
                  <a:pt x="133" y="310"/>
                  <a:pt x="133" y="310"/>
                </a:cubicBezTo>
                <a:cubicBezTo>
                  <a:pt x="133" y="310"/>
                  <a:pt x="133" y="310"/>
                  <a:pt x="133" y="310"/>
                </a:cubicBezTo>
                <a:cubicBezTo>
                  <a:pt x="134" y="310"/>
                  <a:pt x="134" y="310"/>
                  <a:pt x="134" y="310"/>
                </a:cubicBezTo>
                <a:cubicBezTo>
                  <a:pt x="135" y="311"/>
                  <a:pt x="136" y="311"/>
                  <a:pt x="137" y="311"/>
                </a:cubicBezTo>
                <a:cubicBezTo>
                  <a:pt x="138" y="312"/>
                  <a:pt x="139" y="312"/>
                  <a:pt x="140" y="312"/>
                </a:cubicBezTo>
                <a:cubicBezTo>
                  <a:pt x="141" y="312"/>
                  <a:pt x="142" y="312"/>
                  <a:pt x="144" y="312"/>
                </a:cubicBezTo>
                <a:cubicBezTo>
                  <a:pt x="145" y="312"/>
                  <a:pt x="146" y="312"/>
                  <a:pt x="147" y="312"/>
                </a:cubicBezTo>
                <a:cubicBezTo>
                  <a:pt x="147" y="312"/>
                  <a:pt x="147" y="312"/>
                  <a:pt x="147" y="312"/>
                </a:cubicBezTo>
                <a:cubicBezTo>
                  <a:pt x="148" y="311"/>
                  <a:pt x="148" y="311"/>
                  <a:pt x="148" y="311"/>
                </a:cubicBezTo>
                <a:cubicBezTo>
                  <a:pt x="149" y="311"/>
                  <a:pt x="150" y="310"/>
                  <a:pt x="151" y="310"/>
                </a:cubicBezTo>
                <a:cubicBezTo>
                  <a:pt x="151" y="310"/>
                  <a:pt x="151" y="310"/>
                  <a:pt x="151" y="310"/>
                </a:cubicBezTo>
                <a:cubicBezTo>
                  <a:pt x="151" y="310"/>
                  <a:pt x="151" y="310"/>
                  <a:pt x="151" y="310"/>
                </a:cubicBezTo>
                <a:cubicBezTo>
                  <a:pt x="152" y="309"/>
                  <a:pt x="153" y="309"/>
                  <a:pt x="153" y="310"/>
                </a:cubicBezTo>
                <a:cubicBezTo>
                  <a:pt x="154" y="310"/>
                  <a:pt x="155" y="310"/>
                  <a:pt x="155" y="311"/>
                </a:cubicBezTo>
                <a:cubicBezTo>
                  <a:pt x="155" y="311"/>
                  <a:pt x="155" y="311"/>
                  <a:pt x="155" y="311"/>
                </a:cubicBezTo>
                <a:cubicBezTo>
                  <a:pt x="156" y="311"/>
                  <a:pt x="156" y="311"/>
                  <a:pt x="156" y="311"/>
                </a:cubicBezTo>
                <a:cubicBezTo>
                  <a:pt x="156" y="312"/>
                  <a:pt x="156" y="312"/>
                  <a:pt x="156" y="312"/>
                </a:cubicBezTo>
                <a:cubicBezTo>
                  <a:pt x="156" y="312"/>
                  <a:pt x="156" y="312"/>
                  <a:pt x="156" y="312"/>
                </a:cubicBezTo>
                <a:cubicBezTo>
                  <a:pt x="156" y="313"/>
                  <a:pt x="156" y="313"/>
                  <a:pt x="156" y="313"/>
                </a:cubicBezTo>
                <a:cubicBezTo>
                  <a:pt x="156" y="313"/>
                  <a:pt x="156" y="313"/>
                  <a:pt x="156" y="313"/>
                </a:cubicBezTo>
                <a:cubicBezTo>
                  <a:pt x="156" y="314"/>
                  <a:pt x="156" y="314"/>
                  <a:pt x="156" y="314"/>
                </a:cubicBezTo>
                <a:cubicBezTo>
                  <a:pt x="156" y="314"/>
                  <a:pt x="156" y="314"/>
                  <a:pt x="156" y="315"/>
                </a:cubicBezTo>
                <a:cubicBezTo>
                  <a:pt x="156" y="315"/>
                  <a:pt x="156" y="315"/>
                  <a:pt x="156" y="315"/>
                </a:cubicBezTo>
                <a:cubicBezTo>
                  <a:pt x="155" y="316"/>
                  <a:pt x="155" y="316"/>
                  <a:pt x="155" y="316"/>
                </a:cubicBezTo>
                <a:cubicBezTo>
                  <a:pt x="155" y="316"/>
                  <a:pt x="155" y="316"/>
                  <a:pt x="155" y="316"/>
                </a:cubicBezTo>
                <a:cubicBezTo>
                  <a:pt x="155" y="316"/>
                  <a:pt x="155" y="317"/>
                  <a:pt x="155" y="317"/>
                </a:cubicBezTo>
                <a:cubicBezTo>
                  <a:pt x="155" y="316"/>
                  <a:pt x="155" y="316"/>
                  <a:pt x="156" y="316"/>
                </a:cubicBezTo>
                <a:cubicBezTo>
                  <a:pt x="156" y="315"/>
                  <a:pt x="156" y="315"/>
                  <a:pt x="157" y="314"/>
                </a:cubicBezTo>
                <a:cubicBezTo>
                  <a:pt x="157" y="313"/>
                  <a:pt x="158" y="312"/>
                  <a:pt x="159" y="311"/>
                </a:cubicBezTo>
                <a:cubicBezTo>
                  <a:pt x="160" y="311"/>
                  <a:pt x="160" y="311"/>
                  <a:pt x="160" y="310"/>
                </a:cubicBezTo>
                <a:cubicBezTo>
                  <a:pt x="161" y="309"/>
                  <a:pt x="163" y="308"/>
                  <a:pt x="166" y="307"/>
                </a:cubicBezTo>
                <a:cubicBezTo>
                  <a:pt x="167" y="307"/>
                  <a:pt x="167" y="307"/>
                  <a:pt x="167" y="307"/>
                </a:cubicBezTo>
                <a:cubicBezTo>
                  <a:pt x="168" y="307"/>
                  <a:pt x="168" y="307"/>
                  <a:pt x="168" y="307"/>
                </a:cubicBezTo>
                <a:cubicBezTo>
                  <a:pt x="168" y="307"/>
                  <a:pt x="168" y="307"/>
                  <a:pt x="168" y="307"/>
                </a:cubicBezTo>
                <a:cubicBezTo>
                  <a:pt x="168" y="307"/>
                  <a:pt x="168" y="307"/>
                  <a:pt x="168" y="307"/>
                </a:cubicBezTo>
                <a:cubicBezTo>
                  <a:pt x="169" y="307"/>
                  <a:pt x="170" y="308"/>
                  <a:pt x="171" y="308"/>
                </a:cubicBezTo>
                <a:cubicBezTo>
                  <a:pt x="171" y="308"/>
                  <a:pt x="171" y="308"/>
                  <a:pt x="171" y="308"/>
                </a:cubicBezTo>
                <a:cubicBezTo>
                  <a:pt x="171" y="309"/>
                  <a:pt x="171" y="309"/>
                  <a:pt x="171" y="309"/>
                </a:cubicBezTo>
                <a:cubicBezTo>
                  <a:pt x="171" y="309"/>
                  <a:pt x="171" y="309"/>
                  <a:pt x="172" y="310"/>
                </a:cubicBezTo>
                <a:cubicBezTo>
                  <a:pt x="172" y="310"/>
                  <a:pt x="172" y="310"/>
                  <a:pt x="172" y="310"/>
                </a:cubicBezTo>
                <a:cubicBezTo>
                  <a:pt x="172" y="310"/>
                  <a:pt x="172" y="310"/>
                  <a:pt x="172" y="310"/>
                </a:cubicBezTo>
                <a:cubicBezTo>
                  <a:pt x="173" y="310"/>
                  <a:pt x="174" y="310"/>
                  <a:pt x="175" y="310"/>
                </a:cubicBezTo>
                <a:cubicBezTo>
                  <a:pt x="175" y="310"/>
                  <a:pt x="175" y="310"/>
                  <a:pt x="175" y="310"/>
                </a:cubicBezTo>
                <a:cubicBezTo>
                  <a:pt x="175" y="310"/>
                  <a:pt x="175" y="310"/>
                  <a:pt x="175" y="310"/>
                </a:cubicBezTo>
                <a:cubicBezTo>
                  <a:pt x="176" y="310"/>
                  <a:pt x="176" y="310"/>
                  <a:pt x="176" y="310"/>
                </a:cubicBezTo>
                <a:cubicBezTo>
                  <a:pt x="176" y="310"/>
                  <a:pt x="176" y="310"/>
                  <a:pt x="176" y="311"/>
                </a:cubicBezTo>
                <a:cubicBezTo>
                  <a:pt x="176" y="311"/>
                  <a:pt x="176" y="311"/>
                  <a:pt x="176" y="311"/>
                </a:cubicBezTo>
                <a:cubicBezTo>
                  <a:pt x="177" y="311"/>
                  <a:pt x="177" y="311"/>
                  <a:pt x="177" y="311"/>
                </a:cubicBezTo>
                <a:cubicBezTo>
                  <a:pt x="177" y="310"/>
                  <a:pt x="178" y="310"/>
                  <a:pt x="179" y="310"/>
                </a:cubicBezTo>
                <a:cubicBezTo>
                  <a:pt x="180" y="310"/>
                  <a:pt x="181" y="310"/>
                  <a:pt x="182" y="310"/>
                </a:cubicBezTo>
                <a:cubicBezTo>
                  <a:pt x="182" y="311"/>
                  <a:pt x="183" y="311"/>
                  <a:pt x="184" y="311"/>
                </a:cubicBezTo>
                <a:cubicBezTo>
                  <a:pt x="184" y="311"/>
                  <a:pt x="184" y="312"/>
                  <a:pt x="184" y="312"/>
                </a:cubicBezTo>
                <a:cubicBezTo>
                  <a:pt x="184" y="312"/>
                  <a:pt x="184" y="312"/>
                  <a:pt x="184" y="312"/>
                </a:cubicBezTo>
                <a:cubicBezTo>
                  <a:pt x="184" y="313"/>
                  <a:pt x="185" y="313"/>
                  <a:pt x="185" y="313"/>
                </a:cubicBezTo>
                <a:cubicBezTo>
                  <a:pt x="185" y="313"/>
                  <a:pt x="185" y="313"/>
                  <a:pt x="185" y="313"/>
                </a:cubicBezTo>
                <a:cubicBezTo>
                  <a:pt x="185" y="313"/>
                  <a:pt x="185" y="313"/>
                  <a:pt x="185" y="313"/>
                </a:cubicBezTo>
                <a:cubicBezTo>
                  <a:pt x="185" y="313"/>
                  <a:pt x="186" y="313"/>
                  <a:pt x="186" y="313"/>
                </a:cubicBezTo>
                <a:cubicBezTo>
                  <a:pt x="191" y="312"/>
                  <a:pt x="191" y="312"/>
                  <a:pt x="191" y="312"/>
                </a:cubicBezTo>
                <a:cubicBezTo>
                  <a:pt x="191" y="312"/>
                  <a:pt x="191" y="312"/>
                  <a:pt x="191" y="312"/>
                </a:cubicBezTo>
                <a:cubicBezTo>
                  <a:pt x="192" y="312"/>
                  <a:pt x="192" y="312"/>
                  <a:pt x="193" y="311"/>
                </a:cubicBezTo>
                <a:cubicBezTo>
                  <a:pt x="193" y="311"/>
                  <a:pt x="193" y="311"/>
                  <a:pt x="193" y="311"/>
                </a:cubicBezTo>
                <a:cubicBezTo>
                  <a:pt x="192" y="310"/>
                  <a:pt x="193" y="310"/>
                  <a:pt x="193" y="310"/>
                </a:cubicBezTo>
                <a:cubicBezTo>
                  <a:pt x="193" y="309"/>
                  <a:pt x="193" y="309"/>
                  <a:pt x="194" y="309"/>
                </a:cubicBezTo>
                <a:cubicBezTo>
                  <a:pt x="194" y="308"/>
                  <a:pt x="195" y="308"/>
                  <a:pt x="195" y="308"/>
                </a:cubicBezTo>
                <a:cubicBezTo>
                  <a:pt x="196" y="308"/>
                  <a:pt x="196" y="308"/>
                  <a:pt x="196" y="308"/>
                </a:cubicBezTo>
                <a:cubicBezTo>
                  <a:pt x="196" y="307"/>
                  <a:pt x="196" y="307"/>
                  <a:pt x="196" y="307"/>
                </a:cubicBezTo>
                <a:cubicBezTo>
                  <a:pt x="195" y="306"/>
                  <a:pt x="195" y="306"/>
                  <a:pt x="195" y="306"/>
                </a:cubicBezTo>
                <a:cubicBezTo>
                  <a:pt x="197" y="307"/>
                  <a:pt x="197" y="307"/>
                  <a:pt x="197" y="307"/>
                </a:cubicBezTo>
                <a:cubicBezTo>
                  <a:pt x="197" y="307"/>
                  <a:pt x="197" y="307"/>
                  <a:pt x="197" y="307"/>
                </a:cubicBezTo>
                <a:cubicBezTo>
                  <a:pt x="197" y="307"/>
                  <a:pt x="197" y="307"/>
                  <a:pt x="197" y="306"/>
                </a:cubicBezTo>
                <a:cubicBezTo>
                  <a:pt x="197" y="306"/>
                  <a:pt x="197" y="306"/>
                  <a:pt x="197" y="306"/>
                </a:cubicBezTo>
                <a:cubicBezTo>
                  <a:pt x="198" y="305"/>
                  <a:pt x="198" y="304"/>
                  <a:pt x="199" y="304"/>
                </a:cubicBezTo>
                <a:cubicBezTo>
                  <a:pt x="199" y="303"/>
                  <a:pt x="200" y="303"/>
                  <a:pt x="200" y="303"/>
                </a:cubicBezTo>
                <a:cubicBezTo>
                  <a:pt x="201" y="303"/>
                  <a:pt x="201" y="303"/>
                  <a:pt x="201" y="303"/>
                </a:cubicBezTo>
                <a:cubicBezTo>
                  <a:pt x="202" y="303"/>
                  <a:pt x="203" y="303"/>
                  <a:pt x="204" y="302"/>
                </a:cubicBezTo>
                <a:cubicBezTo>
                  <a:pt x="205" y="302"/>
                  <a:pt x="205" y="302"/>
                  <a:pt x="205" y="302"/>
                </a:cubicBezTo>
                <a:cubicBezTo>
                  <a:pt x="206" y="302"/>
                  <a:pt x="207" y="301"/>
                  <a:pt x="207" y="300"/>
                </a:cubicBezTo>
                <a:cubicBezTo>
                  <a:pt x="207" y="300"/>
                  <a:pt x="207" y="300"/>
                  <a:pt x="207" y="300"/>
                </a:cubicBezTo>
                <a:cubicBezTo>
                  <a:pt x="208" y="300"/>
                  <a:pt x="208" y="300"/>
                  <a:pt x="208" y="300"/>
                </a:cubicBezTo>
                <a:cubicBezTo>
                  <a:pt x="208" y="300"/>
                  <a:pt x="208" y="300"/>
                  <a:pt x="208" y="300"/>
                </a:cubicBezTo>
                <a:cubicBezTo>
                  <a:pt x="209" y="299"/>
                  <a:pt x="210" y="298"/>
                  <a:pt x="211" y="298"/>
                </a:cubicBezTo>
                <a:cubicBezTo>
                  <a:pt x="211" y="297"/>
                  <a:pt x="211" y="297"/>
                  <a:pt x="212" y="297"/>
                </a:cubicBezTo>
                <a:cubicBezTo>
                  <a:pt x="212" y="297"/>
                  <a:pt x="212" y="296"/>
                  <a:pt x="213" y="296"/>
                </a:cubicBezTo>
                <a:cubicBezTo>
                  <a:pt x="213" y="296"/>
                  <a:pt x="214" y="296"/>
                  <a:pt x="215" y="296"/>
                </a:cubicBezTo>
                <a:cubicBezTo>
                  <a:pt x="215" y="296"/>
                  <a:pt x="215" y="296"/>
                  <a:pt x="215" y="296"/>
                </a:cubicBezTo>
                <a:cubicBezTo>
                  <a:pt x="215" y="296"/>
                  <a:pt x="215" y="297"/>
                  <a:pt x="215" y="297"/>
                </a:cubicBezTo>
                <a:cubicBezTo>
                  <a:pt x="216" y="297"/>
                  <a:pt x="216" y="297"/>
                  <a:pt x="216" y="297"/>
                </a:cubicBezTo>
                <a:cubicBezTo>
                  <a:pt x="216" y="297"/>
                  <a:pt x="216" y="297"/>
                  <a:pt x="216" y="297"/>
                </a:cubicBezTo>
                <a:cubicBezTo>
                  <a:pt x="216" y="297"/>
                  <a:pt x="216" y="297"/>
                  <a:pt x="216" y="298"/>
                </a:cubicBezTo>
                <a:cubicBezTo>
                  <a:pt x="216" y="298"/>
                  <a:pt x="217" y="298"/>
                  <a:pt x="217" y="298"/>
                </a:cubicBezTo>
                <a:cubicBezTo>
                  <a:pt x="217" y="298"/>
                  <a:pt x="217" y="298"/>
                  <a:pt x="217" y="298"/>
                </a:cubicBezTo>
                <a:cubicBezTo>
                  <a:pt x="217" y="298"/>
                  <a:pt x="218" y="298"/>
                  <a:pt x="218" y="298"/>
                </a:cubicBezTo>
                <a:cubicBezTo>
                  <a:pt x="218" y="298"/>
                  <a:pt x="218" y="298"/>
                  <a:pt x="218" y="298"/>
                </a:cubicBezTo>
                <a:cubicBezTo>
                  <a:pt x="219" y="298"/>
                  <a:pt x="219" y="298"/>
                  <a:pt x="220" y="298"/>
                </a:cubicBezTo>
                <a:cubicBezTo>
                  <a:pt x="220" y="299"/>
                  <a:pt x="220" y="299"/>
                  <a:pt x="221" y="299"/>
                </a:cubicBezTo>
                <a:cubicBezTo>
                  <a:pt x="221" y="299"/>
                  <a:pt x="221" y="299"/>
                  <a:pt x="221" y="299"/>
                </a:cubicBezTo>
                <a:cubicBezTo>
                  <a:pt x="221" y="299"/>
                  <a:pt x="222" y="298"/>
                  <a:pt x="222" y="298"/>
                </a:cubicBezTo>
                <a:cubicBezTo>
                  <a:pt x="226" y="295"/>
                  <a:pt x="227" y="294"/>
                  <a:pt x="229" y="295"/>
                </a:cubicBezTo>
                <a:cubicBezTo>
                  <a:pt x="229" y="295"/>
                  <a:pt x="230" y="295"/>
                  <a:pt x="230" y="296"/>
                </a:cubicBezTo>
                <a:cubicBezTo>
                  <a:pt x="230" y="296"/>
                  <a:pt x="230" y="296"/>
                  <a:pt x="230" y="296"/>
                </a:cubicBezTo>
                <a:cubicBezTo>
                  <a:pt x="230" y="296"/>
                  <a:pt x="230" y="296"/>
                  <a:pt x="231" y="296"/>
                </a:cubicBezTo>
                <a:cubicBezTo>
                  <a:pt x="231" y="296"/>
                  <a:pt x="231" y="296"/>
                  <a:pt x="231" y="296"/>
                </a:cubicBezTo>
                <a:cubicBezTo>
                  <a:pt x="231" y="296"/>
                  <a:pt x="232" y="297"/>
                  <a:pt x="233" y="298"/>
                </a:cubicBezTo>
                <a:cubicBezTo>
                  <a:pt x="233" y="298"/>
                  <a:pt x="233" y="298"/>
                  <a:pt x="233" y="298"/>
                </a:cubicBezTo>
                <a:cubicBezTo>
                  <a:pt x="233" y="298"/>
                  <a:pt x="233" y="298"/>
                  <a:pt x="233" y="298"/>
                </a:cubicBezTo>
                <a:cubicBezTo>
                  <a:pt x="233" y="298"/>
                  <a:pt x="232" y="298"/>
                  <a:pt x="232" y="299"/>
                </a:cubicBezTo>
                <a:cubicBezTo>
                  <a:pt x="232" y="299"/>
                  <a:pt x="232" y="299"/>
                  <a:pt x="232" y="299"/>
                </a:cubicBezTo>
                <a:cubicBezTo>
                  <a:pt x="236" y="297"/>
                  <a:pt x="236" y="297"/>
                  <a:pt x="236" y="297"/>
                </a:cubicBezTo>
                <a:cubicBezTo>
                  <a:pt x="234" y="301"/>
                  <a:pt x="234" y="301"/>
                  <a:pt x="234" y="301"/>
                </a:cubicBezTo>
                <a:cubicBezTo>
                  <a:pt x="234" y="301"/>
                  <a:pt x="234" y="301"/>
                  <a:pt x="234" y="301"/>
                </a:cubicBezTo>
                <a:cubicBezTo>
                  <a:pt x="234" y="301"/>
                  <a:pt x="234" y="301"/>
                  <a:pt x="234" y="301"/>
                </a:cubicBezTo>
                <a:cubicBezTo>
                  <a:pt x="234" y="301"/>
                  <a:pt x="234" y="301"/>
                  <a:pt x="234" y="301"/>
                </a:cubicBezTo>
                <a:cubicBezTo>
                  <a:pt x="234" y="302"/>
                  <a:pt x="235" y="302"/>
                  <a:pt x="235" y="303"/>
                </a:cubicBezTo>
                <a:cubicBezTo>
                  <a:pt x="235" y="304"/>
                  <a:pt x="235" y="305"/>
                  <a:pt x="234" y="305"/>
                </a:cubicBezTo>
                <a:cubicBezTo>
                  <a:pt x="234" y="305"/>
                  <a:pt x="234" y="305"/>
                  <a:pt x="234" y="305"/>
                </a:cubicBezTo>
                <a:cubicBezTo>
                  <a:pt x="233" y="305"/>
                  <a:pt x="233" y="305"/>
                  <a:pt x="233" y="305"/>
                </a:cubicBezTo>
                <a:cubicBezTo>
                  <a:pt x="233" y="305"/>
                  <a:pt x="233" y="306"/>
                  <a:pt x="233" y="306"/>
                </a:cubicBezTo>
                <a:cubicBezTo>
                  <a:pt x="233" y="306"/>
                  <a:pt x="233" y="306"/>
                  <a:pt x="233" y="306"/>
                </a:cubicBezTo>
                <a:cubicBezTo>
                  <a:pt x="234" y="306"/>
                  <a:pt x="234" y="306"/>
                  <a:pt x="234" y="306"/>
                </a:cubicBezTo>
                <a:cubicBezTo>
                  <a:pt x="235" y="306"/>
                  <a:pt x="235" y="306"/>
                  <a:pt x="235" y="306"/>
                </a:cubicBezTo>
                <a:cubicBezTo>
                  <a:pt x="236" y="306"/>
                  <a:pt x="236" y="306"/>
                  <a:pt x="237" y="306"/>
                </a:cubicBezTo>
                <a:cubicBezTo>
                  <a:pt x="238" y="306"/>
                  <a:pt x="238" y="306"/>
                  <a:pt x="238" y="306"/>
                </a:cubicBezTo>
                <a:cubicBezTo>
                  <a:pt x="238" y="306"/>
                  <a:pt x="238" y="306"/>
                  <a:pt x="239" y="307"/>
                </a:cubicBezTo>
                <a:cubicBezTo>
                  <a:pt x="239" y="307"/>
                  <a:pt x="239" y="307"/>
                  <a:pt x="239" y="307"/>
                </a:cubicBezTo>
                <a:cubicBezTo>
                  <a:pt x="240" y="307"/>
                  <a:pt x="240" y="307"/>
                  <a:pt x="241" y="308"/>
                </a:cubicBezTo>
                <a:cubicBezTo>
                  <a:pt x="241" y="308"/>
                  <a:pt x="241" y="308"/>
                  <a:pt x="241" y="308"/>
                </a:cubicBezTo>
                <a:cubicBezTo>
                  <a:pt x="241" y="307"/>
                  <a:pt x="242" y="306"/>
                  <a:pt x="242" y="306"/>
                </a:cubicBezTo>
                <a:cubicBezTo>
                  <a:pt x="243" y="305"/>
                  <a:pt x="243" y="305"/>
                  <a:pt x="244" y="305"/>
                </a:cubicBezTo>
                <a:cubicBezTo>
                  <a:pt x="245" y="304"/>
                  <a:pt x="245" y="305"/>
                  <a:pt x="246" y="305"/>
                </a:cubicBezTo>
                <a:cubicBezTo>
                  <a:pt x="246" y="305"/>
                  <a:pt x="246" y="305"/>
                  <a:pt x="246" y="305"/>
                </a:cubicBezTo>
                <a:cubicBezTo>
                  <a:pt x="246" y="306"/>
                  <a:pt x="246" y="306"/>
                  <a:pt x="246" y="306"/>
                </a:cubicBezTo>
                <a:cubicBezTo>
                  <a:pt x="246" y="306"/>
                  <a:pt x="246" y="306"/>
                  <a:pt x="247" y="306"/>
                </a:cubicBezTo>
                <a:cubicBezTo>
                  <a:pt x="247" y="306"/>
                  <a:pt x="247" y="306"/>
                  <a:pt x="248" y="307"/>
                </a:cubicBezTo>
                <a:cubicBezTo>
                  <a:pt x="248" y="307"/>
                  <a:pt x="248" y="307"/>
                  <a:pt x="249" y="307"/>
                </a:cubicBezTo>
                <a:cubicBezTo>
                  <a:pt x="249" y="308"/>
                  <a:pt x="249" y="308"/>
                  <a:pt x="249" y="308"/>
                </a:cubicBezTo>
                <a:cubicBezTo>
                  <a:pt x="249" y="308"/>
                  <a:pt x="249" y="308"/>
                  <a:pt x="249" y="308"/>
                </a:cubicBezTo>
                <a:cubicBezTo>
                  <a:pt x="251" y="310"/>
                  <a:pt x="251" y="311"/>
                  <a:pt x="251" y="312"/>
                </a:cubicBezTo>
                <a:cubicBezTo>
                  <a:pt x="251" y="313"/>
                  <a:pt x="251" y="314"/>
                  <a:pt x="252" y="314"/>
                </a:cubicBezTo>
                <a:cubicBezTo>
                  <a:pt x="252" y="314"/>
                  <a:pt x="252" y="314"/>
                  <a:pt x="252" y="314"/>
                </a:cubicBezTo>
                <a:cubicBezTo>
                  <a:pt x="252" y="314"/>
                  <a:pt x="252" y="314"/>
                  <a:pt x="253" y="314"/>
                </a:cubicBezTo>
                <a:cubicBezTo>
                  <a:pt x="253" y="314"/>
                  <a:pt x="254" y="314"/>
                  <a:pt x="254" y="314"/>
                </a:cubicBezTo>
                <a:cubicBezTo>
                  <a:pt x="254" y="314"/>
                  <a:pt x="254" y="314"/>
                  <a:pt x="254" y="314"/>
                </a:cubicBezTo>
                <a:cubicBezTo>
                  <a:pt x="254" y="314"/>
                  <a:pt x="254" y="314"/>
                  <a:pt x="254" y="314"/>
                </a:cubicBezTo>
                <a:cubicBezTo>
                  <a:pt x="256" y="315"/>
                  <a:pt x="256" y="315"/>
                  <a:pt x="256" y="315"/>
                </a:cubicBezTo>
                <a:cubicBezTo>
                  <a:pt x="256" y="316"/>
                  <a:pt x="256" y="316"/>
                  <a:pt x="256" y="316"/>
                </a:cubicBezTo>
                <a:cubicBezTo>
                  <a:pt x="256" y="317"/>
                  <a:pt x="256" y="317"/>
                  <a:pt x="256" y="317"/>
                </a:cubicBezTo>
                <a:cubicBezTo>
                  <a:pt x="257" y="318"/>
                  <a:pt x="257" y="320"/>
                  <a:pt x="257" y="322"/>
                </a:cubicBezTo>
                <a:cubicBezTo>
                  <a:pt x="257" y="323"/>
                  <a:pt x="257" y="323"/>
                  <a:pt x="257" y="323"/>
                </a:cubicBezTo>
                <a:cubicBezTo>
                  <a:pt x="257" y="323"/>
                  <a:pt x="257" y="323"/>
                  <a:pt x="257" y="324"/>
                </a:cubicBezTo>
                <a:cubicBezTo>
                  <a:pt x="257" y="324"/>
                  <a:pt x="257" y="324"/>
                  <a:pt x="257" y="324"/>
                </a:cubicBezTo>
                <a:cubicBezTo>
                  <a:pt x="257" y="326"/>
                  <a:pt x="257" y="327"/>
                  <a:pt x="257" y="328"/>
                </a:cubicBezTo>
                <a:cubicBezTo>
                  <a:pt x="257" y="329"/>
                  <a:pt x="257" y="329"/>
                  <a:pt x="257" y="330"/>
                </a:cubicBezTo>
                <a:cubicBezTo>
                  <a:pt x="256" y="330"/>
                  <a:pt x="256" y="330"/>
                  <a:pt x="256" y="331"/>
                </a:cubicBezTo>
                <a:cubicBezTo>
                  <a:pt x="256" y="331"/>
                  <a:pt x="256" y="332"/>
                  <a:pt x="255" y="332"/>
                </a:cubicBezTo>
                <a:cubicBezTo>
                  <a:pt x="255" y="333"/>
                  <a:pt x="255" y="333"/>
                  <a:pt x="255" y="333"/>
                </a:cubicBezTo>
                <a:cubicBezTo>
                  <a:pt x="255" y="333"/>
                  <a:pt x="255" y="333"/>
                  <a:pt x="255" y="333"/>
                </a:cubicBezTo>
                <a:cubicBezTo>
                  <a:pt x="256" y="334"/>
                  <a:pt x="256" y="334"/>
                  <a:pt x="256" y="334"/>
                </a:cubicBezTo>
                <a:cubicBezTo>
                  <a:pt x="256" y="334"/>
                  <a:pt x="256" y="335"/>
                  <a:pt x="256" y="336"/>
                </a:cubicBezTo>
                <a:cubicBezTo>
                  <a:pt x="256" y="337"/>
                  <a:pt x="256" y="337"/>
                  <a:pt x="256" y="337"/>
                </a:cubicBezTo>
                <a:cubicBezTo>
                  <a:pt x="256" y="337"/>
                  <a:pt x="255" y="337"/>
                  <a:pt x="255" y="337"/>
                </a:cubicBezTo>
                <a:cubicBezTo>
                  <a:pt x="255" y="337"/>
                  <a:pt x="255" y="338"/>
                  <a:pt x="254" y="338"/>
                </a:cubicBezTo>
                <a:cubicBezTo>
                  <a:pt x="254" y="339"/>
                  <a:pt x="253" y="339"/>
                  <a:pt x="252" y="340"/>
                </a:cubicBezTo>
                <a:cubicBezTo>
                  <a:pt x="251" y="340"/>
                  <a:pt x="251" y="340"/>
                  <a:pt x="250" y="340"/>
                </a:cubicBezTo>
                <a:cubicBezTo>
                  <a:pt x="250" y="340"/>
                  <a:pt x="250" y="340"/>
                  <a:pt x="250" y="340"/>
                </a:cubicBezTo>
                <a:cubicBezTo>
                  <a:pt x="250" y="340"/>
                  <a:pt x="250" y="341"/>
                  <a:pt x="250" y="341"/>
                </a:cubicBezTo>
                <a:cubicBezTo>
                  <a:pt x="250" y="342"/>
                  <a:pt x="249" y="342"/>
                  <a:pt x="248" y="342"/>
                </a:cubicBezTo>
                <a:cubicBezTo>
                  <a:pt x="248" y="343"/>
                  <a:pt x="248" y="343"/>
                  <a:pt x="248" y="343"/>
                </a:cubicBezTo>
                <a:cubicBezTo>
                  <a:pt x="247" y="343"/>
                  <a:pt x="247" y="343"/>
                  <a:pt x="247" y="344"/>
                </a:cubicBezTo>
                <a:cubicBezTo>
                  <a:pt x="247" y="344"/>
                  <a:pt x="247" y="345"/>
                  <a:pt x="247" y="345"/>
                </a:cubicBezTo>
                <a:cubicBezTo>
                  <a:pt x="247" y="345"/>
                  <a:pt x="247" y="345"/>
                  <a:pt x="247" y="345"/>
                </a:cubicBezTo>
                <a:cubicBezTo>
                  <a:pt x="248" y="345"/>
                  <a:pt x="248" y="345"/>
                  <a:pt x="248" y="345"/>
                </a:cubicBezTo>
                <a:cubicBezTo>
                  <a:pt x="247" y="347"/>
                  <a:pt x="247" y="347"/>
                  <a:pt x="247" y="347"/>
                </a:cubicBezTo>
                <a:cubicBezTo>
                  <a:pt x="247" y="347"/>
                  <a:pt x="246" y="348"/>
                  <a:pt x="246" y="348"/>
                </a:cubicBezTo>
                <a:cubicBezTo>
                  <a:pt x="245" y="348"/>
                  <a:pt x="245" y="348"/>
                  <a:pt x="245" y="348"/>
                </a:cubicBezTo>
                <a:cubicBezTo>
                  <a:pt x="245" y="348"/>
                  <a:pt x="245" y="348"/>
                  <a:pt x="245" y="348"/>
                </a:cubicBezTo>
                <a:cubicBezTo>
                  <a:pt x="244" y="348"/>
                  <a:pt x="244" y="348"/>
                  <a:pt x="244" y="349"/>
                </a:cubicBezTo>
                <a:cubicBezTo>
                  <a:pt x="244" y="350"/>
                  <a:pt x="244" y="350"/>
                  <a:pt x="244" y="350"/>
                </a:cubicBezTo>
                <a:cubicBezTo>
                  <a:pt x="245" y="350"/>
                  <a:pt x="246" y="350"/>
                  <a:pt x="246" y="351"/>
                </a:cubicBezTo>
                <a:cubicBezTo>
                  <a:pt x="246" y="352"/>
                  <a:pt x="246" y="353"/>
                  <a:pt x="246" y="354"/>
                </a:cubicBezTo>
                <a:cubicBezTo>
                  <a:pt x="246" y="354"/>
                  <a:pt x="246" y="354"/>
                  <a:pt x="246" y="354"/>
                </a:cubicBezTo>
                <a:cubicBezTo>
                  <a:pt x="246" y="354"/>
                  <a:pt x="246" y="355"/>
                  <a:pt x="245" y="355"/>
                </a:cubicBezTo>
                <a:cubicBezTo>
                  <a:pt x="245" y="355"/>
                  <a:pt x="245" y="355"/>
                  <a:pt x="245" y="355"/>
                </a:cubicBezTo>
                <a:cubicBezTo>
                  <a:pt x="246" y="355"/>
                  <a:pt x="247" y="355"/>
                  <a:pt x="247" y="354"/>
                </a:cubicBezTo>
                <a:cubicBezTo>
                  <a:pt x="247" y="354"/>
                  <a:pt x="247" y="354"/>
                  <a:pt x="247" y="354"/>
                </a:cubicBezTo>
                <a:cubicBezTo>
                  <a:pt x="248" y="354"/>
                  <a:pt x="248" y="354"/>
                  <a:pt x="249" y="353"/>
                </a:cubicBezTo>
                <a:cubicBezTo>
                  <a:pt x="249" y="353"/>
                  <a:pt x="249" y="353"/>
                  <a:pt x="249" y="353"/>
                </a:cubicBezTo>
                <a:cubicBezTo>
                  <a:pt x="249" y="353"/>
                  <a:pt x="249" y="353"/>
                  <a:pt x="249" y="353"/>
                </a:cubicBezTo>
                <a:cubicBezTo>
                  <a:pt x="250" y="353"/>
                  <a:pt x="252" y="353"/>
                  <a:pt x="252" y="353"/>
                </a:cubicBezTo>
                <a:cubicBezTo>
                  <a:pt x="253" y="353"/>
                  <a:pt x="253" y="353"/>
                  <a:pt x="253" y="353"/>
                </a:cubicBezTo>
                <a:cubicBezTo>
                  <a:pt x="253" y="353"/>
                  <a:pt x="253" y="353"/>
                  <a:pt x="253" y="353"/>
                </a:cubicBezTo>
                <a:cubicBezTo>
                  <a:pt x="254" y="353"/>
                  <a:pt x="255" y="353"/>
                  <a:pt x="257" y="353"/>
                </a:cubicBezTo>
                <a:cubicBezTo>
                  <a:pt x="260" y="352"/>
                  <a:pt x="260" y="352"/>
                  <a:pt x="260" y="352"/>
                </a:cubicBezTo>
                <a:cubicBezTo>
                  <a:pt x="256" y="357"/>
                  <a:pt x="256" y="357"/>
                  <a:pt x="256" y="357"/>
                </a:cubicBezTo>
                <a:cubicBezTo>
                  <a:pt x="256" y="357"/>
                  <a:pt x="256" y="358"/>
                  <a:pt x="256" y="358"/>
                </a:cubicBezTo>
                <a:cubicBezTo>
                  <a:pt x="256" y="358"/>
                  <a:pt x="256" y="358"/>
                  <a:pt x="256" y="358"/>
                </a:cubicBezTo>
                <a:cubicBezTo>
                  <a:pt x="256" y="358"/>
                  <a:pt x="256" y="358"/>
                  <a:pt x="257" y="358"/>
                </a:cubicBezTo>
                <a:cubicBezTo>
                  <a:pt x="257" y="359"/>
                  <a:pt x="257" y="359"/>
                  <a:pt x="257" y="359"/>
                </a:cubicBezTo>
                <a:cubicBezTo>
                  <a:pt x="257" y="360"/>
                  <a:pt x="257" y="360"/>
                  <a:pt x="257" y="360"/>
                </a:cubicBezTo>
                <a:cubicBezTo>
                  <a:pt x="257" y="361"/>
                  <a:pt x="258" y="361"/>
                  <a:pt x="258" y="362"/>
                </a:cubicBezTo>
                <a:cubicBezTo>
                  <a:pt x="258" y="363"/>
                  <a:pt x="258" y="363"/>
                  <a:pt x="258" y="363"/>
                </a:cubicBezTo>
                <a:cubicBezTo>
                  <a:pt x="258" y="363"/>
                  <a:pt x="259" y="364"/>
                  <a:pt x="260" y="364"/>
                </a:cubicBezTo>
                <a:cubicBezTo>
                  <a:pt x="260" y="364"/>
                  <a:pt x="260" y="364"/>
                  <a:pt x="260" y="364"/>
                </a:cubicBezTo>
                <a:cubicBezTo>
                  <a:pt x="260" y="364"/>
                  <a:pt x="260" y="364"/>
                  <a:pt x="260" y="364"/>
                </a:cubicBezTo>
                <a:cubicBezTo>
                  <a:pt x="261" y="362"/>
                  <a:pt x="261" y="362"/>
                  <a:pt x="261" y="362"/>
                </a:cubicBezTo>
                <a:cubicBezTo>
                  <a:pt x="261" y="364"/>
                  <a:pt x="261" y="364"/>
                  <a:pt x="261" y="364"/>
                </a:cubicBezTo>
                <a:cubicBezTo>
                  <a:pt x="261" y="364"/>
                  <a:pt x="261" y="364"/>
                  <a:pt x="261" y="364"/>
                </a:cubicBezTo>
                <a:cubicBezTo>
                  <a:pt x="262" y="364"/>
                  <a:pt x="262" y="364"/>
                  <a:pt x="262" y="364"/>
                </a:cubicBezTo>
                <a:cubicBezTo>
                  <a:pt x="263" y="364"/>
                  <a:pt x="264" y="364"/>
                  <a:pt x="265" y="365"/>
                </a:cubicBezTo>
                <a:cubicBezTo>
                  <a:pt x="265" y="365"/>
                  <a:pt x="265" y="366"/>
                  <a:pt x="265" y="366"/>
                </a:cubicBezTo>
                <a:cubicBezTo>
                  <a:pt x="265" y="366"/>
                  <a:pt x="265" y="366"/>
                  <a:pt x="265" y="366"/>
                </a:cubicBezTo>
                <a:cubicBezTo>
                  <a:pt x="265" y="367"/>
                  <a:pt x="265" y="368"/>
                  <a:pt x="264" y="369"/>
                </a:cubicBezTo>
                <a:cubicBezTo>
                  <a:pt x="264" y="369"/>
                  <a:pt x="264" y="369"/>
                  <a:pt x="263" y="369"/>
                </a:cubicBezTo>
                <a:cubicBezTo>
                  <a:pt x="263" y="369"/>
                  <a:pt x="263" y="369"/>
                  <a:pt x="263" y="369"/>
                </a:cubicBezTo>
                <a:cubicBezTo>
                  <a:pt x="263" y="369"/>
                  <a:pt x="263" y="369"/>
                  <a:pt x="263" y="369"/>
                </a:cubicBezTo>
                <a:cubicBezTo>
                  <a:pt x="263" y="370"/>
                  <a:pt x="263" y="370"/>
                  <a:pt x="263" y="370"/>
                </a:cubicBezTo>
                <a:cubicBezTo>
                  <a:pt x="263" y="370"/>
                  <a:pt x="263" y="370"/>
                  <a:pt x="263" y="370"/>
                </a:cubicBezTo>
                <a:cubicBezTo>
                  <a:pt x="263" y="371"/>
                  <a:pt x="263" y="371"/>
                  <a:pt x="262" y="371"/>
                </a:cubicBezTo>
                <a:cubicBezTo>
                  <a:pt x="262" y="372"/>
                  <a:pt x="262" y="372"/>
                  <a:pt x="262" y="373"/>
                </a:cubicBezTo>
                <a:cubicBezTo>
                  <a:pt x="262" y="373"/>
                  <a:pt x="262" y="373"/>
                  <a:pt x="262" y="373"/>
                </a:cubicBezTo>
                <a:cubicBezTo>
                  <a:pt x="262" y="373"/>
                  <a:pt x="262" y="374"/>
                  <a:pt x="262" y="374"/>
                </a:cubicBezTo>
                <a:cubicBezTo>
                  <a:pt x="267" y="375"/>
                  <a:pt x="267" y="375"/>
                  <a:pt x="267" y="375"/>
                </a:cubicBezTo>
                <a:cubicBezTo>
                  <a:pt x="268" y="375"/>
                  <a:pt x="268" y="375"/>
                  <a:pt x="268" y="375"/>
                </a:cubicBezTo>
                <a:cubicBezTo>
                  <a:pt x="268" y="375"/>
                  <a:pt x="268" y="375"/>
                  <a:pt x="269" y="376"/>
                </a:cubicBezTo>
                <a:cubicBezTo>
                  <a:pt x="269" y="376"/>
                  <a:pt x="269" y="376"/>
                  <a:pt x="269" y="376"/>
                </a:cubicBezTo>
                <a:cubicBezTo>
                  <a:pt x="269" y="376"/>
                  <a:pt x="269" y="376"/>
                  <a:pt x="269" y="377"/>
                </a:cubicBezTo>
                <a:cubicBezTo>
                  <a:pt x="269" y="377"/>
                  <a:pt x="269" y="377"/>
                  <a:pt x="269" y="378"/>
                </a:cubicBezTo>
                <a:cubicBezTo>
                  <a:pt x="269" y="378"/>
                  <a:pt x="269" y="378"/>
                  <a:pt x="269" y="378"/>
                </a:cubicBezTo>
                <a:cubicBezTo>
                  <a:pt x="269" y="379"/>
                  <a:pt x="269" y="379"/>
                  <a:pt x="269" y="379"/>
                </a:cubicBezTo>
                <a:cubicBezTo>
                  <a:pt x="269" y="379"/>
                  <a:pt x="269" y="379"/>
                  <a:pt x="269" y="379"/>
                </a:cubicBezTo>
                <a:cubicBezTo>
                  <a:pt x="269" y="379"/>
                  <a:pt x="269" y="379"/>
                  <a:pt x="270" y="380"/>
                </a:cubicBezTo>
                <a:cubicBezTo>
                  <a:pt x="270" y="380"/>
                  <a:pt x="270" y="380"/>
                  <a:pt x="270" y="380"/>
                </a:cubicBezTo>
                <a:cubicBezTo>
                  <a:pt x="270" y="380"/>
                  <a:pt x="270" y="381"/>
                  <a:pt x="270" y="381"/>
                </a:cubicBezTo>
                <a:cubicBezTo>
                  <a:pt x="271" y="381"/>
                  <a:pt x="271" y="381"/>
                  <a:pt x="271" y="381"/>
                </a:cubicBezTo>
                <a:cubicBezTo>
                  <a:pt x="271" y="381"/>
                  <a:pt x="271" y="381"/>
                  <a:pt x="271" y="382"/>
                </a:cubicBezTo>
                <a:cubicBezTo>
                  <a:pt x="274" y="381"/>
                  <a:pt x="274" y="381"/>
                  <a:pt x="274" y="381"/>
                </a:cubicBezTo>
                <a:cubicBezTo>
                  <a:pt x="275" y="380"/>
                  <a:pt x="275" y="380"/>
                  <a:pt x="276" y="380"/>
                </a:cubicBezTo>
                <a:cubicBezTo>
                  <a:pt x="277" y="380"/>
                  <a:pt x="277" y="379"/>
                  <a:pt x="277" y="379"/>
                </a:cubicBezTo>
                <a:cubicBezTo>
                  <a:pt x="278" y="379"/>
                  <a:pt x="278" y="379"/>
                  <a:pt x="278" y="379"/>
                </a:cubicBezTo>
                <a:cubicBezTo>
                  <a:pt x="278" y="379"/>
                  <a:pt x="278" y="379"/>
                  <a:pt x="279" y="379"/>
                </a:cubicBezTo>
                <a:cubicBezTo>
                  <a:pt x="280" y="377"/>
                  <a:pt x="280" y="377"/>
                  <a:pt x="280" y="377"/>
                </a:cubicBezTo>
                <a:cubicBezTo>
                  <a:pt x="281" y="379"/>
                  <a:pt x="281" y="379"/>
                  <a:pt x="281" y="379"/>
                </a:cubicBezTo>
                <a:cubicBezTo>
                  <a:pt x="281" y="380"/>
                  <a:pt x="281" y="380"/>
                  <a:pt x="281" y="381"/>
                </a:cubicBezTo>
                <a:cubicBezTo>
                  <a:pt x="281" y="381"/>
                  <a:pt x="281" y="381"/>
                  <a:pt x="281" y="381"/>
                </a:cubicBezTo>
                <a:cubicBezTo>
                  <a:pt x="281" y="381"/>
                  <a:pt x="281" y="381"/>
                  <a:pt x="281" y="381"/>
                </a:cubicBezTo>
                <a:cubicBezTo>
                  <a:pt x="281" y="382"/>
                  <a:pt x="281" y="382"/>
                  <a:pt x="281" y="382"/>
                </a:cubicBezTo>
                <a:cubicBezTo>
                  <a:pt x="282" y="383"/>
                  <a:pt x="282" y="384"/>
                  <a:pt x="282" y="384"/>
                </a:cubicBezTo>
                <a:cubicBezTo>
                  <a:pt x="283" y="384"/>
                  <a:pt x="283" y="384"/>
                  <a:pt x="283" y="384"/>
                </a:cubicBezTo>
                <a:cubicBezTo>
                  <a:pt x="283" y="384"/>
                  <a:pt x="283" y="384"/>
                  <a:pt x="283" y="384"/>
                </a:cubicBezTo>
                <a:cubicBezTo>
                  <a:pt x="283" y="384"/>
                  <a:pt x="283" y="384"/>
                  <a:pt x="283" y="384"/>
                </a:cubicBezTo>
                <a:cubicBezTo>
                  <a:pt x="284" y="384"/>
                  <a:pt x="284" y="384"/>
                  <a:pt x="285" y="384"/>
                </a:cubicBezTo>
                <a:cubicBezTo>
                  <a:pt x="285" y="385"/>
                  <a:pt x="285" y="385"/>
                  <a:pt x="285" y="385"/>
                </a:cubicBezTo>
                <a:cubicBezTo>
                  <a:pt x="285" y="385"/>
                  <a:pt x="285" y="385"/>
                  <a:pt x="285" y="385"/>
                </a:cubicBezTo>
                <a:cubicBezTo>
                  <a:pt x="285" y="384"/>
                  <a:pt x="285" y="382"/>
                  <a:pt x="285" y="381"/>
                </a:cubicBezTo>
                <a:cubicBezTo>
                  <a:pt x="285" y="381"/>
                  <a:pt x="285" y="381"/>
                  <a:pt x="285" y="381"/>
                </a:cubicBezTo>
                <a:cubicBezTo>
                  <a:pt x="285" y="379"/>
                  <a:pt x="285" y="379"/>
                  <a:pt x="285" y="378"/>
                </a:cubicBezTo>
                <a:cubicBezTo>
                  <a:pt x="284" y="378"/>
                  <a:pt x="284" y="378"/>
                  <a:pt x="284" y="377"/>
                </a:cubicBezTo>
                <a:cubicBezTo>
                  <a:pt x="284" y="377"/>
                  <a:pt x="284" y="377"/>
                  <a:pt x="284" y="377"/>
                </a:cubicBezTo>
                <a:cubicBezTo>
                  <a:pt x="283" y="376"/>
                  <a:pt x="283" y="375"/>
                  <a:pt x="283" y="374"/>
                </a:cubicBezTo>
                <a:cubicBezTo>
                  <a:pt x="283" y="374"/>
                  <a:pt x="283" y="374"/>
                  <a:pt x="283" y="374"/>
                </a:cubicBezTo>
                <a:cubicBezTo>
                  <a:pt x="283" y="373"/>
                  <a:pt x="283" y="373"/>
                  <a:pt x="283" y="373"/>
                </a:cubicBezTo>
                <a:cubicBezTo>
                  <a:pt x="283" y="373"/>
                  <a:pt x="283" y="373"/>
                  <a:pt x="283" y="373"/>
                </a:cubicBezTo>
                <a:cubicBezTo>
                  <a:pt x="284" y="373"/>
                  <a:pt x="284" y="372"/>
                  <a:pt x="284" y="372"/>
                </a:cubicBezTo>
                <a:cubicBezTo>
                  <a:pt x="284" y="372"/>
                  <a:pt x="284" y="372"/>
                  <a:pt x="284" y="372"/>
                </a:cubicBezTo>
                <a:cubicBezTo>
                  <a:pt x="285" y="371"/>
                  <a:pt x="285" y="371"/>
                  <a:pt x="285" y="371"/>
                </a:cubicBezTo>
                <a:cubicBezTo>
                  <a:pt x="285" y="371"/>
                  <a:pt x="285" y="371"/>
                  <a:pt x="286" y="371"/>
                </a:cubicBezTo>
                <a:cubicBezTo>
                  <a:pt x="287" y="370"/>
                  <a:pt x="288" y="371"/>
                  <a:pt x="289" y="371"/>
                </a:cubicBezTo>
                <a:cubicBezTo>
                  <a:pt x="289" y="371"/>
                  <a:pt x="289" y="371"/>
                  <a:pt x="289" y="371"/>
                </a:cubicBezTo>
                <a:cubicBezTo>
                  <a:pt x="289" y="371"/>
                  <a:pt x="290" y="371"/>
                  <a:pt x="290" y="371"/>
                </a:cubicBezTo>
                <a:cubicBezTo>
                  <a:pt x="290" y="371"/>
                  <a:pt x="290" y="371"/>
                  <a:pt x="290" y="371"/>
                </a:cubicBezTo>
                <a:cubicBezTo>
                  <a:pt x="291" y="371"/>
                  <a:pt x="291" y="370"/>
                  <a:pt x="292" y="369"/>
                </a:cubicBezTo>
                <a:cubicBezTo>
                  <a:pt x="292" y="369"/>
                  <a:pt x="292" y="369"/>
                  <a:pt x="292" y="369"/>
                </a:cubicBezTo>
                <a:cubicBezTo>
                  <a:pt x="292" y="369"/>
                  <a:pt x="293" y="368"/>
                  <a:pt x="294" y="368"/>
                </a:cubicBezTo>
                <a:cubicBezTo>
                  <a:pt x="294" y="368"/>
                  <a:pt x="295" y="368"/>
                  <a:pt x="295" y="368"/>
                </a:cubicBezTo>
                <a:cubicBezTo>
                  <a:pt x="295" y="368"/>
                  <a:pt x="296" y="368"/>
                  <a:pt x="296" y="368"/>
                </a:cubicBezTo>
                <a:cubicBezTo>
                  <a:pt x="297" y="369"/>
                  <a:pt x="297" y="369"/>
                  <a:pt x="297" y="369"/>
                </a:cubicBezTo>
                <a:cubicBezTo>
                  <a:pt x="297" y="369"/>
                  <a:pt x="298" y="369"/>
                  <a:pt x="298" y="370"/>
                </a:cubicBezTo>
                <a:cubicBezTo>
                  <a:pt x="299" y="370"/>
                  <a:pt x="299" y="370"/>
                  <a:pt x="299" y="370"/>
                </a:cubicBezTo>
                <a:cubicBezTo>
                  <a:pt x="299" y="371"/>
                  <a:pt x="299" y="371"/>
                  <a:pt x="299" y="371"/>
                </a:cubicBezTo>
                <a:cubicBezTo>
                  <a:pt x="299" y="370"/>
                  <a:pt x="299" y="370"/>
                  <a:pt x="300" y="370"/>
                </a:cubicBezTo>
                <a:cubicBezTo>
                  <a:pt x="300" y="370"/>
                  <a:pt x="300" y="370"/>
                  <a:pt x="300" y="370"/>
                </a:cubicBezTo>
                <a:cubicBezTo>
                  <a:pt x="300" y="369"/>
                  <a:pt x="300" y="369"/>
                  <a:pt x="300" y="369"/>
                </a:cubicBezTo>
                <a:cubicBezTo>
                  <a:pt x="300" y="369"/>
                  <a:pt x="300" y="369"/>
                  <a:pt x="300" y="369"/>
                </a:cubicBezTo>
                <a:cubicBezTo>
                  <a:pt x="301" y="369"/>
                  <a:pt x="301" y="369"/>
                  <a:pt x="301" y="369"/>
                </a:cubicBezTo>
                <a:cubicBezTo>
                  <a:pt x="301" y="368"/>
                  <a:pt x="302" y="368"/>
                  <a:pt x="302" y="367"/>
                </a:cubicBezTo>
                <a:cubicBezTo>
                  <a:pt x="302" y="367"/>
                  <a:pt x="302" y="367"/>
                  <a:pt x="302" y="367"/>
                </a:cubicBezTo>
                <a:cubicBezTo>
                  <a:pt x="303" y="367"/>
                  <a:pt x="303" y="367"/>
                  <a:pt x="303" y="367"/>
                </a:cubicBezTo>
                <a:cubicBezTo>
                  <a:pt x="304" y="368"/>
                  <a:pt x="304" y="368"/>
                  <a:pt x="304" y="368"/>
                </a:cubicBezTo>
                <a:cubicBezTo>
                  <a:pt x="304" y="368"/>
                  <a:pt x="304" y="368"/>
                  <a:pt x="304" y="368"/>
                </a:cubicBezTo>
                <a:cubicBezTo>
                  <a:pt x="304" y="368"/>
                  <a:pt x="304" y="368"/>
                  <a:pt x="304" y="368"/>
                </a:cubicBezTo>
                <a:cubicBezTo>
                  <a:pt x="304" y="368"/>
                  <a:pt x="305" y="368"/>
                  <a:pt x="305" y="368"/>
                </a:cubicBezTo>
                <a:cubicBezTo>
                  <a:pt x="306" y="367"/>
                  <a:pt x="306" y="367"/>
                  <a:pt x="306" y="367"/>
                </a:cubicBezTo>
                <a:cubicBezTo>
                  <a:pt x="307" y="368"/>
                  <a:pt x="307" y="368"/>
                  <a:pt x="307" y="368"/>
                </a:cubicBezTo>
                <a:cubicBezTo>
                  <a:pt x="307" y="368"/>
                  <a:pt x="307" y="368"/>
                  <a:pt x="307" y="368"/>
                </a:cubicBezTo>
                <a:cubicBezTo>
                  <a:pt x="307" y="369"/>
                  <a:pt x="308" y="369"/>
                  <a:pt x="308" y="369"/>
                </a:cubicBezTo>
                <a:cubicBezTo>
                  <a:pt x="308" y="369"/>
                  <a:pt x="308" y="370"/>
                  <a:pt x="309" y="370"/>
                </a:cubicBezTo>
                <a:cubicBezTo>
                  <a:pt x="309" y="370"/>
                  <a:pt x="309" y="370"/>
                  <a:pt x="309" y="370"/>
                </a:cubicBezTo>
                <a:cubicBezTo>
                  <a:pt x="312" y="366"/>
                  <a:pt x="312" y="366"/>
                  <a:pt x="312" y="366"/>
                </a:cubicBezTo>
                <a:cubicBezTo>
                  <a:pt x="313" y="367"/>
                  <a:pt x="313" y="367"/>
                  <a:pt x="313" y="367"/>
                </a:cubicBezTo>
                <a:cubicBezTo>
                  <a:pt x="313" y="368"/>
                  <a:pt x="313" y="368"/>
                  <a:pt x="313" y="368"/>
                </a:cubicBezTo>
                <a:cubicBezTo>
                  <a:pt x="315" y="368"/>
                  <a:pt x="315" y="368"/>
                  <a:pt x="315" y="368"/>
                </a:cubicBezTo>
                <a:cubicBezTo>
                  <a:pt x="315" y="367"/>
                  <a:pt x="316" y="367"/>
                  <a:pt x="316" y="367"/>
                </a:cubicBezTo>
                <a:cubicBezTo>
                  <a:pt x="316" y="367"/>
                  <a:pt x="316" y="367"/>
                  <a:pt x="316" y="367"/>
                </a:cubicBezTo>
                <a:cubicBezTo>
                  <a:pt x="316" y="367"/>
                  <a:pt x="317" y="366"/>
                  <a:pt x="317" y="366"/>
                </a:cubicBezTo>
                <a:cubicBezTo>
                  <a:pt x="317" y="366"/>
                  <a:pt x="317" y="365"/>
                  <a:pt x="318" y="365"/>
                </a:cubicBezTo>
                <a:cubicBezTo>
                  <a:pt x="318" y="363"/>
                  <a:pt x="318" y="363"/>
                  <a:pt x="318" y="363"/>
                </a:cubicBezTo>
                <a:cubicBezTo>
                  <a:pt x="319" y="363"/>
                  <a:pt x="319" y="363"/>
                  <a:pt x="319" y="363"/>
                </a:cubicBezTo>
                <a:cubicBezTo>
                  <a:pt x="319" y="363"/>
                  <a:pt x="319" y="363"/>
                  <a:pt x="319" y="363"/>
                </a:cubicBezTo>
                <a:cubicBezTo>
                  <a:pt x="319" y="363"/>
                  <a:pt x="319" y="363"/>
                  <a:pt x="319" y="363"/>
                </a:cubicBezTo>
                <a:cubicBezTo>
                  <a:pt x="321" y="362"/>
                  <a:pt x="322" y="361"/>
                  <a:pt x="323" y="361"/>
                </a:cubicBezTo>
                <a:cubicBezTo>
                  <a:pt x="323" y="361"/>
                  <a:pt x="324" y="361"/>
                  <a:pt x="324" y="362"/>
                </a:cubicBezTo>
                <a:cubicBezTo>
                  <a:pt x="324" y="362"/>
                  <a:pt x="324" y="362"/>
                  <a:pt x="325" y="362"/>
                </a:cubicBezTo>
                <a:cubicBezTo>
                  <a:pt x="325" y="363"/>
                  <a:pt x="325" y="363"/>
                  <a:pt x="326" y="363"/>
                </a:cubicBezTo>
                <a:cubicBezTo>
                  <a:pt x="326" y="364"/>
                  <a:pt x="326" y="364"/>
                  <a:pt x="326" y="364"/>
                </a:cubicBezTo>
                <a:cubicBezTo>
                  <a:pt x="326" y="364"/>
                  <a:pt x="327" y="365"/>
                  <a:pt x="327" y="365"/>
                </a:cubicBezTo>
                <a:cubicBezTo>
                  <a:pt x="328" y="365"/>
                  <a:pt x="328" y="365"/>
                  <a:pt x="328" y="365"/>
                </a:cubicBezTo>
                <a:cubicBezTo>
                  <a:pt x="329" y="366"/>
                  <a:pt x="330" y="366"/>
                  <a:pt x="332" y="366"/>
                </a:cubicBezTo>
                <a:cubicBezTo>
                  <a:pt x="332" y="366"/>
                  <a:pt x="332" y="366"/>
                  <a:pt x="332" y="366"/>
                </a:cubicBezTo>
                <a:cubicBezTo>
                  <a:pt x="333" y="366"/>
                  <a:pt x="333" y="366"/>
                  <a:pt x="333" y="366"/>
                </a:cubicBezTo>
                <a:cubicBezTo>
                  <a:pt x="334" y="366"/>
                  <a:pt x="335" y="366"/>
                  <a:pt x="336" y="366"/>
                </a:cubicBezTo>
                <a:cubicBezTo>
                  <a:pt x="337" y="364"/>
                  <a:pt x="337" y="364"/>
                  <a:pt x="337" y="364"/>
                </a:cubicBezTo>
                <a:cubicBezTo>
                  <a:pt x="337" y="367"/>
                  <a:pt x="337" y="367"/>
                  <a:pt x="337" y="367"/>
                </a:cubicBezTo>
                <a:cubicBezTo>
                  <a:pt x="337" y="367"/>
                  <a:pt x="337" y="367"/>
                  <a:pt x="337" y="367"/>
                </a:cubicBezTo>
                <a:cubicBezTo>
                  <a:pt x="337" y="367"/>
                  <a:pt x="338" y="367"/>
                  <a:pt x="338" y="367"/>
                </a:cubicBezTo>
                <a:cubicBezTo>
                  <a:pt x="338" y="367"/>
                  <a:pt x="339" y="367"/>
                  <a:pt x="339" y="368"/>
                </a:cubicBezTo>
                <a:cubicBezTo>
                  <a:pt x="340" y="368"/>
                  <a:pt x="340" y="368"/>
                  <a:pt x="340" y="368"/>
                </a:cubicBezTo>
                <a:cubicBezTo>
                  <a:pt x="339" y="369"/>
                  <a:pt x="339" y="369"/>
                  <a:pt x="339" y="369"/>
                </a:cubicBezTo>
                <a:cubicBezTo>
                  <a:pt x="339" y="370"/>
                  <a:pt x="338" y="371"/>
                  <a:pt x="338" y="371"/>
                </a:cubicBezTo>
                <a:cubicBezTo>
                  <a:pt x="337" y="372"/>
                  <a:pt x="337" y="372"/>
                  <a:pt x="337" y="372"/>
                </a:cubicBezTo>
                <a:cubicBezTo>
                  <a:pt x="337" y="372"/>
                  <a:pt x="337" y="373"/>
                  <a:pt x="337" y="373"/>
                </a:cubicBezTo>
                <a:cubicBezTo>
                  <a:pt x="337" y="373"/>
                  <a:pt x="337" y="373"/>
                  <a:pt x="337" y="373"/>
                </a:cubicBezTo>
                <a:cubicBezTo>
                  <a:pt x="337" y="373"/>
                  <a:pt x="337" y="373"/>
                  <a:pt x="337" y="373"/>
                </a:cubicBezTo>
                <a:cubicBezTo>
                  <a:pt x="337" y="374"/>
                  <a:pt x="337" y="374"/>
                  <a:pt x="338" y="375"/>
                </a:cubicBezTo>
                <a:cubicBezTo>
                  <a:pt x="338" y="375"/>
                  <a:pt x="338" y="376"/>
                  <a:pt x="338" y="376"/>
                </a:cubicBezTo>
                <a:cubicBezTo>
                  <a:pt x="338" y="376"/>
                  <a:pt x="338" y="376"/>
                  <a:pt x="338" y="376"/>
                </a:cubicBezTo>
                <a:cubicBezTo>
                  <a:pt x="338" y="376"/>
                  <a:pt x="338" y="376"/>
                  <a:pt x="338" y="376"/>
                </a:cubicBezTo>
                <a:cubicBezTo>
                  <a:pt x="339" y="376"/>
                  <a:pt x="340" y="376"/>
                  <a:pt x="341" y="377"/>
                </a:cubicBezTo>
                <a:cubicBezTo>
                  <a:pt x="341" y="377"/>
                  <a:pt x="342" y="377"/>
                  <a:pt x="342" y="378"/>
                </a:cubicBezTo>
                <a:cubicBezTo>
                  <a:pt x="343" y="379"/>
                  <a:pt x="343" y="379"/>
                  <a:pt x="343" y="379"/>
                </a:cubicBezTo>
                <a:cubicBezTo>
                  <a:pt x="343" y="379"/>
                  <a:pt x="343" y="379"/>
                  <a:pt x="343" y="379"/>
                </a:cubicBezTo>
                <a:cubicBezTo>
                  <a:pt x="343" y="379"/>
                  <a:pt x="343" y="379"/>
                  <a:pt x="343" y="379"/>
                </a:cubicBezTo>
                <a:cubicBezTo>
                  <a:pt x="343" y="379"/>
                  <a:pt x="344" y="380"/>
                  <a:pt x="344" y="380"/>
                </a:cubicBezTo>
                <a:cubicBezTo>
                  <a:pt x="345" y="379"/>
                  <a:pt x="345" y="380"/>
                  <a:pt x="346" y="380"/>
                </a:cubicBezTo>
                <a:cubicBezTo>
                  <a:pt x="347" y="380"/>
                  <a:pt x="348" y="380"/>
                  <a:pt x="349" y="380"/>
                </a:cubicBezTo>
                <a:cubicBezTo>
                  <a:pt x="349" y="380"/>
                  <a:pt x="350" y="381"/>
                  <a:pt x="350" y="381"/>
                </a:cubicBezTo>
                <a:cubicBezTo>
                  <a:pt x="350" y="381"/>
                  <a:pt x="350" y="381"/>
                  <a:pt x="350" y="381"/>
                </a:cubicBezTo>
                <a:cubicBezTo>
                  <a:pt x="351" y="381"/>
                  <a:pt x="351" y="381"/>
                  <a:pt x="351" y="381"/>
                </a:cubicBezTo>
                <a:cubicBezTo>
                  <a:pt x="351" y="381"/>
                  <a:pt x="351" y="381"/>
                  <a:pt x="351" y="381"/>
                </a:cubicBezTo>
                <a:cubicBezTo>
                  <a:pt x="352" y="381"/>
                  <a:pt x="352" y="381"/>
                  <a:pt x="352" y="381"/>
                </a:cubicBezTo>
                <a:cubicBezTo>
                  <a:pt x="353" y="381"/>
                  <a:pt x="353" y="382"/>
                  <a:pt x="352" y="382"/>
                </a:cubicBezTo>
                <a:cubicBezTo>
                  <a:pt x="353" y="382"/>
                  <a:pt x="353" y="382"/>
                  <a:pt x="353" y="381"/>
                </a:cubicBezTo>
                <a:cubicBezTo>
                  <a:pt x="353" y="381"/>
                  <a:pt x="353" y="381"/>
                  <a:pt x="353" y="380"/>
                </a:cubicBezTo>
                <a:cubicBezTo>
                  <a:pt x="353" y="380"/>
                  <a:pt x="355" y="381"/>
                  <a:pt x="355" y="381"/>
                </a:cubicBezTo>
                <a:cubicBezTo>
                  <a:pt x="356" y="381"/>
                  <a:pt x="356" y="381"/>
                  <a:pt x="356" y="380"/>
                </a:cubicBezTo>
                <a:cubicBezTo>
                  <a:pt x="355" y="381"/>
                  <a:pt x="355" y="380"/>
                  <a:pt x="355" y="380"/>
                </a:cubicBezTo>
                <a:cubicBezTo>
                  <a:pt x="355" y="379"/>
                  <a:pt x="355" y="377"/>
                  <a:pt x="356" y="378"/>
                </a:cubicBezTo>
                <a:cubicBezTo>
                  <a:pt x="356" y="378"/>
                  <a:pt x="356" y="378"/>
                  <a:pt x="356" y="378"/>
                </a:cubicBezTo>
                <a:cubicBezTo>
                  <a:pt x="356" y="378"/>
                  <a:pt x="356" y="378"/>
                  <a:pt x="356" y="378"/>
                </a:cubicBezTo>
                <a:cubicBezTo>
                  <a:pt x="356" y="379"/>
                  <a:pt x="356" y="379"/>
                  <a:pt x="356" y="379"/>
                </a:cubicBezTo>
                <a:cubicBezTo>
                  <a:pt x="357" y="379"/>
                  <a:pt x="357" y="379"/>
                  <a:pt x="357" y="380"/>
                </a:cubicBezTo>
                <a:cubicBezTo>
                  <a:pt x="357" y="380"/>
                  <a:pt x="357" y="380"/>
                  <a:pt x="357" y="380"/>
                </a:cubicBezTo>
                <a:cubicBezTo>
                  <a:pt x="357" y="380"/>
                  <a:pt x="358" y="381"/>
                  <a:pt x="359" y="381"/>
                </a:cubicBezTo>
                <a:cubicBezTo>
                  <a:pt x="359" y="381"/>
                  <a:pt x="359" y="380"/>
                  <a:pt x="359" y="380"/>
                </a:cubicBezTo>
                <a:cubicBezTo>
                  <a:pt x="359" y="381"/>
                  <a:pt x="359" y="381"/>
                  <a:pt x="360" y="381"/>
                </a:cubicBezTo>
                <a:cubicBezTo>
                  <a:pt x="360" y="382"/>
                  <a:pt x="361" y="381"/>
                  <a:pt x="361" y="382"/>
                </a:cubicBezTo>
                <a:cubicBezTo>
                  <a:pt x="362" y="382"/>
                  <a:pt x="362" y="383"/>
                  <a:pt x="362" y="383"/>
                </a:cubicBezTo>
                <a:cubicBezTo>
                  <a:pt x="363" y="383"/>
                  <a:pt x="364" y="383"/>
                  <a:pt x="365" y="383"/>
                </a:cubicBezTo>
                <a:cubicBezTo>
                  <a:pt x="366" y="382"/>
                  <a:pt x="366" y="381"/>
                  <a:pt x="365" y="381"/>
                </a:cubicBezTo>
                <a:cubicBezTo>
                  <a:pt x="366" y="381"/>
                  <a:pt x="366" y="380"/>
                  <a:pt x="366" y="380"/>
                </a:cubicBezTo>
                <a:cubicBezTo>
                  <a:pt x="366" y="380"/>
                  <a:pt x="366" y="380"/>
                  <a:pt x="366" y="380"/>
                </a:cubicBezTo>
                <a:cubicBezTo>
                  <a:pt x="366" y="380"/>
                  <a:pt x="366" y="380"/>
                  <a:pt x="366" y="380"/>
                </a:cubicBezTo>
                <a:cubicBezTo>
                  <a:pt x="366" y="381"/>
                  <a:pt x="367" y="381"/>
                  <a:pt x="367" y="381"/>
                </a:cubicBezTo>
                <a:cubicBezTo>
                  <a:pt x="367" y="381"/>
                  <a:pt x="368" y="382"/>
                  <a:pt x="368" y="383"/>
                </a:cubicBezTo>
                <a:cubicBezTo>
                  <a:pt x="368" y="382"/>
                  <a:pt x="368" y="382"/>
                  <a:pt x="368" y="382"/>
                </a:cubicBezTo>
                <a:cubicBezTo>
                  <a:pt x="369" y="382"/>
                  <a:pt x="369" y="383"/>
                  <a:pt x="370" y="383"/>
                </a:cubicBezTo>
                <a:cubicBezTo>
                  <a:pt x="369" y="383"/>
                  <a:pt x="369" y="384"/>
                  <a:pt x="368" y="384"/>
                </a:cubicBezTo>
                <a:cubicBezTo>
                  <a:pt x="368" y="385"/>
                  <a:pt x="368" y="385"/>
                  <a:pt x="368" y="386"/>
                </a:cubicBezTo>
                <a:cubicBezTo>
                  <a:pt x="367" y="385"/>
                  <a:pt x="367" y="387"/>
                  <a:pt x="367" y="388"/>
                </a:cubicBezTo>
                <a:cubicBezTo>
                  <a:pt x="367" y="389"/>
                  <a:pt x="368" y="390"/>
                  <a:pt x="369" y="392"/>
                </a:cubicBezTo>
                <a:cubicBezTo>
                  <a:pt x="369" y="393"/>
                  <a:pt x="369" y="395"/>
                  <a:pt x="370" y="396"/>
                </a:cubicBezTo>
                <a:cubicBezTo>
                  <a:pt x="371" y="397"/>
                  <a:pt x="374" y="396"/>
                  <a:pt x="375" y="395"/>
                </a:cubicBezTo>
                <a:cubicBezTo>
                  <a:pt x="376" y="394"/>
                  <a:pt x="376" y="393"/>
                  <a:pt x="375" y="392"/>
                </a:cubicBezTo>
                <a:cubicBezTo>
                  <a:pt x="374" y="392"/>
                  <a:pt x="374" y="392"/>
                  <a:pt x="374" y="391"/>
                </a:cubicBezTo>
                <a:cubicBezTo>
                  <a:pt x="374" y="391"/>
                  <a:pt x="374" y="391"/>
                  <a:pt x="374" y="391"/>
                </a:cubicBezTo>
                <a:cubicBezTo>
                  <a:pt x="374" y="391"/>
                  <a:pt x="374" y="391"/>
                  <a:pt x="374" y="390"/>
                </a:cubicBezTo>
                <a:cubicBezTo>
                  <a:pt x="374" y="390"/>
                  <a:pt x="374" y="391"/>
                  <a:pt x="374" y="391"/>
                </a:cubicBezTo>
                <a:cubicBezTo>
                  <a:pt x="374" y="388"/>
                  <a:pt x="372" y="391"/>
                  <a:pt x="372" y="389"/>
                </a:cubicBezTo>
                <a:cubicBezTo>
                  <a:pt x="372" y="387"/>
                  <a:pt x="374" y="386"/>
                  <a:pt x="374" y="385"/>
                </a:cubicBezTo>
                <a:cubicBezTo>
                  <a:pt x="374" y="384"/>
                  <a:pt x="374" y="384"/>
                  <a:pt x="374" y="383"/>
                </a:cubicBezTo>
                <a:cubicBezTo>
                  <a:pt x="375" y="384"/>
                  <a:pt x="375" y="384"/>
                  <a:pt x="375" y="385"/>
                </a:cubicBezTo>
                <a:cubicBezTo>
                  <a:pt x="375" y="385"/>
                  <a:pt x="375" y="385"/>
                  <a:pt x="375" y="385"/>
                </a:cubicBezTo>
                <a:cubicBezTo>
                  <a:pt x="375" y="385"/>
                  <a:pt x="375" y="385"/>
                  <a:pt x="375" y="386"/>
                </a:cubicBezTo>
                <a:cubicBezTo>
                  <a:pt x="377" y="385"/>
                  <a:pt x="379" y="384"/>
                  <a:pt x="382" y="383"/>
                </a:cubicBezTo>
                <a:cubicBezTo>
                  <a:pt x="384" y="382"/>
                  <a:pt x="386" y="382"/>
                  <a:pt x="389" y="381"/>
                </a:cubicBezTo>
                <a:cubicBezTo>
                  <a:pt x="389" y="380"/>
                  <a:pt x="388" y="380"/>
                  <a:pt x="388" y="379"/>
                </a:cubicBezTo>
                <a:cubicBezTo>
                  <a:pt x="389" y="380"/>
                  <a:pt x="390" y="381"/>
                  <a:pt x="391" y="379"/>
                </a:cubicBezTo>
                <a:cubicBezTo>
                  <a:pt x="390" y="379"/>
                  <a:pt x="390" y="379"/>
                  <a:pt x="390" y="378"/>
                </a:cubicBezTo>
                <a:cubicBezTo>
                  <a:pt x="390" y="378"/>
                  <a:pt x="391" y="379"/>
                  <a:pt x="391" y="378"/>
                </a:cubicBezTo>
                <a:cubicBezTo>
                  <a:pt x="391" y="379"/>
                  <a:pt x="391" y="379"/>
                  <a:pt x="391" y="379"/>
                </a:cubicBezTo>
                <a:cubicBezTo>
                  <a:pt x="392" y="379"/>
                  <a:pt x="392" y="379"/>
                  <a:pt x="393" y="379"/>
                </a:cubicBezTo>
                <a:cubicBezTo>
                  <a:pt x="393" y="379"/>
                  <a:pt x="394" y="380"/>
                  <a:pt x="394" y="380"/>
                </a:cubicBezTo>
                <a:cubicBezTo>
                  <a:pt x="394" y="379"/>
                  <a:pt x="394" y="378"/>
                  <a:pt x="395" y="376"/>
                </a:cubicBezTo>
                <a:cubicBezTo>
                  <a:pt x="394" y="377"/>
                  <a:pt x="395" y="378"/>
                  <a:pt x="396" y="378"/>
                </a:cubicBezTo>
                <a:cubicBezTo>
                  <a:pt x="396" y="378"/>
                  <a:pt x="395" y="378"/>
                  <a:pt x="395" y="378"/>
                </a:cubicBezTo>
                <a:cubicBezTo>
                  <a:pt x="396" y="379"/>
                  <a:pt x="399" y="377"/>
                  <a:pt x="400" y="378"/>
                </a:cubicBezTo>
                <a:cubicBezTo>
                  <a:pt x="401" y="378"/>
                  <a:pt x="401" y="379"/>
                  <a:pt x="401" y="377"/>
                </a:cubicBezTo>
                <a:cubicBezTo>
                  <a:pt x="401" y="377"/>
                  <a:pt x="401" y="377"/>
                  <a:pt x="401" y="377"/>
                </a:cubicBezTo>
                <a:cubicBezTo>
                  <a:pt x="401" y="377"/>
                  <a:pt x="401" y="376"/>
                  <a:pt x="401" y="376"/>
                </a:cubicBezTo>
                <a:cubicBezTo>
                  <a:pt x="402" y="375"/>
                  <a:pt x="402" y="375"/>
                  <a:pt x="402" y="375"/>
                </a:cubicBezTo>
                <a:cubicBezTo>
                  <a:pt x="402" y="375"/>
                  <a:pt x="402" y="375"/>
                  <a:pt x="402" y="375"/>
                </a:cubicBezTo>
                <a:cubicBezTo>
                  <a:pt x="403" y="375"/>
                  <a:pt x="403" y="376"/>
                  <a:pt x="403" y="376"/>
                </a:cubicBezTo>
                <a:cubicBezTo>
                  <a:pt x="403" y="376"/>
                  <a:pt x="403" y="376"/>
                  <a:pt x="403" y="376"/>
                </a:cubicBezTo>
                <a:cubicBezTo>
                  <a:pt x="404" y="376"/>
                  <a:pt x="404" y="376"/>
                  <a:pt x="404" y="376"/>
                </a:cubicBezTo>
                <a:cubicBezTo>
                  <a:pt x="405" y="375"/>
                  <a:pt x="405" y="375"/>
                  <a:pt x="405" y="375"/>
                </a:cubicBezTo>
                <a:cubicBezTo>
                  <a:pt x="405" y="375"/>
                  <a:pt x="404" y="374"/>
                  <a:pt x="404" y="374"/>
                </a:cubicBezTo>
                <a:cubicBezTo>
                  <a:pt x="406" y="374"/>
                  <a:pt x="406" y="374"/>
                  <a:pt x="406" y="374"/>
                </a:cubicBezTo>
                <a:cubicBezTo>
                  <a:pt x="406" y="374"/>
                  <a:pt x="406" y="374"/>
                  <a:pt x="406" y="374"/>
                </a:cubicBezTo>
                <a:cubicBezTo>
                  <a:pt x="406" y="375"/>
                  <a:pt x="406" y="375"/>
                  <a:pt x="406" y="375"/>
                </a:cubicBezTo>
                <a:cubicBezTo>
                  <a:pt x="406" y="375"/>
                  <a:pt x="407" y="374"/>
                  <a:pt x="407" y="374"/>
                </a:cubicBezTo>
                <a:cubicBezTo>
                  <a:pt x="406" y="371"/>
                  <a:pt x="406" y="369"/>
                  <a:pt x="404" y="368"/>
                </a:cubicBezTo>
                <a:cubicBezTo>
                  <a:pt x="404" y="368"/>
                  <a:pt x="403" y="368"/>
                  <a:pt x="403" y="368"/>
                </a:cubicBezTo>
                <a:cubicBezTo>
                  <a:pt x="404" y="367"/>
                  <a:pt x="405" y="367"/>
                  <a:pt x="405" y="366"/>
                </a:cubicBezTo>
                <a:cubicBezTo>
                  <a:pt x="405" y="366"/>
                  <a:pt x="407" y="365"/>
                  <a:pt x="407" y="365"/>
                </a:cubicBezTo>
                <a:cubicBezTo>
                  <a:pt x="408" y="365"/>
                  <a:pt x="409" y="365"/>
                  <a:pt x="410" y="365"/>
                </a:cubicBezTo>
                <a:cubicBezTo>
                  <a:pt x="408" y="365"/>
                  <a:pt x="407" y="365"/>
                  <a:pt x="407" y="366"/>
                </a:cubicBezTo>
                <a:cubicBezTo>
                  <a:pt x="406" y="367"/>
                  <a:pt x="407" y="366"/>
                  <a:pt x="407" y="366"/>
                </a:cubicBezTo>
                <a:cubicBezTo>
                  <a:pt x="407" y="366"/>
                  <a:pt x="407" y="367"/>
                  <a:pt x="407" y="367"/>
                </a:cubicBezTo>
                <a:cubicBezTo>
                  <a:pt x="407" y="367"/>
                  <a:pt x="407" y="366"/>
                  <a:pt x="407" y="366"/>
                </a:cubicBezTo>
                <a:cubicBezTo>
                  <a:pt x="407" y="366"/>
                  <a:pt x="407" y="367"/>
                  <a:pt x="407" y="367"/>
                </a:cubicBezTo>
                <a:cubicBezTo>
                  <a:pt x="407" y="367"/>
                  <a:pt x="407" y="367"/>
                  <a:pt x="407" y="366"/>
                </a:cubicBezTo>
                <a:cubicBezTo>
                  <a:pt x="407" y="367"/>
                  <a:pt x="407" y="367"/>
                  <a:pt x="407" y="368"/>
                </a:cubicBezTo>
                <a:cubicBezTo>
                  <a:pt x="407" y="368"/>
                  <a:pt x="407" y="367"/>
                  <a:pt x="407" y="368"/>
                </a:cubicBezTo>
                <a:cubicBezTo>
                  <a:pt x="407" y="368"/>
                  <a:pt x="407" y="368"/>
                  <a:pt x="407" y="368"/>
                </a:cubicBezTo>
                <a:cubicBezTo>
                  <a:pt x="407" y="368"/>
                  <a:pt x="407" y="368"/>
                  <a:pt x="407" y="368"/>
                </a:cubicBezTo>
                <a:cubicBezTo>
                  <a:pt x="408" y="368"/>
                  <a:pt x="408" y="368"/>
                  <a:pt x="408" y="369"/>
                </a:cubicBezTo>
                <a:cubicBezTo>
                  <a:pt x="408" y="369"/>
                  <a:pt x="409" y="369"/>
                  <a:pt x="409" y="369"/>
                </a:cubicBezTo>
                <a:cubicBezTo>
                  <a:pt x="409" y="369"/>
                  <a:pt x="409" y="370"/>
                  <a:pt x="409" y="371"/>
                </a:cubicBezTo>
                <a:cubicBezTo>
                  <a:pt x="410" y="372"/>
                  <a:pt x="410" y="372"/>
                  <a:pt x="412" y="372"/>
                </a:cubicBezTo>
                <a:cubicBezTo>
                  <a:pt x="412" y="371"/>
                  <a:pt x="413" y="371"/>
                  <a:pt x="414" y="371"/>
                </a:cubicBezTo>
                <a:cubicBezTo>
                  <a:pt x="414" y="371"/>
                  <a:pt x="414" y="371"/>
                  <a:pt x="414" y="371"/>
                </a:cubicBezTo>
                <a:cubicBezTo>
                  <a:pt x="415" y="370"/>
                  <a:pt x="416" y="371"/>
                  <a:pt x="416" y="372"/>
                </a:cubicBezTo>
                <a:cubicBezTo>
                  <a:pt x="416" y="372"/>
                  <a:pt x="417" y="372"/>
                  <a:pt x="418" y="371"/>
                </a:cubicBezTo>
                <a:cubicBezTo>
                  <a:pt x="418" y="371"/>
                  <a:pt x="417" y="370"/>
                  <a:pt x="416" y="370"/>
                </a:cubicBezTo>
                <a:cubicBezTo>
                  <a:pt x="417" y="370"/>
                  <a:pt x="420" y="368"/>
                  <a:pt x="420" y="369"/>
                </a:cubicBezTo>
                <a:cubicBezTo>
                  <a:pt x="420" y="369"/>
                  <a:pt x="419" y="369"/>
                  <a:pt x="419" y="369"/>
                </a:cubicBezTo>
                <a:cubicBezTo>
                  <a:pt x="419" y="370"/>
                  <a:pt x="420" y="371"/>
                  <a:pt x="420" y="371"/>
                </a:cubicBezTo>
                <a:cubicBezTo>
                  <a:pt x="421" y="371"/>
                  <a:pt x="420" y="371"/>
                  <a:pt x="420" y="371"/>
                </a:cubicBezTo>
                <a:cubicBezTo>
                  <a:pt x="421" y="371"/>
                  <a:pt x="422" y="370"/>
                  <a:pt x="422" y="369"/>
                </a:cubicBezTo>
                <a:cubicBezTo>
                  <a:pt x="423" y="369"/>
                  <a:pt x="424" y="368"/>
                  <a:pt x="425" y="367"/>
                </a:cubicBezTo>
                <a:cubicBezTo>
                  <a:pt x="425" y="368"/>
                  <a:pt x="425" y="368"/>
                  <a:pt x="424" y="368"/>
                </a:cubicBezTo>
                <a:cubicBezTo>
                  <a:pt x="426" y="369"/>
                  <a:pt x="426" y="369"/>
                  <a:pt x="427" y="370"/>
                </a:cubicBezTo>
                <a:cubicBezTo>
                  <a:pt x="427" y="370"/>
                  <a:pt x="427" y="370"/>
                  <a:pt x="428" y="369"/>
                </a:cubicBezTo>
                <a:cubicBezTo>
                  <a:pt x="426" y="370"/>
                  <a:pt x="427" y="369"/>
                  <a:pt x="427" y="368"/>
                </a:cubicBezTo>
                <a:cubicBezTo>
                  <a:pt x="427" y="368"/>
                  <a:pt x="426" y="368"/>
                  <a:pt x="426" y="367"/>
                </a:cubicBezTo>
                <a:cubicBezTo>
                  <a:pt x="427" y="367"/>
                  <a:pt x="428" y="367"/>
                  <a:pt x="429" y="367"/>
                </a:cubicBezTo>
                <a:cubicBezTo>
                  <a:pt x="428" y="368"/>
                  <a:pt x="429" y="368"/>
                  <a:pt x="430" y="369"/>
                </a:cubicBezTo>
                <a:cubicBezTo>
                  <a:pt x="430" y="369"/>
                  <a:pt x="430" y="369"/>
                  <a:pt x="431" y="368"/>
                </a:cubicBezTo>
                <a:cubicBezTo>
                  <a:pt x="431" y="368"/>
                  <a:pt x="431" y="368"/>
                  <a:pt x="432" y="367"/>
                </a:cubicBezTo>
                <a:cubicBezTo>
                  <a:pt x="432" y="367"/>
                  <a:pt x="433" y="367"/>
                  <a:pt x="433" y="367"/>
                </a:cubicBezTo>
                <a:cubicBezTo>
                  <a:pt x="434" y="367"/>
                  <a:pt x="437" y="368"/>
                  <a:pt x="437" y="366"/>
                </a:cubicBezTo>
                <a:cubicBezTo>
                  <a:pt x="437" y="366"/>
                  <a:pt x="437" y="364"/>
                  <a:pt x="437" y="364"/>
                </a:cubicBezTo>
                <a:cubicBezTo>
                  <a:pt x="438" y="363"/>
                  <a:pt x="439" y="364"/>
                  <a:pt x="440" y="364"/>
                </a:cubicBezTo>
                <a:cubicBezTo>
                  <a:pt x="439" y="362"/>
                  <a:pt x="438" y="364"/>
                  <a:pt x="437" y="362"/>
                </a:cubicBezTo>
                <a:cubicBezTo>
                  <a:pt x="438" y="362"/>
                  <a:pt x="438" y="362"/>
                  <a:pt x="439" y="362"/>
                </a:cubicBezTo>
                <a:cubicBezTo>
                  <a:pt x="441" y="362"/>
                  <a:pt x="440" y="360"/>
                  <a:pt x="441" y="359"/>
                </a:cubicBezTo>
                <a:cubicBezTo>
                  <a:pt x="441" y="359"/>
                  <a:pt x="441" y="359"/>
                  <a:pt x="441" y="360"/>
                </a:cubicBezTo>
                <a:cubicBezTo>
                  <a:pt x="442" y="359"/>
                  <a:pt x="443" y="359"/>
                  <a:pt x="443" y="360"/>
                </a:cubicBezTo>
                <a:cubicBezTo>
                  <a:pt x="444" y="359"/>
                  <a:pt x="448" y="358"/>
                  <a:pt x="446" y="356"/>
                </a:cubicBezTo>
                <a:cubicBezTo>
                  <a:pt x="448" y="357"/>
                  <a:pt x="448" y="356"/>
                  <a:pt x="448" y="359"/>
                </a:cubicBezTo>
                <a:cubicBezTo>
                  <a:pt x="449" y="357"/>
                  <a:pt x="451" y="355"/>
                  <a:pt x="453" y="353"/>
                </a:cubicBezTo>
                <a:cubicBezTo>
                  <a:pt x="453" y="353"/>
                  <a:pt x="453" y="351"/>
                  <a:pt x="452" y="352"/>
                </a:cubicBezTo>
                <a:cubicBezTo>
                  <a:pt x="453" y="351"/>
                  <a:pt x="452" y="351"/>
                  <a:pt x="452" y="351"/>
                </a:cubicBezTo>
                <a:cubicBezTo>
                  <a:pt x="451" y="351"/>
                  <a:pt x="451" y="351"/>
                  <a:pt x="451" y="351"/>
                </a:cubicBezTo>
                <a:cubicBezTo>
                  <a:pt x="449" y="350"/>
                  <a:pt x="451" y="351"/>
                  <a:pt x="452" y="351"/>
                </a:cubicBezTo>
                <a:cubicBezTo>
                  <a:pt x="452" y="350"/>
                  <a:pt x="454" y="348"/>
                  <a:pt x="454" y="349"/>
                </a:cubicBezTo>
                <a:cubicBezTo>
                  <a:pt x="455" y="349"/>
                  <a:pt x="456" y="349"/>
                  <a:pt x="456" y="349"/>
                </a:cubicBezTo>
                <a:cubicBezTo>
                  <a:pt x="456" y="349"/>
                  <a:pt x="456" y="348"/>
                  <a:pt x="457" y="348"/>
                </a:cubicBezTo>
                <a:cubicBezTo>
                  <a:pt x="458" y="348"/>
                  <a:pt x="458" y="350"/>
                  <a:pt x="459" y="349"/>
                </a:cubicBezTo>
                <a:cubicBezTo>
                  <a:pt x="459" y="349"/>
                  <a:pt x="459" y="349"/>
                  <a:pt x="459" y="349"/>
                </a:cubicBezTo>
                <a:cubicBezTo>
                  <a:pt x="459" y="349"/>
                  <a:pt x="460" y="348"/>
                  <a:pt x="460" y="348"/>
                </a:cubicBezTo>
                <a:cubicBezTo>
                  <a:pt x="460" y="347"/>
                  <a:pt x="459" y="347"/>
                  <a:pt x="459" y="347"/>
                </a:cubicBezTo>
                <a:cubicBezTo>
                  <a:pt x="460" y="347"/>
                  <a:pt x="460" y="346"/>
                  <a:pt x="461" y="346"/>
                </a:cubicBezTo>
                <a:cubicBezTo>
                  <a:pt x="461" y="346"/>
                  <a:pt x="462" y="346"/>
                  <a:pt x="462" y="346"/>
                </a:cubicBezTo>
                <a:cubicBezTo>
                  <a:pt x="463" y="346"/>
                  <a:pt x="461" y="343"/>
                  <a:pt x="461" y="342"/>
                </a:cubicBezTo>
                <a:cubicBezTo>
                  <a:pt x="461" y="342"/>
                  <a:pt x="467" y="343"/>
                  <a:pt x="466" y="342"/>
                </a:cubicBezTo>
                <a:cubicBezTo>
                  <a:pt x="465" y="341"/>
                  <a:pt x="465" y="342"/>
                  <a:pt x="464" y="342"/>
                </a:cubicBezTo>
                <a:cubicBezTo>
                  <a:pt x="464" y="341"/>
                  <a:pt x="465" y="338"/>
                  <a:pt x="466" y="338"/>
                </a:cubicBezTo>
                <a:cubicBezTo>
                  <a:pt x="466" y="338"/>
                  <a:pt x="468" y="340"/>
                  <a:pt x="469" y="341"/>
                </a:cubicBezTo>
                <a:cubicBezTo>
                  <a:pt x="469" y="340"/>
                  <a:pt x="468" y="339"/>
                  <a:pt x="468" y="338"/>
                </a:cubicBezTo>
                <a:cubicBezTo>
                  <a:pt x="467" y="339"/>
                  <a:pt x="469" y="334"/>
                  <a:pt x="470" y="334"/>
                </a:cubicBezTo>
                <a:cubicBezTo>
                  <a:pt x="468" y="334"/>
                  <a:pt x="466" y="334"/>
                  <a:pt x="465" y="334"/>
                </a:cubicBezTo>
                <a:cubicBezTo>
                  <a:pt x="465" y="333"/>
                  <a:pt x="464" y="333"/>
                  <a:pt x="463" y="332"/>
                </a:cubicBezTo>
                <a:cubicBezTo>
                  <a:pt x="464" y="333"/>
                  <a:pt x="466" y="334"/>
                  <a:pt x="467" y="334"/>
                </a:cubicBezTo>
                <a:cubicBezTo>
                  <a:pt x="467" y="334"/>
                  <a:pt x="467" y="334"/>
                  <a:pt x="468" y="333"/>
                </a:cubicBezTo>
                <a:cubicBezTo>
                  <a:pt x="469" y="330"/>
                  <a:pt x="470" y="331"/>
                  <a:pt x="472" y="330"/>
                </a:cubicBezTo>
                <a:cubicBezTo>
                  <a:pt x="471" y="330"/>
                  <a:pt x="471" y="329"/>
                  <a:pt x="471" y="329"/>
                </a:cubicBezTo>
                <a:cubicBezTo>
                  <a:pt x="470" y="329"/>
                  <a:pt x="470" y="330"/>
                  <a:pt x="470" y="330"/>
                </a:cubicBezTo>
                <a:cubicBezTo>
                  <a:pt x="470" y="330"/>
                  <a:pt x="470" y="330"/>
                  <a:pt x="470" y="330"/>
                </a:cubicBezTo>
                <a:cubicBezTo>
                  <a:pt x="469" y="330"/>
                  <a:pt x="469" y="329"/>
                  <a:pt x="468" y="329"/>
                </a:cubicBezTo>
                <a:cubicBezTo>
                  <a:pt x="468" y="329"/>
                  <a:pt x="470" y="328"/>
                  <a:pt x="470" y="328"/>
                </a:cubicBezTo>
                <a:cubicBezTo>
                  <a:pt x="469" y="327"/>
                  <a:pt x="468" y="327"/>
                  <a:pt x="468" y="326"/>
                </a:cubicBezTo>
                <a:cubicBezTo>
                  <a:pt x="468" y="326"/>
                  <a:pt x="468" y="325"/>
                  <a:pt x="469" y="325"/>
                </a:cubicBezTo>
                <a:cubicBezTo>
                  <a:pt x="469" y="325"/>
                  <a:pt x="470" y="325"/>
                  <a:pt x="470" y="325"/>
                </a:cubicBezTo>
                <a:cubicBezTo>
                  <a:pt x="470" y="325"/>
                  <a:pt x="470" y="325"/>
                  <a:pt x="470" y="325"/>
                </a:cubicBezTo>
                <a:cubicBezTo>
                  <a:pt x="471" y="325"/>
                  <a:pt x="471" y="325"/>
                  <a:pt x="470" y="325"/>
                </a:cubicBezTo>
                <a:cubicBezTo>
                  <a:pt x="471" y="325"/>
                  <a:pt x="474" y="325"/>
                  <a:pt x="473" y="326"/>
                </a:cubicBezTo>
                <a:cubicBezTo>
                  <a:pt x="473" y="326"/>
                  <a:pt x="473" y="326"/>
                  <a:pt x="474" y="327"/>
                </a:cubicBezTo>
                <a:cubicBezTo>
                  <a:pt x="474" y="326"/>
                  <a:pt x="473" y="325"/>
                  <a:pt x="474" y="325"/>
                </a:cubicBezTo>
                <a:cubicBezTo>
                  <a:pt x="474" y="324"/>
                  <a:pt x="475" y="324"/>
                  <a:pt x="475" y="323"/>
                </a:cubicBezTo>
                <a:cubicBezTo>
                  <a:pt x="475" y="322"/>
                  <a:pt x="476" y="321"/>
                  <a:pt x="477" y="321"/>
                </a:cubicBezTo>
                <a:cubicBezTo>
                  <a:pt x="476" y="321"/>
                  <a:pt x="476" y="321"/>
                  <a:pt x="476" y="320"/>
                </a:cubicBezTo>
                <a:cubicBezTo>
                  <a:pt x="477" y="321"/>
                  <a:pt x="479" y="319"/>
                  <a:pt x="479" y="319"/>
                </a:cubicBezTo>
                <a:cubicBezTo>
                  <a:pt x="480" y="318"/>
                  <a:pt x="479" y="316"/>
                  <a:pt x="480" y="315"/>
                </a:cubicBezTo>
                <a:cubicBezTo>
                  <a:pt x="480" y="315"/>
                  <a:pt x="481" y="313"/>
                  <a:pt x="481" y="312"/>
                </a:cubicBezTo>
                <a:cubicBezTo>
                  <a:pt x="481" y="312"/>
                  <a:pt x="480" y="312"/>
                  <a:pt x="479" y="311"/>
                </a:cubicBezTo>
                <a:cubicBezTo>
                  <a:pt x="481" y="312"/>
                  <a:pt x="481" y="311"/>
                  <a:pt x="483" y="310"/>
                </a:cubicBezTo>
                <a:cubicBezTo>
                  <a:pt x="483" y="310"/>
                  <a:pt x="484" y="310"/>
                  <a:pt x="484" y="309"/>
                </a:cubicBezTo>
                <a:cubicBezTo>
                  <a:pt x="484" y="309"/>
                  <a:pt x="483" y="309"/>
                  <a:pt x="484" y="308"/>
                </a:cubicBezTo>
                <a:cubicBezTo>
                  <a:pt x="486" y="308"/>
                  <a:pt x="485" y="309"/>
                  <a:pt x="486" y="310"/>
                </a:cubicBezTo>
                <a:cubicBezTo>
                  <a:pt x="487" y="309"/>
                  <a:pt x="488" y="309"/>
                  <a:pt x="489" y="308"/>
                </a:cubicBezTo>
                <a:cubicBezTo>
                  <a:pt x="488" y="308"/>
                  <a:pt x="489" y="306"/>
                  <a:pt x="488" y="305"/>
                </a:cubicBezTo>
                <a:cubicBezTo>
                  <a:pt x="487" y="304"/>
                  <a:pt x="487" y="304"/>
                  <a:pt x="487" y="304"/>
                </a:cubicBezTo>
                <a:cubicBezTo>
                  <a:pt x="486" y="304"/>
                  <a:pt x="486" y="304"/>
                  <a:pt x="485" y="303"/>
                </a:cubicBezTo>
                <a:cubicBezTo>
                  <a:pt x="487" y="304"/>
                  <a:pt x="487" y="304"/>
                  <a:pt x="489" y="303"/>
                </a:cubicBezTo>
                <a:cubicBezTo>
                  <a:pt x="490" y="303"/>
                  <a:pt x="488" y="302"/>
                  <a:pt x="488" y="301"/>
                </a:cubicBezTo>
                <a:cubicBezTo>
                  <a:pt x="489" y="301"/>
                  <a:pt x="489" y="301"/>
                  <a:pt x="490" y="301"/>
                </a:cubicBezTo>
                <a:cubicBezTo>
                  <a:pt x="490" y="301"/>
                  <a:pt x="489" y="300"/>
                  <a:pt x="489" y="300"/>
                </a:cubicBezTo>
                <a:cubicBezTo>
                  <a:pt x="489" y="299"/>
                  <a:pt x="488" y="299"/>
                  <a:pt x="487" y="299"/>
                </a:cubicBezTo>
                <a:cubicBezTo>
                  <a:pt x="488" y="299"/>
                  <a:pt x="488" y="297"/>
                  <a:pt x="489" y="297"/>
                </a:cubicBezTo>
                <a:cubicBezTo>
                  <a:pt x="490" y="297"/>
                  <a:pt x="490" y="298"/>
                  <a:pt x="490" y="298"/>
                </a:cubicBezTo>
                <a:cubicBezTo>
                  <a:pt x="491" y="298"/>
                  <a:pt x="491" y="297"/>
                  <a:pt x="491" y="297"/>
                </a:cubicBezTo>
                <a:cubicBezTo>
                  <a:pt x="491" y="297"/>
                  <a:pt x="492" y="297"/>
                  <a:pt x="492" y="298"/>
                </a:cubicBezTo>
                <a:cubicBezTo>
                  <a:pt x="492" y="297"/>
                  <a:pt x="493" y="294"/>
                  <a:pt x="492" y="294"/>
                </a:cubicBezTo>
                <a:cubicBezTo>
                  <a:pt x="492" y="293"/>
                  <a:pt x="490" y="294"/>
                  <a:pt x="491" y="295"/>
                </a:cubicBezTo>
                <a:cubicBezTo>
                  <a:pt x="491" y="296"/>
                  <a:pt x="490" y="295"/>
                  <a:pt x="490" y="295"/>
                </a:cubicBezTo>
                <a:cubicBezTo>
                  <a:pt x="489" y="295"/>
                  <a:pt x="488" y="296"/>
                  <a:pt x="487" y="295"/>
                </a:cubicBezTo>
                <a:cubicBezTo>
                  <a:pt x="490" y="294"/>
                  <a:pt x="492" y="293"/>
                  <a:pt x="494" y="291"/>
                </a:cubicBezTo>
                <a:cubicBezTo>
                  <a:pt x="493" y="291"/>
                  <a:pt x="491" y="291"/>
                  <a:pt x="490" y="290"/>
                </a:cubicBezTo>
                <a:cubicBezTo>
                  <a:pt x="488" y="289"/>
                  <a:pt x="487" y="286"/>
                  <a:pt x="484" y="286"/>
                </a:cubicBezTo>
                <a:cubicBezTo>
                  <a:pt x="483" y="286"/>
                  <a:pt x="483" y="288"/>
                  <a:pt x="482" y="288"/>
                </a:cubicBezTo>
                <a:cubicBezTo>
                  <a:pt x="481" y="288"/>
                  <a:pt x="479" y="289"/>
                  <a:pt x="479" y="288"/>
                </a:cubicBezTo>
                <a:cubicBezTo>
                  <a:pt x="479" y="287"/>
                  <a:pt x="479" y="286"/>
                  <a:pt x="478" y="286"/>
                </a:cubicBezTo>
                <a:cubicBezTo>
                  <a:pt x="479" y="286"/>
                  <a:pt x="481" y="286"/>
                  <a:pt x="481" y="285"/>
                </a:cubicBezTo>
                <a:cubicBezTo>
                  <a:pt x="483" y="284"/>
                  <a:pt x="484" y="283"/>
                  <a:pt x="485" y="282"/>
                </a:cubicBezTo>
                <a:cubicBezTo>
                  <a:pt x="486" y="281"/>
                  <a:pt x="488" y="281"/>
                  <a:pt x="489" y="281"/>
                </a:cubicBezTo>
                <a:cubicBezTo>
                  <a:pt x="489" y="280"/>
                  <a:pt x="492" y="280"/>
                  <a:pt x="492" y="279"/>
                </a:cubicBezTo>
                <a:cubicBezTo>
                  <a:pt x="492" y="278"/>
                  <a:pt x="491" y="277"/>
                  <a:pt x="490" y="276"/>
                </a:cubicBezTo>
                <a:cubicBezTo>
                  <a:pt x="490" y="276"/>
                  <a:pt x="490" y="276"/>
                  <a:pt x="490" y="276"/>
                </a:cubicBezTo>
                <a:cubicBezTo>
                  <a:pt x="490" y="277"/>
                  <a:pt x="489" y="279"/>
                  <a:pt x="487" y="279"/>
                </a:cubicBezTo>
                <a:cubicBezTo>
                  <a:pt x="486" y="279"/>
                  <a:pt x="485" y="277"/>
                  <a:pt x="485" y="276"/>
                </a:cubicBezTo>
                <a:cubicBezTo>
                  <a:pt x="485" y="275"/>
                  <a:pt x="486" y="273"/>
                  <a:pt x="487" y="273"/>
                </a:cubicBezTo>
                <a:cubicBezTo>
                  <a:pt x="486" y="272"/>
                  <a:pt x="485" y="271"/>
                  <a:pt x="483" y="270"/>
                </a:cubicBezTo>
                <a:cubicBezTo>
                  <a:pt x="482" y="270"/>
                  <a:pt x="481" y="270"/>
                  <a:pt x="480" y="269"/>
                </a:cubicBezTo>
                <a:cubicBezTo>
                  <a:pt x="480" y="269"/>
                  <a:pt x="480" y="268"/>
                  <a:pt x="480" y="268"/>
                </a:cubicBezTo>
                <a:cubicBezTo>
                  <a:pt x="479" y="267"/>
                  <a:pt x="480" y="267"/>
                  <a:pt x="479" y="267"/>
                </a:cubicBezTo>
                <a:cubicBezTo>
                  <a:pt x="477" y="266"/>
                  <a:pt x="477" y="268"/>
                  <a:pt x="475" y="268"/>
                </a:cubicBezTo>
                <a:cubicBezTo>
                  <a:pt x="476" y="267"/>
                  <a:pt x="476" y="267"/>
                  <a:pt x="476" y="267"/>
                </a:cubicBezTo>
                <a:cubicBezTo>
                  <a:pt x="478" y="265"/>
                  <a:pt x="480" y="266"/>
                  <a:pt x="481" y="268"/>
                </a:cubicBezTo>
                <a:cubicBezTo>
                  <a:pt x="482" y="268"/>
                  <a:pt x="482" y="269"/>
                  <a:pt x="483" y="269"/>
                </a:cubicBezTo>
                <a:cubicBezTo>
                  <a:pt x="484" y="269"/>
                  <a:pt x="485" y="269"/>
                  <a:pt x="486" y="269"/>
                </a:cubicBezTo>
                <a:cubicBezTo>
                  <a:pt x="488" y="269"/>
                  <a:pt x="490" y="270"/>
                  <a:pt x="492" y="270"/>
                </a:cubicBezTo>
                <a:cubicBezTo>
                  <a:pt x="492" y="269"/>
                  <a:pt x="491" y="268"/>
                  <a:pt x="491" y="267"/>
                </a:cubicBezTo>
                <a:cubicBezTo>
                  <a:pt x="490" y="266"/>
                  <a:pt x="488" y="266"/>
                  <a:pt x="487" y="265"/>
                </a:cubicBezTo>
                <a:cubicBezTo>
                  <a:pt x="486" y="264"/>
                  <a:pt x="487" y="263"/>
                  <a:pt x="486" y="262"/>
                </a:cubicBezTo>
                <a:cubicBezTo>
                  <a:pt x="486" y="262"/>
                  <a:pt x="485" y="261"/>
                  <a:pt x="484" y="261"/>
                </a:cubicBezTo>
                <a:cubicBezTo>
                  <a:pt x="482" y="260"/>
                  <a:pt x="482" y="260"/>
                  <a:pt x="482" y="258"/>
                </a:cubicBezTo>
                <a:cubicBezTo>
                  <a:pt x="482" y="256"/>
                  <a:pt x="481" y="255"/>
                  <a:pt x="481" y="254"/>
                </a:cubicBezTo>
                <a:cubicBezTo>
                  <a:pt x="479" y="251"/>
                  <a:pt x="478" y="248"/>
                  <a:pt x="477" y="245"/>
                </a:cubicBezTo>
                <a:cubicBezTo>
                  <a:pt x="476" y="244"/>
                  <a:pt x="476" y="241"/>
                  <a:pt x="475" y="240"/>
                </a:cubicBezTo>
                <a:cubicBezTo>
                  <a:pt x="474" y="240"/>
                  <a:pt x="473" y="240"/>
                  <a:pt x="473" y="240"/>
                </a:cubicBezTo>
                <a:cubicBezTo>
                  <a:pt x="472" y="239"/>
                  <a:pt x="471" y="239"/>
                  <a:pt x="470" y="239"/>
                </a:cubicBezTo>
                <a:cubicBezTo>
                  <a:pt x="470" y="238"/>
                  <a:pt x="467" y="235"/>
                  <a:pt x="466" y="235"/>
                </a:cubicBezTo>
                <a:cubicBezTo>
                  <a:pt x="464" y="236"/>
                  <a:pt x="465" y="236"/>
                  <a:pt x="464" y="235"/>
                </a:cubicBezTo>
                <a:cubicBezTo>
                  <a:pt x="464" y="234"/>
                  <a:pt x="464" y="234"/>
                  <a:pt x="464" y="233"/>
                </a:cubicBezTo>
                <a:cubicBezTo>
                  <a:pt x="464" y="233"/>
                  <a:pt x="464" y="233"/>
                  <a:pt x="464" y="233"/>
                </a:cubicBezTo>
                <a:cubicBezTo>
                  <a:pt x="464" y="233"/>
                  <a:pt x="465" y="233"/>
                  <a:pt x="465" y="232"/>
                </a:cubicBezTo>
                <a:cubicBezTo>
                  <a:pt x="467" y="231"/>
                  <a:pt x="467" y="226"/>
                  <a:pt x="470" y="226"/>
                </a:cubicBezTo>
                <a:cubicBezTo>
                  <a:pt x="472" y="226"/>
                  <a:pt x="472" y="225"/>
                  <a:pt x="473" y="224"/>
                </a:cubicBezTo>
                <a:cubicBezTo>
                  <a:pt x="474" y="223"/>
                  <a:pt x="475" y="222"/>
                  <a:pt x="476" y="221"/>
                </a:cubicBezTo>
                <a:cubicBezTo>
                  <a:pt x="475" y="221"/>
                  <a:pt x="474" y="220"/>
                  <a:pt x="474" y="220"/>
                </a:cubicBezTo>
                <a:cubicBezTo>
                  <a:pt x="473" y="218"/>
                  <a:pt x="475" y="218"/>
                  <a:pt x="476" y="218"/>
                </a:cubicBezTo>
                <a:cubicBezTo>
                  <a:pt x="476" y="219"/>
                  <a:pt x="476" y="219"/>
                  <a:pt x="476" y="219"/>
                </a:cubicBezTo>
                <a:cubicBezTo>
                  <a:pt x="476" y="221"/>
                  <a:pt x="476" y="220"/>
                  <a:pt x="477" y="220"/>
                </a:cubicBezTo>
                <a:cubicBezTo>
                  <a:pt x="479" y="220"/>
                  <a:pt x="479" y="220"/>
                  <a:pt x="480" y="219"/>
                </a:cubicBezTo>
                <a:cubicBezTo>
                  <a:pt x="480" y="219"/>
                  <a:pt x="479" y="218"/>
                  <a:pt x="479" y="218"/>
                </a:cubicBezTo>
                <a:cubicBezTo>
                  <a:pt x="479" y="217"/>
                  <a:pt x="480" y="217"/>
                  <a:pt x="481" y="216"/>
                </a:cubicBezTo>
                <a:cubicBezTo>
                  <a:pt x="482" y="216"/>
                  <a:pt x="482" y="216"/>
                  <a:pt x="482" y="215"/>
                </a:cubicBezTo>
                <a:cubicBezTo>
                  <a:pt x="482" y="215"/>
                  <a:pt x="481" y="214"/>
                  <a:pt x="480" y="214"/>
                </a:cubicBezTo>
                <a:cubicBezTo>
                  <a:pt x="481" y="213"/>
                  <a:pt x="483" y="214"/>
                  <a:pt x="484" y="214"/>
                </a:cubicBezTo>
                <a:cubicBezTo>
                  <a:pt x="485" y="213"/>
                  <a:pt x="486" y="212"/>
                  <a:pt x="488" y="212"/>
                </a:cubicBezTo>
                <a:cubicBezTo>
                  <a:pt x="490" y="211"/>
                  <a:pt x="492" y="210"/>
                  <a:pt x="495" y="209"/>
                </a:cubicBezTo>
                <a:cubicBezTo>
                  <a:pt x="495" y="211"/>
                  <a:pt x="495" y="212"/>
                  <a:pt x="497" y="211"/>
                </a:cubicBezTo>
                <a:cubicBezTo>
                  <a:pt x="498" y="211"/>
                  <a:pt x="498" y="210"/>
                  <a:pt x="499" y="209"/>
                </a:cubicBezTo>
                <a:cubicBezTo>
                  <a:pt x="498" y="209"/>
                  <a:pt x="497" y="210"/>
                  <a:pt x="497" y="209"/>
                </a:cubicBezTo>
                <a:cubicBezTo>
                  <a:pt x="498" y="208"/>
                  <a:pt x="501" y="206"/>
                  <a:pt x="500" y="205"/>
                </a:cubicBezTo>
                <a:cubicBezTo>
                  <a:pt x="500" y="204"/>
                  <a:pt x="498" y="205"/>
                  <a:pt x="498" y="205"/>
                </a:cubicBezTo>
                <a:cubicBezTo>
                  <a:pt x="498" y="205"/>
                  <a:pt x="497" y="205"/>
                  <a:pt x="497" y="205"/>
                </a:cubicBezTo>
                <a:cubicBezTo>
                  <a:pt x="496" y="204"/>
                  <a:pt x="495" y="204"/>
                  <a:pt x="494" y="203"/>
                </a:cubicBezTo>
                <a:cubicBezTo>
                  <a:pt x="493" y="203"/>
                  <a:pt x="493" y="204"/>
                  <a:pt x="493" y="204"/>
                </a:cubicBezTo>
                <a:cubicBezTo>
                  <a:pt x="492" y="203"/>
                  <a:pt x="490" y="205"/>
                  <a:pt x="489" y="204"/>
                </a:cubicBezTo>
                <a:cubicBezTo>
                  <a:pt x="487" y="204"/>
                  <a:pt x="485" y="203"/>
                  <a:pt x="484" y="202"/>
                </a:cubicBezTo>
                <a:cubicBezTo>
                  <a:pt x="483" y="202"/>
                  <a:pt x="482" y="201"/>
                  <a:pt x="481" y="200"/>
                </a:cubicBezTo>
                <a:cubicBezTo>
                  <a:pt x="480" y="199"/>
                  <a:pt x="479" y="200"/>
                  <a:pt x="478" y="201"/>
                </a:cubicBezTo>
                <a:cubicBezTo>
                  <a:pt x="476" y="201"/>
                  <a:pt x="475" y="201"/>
                  <a:pt x="475" y="203"/>
                </a:cubicBezTo>
                <a:cubicBezTo>
                  <a:pt x="475" y="203"/>
                  <a:pt x="473" y="204"/>
                  <a:pt x="472" y="205"/>
                </a:cubicBezTo>
                <a:cubicBezTo>
                  <a:pt x="471" y="206"/>
                  <a:pt x="469" y="208"/>
                  <a:pt x="468" y="208"/>
                </a:cubicBezTo>
                <a:cubicBezTo>
                  <a:pt x="467" y="208"/>
                  <a:pt x="465" y="207"/>
                  <a:pt x="464" y="206"/>
                </a:cubicBezTo>
                <a:cubicBezTo>
                  <a:pt x="462" y="206"/>
                  <a:pt x="462" y="206"/>
                  <a:pt x="462" y="204"/>
                </a:cubicBezTo>
                <a:cubicBezTo>
                  <a:pt x="463" y="203"/>
                  <a:pt x="463" y="201"/>
                  <a:pt x="463" y="200"/>
                </a:cubicBezTo>
                <a:cubicBezTo>
                  <a:pt x="463" y="198"/>
                  <a:pt x="462" y="196"/>
                  <a:pt x="461" y="196"/>
                </a:cubicBezTo>
                <a:cubicBezTo>
                  <a:pt x="460" y="196"/>
                  <a:pt x="459" y="196"/>
                  <a:pt x="459" y="196"/>
                </a:cubicBezTo>
                <a:cubicBezTo>
                  <a:pt x="458" y="196"/>
                  <a:pt x="459" y="196"/>
                  <a:pt x="459" y="197"/>
                </a:cubicBezTo>
                <a:cubicBezTo>
                  <a:pt x="459" y="197"/>
                  <a:pt x="458" y="197"/>
                  <a:pt x="458" y="198"/>
                </a:cubicBezTo>
                <a:cubicBezTo>
                  <a:pt x="457" y="197"/>
                  <a:pt x="457" y="196"/>
                  <a:pt x="456" y="196"/>
                </a:cubicBezTo>
                <a:cubicBezTo>
                  <a:pt x="456" y="196"/>
                  <a:pt x="455" y="196"/>
                  <a:pt x="455" y="196"/>
                </a:cubicBezTo>
                <a:cubicBezTo>
                  <a:pt x="454" y="196"/>
                  <a:pt x="453" y="195"/>
                  <a:pt x="451" y="195"/>
                </a:cubicBezTo>
                <a:cubicBezTo>
                  <a:pt x="450" y="194"/>
                  <a:pt x="447" y="191"/>
                  <a:pt x="448" y="190"/>
                </a:cubicBezTo>
                <a:cubicBezTo>
                  <a:pt x="448" y="188"/>
                  <a:pt x="448" y="186"/>
                  <a:pt x="450" y="184"/>
                </a:cubicBezTo>
                <a:cubicBezTo>
                  <a:pt x="450" y="184"/>
                  <a:pt x="450" y="184"/>
                  <a:pt x="451" y="184"/>
                </a:cubicBezTo>
                <a:cubicBezTo>
                  <a:pt x="453" y="183"/>
                  <a:pt x="453" y="185"/>
                  <a:pt x="456" y="185"/>
                </a:cubicBezTo>
                <a:cubicBezTo>
                  <a:pt x="456" y="185"/>
                  <a:pt x="458" y="185"/>
                  <a:pt x="459" y="185"/>
                </a:cubicBezTo>
                <a:cubicBezTo>
                  <a:pt x="460" y="184"/>
                  <a:pt x="461" y="185"/>
                  <a:pt x="462" y="184"/>
                </a:cubicBezTo>
                <a:cubicBezTo>
                  <a:pt x="462" y="184"/>
                  <a:pt x="463" y="183"/>
                  <a:pt x="463" y="183"/>
                </a:cubicBezTo>
                <a:cubicBezTo>
                  <a:pt x="464" y="182"/>
                  <a:pt x="465" y="181"/>
                  <a:pt x="465" y="180"/>
                </a:cubicBezTo>
                <a:cubicBezTo>
                  <a:pt x="466" y="177"/>
                  <a:pt x="467" y="175"/>
                  <a:pt x="469" y="175"/>
                </a:cubicBezTo>
                <a:cubicBezTo>
                  <a:pt x="472" y="174"/>
                  <a:pt x="474" y="172"/>
                  <a:pt x="477" y="171"/>
                </a:cubicBezTo>
                <a:cubicBezTo>
                  <a:pt x="479" y="169"/>
                  <a:pt x="480" y="167"/>
                  <a:pt x="482" y="165"/>
                </a:cubicBezTo>
                <a:cubicBezTo>
                  <a:pt x="484" y="163"/>
                  <a:pt x="484" y="163"/>
                  <a:pt x="486" y="163"/>
                </a:cubicBezTo>
                <a:cubicBezTo>
                  <a:pt x="488" y="164"/>
                  <a:pt x="489" y="164"/>
                  <a:pt x="490" y="163"/>
                </a:cubicBezTo>
                <a:cubicBezTo>
                  <a:pt x="491" y="163"/>
                  <a:pt x="491" y="162"/>
                  <a:pt x="492" y="162"/>
                </a:cubicBezTo>
                <a:cubicBezTo>
                  <a:pt x="491" y="163"/>
                  <a:pt x="491" y="164"/>
                  <a:pt x="493" y="164"/>
                </a:cubicBezTo>
                <a:cubicBezTo>
                  <a:pt x="494" y="165"/>
                  <a:pt x="495" y="165"/>
                  <a:pt x="496" y="167"/>
                </a:cubicBezTo>
                <a:cubicBezTo>
                  <a:pt x="496" y="167"/>
                  <a:pt x="496" y="167"/>
                  <a:pt x="496" y="168"/>
                </a:cubicBezTo>
                <a:cubicBezTo>
                  <a:pt x="496" y="168"/>
                  <a:pt x="495" y="169"/>
                  <a:pt x="495" y="169"/>
                </a:cubicBezTo>
                <a:cubicBezTo>
                  <a:pt x="494" y="171"/>
                  <a:pt x="493" y="172"/>
                  <a:pt x="492" y="173"/>
                </a:cubicBezTo>
                <a:cubicBezTo>
                  <a:pt x="491" y="174"/>
                  <a:pt x="491" y="174"/>
                  <a:pt x="490" y="175"/>
                </a:cubicBezTo>
                <a:cubicBezTo>
                  <a:pt x="490" y="175"/>
                  <a:pt x="488" y="175"/>
                  <a:pt x="488" y="176"/>
                </a:cubicBezTo>
                <a:cubicBezTo>
                  <a:pt x="487" y="177"/>
                  <a:pt x="488" y="178"/>
                  <a:pt x="487" y="178"/>
                </a:cubicBezTo>
                <a:cubicBezTo>
                  <a:pt x="487" y="179"/>
                  <a:pt x="487" y="178"/>
                  <a:pt x="486" y="179"/>
                </a:cubicBezTo>
                <a:cubicBezTo>
                  <a:pt x="486" y="179"/>
                  <a:pt x="486" y="179"/>
                  <a:pt x="485" y="179"/>
                </a:cubicBezTo>
                <a:cubicBezTo>
                  <a:pt x="488" y="182"/>
                  <a:pt x="489" y="181"/>
                  <a:pt x="492" y="181"/>
                </a:cubicBezTo>
                <a:cubicBezTo>
                  <a:pt x="492" y="181"/>
                  <a:pt x="489" y="182"/>
                  <a:pt x="489" y="183"/>
                </a:cubicBezTo>
                <a:cubicBezTo>
                  <a:pt x="489" y="183"/>
                  <a:pt x="490" y="184"/>
                  <a:pt x="490" y="184"/>
                </a:cubicBezTo>
                <a:cubicBezTo>
                  <a:pt x="490" y="185"/>
                  <a:pt x="488" y="185"/>
                  <a:pt x="487" y="185"/>
                </a:cubicBezTo>
                <a:cubicBezTo>
                  <a:pt x="486" y="186"/>
                  <a:pt x="485" y="186"/>
                  <a:pt x="485" y="186"/>
                </a:cubicBezTo>
                <a:cubicBezTo>
                  <a:pt x="485" y="187"/>
                  <a:pt x="484" y="186"/>
                  <a:pt x="484" y="186"/>
                </a:cubicBezTo>
                <a:cubicBezTo>
                  <a:pt x="484" y="187"/>
                  <a:pt x="485" y="189"/>
                  <a:pt x="485" y="189"/>
                </a:cubicBezTo>
                <a:cubicBezTo>
                  <a:pt x="489" y="187"/>
                  <a:pt x="492" y="184"/>
                  <a:pt x="496" y="181"/>
                </a:cubicBezTo>
                <a:cubicBezTo>
                  <a:pt x="498" y="180"/>
                  <a:pt x="499" y="180"/>
                  <a:pt x="501" y="179"/>
                </a:cubicBezTo>
                <a:cubicBezTo>
                  <a:pt x="502" y="178"/>
                  <a:pt x="504" y="177"/>
                  <a:pt x="505" y="176"/>
                </a:cubicBezTo>
                <a:cubicBezTo>
                  <a:pt x="507" y="176"/>
                  <a:pt x="508" y="176"/>
                  <a:pt x="509" y="176"/>
                </a:cubicBezTo>
                <a:cubicBezTo>
                  <a:pt x="511" y="176"/>
                  <a:pt x="512" y="176"/>
                  <a:pt x="514" y="176"/>
                </a:cubicBezTo>
                <a:cubicBezTo>
                  <a:pt x="515" y="176"/>
                  <a:pt x="516" y="175"/>
                  <a:pt x="516" y="174"/>
                </a:cubicBezTo>
                <a:lnTo>
                  <a:pt x="516" y="173"/>
                </a:ln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81" name="Freeform 3138">
            <a:extLst>
              <a:ext uri="{FF2B5EF4-FFF2-40B4-BE49-F238E27FC236}">
                <a16:creationId xmlns:a16="http://schemas.microsoft.com/office/drawing/2014/main" id="{F58311EA-61C3-43E4-AB6A-79BF0B291CA6}"/>
              </a:ext>
            </a:extLst>
          </p:cNvPr>
          <p:cNvSpPr>
            <a:spLocks/>
          </p:cNvSpPr>
          <p:nvPr/>
        </p:nvSpPr>
        <p:spPr bwMode="auto">
          <a:xfrm>
            <a:off x="4285028" y="3251655"/>
            <a:ext cx="1982" cy="0"/>
          </a:xfrm>
          <a:custGeom>
            <a:avLst/>
            <a:gdLst>
              <a:gd name="T0" fmla="*/ 2 w 2"/>
              <a:gd name="T1" fmla="*/ 0 w 2"/>
              <a:gd name="T2" fmla="*/ 0 w 2"/>
              <a:gd name="T3" fmla="*/ 0 w 2"/>
              <a:gd name="T4" fmla="*/ 0 w 2"/>
              <a:gd name="T5" fmla="*/ 0 w 2"/>
              <a:gd name="T6" fmla="*/ 2 w 2"/>
              <a:gd name="T7" fmla="*/ 2 w 2"/>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2">
                <a:moveTo>
                  <a:pt x="2" y="0"/>
                </a:moveTo>
                <a:cubicBezTo>
                  <a:pt x="1" y="0"/>
                  <a:pt x="1" y="0"/>
                  <a:pt x="0" y="0"/>
                </a:cubicBezTo>
                <a:cubicBezTo>
                  <a:pt x="0" y="0"/>
                  <a:pt x="0" y="0"/>
                  <a:pt x="0" y="0"/>
                </a:cubicBezTo>
                <a:cubicBezTo>
                  <a:pt x="0" y="0"/>
                  <a:pt x="0" y="0"/>
                  <a:pt x="0" y="0"/>
                </a:cubicBezTo>
                <a:cubicBezTo>
                  <a:pt x="0" y="0"/>
                  <a:pt x="0" y="0"/>
                  <a:pt x="0" y="0"/>
                </a:cubicBezTo>
                <a:cubicBezTo>
                  <a:pt x="0" y="0"/>
                  <a:pt x="0" y="0"/>
                  <a:pt x="0" y="0"/>
                </a:cubicBezTo>
                <a:cubicBezTo>
                  <a:pt x="2" y="0"/>
                  <a:pt x="2" y="0"/>
                  <a:pt x="2" y="0"/>
                </a:cubicBezTo>
                <a:cubicBezTo>
                  <a:pt x="2" y="0"/>
                  <a:pt x="2" y="0"/>
                  <a:pt x="2"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82" name="Freeform 3139">
            <a:extLst>
              <a:ext uri="{FF2B5EF4-FFF2-40B4-BE49-F238E27FC236}">
                <a16:creationId xmlns:a16="http://schemas.microsoft.com/office/drawing/2014/main" id="{FF4571A1-2BAF-4E38-9C51-A41DA5B838FF}"/>
              </a:ext>
            </a:extLst>
          </p:cNvPr>
          <p:cNvSpPr>
            <a:spLocks/>
          </p:cNvSpPr>
          <p:nvPr/>
        </p:nvSpPr>
        <p:spPr bwMode="auto">
          <a:xfrm>
            <a:off x="4403467" y="3370967"/>
            <a:ext cx="991"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83" name="Freeform 3140">
            <a:extLst>
              <a:ext uri="{FF2B5EF4-FFF2-40B4-BE49-F238E27FC236}">
                <a16:creationId xmlns:a16="http://schemas.microsoft.com/office/drawing/2014/main" id="{A68F0169-3BD8-4137-B24C-079365467A82}"/>
              </a:ext>
            </a:extLst>
          </p:cNvPr>
          <p:cNvSpPr>
            <a:spLocks/>
          </p:cNvSpPr>
          <p:nvPr/>
        </p:nvSpPr>
        <p:spPr bwMode="auto">
          <a:xfrm>
            <a:off x="4395042" y="3326448"/>
            <a:ext cx="109023" cy="110409"/>
          </a:xfrm>
          <a:custGeom>
            <a:avLst/>
            <a:gdLst>
              <a:gd name="T0" fmla="*/ 6 w 93"/>
              <a:gd name="T1" fmla="*/ 32 h 79"/>
              <a:gd name="T2" fmla="*/ 10 w 93"/>
              <a:gd name="T3" fmla="*/ 31 h 79"/>
              <a:gd name="T4" fmla="*/ 13 w 93"/>
              <a:gd name="T5" fmla="*/ 36 h 79"/>
              <a:gd name="T6" fmla="*/ 17 w 93"/>
              <a:gd name="T7" fmla="*/ 34 h 79"/>
              <a:gd name="T8" fmla="*/ 19 w 93"/>
              <a:gd name="T9" fmla="*/ 43 h 79"/>
              <a:gd name="T10" fmla="*/ 20 w 93"/>
              <a:gd name="T11" fmla="*/ 44 h 79"/>
              <a:gd name="T12" fmla="*/ 24 w 93"/>
              <a:gd name="T13" fmla="*/ 45 h 79"/>
              <a:gd name="T14" fmla="*/ 27 w 93"/>
              <a:gd name="T15" fmla="*/ 45 h 79"/>
              <a:gd name="T16" fmla="*/ 36 w 93"/>
              <a:gd name="T17" fmla="*/ 45 h 79"/>
              <a:gd name="T18" fmla="*/ 43 w 93"/>
              <a:gd name="T19" fmla="*/ 46 h 79"/>
              <a:gd name="T20" fmla="*/ 44 w 93"/>
              <a:gd name="T21" fmla="*/ 50 h 79"/>
              <a:gd name="T22" fmla="*/ 41 w 93"/>
              <a:gd name="T23" fmla="*/ 55 h 79"/>
              <a:gd name="T24" fmla="*/ 40 w 93"/>
              <a:gd name="T25" fmla="*/ 55 h 79"/>
              <a:gd name="T26" fmla="*/ 38 w 93"/>
              <a:gd name="T27" fmla="*/ 58 h 79"/>
              <a:gd name="T28" fmla="*/ 33 w 93"/>
              <a:gd name="T29" fmla="*/ 61 h 79"/>
              <a:gd name="T30" fmla="*/ 33 w 93"/>
              <a:gd name="T31" fmla="*/ 64 h 79"/>
              <a:gd name="T32" fmla="*/ 36 w 93"/>
              <a:gd name="T33" fmla="*/ 68 h 79"/>
              <a:gd name="T34" fmla="*/ 38 w 93"/>
              <a:gd name="T35" fmla="*/ 63 h 79"/>
              <a:gd name="T36" fmla="*/ 43 w 93"/>
              <a:gd name="T37" fmla="*/ 60 h 79"/>
              <a:gd name="T38" fmla="*/ 47 w 93"/>
              <a:gd name="T39" fmla="*/ 68 h 79"/>
              <a:gd name="T40" fmla="*/ 46 w 93"/>
              <a:gd name="T41" fmla="*/ 75 h 79"/>
              <a:gd name="T42" fmla="*/ 50 w 93"/>
              <a:gd name="T43" fmla="*/ 74 h 79"/>
              <a:gd name="T44" fmla="*/ 53 w 93"/>
              <a:gd name="T45" fmla="*/ 61 h 79"/>
              <a:gd name="T46" fmla="*/ 62 w 93"/>
              <a:gd name="T47" fmla="*/ 57 h 79"/>
              <a:gd name="T48" fmla="*/ 70 w 93"/>
              <a:gd name="T49" fmla="*/ 37 h 79"/>
              <a:gd name="T50" fmla="*/ 76 w 93"/>
              <a:gd name="T51" fmla="*/ 26 h 79"/>
              <a:gd name="T52" fmla="*/ 89 w 93"/>
              <a:gd name="T53" fmla="*/ 21 h 79"/>
              <a:gd name="T54" fmla="*/ 93 w 93"/>
              <a:gd name="T55" fmla="*/ 13 h 79"/>
              <a:gd name="T56" fmla="*/ 91 w 93"/>
              <a:gd name="T57" fmla="*/ 12 h 79"/>
              <a:gd name="T58" fmla="*/ 86 w 93"/>
              <a:gd name="T59" fmla="*/ 11 h 79"/>
              <a:gd name="T60" fmla="*/ 82 w 93"/>
              <a:gd name="T61" fmla="*/ 10 h 79"/>
              <a:gd name="T62" fmla="*/ 84 w 93"/>
              <a:gd name="T63" fmla="*/ 7 h 79"/>
              <a:gd name="T64" fmla="*/ 85 w 93"/>
              <a:gd name="T65" fmla="*/ 6 h 79"/>
              <a:gd name="T66" fmla="*/ 81 w 93"/>
              <a:gd name="T67" fmla="*/ 7 h 79"/>
              <a:gd name="T68" fmla="*/ 82 w 93"/>
              <a:gd name="T69" fmla="*/ 2 h 79"/>
              <a:gd name="T70" fmla="*/ 81 w 93"/>
              <a:gd name="T71" fmla="*/ 0 h 79"/>
              <a:gd name="T72" fmla="*/ 72 w 93"/>
              <a:gd name="T73" fmla="*/ 4 h 79"/>
              <a:gd name="T74" fmla="*/ 69 w 93"/>
              <a:gd name="T75" fmla="*/ 3 h 79"/>
              <a:gd name="T76" fmla="*/ 65 w 93"/>
              <a:gd name="T77" fmla="*/ 3 h 79"/>
              <a:gd name="T78" fmla="*/ 58 w 93"/>
              <a:gd name="T79" fmla="*/ 8 h 79"/>
              <a:gd name="T80" fmla="*/ 52 w 93"/>
              <a:gd name="T81" fmla="*/ 11 h 79"/>
              <a:gd name="T82" fmla="*/ 51 w 93"/>
              <a:gd name="T83" fmla="*/ 12 h 79"/>
              <a:gd name="T84" fmla="*/ 48 w 93"/>
              <a:gd name="T85" fmla="*/ 14 h 79"/>
              <a:gd name="T86" fmla="*/ 48 w 93"/>
              <a:gd name="T87" fmla="*/ 16 h 79"/>
              <a:gd name="T88" fmla="*/ 39 w 93"/>
              <a:gd name="T89" fmla="*/ 18 h 79"/>
              <a:gd name="T90" fmla="*/ 37 w 93"/>
              <a:gd name="T91" fmla="*/ 19 h 79"/>
              <a:gd name="T92" fmla="*/ 41 w 93"/>
              <a:gd name="T93" fmla="*/ 21 h 79"/>
              <a:gd name="T94" fmla="*/ 41 w 93"/>
              <a:gd name="T95" fmla="*/ 25 h 79"/>
              <a:gd name="T96" fmla="*/ 38 w 93"/>
              <a:gd name="T97" fmla="*/ 29 h 79"/>
              <a:gd name="T98" fmla="*/ 37 w 93"/>
              <a:gd name="T99" fmla="*/ 29 h 79"/>
              <a:gd name="T100" fmla="*/ 33 w 93"/>
              <a:gd name="T101" fmla="*/ 29 h 79"/>
              <a:gd name="T102" fmla="*/ 27 w 93"/>
              <a:gd name="T103" fmla="*/ 29 h 79"/>
              <a:gd name="T104" fmla="*/ 23 w 93"/>
              <a:gd name="T105" fmla="*/ 28 h 79"/>
              <a:gd name="T106" fmla="*/ 17 w 93"/>
              <a:gd name="T107" fmla="*/ 30 h 79"/>
              <a:gd name="T108" fmla="*/ 13 w 93"/>
              <a:gd name="T109" fmla="*/ 29 h 79"/>
              <a:gd name="T110" fmla="*/ 9 w 93"/>
              <a:gd name="T111" fmla="*/ 28 h 79"/>
              <a:gd name="T112" fmla="*/ 4 w 93"/>
              <a:gd name="T113" fmla="*/ 25 h 79"/>
              <a:gd name="T114" fmla="*/ 6 w 93"/>
              <a:gd name="T115" fmla="*/ 22 h 79"/>
              <a:gd name="T116" fmla="*/ 6 w 93"/>
              <a:gd name="T117" fmla="*/ 18 h 79"/>
              <a:gd name="T118" fmla="*/ 6 w 93"/>
              <a:gd name="T119" fmla="*/ 15 h 79"/>
              <a:gd name="T120" fmla="*/ 2 w 93"/>
              <a:gd name="T121" fmla="*/ 17 h 79"/>
              <a:gd name="T122" fmla="*/ 0 w 93"/>
              <a:gd name="T123" fmla="*/ 25 h 79"/>
              <a:gd name="T124" fmla="*/ 2 w 93"/>
              <a:gd name="T125" fmla="*/ 2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3" h="79">
                <a:moveTo>
                  <a:pt x="2" y="30"/>
                </a:moveTo>
                <a:cubicBezTo>
                  <a:pt x="2" y="30"/>
                  <a:pt x="2" y="30"/>
                  <a:pt x="2" y="30"/>
                </a:cubicBezTo>
                <a:cubicBezTo>
                  <a:pt x="2" y="30"/>
                  <a:pt x="3" y="29"/>
                  <a:pt x="3" y="29"/>
                </a:cubicBezTo>
                <a:cubicBezTo>
                  <a:pt x="4" y="29"/>
                  <a:pt x="5" y="30"/>
                  <a:pt x="6" y="31"/>
                </a:cubicBezTo>
                <a:cubicBezTo>
                  <a:pt x="6" y="31"/>
                  <a:pt x="6" y="32"/>
                  <a:pt x="6" y="32"/>
                </a:cubicBezTo>
                <a:cubicBezTo>
                  <a:pt x="6" y="32"/>
                  <a:pt x="6" y="32"/>
                  <a:pt x="6" y="32"/>
                </a:cubicBezTo>
                <a:cubicBezTo>
                  <a:pt x="7" y="32"/>
                  <a:pt x="7" y="32"/>
                  <a:pt x="7" y="32"/>
                </a:cubicBezTo>
                <a:cubicBezTo>
                  <a:pt x="7" y="31"/>
                  <a:pt x="7" y="31"/>
                  <a:pt x="7" y="31"/>
                </a:cubicBezTo>
                <a:cubicBezTo>
                  <a:pt x="7" y="29"/>
                  <a:pt x="7" y="29"/>
                  <a:pt x="7" y="29"/>
                </a:cubicBezTo>
                <a:cubicBezTo>
                  <a:pt x="10" y="31"/>
                  <a:pt x="10" y="31"/>
                  <a:pt x="10" y="31"/>
                </a:cubicBezTo>
                <a:cubicBezTo>
                  <a:pt x="10" y="32"/>
                  <a:pt x="11" y="32"/>
                  <a:pt x="11" y="32"/>
                </a:cubicBezTo>
                <a:cubicBezTo>
                  <a:pt x="11" y="33"/>
                  <a:pt x="11" y="33"/>
                  <a:pt x="11" y="33"/>
                </a:cubicBezTo>
                <a:cubicBezTo>
                  <a:pt x="12" y="34"/>
                  <a:pt x="12" y="34"/>
                  <a:pt x="12" y="34"/>
                </a:cubicBezTo>
                <a:cubicBezTo>
                  <a:pt x="12" y="35"/>
                  <a:pt x="13" y="35"/>
                  <a:pt x="13" y="35"/>
                </a:cubicBezTo>
                <a:cubicBezTo>
                  <a:pt x="13" y="36"/>
                  <a:pt x="13" y="36"/>
                  <a:pt x="13" y="36"/>
                </a:cubicBezTo>
                <a:cubicBezTo>
                  <a:pt x="13" y="36"/>
                  <a:pt x="14" y="36"/>
                  <a:pt x="14" y="35"/>
                </a:cubicBezTo>
                <a:cubicBezTo>
                  <a:pt x="14" y="35"/>
                  <a:pt x="14" y="35"/>
                  <a:pt x="14" y="35"/>
                </a:cubicBezTo>
                <a:cubicBezTo>
                  <a:pt x="15" y="35"/>
                  <a:pt x="15" y="34"/>
                  <a:pt x="15" y="34"/>
                </a:cubicBezTo>
                <a:cubicBezTo>
                  <a:pt x="16" y="32"/>
                  <a:pt x="16" y="32"/>
                  <a:pt x="16" y="32"/>
                </a:cubicBezTo>
                <a:cubicBezTo>
                  <a:pt x="17" y="34"/>
                  <a:pt x="17" y="34"/>
                  <a:pt x="17" y="34"/>
                </a:cubicBezTo>
                <a:cubicBezTo>
                  <a:pt x="17" y="35"/>
                  <a:pt x="18" y="35"/>
                  <a:pt x="18" y="36"/>
                </a:cubicBezTo>
                <a:cubicBezTo>
                  <a:pt x="18" y="37"/>
                  <a:pt x="18" y="38"/>
                  <a:pt x="19" y="39"/>
                </a:cubicBezTo>
                <a:cubicBezTo>
                  <a:pt x="19" y="40"/>
                  <a:pt x="19" y="40"/>
                  <a:pt x="19" y="41"/>
                </a:cubicBezTo>
                <a:cubicBezTo>
                  <a:pt x="19" y="41"/>
                  <a:pt x="19" y="41"/>
                  <a:pt x="19" y="41"/>
                </a:cubicBezTo>
                <a:cubicBezTo>
                  <a:pt x="19" y="42"/>
                  <a:pt x="19" y="42"/>
                  <a:pt x="19" y="43"/>
                </a:cubicBezTo>
                <a:cubicBezTo>
                  <a:pt x="19" y="43"/>
                  <a:pt x="19" y="43"/>
                  <a:pt x="19" y="43"/>
                </a:cubicBezTo>
                <a:cubicBezTo>
                  <a:pt x="19" y="43"/>
                  <a:pt x="19" y="43"/>
                  <a:pt x="19" y="43"/>
                </a:cubicBezTo>
                <a:cubicBezTo>
                  <a:pt x="19" y="43"/>
                  <a:pt x="19" y="43"/>
                  <a:pt x="19" y="43"/>
                </a:cubicBezTo>
                <a:cubicBezTo>
                  <a:pt x="19" y="43"/>
                  <a:pt x="19" y="43"/>
                  <a:pt x="20" y="43"/>
                </a:cubicBezTo>
                <a:cubicBezTo>
                  <a:pt x="20" y="44"/>
                  <a:pt x="20" y="44"/>
                  <a:pt x="20" y="44"/>
                </a:cubicBezTo>
                <a:cubicBezTo>
                  <a:pt x="20" y="44"/>
                  <a:pt x="21" y="44"/>
                  <a:pt x="22" y="44"/>
                </a:cubicBezTo>
                <a:cubicBezTo>
                  <a:pt x="22" y="44"/>
                  <a:pt x="22" y="44"/>
                  <a:pt x="23" y="45"/>
                </a:cubicBezTo>
                <a:cubicBezTo>
                  <a:pt x="23" y="45"/>
                  <a:pt x="23" y="45"/>
                  <a:pt x="23" y="45"/>
                </a:cubicBezTo>
                <a:cubicBezTo>
                  <a:pt x="23" y="45"/>
                  <a:pt x="23" y="45"/>
                  <a:pt x="24" y="45"/>
                </a:cubicBezTo>
                <a:cubicBezTo>
                  <a:pt x="24" y="45"/>
                  <a:pt x="24" y="45"/>
                  <a:pt x="24" y="45"/>
                </a:cubicBezTo>
                <a:cubicBezTo>
                  <a:pt x="24" y="45"/>
                  <a:pt x="24" y="45"/>
                  <a:pt x="25" y="45"/>
                </a:cubicBezTo>
                <a:cubicBezTo>
                  <a:pt x="25" y="45"/>
                  <a:pt x="25" y="45"/>
                  <a:pt x="25" y="45"/>
                </a:cubicBezTo>
                <a:cubicBezTo>
                  <a:pt x="25" y="45"/>
                  <a:pt x="26" y="45"/>
                  <a:pt x="26" y="45"/>
                </a:cubicBezTo>
                <a:cubicBezTo>
                  <a:pt x="27" y="45"/>
                  <a:pt x="27" y="45"/>
                  <a:pt x="27" y="45"/>
                </a:cubicBezTo>
                <a:cubicBezTo>
                  <a:pt x="27" y="45"/>
                  <a:pt x="27" y="45"/>
                  <a:pt x="27" y="45"/>
                </a:cubicBezTo>
                <a:cubicBezTo>
                  <a:pt x="28" y="45"/>
                  <a:pt x="28" y="44"/>
                  <a:pt x="28" y="44"/>
                </a:cubicBezTo>
                <a:cubicBezTo>
                  <a:pt x="28" y="44"/>
                  <a:pt x="28" y="44"/>
                  <a:pt x="28" y="44"/>
                </a:cubicBezTo>
                <a:cubicBezTo>
                  <a:pt x="29" y="44"/>
                  <a:pt x="30" y="44"/>
                  <a:pt x="31" y="44"/>
                </a:cubicBezTo>
                <a:cubicBezTo>
                  <a:pt x="31" y="44"/>
                  <a:pt x="31" y="44"/>
                  <a:pt x="31" y="44"/>
                </a:cubicBezTo>
                <a:cubicBezTo>
                  <a:pt x="33" y="45"/>
                  <a:pt x="35" y="45"/>
                  <a:pt x="36" y="45"/>
                </a:cubicBezTo>
                <a:cubicBezTo>
                  <a:pt x="37" y="45"/>
                  <a:pt x="37" y="45"/>
                  <a:pt x="38" y="45"/>
                </a:cubicBezTo>
                <a:cubicBezTo>
                  <a:pt x="38" y="45"/>
                  <a:pt x="38" y="45"/>
                  <a:pt x="38" y="45"/>
                </a:cubicBezTo>
                <a:cubicBezTo>
                  <a:pt x="39" y="45"/>
                  <a:pt x="40" y="44"/>
                  <a:pt x="42" y="45"/>
                </a:cubicBezTo>
                <a:cubicBezTo>
                  <a:pt x="42" y="45"/>
                  <a:pt x="42" y="45"/>
                  <a:pt x="43" y="46"/>
                </a:cubicBezTo>
                <a:cubicBezTo>
                  <a:pt x="43" y="46"/>
                  <a:pt x="43" y="46"/>
                  <a:pt x="43" y="46"/>
                </a:cubicBezTo>
                <a:cubicBezTo>
                  <a:pt x="43" y="46"/>
                  <a:pt x="44" y="46"/>
                  <a:pt x="44" y="46"/>
                </a:cubicBezTo>
                <a:cubicBezTo>
                  <a:pt x="45" y="46"/>
                  <a:pt x="45" y="47"/>
                  <a:pt x="45" y="47"/>
                </a:cubicBezTo>
                <a:cubicBezTo>
                  <a:pt x="45" y="48"/>
                  <a:pt x="45" y="48"/>
                  <a:pt x="45" y="48"/>
                </a:cubicBezTo>
                <a:cubicBezTo>
                  <a:pt x="47" y="50"/>
                  <a:pt x="47" y="50"/>
                  <a:pt x="47" y="50"/>
                </a:cubicBezTo>
                <a:cubicBezTo>
                  <a:pt x="44" y="50"/>
                  <a:pt x="44" y="50"/>
                  <a:pt x="44" y="50"/>
                </a:cubicBezTo>
                <a:cubicBezTo>
                  <a:pt x="43" y="51"/>
                  <a:pt x="43" y="51"/>
                  <a:pt x="43" y="51"/>
                </a:cubicBezTo>
                <a:cubicBezTo>
                  <a:pt x="43" y="52"/>
                  <a:pt x="43" y="53"/>
                  <a:pt x="42" y="53"/>
                </a:cubicBezTo>
                <a:cubicBezTo>
                  <a:pt x="42" y="53"/>
                  <a:pt x="42" y="53"/>
                  <a:pt x="42" y="53"/>
                </a:cubicBezTo>
                <a:cubicBezTo>
                  <a:pt x="42" y="54"/>
                  <a:pt x="42" y="54"/>
                  <a:pt x="42" y="54"/>
                </a:cubicBezTo>
                <a:cubicBezTo>
                  <a:pt x="42" y="54"/>
                  <a:pt x="41" y="55"/>
                  <a:pt x="41" y="55"/>
                </a:cubicBezTo>
                <a:cubicBezTo>
                  <a:pt x="41" y="55"/>
                  <a:pt x="41" y="55"/>
                  <a:pt x="41" y="55"/>
                </a:cubicBezTo>
                <a:cubicBezTo>
                  <a:pt x="40" y="55"/>
                  <a:pt x="40" y="55"/>
                  <a:pt x="40" y="55"/>
                </a:cubicBezTo>
                <a:cubicBezTo>
                  <a:pt x="40" y="55"/>
                  <a:pt x="40" y="55"/>
                  <a:pt x="40" y="55"/>
                </a:cubicBezTo>
                <a:cubicBezTo>
                  <a:pt x="40" y="55"/>
                  <a:pt x="40" y="55"/>
                  <a:pt x="40" y="55"/>
                </a:cubicBezTo>
                <a:cubicBezTo>
                  <a:pt x="40" y="55"/>
                  <a:pt x="40" y="55"/>
                  <a:pt x="40" y="55"/>
                </a:cubicBezTo>
                <a:cubicBezTo>
                  <a:pt x="40" y="56"/>
                  <a:pt x="40" y="56"/>
                  <a:pt x="40" y="56"/>
                </a:cubicBezTo>
                <a:cubicBezTo>
                  <a:pt x="40" y="56"/>
                  <a:pt x="40" y="56"/>
                  <a:pt x="40" y="56"/>
                </a:cubicBezTo>
                <a:cubicBezTo>
                  <a:pt x="40" y="57"/>
                  <a:pt x="40" y="57"/>
                  <a:pt x="40" y="57"/>
                </a:cubicBezTo>
                <a:cubicBezTo>
                  <a:pt x="39" y="59"/>
                  <a:pt x="39" y="59"/>
                  <a:pt x="39" y="59"/>
                </a:cubicBezTo>
                <a:cubicBezTo>
                  <a:pt x="38" y="58"/>
                  <a:pt x="38" y="58"/>
                  <a:pt x="38" y="58"/>
                </a:cubicBezTo>
                <a:cubicBezTo>
                  <a:pt x="37" y="58"/>
                  <a:pt x="37" y="58"/>
                  <a:pt x="37" y="58"/>
                </a:cubicBezTo>
                <a:cubicBezTo>
                  <a:pt x="37" y="58"/>
                  <a:pt x="37" y="58"/>
                  <a:pt x="37" y="58"/>
                </a:cubicBezTo>
                <a:cubicBezTo>
                  <a:pt x="37" y="58"/>
                  <a:pt x="37" y="58"/>
                  <a:pt x="37" y="58"/>
                </a:cubicBezTo>
                <a:cubicBezTo>
                  <a:pt x="36" y="58"/>
                  <a:pt x="36" y="58"/>
                  <a:pt x="36" y="58"/>
                </a:cubicBezTo>
                <a:cubicBezTo>
                  <a:pt x="33" y="61"/>
                  <a:pt x="33" y="61"/>
                  <a:pt x="33" y="61"/>
                </a:cubicBezTo>
                <a:cubicBezTo>
                  <a:pt x="33" y="61"/>
                  <a:pt x="33" y="62"/>
                  <a:pt x="33" y="62"/>
                </a:cubicBezTo>
                <a:cubicBezTo>
                  <a:pt x="32" y="62"/>
                  <a:pt x="32" y="62"/>
                  <a:pt x="32" y="62"/>
                </a:cubicBezTo>
                <a:cubicBezTo>
                  <a:pt x="32" y="62"/>
                  <a:pt x="32" y="62"/>
                  <a:pt x="32" y="62"/>
                </a:cubicBezTo>
                <a:cubicBezTo>
                  <a:pt x="33" y="63"/>
                  <a:pt x="33" y="63"/>
                  <a:pt x="33" y="63"/>
                </a:cubicBezTo>
                <a:cubicBezTo>
                  <a:pt x="33" y="63"/>
                  <a:pt x="33" y="64"/>
                  <a:pt x="33" y="64"/>
                </a:cubicBezTo>
                <a:cubicBezTo>
                  <a:pt x="33" y="64"/>
                  <a:pt x="33" y="64"/>
                  <a:pt x="33" y="64"/>
                </a:cubicBezTo>
                <a:cubicBezTo>
                  <a:pt x="33" y="64"/>
                  <a:pt x="33" y="64"/>
                  <a:pt x="33" y="65"/>
                </a:cubicBezTo>
                <a:cubicBezTo>
                  <a:pt x="35" y="66"/>
                  <a:pt x="35" y="66"/>
                  <a:pt x="35" y="66"/>
                </a:cubicBezTo>
                <a:cubicBezTo>
                  <a:pt x="35" y="66"/>
                  <a:pt x="35" y="67"/>
                  <a:pt x="36" y="68"/>
                </a:cubicBezTo>
                <a:cubicBezTo>
                  <a:pt x="36" y="68"/>
                  <a:pt x="36" y="68"/>
                  <a:pt x="36" y="68"/>
                </a:cubicBezTo>
                <a:cubicBezTo>
                  <a:pt x="36" y="68"/>
                  <a:pt x="36" y="68"/>
                  <a:pt x="36" y="68"/>
                </a:cubicBezTo>
                <a:cubicBezTo>
                  <a:pt x="36" y="67"/>
                  <a:pt x="37" y="67"/>
                  <a:pt x="37" y="66"/>
                </a:cubicBezTo>
                <a:cubicBezTo>
                  <a:pt x="37" y="66"/>
                  <a:pt x="37" y="66"/>
                  <a:pt x="37" y="65"/>
                </a:cubicBezTo>
                <a:cubicBezTo>
                  <a:pt x="37" y="65"/>
                  <a:pt x="37" y="65"/>
                  <a:pt x="37" y="65"/>
                </a:cubicBezTo>
                <a:cubicBezTo>
                  <a:pt x="38" y="64"/>
                  <a:pt x="38" y="64"/>
                  <a:pt x="38" y="63"/>
                </a:cubicBezTo>
                <a:cubicBezTo>
                  <a:pt x="38" y="62"/>
                  <a:pt x="38" y="62"/>
                  <a:pt x="38" y="61"/>
                </a:cubicBezTo>
                <a:cubicBezTo>
                  <a:pt x="39" y="59"/>
                  <a:pt x="39" y="59"/>
                  <a:pt x="39" y="59"/>
                </a:cubicBezTo>
                <a:cubicBezTo>
                  <a:pt x="40" y="61"/>
                  <a:pt x="40" y="61"/>
                  <a:pt x="40" y="61"/>
                </a:cubicBezTo>
                <a:cubicBezTo>
                  <a:pt x="41" y="60"/>
                  <a:pt x="41" y="60"/>
                  <a:pt x="42" y="60"/>
                </a:cubicBezTo>
                <a:cubicBezTo>
                  <a:pt x="43" y="60"/>
                  <a:pt x="43" y="60"/>
                  <a:pt x="43" y="60"/>
                </a:cubicBezTo>
                <a:cubicBezTo>
                  <a:pt x="43" y="60"/>
                  <a:pt x="43" y="60"/>
                  <a:pt x="43" y="60"/>
                </a:cubicBezTo>
                <a:cubicBezTo>
                  <a:pt x="43" y="61"/>
                  <a:pt x="43" y="61"/>
                  <a:pt x="44" y="62"/>
                </a:cubicBezTo>
                <a:cubicBezTo>
                  <a:pt x="44" y="63"/>
                  <a:pt x="44" y="64"/>
                  <a:pt x="44" y="65"/>
                </a:cubicBezTo>
                <a:cubicBezTo>
                  <a:pt x="45" y="66"/>
                  <a:pt x="45" y="67"/>
                  <a:pt x="45" y="68"/>
                </a:cubicBezTo>
                <a:cubicBezTo>
                  <a:pt x="47" y="68"/>
                  <a:pt x="47" y="68"/>
                  <a:pt x="47" y="68"/>
                </a:cubicBezTo>
                <a:cubicBezTo>
                  <a:pt x="45" y="69"/>
                  <a:pt x="45" y="69"/>
                  <a:pt x="45" y="69"/>
                </a:cubicBezTo>
                <a:cubicBezTo>
                  <a:pt x="45" y="69"/>
                  <a:pt x="45" y="69"/>
                  <a:pt x="45" y="69"/>
                </a:cubicBezTo>
                <a:cubicBezTo>
                  <a:pt x="45" y="69"/>
                  <a:pt x="45" y="70"/>
                  <a:pt x="45" y="71"/>
                </a:cubicBezTo>
                <a:cubicBezTo>
                  <a:pt x="46" y="71"/>
                  <a:pt x="46" y="71"/>
                  <a:pt x="46" y="71"/>
                </a:cubicBezTo>
                <a:cubicBezTo>
                  <a:pt x="46" y="73"/>
                  <a:pt x="46" y="74"/>
                  <a:pt x="46" y="75"/>
                </a:cubicBezTo>
                <a:cubicBezTo>
                  <a:pt x="47" y="79"/>
                  <a:pt x="47" y="79"/>
                  <a:pt x="47" y="79"/>
                </a:cubicBezTo>
                <a:cubicBezTo>
                  <a:pt x="48" y="78"/>
                  <a:pt x="48" y="78"/>
                  <a:pt x="48" y="78"/>
                </a:cubicBezTo>
                <a:cubicBezTo>
                  <a:pt x="49" y="78"/>
                  <a:pt x="49" y="78"/>
                  <a:pt x="49" y="78"/>
                </a:cubicBezTo>
                <a:cubicBezTo>
                  <a:pt x="50" y="77"/>
                  <a:pt x="50" y="77"/>
                  <a:pt x="50" y="77"/>
                </a:cubicBezTo>
                <a:cubicBezTo>
                  <a:pt x="50" y="74"/>
                  <a:pt x="50" y="74"/>
                  <a:pt x="50" y="74"/>
                </a:cubicBezTo>
                <a:cubicBezTo>
                  <a:pt x="50" y="72"/>
                  <a:pt x="50" y="72"/>
                  <a:pt x="50" y="72"/>
                </a:cubicBezTo>
                <a:cubicBezTo>
                  <a:pt x="50" y="68"/>
                  <a:pt x="50" y="68"/>
                  <a:pt x="50" y="68"/>
                </a:cubicBezTo>
                <a:cubicBezTo>
                  <a:pt x="52" y="67"/>
                  <a:pt x="52" y="67"/>
                  <a:pt x="52" y="67"/>
                </a:cubicBezTo>
                <a:cubicBezTo>
                  <a:pt x="52" y="67"/>
                  <a:pt x="52" y="67"/>
                  <a:pt x="52" y="67"/>
                </a:cubicBezTo>
                <a:cubicBezTo>
                  <a:pt x="53" y="64"/>
                  <a:pt x="53" y="62"/>
                  <a:pt x="53" y="61"/>
                </a:cubicBezTo>
                <a:cubicBezTo>
                  <a:pt x="52" y="59"/>
                  <a:pt x="52" y="58"/>
                  <a:pt x="52" y="58"/>
                </a:cubicBezTo>
                <a:cubicBezTo>
                  <a:pt x="52" y="57"/>
                  <a:pt x="52" y="57"/>
                  <a:pt x="52" y="57"/>
                </a:cubicBezTo>
                <a:cubicBezTo>
                  <a:pt x="53" y="57"/>
                  <a:pt x="53" y="57"/>
                  <a:pt x="53" y="57"/>
                </a:cubicBezTo>
                <a:cubicBezTo>
                  <a:pt x="53" y="57"/>
                  <a:pt x="57" y="57"/>
                  <a:pt x="60" y="58"/>
                </a:cubicBezTo>
                <a:cubicBezTo>
                  <a:pt x="61" y="57"/>
                  <a:pt x="61" y="57"/>
                  <a:pt x="62" y="57"/>
                </a:cubicBezTo>
                <a:cubicBezTo>
                  <a:pt x="62" y="56"/>
                  <a:pt x="63" y="53"/>
                  <a:pt x="64" y="52"/>
                </a:cubicBezTo>
                <a:cubicBezTo>
                  <a:pt x="65" y="50"/>
                  <a:pt x="67" y="47"/>
                  <a:pt x="66" y="45"/>
                </a:cubicBezTo>
                <a:cubicBezTo>
                  <a:pt x="65" y="43"/>
                  <a:pt x="65" y="42"/>
                  <a:pt x="68" y="40"/>
                </a:cubicBezTo>
                <a:cubicBezTo>
                  <a:pt x="69" y="40"/>
                  <a:pt x="69" y="39"/>
                  <a:pt x="69" y="39"/>
                </a:cubicBezTo>
                <a:cubicBezTo>
                  <a:pt x="69" y="38"/>
                  <a:pt x="70" y="37"/>
                  <a:pt x="70" y="37"/>
                </a:cubicBezTo>
                <a:cubicBezTo>
                  <a:pt x="71" y="36"/>
                  <a:pt x="71" y="36"/>
                  <a:pt x="71" y="36"/>
                </a:cubicBezTo>
                <a:cubicBezTo>
                  <a:pt x="71" y="36"/>
                  <a:pt x="70" y="34"/>
                  <a:pt x="70" y="34"/>
                </a:cubicBezTo>
                <a:cubicBezTo>
                  <a:pt x="70" y="33"/>
                  <a:pt x="70" y="33"/>
                  <a:pt x="70" y="32"/>
                </a:cubicBezTo>
                <a:cubicBezTo>
                  <a:pt x="70" y="29"/>
                  <a:pt x="72" y="29"/>
                  <a:pt x="73" y="28"/>
                </a:cubicBezTo>
                <a:cubicBezTo>
                  <a:pt x="74" y="28"/>
                  <a:pt x="75" y="27"/>
                  <a:pt x="76" y="26"/>
                </a:cubicBezTo>
                <a:cubicBezTo>
                  <a:pt x="77" y="26"/>
                  <a:pt x="78" y="25"/>
                  <a:pt x="79" y="24"/>
                </a:cubicBezTo>
                <a:cubicBezTo>
                  <a:pt x="80" y="24"/>
                  <a:pt x="80" y="23"/>
                  <a:pt x="81" y="23"/>
                </a:cubicBezTo>
                <a:cubicBezTo>
                  <a:pt x="81" y="23"/>
                  <a:pt x="81" y="23"/>
                  <a:pt x="81" y="23"/>
                </a:cubicBezTo>
                <a:cubicBezTo>
                  <a:pt x="84" y="22"/>
                  <a:pt x="87" y="20"/>
                  <a:pt x="89" y="21"/>
                </a:cubicBezTo>
                <a:cubicBezTo>
                  <a:pt x="89" y="21"/>
                  <a:pt x="89" y="21"/>
                  <a:pt x="89" y="21"/>
                </a:cubicBezTo>
                <a:cubicBezTo>
                  <a:pt x="88" y="20"/>
                  <a:pt x="88" y="18"/>
                  <a:pt x="91" y="16"/>
                </a:cubicBezTo>
                <a:cubicBezTo>
                  <a:pt x="91" y="16"/>
                  <a:pt x="92" y="16"/>
                  <a:pt x="92" y="16"/>
                </a:cubicBezTo>
                <a:cubicBezTo>
                  <a:pt x="92" y="15"/>
                  <a:pt x="92" y="15"/>
                  <a:pt x="92" y="15"/>
                </a:cubicBezTo>
                <a:cubicBezTo>
                  <a:pt x="92" y="15"/>
                  <a:pt x="93" y="15"/>
                  <a:pt x="93" y="15"/>
                </a:cubicBezTo>
                <a:cubicBezTo>
                  <a:pt x="93" y="13"/>
                  <a:pt x="93" y="13"/>
                  <a:pt x="93" y="13"/>
                </a:cubicBezTo>
                <a:cubicBezTo>
                  <a:pt x="93" y="13"/>
                  <a:pt x="93" y="13"/>
                  <a:pt x="93" y="13"/>
                </a:cubicBezTo>
                <a:cubicBezTo>
                  <a:pt x="93" y="13"/>
                  <a:pt x="93" y="13"/>
                  <a:pt x="93" y="13"/>
                </a:cubicBezTo>
                <a:cubicBezTo>
                  <a:pt x="93" y="13"/>
                  <a:pt x="92" y="13"/>
                  <a:pt x="92" y="13"/>
                </a:cubicBezTo>
                <a:cubicBezTo>
                  <a:pt x="92" y="12"/>
                  <a:pt x="92" y="12"/>
                  <a:pt x="91" y="12"/>
                </a:cubicBezTo>
                <a:cubicBezTo>
                  <a:pt x="91" y="12"/>
                  <a:pt x="91" y="12"/>
                  <a:pt x="91" y="12"/>
                </a:cubicBezTo>
                <a:cubicBezTo>
                  <a:pt x="91" y="12"/>
                  <a:pt x="91" y="12"/>
                  <a:pt x="90" y="12"/>
                </a:cubicBezTo>
                <a:cubicBezTo>
                  <a:pt x="89" y="12"/>
                  <a:pt x="89" y="12"/>
                  <a:pt x="89" y="12"/>
                </a:cubicBezTo>
                <a:cubicBezTo>
                  <a:pt x="89" y="12"/>
                  <a:pt x="88" y="12"/>
                  <a:pt x="88" y="12"/>
                </a:cubicBezTo>
                <a:cubicBezTo>
                  <a:pt x="87" y="11"/>
                  <a:pt x="87" y="11"/>
                  <a:pt x="87" y="11"/>
                </a:cubicBezTo>
                <a:cubicBezTo>
                  <a:pt x="87" y="11"/>
                  <a:pt x="86" y="11"/>
                  <a:pt x="86" y="11"/>
                </a:cubicBezTo>
                <a:cubicBezTo>
                  <a:pt x="86" y="11"/>
                  <a:pt x="86" y="11"/>
                  <a:pt x="86" y="11"/>
                </a:cubicBezTo>
                <a:cubicBezTo>
                  <a:pt x="86" y="11"/>
                  <a:pt x="86" y="12"/>
                  <a:pt x="86" y="12"/>
                </a:cubicBezTo>
                <a:cubicBezTo>
                  <a:pt x="86" y="12"/>
                  <a:pt x="86" y="12"/>
                  <a:pt x="86" y="12"/>
                </a:cubicBezTo>
                <a:cubicBezTo>
                  <a:pt x="85" y="12"/>
                  <a:pt x="85" y="12"/>
                  <a:pt x="84" y="12"/>
                </a:cubicBezTo>
                <a:cubicBezTo>
                  <a:pt x="83" y="12"/>
                  <a:pt x="82" y="11"/>
                  <a:pt x="82" y="10"/>
                </a:cubicBezTo>
                <a:cubicBezTo>
                  <a:pt x="82" y="10"/>
                  <a:pt x="82" y="10"/>
                  <a:pt x="82" y="10"/>
                </a:cubicBezTo>
                <a:cubicBezTo>
                  <a:pt x="83" y="10"/>
                  <a:pt x="83" y="9"/>
                  <a:pt x="83" y="9"/>
                </a:cubicBezTo>
                <a:cubicBezTo>
                  <a:pt x="83" y="9"/>
                  <a:pt x="83" y="9"/>
                  <a:pt x="83" y="9"/>
                </a:cubicBezTo>
                <a:cubicBezTo>
                  <a:pt x="83" y="9"/>
                  <a:pt x="83" y="9"/>
                  <a:pt x="83" y="9"/>
                </a:cubicBezTo>
                <a:cubicBezTo>
                  <a:pt x="83" y="8"/>
                  <a:pt x="84" y="8"/>
                  <a:pt x="84" y="7"/>
                </a:cubicBezTo>
                <a:cubicBezTo>
                  <a:pt x="84" y="7"/>
                  <a:pt x="84" y="7"/>
                  <a:pt x="84" y="7"/>
                </a:cubicBezTo>
                <a:cubicBezTo>
                  <a:pt x="83" y="7"/>
                  <a:pt x="83" y="7"/>
                  <a:pt x="83" y="7"/>
                </a:cubicBezTo>
                <a:cubicBezTo>
                  <a:pt x="85" y="6"/>
                  <a:pt x="85" y="6"/>
                  <a:pt x="85" y="6"/>
                </a:cubicBezTo>
                <a:cubicBezTo>
                  <a:pt x="85" y="6"/>
                  <a:pt x="85" y="6"/>
                  <a:pt x="85" y="6"/>
                </a:cubicBezTo>
                <a:cubicBezTo>
                  <a:pt x="85" y="6"/>
                  <a:pt x="85" y="6"/>
                  <a:pt x="85" y="6"/>
                </a:cubicBezTo>
                <a:cubicBezTo>
                  <a:pt x="85" y="6"/>
                  <a:pt x="85" y="6"/>
                  <a:pt x="85" y="6"/>
                </a:cubicBezTo>
                <a:cubicBezTo>
                  <a:pt x="85" y="5"/>
                  <a:pt x="85" y="5"/>
                  <a:pt x="85" y="5"/>
                </a:cubicBezTo>
                <a:cubicBezTo>
                  <a:pt x="85" y="5"/>
                  <a:pt x="85" y="5"/>
                  <a:pt x="85" y="5"/>
                </a:cubicBezTo>
                <a:cubicBezTo>
                  <a:pt x="84" y="5"/>
                  <a:pt x="84" y="5"/>
                  <a:pt x="83" y="6"/>
                </a:cubicBezTo>
                <a:cubicBezTo>
                  <a:pt x="81" y="7"/>
                  <a:pt x="81" y="7"/>
                  <a:pt x="81" y="7"/>
                </a:cubicBezTo>
                <a:cubicBezTo>
                  <a:pt x="81" y="5"/>
                  <a:pt x="81" y="5"/>
                  <a:pt x="81" y="5"/>
                </a:cubicBezTo>
                <a:cubicBezTo>
                  <a:pt x="81" y="4"/>
                  <a:pt x="81" y="4"/>
                  <a:pt x="81" y="4"/>
                </a:cubicBezTo>
                <a:cubicBezTo>
                  <a:pt x="79" y="2"/>
                  <a:pt x="79" y="2"/>
                  <a:pt x="79" y="2"/>
                </a:cubicBezTo>
                <a:cubicBezTo>
                  <a:pt x="81" y="2"/>
                  <a:pt x="81" y="2"/>
                  <a:pt x="81" y="2"/>
                </a:cubicBezTo>
                <a:cubicBezTo>
                  <a:pt x="82" y="2"/>
                  <a:pt x="82" y="2"/>
                  <a:pt x="82" y="2"/>
                </a:cubicBezTo>
                <a:cubicBezTo>
                  <a:pt x="82" y="1"/>
                  <a:pt x="82" y="1"/>
                  <a:pt x="82" y="1"/>
                </a:cubicBezTo>
                <a:cubicBezTo>
                  <a:pt x="82" y="1"/>
                  <a:pt x="82" y="1"/>
                  <a:pt x="82" y="1"/>
                </a:cubicBezTo>
                <a:cubicBezTo>
                  <a:pt x="82" y="1"/>
                  <a:pt x="82" y="1"/>
                  <a:pt x="81" y="1"/>
                </a:cubicBezTo>
                <a:cubicBezTo>
                  <a:pt x="81" y="0"/>
                  <a:pt x="81" y="0"/>
                  <a:pt x="81" y="0"/>
                </a:cubicBezTo>
                <a:cubicBezTo>
                  <a:pt x="81" y="0"/>
                  <a:pt x="81" y="0"/>
                  <a:pt x="81" y="0"/>
                </a:cubicBezTo>
                <a:cubicBezTo>
                  <a:pt x="80" y="0"/>
                  <a:pt x="79" y="1"/>
                  <a:pt x="77" y="3"/>
                </a:cubicBezTo>
                <a:cubicBezTo>
                  <a:pt x="76" y="3"/>
                  <a:pt x="76" y="3"/>
                  <a:pt x="76" y="3"/>
                </a:cubicBezTo>
                <a:cubicBezTo>
                  <a:pt x="76" y="4"/>
                  <a:pt x="76" y="4"/>
                  <a:pt x="76" y="4"/>
                </a:cubicBezTo>
                <a:cubicBezTo>
                  <a:pt x="74" y="5"/>
                  <a:pt x="73" y="4"/>
                  <a:pt x="73" y="4"/>
                </a:cubicBezTo>
                <a:cubicBezTo>
                  <a:pt x="72" y="4"/>
                  <a:pt x="72" y="4"/>
                  <a:pt x="72" y="4"/>
                </a:cubicBezTo>
                <a:cubicBezTo>
                  <a:pt x="72" y="4"/>
                  <a:pt x="72" y="4"/>
                  <a:pt x="72" y="4"/>
                </a:cubicBezTo>
                <a:cubicBezTo>
                  <a:pt x="71" y="4"/>
                  <a:pt x="71" y="3"/>
                  <a:pt x="71" y="3"/>
                </a:cubicBezTo>
                <a:cubicBezTo>
                  <a:pt x="70" y="3"/>
                  <a:pt x="70" y="3"/>
                  <a:pt x="70" y="3"/>
                </a:cubicBezTo>
                <a:cubicBezTo>
                  <a:pt x="70" y="3"/>
                  <a:pt x="70" y="3"/>
                  <a:pt x="70" y="3"/>
                </a:cubicBezTo>
                <a:cubicBezTo>
                  <a:pt x="69" y="3"/>
                  <a:pt x="69" y="3"/>
                  <a:pt x="69" y="3"/>
                </a:cubicBezTo>
                <a:cubicBezTo>
                  <a:pt x="68" y="3"/>
                  <a:pt x="67" y="2"/>
                  <a:pt x="67" y="2"/>
                </a:cubicBezTo>
                <a:cubicBezTo>
                  <a:pt x="67" y="2"/>
                  <a:pt x="67" y="2"/>
                  <a:pt x="67" y="2"/>
                </a:cubicBezTo>
                <a:cubicBezTo>
                  <a:pt x="67" y="2"/>
                  <a:pt x="67" y="2"/>
                  <a:pt x="67" y="2"/>
                </a:cubicBezTo>
                <a:cubicBezTo>
                  <a:pt x="67" y="2"/>
                  <a:pt x="66" y="2"/>
                  <a:pt x="66" y="2"/>
                </a:cubicBezTo>
                <a:cubicBezTo>
                  <a:pt x="66" y="2"/>
                  <a:pt x="65" y="2"/>
                  <a:pt x="65" y="3"/>
                </a:cubicBezTo>
                <a:cubicBezTo>
                  <a:pt x="64" y="3"/>
                  <a:pt x="63" y="4"/>
                  <a:pt x="63" y="4"/>
                </a:cubicBezTo>
                <a:cubicBezTo>
                  <a:pt x="63" y="5"/>
                  <a:pt x="63" y="5"/>
                  <a:pt x="63" y="5"/>
                </a:cubicBezTo>
                <a:cubicBezTo>
                  <a:pt x="62" y="5"/>
                  <a:pt x="62" y="5"/>
                  <a:pt x="62" y="5"/>
                </a:cubicBezTo>
                <a:cubicBezTo>
                  <a:pt x="61" y="6"/>
                  <a:pt x="60" y="7"/>
                  <a:pt x="59" y="7"/>
                </a:cubicBezTo>
                <a:cubicBezTo>
                  <a:pt x="58" y="8"/>
                  <a:pt x="58" y="8"/>
                  <a:pt x="58" y="8"/>
                </a:cubicBezTo>
                <a:cubicBezTo>
                  <a:pt x="57" y="8"/>
                  <a:pt x="56" y="8"/>
                  <a:pt x="54" y="9"/>
                </a:cubicBezTo>
                <a:cubicBezTo>
                  <a:pt x="54" y="9"/>
                  <a:pt x="54" y="9"/>
                  <a:pt x="54" y="9"/>
                </a:cubicBezTo>
                <a:cubicBezTo>
                  <a:pt x="53" y="9"/>
                  <a:pt x="53" y="9"/>
                  <a:pt x="53" y="9"/>
                </a:cubicBezTo>
                <a:cubicBezTo>
                  <a:pt x="53" y="9"/>
                  <a:pt x="53" y="9"/>
                  <a:pt x="53" y="9"/>
                </a:cubicBezTo>
                <a:cubicBezTo>
                  <a:pt x="52" y="11"/>
                  <a:pt x="52" y="11"/>
                  <a:pt x="52" y="11"/>
                </a:cubicBezTo>
                <a:cubicBezTo>
                  <a:pt x="52" y="11"/>
                  <a:pt x="52" y="11"/>
                  <a:pt x="52" y="11"/>
                </a:cubicBezTo>
                <a:cubicBezTo>
                  <a:pt x="52" y="11"/>
                  <a:pt x="52" y="12"/>
                  <a:pt x="52" y="12"/>
                </a:cubicBezTo>
                <a:cubicBezTo>
                  <a:pt x="52" y="12"/>
                  <a:pt x="52" y="12"/>
                  <a:pt x="52" y="12"/>
                </a:cubicBezTo>
                <a:cubicBezTo>
                  <a:pt x="51" y="12"/>
                  <a:pt x="51" y="12"/>
                  <a:pt x="51" y="12"/>
                </a:cubicBezTo>
                <a:cubicBezTo>
                  <a:pt x="51" y="12"/>
                  <a:pt x="51" y="12"/>
                  <a:pt x="51" y="12"/>
                </a:cubicBezTo>
                <a:cubicBezTo>
                  <a:pt x="51" y="12"/>
                  <a:pt x="51" y="12"/>
                  <a:pt x="51" y="12"/>
                </a:cubicBezTo>
                <a:cubicBezTo>
                  <a:pt x="51" y="12"/>
                  <a:pt x="51" y="12"/>
                  <a:pt x="51" y="12"/>
                </a:cubicBezTo>
                <a:cubicBezTo>
                  <a:pt x="50" y="13"/>
                  <a:pt x="50" y="13"/>
                  <a:pt x="50" y="13"/>
                </a:cubicBezTo>
                <a:cubicBezTo>
                  <a:pt x="49" y="13"/>
                  <a:pt x="49" y="13"/>
                  <a:pt x="49" y="13"/>
                </a:cubicBezTo>
                <a:cubicBezTo>
                  <a:pt x="49" y="13"/>
                  <a:pt x="49" y="13"/>
                  <a:pt x="48" y="14"/>
                </a:cubicBezTo>
                <a:cubicBezTo>
                  <a:pt x="48" y="14"/>
                  <a:pt x="48" y="14"/>
                  <a:pt x="48" y="14"/>
                </a:cubicBezTo>
                <a:cubicBezTo>
                  <a:pt x="48" y="14"/>
                  <a:pt x="48" y="14"/>
                  <a:pt x="48" y="14"/>
                </a:cubicBezTo>
                <a:cubicBezTo>
                  <a:pt x="48" y="15"/>
                  <a:pt x="48" y="15"/>
                  <a:pt x="48" y="15"/>
                </a:cubicBezTo>
                <a:cubicBezTo>
                  <a:pt x="48" y="15"/>
                  <a:pt x="48" y="15"/>
                  <a:pt x="48" y="15"/>
                </a:cubicBezTo>
                <a:cubicBezTo>
                  <a:pt x="48" y="15"/>
                  <a:pt x="48" y="16"/>
                  <a:pt x="48" y="16"/>
                </a:cubicBezTo>
                <a:cubicBezTo>
                  <a:pt x="48" y="16"/>
                  <a:pt x="48" y="16"/>
                  <a:pt x="48" y="16"/>
                </a:cubicBezTo>
                <a:cubicBezTo>
                  <a:pt x="47" y="16"/>
                  <a:pt x="46" y="17"/>
                  <a:pt x="45" y="18"/>
                </a:cubicBezTo>
                <a:cubicBezTo>
                  <a:pt x="45" y="18"/>
                  <a:pt x="45" y="18"/>
                  <a:pt x="45" y="18"/>
                </a:cubicBezTo>
                <a:cubicBezTo>
                  <a:pt x="45" y="18"/>
                  <a:pt x="45" y="18"/>
                  <a:pt x="44" y="18"/>
                </a:cubicBezTo>
                <a:cubicBezTo>
                  <a:pt x="39" y="18"/>
                  <a:pt x="39" y="18"/>
                  <a:pt x="39" y="18"/>
                </a:cubicBezTo>
                <a:cubicBezTo>
                  <a:pt x="39" y="18"/>
                  <a:pt x="38" y="18"/>
                  <a:pt x="38" y="18"/>
                </a:cubicBezTo>
                <a:cubicBezTo>
                  <a:pt x="38" y="18"/>
                  <a:pt x="37" y="18"/>
                  <a:pt x="37" y="19"/>
                </a:cubicBezTo>
                <a:cubicBezTo>
                  <a:pt x="37" y="19"/>
                  <a:pt x="37" y="19"/>
                  <a:pt x="37" y="19"/>
                </a:cubicBezTo>
                <a:cubicBezTo>
                  <a:pt x="37" y="19"/>
                  <a:pt x="37" y="19"/>
                  <a:pt x="37" y="19"/>
                </a:cubicBezTo>
                <a:cubicBezTo>
                  <a:pt x="37" y="19"/>
                  <a:pt x="37" y="19"/>
                  <a:pt x="37" y="19"/>
                </a:cubicBezTo>
                <a:cubicBezTo>
                  <a:pt x="37" y="19"/>
                  <a:pt x="37" y="19"/>
                  <a:pt x="37" y="19"/>
                </a:cubicBezTo>
                <a:cubicBezTo>
                  <a:pt x="37" y="19"/>
                  <a:pt x="37" y="19"/>
                  <a:pt x="37" y="19"/>
                </a:cubicBezTo>
                <a:cubicBezTo>
                  <a:pt x="37" y="19"/>
                  <a:pt x="38" y="20"/>
                  <a:pt x="38" y="20"/>
                </a:cubicBezTo>
                <a:cubicBezTo>
                  <a:pt x="38" y="20"/>
                  <a:pt x="38" y="20"/>
                  <a:pt x="39" y="20"/>
                </a:cubicBezTo>
                <a:cubicBezTo>
                  <a:pt x="40" y="20"/>
                  <a:pt x="40" y="20"/>
                  <a:pt x="41" y="21"/>
                </a:cubicBezTo>
                <a:cubicBezTo>
                  <a:pt x="41" y="21"/>
                  <a:pt x="41" y="21"/>
                  <a:pt x="42" y="22"/>
                </a:cubicBezTo>
                <a:cubicBezTo>
                  <a:pt x="42" y="23"/>
                  <a:pt x="41" y="24"/>
                  <a:pt x="41" y="24"/>
                </a:cubicBezTo>
                <a:cubicBezTo>
                  <a:pt x="41" y="24"/>
                  <a:pt x="41" y="24"/>
                  <a:pt x="41" y="24"/>
                </a:cubicBezTo>
                <a:cubicBezTo>
                  <a:pt x="41" y="24"/>
                  <a:pt x="41" y="25"/>
                  <a:pt x="41" y="25"/>
                </a:cubicBezTo>
                <a:cubicBezTo>
                  <a:pt x="41" y="25"/>
                  <a:pt x="41" y="25"/>
                  <a:pt x="41" y="25"/>
                </a:cubicBezTo>
                <a:cubicBezTo>
                  <a:pt x="42" y="26"/>
                  <a:pt x="42" y="27"/>
                  <a:pt x="41" y="28"/>
                </a:cubicBezTo>
                <a:cubicBezTo>
                  <a:pt x="40" y="29"/>
                  <a:pt x="40" y="29"/>
                  <a:pt x="40" y="29"/>
                </a:cubicBezTo>
                <a:cubicBezTo>
                  <a:pt x="39" y="29"/>
                  <a:pt x="39" y="29"/>
                  <a:pt x="39" y="29"/>
                </a:cubicBezTo>
                <a:cubicBezTo>
                  <a:pt x="39" y="29"/>
                  <a:pt x="39" y="29"/>
                  <a:pt x="39" y="29"/>
                </a:cubicBezTo>
                <a:cubicBezTo>
                  <a:pt x="38" y="29"/>
                  <a:pt x="38" y="29"/>
                  <a:pt x="38" y="29"/>
                </a:cubicBezTo>
                <a:cubicBezTo>
                  <a:pt x="38" y="29"/>
                  <a:pt x="38" y="29"/>
                  <a:pt x="38" y="29"/>
                </a:cubicBezTo>
                <a:cubicBezTo>
                  <a:pt x="38" y="29"/>
                  <a:pt x="38" y="29"/>
                  <a:pt x="38" y="29"/>
                </a:cubicBezTo>
                <a:cubicBezTo>
                  <a:pt x="38" y="29"/>
                  <a:pt x="38" y="29"/>
                  <a:pt x="38" y="29"/>
                </a:cubicBezTo>
                <a:cubicBezTo>
                  <a:pt x="38" y="29"/>
                  <a:pt x="38" y="29"/>
                  <a:pt x="38" y="29"/>
                </a:cubicBezTo>
                <a:cubicBezTo>
                  <a:pt x="37" y="29"/>
                  <a:pt x="37" y="29"/>
                  <a:pt x="37" y="29"/>
                </a:cubicBezTo>
                <a:cubicBezTo>
                  <a:pt x="37" y="29"/>
                  <a:pt x="36" y="29"/>
                  <a:pt x="36" y="29"/>
                </a:cubicBezTo>
                <a:cubicBezTo>
                  <a:pt x="36" y="29"/>
                  <a:pt x="35" y="29"/>
                  <a:pt x="35" y="29"/>
                </a:cubicBezTo>
                <a:cubicBezTo>
                  <a:pt x="35" y="29"/>
                  <a:pt x="35" y="29"/>
                  <a:pt x="35" y="29"/>
                </a:cubicBezTo>
                <a:cubicBezTo>
                  <a:pt x="35" y="29"/>
                  <a:pt x="34" y="29"/>
                  <a:pt x="34" y="29"/>
                </a:cubicBezTo>
                <a:cubicBezTo>
                  <a:pt x="33" y="29"/>
                  <a:pt x="33" y="29"/>
                  <a:pt x="33" y="29"/>
                </a:cubicBezTo>
                <a:cubicBezTo>
                  <a:pt x="33" y="29"/>
                  <a:pt x="32" y="29"/>
                  <a:pt x="31" y="29"/>
                </a:cubicBezTo>
                <a:cubicBezTo>
                  <a:pt x="31" y="29"/>
                  <a:pt x="31" y="29"/>
                  <a:pt x="31" y="29"/>
                </a:cubicBezTo>
                <a:cubicBezTo>
                  <a:pt x="30" y="29"/>
                  <a:pt x="29" y="29"/>
                  <a:pt x="28" y="29"/>
                </a:cubicBezTo>
                <a:cubicBezTo>
                  <a:pt x="28" y="29"/>
                  <a:pt x="28" y="29"/>
                  <a:pt x="28" y="29"/>
                </a:cubicBezTo>
                <a:cubicBezTo>
                  <a:pt x="28" y="29"/>
                  <a:pt x="27" y="29"/>
                  <a:pt x="27" y="29"/>
                </a:cubicBezTo>
                <a:cubicBezTo>
                  <a:pt x="27" y="29"/>
                  <a:pt x="27" y="29"/>
                  <a:pt x="27" y="29"/>
                </a:cubicBezTo>
                <a:cubicBezTo>
                  <a:pt x="27" y="29"/>
                  <a:pt x="26" y="29"/>
                  <a:pt x="26" y="29"/>
                </a:cubicBezTo>
                <a:cubicBezTo>
                  <a:pt x="26" y="29"/>
                  <a:pt x="25" y="29"/>
                  <a:pt x="25" y="29"/>
                </a:cubicBezTo>
                <a:cubicBezTo>
                  <a:pt x="24" y="29"/>
                  <a:pt x="24" y="29"/>
                  <a:pt x="24" y="29"/>
                </a:cubicBezTo>
                <a:cubicBezTo>
                  <a:pt x="23" y="29"/>
                  <a:pt x="23" y="28"/>
                  <a:pt x="23" y="28"/>
                </a:cubicBezTo>
                <a:cubicBezTo>
                  <a:pt x="23" y="28"/>
                  <a:pt x="23" y="28"/>
                  <a:pt x="23" y="28"/>
                </a:cubicBezTo>
                <a:cubicBezTo>
                  <a:pt x="23" y="28"/>
                  <a:pt x="22" y="28"/>
                  <a:pt x="22" y="29"/>
                </a:cubicBezTo>
                <a:cubicBezTo>
                  <a:pt x="21" y="29"/>
                  <a:pt x="21" y="29"/>
                  <a:pt x="21" y="29"/>
                </a:cubicBezTo>
                <a:cubicBezTo>
                  <a:pt x="20" y="30"/>
                  <a:pt x="19" y="30"/>
                  <a:pt x="18" y="30"/>
                </a:cubicBezTo>
                <a:cubicBezTo>
                  <a:pt x="17" y="30"/>
                  <a:pt x="17" y="30"/>
                  <a:pt x="17" y="30"/>
                </a:cubicBezTo>
                <a:cubicBezTo>
                  <a:pt x="17" y="30"/>
                  <a:pt x="16" y="30"/>
                  <a:pt x="16" y="30"/>
                </a:cubicBezTo>
                <a:cubicBezTo>
                  <a:pt x="15" y="30"/>
                  <a:pt x="15" y="30"/>
                  <a:pt x="15" y="30"/>
                </a:cubicBezTo>
                <a:cubicBezTo>
                  <a:pt x="15" y="30"/>
                  <a:pt x="15" y="30"/>
                  <a:pt x="15" y="30"/>
                </a:cubicBezTo>
                <a:cubicBezTo>
                  <a:pt x="15" y="29"/>
                  <a:pt x="15" y="29"/>
                  <a:pt x="15" y="29"/>
                </a:cubicBezTo>
                <a:cubicBezTo>
                  <a:pt x="14" y="29"/>
                  <a:pt x="14" y="29"/>
                  <a:pt x="13" y="29"/>
                </a:cubicBezTo>
                <a:cubicBezTo>
                  <a:pt x="13" y="29"/>
                  <a:pt x="13" y="29"/>
                  <a:pt x="13" y="29"/>
                </a:cubicBezTo>
                <a:cubicBezTo>
                  <a:pt x="13" y="29"/>
                  <a:pt x="12" y="29"/>
                  <a:pt x="12" y="29"/>
                </a:cubicBezTo>
                <a:cubicBezTo>
                  <a:pt x="11" y="29"/>
                  <a:pt x="11" y="29"/>
                  <a:pt x="11" y="29"/>
                </a:cubicBezTo>
                <a:cubicBezTo>
                  <a:pt x="11" y="29"/>
                  <a:pt x="11" y="29"/>
                  <a:pt x="10" y="29"/>
                </a:cubicBezTo>
                <a:cubicBezTo>
                  <a:pt x="10" y="29"/>
                  <a:pt x="9" y="28"/>
                  <a:pt x="9" y="28"/>
                </a:cubicBezTo>
                <a:cubicBezTo>
                  <a:pt x="8" y="28"/>
                  <a:pt x="8" y="27"/>
                  <a:pt x="8" y="27"/>
                </a:cubicBezTo>
                <a:cubicBezTo>
                  <a:pt x="7" y="27"/>
                  <a:pt x="7" y="27"/>
                  <a:pt x="7" y="27"/>
                </a:cubicBezTo>
                <a:cubicBezTo>
                  <a:pt x="7" y="26"/>
                  <a:pt x="7" y="26"/>
                  <a:pt x="6" y="26"/>
                </a:cubicBezTo>
                <a:cubicBezTo>
                  <a:pt x="6" y="25"/>
                  <a:pt x="6" y="25"/>
                  <a:pt x="6" y="25"/>
                </a:cubicBezTo>
                <a:cubicBezTo>
                  <a:pt x="4" y="25"/>
                  <a:pt x="4" y="25"/>
                  <a:pt x="4" y="25"/>
                </a:cubicBezTo>
                <a:cubicBezTo>
                  <a:pt x="6" y="23"/>
                  <a:pt x="6" y="23"/>
                  <a:pt x="6" y="23"/>
                </a:cubicBezTo>
                <a:cubicBezTo>
                  <a:pt x="6" y="23"/>
                  <a:pt x="6" y="23"/>
                  <a:pt x="6" y="22"/>
                </a:cubicBezTo>
                <a:cubicBezTo>
                  <a:pt x="6" y="22"/>
                  <a:pt x="6" y="22"/>
                  <a:pt x="6" y="22"/>
                </a:cubicBezTo>
                <a:cubicBezTo>
                  <a:pt x="6" y="22"/>
                  <a:pt x="6" y="22"/>
                  <a:pt x="6" y="22"/>
                </a:cubicBezTo>
                <a:cubicBezTo>
                  <a:pt x="6" y="22"/>
                  <a:pt x="6" y="22"/>
                  <a:pt x="6" y="22"/>
                </a:cubicBezTo>
                <a:cubicBezTo>
                  <a:pt x="6" y="22"/>
                  <a:pt x="6" y="22"/>
                  <a:pt x="6" y="22"/>
                </a:cubicBezTo>
                <a:cubicBezTo>
                  <a:pt x="6" y="21"/>
                  <a:pt x="6" y="21"/>
                  <a:pt x="6" y="21"/>
                </a:cubicBezTo>
                <a:cubicBezTo>
                  <a:pt x="6" y="20"/>
                  <a:pt x="6" y="20"/>
                  <a:pt x="6" y="20"/>
                </a:cubicBezTo>
                <a:cubicBezTo>
                  <a:pt x="6" y="20"/>
                  <a:pt x="6" y="19"/>
                  <a:pt x="6" y="18"/>
                </a:cubicBezTo>
                <a:cubicBezTo>
                  <a:pt x="6" y="18"/>
                  <a:pt x="6" y="18"/>
                  <a:pt x="6" y="18"/>
                </a:cubicBezTo>
                <a:cubicBezTo>
                  <a:pt x="6" y="17"/>
                  <a:pt x="6" y="17"/>
                  <a:pt x="6" y="17"/>
                </a:cubicBezTo>
                <a:cubicBezTo>
                  <a:pt x="6" y="17"/>
                  <a:pt x="6" y="17"/>
                  <a:pt x="6" y="17"/>
                </a:cubicBezTo>
                <a:cubicBezTo>
                  <a:pt x="4" y="16"/>
                  <a:pt x="4" y="16"/>
                  <a:pt x="4" y="16"/>
                </a:cubicBezTo>
                <a:cubicBezTo>
                  <a:pt x="6" y="16"/>
                  <a:pt x="6" y="16"/>
                  <a:pt x="6" y="16"/>
                </a:cubicBezTo>
                <a:cubicBezTo>
                  <a:pt x="6" y="16"/>
                  <a:pt x="6" y="16"/>
                  <a:pt x="6" y="15"/>
                </a:cubicBezTo>
                <a:cubicBezTo>
                  <a:pt x="6" y="15"/>
                  <a:pt x="6" y="15"/>
                  <a:pt x="6" y="15"/>
                </a:cubicBezTo>
                <a:cubicBezTo>
                  <a:pt x="6" y="15"/>
                  <a:pt x="6" y="15"/>
                  <a:pt x="6" y="15"/>
                </a:cubicBezTo>
                <a:cubicBezTo>
                  <a:pt x="5" y="15"/>
                  <a:pt x="5" y="15"/>
                  <a:pt x="5" y="15"/>
                </a:cubicBezTo>
                <a:cubicBezTo>
                  <a:pt x="5" y="15"/>
                  <a:pt x="5" y="15"/>
                  <a:pt x="5" y="15"/>
                </a:cubicBezTo>
                <a:cubicBezTo>
                  <a:pt x="4" y="15"/>
                  <a:pt x="3" y="16"/>
                  <a:pt x="2" y="17"/>
                </a:cubicBezTo>
                <a:cubicBezTo>
                  <a:pt x="2" y="17"/>
                  <a:pt x="2" y="17"/>
                  <a:pt x="1" y="17"/>
                </a:cubicBezTo>
                <a:cubicBezTo>
                  <a:pt x="1" y="19"/>
                  <a:pt x="1" y="19"/>
                  <a:pt x="1" y="19"/>
                </a:cubicBezTo>
                <a:cubicBezTo>
                  <a:pt x="1" y="20"/>
                  <a:pt x="0" y="21"/>
                  <a:pt x="0" y="22"/>
                </a:cubicBezTo>
                <a:cubicBezTo>
                  <a:pt x="0" y="23"/>
                  <a:pt x="0" y="24"/>
                  <a:pt x="0" y="25"/>
                </a:cubicBezTo>
                <a:cubicBezTo>
                  <a:pt x="0" y="25"/>
                  <a:pt x="0" y="25"/>
                  <a:pt x="0" y="25"/>
                </a:cubicBezTo>
                <a:cubicBezTo>
                  <a:pt x="0" y="25"/>
                  <a:pt x="0" y="25"/>
                  <a:pt x="0" y="25"/>
                </a:cubicBezTo>
                <a:cubicBezTo>
                  <a:pt x="1" y="26"/>
                  <a:pt x="1" y="26"/>
                  <a:pt x="1" y="26"/>
                </a:cubicBezTo>
                <a:cubicBezTo>
                  <a:pt x="1" y="27"/>
                  <a:pt x="1" y="27"/>
                  <a:pt x="1" y="27"/>
                </a:cubicBezTo>
                <a:cubicBezTo>
                  <a:pt x="1" y="27"/>
                  <a:pt x="1" y="27"/>
                  <a:pt x="2" y="27"/>
                </a:cubicBezTo>
                <a:cubicBezTo>
                  <a:pt x="2" y="28"/>
                  <a:pt x="2" y="28"/>
                  <a:pt x="2" y="28"/>
                </a:cubicBezTo>
                <a:cubicBezTo>
                  <a:pt x="2" y="28"/>
                  <a:pt x="2" y="29"/>
                  <a:pt x="2" y="29"/>
                </a:cubicBezTo>
                <a:cubicBezTo>
                  <a:pt x="2" y="29"/>
                  <a:pt x="2" y="30"/>
                  <a:pt x="2" y="3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84" name="Freeform 3141">
            <a:extLst>
              <a:ext uri="{FF2B5EF4-FFF2-40B4-BE49-F238E27FC236}">
                <a16:creationId xmlns:a16="http://schemas.microsoft.com/office/drawing/2014/main" id="{F8588515-C43A-428C-840F-2532D0861E09}"/>
              </a:ext>
            </a:extLst>
          </p:cNvPr>
          <p:cNvSpPr>
            <a:spLocks/>
          </p:cNvSpPr>
          <p:nvPr/>
        </p:nvSpPr>
        <p:spPr bwMode="auto">
          <a:xfrm>
            <a:off x="4156182" y="3229098"/>
            <a:ext cx="250754" cy="414329"/>
          </a:xfrm>
          <a:custGeom>
            <a:avLst/>
            <a:gdLst>
              <a:gd name="T0" fmla="*/ 211 w 214"/>
              <a:gd name="T1" fmla="*/ 137 h 295"/>
              <a:gd name="T2" fmla="*/ 208 w 214"/>
              <a:gd name="T3" fmla="*/ 125 h 295"/>
              <a:gd name="T4" fmla="*/ 205 w 214"/>
              <a:gd name="T5" fmla="*/ 116 h 295"/>
              <a:gd name="T6" fmla="*/ 203 w 214"/>
              <a:gd name="T7" fmla="*/ 105 h 295"/>
              <a:gd name="T8" fmla="*/ 202 w 214"/>
              <a:gd name="T9" fmla="*/ 103 h 295"/>
              <a:gd name="T10" fmla="*/ 189 w 214"/>
              <a:gd name="T11" fmla="*/ 102 h 295"/>
              <a:gd name="T12" fmla="*/ 180 w 214"/>
              <a:gd name="T13" fmla="*/ 100 h 295"/>
              <a:gd name="T14" fmla="*/ 171 w 214"/>
              <a:gd name="T15" fmla="*/ 96 h 295"/>
              <a:gd name="T16" fmla="*/ 162 w 214"/>
              <a:gd name="T17" fmla="*/ 91 h 295"/>
              <a:gd name="T18" fmla="*/ 156 w 214"/>
              <a:gd name="T19" fmla="*/ 92 h 295"/>
              <a:gd name="T20" fmla="*/ 144 w 214"/>
              <a:gd name="T21" fmla="*/ 89 h 295"/>
              <a:gd name="T22" fmla="*/ 133 w 214"/>
              <a:gd name="T23" fmla="*/ 82 h 295"/>
              <a:gd name="T24" fmla="*/ 123 w 214"/>
              <a:gd name="T25" fmla="*/ 68 h 295"/>
              <a:gd name="T26" fmla="*/ 122 w 214"/>
              <a:gd name="T27" fmla="*/ 53 h 295"/>
              <a:gd name="T28" fmla="*/ 112 w 214"/>
              <a:gd name="T29" fmla="*/ 47 h 295"/>
              <a:gd name="T30" fmla="*/ 107 w 214"/>
              <a:gd name="T31" fmla="*/ 41 h 295"/>
              <a:gd name="T32" fmla="*/ 110 w 214"/>
              <a:gd name="T33" fmla="*/ 32 h 295"/>
              <a:gd name="T34" fmla="*/ 110 w 214"/>
              <a:gd name="T35" fmla="*/ 25 h 295"/>
              <a:gd name="T36" fmla="*/ 107 w 214"/>
              <a:gd name="T37" fmla="*/ 14 h 295"/>
              <a:gd name="T38" fmla="*/ 99 w 214"/>
              <a:gd name="T39" fmla="*/ 0 h 295"/>
              <a:gd name="T40" fmla="*/ 83 w 214"/>
              <a:gd name="T41" fmla="*/ 10 h 295"/>
              <a:gd name="T42" fmla="*/ 64 w 214"/>
              <a:gd name="T43" fmla="*/ 9 h 295"/>
              <a:gd name="T44" fmla="*/ 63 w 214"/>
              <a:gd name="T45" fmla="*/ 18 h 295"/>
              <a:gd name="T46" fmla="*/ 64 w 214"/>
              <a:gd name="T47" fmla="*/ 29 h 295"/>
              <a:gd name="T48" fmla="*/ 72 w 214"/>
              <a:gd name="T49" fmla="*/ 33 h 295"/>
              <a:gd name="T50" fmla="*/ 66 w 214"/>
              <a:gd name="T51" fmla="*/ 42 h 295"/>
              <a:gd name="T52" fmla="*/ 60 w 214"/>
              <a:gd name="T53" fmla="*/ 57 h 295"/>
              <a:gd name="T54" fmla="*/ 54 w 214"/>
              <a:gd name="T55" fmla="*/ 66 h 295"/>
              <a:gd name="T56" fmla="*/ 36 w 214"/>
              <a:gd name="T57" fmla="*/ 86 h 295"/>
              <a:gd name="T58" fmla="*/ 24 w 214"/>
              <a:gd name="T59" fmla="*/ 85 h 295"/>
              <a:gd name="T60" fmla="*/ 20 w 214"/>
              <a:gd name="T61" fmla="*/ 88 h 295"/>
              <a:gd name="T62" fmla="*/ 22 w 214"/>
              <a:gd name="T63" fmla="*/ 105 h 295"/>
              <a:gd name="T64" fmla="*/ 28 w 214"/>
              <a:gd name="T65" fmla="*/ 112 h 295"/>
              <a:gd name="T66" fmla="*/ 29 w 214"/>
              <a:gd name="T67" fmla="*/ 125 h 295"/>
              <a:gd name="T68" fmla="*/ 21 w 214"/>
              <a:gd name="T69" fmla="*/ 125 h 295"/>
              <a:gd name="T70" fmla="*/ 5 w 214"/>
              <a:gd name="T71" fmla="*/ 129 h 295"/>
              <a:gd name="T72" fmla="*/ 4 w 214"/>
              <a:gd name="T73" fmla="*/ 135 h 295"/>
              <a:gd name="T74" fmla="*/ 22 w 214"/>
              <a:gd name="T75" fmla="*/ 141 h 295"/>
              <a:gd name="T76" fmla="*/ 16 w 214"/>
              <a:gd name="T77" fmla="*/ 155 h 295"/>
              <a:gd name="T78" fmla="*/ 42 w 214"/>
              <a:gd name="T79" fmla="*/ 153 h 295"/>
              <a:gd name="T80" fmla="*/ 49 w 214"/>
              <a:gd name="T81" fmla="*/ 146 h 295"/>
              <a:gd name="T82" fmla="*/ 47 w 214"/>
              <a:gd name="T83" fmla="*/ 159 h 295"/>
              <a:gd name="T84" fmla="*/ 47 w 214"/>
              <a:gd name="T85" fmla="*/ 179 h 295"/>
              <a:gd name="T86" fmla="*/ 49 w 214"/>
              <a:gd name="T87" fmla="*/ 189 h 295"/>
              <a:gd name="T88" fmla="*/ 57 w 214"/>
              <a:gd name="T89" fmla="*/ 217 h 295"/>
              <a:gd name="T90" fmla="*/ 61 w 214"/>
              <a:gd name="T91" fmla="*/ 225 h 295"/>
              <a:gd name="T92" fmla="*/ 70 w 214"/>
              <a:gd name="T93" fmla="*/ 250 h 295"/>
              <a:gd name="T94" fmla="*/ 83 w 214"/>
              <a:gd name="T95" fmla="*/ 274 h 295"/>
              <a:gd name="T96" fmla="*/ 88 w 214"/>
              <a:gd name="T97" fmla="*/ 289 h 295"/>
              <a:gd name="T98" fmla="*/ 114 w 214"/>
              <a:gd name="T99" fmla="*/ 283 h 295"/>
              <a:gd name="T100" fmla="*/ 120 w 214"/>
              <a:gd name="T101" fmla="*/ 272 h 295"/>
              <a:gd name="T102" fmla="*/ 124 w 214"/>
              <a:gd name="T103" fmla="*/ 241 h 295"/>
              <a:gd name="T104" fmla="*/ 122 w 214"/>
              <a:gd name="T105" fmla="*/ 220 h 295"/>
              <a:gd name="T106" fmla="*/ 137 w 214"/>
              <a:gd name="T107" fmla="*/ 209 h 295"/>
              <a:gd name="T108" fmla="*/ 165 w 214"/>
              <a:gd name="T109" fmla="*/ 186 h 295"/>
              <a:gd name="T110" fmla="*/ 178 w 214"/>
              <a:gd name="T111" fmla="*/ 172 h 295"/>
              <a:gd name="T112" fmla="*/ 202 w 214"/>
              <a:gd name="T113" fmla="*/ 150 h 295"/>
              <a:gd name="T114" fmla="*/ 208 w 214"/>
              <a:gd name="T115" fmla="*/ 154 h 295"/>
              <a:gd name="T116" fmla="*/ 211 w 214"/>
              <a:gd name="T117" fmla="*/ 15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4" h="295">
                <a:moveTo>
                  <a:pt x="213" y="152"/>
                </a:moveTo>
                <a:cubicBezTo>
                  <a:pt x="213" y="151"/>
                  <a:pt x="213" y="150"/>
                  <a:pt x="213" y="150"/>
                </a:cubicBezTo>
                <a:cubicBezTo>
                  <a:pt x="213" y="150"/>
                  <a:pt x="213" y="150"/>
                  <a:pt x="213" y="150"/>
                </a:cubicBezTo>
                <a:cubicBezTo>
                  <a:pt x="212" y="149"/>
                  <a:pt x="212" y="149"/>
                  <a:pt x="212" y="149"/>
                </a:cubicBezTo>
                <a:cubicBezTo>
                  <a:pt x="212" y="149"/>
                  <a:pt x="212" y="148"/>
                  <a:pt x="212" y="148"/>
                </a:cubicBezTo>
                <a:cubicBezTo>
                  <a:pt x="212" y="147"/>
                  <a:pt x="212" y="146"/>
                  <a:pt x="212" y="146"/>
                </a:cubicBezTo>
                <a:cubicBezTo>
                  <a:pt x="211" y="142"/>
                  <a:pt x="211" y="142"/>
                  <a:pt x="211" y="142"/>
                </a:cubicBezTo>
                <a:cubicBezTo>
                  <a:pt x="211" y="141"/>
                  <a:pt x="211" y="141"/>
                  <a:pt x="211" y="141"/>
                </a:cubicBezTo>
                <a:cubicBezTo>
                  <a:pt x="211" y="141"/>
                  <a:pt x="211" y="140"/>
                  <a:pt x="211" y="140"/>
                </a:cubicBezTo>
                <a:cubicBezTo>
                  <a:pt x="211" y="139"/>
                  <a:pt x="211" y="138"/>
                  <a:pt x="211" y="137"/>
                </a:cubicBezTo>
                <a:cubicBezTo>
                  <a:pt x="211" y="137"/>
                  <a:pt x="211" y="137"/>
                  <a:pt x="211" y="137"/>
                </a:cubicBezTo>
                <a:cubicBezTo>
                  <a:pt x="211" y="137"/>
                  <a:pt x="211" y="137"/>
                  <a:pt x="211" y="137"/>
                </a:cubicBezTo>
                <a:cubicBezTo>
                  <a:pt x="211" y="137"/>
                  <a:pt x="211" y="137"/>
                  <a:pt x="211" y="137"/>
                </a:cubicBezTo>
                <a:cubicBezTo>
                  <a:pt x="211" y="136"/>
                  <a:pt x="210" y="136"/>
                  <a:pt x="210" y="136"/>
                </a:cubicBezTo>
                <a:cubicBezTo>
                  <a:pt x="210" y="135"/>
                  <a:pt x="210" y="135"/>
                  <a:pt x="210" y="135"/>
                </a:cubicBezTo>
                <a:cubicBezTo>
                  <a:pt x="209" y="135"/>
                  <a:pt x="209" y="134"/>
                  <a:pt x="209" y="134"/>
                </a:cubicBezTo>
                <a:cubicBezTo>
                  <a:pt x="209" y="134"/>
                  <a:pt x="209" y="134"/>
                  <a:pt x="209" y="134"/>
                </a:cubicBezTo>
                <a:cubicBezTo>
                  <a:pt x="208" y="132"/>
                  <a:pt x="208" y="131"/>
                  <a:pt x="208" y="130"/>
                </a:cubicBezTo>
                <a:cubicBezTo>
                  <a:pt x="208" y="129"/>
                  <a:pt x="208" y="129"/>
                  <a:pt x="208" y="129"/>
                </a:cubicBezTo>
                <a:cubicBezTo>
                  <a:pt x="208" y="128"/>
                  <a:pt x="209" y="128"/>
                  <a:pt x="209" y="128"/>
                </a:cubicBezTo>
                <a:cubicBezTo>
                  <a:pt x="209" y="128"/>
                  <a:pt x="209" y="127"/>
                  <a:pt x="209" y="127"/>
                </a:cubicBezTo>
                <a:cubicBezTo>
                  <a:pt x="209" y="127"/>
                  <a:pt x="209" y="127"/>
                  <a:pt x="209" y="126"/>
                </a:cubicBezTo>
                <a:cubicBezTo>
                  <a:pt x="209" y="125"/>
                  <a:pt x="209" y="125"/>
                  <a:pt x="209" y="125"/>
                </a:cubicBezTo>
                <a:cubicBezTo>
                  <a:pt x="209" y="125"/>
                  <a:pt x="209" y="125"/>
                  <a:pt x="209" y="125"/>
                </a:cubicBezTo>
                <a:cubicBezTo>
                  <a:pt x="209" y="125"/>
                  <a:pt x="209" y="125"/>
                  <a:pt x="208" y="125"/>
                </a:cubicBezTo>
                <a:cubicBezTo>
                  <a:pt x="208" y="125"/>
                  <a:pt x="208" y="125"/>
                  <a:pt x="208" y="125"/>
                </a:cubicBezTo>
                <a:cubicBezTo>
                  <a:pt x="208" y="125"/>
                  <a:pt x="208" y="125"/>
                  <a:pt x="208" y="125"/>
                </a:cubicBezTo>
                <a:cubicBezTo>
                  <a:pt x="207" y="125"/>
                  <a:pt x="207" y="125"/>
                  <a:pt x="207" y="125"/>
                </a:cubicBezTo>
                <a:cubicBezTo>
                  <a:pt x="206" y="125"/>
                  <a:pt x="206" y="125"/>
                  <a:pt x="206" y="124"/>
                </a:cubicBezTo>
                <a:cubicBezTo>
                  <a:pt x="205" y="124"/>
                  <a:pt x="205" y="124"/>
                  <a:pt x="205" y="124"/>
                </a:cubicBezTo>
                <a:cubicBezTo>
                  <a:pt x="205" y="124"/>
                  <a:pt x="205" y="124"/>
                  <a:pt x="205" y="124"/>
                </a:cubicBezTo>
                <a:cubicBezTo>
                  <a:pt x="204" y="123"/>
                  <a:pt x="204" y="123"/>
                  <a:pt x="204" y="123"/>
                </a:cubicBezTo>
                <a:cubicBezTo>
                  <a:pt x="203" y="123"/>
                  <a:pt x="203" y="123"/>
                  <a:pt x="203" y="122"/>
                </a:cubicBezTo>
                <a:cubicBezTo>
                  <a:pt x="203" y="122"/>
                  <a:pt x="203" y="122"/>
                  <a:pt x="203" y="121"/>
                </a:cubicBezTo>
                <a:cubicBezTo>
                  <a:pt x="203" y="121"/>
                  <a:pt x="203" y="120"/>
                  <a:pt x="203" y="119"/>
                </a:cubicBezTo>
                <a:cubicBezTo>
                  <a:pt x="203" y="119"/>
                  <a:pt x="203" y="119"/>
                  <a:pt x="203" y="119"/>
                </a:cubicBezTo>
                <a:cubicBezTo>
                  <a:pt x="204" y="118"/>
                  <a:pt x="204" y="117"/>
                  <a:pt x="205" y="117"/>
                </a:cubicBezTo>
                <a:cubicBezTo>
                  <a:pt x="205" y="117"/>
                  <a:pt x="205" y="117"/>
                  <a:pt x="205" y="117"/>
                </a:cubicBezTo>
                <a:cubicBezTo>
                  <a:pt x="205" y="116"/>
                  <a:pt x="205" y="116"/>
                  <a:pt x="205" y="116"/>
                </a:cubicBezTo>
                <a:cubicBezTo>
                  <a:pt x="206" y="116"/>
                  <a:pt x="206" y="116"/>
                  <a:pt x="206" y="116"/>
                </a:cubicBezTo>
                <a:cubicBezTo>
                  <a:pt x="207" y="114"/>
                  <a:pt x="209" y="113"/>
                  <a:pt x="210" y="113"/>
                </a:cubicBezTo>
                <a:cubicBezTo>
                  <a:pt x="210" y="113"/>
                  <a:pt x="210" y="113"/>
                  <a:pt x="210" y="112"/>
                </a:cubicBezTo>
                <a:cubicBezTo>
                  <a:pt x="210" y="112"/>
                  <a:pt x="210" y="112"/>
                  <a:pt x="210" y="112"/>
                </a:cubicBezTo>
                <a:cubicBezTo>
                  <a:pt x="210" y="112"/>
                  <a:pt x="210" y="112"/>
                  <a:pt x="210" y="112"/>
                </a:cubicBezTo>
                <a:cubicBezTo>
                  <a:pt x="210" y="112"/>
                  <a:pt x="210" y="112"/>
                  <a:pt x="210" y="112"/>
                </a:cubicBezTo>
                <a:cubicBezTo>
                  <a:pt x="209" y="112"/>
                  <a:pt x="209" y="112"/>
                  <a:pt x="209" y="112"/>
                </a:cubicBezTo>
                <a:cubicBezTo>
                  <a:pt x="208" y="112"/>
                  <a:pt x="207" y="112"/>
                  <a:pt x="207" y="111"/>
                </a:cubicBezTo>
                <a:cubicBezTo>
                  <a:pt x="206" y="110"/>
                  <a:pt x="206" y="110"/>
                  <a:pt x="206" y="110"/>
                </a:cubicBezTo>
                <a:cubicBezTo>
                  <a:pt x="206" y="110"/>
                  <a:pt x="205" y="109"/>
                  <a:pt x="205" y="109"/>
                </a:cubicBezTo>
                <a:cubicBezTo>
                  <a:pt x="205" y="109"/>
                  <a:pt x="205" y="109"/>
                  <a:pt x="205" y="109"/>
                </a:cubicBezTo>
                <a:cubicBezTo>
                  <a:pt x="204" y="109"/>
                  <a:pt x="203" y="109"/>
                  <a:pt x="203" y="108"/>
                </a:cubicBezTo>
                <a:cubicBezTo>
                  <a:pt x="202" y="107"/>
                  <a:pt x="203" y="106"/>
                  <a:pt x="203" y="105"/>
                </a:cubicBezTo>
                <a:cubicBezTo>
                  <a:pt x="203" y="105"/>
                  <a:pt x="203" y="105"/>
                  <a:pt x="203" y="105"/>
                </a:cubicBezTo>
                <a:cubicBezTo>
                  <a:pt x="204" y="104"/>
                  <a:pt x="204" y="104"/>
                  <a:pt x="204" y="104"/>
                </a:cubicBezTo>
                <a:cubicBezTo>
                  <a:pt x="204" y="103"/>
                  <a:pt x="205" y="102"/>
                  <a:pt x="206" y="102"/>
                </a:cubicBezTo>
                <a:cubicBezTo>
                  <a:pt x="206" y="102"/>
                  <a:pt x="206" y="102"/>
                  <a:pt x="206" y="102"/>
                </a:cubicBezTo>
                <a:cubicBezTo>
                  <a:pt x="205" y="101"/>
                  <a:pt x="205" y="101"/>
                  <a:pt x="205" y="101"/>
                </a:cubicBezTo>
                <a:cubicBezTo>
                  <a:pt x="205" y="101"/>
                  <a:pt x="205" y="101"/>
                  <a:pt x="205" y="101"/>
                </a:cubicBezTo>
                <a:cubicBezTo>
                  <a:pt x="205" y="100"/>
                  <a:pt x="205" y="100"/>
                  <a:pt x="205" y="100"/>
                </a:cubicBezTo>
                <a:cubicBezTo>
                  <a:pt x="205" y="100"/>
                  <a:pt x="205" y="100"/>
                  <a:pt x="205" y="100"/>
                </a:cubicBezTo>
                <a:cubicBezTo>
                  <a:pt x="205" y="100"/>
                  <a:pt x="205" y="101"/>
                  <a:pt x="205" y="101"/>
                </a:cubicBezTo>
                <a:cubicBezTo>
                  <a:pt x="205" y="101"/>
                  <a:pt x="205" y="101"/>
                  <a:pt x="205" y="101"/>
                </a:cubicBezTo>
                <a:cubicBezTo>
                  <a:pt x="204" y="102"/>
                  <a:pt x="204" y="102"/>
                  <a:pt x="203" y="103"/>
                </a:cubicBezTo>
                <a:cubicBezTo>
                  <a:pt x="203" y="103"/>
                  <a:pt x="202" y="103"/>
                  <a:pt x="202" y="103"/>
                </a:cubicBezTo>
                <a:cubicBezTo>
                  <a:pt x="202" y="103"/>
                  <a:pt x="202" y="103"/>
                  <a:pt x="202" y="103"/>
                </a:cubicBezTo>
                <a:cubicBezTo>
                  <a:pt x="201" y="103"/>
                  <a:pt x="201" y="103"/>
                  <a:pt x="200" y="103"/>
                </a:cubicBezTo>
                <a:cubicBezTo>
                  <a:pt x="200" y="103"/>
                  <a:pt x="199" y="103"/>
                  <a:pt x="199" y="103"/>
                </a:cubicBezTo>
                <a:cubicBezTo>
                  <a:pt x="198" y="103"/>
                  <a:pt x="198" y="103"/>
                  <a:pt x="198" y="103"/>
                </a:cubicBezTo>
                <a:cubicBezTo>
                  <a:pt x="197" y="103"/>
                  <a:pt x="197" y="103"/>
                  <a:pt x="196" y="103"/>
                </a:cubicBezTo>
                <a:cubicBezTo>
                  <a:pt x="195" y="103"/>
                  <a:pt x="194" y="102"/>
                  <a:pt x="194" y="102"/>
                </a:cubicBezTo>
                <a:cubicBezTo>
                  <a:pt x="193" y="102"/>
                  <a:pt x="193" y="102"/>
                  <a:pt x="192" y="101"/>
                </a:cubicBezTo>
                <a:cubicBezTo>
                  <a:pt x="192" y="101"/>
                  <a:pt x="192" y="101"/>
                  <a:pt x="192" y="101"/>
                </a:cubicBezTo>
                <a:cubicBezTo>
                  <a:pt x="192" y="102"/>
                  <a:pt x="191" y="102"/>
                  <a:pt x="191" y="102"/>
                </a:cubicBezTo>
                <a:cubicBezTo>
                  <a:pt x="191" y="102"/>
                  <a:pt x="191" y="102"/>
                  <a:pt x="191" y="102"/>
                </a:cubicBezTo>
                <a:cubicBezTo>
                  <a:pt x="191" y="102"/>
                  <a:pt x="191" y="102"/>
                  <a:pt x="190" y="102"/>
                </a:cubicBezTo>
                <a:cubicBezTo>
                  <a:pt x="190" y="102"/>
                  <a:pt x="190" y="102"/>
                  <a:pt x="190" y="102"/>
                </a:cubicBezTo>
                <a:cubicBezTo>
                  <a:pt x="190" y="102"/>
                  <a:pt x="190" y="102"/>
                  <a:pt x="190" y="102"/>
                </a:cubicBezTo>
                <a:cubicBezTo>
                  <a:pt x="189" y="102"/>
                  <a:pt x="189" y="102"/>
                  <a:pt x="189" y="102"/>
                </a:cubicBezTo>
                <a:cubicBezTo>
                  <a:pt x="189" y="102"/>
                  <a:pt x="189" y="102"/>
                  <a:pt x="189" y="102"/>
                </a:cubicBezTo>
                <a:cubicBezTo>
                  <a:pt x="189" y="102"/>
                  <a:pt x="189" y="102"/>
                  <a:pt x="189" y="102"/>
                </a:cubicBezTo>
                <a:cubicBezTo>
                  <a:pt x="189" y="102"/>
                  <a:pt x="188" y="102"/>
                  <a:pt x="188" y="102"/>
                </a:cubicBezTo>
                <a:cubicBezTo>
                  <a:pt x="187" y="101"/>
                  <a:pt x="187" y="101"/>
                  <a:pt x="187" y="101"/>
                </a:cubicBezTo>
                <a:cubicBezTo>
                  <a:pt x="187" y="101"/>
                  <a:pt x="186" y="101"/>
                  <a:pt x="186" y="101"/>
                </a:cubicBezTo>
                <a:cubicBezTo>
                  <a:pt x="186" y="101"/>
                  <a:pt x="185" y="101"/>
                  <a:pt x="185" y="101"/>
                </a:cubicBezTo>
                <a:cubicBezTo>
                  <a:pt x="185" y="100"/>
                  <a:pt x="185" y="100"/>
                  <a:pt x="185" y="100"/>
                </a:cubicBezTo>
                <a:cubicBezTo>
                  <a:pt x="184" y="100"/>
                  <a:pt x="184" y="100"/>
                  <a:pt x="184" y="100"/>
                </a:cubicBezTo>
                <a:cubicBezTo>
                  <a:pt x="184" y="100"/>
                  <a:pt x="184" y="100"/>
                  <a:pt x="183" y="101"/>
                </a:cubicBezTo>
                <a:cubicBezTo>
                  <a:pt x="183" y="101"/>
                  <a:pt x="183" y="101"/>
                  <a:pt x="183" y="101"/>
                </a:cubicBezTo>
                <a:cubicBezTo>
                  <a:pt x="182" y="101"/>
                  <a:pt x="182" y="101"/>
                  <a:pt x="181" y="101"/>
                </a:cubicBezTo>
                <a:cubicBezTo>
                  <a:pt x="181" y="101"/>
                  <a:pt x="181" y="100"/>
                  <a:pt x="180" y="100"/>
                </a:cubicBezTo>
                <a:cubicBezTo>
                  <a:pt x="180" y="100"/>
                  <a:pt x="180" y="100"/>
                  <a:pt x="180" y="100"/>
                </a:cubicBezTo>
                <a:cubicBezTo>
                  <a:pt x="179" y="99"/>
                  <a:pt x="179" y="99"/>
                  <a:pt x="179" y="99"/>
                </a:cubicBezTo>
                <a:cubicBezTo>
                  <a:pt x="179" y="99"/>
                  <a:pt x="179" y="98"/>
                  <a:pt x="178" y="98"/>
                </a:cubicBezTo>
                <a:cubicBezTo>
                  <a:pt x="178" y="98"/>
                  <a:pt x="178" y="98"/>
                  <a:pt x="178" y="98"/>
                </a:cubicBezTo>
                <a:cubicBezTo>
                  <a:pt x="178" y="98"/>
                  <a:pt x="178" y="98"/>
                  <a:pt x="177" y="98"/>
                </a:cubicBezTo>
                <a:cubicBezTo>
                  <a:pt x="177" y="98"/>
                  <a:pt x="177" y="98"/>
                  <a:pt x="177" y="98"/>
                </a:cubicBezTo>
                <a:cubicBezTo>
                  <a:pt x="176" y="99"/>
                  <a:pt x="176" y="99"/>
                  <a:pt x="176" y="99"/>
                </a:cubicBezTo>
                <a:cubicBezTo>
                  <a:pt x="175" y="99"/>
                  <a:pt x="175" y="99"/>
                  <a:pt x="175" y="99"/>
                </a:cubicBezTo>
                <a:cubicBezTo>
                  <a:pt x="175" y="99"/>
                  <a:pt x="175" y="99"/>
                  <a:pt x="174" y="98"/>
                </a:cubicBezTo>
                <a:cubicBezTo>
                  <a:pt x="174" y="98"/>
                  <a:pt x="174" y="98"/>
                  <a:pt x="174" y="98"/>
                </a:cubicBezTo>
                <a:cubicBezTo>
                  <a:pt x="174" y="98"/>
                  <a:pt x="174" y="98"/>
                  <a:pt x="174" y="98"/>
                </a:cubicBezTo>
                <a:cubicBezTo>
                  <a:pt x="173" y="98"/>
                  <a:pt x="173" y="98"/>
                  <a:pt x="173" y="97"/>
                </a:cubicBezTo>
                <a:cubicBezTo>
                  <a:pt x="173" y="97"/>
                  <a:pt x="173" y="97"/>
                  <a:pt x="173" y="97"/>
                </a:cubicBezTo>
                <a:cubicBezTo>
                  <a:pt x="172" y="97"/>
                  <a:pt x="172" y="97"/>
                  <a:pt x="171" y="96"/>
                </a:cubicBezTo>
                <a:cubicBezTo>
                  <a:pt x="170" y="96"/>
                  <a:pt x="170" y="96"/>
                  <a:pt x="170" y="96"/>
                </a:cubicBezTo>
                <a:cubicBezTo>
                  <a:pt x="170" y="96"/>
                  <a:pt x="169" y="96"/>
                  <a:pt x="169" y="96"/>
                </a:cubicBezTo>
                <a:cubicBezTo>
                  <a:pt x="168" y="95"/>
                  <a:pt x="168" y="95"/>
                  <a:pt x="167" y="94"/>
                </a:cubicBezTo>
                <a:cubicBezTo>
                  <a:pt x="167" y="94"/>
                  <a:pt x="167" y="94"/>
                  <a:pt x="167" y="93"/>
                </a:cubicBezTo>
                <a:cubicBezTo>
                  <a:pt x="167" y="93"/>
                  <a:pt x="167" y="93"/>
                  <a:pt x="167" y="93"/>
                </a:cubicBezTo>
                <a:cubicBezTo>
                  <a:pt x="167" y="92"/>
                  <a:pt x="167" y="92"/>
                  <a:pt x="167" y="92"/>
                </a:cubicBezTo>
                <a:cubicBezTo>
                  <a:pt x="167" y="92"/>
                  <a:pt x="167" y="92"/>
                  <a:pt x="167" y="92"/>
                </a:cubicBezTo>
                <a:cubicBezTo>
                  <a:pt x="167" y="92"/>
                  <a:pt x="167" y="92"/>
                  <a:pt x="167" y="92"/>
                </a:cubicBezTo>
                <a:cubicBezTo>
                  <a:pt x="166" y="91"/>
                  <a:pt x="165" y="91"/>
                  <a:pt x="165" y="91"/>
                </a:cubicBezTo>
                <a:cubicBezTo>
                  <a:pt x="164" y="91"/>
                  <a:pt x="164" y="91"/>
                  <a:pt x="164" y="91"/>
                </a:cubicBezTo>
                <a:cubicBezTo>
                  <a:pt x="164" y="91"/>
                  <a:pt x="164" y="91"/>
                  <a:pt x="164" y="91"/>
                </a:cubicBezTo>
                <a:cubicBezTo>
                  <a:pt x="164" y="91"/>
                  <a:pt x="163" y="90"/>
                  <a:pt x="163" y="91"/>
                </a:cubicBezTo>
                <a:cubicBezTo>
                  <a:pt x="163" y="91"/>
                  <a:pt x="163" y="91"/>
                  <a:pt x="162" y="91"/>
                </a:cubicBezTo>
                <a:cubicBezTo>
                  <a:pt x="163" y="93"/>
                  <a:pt x="163" y="93"/>
                  <a:pt x="163" y="93"/>
                </a:cubicBezTo>
                <a:cubicBezTo>
                  <a:pt x="162" y="91"/>
                  <a:pt x="162" y="91"/>
                  <a:pt x="162" y="91"/>
                </a:cubicBezTo>
                <a:cubicBezTo>
                  <a:pt x="161" y="91"/>
                  <a:pt x="161" y="92"/>
                  <a:pt x="161" y="92"/>
                </a:cubicBezTo>
                <a:cubicBezTo>
                  <a:pt x="161" y="92"/>
                  <a:pt x="161" y="92"/>
                  <a:pt x="161" y="92"/>
                </a:cubicBezTo>
                <a:cubicBezTo>
                  <a:pt x="161" y="92"/>
                  <a:pt x="161" y="92"/>
                  <a:pt x="161" y="92"/>
                </a:cubicBezTo>
                <a:cubicBezTo>
                  <a:pt x="160" y="92"/>
                  <a:pt x="160" y="92"/>
                  <a:pt x="160" y="92"/>
                </a:cubicBezTo>
                <a:cubicBezTo>
                  <a:pt x="160" y="92"/>
                  <a:pt x="160" y="92"/>
                  <a:pt x="160" y="92"/>
                </a:cubicBezTo>
                <a:cubicBezTo>
                  <a:pt x="157" y="91"/>
                  <a:pt x="157" y="91"/>
                  <a:pt x="157" y="91"/>
                </a:cubicBezTo>
                <a:cubicBezTo>
                  <a:pt x="157" y="91"/>
                  <a:pt x="157" y="91"/>
                  <a:pt x="157" y="91"/>
                </a:cubicBezTo>
                <a:cubicBezTo>
                  <a:pt x="156" y="92"/>
                  <a:pt x="156" y="92"/>
                  <a:pt x="156" y="92"/>
                </a:cubicBezTo>
                <a:cubicBezTo>
                  <a:pt x="156" y="92"/>
                  <a:pt x="156" y="92"/>
                  <a:pt x="156" y="92"/>
                </a:cubicBezTo>
                <a:cubicBezTo>
                  <a:pt x="156" y="92"/>
                  <a:pt x="156" y="92"/>
                  <a:pt x="156" y="92"/>
                </a:cubicBezTo>
                <a:cubicBezTo>
                  <a:pt x="156" y="92"/>
                  <a:pt x="156" y="92"/>
                  <a:pt x="156" y="92"/>
                </a:cubicBezTo>
                <a:cubicBezTo>
                  <a:pt x="155" y="92"/>
                  <a:pt x="155" y="92"/>
                  <a:pt x="155" y="92"/>
                </a:cubicBezTo>
                <a:cubicBezTo>
                  <a:pt x="155" y="92"/>
                  <a:pt x="155" y="92"/>
                  <a:pt x="155" y="92"/>
                </a:cubicBezTo>
                <a:cubicBezTo>
                  <a:pt x="155" y="92"/>
                  <a:pt x="155" y="92"/>
                  <a:pt x="155" y="92"/>
                </a:cubicBezTo>
                <a:cubicBezTo>
                  <a:pt x="154" y="92"/>
                  <a:pt x="154" y="92"/>
                  <a:pt x="154" y="92"/>
                </a:cubicBezTo>
                <a:cubicBezTo>
                  <a:pt x="153" y="92"/>
                  <a:pt x="153" y="91"/>
                  <a:pt x="152" y="91"/>
                </a:cubicBezTo>
                <a:cubicBezTo>
                  <a:pt x="152" y="91"/>
                  <a:pt x="151" y="91"/>
                  <a:pt x="151" y="91"/>
                </a:cubicBezTo>
                <a:cubicBezTo>
                  <a:pt x="150" y="91"/>
                  <a:pt x="150" y="91"/>
                  <a:pt x="150" y="91"/>
                </a:cubicBezTo>
                <a:cubicBezTo>
                  <a:pt x="149" y="91"/>
                  <a:pt x="149" y="90"/>
                  <a:pt x="148" y="90"/>
                </a:cubicBezTo>
                <a:cubicBezTo>
                  <a:pt x="148" y="90"/>
                  <a:pt x="148" y="89"/>
                  <a:pt x="148" y="88"/>
                </a:cubicBezTo>
                <a:cubicBezTo>
                  <a:pt x="148" y="88"/>
                  <a:pt x="148" y="88"/>
                  <a:pt x="148" y="88"/>
                </a:cubicBezTo>
                <a:cubicBezTo>
                  <a:pt x="148" y="88"/>
                  <a:pt x="148" y="88"/>
                  <a:pt x="148" y="88"/>
                </a:cubicBezTo>
                <a:cubicBezTo>
                  <a:pt x="145" y="87"/>
                  <a:pt x="145" y="87"/>
                  <a:pt x="145" y="87"/>
                </a:cubicBezTo>
                <a:cubicBezTo>
                  <a:pt x="144" y="89"/>
                  <a:pt x="144" y="89"/>
                  <a:pt x="144" y="89"/>
                </a:cubicBezTo>
                <a:cubicBezTo>
                  <a:pt x="144" y="87"/>
                  <a:pt x="144" y="87"/>
                  <a:pt x="144" y="87"/>
                </a:cubicBezTo>
                <a:cubicBezTo>
                  <a:pt x="144" y="87"/>
                  <a:pt x="144" y="87"/>
                  <a:pt x="144" y="87"/>
                </a:cubicBezTo>
                <a:cubicBezTo>
                  <a:pt x="143" y="87"/>
                  <a:pt x="143" y="86"/>
                  <a:pt x="142" y="86"/>
                </a:cubicBezTo>
                <a:cubicBezTo>
                  <a:pt x="142" y="86"/>
                  <a:pt x="142" y="86"/>
                  <a:pt x="142" y="86"/>
                </a:cubicBezTo>
                <a:cubicBezTo>
                  <a:pt x="141" y="86"/>
                  <a:pt x="141" y="86"/>
                  <a:pt x="141" y="87"/>
                </a:cubicBezTo>
                <a:cubicBezTo>
                  <a:pt x="140" y="87"/>
                  <a:pt x="140" y="87"/>
                  <a:pt x="140" y="87"/>
                </a:cubicBezTo>
                <a:cubicBezTo>
                  <a:pt x="140" y="87"/>
                  <a:pt x="140" y="87"/>
                  <a:pt x="140" y="87"/>
                </a:cubicBezTo>
                <a:cubicBezTo>
                  <a:pt x="139" y="86"/>
                  <a:pt x="139" y="86"/>
                  <a:pt x="138" y="85"/>
                </a:cubicBezTo>
                <a:cubicBezTo>
                  <a:pt x="137" y="85"/>
                  <a:pt x="137" y="85"/>
                  <a:pt x="137" y="85"/>
                </a:cubicBezTo>
                <a:cubicBezTo>
                  <a:pt x="137" y="85"/>
                  <a:pt x="136" y="85"/>
                  <a:pt x="136" y="84"/>
                </a:cubicBezTo>
                <a:cubicBezTo>
                  <a:pt x="136" y="84"/>
                  <a:pt x="136" y="84"/>
                  <a:pt x="135" y="84"/>
                </a:cubicBezTo>
                <a:cubicBezTo>
                  <a:pt x="135" y="84"/>
                  <a:pt x="135" y="84"/>
                  <a:pt x="135" y="84"/>
                </a:cubicBezTo>
                <a:cubicBezTo>
                  <a:pt x="134" y="83"/>
                  <a:pt x="134" y="82"/>
                  <a:pt x="133" y="82"/>
                </a:cubicBezTo>
                <a:cubicBezTo>
                  <a:pt x="133" y="81"/>
                  <a:pt x="133" y="81"/>
                  <a:pt x="133" y="81"/>
                </a:cubicBezTo>
                <a:cubicBezTo>
                  <a:pt x="132" y="81"/>
                  <a:pt x="132" y="80"/>
                  <a:pt x="131" y="80"/>
                </a:cubicBezTo>
                <a:cubicBezTo>
                  <a:pt x="130" y="80"/>
                  <a:pt x="129" y="79"/>
                  <a:pt x="129" y="79"/>
                </a:cubicBezTo>
                <a:cubicBezTo>
                  <a:pt x="127" y="78"/>
                  <a:pt x="127" y="78"/>
                  <a:pt x="127" y="78"/>
                </a:cubicBezTo>
                <a:cubicBezTo>
                  <a:pt x="127" y="79"/>
                  <a:pt x="127" y="79"/>
                  <a:pt x="127" y="79"/>
                </a:cubicBezTo>
                <a:cubicBezTo>
                  <a:pt x="126" y="79"/>
                  <a:pt x="126" y="79"/>
                  <a:pt x="126" y="79"/>
                </a:cubicBezTo>
                <a:cubicBezTo>
                  <a:pt x="125" y="78"/>
                  <a:pt x="123" y="77"/>
                  <a:pt x="122" y="77"/>
                </a:cubicBezTo>
                <a:cubicBezTo>
                  <a:pt x="121" y="76"/>
                  <a:pt x="120" y="75"/>
                  <a:pt x="121" y="73"/>
                </a:cubicBezTo>
                <a:cubicBezTo>
                  <a:pt x="121" y="73"/>
                  <a:pt x="121" y="73"/>
                  <a:pt x="121" y="72"/>
                </a:cubicBezTo>
                <a:cubicBezTo>
                  <a:pt x="121" y="71"/>
                  <a:pt x="122" y="71"/>
                  <a:pt x="122" y="70"/>
                </a:cubicBezTo>
                <a:cubicBezTo>
                  <a:pt x="122" y="70"/>
                  <a:pt x="122" y="70"/>
                  <a:pt x="122" y="70"/>
                </a:cubicBezTo>
                <a:cubicBezTo>
                  <a:pt x="123" y="69"/>
                  <a:pt x="123" y="69"/>
                  <a:pt x="123" y="69"/>
                </a:cubicBezTo>
                <a:cubicBezTo>
                  <a:pt x="123" y="69"/>
                  <a:pt x="123" y="69"/>
                  <a:pt x="123" y="68"/>
                </a:cubicBezTo>
                <a:cubicBezTo>
                  <a:pt x="122" y="68"/>
                  <a:pt x="122" y="68"/>
                  <a:pt x="123" y="67"/>
                </a:cubicBezTo>
                <a:cubicBezTo>
                  <a:pt x="123" y="67"/>
                  <a:pt x="123" y="67"/>
                  <a:pt x="123" y="66"/>
                </a:cubicBezTo>
                <a:cubicBezTo>
                  <a:pt x="124" y="66"/>
                  <a:pt x="124" y="66"/>
                  <a:pt x="124" y="66"/>
                </a:cubicBezTo>
                <a:cubicBezTo>
                  <a:pt x="124" y="66"/>
                  <a:pt x="124" y="65"/>
                  <a:pt x="124" y="65"/>
                </a:cubicBezTo>
                <a:cubicBezTo>
                  <a:pt x="124" y="65"/>
                  <a:pt x="124" y="65"/>
                  <a:pt x="124" y="65"/>
                </a:cubicBezTo>
                <a:cubicBezTo>
                  <a:pt x="124" y="65"/>
                  <a:pt x="124" y="65"/>
                  <a:pt x="124" y="65"/>
                </a:cubicBezTo>
                <a:cubicBezTo>
                  <a:pt x="130" y="60"/>
                  <a:pt x="130" y="60"/>
                  <a:pt x="130" y="60"/>
                </a:cubicBezTo>
                <a:cubicBezTo>
                  <a:pt x="123" y="56"/>
                  <a:pt x="123" y="56"/>
                  <a:pt x="123" y="56"/>
                </a:cubicBezTo>
                <a:cubicBezTo>
                  <a:pt x="122" y="56"/>
                  <a:pt x="122" y="56"/>
                  <a:pt x="122" y="55"/>
                </a:cubicBezTo>
                <a:cubicBezTo>
                  <a:pt x="122" y="55"/>
                  <a:pt x="122" y="55"/>
                  <a:pt x="122" y="55"/>
                </a:cubicBezTo>
                <a:cubicBezTo>
                  <a:pt x="122" y="54"/>
                  <a:pt x="122" y="54"/>
                  <a:pt x="122" y="54"/>
                </a:cubicBezTo>
                <a:cubicBezTo>
                  <a:pt x="122" y="54"/>
                  <a:pt x="122" y="54"/>
                  <a:pt x="122" y="54"/>
                </a:cubicBezTo>
                <a:cubicBezTo>
                  <a:pt x="122" y="54"/>
                  <a:pt x="122" y="54"/>
                  <a:pt x="122" y="53"/>
                </a:cubicBezTo>
                <a:cubicBezTo>
                  <a:pt x="120" y="53"/>
                  <a:pt x="119" y="52"/>
                  <a:pt x="117" y="52"/>
                </a:cubicBezTo>
                <a:cubicBezTo>
                  <a:pt x="117" y="52"/>
                  <a:pt x="117" y="52"/>
                  <a:pt x="117" y="52"/>
                </a:cubicBezTo>
                <a:cubicBezTo>
                  <a:pt x="117" y="52"/>
                  <a:pt x="116" y="52"/>
                  <a:pt x="116" y="52"/>
                </a:cubicBezTo>
                <a:cubicBezTo>
                  <a:pt x="115" y="51"/>
                  <a:pt x="115" y="51"/>
                  <a:pt x="114" y="51"/>
                </a:cubicBezTo>
                <a:cubicBezTo>
                  <a:pt x="114" y="50"/>
                  <a:pt x="114" y="50"/>
                  <a:pt x="114" y="50"/>
                </a:cubicBezTo>
                <a:cubicBezTo>
                  <a:pt x="114" y="50"/>
                  <a:pt x="113" y="49"/>
                  <a:pt x="113" y="49"/>
                </a:cubicBezTo>
                <a:cubicBezTo>
                  <a:pt x="113" y="49"/>
                  <a:pt x="113" y="49"/>
                  <a:pt x="113" y="49"/>
                </a:cubicBezTo>
                <a:cubicBezTo>
                  <a:pt x="113" y="48"/>
                  <a:pt x="112" y="48"/>
                  <a:pt x="112" y="48"/>
                </a:cubicBezTo>
                <a:cubicBezTo>
                  <a:pt x="112" y="48"/>
                  <a:pt x="112" y="48"/>
                  <a:pt x="112" y="48"/>
                </a:cubicBezTo>
                <a:cubicBezTo>
                  <a:pt x="112" y="48"/>
                  <a:pt x="112" y="48"/>
                  <a:pt x="112" y="48"/>
                </a:cubicBezTo>
                <a:cubicBezTo>
                  <a:pt x="112" y="47"/>
                  <a:pt x="112" y="47"/>
                  <a:pt x="112" y="47"/>
                </a:cubicBezTo>
                <a:cubicBezTo>
                  <a:pt x="112" y="47"/>
                  <a:pt x="112" y="47"/>
                  <a:pt x="112" y="47"/>
                </a:cubicBezTo>
                <a:cubicBezTo>
                  <a:pt x="112" y="47"/>
                  <a:pt x="112" y="47"/>
                  <a:pt x="112" y="47"/>
                </a:cubicBezTo>
                <a:cubicBezTo>
                  <a:pt x="112" y="47"/>
                  <a:pt x="112" y="47"/>
                  <a:pt x="112" y="47"/>
                </a:cubicBezTo>
                <a:cubicBezTo>
                  <a:pt x="111" y="47"/>
                  <a:pt x="111" y="47"/>
                  <a:pt x="111" y="48"/>
                </a:cubicBezTo>
                <a:cubicBezTo>
                  <a:pt x="111" y="48"/>
                  <a:pt x="111" y="48"/>
                  <a:pt x="111" y="48"/>
                </a:cubicBezTo>
                <a:cubicBezTo>
                  <a:pt x="111" y="48"/>
                  <a:pt x="110" y="48"/>
                  <a:pt x="110" y="48"/>
                </a:cubicBezTo>
                <a:cubicBezTo>
                  <a:pt x="109" y="49"/>
                  <a:pt x="109" y="49"/>
                  <a:pt x="109" y="49"/>
                </a:cubicBezTo>
                <a:cubicBezTo>
                  <a:pt x="109" y="48"/>
                  <a:pt x="109" y="48"/>
                  <a:pt x="109" y="48"/>
                </a:cubicBezTo>
                <a:cubicBezTo>
                  <a:pt x="108" y="48"/>
                  <a:pt x="108" y="47"/>
                  <a:pt x="108" y="47"/>
                </a:cubicBezTo>
                <a:cubicBezTo>
                  <a:pt x="108" y="47"/>
                  <a:pt x="108" y="47"/>
                  <a:pt x="108" y="47"/>
                </a:cubicBezTo>
                <a:cubicBezTo>
                  <a:pt x="107" y="46"/>
                  <a:pt x="107" y="46"/>
                  <a:pt x="107" y="45"/>
                </a:cubicBezTo>
                <a:cubicBezTo>
                  <a:pt x="107" y="45"/>
                  <a:pt x="107" y="45"/>
                  <a:pt x="107" y="45"/>
                </a:cubicBezTo>
                <a:cubicBezTo>
                  <a:pt x="107" y="45"/>
                  <a:pt x="107" y="45"/>
                  <a:pt x="107" y="44"/>
                </a:cubicBezTo>
                <a:cubicBezTo>
                  <a:pt x="107" y="44"/>
                  <a:pt x="107" y="44"/>
                  <a:pt x="107" y="44"/>
                </a:cubicBezTo>
                <a:cubicBezTo>
                  <a:pt x="107" y="43"/>
                  <a:pt x="107" y="42"/>
                  <a:pt x="107" y="41"/>
                </a:cubicBezTo>
                <a:cubicBezTo>
                  <a:pt x="107" y="41"/>
                  <a:pt x="107" y="41"/>
                  <a:pt x="107" y="41"/>
                </a:cubicBezTo>
                <a:cubicBezTo>
                  <a:pt x="107" y="41"/>
                  <a:pt x="107" y="40"/>
                  <a:pt x="107" y="40"/>
                </a:cubicBezTo>
                <a:cubicBezTo>
                  <a:pt x="107" y="40"/>
                  <a:pt x="107" y="40"/>
                  <a:pt x="107" y="40"/>
                </a:cubicBezTo>
                <a:cubicBezTo>
                  <a:pt x="106" y="40"/>
                  <a:pt x="106" y="39"/>
                  <a:pt x="105" y="38"/>
                </a:cubicBezTo>
                <a:cubicBezTo>
                  <a:pt x="105" y="38"/>
                  <a:pt x="105" y="38"/>
                  <a:pt x="105" y="38"/>
                </a:cubicBezTo>
                <a:cubicBezTo>
                  <a:pt x="105" y="37"/>
                  <a:pt x="104" y="36"/>
                  <a:pt x="104" y="34"/>
                </a:cubicBezTo>
                <a:cubicBezTo>
                  <a:pt x="104" y="34"/>
                  <a:pt x="103" y="33"/>
                  <a:pt x="104" y="32"/>
                </a:cubicBezTo>
                <a:cubicBezTo>
                  <a:pt x="104" y="32"/>
                  <a:pt x="105" y="31"/>
                  <a:pt x="105" y="31"/>
                </a:cubicBezTo>
                <a:cubicBezTo>
                  <a:pt x="106" y="31"/>
                  <a:pt x="106" y="31"/>
                  <a:pt x="106" y="31"/>
                </a:cubicBezTo>
                <a:cubicBezTo>
                  <a:pt x="106" y="31"/>
                  <a:pt x="106" y="31"/>
                  <a:pt x="106" y="31"/>
                </a:cubicBezTo>
                <a:cubicBezTo>
                  <a:pt x="106" y="31"/>
                  <a:pt x="107" y="31"/>
                  <a:pt x="107" y="31"/>
                </a:cubicBezTo>
                <a:cubicBezTo>
                  <a:pt x="111" y="30"/>
                  <a:pt x="111" y="30"/>
                  <a:pt x="111" y="30"/>
                </a:cubicBezTo>
                <a:cubicBezTo>
                  <a:pt x="110" y="32"/>
                  <a:pt x="110" y="32"/>
                  <a:pt x="110" y="32"/>
                </a:cubicBezTo>
                <a:cubicBezTo>
                  <a:pt x="110" y="32"/>
                  <a:pt x="110" y="32"/>
                  <a:pt x="110" y="32"/>
                </a:cubicBezTo>
                <a:cubicBezTo>
                  <a:pt x="110" y="33"/>
                  <a:pt x="110" y="33"/>
                  <a:pt x="110" y="33"/>
                </a:cubicBezTo>
                <a:cubicBezTo>
                  <a:pt x="110" y="33"/>
                  <a:pt x="111" y="34"/>
                  <a:pt x="111" y="34"/>
                </a:cubicBezTo>
                <a:cubicBezTo>
                  <a:pt x="111" y="34"/>
                  <a:pt x="111" y="34"/>
                  <a:pt x="111" y="34"/>
                </a:cubicBezTo>
                <a:cubicBezTo>
                  <a:pt x="112" y="34"/>
                  <a:pt x="113" y="33"/>
                  <a:pt x="115" y="30"/>
                </a:cubicBezTo>
                <a:cubicBezTo>
                  <a:pt x="114" y="30"/>
                  <a:pt x="114" y="30"/>
                  <a:pt x="114" y="30"/>
                </a:cubicBezTo>
                <a:cubicBezTo>
                  <a:pt x="114" y="30"/>
                  <a:pt x="114" y="30"/>
                  <a:pt x="114" y="29"/>
                </a:cubicBezTo>
                <a:cubicBezTo>
                  <a:pt x="114" y="29"/>
                  <a:pt x="114" y="28"/>
                  <a:pt x="114" y="28"/>
                </a:cubicBezTo>
                <a:cubicBezTo>
                  <a:pt x="114" y="27"/>
                  <a:pt x="114" y="27"/>
                  <a:pt x="114" y="27"/>
                </a:cubicBezTo>
                <a:cubicBezTo>
                  <a:pt x="114" y="27"/>
                  <a:pt x="114" y="27"/>
                  <a:pt x="114" y="27"/>
                </a:cubicBezTo>
                <a:cubicBezTo>
                  <a:pt x="114" y="27"/>
                  <a:pt x="114" y="27"/>
                  <a:pt x="114" y="27"/>
                </a:cubicBezTo>
                <a:cubicBezTo>
                  <a:pt x="113" y="27"/>
                  <a:pt x="113" y="27"/>
                  <a:pt x="113" y="27"/>
                </a:cubicBezTo>
                <a:cubicBezTo>
                  <a:pt x="112" y="26"/>
                  <a:pt x="111" y="25"/>
                  <a:pt x="110" y="25"/>
                </a:cubicBezTo>
                <a:cubicBezTo>
                  <a:pt x="110" y="24"/>
                  <a:pt x="110" y="24"/>
                  <a:pt x="110" y="24"/>
                </a:cubicBezTo>
                <a:cubicBezTo>
                  <a:pt x="109" y="24"/>
                  <a:pt x="109" y="24"/>
                  <a:pt x="109" y="24"/>
                </a:cubicBezTo>
                <a:cubicBezTo>
                  <a:pt x="109" y="23"/>
                  <a:pt x="109" y="23"/>
                  <a:pt x="109" y="23"/>
                </a:cubicBezTo>
                <a:cubicBezTo>
                  <a:pt x="109" y="23"/>
                  <a:pt x="109" y="23"/>
                  <a:pt x="109" y="23"/>
                </a:cubicBezTo>
                <a:cubicBezTo>
                  <a:pt x="109" y="22"/>
                  <a:pt x="109" y="22"/>
                  <a:pt x="109" y="22"/>
                </a:cubicBezTo>
                <a:cubicBezTo>
                  <a:pt x="108" y="21"/>
                  <a:pt x="108" y="21"/>
                  <a:pt x="108" y="21"/>
                </a:cubicBezTo>
                <a:cubicBezTo>
                  <a:pt x="106" y="21"/>
                  <a:pt x="106" y="21"/>
                  <a:pt x="106" y="21"/>
                </a:cubicBezTo>
                <a:cubicBezTo>
                  <a:pt x="108" y="20"/>
                  <a:pt x="108" y="20"/>
                  <a:pt x="108" y="20"/>
                </a:cubicBezTo>
                <a:cubicBezTo>
                  <a:pt x="107" y="18"/>
                  <a:pt x="107" y="18"/>
                  <a:pt x="107" y="18"/>
                </a:cubicBezTo>
                <a:cubicBezTo>
                  <a:pt x="107" y="18"/>
                  <a:pt x="107" y="17"/>
                  <a:pt x="107" y="17"/>
                </a:cubicBezTo>
                <a:cubicBezTo>
                  <a:pt x="107" y="17"/>
                  <a:pt x="107" y="17"/>
                  <a:pt x="107" y="17"/>
                </a:cubicBezTo>
                <a:cubicBezTo>
                  <a:pt x="107" y="17"/>
                  <a:pt x="107" y="17"/>
                  <a:pt x="107" y="17"/>
                </a:cubicBezTo>
                <a:cubicBezTo>
                  <a:pt x="107" y="16"/>
                  <a:pt x="107" y="15"/>
                  <a:pt x="107" y="14"/>
                </a:cubicBezTo>
                <a:cubicBezTo>
                  <a:pt x="108" y="14"/>
                  <a:pt x="108" y="14"/>
                  <a:pt x="108" y="14"/>
                </a:cubicBezTo>
                <a:cubicBezTo>
                  <a:pt x="109" y="13"/>
                  <a:pt x="109" y="13"/>
                  <a:pt x="109" y="13"/>
                </a:cubicBezTo>
                <a:cubicBezTo>
                  <a:pt x="109" y="13"/>
                  <a:pt x="108" y="13"/>
                  <a:pt x="108" y="13"/>
                </a:cubicBezTo>
                <a:cubicBezTo>
                  <a:pt x="108" y="12"/>
                  <a:pt x="108" y="12"/>
                  <a:pt x="108" y="12"/>
                </a:cubicBezTo>
                <a:cubicBezTo>
                  <a:pt x="107" y="12"/>
                  <a:pt x="106" y="12"/>
                  <a:pt x="105" y="11"/>
                </a:cubicBezTo>
                <a:cubicBezTo>
                  <a:pt x="104" y="10"/>
                  <a:pt x="103" y="10"/>
                  <a:pt x="102" y="9"/>
                </a:cubicBezTo>
                <a:cubicBezTo>
                  <a:pt x="102" y="9"/>
                  <a:pt x="102" y="8"/>
                  <a:pt x="102" y="8"/>
                </a:cubicBezTo>
                <a:cubicBezTo>
                  <a:pt x="101" y="5"/>
                  <a:pt x="101" y="5"/>
                  <a:pt x="101" y="5"/>
                </a:cubicBezTo>
                <a:cubicBezTo>
                  <a:pt x="101" y="5"/>
                  <a:pt x="101" y="4"/>
                  <a:pt x="101" y="4"/>
                </a:cubicBezTo>
                <a:cubicBezTo>
                  <a:pt x="100" y="4"/>
                  <a:pt x="100" y="3"/>
                  <a:pt x="100" y="3"/>
                </a:cubicBezTo>
                <a:cubicBezTo>
                  <a:pt x="100" y="3"/>
                  <a:pt x="100" y="2"/>
                  <a:pt x="100" y="1"/>
                </a:cubicBezTo>
                <a:cubicBezTo>
                  <a:pt x="100" y="1"/>
                  <a:pt x="100" y="1"/>
                  <a:pt x="100" y="0"/>
                </a:cubicBezTo>
                <a:cubicBezTo>
                  <a:pt x="100" y="0"/>
                  <a:pt x="99" y="0"/>
                  <a:pt x="99" y="0"/>
                </a:cubicBezTo>
                <a:cubicBezTo>
                  <a:pt x="99" y="1"/>
                  <a:pt x="98" y="1"/>
                  <a:pt x="97" y="1"/>
                </a:cubicBezTo>
                <a:cubicBezTo>
                  <a:pt x="97" y="2"/>
                  <a:pt x="96" y="2"/>
                  <a:pt x="95" y="2"/>
                </a:cubicBezTo>
                <a:cubicBezTo>
                  <a:pt x="95" y="3"/>
                  <a:pt x="94" y="3"/>
                  <a:pt x="94" y="3"/>
                </a:cubicBezTo>
                <a:cubicBezTo>
                  <a:pt x="91" y="5"/>
                  <a:pt x="91" y="5"/>
                  <a:pt x="91" y="5"/>
                </a:cubicBezTo>
                <a:cubicBezTo>
                  <a:pt x="91" y="5"/>
                  <a:pt x="90" y="6"/>
                  <a:pt x="90" y="6"/>
                </a:cubicBezTo>
                <a:cubicBezTo>
                  <a:pt x="90" y="7"/>
                  <a:pt x="90" y="7"/>
                  <a:pt x="90" y="7"/>
                </a:cubicBezTo>
                <a:cubicBezTo>
                  <a:pt x="89" y="8"/>
                  <a:pt x="88" y="9"/>
                  <a:pt x="86" y="9"/>
                </a:cubicBezTo>
                <a:cubicBezTo>
                  <a:pt x="86" y="9"/>
                  <a:pt x="86" y="9"/>
                  <a:pt x="86" y="9"/>
                </a:cubicBezTo>
                <a:cubicBezTo>
                  <a:pt x="86" y="9"/>
                  <a:pt x="85" y="9"/>
                  <a:pt x="85" y="9"/>
                </a:cubicBezTo>
                <a:cubicBezTo>
                  <a:pt x="85" y="9"/>
                  <a:pt x="85" y="9"/>
                  <a:pt x="85" y="9"/>
                </a:cubicBezTo>
                <a:cubicBezTo>
                  <a:pt x="85" y="9"/>
                  <a:pt x="84" y="9"/>
                  <a:pt x="84" y="9"/>
                </a:cubicBezTo>
                <a:cubicBezTo>
                  <a:pt x="84" y="9"/>
                  <a:pt x="83" y="9"/>
                  <a:pt x="83" y="10"/>
                </a:cubicBezTo>
                <a:cubicBezTo>
                  <a:pt x="83" y="10"/>
                  <a:pt x="83" y="10"/>
                  <a:pt x="83" y="10"/>
                </a:cubicBezTo>
                <a:cubicBezTo>
                  <a:pt x="83" y="10"/>
                  <a:pt x="83" y="10"/>
                  <a:pt x="83" y="10"/>
                </a:cubicBezTo>
                <a:cubicBezTo>
                  <a:pt x="82" y="10"/>
                  <a:pt x="82" y="10"/>
                  <a:pt x="81" y="10"/>
                </a:cubicBezTo>
                <a:cubicBezTo>
                  <a:pt x="80" y="11"/>
                  <a:pt x="78" y="11"/>
                  <a:pt x="77" y="12"/>
                </a:cubicBezTo>
                <a:cubicBezTo>
                  <a:pt x="77" y="12"/>
                  <a:pt x="76" y="11"/>
                  <a:pt x="76" y="11"/>
                </a:cubicBezTo>
                <a:cubicBezTo>
                  <a:pt x="75" y="11"/>
                  <a:pt x="75" y="11"/>
                  <a:pt x="75" y="11"/>
                </a:cubicBezTo>
                <a:cubicBezTo>
                  <a:pt x="75" y="11"/>
                  <a:pt x="74" y="11"/>
                  <a:pt x="74" y="11"/>
                </a:cubicBezTo>
                <a:cubicBezTo>
                  <a:pt x="73" y="11"/>
                  <a:pt x="73" y="11"/>
                  <a:pt x="73" y="10"/>
                </a:cubicBezTo>
                <a:cubicBezTo>
                  <a:pt x="73" y="10"/>
                  <a:pt x="73" y="10"/>
                  <a:pt x="73" y="10"/>
                </a:cubicBezTo>
                <a:cubicBezTo>
                  <a:pt x="72" y="10"/>
                  <a:pt x="72" y="10"/>
                  <a:pt x="72" y="10"/>
                </a:cubicBezTo>
                <a:cubicBezTo>
                  <a:pt x="71" y="10"/>
                  <a:pt x="71" y="10"/>
                  <a:pt x="71" y="10"/>
                </a:cubicBezTo>
                <a:cubicBezTo>
                  <a:pt x="70" y="10"/>
                  <a:pt x="69" y="10"/>
                  <a:pt x="69" y="10"/>
                </a:cubicBezTo>
                <a:cubicBezTo>
                  <a:pt x="68" y="9"/>
                  <a:pt x="67" y="9"/>
                  <a:pt x="66" y="9"/>
                </a:cubicBezTo>
                <a:cubicBezTo>
                  <a:pt x="66" y="9"/>
                  <a:pt x="65" y="9"/>
                  <a:pt x="64" y="9"/>
                </a:cubicBezTo>
                <a:cubicBezTo>
                  <a:pt x="64" y="9"/>
                  <a:pt x="64" y="9"/>
                  <a:pt x="64" y="9"/>
                </a:cubicBezTo>
                <a:cubicBezTo>
                  <a:pt x="63" y="9"/>
                  <a:pt x="62" y="10"/>
                  <a:pt x="61" y="10"/>
                </a:cubicBezTo>
                <a:cubicBezTo>
                  <a:pt x="60" y="10"/>
                  <a:pt x="60" y="10"/>
                  <a:pt x="60" y="10"/>
                </a:cubicBezTo>
                <a:cubicBezTo>
                  <a:pt x="60" y="10"/>
                  <a:pt x="60" y="10"/>
                  <a:pt x="60" y="10"/>
                </a:cubicBezTo>
                <a:cubicBezTo>
                  <a:pt x="60" y="10"/>
                  <a:pt x="59" y="11"/>
                  <a:pt x="59" y="11"/>
                </a:cubicBezTo>
                <a:cubicBezTo>
                  <a:pt x="59" y="11"/>
                  <a:pt x="59" y="11"/>
                  <a:pt x="59" y="11"/>
                </a:cubicBezTo>
                <a:cubicBezTo>
                  <a:pt x="59" y="12"/>
                  <a:pt x="59" y="12"/>
                  <a:pt x="59" y="12"/>
                </a:cubicBezTo>
                <a:cubicBezTo>
                  <a:pt x="59" y="12"/>
                  <a:pt x="60" y="12"/>
                  <a:pt x="60" y="12"/>
                </a:cubicBezTo>
                <a:cubicBezTo>
                  <a:pt x="60" y="12"/>
                  <a:pt x="60" y="12"/>
                  <a:pt x="60" y="12"/>
                </a:cubicBezTo>
                <a:cubicBezTo>
                  <a:pt x="61" y="12"/>
                  <a:pt x="61" y="12"/>
                  <a:pt x="61" y="12"/>
                </a:cubicBezTo>
                <a:cubicBezTo>
                  <a:pt x="61" y="13"/>
                  <a:pt x="61" y="14"/>
                  <a:pt x="61" y="15"/>
                </a:cubicBezTo>
                <a:cubicBezTo>
                  <a:pt x="62" y="15"/>
                  <a:pt x="63" y="15"/>
                  <a:pt x="64" y="16"/>
                </a:cubicBezTo>
                <a:cubicBezTo>
                  <a:pt x="64" y="17"/>
                  <a:pt x="64" y="18"/>
                  <a:pt x="63" y="18"/>
                </a:cubicBezTo>
                <a:cubicBezTo>
                  <a:pt x="63" y="19"/>
                  <a:pt x="63" y="19"/>
                  <a:pt x="63" y="19"/>
                </a:cubicBezTo>
                <a:cubicBezTo>
                  <a:pt x="62" y="19"/>
                  <a:pt x="62" y="19"/>
                  <a:pt x="62" y="19"/>
                </a:cubicBezTo>
                <a:cubicBezTo>
                  <a:pt x="62" y="19"/>
                  <a:pt x="62" y="19"/>
                  <a:pt x="62" y="19"/>
                </a:cubicBezTo>
                <a:cubicBezTo>
                  <a:pt x="62" y="19"/>
                  <a:pt x="62" y="19"/>
                  <a:pt x="62" y="19"/>
                </a:cubicBezTo>
                <a:cubicBezTo>
                  <a:pt x="61" y="19"/>
                  <a:pt x="61" y="19"/>
                  <a:pt x="61" y="19"/>
                </a:cubicBezTo>
                <a:cubicBezTo>
                  <a:pt x="61" y="20"/>
                  <a:pt x="62" y="20"/>
                  <a:pt x="62" y="20"/>
                </a:cubicBezTo>
                <a:cubicBezTo>
                  <a:pt x="62" y="20"/>
                  <a:pt x="62" y="20"/>
                  <a:pt x="62" y="20"/>
                </a:cubicBezTo>
                <a:cubicBezTo>
                  <a:pt x="63" y="22"/>
                  <a:pt x="62" y="24"/>
                  <a:pt x="62" y="24"/>
                </a:cubicBezTo>
                <a:cubicBezTo>
                  <a:pt x="62" y="25"/>
                  <a:pt x="62" y="25"/>
                  <a:pt x="62" y="25"/>
                </a:cubicBezTo>
                <a:cubicBezTo>
                  <a:pt x="62" y="26"/>
                  <a:pt x="62" y="26"/>
                  <a:pt x="62" y="26"/>
                </a:cubicBezTo>
                <a:cubicBezTo>
                  <a:pt x="62" y="26"/>
                  <a:pt x="62" y="27"/>
                  <a:pt x="63" y="27"/>
                </a:cubicBezTo>
                <a:cubicBezTo>
                  <a:pt x="64" y="29"/>
                  <a:pt x="64" y="29"/>
                  <a:pt x="64" y="29"/>
                </a:cubicBezTo>
                <a:cubicBezTo>
                  <a:pt x="64" y="29"/>
                  <a:pt x="64" y="29"/>
                  <a:pt x="64" y="29"/>
                </a:cubicBezTo>
                <a:cubicBezTo>
                  <a:pt x="64" y="29"/>
                  <a:pt x="64" y="29"/>
                  <a:pt x="65" y="29"/>
                </a:cubicBezTo>
                <a:cubicBezTo>
                  <a:pt x="66" y="29"/>
                  <a:pt x="66" y="28"/>
                  <a:pt x="67" y="28"/>
                </a:cubicBezTo>
                <a:cubicBezTo>
                  <a:pt x="69" y="28"/>
                  <a:pt x="69" y="28"/>
                  <a:pt x="69" y="28"/>
                </a:cubicBezTo>
                <a:cubicBezTo>
                  <a:pt x="68" y="31"/>
                  <a:pt x="68" y="31"/>
                  <a:pt x="68" y="31"/>
                </a:cubicBezTo>
                <a:cubicBezTo>
                  <a:pt x="68" y="31"/>
                  <a:pt x="68" y="31"/>
                  <a:pt x="68" y="31"/>
                </a:cubicBezTo>
                <a:cubicBezTo>
                  <a:pt x="68" y="31"/>
                  <a:pt x="68" y="31"/>
                  <a:pt x="68" y="31"/>
                </a:cubicBezTo>
                <a:cubicBezTo>
                  <a:pt x="68" y="31"/>
                  <a:pt x="68" y="31"/>
                  <a:pt x="68" y="31"/>
                </a:cubicBezTo>
                <a:cubicBezTo>
                  <a:pt x="68" y="32"/>
                  <a:pt x="68" y="32"/>
                  <a:pt x="68" y="32"/>
                </a:cubicBezTo>
                <a:cubicBezTo>
                  <a:pt x="68" y="32"/>
                  <a:pt x="68" y="32"/>
                  <a:pt x="68" y="32"/>
                </a:cubicBezTo>
                <a:cubicBezTo>
                  <a:pt x="68" y="32"/>
                  <a:pt x="68" y="33"/>
                  <a:pt x="69" y="33"/>
                </a:cubicBezTo>
                <a:cubicBezTo>
                  <a:pt x="70" y="33"/>
                  <a:pt x="70" y="33"/>
                  <a:pt x="70" y="33"/>
                </a:cubicBezTo>
                <a:cubicBezTo>
                  <a:pt x="71" y="33"/>
                  <a:pt x="71" y="33"/>
                  <a:pt x="72" y="33"/>
                </a:cubicBezTo>
                <a:cubicBezTo>
                  <a:pt x="72" y="33"/>
                  <a:pt x="72" y="33"/>
                  <a:pt x="72" y="33"/>
                </a:cubicBezTo>
                <a:cubicBezTo>
                  <a:pt x="73" y="33"/>
                  <a:pt x="73" y="33"/>
                  <a:pt x="73" y="33"/>
                </a:cubicBezTo>
                <a:cubicBezTo>
                  <a:pt x="73" y="34"/>
                  <a:pt x="73" y="34"/>
                  <a:pt x="74" y="34"/>
                </a:cubicBezTo>
                <a:cubicBezTo>
                  <a:pt x="74" y="35"/>
                  <a:pt x="75" y="36"/>
                  <a:pt x="74" y="37"/>
                </a:cubicBezTo>
                <a:cubicBezTo>
                  <a:pt x="74" y="39"/>
                  <a:pt x="72" y="39"/>
                  <a:pt x="71" y="40"/>
                </a:cubicBezTo>
                <a:cubicBezTo>
                  <a:pt x="71" y="40"/>
                  <a:pt x="71" y="40"/>
                  <a:pt x="71" y="40"/>
                </a:cubicBezTo>
                <a:cubicBezTo>
                  <a:pt x="71" y="40"/>
                  <a:pt x="70" y="40"/>
                  <a:pt x="70" y="40"/>
                </a:cubicBezTo>
                <a:cubicBezTo>
                  <a:pt x="69" y="40"/>
                  <a:pt x="69" y="40"/>
                  <a:pt x="69" y="40"/>
                </a:cubicBezTo>
                <a:cubicBezTo>
                  <a:pt x="69" y="40"/>
                  <a:pt x="69" y="40"/>
                  <a:pt x="69" y="41"/>
                </a:cubicBezTo>
                <a:cubicBezTo>
                  <a:pt x="69" y="41"/>
                  <a:pt x="68" y="41"/>
                  <a:pt x="68" y="41"/>
                </a:cubicBezTo>
                <a:cubicBezTo>
                  <a:pt x="68" y="41"/>
                  <a:pt x="68" y="41"/>
                  <a:pt x="68" y="41"/>
                </a:cubicBezTo>
                <a:cubicBezTo>
                  <a:pt x="68" y="41"/>
                  <a:pt x="68" y="41"/>
                  <a:pt x="67" y="41"/>
                </a:cubicBezTo>
                <a:cubicBezTo>
                  <a:pt x="67" y="41"/>
                  <a:pt x="67" y="41"/>
                  <a:pt x="67" y="41"/>
                </a:cubicBezTo>
                <a:cubicBezTo>
                  <a:pt x="67" y="42"/>
                  <a:pt x="66" y="42"/>
                  <a:pt x="66" y="42"/>
                </a:cubicBezTo>
                <a:cubicBezTo>
                  <a:pt x="66" y="42"/>
                  <a:pt x="66" y="42"/>
                  <a:pt x="66" y="42"/>
                </a:cubicBezTo>
                <a:cubicBezTo>
                  <a:pt x="66" y="43"/>
                  <a:pt x="66" y="43"/>
                  <a:pt x="66" y="43"/>
                </a:cubicBezTo>
                <a:cubicBezTo>
                  <a:pt x="67" y="44"/>
                  <a:pt x="67" y="45"/>
                  <a:pt x="67" y="46"/>
                </a:cubicBezTo>
                <a:cubicBezTo>
                  <a:pt x="67" y="46"/>
                  <a:pt x="67" y="46"/>
                  <a:pt x="67" y="46"/>
                </a:cubicBezTo>
                <a:cubicBezTo>
                  <a:pt x="67" y="46"/>
                  <a:pt x="67" y="47"/>
                  <a:pt x="67" y="47"/>
                </a:cubicBezTo>
                <a:cubicBezTo>
                  <a:pt x="67" y="48"/>
                  <a:pt x="67" y="48"/>
                  <a:pt x="67" y="48"/>
                </a:cubicBezTo>
                <a:cubicBezTo>
                  <a:pt x="67" y="49"/>
                  <a:pt x="67" y="49"/>
                  <a:pt x="67" y="49"/>
                </a:cubicBezTo>
                <a:cubicBezTo>
                  <a:pt x="68" y="51"/>
                  <a:pt x="67" y="52"/>
                  <a:pt x="66" y="52"/>
                </a:cubicBezTo>
                <a:cubicBezTo>
                  <a:pt x="65" y="53"/>
                  <a:pt x="64" y="54"/>
                  <a:pt x="63" y="54"/>
                </a:cubicBezTo>
                <a:cubicBezTo>
                  <a:pt x="63" y="54"/>
                  <a:pt x="63" y="54"/>
                  <a:pt x="63" y="54"/>
                </a:cubicBezTo>
                <a:cubicBezTo>
                  <a:pt x="63" y="55"/>
                  <a:pt x="62" y="55"/>
                  <a:pt x="62" y="55"/>
                </a:cubicBezTo>
                <a:cubicBezTo>
                  <a:pt x="62" y="55"/>
                  <a:pt x="62" y="55"/>
                  <a:pt x="62" y="55"/>
                </a:cubicBezTo>
                <a:cubicBezTo>
                  <a:pt x="61" y="56"/>
                  <a:pt x="61" y="56"/>
                  <a:pt x="60" y="57"/>
                </a:cubicBezTo>
                <a:cubicBezTo>
                  <a:pt x="60" y="57"/>
                  <a:pt x="60" y="57"/>
                  <a:pt x="60" y="57"/>
                </a:cubicBezTo>
                <a:cubicBezTo>
                  <a:pt x="60" y="57"/>
                  <a:pt x="60" y="57"/>
                  <a:pt x="60" y="58"/>
                </a:cubicBezTo>
                <a:cubicBezTo>
                  <a:pt x="60" y="58"/>
                  <a:pt x="60" y="58"/>
                  <a:pt x="60" y="58"/>
                </a:cubicBezTo>
                <a:cubicBezTo>
                  <a:pt x="60" y="58"/>
                  <a:pt x="60" y="58"/>
                  <a:pt x="60" y="58"/>
                </a:cubicBezTo>
                <a:cubicBezTo>
                  <a:pt x="60" y="58"/>
                  <a:pt x="60" y="59"/>
                  <a:pt x="60" y="59"/>
                </a:cubicBezTo>
                <a:cubicBezTo>
                  <a:pt x="61" y="60"/>
                  <a:pt x="61" y="60"/>
                  <a:pt x="61" y="60"/>
                </a:cubicBezTo>
                <a:cubicBezTo>
                  <a:pt x="60" y="60"/>
                  <a:pt x="60" y="60"/>
                  <a:pt x="60" y="60"/>
                </a:cubicBezTo>
                <a:cubicBezTo>
                  <a:pt x="59" y="61"/>
                  <a:pt x="59" y="61"/>
                  <a:pt x="58" y="61"/>
                </a:cubicBezTo>
                <a:cubicBezTo>
                  <a:pt x="58" y="62"/>
                  <a:pt x="58" y="62"/>
                  <a:pt x="58" y="62"/>
                </a:cubicBezTo>
                <a:cubicBezTo>
                  <a:pt x="57" y="62"/>
                  <a:pt x="56" y="62"/>
                  <a:pt x="55" y="63"/>
                </a:cubicBezTo>
                <a:cubicBezTo>
                  <a:pt x="55" y="63"/>
                  <a:pt x="55" y="63"/>
                  <a:pt x="55" y="63"/>
                </a:cubicBezTo>
                <a:cubicBezTo>
                  <a:pt x="54" y="64"/>
                  <a:pt x="54" y="65"/>
                  <a:pt x="54" y="65"/>
                </a:cubicBezTo>
                <a:cubicBezTo>
                  <a:pt x="54" y="66"/>
                  <a:pt x="54" y="66"/>
                  <a:pt x="54" y="66"/>
                </a:cubicBezTo>
                <a:cubicBezTo>
                  <a:pt x="54" y="67"/>
                  <a:pt x="54" y="67"/>
                  <a:pt x="54" y="67"/>
                </a:cubicBezTo>
                <a:cubicBezTo>
                  <a:pt x="53" y="67"/>
                  <a:pt x="53" y="67"/>
                  <a:pt x="53" y="67"/>
                </a:cubicBezTo>
                <a:cubicBezTo>
                  <a:pt x="53" y="68"/>
                  <a:pt x="52" y="69"/>
                  <a:pt x="52" y="69"/>
                </a:cubicBezTo>
                <a:cubicBezTo>
                  <a:pt x="52" y="70"/>
                  <a:pt x="52" y="70"/>
                  <a:pt x="52" y="70"/>
                </a:cubicBezTo>
                <a:cubicBezTo>
                  <a:pt x="52" y="70"/>
                  <a:pt x="51" y="71"/>
                  <a:pt x="51" y="71"/>
                </a:cubicBezTo>
                <a:cubicBezTo>
                  <a:pt x="50" y="73"/>
                  <a:pt x="49" y="74"/>
                  <a:pt x="47" y="75"/>
                </a:cubicBezTo>
                <a:cubicBezTo>
                  <a:pt x="47" y="75"/>
                  <a:pt x="47" y="75"/>
                  <a:pt x="47" y="75"/>
                </a:cubicBezTo>
                <a:cubicBezTo>
                  <a:pt x="47" y="75"/>
                  <a:pt x="47" y="75"/>
                  <a:pt x="46" y="75"/>
                </a:cubicBezTo>
                <a:cubicBezTo>
                  <a:pt x="45" y="76"/>
                  <a:pt x="45" y="76"/>
                  <a:pt x="44" y="77"/>
                </a:cubicBezTo>
                <a:cubicBezTo>
                  <a:pt x="45" y="77"/>
                  <a:pt x="45" y="77"/>
                  <a:pt x="45" y="77"/>
                </a:cubicBezTo>
                <a:cubicBezTo>
                  <a:pt x="44" y="77"/>
                  <a:pt x="44" y="77"/>
                  <a:pt x="44" y="77"/>
                </a:cubicBezTo>
                <a:cubicBezTo>
                  <a:pt x="38" y="86"/>
                  <a:pt x="38" y="86"/>
                  <a:pt x="38" y="86"/>
                </a:cubicBezTo>
                <a:cubicBezTo>
                  <a:pt x="37" y="86"/>
                  <a:pt x="37" y="86"/>
                  <a:pt x="36" y="86"/>
                </a:cubicBezTo>
                <a:cubicBezTo>
                  <a:pt x="36" y="86"/>
                  <a:pt x="35" y="87"/>
                  <a:pt x="34" y="87"/>
                </a:cubicBezTo>
                <a:cubicBezTo>
                  <a:pt x="33" y="87"/>
                  <a:pt x="33" y="87"/>
                  <a:pt x="33" y="87"/>
                </a:cubicBezTo>
                <a:cubicBezTo>
                  <a:pt x="33" y="87"/>
                  <a:pt x="33" y="87"/>
                  <a:pt x="33" y="87"/>
                </a:cubicBezTo>
                <a:cubicBezTo>
                  <a:pt x="33" y="87"/>
                  <a:pt x="32" y="87"/>
                  <a:pt x="32" y="87"/>
                </a:cubicBezTo>
                <a:cubicBezTo>
                  <a:pt x="32" y="87"/>
                  <a:pt x="32" y="87"/>
                  <a:pt x="32" y="87"/>
                </a:cubicBezTo>
                <a:cubicBezTo>
                  <a:pt x="32" y="87"/>
                  <a:pt x="32" y="87"/>
                  <a:pt x="32" y="87"/>
                </a:cubicBezTo>
                <a:cubicBezTo>
                  <a:pt x="31" y="87"/>
                  <a:pt x="30" y="87"/>
                  <a:pt x="29" y="88"/>
                </a:cubicBezTo>
                <a:cubicBezTo>
                  <a:pt x="29" y="88"/>
                  <a:pt x="29" y="88"/>
                  <a:pt x="29" y="88"/>
                </a:cubicBezTo>
                <a:cubicBezTo>
                  <a:pt x="28" y="88"/>
                  <a:pt x="27" y="88"/>
                  <a:pt x="26" y="88"/>
                </a:cubicBezTo>
                <a:cubicBezTo>
                  <a:pt x="26" y="87"/>
                  <a:pt x="26" y="87"/>
                  <a:pt x="26" y="87"/>
                </a:cubicBezTo>
                <a:cubicBezTo>
                  <a:pt x="26" y="87"/>
                  <a:pt x="26" y="87"/>
                  <a:pt x="26" y="87"/>
                </a:cubicBezTo>
                <a:cubicBezTo>
                  <a:pt x="25" y="87"/>
                  <a:pt x="25" y="86"/>
                  <a:pt x="25" y="86"/>
                </a:cubicBezTo>
                <a:cubicBezTo>
                  <a:pt x="25" y="86"/>
                  <a:pt x="24" y="85"/>
                  <a:pt x="24" y="85"/>
                </a:cubicBezTo>
                <a:cubicBezTo>
                  <a:pt x="24" y="85"/>
                  <a:pt x="24" y="85"/>
                  <a:pt x="24" y="85"/>
                </a:cubicBezTo>
                <a:cubicBezTo>
                  <a:pt x="24" y="85"/>
                  <a:pt x="24" y="85"/>
                  <a:pt x="24" y="85"/>
                </a:cubicBezTo>
                <a:cubicBezTo>
                  <a:pt x="24" y="85"/>
                  <a:pt x="24" y="85"/>
                  <a:pt x="24" y="85"/>
                </a:cubicBezTo>
                <a:cubicBezTo>
                  <a:pt x="24" y="85"/>
                  <a:pt x="24" y="85"/>
                  <a:pt x="24" y="85"/>
                </a:cubicBezTo>
                <a:cubicBezTo>
                  <a:pt x="24" y="85"/>
                  <a:pt x="24" y="85"/>
                  <a:pt x="23" y="85"/>
                </a:cubicBezTo>
                <a:cubicBezTo>
                  <a:pt x="23" y="85"/>
                  <a:pt x="23" y="85"/>
                  <a:pt x="23" y="85"/>
                </a:cubicBezTo>
                <a:cubicBezTo>
                  <a:pt x="23" y="85"/>
                  <a:pt x="23" y="85"/>
                  <a:pt x="23" y="85"/>
                </a:cubicBezTo>
                <a:cubicBezTo>
                  <a:pt x="23" y="85"/>
                  <a:pt x="23" y="85"/>
                  <a:pt x="22" y="86"/>
                </a:cubicBezTo>
                <a:cubicBezTo>
                  <a:pt x="22" y="86"/>
                  <a:pt x="22" y="86"/>
                  <a:pt x="22" y="86"/>
                </a:cubicBezTo>
                <a:cubicBezTo>
                  <a:pt x="21" y="87"/>
                  <a:pt x="21" y="87"/>
                  <a:pt x="21" y="87"/>
                </a:cubicBezTo>
                <a:cubicBezTo>
                  <a:pt x="21" y="87"/>
                  <a:pt x="21" y="87"/>
                  <a:pt x="21" y="87"/>
                </a:cubicBezTo>
                <a:cubicBezTo>
                  <a:pt x="21" y="87"/>
                  <a:pt x="21" y="87"/>
                  <a:pt x="21" y="87"/>
                </a:cubicBezTo>
                <a:cubicBezTo>
                  <a:pt x="21" y="87"/>
                  <a:pt x="20" y="88"/>
                  <a:pt x="20" y="88"/>
                </a:cubicBezTo>
                <a:cubicBezTo>
                  <a:pt x="20" y="89"/>
                  <a:pt x="19" y="89"/>
                  <a:pt x="19" y="90"/>
                </a:cubicBezTo>
                <a:cubicBezTo>
                  <a:pt x="18" y="91"/>
                  <a:pt x="17" y="92"/>
                  <a:pt x="16" y="94"/>
                </a:cubicBezTo>
                <a:cubicBezTo>
                  <a:pt x="15" y="95"/>
                  <a:pt x="15" y="96"/>
                  <a:pt x="15" y="97"/>
                </a:cubicBezTo>
                <a:cubicBezTo>
                  <a:pt x="15" y="97"/>
                  <a:pt x="15" y="97"/>
                  <a:pt x="15" y="97"/>
                </a:cubicBezTo>
                <a:cubicBezTo>
                  <a:pt x="15" y="97"/>
                  <a:pt x="16" y="98"/>
                  <a:pt x="17" y="98"/>
                </a:cubicBezTo>
                <a:cubicBezTo>
                  <a:pt x="17" y="98"/>
                  <a:pt x="17" y="98"/>
                  <a:pt x="17" y="98"/>
                </a:cubicBezTo>
                <a:cubicBezTo>
                  <a:pt x="18" y="98"/>
                  <a:pt x="18" y="98"/>
                  <a:pt x="19" y="98"/>
                </a:cubicBezTo>
                <a:cubicBezTo>
                  <a:pt x="19" y="98"/>
                  <a:pt x="19" y="98"/>
                  <a:pt x="20" y="98"/>
                </a:cubicBezTo>
                <a:cubicBezTo>
                  <a:pt x="20" y="98"/>
                  <a:pt x="20" y="98"/>
                  <a:pt x="21" y="99"/>
                </a:cubicBezTo>
                <a:cubicBezTo>
                  <a:pt x="21" y="99"/>
                  <a:pt x="22" y="100"/>
                  <a:pt x="22" y="100"/>
                </a:cubicBezTo>
                <a:cubicBezTo>
                  <a:pt x="22" y="101"/>
                  <a:pt x="22" y="102"/>
                  <a:pt x="22" y="103"/>
                </a:cubicBezTo>
                <a:cubicBezTo>
                  <a:pt x="22" y="103"/>
                  <a:pt x="22" y="104"/>
                  <a:pt x="22" y="105"/>
                </a:cubicBezTo>
                <a:cubicBezTo>
                  <a:pt x="22" y="105"/>
                  <a:pt x="22" y="105"/>
                  <a:pt x="22" y="105"/>
                </a:cubicBezTo>
                <a:cubicBezTo>
                  <a:pt x="22" y="106"/>
                  <a:pt x="22" y="106"/>
                  <a:pt x="22" y="106"/>
                </a:cubicBezTo>
                <a:cubicBezTo>
                  <a:pt x="22" y="107"/>
                  <a:pt x="22" y="107"/>
                  <a:pt x="23" y="108"/>
                </a:cubicBezTo>
                <a:cubicBezTo>
                  <a:pt x="23" y="108"/>
                  <a:pt x="23" y="108"/>
                  <a:pt x="23" y="108"/>
                </a:cubicBezTo>
                <a:cubicBezTo>
                  <a:pt x="23" y="108"/>
                  <a:pt x="23" y="108"/>
                  <a:pt x="23" y="108"/>
                </a:cubicBezTo>
                <a:cubicBezTo>
                  <a:pt x="24" y="108"/>
                  <a:pt x="24" y="108"/>
                  <a:pt x="24" y="108"/>
                </a:cubicBezTo>
                <a:cubicBezTo>
                  <a:pt x="24" y="108"/>
                  <a:pt x="24" y="108"/>
                  <a:pt x="24" y="108"/>
                </a:cubicBezTo>
                <a:cubicBezTo>
                  <a:pt x="24" y="108"/>
                  <a:pt x="24" y="108"/>
                  <a:pt x="24" y="108"/>
                </a:cubicBezTo>
                <a:cubicBezTo>
                  <a:pt x="24" y="108"/>
                  <a:pt x="24" y="108"/>
                  <a:pt x="24" y="108"/>
                </a:cubicBezTo>
                <a:cubicBezTo>
                  <a:pt x="24" y="108"/>
                  <a:pt x="24" y="108"/>
                  <a:pt x="25" y="108"/>
                </a:cubicBezTo>
                <a:cubicBezTo>
                  <a:pt x="25" y="108"/>
                  <a:pt x="25" y="108"/>
                  <a:pt x="25" y="108"/>
                </a:cubicBezTo>
                <a:cubicBezTo>
                  <a:pt x="26" y="108"/>
                  <a:pt x="27" y="109"/>
                  <a:pt x="27" y="109"/>
                </a:cubicBezTo>
                <a:cubicBezTo>
                  <a:pt x="27" y="110"/>
                  <a:pt x="27" y="110"/>
                  <a:pt x="27" y="110"/>
                </a:cubicBezTo>
                <a:cubicBezTo>
                  <a:pt x="27" y="111"/>
                  <a:pt x="28" y="112"/>
                  <a:pt x="28" y="112"/>
                </a:cubicBezTo>
                <a:cubicBezTo>
                  <a:pt x="28" y="113"/>
                  <a:pt x="28" y="113"/>
                  <a:pt x="28" y="113"/>
                </a:cubicBezTo>
                <a:cubicBezTo>
                  <a:pt x="28" y="114"/>
                  <a:pt x="28" y="114"/>
                  <a:pt x="28" y="114"/>
                </a:cubicBezTo>
                <a:cubicBezTo>
                  <a:pt x="28" y="114"/>
                  <a:pt x="28" y="114"/>
                  <a:pt x="28" y="114"/>
                </a:cubicBezTo>
                <a:cubicBezTo>
                  <a:pt x="31" y="118"/>
                  <a:pt x="31" y="118"/>
                  <a:pt x="31" y="118"/>
                </a:cubicBezTo>
                <a:cubicBezTo>
                  <a:pt x="31" y="119"/>
                  <a:pt x="31" y="120"/>
                  <a:pt x="31" y="120"/>
                </a:cubicBezTo>
                <a:cubicBezTo>
                  <a:pt x="31" y="121"/>
                  <a:pt x="31" y="121"/>
                  <a:pt x="30" y="121"/>
                </a:cubicBezTo>
                <a:cubicBezTo>
                  <a:pt x="30" y="121"/>
                  <a:pt x="30" y="121"/>
                  <a:pt x="30" y="122"/>
                </a:cubicBezTo>
                <a:cubicBezTo>
                  <a:pt x="30" y="122"/>
                  <a:pt x="31" y="122"/>
                  <a:pt x="31" y="122"/>
                </a:cubicBezTo>
                <a:cubicBezTo>
                  <a:pt x="31" y="122"/>
                  <a:pt x="31" y="122"/>
                  <a:pt x="31" y="122"/>
                </a:cubicBezTo>
                <a:cubicBezTo>
                  <a:pt x="31" y="123"/>
                  <a:pt x="31" y="123"/>
                  <a:pt x="31" y="123"/>
                </a:cubicBezTo>
                <a:cubicBezTo>
                  <a:pt x="31" y="123"/>
                  <a:pt x="31" y="123"/>
                  <a:pt x="31" y="123"/>
                </a:cubicBezTo>
                <a:cubicBezTo>
                  <a:pt x="31" y="123"/>
                  <a:pt x="31" y="124"/>
                  <a:pt x="30" y="124"/>
                </a:cubicBezTo>
                <a:cubicBezTo>
                  <a:pt x="30" y="125"/>
                  <a:pt x="30" y="125"/>
                  <a:pt x="29" y="125"/>
                </a:cubicBezTo>
                <a:cubicBezTo>
                  <a:pt x="29" y="125"/>
                  <a:pt x="29" y="125"/>
                  <a:pt x="29" y="125"/>
                </a:cubicBezTo>
                <a:cubicBezTo>
                  <a:pt x="29" y="125"/>
                  <a:pt x="29" y="125"/>
                  <a:pt x="29" y="125"/>
                </a:cubicBezTo>
                <a:cubicBezTo>
                  <a:pt x="29" y="125"/>
                  <a:pt x="29" y="125"/>
                  <a:pt x="29" y="125"/>
                </a:cubicBezTo>
                <a:cubicBezTo>
                  <a:pt x="29" y="126"/>
                  <a:pt x="29" y="126"/>
                  <a:pt x="29" y="126"/>
                </a:cubicBezTo>
                <a:cubicBezTo>
                  <a:pt x="28" y="126"/>
                  <a:pt x="28" y="126"/>
                  <a:pt x="28" y="126"/>
                </a:cubicBezTo>
                <a:cubicBezTo>
                  <a:pt x="28" y="126"/>
                  <a:pt x="27" y="126"/>
                  <a:pt x="26" y="126"/>
                </a:cubicBezTo>
                <a:cubicBezTo>
                  <a:pt x="26" y="126"/>
                  <a:pt x="25" y="125"/>
                  <a:pt x="25" y="125"/>
                </a:cubicBezTo>
                <a:cubicBezTo>
                  <a:pt x="24" y="125"/>
                  <a:pt x="24" y="125"/>
                  <a:pt x="24" y="125"/>
                </a:cubicBezTo>
                <a:cubicBezTo>
                  <a:pt x="24" y="124"/>
                  <a:pt x="24" y="124"/>
                  <a:pt x="24" y="124"/>
                </a:cubicBezTo>
                <a:cubicBezTo>
                  <a:pt x="24" y="124"/>
                  <a:pt x="24" y="124"/>
                  <a:pt x="24" y="124"/>
                </a:cubicBezTo>
                <a:cubicBezTo>
                  <a:pt x="23" y="125"/>
                  <a:pt x="23" y="125"/>
                  <a:pt x="23" y="125"/>
                </a:cubicBezTo>
                <a:cubicBezTo>
                  <a:pt x="22" y="125"/>
                  <a:pt x="21" y="125"/>
                  <a:pt x="21" y="125"/>
                </a:cubicBezTo>
                <a:cubicBezTo>
                  <a:pt x="21" y="125"/>
                  <a:pt x="21" y="125"/>
                  <a:pt x="21" y="125"/>
                </a:cubicBezTo>
                <a:cubicBezTo>
                  <a:pt x="20" y="126"/>
                  <a:pt x="20" y="126"/>
                  <a:pt x="20" y="126"/>
                </a:cubicBezTo>
                <a:cubicBezTo>
                  <a:pt x="20" y="127"/>
                  <a:pt x="20" y="127"/>
                  <a:pt x="20" y="127"/>
                </a:cubicBezTo>
                <a:cubicBezTo>
                  <a:pt x="19" y="127"/>
                  <a:pt x="19" y="127"/>
                  <a:pt x="18" y="127"/>
                </a:cubicBezTo>
                <a:cubicBezTo>
                  <a:pt x="17" y="127"/>
                  <a:pt x="17" y="127"/>
                  <a:pt x="16" y="127"/>
                </a:cubicBezTo>
                <a:cubicBezTo>
                  <a:pt x="16" y="127"/>
                  <a:pt x="16" y="126"/>
                  <a:pt x="15" y="126"/>
                </a:cubicBezTo>
                <a:cubicBezTo>
                  <a:pt x="12" y="126"/>
                  <a:pt x="12" y="126"/>
                  <a:pt x="12" y="126"/>
                </a:cubicBezTo>
                <a:cubicBezTo>
                  <a:pt x="11" y="126"/>
                  <a:pt x="9" y="126"/>
                  <a:pt x="7" y="125"/>
                </a:cubicBezTo>
                <a:cubicBezTo>
                  <a:pt x="7" y="126"/>
                  <a:pt x="7" y="127"/>
                  <a:pt x="7" y="127"/>
                </a:cubicBezTo>
                <a:cubicBezTo>
                  <a:pt x="7" y="127"/>
                  <a:pt x="7" y="127"/>
                  <a:pt x="7" y="127"/>
                </a:cubicBezTo>
                <a:cubicBezTo>
                  <a:pt x="7" y="128"/>
                  <a:pt x="7" y="128"/>
                  <a:pt x="7" y="128"/>
                </a:cubicBezTo>
                <a:cubicBezTo>
                  <a:pt x="7" y="128"/>
                  <a:pt x="7" y="128"/>
                  <a:pt x="7" y="128"/>
                </a:cubicBezTo>
                <a:cubicBezTo>
                  <a:pt x="7" y="129"/>
                  <a:pt x="6" y="129"/>
                  <a:pt x="6" y="129"/>
                </a:cubicBezTo>
                <a:cubicBezTo>
                  <a:pt x="6" y="129"/>
                  <a:pt x="5" y="129"/>
                  <a:pt x="5" y="129"/>
                </a:cubicBezTo>
                <a:cubicBezTo>
                  <a:pt x="5" y="129"/>
                  <a:pt x="5" y="129"/>
                  <a:pt x="5" y="129"/>
                </a:cubicBezTo>
                <a:cubicBezTo>
                  <a:pt x="5" y="129"/>
                  <a:pt x="5" y="129"/>
                  <a:pt x="4" y="129"/>
                </a:cubicBezTo>
                <a:cubicBezTo>
                  <a:pt x="4" y="129"/>
                  <a:pt x="4" y="129"/>
                  <a:pt x="4" y="129"/>
                </a:cubicBezTo>
                <a:cubicBezTo>
                  <a:pt x="0" y="132"/>
                  <a:pt x="0" y="132"/>
                  <a:pt x="0" y="132"/>
                </a:cubicBezTo>
                <a:cubicBezTo>
                  <a:pt x="1" y="132"/>
                  <a:pt x="2" y="132"/>
                  <a:pt x="2" y="131"/>
                </a:cubicBezTo>
                <a:cubicBezTo>
                  <a:pt x="3" y="131"/>
                  <a:pt x="5" y="130"/>
                  <a:pt x="6" y="129"/>
                </a:cubicBezTo>
                <a:cubicBezTo>
                  <a:pt x="6" y="129"/>
                  <a:pt x="6" y="129"/>
                  <a:pt x="6" y="129"/>
                </a:cubicBezTo>
                <a:cubicBezTo>
                  <a:pt x="6" y="129"/>
                  <a:pt x="6" y="129"/>
                  <a:pt x="6" y="129"/>
                </a:cubicBezTo>
                <a:cubicBezTo>
                  <a:pt x="6" y="130"/>
                  <a:pt x="5" y="130"/>
                  <a:pt x="5" y="130"/>
                </a:cubicBezTo>
                <a:cubicBezTo>
                  <a:pt x="4" y="131"/>
                  <a:pt x="3" y="132"/>
                  <a:pt x="3" y="132"/>
                </a:cubicBezTo>
                <a:cubicBezTo>
                  <a:pt x="3" y="132"/>
                  <a:pt x="3" y="132"/>
                  <a:pt x="3" y="132"/>
                </a:cubicBezTo>
                <a:cubicBezTo>
                  <a:pt x="3" y="132"/>
                  <a:pt x="3" y="132"/>
                  <a:pt x="3" y="132"/>
                </a:cubicBezTo>
                <a:cubicBezTo>
                  <a:pt x="4" y="133"/>
                  <a:pt x="4" y="134"/>
                  <a:pt x="4" y="135"/>
                </a:cubicBezTo>
                <a:cubicBezTo>
                  <a:pt x="5" y="136"/>
                  <a:pt x="5" y="137"/>
                  <a:pt x="6" y="137"/>
                </a:cubicBezTo>
                <a:cubicBezTo>
                  <a:pt x="7" y="137"/>
                  <a:pt x="7" y="138"/>
                  <a:pt x="7" y="138"/>
                </a:cubicBezTo>
                <a:cubicBezTo>
                  <a:pt x="8" y="138"/>
                  <a:pt x="8" y="138"/>
                  <a:pt x="9" y="139"/>
                </a:cubicBezTo>
                <a:cubicBezTo>
                  <a:pt x="9" y="139"/>
                  <a:pt x="10" y="140"/>
                  <a:pt x="11" y="140"/>
                </a:cubicBezTo>
                <a:cubicBezTo>
                  <a:pt x="12" y="140"/>
                  <a:pt x="12" y="140"/>
                  <a:pt x="12" y="140"/>
                </a:cubicBezTo>
                <a:cubicBezTo>
                  <a:pt x="13" y="140"/>
                  <a:pt x="13" y="141"/>
                  <a:pt x="14" y="141"/>
                </a:cubicBezTo>
                <a:cubicBezTo>
                  <a:pt x="15" y="141"/>
                  <a:pt x="16" y="141"/>
                  <a:pt x="16" y="141"/>
                </a:cubicBezTo>
                <a:cubicBezTo>
                  <a:pt x="17" y="141"/>
                  <a:pt x="17" y="140"/>
                  <a:pt x="18" y="140"/>
                </a:cubicBezTo>
                <a:cubicBezTo>
                  <a:pt x="19" y="139"/>
                  <a:pt x="20" y="139"/>
                  <a:pt x="20" y="139"/>
                </a:cubicBezTo>
                <a:cubicBezTo>
                  <a:pt x="20" y="139"/>
                  <a:pt x="20" y="139"/>
                  <a:pt x="20" y="139"/>
                </a:cubicBezTo>
                <a:cubicBezTo>
                  <a:pt x="21" y="139"/>
                  <a:pt x="22" y="139"/>
                  <a:pt x="23" y="139"/>
                </a:cubicBezTo>
                <a:cubicBezTo>
                  <a:pt x="23" y="139"/>
                  <a:pt x="23" y="137"/>
                  <a:pt x="24" y="137"/>
                </a:cubicBezTo>
                <a:cubicBezTo>
                  <a:pt x="23" y="138"/>
                  <a:pt x="23" y="140"/>
                  <a:pt x="22" y="141"/>
                </a:cubicBezTo>
                <a:cubicBezTo>
                  <a:pt x="21" y="142"/>
                  <a:pt x="21" y="143"/>
                  <a:pt x="20" y="143"/>
                </a:cubicBezTo>
                <a:cubicBezTo>
                  <a:pt x="20" y="143"/>
                  <a:pt x="20" y="143"/>
                  <a:pt x="20" y="144"/>
                </a:cubicBezTo>
                <a:cubicBezTo>
                  <a:pt x="18" y="144"/>
                  <a:pt x="16" y="145"/>
                  <a:pt x="14" y="145"/>
                </a:cubicBezTo>
                <a:cubicBezTo>
                  <a:pt x="14" y="145"/>
                  <a:pt x="14" y="145"/>
                  <a:pt x="14" y="145"/>
                </a:cubicBezTo>
                <a:cubicBezTo>
                  <a:pt x="13" y="146"/>
                  <a:pt x="9" y="147"/>
                  <a:pt x="11" y="145"/>
                </a:cubicBezTo>
                <a:cubicBezTo>
                  <a:pt x="11" y="145"/>
                  <a:pt x="11" y="145"/>
                  <a:pt x="10" y="145"/>
                </a:cubicBezTo>
                <a:cubicBezTo>
                  <a:pt x="8" y="144"/>
                  <a:pt x="8" y="145"/>
                  <a:pt x="9" y="147"/>
                </a:cubicBezTo>
                <a:cubicBezTo>
                  <a:pt x="9" y="147"/>
                  <a:pt x="9" y="147"/>
                  <a:pt x="9" y="147"/>
                </a:cubicBezTo>
                <a:cubicBezTo>
                  <a:pt x="10" y="148"/>
                  <a:pt x="10" y="148"/>
                  <a:pt x="10" y="149"/>
                </a:cubicBezTo>
                <a:cubicBezTo>
                  <a:pt x="11" y="149"/>
                  <a:pt x="11" y="150"/>
                  <a:pt x="12" y="150"/>
                </a:cubicBezTo>
                <a:cubicBezTo>
                  <a:pt x="12" y="150"/>
                  <a:pt x="12" y="151"/>
                  <a:pt x="12" y="151"/>
                </a:cubicBezTo>
                <a:cubicBezTo>
                  <a:pt x="13" y="151"/>
                  <a:pt x="14" y="152"/>
                  <a:pt x="15" y="153"/>
                </a:cubicBezTo>
                <a:cubicBezTo>
                  <a:pt x="15" y="153"/>
                  <a:pt x="16" y="154"/>
                  <a:pt x="16" y="155"/>
                </a:cubicBezTo>
                <a:cubicBezTo>
                  <a:pt x="17" y="155"/>
                  <a:pt x="18" y="156"/>
                  <a:pt x="18" y="156"/>
                </a:cubicBezTo>
                <a:cubicBezTo>
                  <a:pt x="18" y="156"/>
                  <a:pt x="18" y="157"/>
                  <a:pt x="18" y="157"/>
                </a:cubicBezTo>
                <a:cubicBezTo>
                  <a:pt x="19" y="157"/>
                  <a:pt x="20" y="158"/>
                  <a:pt x="20" y="159"/>
                </a:cubicBezTo>
                <a:cubicBezTo>
                  <a:pt x="21" y="159"/>
                  <a:pt x="22" y="160"/>
                  <a:pt x="22" y="161"/>
                </a:cubicBezTo>
                <a:cubicBezTo>
                  <a:pt x="23" y="161"/>
                  <a:pt x="24" y="162"/>
                  <a:pt x="24" y="162"/>
                </a:cubicBezTo>
                <a:cubicBezTo>
                  <a:pt x="25" y="162"/>
                  <a:pt x="25" y="162"/>
                  <a:pt x="25" y="162"/>
                </a:cubicBezTo>
                <a:cubicBezTo>
                  <a:pt x="26" y="162"/>
                  <a:pt x="27" y="163"/>
                  <a:pt x="28" y="163"/>
                </a:cubicBezTo>
                <a:cubicBezTo>
                  <a:pt x="28" y="163"/>
                  <a:pt x="29" y="163"/>
                  <a:pt x="29" y="163"/>
                </a:cubicBezTo>
                <a:cubicBezTo>
                  <a:pt x="30" y="162"/>
                  <a:pt x="32" y="161"/>
                  <a:pt x="34" y="161"/>
                </a:cubicBezTo>
                <a:cubicBezTo>
                  <a:pt x="34" y="161"/>
                  <a:pt x="34" y="161"/>
                  <a:pt x="34" y="160"/>
                </a:cubicBezTo>
                <a:cubicBezTo>
                  <a:pt x="36" y="160"/>
                  <a:pt x="39" y="159"/>
                  <a:pt x="40" y="157"/>
                </a:cubicBezTo>
                <a:cubicBezTo>
                  <a:pt x="41" y="157"/>
                  <a:pt x="42" y="155"/>
                  <a:pt x="42" y="154"/>
                </a:cubicBezTo>
                <a:cubicBezTo>
                  <a:pt x="42" y="153"/>
                  <a:pt x="42" y="153"/>
                  <a:pt x="42" y="153"/>
                </a:cubicBezTo>
                <a:cubicBezTo>
                  <a:pt x="42" y="153"/>
                  <a:pt x="42" y="153"/>
                  <a:pt x="42" y="152"/>
                </a:cubicBezTo>
                <a:cubicBezTo>
                  <a:pt x="41" y="151"/>
                  <a:pt x="41" y="152"/>
                  <a:pt x="40" y="151"/>
                </a:cubicBezTo>
                <a:cubicBezTo>
                  <a:pt x="40" y="151"/>
                  <a:pt x="40" y="151"/>
                  <a:pt x="39" y="151"/>
                </a:cubicBezTo>
                <a:cubicBezTo>
                  <a:pt x="40" y="150"/>
                  <a:pt x="40" y="150"/>
                  <a:pt x="41" y="150"/>
                </a:cubicBezTo>
                <a:cubicBezTo>
                  <a:pt x="41" y="150"/>
                  <a:pt x="41" y="150"/>
                  <a:pt x="41" y="150"/>
                </a:cubicBezTo>
                <a:cubicBezTo>
                  <a:pt x="41" y="150"/>
                  <a:pt x="40" y="150"/>
                  <a:pt x="40" y="149"/>
                </a:cubicBezTo>
                <a:cubicBezTo>
                  <a:pt x="41" y="149"/>
                  <a:pt x="43" y="148"/>
                  <a:pt x="43" y="147"/>
                </a:cubicBezTo>
                <a:cubicBezTo>
                  <a:pt x="42" y="146"/>
                  <a:pt x="41" y="146"/>
                  <a:pt x="41" y="146"/>
                </a:cubicBezTo>
                <a:cubicBezTo>
                  <a:pt x="41" y="146"/>
                  <a:pt x="41" y="146"/>
                  <a:pt x="41" y="146"/>
                </a:cubicBezTo>
                <a:cubicBezTo>
                  <a:pt x="41" y="146"/>
                  <a:pt x="41" y="146"/>
                  <a:pt x="41" y="146"/>
                </a:cubicBezTo>
                <a:cubicBezTo>
                  <a:pt x="42" y="146"/>
                  <a:pt x="44" y="146"/>
                  <a:pt x="45" y="146"/>
                </a:cubicBezTo>
                <a:cubicBezTo>
                  <a:pt x="46" y="146"/>
                  <a:pt x="47" y="146"/>
                  <a:pt x="49" y="146"/>
                </a:cubicBezTo>
                <a:cubicBezTo>
                  <a:pt x="49" y="146"/>
                  <a:pt x="49" y="146"/>
                  <a:pt x="49" y="146"/>
                </a:cubicBezTo>
                <a:cubicBezTo>
                  <a:pt x="49" y="146"/>
                  <a:pt x="49" y="146"/>
                  <a:pt x="48" y="147"/>
                </a:cubicBezTo>
                <a:cubicBezTo>
                  <a:pt x="48" y="147"/>
                  <a:pt x="48" y="147"/>
                  <a:pt x="48" y="146"/>
                </a:cubicBezTo>
                <a:cubicBezTo>
                  <a:pt x="47" y="147"/>
                  <a:pt x="45" y="147"/>
                  <a:pt x="45" y="148"/>
                </a:cubicBezTo>
                <a:cubicBezTo>
                  <a:pt x="44" y="149"/>
                  <a:pt x="44" y="150"/>
                  <a:pt x="44" y="150"/>
                </a:cubicBezTo>
                <a:cubicBezTo>
                  <a:pt x="44" y="151"/>
                  <a:pt x="45" y="152"/>
                  <a:pt x="45" y="152"/>
                </a:cubicBezTo>
                <a:cubicBezTo>
                  <a:pt x="45" y="153"/>
                  <a:pt x="46" y="153"/>
                  <a:pt x="46" y="153"/>
                </a:cubicBezTo>
                <a:cubicBezTo>
                  <a:pt x="48" y="153"/>
                  <a:pt x="50" y="152"/>
                  <a:pt x="51" y="152"/>
                </a:cubicBezTo>
                <a:cubicBezTo>
                  <a:pt x="49" y="153"/>
                  <a:pt x="47" y="153"/>
                  <a:pt x="45" y="155"/>
                </a:cubicBezTo>
                <a:cubicBezTo>
                  <a:pt x="46" y="155"/>
                  <a:pt x="46" y="155"/>
                  <a:pt x="47" y="155"/>
                </a:cubicBezTo>
                <a:cubicBezTo>
                  <a:pt x="45" y="156"/>
                  <a:pt x="45" y="156"/>
                  <a:pt x="45" y="157"/>
                </a:cubicBezTo>
                <a:cubicBezTo>
                  <a:pt x="45" y="158"/>
                  <a:pt x="46" y="158"/>
                  <a:pt x="46" y="159"/>
                </a:cubicBezTo>
                <a:cubicBezTo>
                  <a:pt x="46" y="159"/>
                  <a:pt x="46" y="159"/>
                  <a:pt x="46" y="158"/>
                </a:cubicBezTo>
                <a:cubicBezTo>
                  <a:pt x="46" y="159"/>
                  <a:pt x="46" y="159"/>
                  <a:pt x="47" y="159"/>
                </a:cubicBezTo>
                <a:cubicBezTo>
                  <a:pt x="47" y="159"/>
                  <a:pt x="47" y="159"/>
                  <a:pt x="47" y="159"/>
                </a:cubicBezTo>
                <a:cubicBezTo>
                  <a:pt x="48" y="160"/>
                  <a:pt x="48" y="160"/>
                  <a:pt x="48" y="160"/>
                </a:cubicBezTo>
                <a:cubicBezTo>
                  <a:pt x="48" y="161"/>
                  <a:pt x="48" y="162"/>
                  <a:pt x="48" y="163"/>
                </a:cubicBezTo>
                <a:cubicBezTo>
                  <a:pt x="48" y="163"/>
                  <a:pt x="48" y="164"/>
                  <a:pt x="48" y="165"/>
                </a:cubicBezTo>
                <a:cubicBezTo>
                  <a:pt x="48" y="166"/>
                  <a:pt x="47" y="167"/>
                  <a:pt x="47" y="168"/>
                </a:cubicBezTo>
                <a:cubicBezTo>
                  <a:pt x="47" y="168"/>
                  <a:pt x="47" y="168"/>
                  <a:pt x="47" y="169"/>
                </a:cubicBezTo>
                <a:cubicBezTo>
                  <a:pt x="47" y="170"/>
                  <a:pt x="46" y="171"/>
                  <a:pt x="46" y="172"/>
                </a:cubicBezTo>
                <a:cubicBezTo>
                  <a:pt x="46" y="172"/>
                  <a:pt x="46" y="172"/>
                  <a:pt x="46" y="172"/>
                </a:cubicBezTo>
                <a:cubicBezTo>
                  <a:pt x="46" y="173"/>
                  <a:pt x="46" y="173"/>
                  <a:pt x="46" y="174"/>
                </a:cubicBezTo>
                <a:cubicBezTo>
                  <a:pt x="47" y="175"/>
                  <a:pt x="47" y="175"/>
                  <a:pt x="47" y="175"/>
                </a:cubicBezTo>
                <a:cubicBezTo>
                  <a:pt x="48" y="175"/>
                  <a:pt x="48" y="175"/>
                  <a:pt x="48" y="175"/>
                </a:cubicBezTo>
                <a:cubicBezTo>
                  <a:pt x="47" y="176"/>
                  <a:pt x="46" y="177"/>
                  <a:pt x="48" y="178"/>
                </a:cubicBezTo>
                <a:cubicBezTo>
                  <a:pt x="47" y="178"/>
                  <a:pt x="47" y="178"/>
                  <a:pt x="47" y="179"/>
                </a:cubicBezTo>
                <a:cubicBezTo>
                  <a:pt x="47" y="179"/>
                  <a:pt x="48" y="178"/>
                  <a:pt x="48" y="178"/>
                </a:cubicBezTo>
                <a:cubicBezTo>
                  <a:pt x="48" y="178"/>
                  <a:pt x="48" y="179"/>
                  <a:pt x="48" y="179"/>
                </a:cubicBezTo>
                <a:cubicBezTo>
                  <a:pt x="49" y="179"/>
                  <a:pt x="50" y="179"/>
                  <a:pt x="50" y="180"/>
                </a:cubicBezTo>
                <a:cubicBezTo>
                  <a:pt x="50" y="181"/>
                  <a:pt x="51" y="181"/>
                  <a:pt x="51" y="181"/>
                </a:cubicBezTo>
                <a:cubicBezTo>
                  <a:pt x="51" y="183"/>
                  <a:pt x="49" y="184"/>
                  <a:pt x="48" y="184"/>
                </a:cubicBezTo>
                <a:cubicBezTo>
                  <a:pt x="48" y="184"/>
                  <a:pt x="49" y="185"/>
                  <a:pt x="49" y="185"/>
                </a:cubicBezTo>
                <a:cubicBezTo>
                  <a:pt x="49" y="186"/>
                  <a:pt x="49" y="186"/>
                  <a:pt x="49" y="186"/>
                </a:cubicBezTo>
                <a:cubicBezTo>
                  <a:pt x="49" y="186"/>
                  <a:pt x="49" y="186"/>
                  <a:pt x="48" y="186"/>
                </a:cubicBezTo>
                <a:cubicBezTo>
                  <a:pt x="48" y="187"/>
                  <a:pt x="49" y="188"/>
                  <a:pt x="50" y="188"/>
                </a:cubicBezTo>
                <a:cubicBezTo>
                  <a:pt x="50" y="188"/>
                  <a:pt x="50" y="188"/>
                  <a:pt x="50" y="189"/>
                </a:cubicBezTo>
                <a:cubicBezTo>
                  <a:pt x="50" y="189"/>
                  <a:pt x="50" y="189"/>
                  <a:pt x="50" y="189"/>
                </a:cubicBezTo>
                <a:cubicBezTo>
                  <a:pt x="49" y="189"/>
                  <a:pt x="49" y="189"/>
                  <a:pt x="49" y="189"/>
                </a:cubicBezTo>
                <a:cubicBezTo>
                  <a:pt x="49" y="189"/>
                  <a:pt x="49" y="189"/>
                  <a:pt x="49" y="189"/>
                </a:cubicBezTo>
                <a:cubicBezTo>
                  <a:pt x="49" y="191"/>
                  <a:pt x="49" y="192"/>
                  <a:pt x="50" y="193"/>
                </a:cubicBezTo>
                <a:cubicBezTo>
                  <a:pt x="50" y="194"/>
                  <a:pt x="50" y="195"/>
                  <a:pt x="51" y="196"/>
                </a:cubicBezTo>
                <a:cubicBezTo>
                  <a:pt x="51" y="196"/>
                  <a:pt x="51" y="196"/>
                  <a:pt x="51" y="196"/>
                </a:cubicBezTo>
                <a:cubicBezTo>
                  <a:pt x="51" y="197"/>
                  <a:pt x="51" y="198"/>
                  <a:pt x="51" y="199"/>
                </a:cubicBezTo>
                <a:cubicBezTo>
                  <a:pt x="51" y="200"/>
                  <a:pt x="52" y="201"/>
                  <a:pt x="52" y="202"/>
                </a:cubicBezTo>
                <a:cubicBezTo>
                  <a:pt x="52" y="203"/>
                  <a:pt x="52" y="204"/>
                  <a:pt x="53" y="206"/>
                </a:cubicBezTo>
                <a:cubicBezTo>
                  <a:pt x="53" y="206"/>
                  <a:pt x="53" y="206"/>
                  <a:pt x="53" y="206"/>
                </a:cubicBezTo>
                <a:cubicBezTo>
                  <a:pt x="53" y="207"/>
                  <a:pt x="53" y="208"/>
                  <a:pt x="53" y="209"/>
                </a:cubicBezTo>
                <a:cubicBezTo>
                  <a:pt x="53" y="210"/>
                  <a:pt x="54" y="211"/>
                  <a:pt x="54" y="212"/>
                </a:cubicBezTo>
                <a:cubicBezTo>
                  <a:pt x="54" y="212"/>
                  <a:pt x="54" y="212"/>
                  <a:pt x="54" y="212"/>
                </a:cubicBezTo>
                <a:cubicBezTo>
                  <a:pt x="55" y="213"/>
                  <a:pt x="55" y="214"/>
                  <a:pt x="56" y="214"/>
                </a:cubicBezTo>
                <a:cubicBezTo>
                  <a:pt x="56" y="215"/>
                  <a:pt x="56" y="215"/>
                  <a:pt x="57" y="216"/>
                </a:cubicBezTo>
                <a:cubicBezTo>
                  <a:pt x="57" y="216"/>
                  <a:pt x="57" y="216"/>
                  <a:pt x="57" y="217"/>
                </a:cubicBezTo>
                <a:cubicBezTo>
                  <a:pt x="58" y="217"/>
                  <a:pt x="59" y="218"/>
                  <a:pt x="59" y="219"/>
                </a:cubicBezTo>
                <a:cubicBezTo>
                  <a:pt x="59" y="219"/>
                  <a:pt x="59" y="219"/>
                  <a:pt x="59" y="219"/>
                </a:cubicBezTo>
                <a:cubicBezTo>
                  <a:pt x="59" y="219"/>
                  <a:pt x="59" y="219"/>
                  <a:pt x="59" y="219"/>
                </a:cubicBezTo>
                <a:cubicBezTo>
                  <a:pt x="59" y="219"/>
                  <a:pt x="58" y="219"/>
                  <a:pt x="58" y="219"/>
                </a:cubicBezTo>
                <a:cubicBezTo>
                  <a:pt x="58" y="219"/>
                  <a:pt x="58" y="220"/>
                  <a:pt x="58" y="220"/>
                </a:cubicBezTo>
                <a:cubicBezTo>
                  <a:pt x="59" y="221"/>
                  <a:pt x="59" y="222"/>
                  <a:pt x="60" y="222"/>
                </a:cubicBezTo>
                <a:cubicBezTo>
                  <a:pt x="60" y="222"/>
                  <a:pt x="60" y="223"/>
                  <a:pt x="60" y="223"/>
                </a:cubicBezTo>
                <a:cubicBezTo>
                  <a:pt x="60" y="223"/>
                  <a:pt x="60" y="224"/>
                  <a:pt x="61" y="224"/>
                </a:cubicBezTo>
                <a:cubicBezTo>
                  <a:pt x="61" y="224"/>
                  <a:pt x="62" y="224"/>
                  <a:pt x="62" y="224"/>
                </a:cubicBezTo>
                <a:cubicBezTo>
                  <a:pt x="62" y="224"/>
                  <a:pt x="62" y="224"/>
                  <a:pt x="62" y="224"/>
                </a:cubicBezTo>
                <a:cubicBezTo>
                  <a:pt x="62" y="224"/>
                  <a:pt x="62" y="224"/>
                  <a:pt x="61" y="225"/>
                </a:cubicBezTo>
                <a:cubicBezTo>
                  <a:pt x="61" y="225"/>
                  <a:pt x="61" y="225"/>
                  <a:pt x="61" y="225"/>
                </a:cubicBezTo>
                <a:cubicBezTo>
                  <a:pt x="61" y="225"/>
                  <a:pt x="61" y="225"/>
                  <a:pt x="61" y="225"/>
                </a:cubicBezTo>
                <a:cubicBezTo>
                  <a:pt x="62" y="226"/>
                  <a:pt x="62" y="226"/>
                  <a:pt x="63" y="227"/>
                </a:cubicBezTo>
                <a:cubicBezTo>
                  <a:pt x="63" y="227"/>
                  <a:pt x="63" y="228"/>
                  <a:pt x="64" y="228"/>
                </a:cubicBezTo>
                <a:cubicBezTo>
                  <a:pt x="64" y="228"/>
                  <a:pt x="64" y="229"/>
                  <a:pt x="64" y="230"/>
                </a:cubicBezTo>
                <a:cubicBezTo>
                  <a:pt x="65" y="231"/>
                  <a:pt x="65" y="232"/>
                  <a:pt x="65" y="233"/>
                </a:cubicBezTo>
                <a:cubicBezTo>
                  <a:pt x="65" y="233"/>
                  <a:pt x="65" y="234"/>
                  <a:pt x="65" y="234"/>
                </a:cubicBezTo>
                <a:cubicBezTo>
                  <a:pt x="66" y="235"/>
                  <a:pt x="66" y="235"/>
                  <a:pt x="66" y="236"/>
                </a:cubicBezTo>
                <a:cubicBezTo>
                  <a:pt x="66" y="237"/>
                  <a:pt x="67" y="238"/>
                  <a:pt x="67" y="239"/>
                </a:cubicBezTo>
                <a:cubicBezTo>
                  <a:pt x="67" y="240"/>
                  <a:pt x="68" y="241"/>
                  <a:pt x="68" y="242"/>
                </a:cubicBezTo>
                <a:cubicBezTo>
                  <a:pt x="68" y="242"/>
                  <a:pt x="68" y="243"/>
                  <a:pt x="69" y="243"/>
                </a:cubicBezTo>
                <a:cubicBezTo>
                  <a:pt x="69" y="244"/>
                  <a:pt x="69" y="245"/>
                  <a:pt x="68" y="245"/>
                </a:cubicBezTo>
                <a:cubicBezTo>
                  <a:pt x="68" y="246"/>
                  <a:pt x="68" y="246"/>
                  <a:pt x="68" y="246"/>
                </a:cubicBezTo>
                <a:cubicBezTo>
                  <a:pt x="69" y="247"/>
                  <a:pt x="69" y="248"/>
                  <a:pt x="69" y="248"/>
                </a:cubicBezTo>
                <a:cubicBezTo>
                  <a:pt x="70" y="249"/>
                  <a:pt x="70" y="250"/>
                  <a:pt x="70" y="250"/>
                </a:cubicBezTo>
                <a:cubicBezTo>
                  <a:pt x="70" y="251"/>
                  <a:pt x="71" y="251"/>
                  <a:pt x="71" y="251"/>
                </a:cubicBezTo>
                <a:cubicBezTo>
                  <a:pt x="71" y="252"/>
                  <a:pt x="72" y="253"/>
                  <a:pt x="72" y="253"/>
                </a:cubicBezTo>
                <a:cubicBezTo>
                  <a:pt x="73" y="254"/>
                  <a:pt x="73" y="255"/>
                  <a:pt x="74" y="256"/>
                </a:cubicBezTo>
                <a:cubicBezTo>
                  <a:pt x="74" y="256"/>
                  <a:pt x="75" y="257"/>
                  <a:pt x="76" y="258"/>
                </a:cubicBezTo>
                <a:cubicBezTo>
                  <a:pt x="76" y="258"/>
                  <a:pt x="76" y="258"/>
                  <a:pt x="76" y="258"/>
                </a:cubicBezTo>
                <a:cubicBezTo>
                  <a:pt x="76" y="259"/>
                  <a:pt x="77" y="260"/>
                  <a:pt x="77" y="260"/>
                </a:cubicBezTo>
                <a:cubicBezTo>
                  <a:pt x="78" y="261"/>
                  <a:pt x="78" y="262"/>
                  <a:pt x="78" y="263"/>
                </a:cubicBezTo>
                <a:cubicBezTo>
                  <a:pt x="79" y="264"/>
                  <a:pt x="79" y="264"/>
                  <a:pt x="79" y="265"/>
                </a:cubicBezTo>
                <a:cubicBezTo>
                  <a:pt x="79" y="265"/>
                  <a:pt x="79" y="266"/>
                  <a:pt x="79" y="266"/>
                </a:cubicBezTo>
                <a:cubicBezTo>
                  <a:pt x="80" y="267"/>
                  <a:pt x="80" y="268"/>
                  <a:pt x="80" y="269"/>
                </a:cubicBezTo>
                <a:cubicBezTo>
                  <a:pt x="81" y="270"/>
                  <a:pt x="81" y="271"/>
                  <a:pt x="82" y="272"/>
                </a:cubicBezTo>
                <a:cubicBezTo>
                  <a:pt x="82" y="272"/>
                  <a:pt x="82" y="272"/>
                  <a:pt x="82" y="273"/>
                </a:cubicBezTo>
                <a:cubicBezTo>
                  <a:pt x="82" y="273"/>
                  <a:pt x="83" y="274"/>
                  <a:pt x="83" y="274"/>
                </a:cubicBezTo>
                <a:cubicBezTo>
                  <a:pt x="83" y="275"/>
                  <a:pt x="84" y="276"/>
                  <a:pt x="84" y="277"/>
                </a:cubicBezTo>
                <a:cubicBezTo>
                  <a:pt x="85" y="278"/>
                  <a:pt x="85" y="280"/>
                  <a:pt x="84" y="280"/>
                </a:cubicBezTo>
                <a:cubicBezTo>
                  <a:pt x="84" y="279"/>
                  <a:pt x="84" y="279"/>
                  <a:pt x="83" y="278"/>
                </a:cubicBezTo>
                <a:cubicBezTo>
                  <a:pt x="83" y="277"/>
                  <a:pt x="83" y="277"/>
                  <a:pt x="83" y="276"/>
                </a:cubicBezTo>
                <a:cubicBezTo>
                  <a:pt x="83" y="277"/>
                  <a:pt x="83" y="277"/>
                  <a:pt x="83" y="278"/>
                </a:cubicBezTo>
                <a:cubicBezTo>
                  <a:pt x="83" y="279"/>
                  <a:pt x="84" y="280"/>
                  <a:pt x="84" y="281"/>
                </a:cubicBezTo>
                <a:cubicBezTo>
                  <a:pt x="84" y="282"/>
                  <a:pt x="84" y="282"/>
                  <a:pt x="85" y="282"/>
                </a:cubicBezTo>
                <a:cubicBezTo>
                  <a:pt x="85" y="283"/>
                  <a:pt x="85" y="283"/>
                  <a:pt x="85" y="284"/>
                </a:cubicBezTo>
                <a:cubicBezTo>
                  <a:pt x="86" y="284"/>
                  <a:pt x="86" y="284"/>
                  <a:pt x="86" y="284"/>
                </a:cubicBezTo>
                <a:cubicBezTo>
                  <a:pt x="86" y="285"/>
                  <a:pt x="87" y="285"/>
                  <a:pt x="87" y="285"/>
                </a:cubicBezTo>
                <a:cubicBezTo>
                  <a:pt x="87" y="285"/>
                  <a:pt x="86" y="286"/>
                  <a:pt x="86" y="286"/>
                </a:cubicBezTo>
                <a:cubicBezTo>
                  <a:pt x="86" y="286"/>
                  <a:pt x="87" y="286"/>
                  <a:pt x="87" y="287"/>
                </a:cubicBezTo>
                <a:cubicBezTo>
                  <a:pt x="87" y="287"/>
                  <a:pt x="88" y="288"/>
                  <a:pt x="88" y="289"/>
                </a:cubicBezTo>
                <a:cubicBezTo>
                  <a:pt x="89" y="289"/>
                  <a:pt x="90" y="290"/>
                  <a:pt x="90" y="291"/>
                </a:cubicBezTo>
                <a:cubicBezTo>
                  <a:pt x="90" y="291"/>
                  <a:pt x="91" y="292"/>
                  <a:pt x="91" y="292"/>
                </a:cubicBezTo>
                <a:cubicBezTo>
                  <a:pt x="91" y="292"/>
                  <a:pt x="92" y="293"/>
                  <a:pt x="92" y="293"/>
                </a:cubicBezTo>
                <a:cubicBezTo>
                  <a:pt x="93" y="293"/>
                  <a:pt x="94" y="294"/>
                  <a:pt x="95" y="294"/>
                </a:cubicBezTo>
                <a:cubicBezTo>
                  <a:pt x="95" y="294"/>
                  <a:pt x="96" y="295"/>
                  <a:pt x="96" y="295"/>
                </a:cubicBezTo>
                <a:cubicBezTo>
                  <a:pt x="96" y="294"/>
                  <a:pt x="98" y="293"/>
                  <a:pt x="99" y="292"/>
                </a:cubicBezTo>
                <a:cubicBezTo>
                  <a:pt x="101" y="291"/>
                  <a:pt x="102" y="291"/>
                  <a:pt x="102" y="289"/>
                </a:cubicBezTo>
                <a:cubicBezTo>
                  <a:pt x="102" y="288"/>
                  <a:pt x="102" y="287"/>
                  <a:pt x="103" y="286"/>
                </a:cubicBezTo>
                <a:cubicBezTo>
                  <a:pt x="103" y="285"/>
                  <a:pt x="104" y="285"/>
                  <a:pt x="105" y="284"/>
                </a:cubicBezTo>
                <a:cubicBezTo>
                  <a:pt x="105" y="284"/>
                  <a:pt x="105" y="284"/>
                  <a:pt x="105" y="284"/>
                </a:cubicBezTo>
                <a:cubicBezTo>
                  <a:pt x="106" y="284"/>
                  <a:pt x="108" y="283"/>
                  <a:pt x="109" y="283"/>
                </a:cubicBezTo>
                <a:cubicBezTo>
                  <a:pt x="110" y="283"/>
                  <a:pt x="110" y="283"/>
                  <a:pt x="110" y="283"/>
                </a:cubicBezTo>
                <a:cubicBezTo>
                  <a:pt x="111" y="283"/>
                  <a:pt x="113" y="283"/>
                  <a:pt x="114" y="283"/>
                </a:cubicBezTo>
                <a:cubicBezTo>
                  <a:pt x="114" y="283"/>
                  <a:pt x="115" y="284"/>
                  <a:pt x="115" y="284"/>
                </a:cubicBezTo>
                <a:cubicBezTo>
                  <a:pt x="115" y="283"/>
                  <a:pt x="115" y="283"/>
                  <a:pt x="114" y="283"/>
                </a:cubicBezTo>
                <a:cubicBezTo>
                  <a:pt x="114" y="282"/>
                  <a:pt x="114" y="282"/>
                  <a:pt x="113" y="282"/>
                </a:cubicBezTo>
                <a:cubicBezTo>
                  <a:pt x="112" y="282"/>
                  <a:pt x="112" y="282"/>
                  <a:pt x="111" y="282"/>
                </a:cubicBezTo>
                <a:cubicBezTo>
                  <a:pt x="111" y="282"/>
                  <a:pt x="111" y="282"/>
                  <a:pt x="111" y="282"/>
                </a:cubicBezTo>
                <a:cubicBezTo>
                  <a:pt x="110" y="281"/>
                  <a:pt x="110" y="281"/>
                  <a:pt x="110" y="280"/>
                </a:cubicBezTo>
                <a:cubicBezTo>
                  <a:pt x="110" y="279"/>
                  <a:pt x="111" y="278"/>
                  <a:pt x="111" y="278"/>
                </a:cubicBezTo>
                <a:cubicBezTo>
                  <a:pt x="112" y="277"/>
                  <a:pt x="112" y="277"/>
                  <a:pt x="112" y="276"/>
                </a:cubicBezTo>
                <a:cubicBezTo>
                  <a:pt x="113" y="276"/>
                  <a:pt x="113" y="273"/>
                  <a:pt x="113" y="273"/>
                </a:cubicBezTo>
                <a:cubicBezTo>
                  <a:pt x="114" y="273"/>
                  <a:pt x="116" y="271"/>
                  <a:pt x="117" y="271"/>
                </a:cubicBezTo>
                <a:cubicBezTo>
                  <a:pt x="117" y="271"/>
                  <a:pt x="117" y="272"/>
                  <a:pt x="117" y="272"/>
                </a:cubicBezTo>
                <a:cubicBezTo>
                  <a:pt x="117" y="272"/>
                  <a:pt x="117" y="272"/>
                  <a:pt x="117" y="272"/>
                </a:cubicBezTo>
                <a:cubicBezTo>
                  <a:pt x="118" y="272"/>
                  <a:pt x="119" y="272"/>
                  <a:pt x="120" y="272"/>
                </a:cubicBezTo>
                <a:cubicBezTo>
                  <a:pt x="120" y="271"/>
                  <a:pt x="120" y="270"/>
                  <a:pt x="120" y="269"/>
                </a:cubicBezTo>
                <a:cubicBezTo>
                  <a:pt x="120" y="268"/>
                  <a:pt x="120" y="267"/>
                  <a:pt x="119" y="266"/>
                </a:cubicBezTo>
                <a:cubicBezTo>
                  <a:pt x="119" y="265"/>
                  <a:pt x="119" y="264"/>
                  <a:pt x="119" y="263"/>
                </a:cubicBezTo>
                <a:cubicBezTo>
                  <a:pt x="118" y="262"/>
                  <a:pt x="118" y="262"/>
                  <a:pt x="118" y="262"/>
                </a:cubicBezTo>
                <a:cubicBezTo>
                  <a:pt x="119" y="261"/>
                  <a:pt x="119" y="261"/>
                  <a:pt x="119" y="259"/>
                </a:cubicBezTo>
                <a:cubicBezTo>
                  <a:pt x="119" y="259"/>
                  <a:pt x="119" y="259"/>
                  <a:pt x="119" y="259"/>
                </a:cubicBezTo>
                <a:cubicBezTo>
                  <a:pt x="119" y="257"/>
                  <a:pt x="119" y="256"/>
                  <a:pt x="119" y="255"/>
                </a:cubicBezTo>
                <a:cubicBezTo>
                  <a:pt x="119" y="255"/>
                  <a:pt x="120" y="254"/>
                  <a:pt x="120" y="254"/>
                </a:cubicBezTo>
                <a:cubicBezTo>
                  <a:pt x="120" y="254"/>
                  <a:pt x="120" y="253"/>
                  <a:pt x="120" y="253"/>
                </a:cubicBezTo>
                <a:cubicBezTo>
                  <a:pt x="121" y="251"/>
                  <a:pt x="122" y="249"/>
                  <a:pt x="123" y="248"/>
                </a:cubicBezTo>
                <a:cubicBezTo>
                  <a:pt x="123" y="247"/>
                  <a:pt x="124" y="246"/>
                  <a:pt x="124" y="246"/>
                </a:cubicBezTo>
                <a:cubicBezTo>
                  <a:pt x="124" y="245"/>
                  <a:pt x="124" y="244"/>
                  <a:pt x="124" y="244"/>
                </a:cubicBezTo>
                <a:cubicBezTo>
                  <a:pt x="124" y="243"/>
                  <a:pt x="124" y="242"/>
                  <a:pt x="124" y="241"/>
                </a:cubicBezTo>
                <a:cubicBezTo>
                  <a:pt x="124" y="240"/>
                  <a:pt x="124" y="239"/>
                  <a:pt x="123" y="239"/>
                </a:cubicBezTo>
                <a:cubicBezTo>
                  <a:pt x="123" y="239"/>
                  <a:pt x="123" y="239"/>
                  <a:pt x="123" y="239"/>
                </a:cubicBezTo>
                <a:cubicBezTo>
                  <a:pt x="122" y="238"/>
                  <a:pt x="121" y="237"/>
                  <a:pt x="123" y="236"/>
                </a:cubicBezTo>
                <a:cubicBezTo>
                  <a:pt x="123" y="237"/>
                  <a:pt x="123" y="237"/>
                  <a:pt x="123" y="238"/>
                </a:cubicBezTo>
                <a:cubicBezTo>
                  <a:pt x="124" y="238"/>
                  <a:pt x="124" y="238"/>
                  <a:pt x="124" y="239"/>
                </a:cubicBezTo>
                <a:cubicBezTo>
                  <a:pt x="124" y="238"/>
                  <a:pt x="124" y="238"/>
                  <a:pt x="124" y="238"/>
                </a:cubicBezTo>
                <a:cubicBezTo>
                  <a:pt x="124" y="237"/>
                  <a:pt x="123" y="236"/>
                  <a:pt x="123" y="235"/>
                </a:cubicBezTo>
                <a:cubicBezTo>
                  <a:pt x="122" y="234"/>
                  <a:pt x="122" y="233"/>
                  <a:pt x="122" y="233"/>
                </a:cubicBezTo>
                <a:cubicBezTo>
                  <a:pt x="122" y="232"/>
                  <a:pt x="122" y="232"/>
                  <a:pt x="122" y="232"/>
                </a:cubicBezTo>
                <a:cubicBezTo>
                  <a:pt x="122" y="231"/>
                  <a:pt x="122" y="231"/>
                  <a:pt x="122" y="231"/>
                </a:cubicBezTo>
                <a:cubicBezTo>
                  <a:pt x="122" y="230"/>
                  <a:pt x="122" y="229"/>
                  <a:pt x="122" y="228"/>
                </a:cubicBezTo>
                <a:cubicBezTo>
                  <a:pt x="122" y="226"/>
                  <a:pt x="122" y="225"/>
                  <a:pt x="122" y="224"/>
                </a:cubicBezTo>
                <a:cubicBezTo>
                  <a:pt x="122" y="223"/>
                  <a:pt x="122" y="221"/>
                  <a:pt x="122" y="220"/>
                </a:cubicBezTo>
                <a:cubicBezTo>
                  <a:pt x="122" y="220"/>
                  <a:pt x="122" y="219"/>
                  <a:pt x="123" y="219"/>
                </a:cubicBezTo>
                <a:cubicBezTo>
                  <a:pt x="123" y="218"/>
                  <a:pt x="123" y="217"/>
                  <a:pt x="124" y="216"/>
                </a:cubicBezTo>
                <a:cubicBezTo>
                  <a:pt x="124" y="215"/>
                  <a:pt x="124" y="215"/>
                  <a:pt x="125" y="215"/>
                </a:cubicBezTo>
                <a:cubicBezTo>
                  <a:pt x="126" y="214"/>
                  <a:pt x="127" y="214"/>
                  <a:pt x="128" y="214"/>
                </a:cubicBezTo>
                <a:cubicBezTo>
                  <a:pt x="129" y="214"/>
                  <a:pt x="129" y="214"/>
                  <a:pt x="129" y="215"/>
                </a:cubicBezTo>
                <a:cubicBezTo>
                  <a:pt x="130" y="214"/>
                  <a:pt x="130" y="214"/>
                  <a:pt x="130" y="212"/>
                </a:cubicBezTo>
                <a:cubicBezTo>
                  <a:pt x="130" y="213"/>
                  <a:pt x="131" y="214"/>
                  <a:pt x="131" y="214"/>
                </a:cubicBezTo>
                <a:cubicBezTo>
                  <a:pt x="131" y="214"/>
                  <a:pt x="131" y="215"/>
                  <a:pt x="131" y="215"/>
                </a:cubicBezTo>
                <a:cubicBezTo>
                  <a:pt x="131" y="214"/>
                  <a:pt x="132" y="214"/>
                  <a:pt x="132" y="213"/>
                </a:cubicBezTo>
                <a:cubicBezTo>
                  <a:pt x="132" y="213"/>
                  <a:pt x="133" y="213"/>
                  <a:pt x="133" y="213"/>
                </a:cubicBezTo>
                <a:cubicBezTo>
                  <a:pt x="133" y="212"/>
                  <a:pt x="133" y="212"/>
                  <a:pt x="133" y="211"/>
                </a:cubicBezTo>
                <a:cubicBezTo>
                  <a:pt x="134" y="210"/>
                  <a:pt x="134" y="209"/>
                  <a:pt x="136" y="209"/>
                </a:cubicBezTo>
                <a:cubicBezTo>
                  <a:pt x="136" y="209"/>
                  <a:pt x="136" y="209"/>
                  <a:pt x="137" y="209"/>
                </a:cubicBezTo>
                <a:cubicBezTo>
                  <a:pt x="137" y="209"/>
                  <a:pt x="138" y="209"/>
                  <a:pt x="138" y="209"/>
                </a:cubicBezTo>
                <a:cubicBezTo>
                  <a:pt x="140" y="209"/>
                  <a:pt x="140" y="208"/>
                  <a:pt x="141" y="208"/>
                </a:cubicBezTo>
                <a:cubicBezTo>
                  <a:pt x="142" y="208"/>
                  <a:pt x="142" y="208"/>
                  <a:pt x="143" y="207"/>
                </a:cubicBezTo>
                <a:cubicBezTo>
                  <a:pt x="145" y="207"/>
                  <a:pt x="145" y="206"/>
                  <a:pt x="145" y="204"/>
                </a:cubicBezTo>
                <a:cubicBezTo>
                  <a:pt x="145" y="204"/>
                  <a:pt x="145" y="204"/>
                  <a:pt x="145" y="204"/>
                </a:cubicBezTo>
                <a:cubicBezTo>
                  <a:pt x="145" y="204"/>
                  <a:pt x="144" y="203"/>
                  <a:pt x="144" y="202"/>
                </a:cubicBezTo>
                <a:cubicBezTo>
                  <a:pt x="144" y="202"/>
                  <a:pt x="144" y="202"/>
                  <a:pt x="145" y="202"/>
                </a:cubicBezTo>
                <a:cubicBezTo>
                  <a:pt x="147" y="199"/>
                  <a:pt x="151" y="198"/>
                  <a:pt x="153" y="196"/>
                </a:cubicBezTo>
                <a:cubicBezTo>
                  <a:pt x="154" y="196"/>
                  <a:pt x="154" y="195"/>
                  <a:pt x="155" y="195"/>
                </a:cubicBezTo>
                <a:cubicBezTo>
                  <a:pt x="155" y="194"/>
                  <a:pt x="156" y="194"/>
                  <a:pt x="156" y="193"/>
                </a:cubicBezTo>
                <a:cubicBezTo>
                  <a:pt x="157" y="193"/>
                  <a:pt x="157" y="192"/>
                  <a:pt x="158" y="191"/>
                </a:cubicBezTo>
                <a:cubicBezTo>
                  <a:pt x="159" y="191"/>
                  <a:pt x="160" y="190"/>
                  <a:pt x="161" y="189"/>
                </a:cubicBezTo>
                <a:cubicBezTo>
                  <a:pt x="163" y="188"/>
                  <a:pt x="164" y="187"/>
                  <a:pt x="165" y="186"/>
                </a:cubicBezTo>
                <a:cubicBezTo>
                  <a:pt x="165" y="186"/>
                  <a:pt x="165" y="186"/>
                  <a:pt x="165" y="186"/>
                </a:cubicBezTo>
                <a:cubicBezTo>
                  <a:pt x="166" y="185"/>
                  <a:pt x="166" y="185"/>
                  <a:pt x="167" y="184"/>
                </a:cubicBezTo>
                <a:cubicBezTo>
                  <a:pt x="168" y="183"/>
                  <a:pt x="169" y="181"/>
                  <a:pt x="170" y="180"/>
                </a:cubicBezTo>
                <a:cubicBezTo>
                  <a:pt x="173" y="178"/>
                  <a:pt x="175" y="176"/>
                  <a:pt x="178" y="174"/>
                </a:cubicBezTo>
                <a:cubicBezTo>
                  <a:pt x="177" y="174"/>
                  <a:pt x="177" y="174"/>
                  <a:pt x="176" y="175"/>
                </a:cubicBezTo>
                <a:cubicBezTo>
                  <a:pt x="176" y="174"/>
                  <a:pt x="176" y="174"/>
                  <a:pt x="176" y="174"/>
                </a:cubicBezTo>
                <a:cubicBezTo>
                  <a:pt x="176" y="174"/>
                  <a:pt x="175" y="174"/>
                  <a:pt x="175" y="174"/>
                </a:cubicBezTo>
                <a:cubicBezTo>
                  <a:pt x="175" y="175"/>
                  <a:pt x="175" y="175"/>
                  <a:pt x="175" y="175"/>
                </a:cubicBezTo>
                <a:cubicBezTo>
                  <a:pt x="174" y="175"/>
                  <a:pt x="174" y="175"/>
                  <a:pt x="174" y="176"/>
                </a:cubicBezTo>
                <a:cubicBezTo>
                  <a:pt x="174" y="176"/>
                  <a:pt x="174" y="175"/>
                  <a:pt x="174" y="175"/>
                </a:cubicBezTo>
                <a:cubicBezTo>
                  <a:pt x="174" y="174"/>
                  <a:pt x="175" y="173"/>
                  <a:pt x="176" y="172"/>
                </a:cubicBezTo>
                <a:cubicBezTo>
                  <a:pt x="177" y="172"/>
                  <a:pt x="177" y="172"/>
                  <a:pt x="178" y="172"/>
                </a:cubicBezTo>
                <a:cubicBezTo>
                  <a:pt x="178" y="172"/>
                  <a:pt x="178" y="172"/>
                  <a:pt x="178" y="172"/>
                </a:cubicBezTo>
                <a:cubicBezTo>
                  <a:pt x="178" y="173"/>
                  <a:pt x="177" y="174"/>
                  <a:pt x="177" y="174"/>
                </a:cubicBezTo>
                <a:cubicBezTo>
                  <a:pt x="178" y="174"/>
                  <a:pt x="179" y="173"/>
                  <a:pt x="180" y="173"/>
                </a:cubicBezTo>
                <a:cubicBezTo>
                  <a:pt x="180" y="173"/>
                  <a:pt x="180" y="173"/>
                  <a:pt x="181" y="173"/>
                </a:cubicBezTo>
                <a:cubicBezTo>
                  <a:pt x="182" y="172"/>
                  <a:pt x="185" y="172"/>
                  <a:pt x="186" y="171"/>
                </a:cubicBezTo>
                <a:cubicBezTo>
                  <a:pt x="186" y="171"/>
                  <a:pt x="184" y="170"/>
                  <a:pt x="184" y="169"/>
                </a:cubicBezTo>
                <a:cubicBezTo>
                  <a:pt x="187" y="170"/>
                  <a:pt x="187" y="170"/>
                  <a:pt x="189" y="168"/>
                </a:cubicBezTo>
                <a:cubicBezTo>
                  <a:pt x="190" y="166"/>
                  <a:pt x="191" y="165"/>
                  <a:pt x="193" y="163"/>
                </a:cubicBezTo>
                <a:cubicBezTo>
                  <a:pt x="192" y="163"/>
                  <a:pt x="192" y="162"/>
                  <a:pt x="192" y="161"/>
                </a:cubicBezTo>
                <a:cubicBezTo>
                  <a:pt x="192" y="160"/>
                  <a:pt x="191" y="159"/>
                  <a:pt x="191" y="158"/>
                </a:cubicBezTo>
                <a:cubicBezTo>
                  <a:pt x="191" y="157"/>
                  <a:pt x="191" y="157"/>
                  <a:pt x="192" y="156"/>
                </a:cubicBezTo>
                <a:cubicBezTo>
                  <a:pt x="192" y="155"/>
                  <a:pt x="194" y="154"/>
                  <a:pt x="196" y="154"/>
                </a:cubicBezTo>
                <a:cubicBezTo>
                  <a:pt x="197" y="153"/>
                  <a:pt x="197" y="153"/>
                  <a:pt x="198" y="153"/>
                </a:cubicBezTo>
                <a:cubicBezTo>
                  <a:pt x="200" y="152"/>
                  <a:pt x="201" y="152"/>
                  <a:pt x="202" y="150"/>
                </a:cubicBezTo>
                <a:cubicBezTo>
                  <a:pt x="203" y="150"/>
                  <a:pt x="205" y="148"/>
                  <a:pt x="204" y="147"/>
                </a:cubicBezTo>
                <a:cubicBezTo>
                  <a:pt x="204" y="147"/>
                  <a:pt x="203" y="147"/>
                  <a:pt x="203" y="147"/>
                </a:cubicBezTo>
                <a:cubicBezTo>
                  <a:pt x="203" y="147"/>
                  <a:pt x="203" y="147"/>
                  <a:pt x="203" y="147"/>
                </a:cubicBezTo>
                <a:cubicBezTo>
                  <a:pt x="202" y="146"/>
                  <a:pt x="202" y="145"/>
                  <a:pt x="202" y="145"/>
                </a:cubicBezTo>
                <a:cubicBezTo>
                  <a:pt x="203" y="145"/>
                  <a:pt x="202" y="146"/>
                  <a:pt x="203" y="146"/>
                </a:cubicBezTo>
                <a:cubicBezTo>
                  <a:pt x="203" y="147"/>
                  <a:pt x="203" y="147"/>
                  <a:pt x="204" y="147"/>
                </a:cubicBezTo>
                <a:cubicBezTo>
                  <a:pt x="205" y="147"/>
                  <a:pt x="205" y="148"/>
                  <a:pt x="205" y="148"/>
                </a:cubicBezTo>
                <a:cubicBezTo>
                  <a:pt x="205" y="150"/>
                  <a:pt x="204" y="151"/>
                  <a:pt x="205" y="153"/>
                </a:cubicBezTo>
                <a:cubicBezTo>
                  <a:pt x="205" y="153"/>
                  <a:pt x="205" y="153"/>
                  <a:pt x="205" y="153"/>
                </a:cubicBezTo>
                <a:cubicBezTo>
                  <a:pt x="205" y="154"/>
                  <a:pt x="206" y="154"/>
                  <a:pt x="206" y="153"/>
                </a:cubicBezTo>
                <a:cubicBezTo>
                  <a:pt x="208" y="154"/>
                  <a:pt x="207" y="152"/>
                  <a:pt x="208" y="150"/>
                </a:cubicBezTo>
                <a:cubicBezTo>
                  <a:pt x="208" y="150"/>
                  <a:pt x="208" y="152"/>
                  <a:pt x="208" y="153"/>
                </a:cubicBezTo>
                <a:cubicBezTo>
                  <a:pt x="208" y="154"/>
                  <a:pt x="208" y="154"/>
                  <a:pt x="208" y="154"/>
                </a:cubicBezTo>
                <a:cubicBezTo>
                  <a:pt x="209" y="154"/>
                  <a:pt x="209" y="153"/>
                  <a:pt x="209" y="152"/>
                </a:cubicBezTo>
                <a:cubicBezTo>
                  <a:pt x="209" y="152"/>
                  <a:pt x="209" y="152"/>
                  <a:pt x="209" y="152"/>
                </a:cubicBezTo>
                <a:cubicBezTo>
                  <a:pt x="209" y="151"/>
                  <a:pt x="209" y="152"/>
                  <a:pt x="208" y="151"/>
                </a:cubicBezTo>
                <a:cubicBezTo>
                  <a:pt x="208" y="151"/>
                  <a:pt x="209" y="150"/>
                  <a:pt x="209" y="150"/>
                </a:cubicBezTo>
                <a:cubicBezTo>
                  <a:pt x="209" y="149"/>
                  <a:pt x="209" y="149"/>
                  <a:pt x="209" y="148"/>
                </a:cubicBezTo>
                <a:cubicBezTo>
                  <a:pt x="209" y="148"/>
                  <a:pt x="209" y="147"/>
                  <a:pt x="210" y="147"/>
                </a:cubicBezTo>
                <a:cubicBezTo>
                  <a:pt x="210" y="147"/>
                  <a:pt x="209" y="148"/>
                  <a:pt x="209" y="148"/>
                </a:cubicBezTo>
                <a:cubicBezTo>
                  <a:pt x="209" y="148"/>
                  <a:pt x="209" y="149"/>
                  <a:pt x="210" y="150"/>
                </a:cubicBezTo>
                <a:cubicBezTo>
                  <a:pt x="210" y="149"/>
                  <a:pt x="210" y="149"/>
                  <a:pt x="210" y="148"/>
                </a:cubicBezTo>
                <a:cubicBezTo>
                  <a:pt x="211" y="149"/>
                  <a:pt x="210" y="150"/>
                  <a:pt x="210" y="151"/>
                </a:cubicBezTo>
                <a:cubicBezTo>
                  <a:pt x="210" y="151"/>
                  <a:pt x="210" y="151"/>
                  <a:pt x="210" y="151"/>
                </a:cubicBezTo>
                <a:cubicBezTo>
                  <a:pt x="210" y="152"/>
                  <a:pt x="210" y="152"/>
                  <a:pt x="210" y="152"/>
                </a:cubicBezTo>
                <a:cubicBezTo>
                  <a:pt x="210" y="153"/>
                  <a:pt x="211" y="154"/>
                  <a:pt x="211" y="153"/>
                </a:cubicBezTo>
                <a:cubicBezTo>
                  <a:pt x="211" y="153"/>
                  <a:pt x="211" y="153"/>
                  <a:pt x="212" y="153"/>
                </a:cubicBezTo>
                <a:cubicBezTo>
                  <a:pt x="213" y="153"/>
                  <a:pt x="214" y="153"/>
                  <a:pt x="214" y="153"/>
                </a:cubicBezTo>
                <a:cubicBezTo>
                  <a:pt x="214" y="153"/>
                  <a:pt x="214" y="152"/>
                  <a:pt x="214" y="152"/>
                </a:cubicBezTo>
                <a:cubicBezTo>
                  <a:pt x="214" y="152"/>
                  <a:pt x="213" y="152"/>
                  <a:pt x="213" y="152"/>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85" name="Freeform 3142">
            <a:extLst>
              <a:ext uri="{FF2B5EF4-FFF2-40B4-BE49-F238E27FC236}">
                <a16:creationId xmlns:a16="http://schemas.microsoft.com/office/drawing/2014/main" id="{33A6E524-2CA2-4C20-ABE3-0385936A9D12}"/>
              </a:ext>
            </a:extLst>
          </p:cNvPr>
          <p:cNvSpPr>
            <a:spLocks/>
          </p:cNvSpPr>
          <p:nvPr/>
        </p:nvSpPr>
        <p:spPr bwMode="auto">
          <a:xfrm>
            <a:off x="4156182" y="341489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86" name="Freeform 3143">
            <a:extLst>
              <a:ext uri="{FF2B5EF4-FFF2-40B4-BE49-F238E27FC236}">
                <a16:creationId xmlns:a16="http://schemas.microsoft.com/office/drawing/2014/main" id="{661B92CA-C71E-4C31-B028-6A494A438377}"/>
              </a:ext>
            </a:extLst>
          </p:cNvPr>
          <p:cNvSpPr>
            <a:spLocks/>
          </p:cNvSpPr>
          <p:nvPr/>
        </p:nvSpPr>
        <p:spPr bwMode="auto">
          <a:xfrm>
            <a:off x="4164111" y="329083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87" name="Freeform 3144">
            <a:extLst>
              <a:ext uri="{FF2B5EF4-FFF2-40B4-BE49-F238E27FC236}">
                <a16:creationId xmlns:a16="http://schemas.microsoft.com/office/drawing/2014/main" id="{95080987-AEAE-4A90-A987-6CAAA262E06F}"/>
              </a:ext>
            </a:extLst>
          </p:cNvPr>
          <p:cNvSpPr>
            <a:spLocks/>
          </p:cNvSpPr>
          <p:nvPr/>
        </p:nvSpPr>
        <p:spPr bwMode="auto">
          <a:xfrm>
            <a:off x="4072928" y="3204167"/>
            <a:ext cx="192277" cy="207758"/>
          </a:xfrm>
          <a:custGeom>
            <a:avLst/>
            <a:gdLst>
              <a:gd name="T0" fmla="*/ 75 w 164"/>
              <a:gd name="T1" fmla="*/ 145 h 148"/>
              <a:gd name="T2" fmla="*/ 84 w 164"/>
              <a:gd name="T3" fmla="*/ 142 h 148"/>
              <a:gd name="T4" fmla="*/ 94 w 164"/>
              <a:gd name="T5" fmla="*/ 140 h 148"/>
              <a:gd name="T6" fmla="*/ 99 w 164"/>
              <a:gd name="T7" fmla="*/ 141 h 148"/>
              <a:gd name="T8" fmla="*/ 97 w 164"/>
              <a:gd name="T9" fmla="*/ 132 h 148"/>
              <a:gd name="T10" fmla="*/ 93 w 164"/>
              <a:gd name="T11" fmla="*/ 128 h 148"/>
              <a:gd name="T12" fmla="*/ 90 w 164"/>
              <a:gd name="T13" fmla="*/ 120 h 148"/>
              <a:gd name="T14" fmla="*/ 87 w 164"/>
              <a:gd name="T15" fmla="*/ 118 h 148"/>
              <a:gd name="T16" fmla="*/ 90 w 164"/>
              <a:gd name="T17" fmla="*/ 104 h 148"/>
              <a:gd name="T18" fmla="*/ 92 w 164"/>
              <a:gd name="T19" fmla="*/ 101 h 148"/>
              <a:gd name="T20" fmla="*/ 97 w 164"/>
              <a:gd name="T21" fmla="*/ 101 h 148"/>
              <a:gd name="T22" fmla="*/ 102 w 164"/>
              <a:gd name="T23" fmla="*/ 102 h 148"/>
              <a:gd name="T24" fmla="*/ 113 w 164"/>
              <a:gd name="T25" fmla="*/ 94 h 148"/>
              <a:gd name="T26" fmla="*/ 122 w 164"/>
              <a:gd name="T27" fmla="*/ 84 h 148"/>
              <a:gd name="T28" fmla="*/ 129 w 164"/>
              <a:gd name="T29" fmla="*/ 74 h 148"/>
              <a:gd name="T30" fmla="*/ 136 w 164"/>
              <a:gd name="T31" fmla="*/ 67 h 148"/>
              <a:gd name="T32" fmla="*/ 137 w 164"/>
              <a:gd name="T33" fmla="*/ 57 h 148"/>
              <a:gd name="T34" fmla="*/ 143 w 164"/>
              <a:gd name="T35" fmla="*/ 54 h 148"/>
              <a:gd name="T36" fmla="*/ 137 w 164"/>
              <a:gd name="T37" fmla="*/ 52 h 148"/>
              <a:gd name="T38" fmla="*/ 127 w 164"/>
              <a:gd name="T39" fmla="*/ 45 h 148"/>
              <a:gd name="T40" fmla="*/ 130 w 164"/>
              <a:gd name="T41" fmla="*/ 37 h 148"/>
              <a:gd name="T42" fmla="*/ 130 w 164"/>
              <a:gd name="T43" fmla="*/ 35 h 148"/>
              <a:gd name="T44" fmla="*/ 127 w 164"/>
              <a:gd name="T45" fmla="*/ 30 h 148"/>
              <a:gd name="T46" fmla="*/ 140 w 164"/>
              <a:gd name="T47" fmla="*/ 25 h 148"/>
              <a:gd name="T48" fmla="*/ 148 w 164"/>
              <a:gd name="T49" fmla="*/ 27 h 148"/>
              <a:gd name="T50" fmla="*/ 157 w 164"/>
              <a:gd name="T51" fmla="*/ 25 h 148"/>
              <a:gd name="T52" fmla="*/ 159 w 164"/>
              <a:gd name="T53" fmla="*/ 16 h 148"/>
              <a:gd name="T54" fmla="*/ 151 w 164"/>
              <a:gd name="T55" fmla="*/ 13 h 148"/>
              <a:gd name="T56" fmla="*/ 148 w 164"/>
              <a:gd name="T57" fmla="*/ 4 h 148"/>
              <a:gd name="T58" fmla="*/ 138 w 164"/>
              <a:gd name="T59" fmla="*/ 0 h 148"/>
              <a:gd name="T60" fmla="*/ 129 w 164"/>
              <a:gd name="T61" fmla="*/ 2 h 148"/>
              <a:gd name="T62" fmla="*/ 116 w 164"/>
              <a:gd name="T63" fmla="*/ 3 h 148"/>
              <a:gd name="T64" fmla="*/ 104 w 164"/>
              <a:gd name="T65" fmla="*/ 11 h 148"/>
              <a:gd name="T66" fmla="*/ 107 w 164"/>
              <a:gd name="T67" fmla="*/ 16 h 148"/>
              <a:gd name="T68" fmla="*/ 107 w 164"/>
              <a:gd name="T69" fmla="*/ 22 h 148"/>
              <a:gd name="T70" fmla="*/ 102 w 164"/>
              <a:gd name="T71" fmla="*/ 29 h 148"/>
              <a:gd name="T72" fmla="*/ 100 w 164"/>
              <a:gd name="T73" fmla="*/ 35 h 148"/>
              <a:gd name="T74" fmla="*/ 94 w 164"/>
              <a:gd name="T75" fmla="*/ 43 h 148"/>
              <a:gd name="T76" fmla="*/ 88 w 164"/>
              <a:gd name="T77" fmla="*/ 46 h 148"/>
              <a:gd name="T78" fmla="*/ 86 w 164"/>
              <a:gd name="T79" fmla="*/ 46 h 148"/>
              <a:gd name="T80" fmla="*/ 84 w 164"/>
              <a:gd name="T81" fmla="*/ 55 h 148"/>
              <a:gd name="T82" fmla="*/ 78 w 164"/>
              <a:gd name="T83" fmla="*/ 62 h 148"/>
              <a:gd name="T84" fmla="*/ 73 w 164"/>
              <a:gd name="T85" fmla="*/ 61 h 148"/>
              <a:gd name="T86" fmla="*/ 70 w 164"/>
              <a:gd name="T87" fmla="*/ 65 h 148"/>
              <a:gd name="T88" fmla="*/ 59 w 164"/>
              <a:gd name="T89" fmla="*/ 66 h 148"/>
              <a:gd name="T90" fmla="*/ 54 w 164"/>
              <a:gd name="T91" fmla="*/ 71 h 148"/>
              <a:gd name="T92" fmla="*/ 53 w 164"/>
              <a:gd name="T93" fmla="*/ 82 h 148"/>
              <a:gd name="T94" fmla="*/ 33 w 164"/>
              <a:gd name="T95" fmla="*/ 86 h 148"/>
              <a:gd name="T96" fmla="*/ 29 w 164"/>
              <a:gd name="T97" fmla="*/ 87 h 148"/>
              <a:gd name="T98" fmla="*/ 20 w 164"/>
              <a:gd name="T99" fmla="*/ 89 h 148"/>
              <a:gd name="T100" fmla="*/ 0 w 164"/>
              <a:gd name="T101" fmla="*/ 83 h 148"/>
              <a:gd name="T102" fmla="*/ 11 w 164"/>
              <a:gd name="T103" fmla="*/ 96 h 148"/>
              <a:gd name="T104" fmla="*/ 19 w 164"/>
              <a:gd name="T105" fmla="*/ 103 h 148"/>
              <a:gd name="T106" fmla="*/ 22 w 164"/>
              <a:gd name="T107" fmla="*/ 109 h 148"/>
              <a:gd name="T108" fmla="*/ 17 w 164"/>
              <a:gd name="T109" fmla="*/ 119 h 148"/>
              <a:gd name="T110" fmla="*/ 6 w 164"/>
              <a:gd name="T111" fmla="*/ 129 h 148"/>
              <a:gd name="T112" fmla="*/ 17 w 164"/>
              <a:gd name="T113" fmla="*/ 132 h 148"/>
              <a:gd name="T114" fmla="*/ 36 w 164"/>
              <a:gd name="T115" fmla="*/ 133 h 148"/>
              <a:gd name="T116" fmla="*/ 56 w 164"/>
              <a:gd name="T117" fmla="*/ 133 h 148"/>
              <a:gd name="T118" fmla="*/ 70 w 164"/>
              <a:gd name="T11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4" h="148">
                <a:moveTo>
                  <a:pt x="71" y="148"/>
                </a:moveTo>
                <a:cubicBezTo>
                  <a:pt x="70" y="147"/>
                  <a:pt x="70" y="147"/>
                  <a:pt x="70" y="147"/>
                </a:cubicBezTo>
                <a:cubicBezTo>
                  <a:pt x="71" y="147"/>
                  <a:pt x="71" y="147"/>
                  <a:pt x="71" y="147"/>
                </a:cubicBezTo>
                <a:cubicBezTo>
                  <a:pt x="71" y="147"/>
                  <a:pt x="71" y="147"/>
                  <a:pt x="71" y="147"/>
                </a:cubicBezTo>
                <a:cubicBezTo>
                  <a:pt x="71" y="147"/>
                  <a:pt x="71" y="147"/>
                  <a:pt x="71" y="147"/>
                </a:cubicBezTo>
                <a:cubicBezTo>
                  <a:pt x="74" y="145"/>
                  <a:pt x="74" y="145"/>
                  <a:pt x="74" y="145"/>
                </a:cubicBezTo>
                <a:cubicBezTo>
                  <a:pt x="75" y="145"/>
                  <a:pt x="75" y="145"/>
                  <a:pt x="75" y="145"/>
                </a:cubicBezTo>
                <a:cubicBezTo>
                  <a:pt x="75" y="145"/>
                  <a:pt x="75" y="145"/>
                  <a:pt x="75" y="145"/>
                </a:cubicBezTo>
                <a:cubicBezTo>
                  <a:pt x="76" y="145"/>
                  <a:pt x="76" y="145"/>
                  <a:pt x="76" y="145"/>
                </a:cubicBezTo>
                <a:cubicBezTo>
                  <a:pt x="76" y="144"/>
                  <a:pt x="76" y="144"/>
                  <a:pt x="76" y="143"/>
                </a:cubicBezTo>
                <a:cubicBezTo>
                  <a:pt x="76" y="143"/>
                  <a:pt x="76" y="142"/>
                  <a:pt x="76" y="142"/>
                </a:cubicBezTo>
                <a:cubicBezTo>
                  <a:pt x="76" y="141"/>
                  <a:pt x="76" y="141"/>
                  <a:pt x="76" y="141"/>
                </a:cubicBezTo>
                <a:cubicBezTo>
                  <a:pt x="77" y="141"/>
                  <a:pt x="77" y="141"/>
                  <a:pt x="77" y="141"/>
                </a:cubicBezTo>
                <a:cubicBezTo>
                  <a:pt x="79" y="141"/>
                  <a:pt x="81" y="141"/>
                  <a:pt x="83" y="141"/>
                </a:cubicBezTo>
                <a:cubicBezTo>
                  <a:pt x="84" y="140"/>
                  <a:pt x="84" y="140"/>
                  <a:pt x="84" y="140"/>
                </a:cubicBezTo>
                <a:cubicBezTo>
                  <a:pt x="84" y="142"/>
                  <a:pt x="84" y="142"/>
                  <a:pt x="84" y="142"/>
                </a:cubicBezTo>
                <a:cubicBezTo>
                  <a:pt x="87" y="142"/>
                  <a:pt x="87" y="142"/>
                  <a:pt x="87" y="142"/>
                </a:cubicBezTo>
                <a:cubicBezTo>
                  <a:pt x="87" y="142"/>
                  <a:pt x="87" y="142"/>
                  <a:pt x="88" y="142"/>
                </a:cubicBezTo>
                <a:cubicBezTo>
                  <a:pt x="88" y="142"/>
                  <a:pt x="89" y="142"/>
                  <a:pt x="89" y="142"/>
                </a:cubicBezTo>
                <a:cubicBezTo>
                  <a:pt x="89" y="142"/>
                  <a:pt x="89" y="142"/>
                  <a:pt x="90" y="142"/>
                </a:cubicBezTo>
                <a:cubicBezTo>
                  <a:pt x="90" y="142"/>
                  <a:pt x="90" y="142"/>
                  <a:pt x="90" y="142"/>
                </a:cubicBezTo>
                <a:cubicBezTo>
                  <a:pt x="90" y="142"/>
                  <a:pt x="90" y="142"/>
                  <a:pt x="90" y="142"/>
                </a:cubicBezTo>
                <a:cubicBezTo>
                  <a:pt x="91" y="141"/>
                  <a:pt x="92" y="140"/>
                  <a:pt x="93" y="140"/>
                </a:cubicBezTo>
                <a:cubicBezTo>
                  <a:pt x="94" y="140"/>
                  <a:pt x="94" y="140"/>
                  <a:pt x="94" y="140"/>
                </a:cubicBezTo>
                <a:cubicBezTo>
                  <a:pt x="94" y="140"/>
                  <a:pt x="94" y="140"/>
                  <a:pt x="94" y="140"/>
                </a:cubicBezTo>
                <a:cubicBezTo>
                  <a:pt x="95" y="140"/>
                  <a:pt x="95" y="140"/>
                  <a:pt x="95" y="140"/>
                </a:cubicBezTo>
                <a:cubicBezTo>
                  <a:pt x="95" y="140"/>
                  <a:pt x="96" y="139"/>
                  <a:pt x="97" y="140"/>
                </a:cubicBezTo>
                <a:cubicBezTo>
                  <a:pt x="97" y="140"/>
                  <a:pt x="97" y="141"/>
                  <a:pt x="97" y="141"/>
                </a:cubicBezTo>
                <a:cubicBezTo>
                  <a:pt x="97" y="141"/>
                  <a:pt x="98" y="141"/>
                  <a:pt x="98" y="141"/>
                </a:cubicBezTo>
                <a:cubicBezTo>
                  <a:pt x="98" y="141"/>
                  <a:pt x="98" y="141"/>
                  <a:pt x="98" y="141"/>
                </a:cubicBezTo>
                <a:cubicBezTo>
                  <a:pt x="98" y="141"/>
                  <a:pt x="98" y="141"/>
                  <a:pt x="98" y="141"/>
                </a:cubicBezTo>
                <a:cubicBezTo>
                  <a:pt x="98" y="141"/>
                  <a:pt x="99" y="141"/>
                  <a:pt x="99" y="141"/>
                </a:cubicBezTo>
                <a:cubicBezTo>
                  <a:pt x="99" y="140"/>
                  <a:pt x="99" y="140"/>
                  <a:pt x="99" y="139"/>
                </a:cubicBezTo>
                <a:cubicBezTo>
                  <a:pt x="99" y="139"/>
                  <a:pt x="99" y="139"/>
                  <a:pt x="99" y="139"/>
                </a:cubicBezTo>
                <a:cubicBezTo>
                  <a:pt x="99" y="138"/>
                  <a:pt x="99" y="138"/>
                  <a:pt x="99" y="138"/>
                </a:cubicBezTo>
                <a:cubicBezTo>
                  <a:pt x="99" y="138"/>
                  <a:pt x="99" y="138"/>
                  <a:pt x="99" y="137"/>
                </a:cubicBezTo>
                <a:cubicBezTo>
                  <a:pt x="98" y="134"/>
                  <a:pt x="98" y="134"/>
                  <a:pt x="98" y="134"/>
                </a:cubicBezTo>
                <a:cubicBezTo>
                  <a:pt x="97" y="134"/>
                  <a:pt x="97" y="133"/>
                  <a:pt x="97" y="133"/>
                </a:cubicBezTo>
                <a:cubicBezTo>
                  <a:pt x="96" y="134"/>
                  <a:pt x="96" y="134"/>
                  <a:pt x="96" y="134"/>
                </a:cubicBezTo>
                <a:cubicBezTo>
                  <a:pt x="97" y="132"/>
                  <a:pt x="97" y="132"/>
                  <a:pt x="97" y="132"/>
                </a:cubicBezTo>
                <a:cubicBezTo>
                  <a:pt x="97" y="132"/>
                  <a:pt x="97" y="132"/>
                  <a:pt x="97" y="132"/>
                </a:cubicBezTo>
                <a:cubicBezTo>
                  <a:pt x="97" y="132"/>
                  <a:pt x="97" y="132"/>
                  <a:pt x="96" y="131"/>
                </a:cubicBezTo>
                <a:cubicBezTo>
                  <a:pt x="96" y="130"/>
                  <a:pt x="96" y="130"/>
                  <a:pt x="96" y="129"/>
                </a:cubicBezTo>
                <a:cubicBezTo>
                  <a:pt x="96" y="129"/>
                  <a:pt x="96" y="128"/>
                  <a:pt x="96" y="128"/>
                </a:cubicBezTo>
                <a:cubicBezTo>
                  <a:pt x="96" y="128"/>
                  <a:pt x="95" y="128"/>
                  <a:pt x="95" y="128"/>
                </a:cubicBezTo>
                <a:cubicBezTo>
                  <a:pt x="95" y="129"/>
                  <a:pt x="95" y="129"/>
                  <a:pt x="95" y="129"/>
                </a:cubicBezTo>
                <a:cubicBezTo>
                  <a:pt x="94" y="128"/>
                  <a:pt x="94" y="128"/>
                  <a:pt x="94" y="128"/>
                </a:cubicBezTo>
                <a:cubicBezTo>
                  <a:pt x="93" y="128"/>
                  <a:pt x="93" y="128"/>
                  <a:pt x="93" y="128"/>
                </a:cubicBezTo>
                <a:cubicBezTo>
                  <a:pt x="93" y="128"/>
                  <a:pt x="93" y="128"/>
                  <a:pt x="93" y="128"/>
                </a:cubicBezTo>
                <a:cubicBezTo>
                  <a:pt x="93" y="128"/>
                  <a:pt x="93" y="128"/>
                  <a:pt x="93" y="128"/>
                </a:cubicBezTo>
                <a:cubicBezTo>
                  <a:pt x="93" y="128"/>
                  <a:pt x="93" y="128"/>
                  <a:pt x="92" y="128"/>
                </a:cubicBezTo>
                <a:cubicBezTo>
                  <a:pt x="92" y="128"/>
                  <a:pt x="92" y="128"/>
                  <a:pt x="92" y="128"/>
                </a:cubicBezTo>
                <a:cubicBezTo>
                  <a:pt x="92" y="128"/>
                  <a:pt x="92" y="128"/>
                  <a:pt x="92" y="128"/>
                </a:cubicBezTo>
                <a:cubicBezTo>
                  <a:pt x="91" y="127"/>
                  <a:pt x="91" y="126"/>
                  <a:pt x="91" y="124"/>
                </a:cubicBezTo>
                <a:cubicBezTo>
                  <a:pt x="90" y="124"/>
                  <a:pt x="90" y="124"/>
                  <a:pt x="90" y="123"/>
                </a:cubicBezTo>
                <a:cubicBezTo>
                  <a:pt x="90" y="122"/>
                  <a:pt x="90" y="121"/>
                  <a:pt x="90" y="120"/>
                </a:cubicBezTo>
                <a:cubicBezTo>
                  <a:pt x="90" y="120"/>
                  <a:pt x="90" y="120"/>
                  <a:pt x="90" y="120"/>
                </a:cubicBezTo>
                <a:cubicBezTo>
                  <a:pt x="90" y="120"/>
                  <a:pt x="90" y="119"/>
                  <a:pt x="90" y="119"/>
                </a:cubicBezTo>
                <a:cubicBezTo>
                  <a:pt x="90" y="119"/>
                  <a:pt x="90" y="119"/>
                  <a:pt x="90" y="119"/>
                </a:cubicBezTo>
                <a:cubicBezTo>
                  <a:pt x="90" y="119"/>
                  <a:pt x="90" y="119"/>
                  <a:pt x="90" y="119"/>
                </a:cubicBezTo>
                <a:cubicBezTo>
                  <a:pt x="90" y="119"/>
                  <a:pt x="90" y="119"/>
                  <a:pt x="90" y="119"/>
                </a:cubicBezTo>
                <a:cubicBezTo>
                  <a:pt x="89" y="119"/>
                  <a:pt x="89" y="118"/>
                  <a:pt x="88" y="118"/>
                </a:cubicBezTo>
                <a:cubicBezTo>
                  <a:pt x="88" y="120"/>
                  <a:pt x="88" y="120"/>
                  <a:pt x="88" y="120"/>
                </a:cubicBezTo>
                <a:cubicBezTo>
                  <a:pt x="87" y="118"/>
                  <a:pt x="87" y="118"/>
                  <a:pt x="87" y="118"/>
                </a:cubicBezTo>
                <a:cubicBezTo>
                  <a:pt x="87" y="118"/>
                  <a:pt x="87" y="118"/>
                  <a:pt x="87" y="118"/>
                </a:cubicBezTo>
                <a:cubicBezTo>
                  <a:pt x="86" y="118"/>
                  <a:pt x="85" y="117"/>
                  <a:pt x="84" y="116"/>
                </a:cubicBezTo>
                <a:cubicBezTo>
                  <a:pt x="84" y="116"/>
                  <a:pt x="84" y="116"/>
                  <a:pt x="83" y="115"/>
                </a:cubicBezTo>
                <a:cubicBezTo>
                  <a:pt x="83" y="114"/>
                  <a:pt x="83" y="112"/>
                  <a:pt x="85" y="110"/>
                </a:cubicBezTo>
                <a:cubicBezTo>
                  <a:pt x="86" y="109"/>
                  <a:pt x="87" y="107"/>
                  <a:pt x="88" y="106"/>
                </a:cubicBezTo>
                <a:cubicBezTo>
                  <a:pt x="88" y="106"/>
                  <a:pt x="88" y="106"/>
                  <a:pt x="88" y="106"/>
                </a:cubicBezTo>
                <a:cubicBezTo>
                  <a:pt x="89" y="105"/>
                  <a:pt x="89" y="105"/>
                  <a:pt x="89" y="105"/>
                </a:cubicBezTo>
                <a:cubicBezTo>
                  <a:pt x="89" y="104"/>
                  <a:pt x="90" y="104"/>
                  <a:pt x="90" y="104"/>
                </a:cubicBezTo>
                <a:cubicBezTo>
                  <a:pt x="90" y="103"/>
                  <a:pt x="90" y="103"/>
                  <a:pt x="90" y="103"/>
                </a:cubicBezTo>
                <a:cubicBezTo>
                  <a:pt x="90" y="103"/>
                  <a:pt x="90" y="103"/>
                  <a:pt x="91" y="103"/>
                </a:cubicBezTo>
                <a:cubicBezTo>
                  <a:pt x="91" y="102"/>
                  <a:pt x="91" y="102"/>
                  <a:pt x="91" y="102"/>
                </a:cubicBezTo>
                <a:cubicBezTo>
                  <a:pt x="92" y="102"/>
                  <a:pt x="92" y="102"/>
                  <a:pt x="92" y="102"/>
                </a:cubicBezTo>
                <a:cubicBezTo>
                  <a:pt x="92" y="102"/>
                  <a:pt x="92" y="102"/>
                  <a:pt x="92" y="102"/>
                </a:cubicBezTo>
                <a:cubicBezTo>
                  <a:pt x="91" y="100"/>
                  <a:pt x="91" y="100"/>
                  <a:pt x="91" y="100"/>
                </a:cubicBezTo>
                <a:cubicBezTo>
                  <a:pt x="92" y="101"/>
                  <a:pt x="92" y="101"/>
                  <a:pt x="92" y="101"/>
                </a:cubicBezTo>
                <a:cubicBezTo>
                  <a:pt x="92" y="101"/>
                  <a:pt x="92" y="101"/>
                  <a:pt x="92" y="101"/>
                </a:cubicBezTo>
                <a:cubicBezTo>
                  <a:pt x="93" y="101"/>
                  <a:pt x="93" y="101"/>
                  <a:pt x="93" y="101"/>
                </a:cubicBezTo>
                <a:cubicBezTo>
                  <a:pt x="94" y="100"/>
                  <a:pt x="94" y="100"/>
                  <a:pt x="94" y="100"/>
                </a:cubicBezTo>
                <a:cubicBezTo>
                  <a:pt x="94" y="100"/>
                  <a:pt x="94" y="100"/>
                  <a:pt x="95" y="100"/>
                </a:cubicBezTo>
                <a:cubicBezTo>
                  <a:pt x="95" y="99"/>
                  <a:pt x="95" y="99"/>
                  <a:pt x="95" y="99"/>
                </a:cubicBezTo>
                <a:cubicBezTo>
                  <a:pt x="95" y="100"/>
                  <a:pt x="95" y="100"/>
                  <a:pt x="95" y="100"/>
                </a:cubicBezTo>
                <a:cubicBezTo>
                  <a:pt x="95" y="100"/>
                  <a:pt x="95" y="100"/>
                  <a:pt x="95" y="100"/>
                </a:cubicBezTo>
                <a:cubicBezTo>
                  <a:pt x="96" y="100"/>
                  <a:pt x="96" y="100"/>
                  <a:pt x="96" y="100"/>
                </a:cubicBezTo>
                <a:cubicBezTo>
                  <a:pt x="96" y="101"/>
                  <a:pt x="96" y="101"/>
                  <a:pt x="97" y="101"/>
                </a:cubicBezTo>
                <a:cubicBezTo>
                  <a:pt x="97" y="101"/>
                  <a:pt x="97" y="101"/>
                  <a:pt x="97" y="101"/>
                </a:cubicBezTo>
                <a:cubicBezTo>
                  <a:pt x="98" y="102"/>
                  <a:pt x="98" y="102"/>
                  <a:pt x="98" y="103"/>
                </a:cubicBezTo>
                <a:cubicBezTo>
                  <a:pt x="98" y="103"/>
                  <a:pt x="98" y="103"/>
                  <a:pt x="98" y="103"/>
                </a:cubicBezTo>
                <a:cubicBezTo>
                  <a:pt x="98" y="103"/>
                  <a:pt x="98" y="103"/>
                  <a:pt x="99" y="103"/>
                </a:cubicBezTo>
                <a:cubicBezTo>
                  <a:pt x="99" y="104"/>
                  <a:pt x="99" y="104"/>
                  <a:pt x="99" y="104"/>
                </a:cubicBezTo>
                <a:cubicBezTo>
                  <a:pt x="99" y="103"/>
                  <a:pt x="99" y="103"/>
                  <a:pt x="99" y="103"/>
                </a:cubicBezTo>
                <a:cubicBezTo>
                  <a:pt x="100" y="103"/>
                  <a:pt x="101" y="103"/>
                  <a:pt x="102" y="103"/>
                </a:cubicBezTo>
                <a:cubicBezTo>
                  <a:pt x="102" y="102"/>
                  <a:pt x="102" y="102"/>
                  <a:pt x="102" y="102"/>
                </a:cubicBezTo>
                <a:cubicBezTo>
                  <a:pt x="102" y="100"/>
                  <a:pt x="102" y="100"/>
                  <a:pt x="102" y="100"/>
                </a:cubicBezTo>
                <a:cubicBezTo>
                  <a:pt x="103" y="102"/>
                  <a:pt x="103" y="102"/>
                  <a:pt x="103" y="102"/>
                </a:cubicBezTo>
                <a:cubicBezTo>
                  <a:pt x="103" y="102"/>
                  <a:pt x="103" y="102"/>
                  <a:pt x="103" y="102"/>
                </a:cubicBezTo>
                <a:cubicBezTo>
                  <a:pt x="104" y="102"/>
                  <a:pt x="104" y="102"/>
                  <a:pt x="104" y="102"/>
                </a:cubicBezTo>
                <a:cubicBezTo>
                  <a:pt x="104" y="102"/>
                  <a:pt x="104" y="102"/>
                  <a:pt x="104" y="102"/>
                </a:cubicBezTo>
                <a:cubicBezTo>
                  <a:pt x="105" y="102"/>
                  <a:pt x="106" y="102"/>
                  <a:pt x="107" y="102"/>
                </a:cubicBezTo>
                <a:cubicBezTo>
                  <a:pt x="107" y="102"/>
                  <a:pt x="107" y="102"/>
                  <a:pt x="107" y="102"/>
                </a:cubicBezTo>
                <a:cubicBezTo>
                  <a:pt x="113" y="94"/>
                  <a:pt x="113" y="94"/>
                  <a:pt x="113" y="94"/>
                </a:cubicBezTo>
                <a:cubicBezTo>
                  <a:pt x="113" y="93"/>
                  <a:pt x="113" y="93"/>
                  <a:pt x="113" y="93"/>
                </a:cubicBezTo>
                <a:cubicBezTo>
                  <a:pt x="114" y="92"/>
                  <a:pt x="115" y="92"/>
                  <a:pt x="116" y="91"/>
                </a:cubicBezTo>
                <a:cubicBezTo>
                  <a:pt x="116" y="91"/>
                  <a:pt x="117" y="90"/>
                  <a:pt x="117" y="90"/>
                </a:cubicBezTo>
                <a:cubicBezTo>
                  <a:pt x="119" y="90"/>
                  <a:pt x="119" y="89"/>
                  <a:pt x="120" y="88"/>
                </a:cubicBezTo>
                <a:cubicBezTo>
                  <a:pt x="120" y="87"/>
                  <a:pt x="120" y="87"/>
                  <a:pt x="121" y="87"/>
                </a:cubicBezTo>
                <a:cubicBezTo>
                  <a:pt x="121" y="86"/>
                  <a:pt x="121" y="86"/>
                  <a:pt x="121" y="86"/>
                </a:cubicBezTo>
                <a:cubicBezTo>
                  <a:pt x="121" y="86"/>
                  <a:pt x="122" y="85"/>
                  <a:pt x="122" y="84"/>
                </a:cubicBezTo>
                <a:cubicBezTo>
                  <a:pt x="122" y="84"/>
                  <a:pt x="122" y="84"/>
                  <a:pt x="122" y="84"/>
                </a:cubicBezTo>
                <a:cubicBezTo>
                  <a:pt x="122" y="84"/>
                  <a:pt x="122" y="84"/>
                  <a:pt x="122" y="84"/>
                </a:cubicBezTo>
                <a:cubicBezTo>
                  <a:pt x="122" y="83"/>
                  <a:pt x="122" y="83"/>
                  <a:pt x="122" y="83"/>
                </a:cubicBezTo>
                <a:cubicBezTo>
                  <a:pt x="123" y="82"/>
                  <a:pt x="123" y="81"/>
                  <a:pt x="124" y="80"/>
                </a:cubicBezTo>
                <a:cubicBezTo>
                  <a:pt x="124" y="79"/>
                  <a:pt x="125" y="79"/>
                  <a:pt x="125" y="79"/>
                </a:cubicBezTo>
                <a:cubicBezTo>
                  <a:pt x="126" y="78"/>
                  <a:pt x="127" y="78"/>
                  <a:pt x="128" y="77"/>
                </a:cubicBezTo>
                <a:cubicBezTo>
                  <a:pt x="128" y="77"/>
                  <a:pt x="128" y="77"/>
                  <a:pt x="129" y="77"/>
                </a:cubicBezTo>
                <a:cubicBezTo>
                  <a:pt x="129" y="77"/>
                  <a:pt x="129" y="77"/>
                  <a:pt x="129" y="77"/>
                </a:cubicBezTo>
                <a:cubicBezTo>
                  <a:pt x="128" y="76"/>
                  <a:pt x="128" y="75"/>
                  <a:pt x="129" y="74"/>
                </a:cubicBezTo>
                <a:cubicBezTo>
                  <a:pt x="129" y="74"/>
                  <a:pt x="129" y="74"/>
                  <a:pt x="129" y="74"/>
                </a:cubicBezTo>
                <a:cubicBezTo>
                  <a:pt x="129" y="74"/>
                  <a:pt x="129" y="74"/>
                  <a:pt x="129" y="73"/>
                </a:cubicBezTo>
                <a:cubicBezTo>
                  <a:pt x="130" y="73"/>
                  <a:pt x="130" y="72"/>
                  <a:pt x="131" y="72"/>
                </a:cubicBezTo>
                <a:cubicBezTo>
                  <a:pt x="131" y="71"/>
                  <a:pt x="132" y="71"/>
                  <a:pt x="133" y="70"/>
                </a:cubicBezTo>
                <a:cubicBezTo>
                  <a:pt x="133" y="70"/>
                  <a:pt x="133" y="70"/>
                  <a:pt x="133" y="70"/>
                </a:cubicBezTo>
                <a:cubicBezTo>
                  <a:pt x="134" y="69"/>
                  <a:pt x="134" y="69"/>
                  <a:pt x="135" y="68"/>
                </a:cubicBezTo>
                <a:cubicBezTo>
                  <a:pt x="136" y="68"/>
                  <a:pt x="136" y="68"/>
                  <a:pt x="136" y="68"/>
                </a:cubicBezTo>
                <a:cubicBezTo>
                  <a:pt x="136" y="67"/>
                  <a:pt x="136" y="67"/>
                  <a:pt x="136" y="67"/>
                </a:cubicBezTo>
                <a:cubicBezTo>
                  <a:pt x="135" y="64"/>
                  <a:pt x="135" y="64"/>
                  <a:pt x="135" y="64"/>
                </a:cubicBezTo>
                <a:cubicBezTo>
                  <a:pt x="135" y="64"/>
                  <a:pt x="135" y="63"/>
                  <a:pt x="135" y="62"/>
                </a:cubicBezTo>
                <a:cubicBezTo>
                  <a:pt x="135" y="61"/>
                  <a:pt x="135" y="61"/>
                  <a:pt x="135" y="61"/>
                </a:cubicBezTo>
                <a:cubicBezTo>
                  <a:pt x="133" y="61"/>
                  <a:pt x="133" y="61"/>
                  <a:pt x="133" y="61"/>
                </a:cubicBezTo>
                <a:cubicBezTo>
                  <a:pt x="135" y="61"/>
                  <a:pt x="135" y="61"/>
                  <a:pt x="135" y="61"/>
                </a:cubicBezTo>
                <a:cubicBezTo>
                  <a:pt x="135" y="60"/>
                  <a:pt x="135" y="60"/>
                  <a:pt x="135" y="60"/>
                </a:cubicBezTo>
                <a:cubicBezTo>
                  <a:pt x="135" y="60"/>
                  <a:pt x="135" y="60"/>
                  <a:pt x="135" y="59"/>
                </a:cubicBezTo>
                <a:cubicBezTo>
                  <a:pt x="135" y="59"/>
                  <a:pt x="136" y="58"/>
                  <a:pt x="137" y="57"/>
                </a:cubicBezTo>
                <a:cubicBezTo>
                  <a:pt x="137" y="57"/>
                  <a:pt x="137" y="57"/>
                  <a:pt x="138" y="57"/>
                </a:cubicBezTo>
                <a:cubicBezTo>
                  <a:pt x="138" y="57"/>
                  <a:pt x="138" y="57"/>
                  <a:pt x="138" y="57"/>
                </a:cubicBezTo>
                <a:cubicBezTo>
                  <a:pt x="138" y="56"/>
                  <a:pt x="138" y="56"/>
                  <a:pt x="138" y="56"/>
                </a:cubicBezTo>
                <a:cubicBezTo>
                  <a:pt x="138" y="56"/>
                  <a:pt x="139" y="56"/>
                  <a:pt x="139" y="56"/>
                </a:cubicBezTo>
                <a:cubicBezTo>
                  <a:pt x="139" y="56"/>
                  <a:pt x="140" y="56"/>
                  <a:pt x="140" y="56"/>
                </a:cubicBezTo>
                <a:cubicBezTo>
                  <a:pt x="140" y="56"/>
                  <a:pt x="141" y="56"/>
                  <a:pt x="141" y="56"/>
                </a:cubicBezTo>
                <a:cubicBezTo>
                  <a:pt x="141" y="55"/>
                  <a:pt x="141" y="55"/>
                  <a:pt x="141" y="55"/>
                </a:cubicBezTo>
                <a:cubicBezTo>
                  <a:pt x="142" y="55"/>
                  <a:pt x="143" y="55"/>
                  <a:pt x="143" y="54"/>
                </a:cubicBezTo>
                <a:cubicBezTo>
                  <a:pt x="143" y="54"/>
                  <a:pt x="143" y="54"/>
                  <a:pt x="143" y="54"/>
                </a:cubicBezTo>
                <a:cubicBezTo>
                  <a:pt x="143" y="54"/>
                  <a:pt x="143" y="54"/>
                  <a:pt x="143" y="54"/>
                </a:cubicBezTo>
                <a:cubicBezTo>
                  <a:pt x="142" y="54"/>
                  <a:pt x="142" y="54"/>
                  <a:pt x="142" y="54"/>
                </a:cubicBezTo>
                <a:cubicBezTo>
                  <a:pt x="142" y="54"/>
                  <a:pt x="142" y="54"/>
                  <a:pt x="142" y="54"/>
                </a:cubicBezTo>
                <a:cubicBezTo>
                  <a:pt x="142" y="53"/>
                  <a:pt x="141" y="53"/>
                  <a:pt x="141" y="53"/>
                </a:cubicBezTo>
                <a:cubicBezTo>
                  <a:pt x="141" y="53"/>
                  <a:pt x="141" y="53"/>
                  <a:pt x="141" y="53"/>
                </a:cubicBezTo>
                <a:cubicBezTo>
                  <a:pt x="140" y="53"/>
                  <a:pt x="140" y="53"/>
                  <a:pt x="140" y="53"/>
                </a:cubicBezTo>
                <a:cubicBezTo>
                  <a:pt x="138" y="53"/>
                  <a:pt x="138" y="53"/>
                  <a:pt x="137" y="52"/>
                </a:cubicBezTo>
                <a:cubicBezTo>
                  <a:pt x="137" y="52"/>
                  <a:pt x="137" y="52"/>
                  <a:pt x="137" y="51"/>
                </a:cubicBezTo>
                <a:cubicBezTo>
                  <a:pt x="136" y="51"/>
                  <a:pt x="136" y="50"/>
                  <a:pt x="136" y="50"/>
                </a:cubicBezTo>
                <a:cubicBezTo>
                  <a:pt x="135" y="50"/>
                  <a:pt x="134" y="50"/>
                  <a:pt x="133" y="48"/>
                </a:cubicBezTo>
                <a:cubicBezTo>
                  <a:pt x="133" y="48"/>
                  <a:pt x="133" y="48"/>
                  <a:pt x="133" y="48"/>
                </a:cubicBezTo>
                <a:cubicBezTo>
                  <a:pt x="133" y="48"/>
                  <a:pt x="132" y="47"/>
                  <a:pt x="132" y="47"/>
                </a:cubicBezTo>
                <a:cubicBezTo>
                  <a:pt x="132" y="47"/>
                  <a:pt x="132" y="47"/>
                  <a:pt x="132" y="47"/>
                </a:cubicBezTo>
                <a:cubicBezTo>
                  <a:pt x="131" y="46"/>
                  <a:pt x="131" y="45"/>
                  <a:pt x="130" y="45"/>
                </a:cubicBezTo>
                <a:cubicBezTo>
                  <a:pt x="127" y="45"/>
                  <a:pt x="127" y="45"/>
                  <a:pt x="127" y="45"/>
                </a:cubicBezTo>
                <a:cubicBezTo>
                  <a:pt x="130" y="44"/>
                  <a:pt x="130" y="44"/>
                  <a:pt x="130" y="44"/>
                </a:cubicBezTo>
                <a:cubicBezTo>
                  <a:pt x="130" y="44"/>
                  <a:pt x="130" y="44"/>
                  <a:pt x="130" y="44"/>
                </a:cubicBezTo>
                <a:cubicBezTo>
                  <a:pt x="130" y="43"/>
                  <a:pt x="130" y="43"/>
                  <a:pt x="130" y="42"/>
                </a:cubicBezTo>
                <a:cubicBezTo>
                  <a:pt x="130" y="42"/>
                  <a:pt x="130" y="42"/>
                  <a:pt x="131" y="41"/>
                </a:cubicBezTo>
                <a:cubicBezTo>
                  <a:pt x="131" y="40"/>
                  <a:pt x="131" y="40"/>
                  <a:pt x="131" y="40"/>
                </a:cubicBezTo>
                <a:cubicBezTo>
                  <a:pt x="131" y="40"/>
                  <a:pt x="131" y="40"/>
                  <a:pt x="131" y="40"/>
                </a:cubicBezTo>
                <a:cubicBezTo>
                  <a:pt x="130" y="39"/>
                  <a:pt x="130" y="39"/>
                  <a:pt x="130" y="39"/>
                </a:cubicBezTo>
                <a:cubicBezTo>
                  <a:pt x="130" y="38"/>
                  <a:pt x="130" y="38"/>
                  <a:pt x="130" y="37"/>
                </a:cubicBezTo>
                <a:cubicBezTo>
                  <a:pt x="130" y="37"/>
                  <a:pt x="130" y="37"/>
                  <a:pt x="130" y="37"/>
                </a:cubicBezTo>
                <a:cubicBezTo>
                  <a:pt x="130" y="37"/>
                  <a:pt x="130" y="37"/>
                  <a:pt x="130" y="37"/>
                </a:cubicBezTo>
                <a:cubicBezTo>
                  <a:pt x="130" y="37"/>
                  <a:pt x="130" y="37"/>
                  <a:pt x="130" y="37"/>
                </a:cubicBezTo>
                <a:cubicBezTo>
                  <a:pt x="130" y="36"/>
                  <a:pt x="130" y="36"/>
                  <a:pt x="130" y="36"/>
                </a:cubicBezTo>
                <a:cubicBezTo>
                  <a:pt x="130" y="36"/>
                  <a:pt x="130" y="36"/>
                  <a:pt x="131" y="35"/>
                </a:cubicBezTo>
                <a:cubicBezTo>
                  <a:pt x="131" y="35"/>
                  <a:pt x="131" y="35"/>
                  <a:pt x="131" y="35"/>
                </a:cubicBezTo>
                <a:cubicBezTo>
                  <a:pt x="131" y="35"/>
                  <a:pt x="131" y="35"/>
                  <a:pt x="131" y="35"/>
                </a:cubicBezTo>
                <a:cubicBezTo>
                  <a:pt x="130" y="35"/>
                  <a:pt x="130" y="35"/>
                  <a:pt x="130" y="35"/>
                </a:cubicBezTo>
                <a:cubicBezTo>
                  <a:pt x="128" y="35"/>
                  <a:pt x="128" y="35"/>
                  <a:pt x="128" y="35"/>
                </a:cubicBezTo>
                <a:cubicBezTo>
                  <a:pt x="129" y="33"/>
                  <a:pt x="129" y="33"/>
                  <a:pt x="129" y="33"/>
                </a:cubicBezTo>
                <a:cubicBezTo>
                  <a:pt x="129" y="33"/>
                  <a:pt x="129" y="33"/>
                  <a:pt x="129" y="33"/>
                </a:cubicBezTo>
                <a:cubicBezTo>
                  <a:pt x="129" y="33"/>
                  <a:pt x="129" y="33"/>
                  <a:pt x="129" y="33"/>
                </a:cubicBezTo>
                <a:cubicBezTo>
                  <a:pt x="129" y="32"/>
                  <a:pt x="129" y="32"/>
                  <a:pt x="129" y="32"/>
                </a:cubicBezTo>
                <a:cubicBezTo>
                  <a:pt x="129" y="32"/>
                  <a:pt x="129" y="32"/>
                  <a:pt x="128" y="32"/>
                </a:cubicBezTo>
                <a:cubicBezTo>
                  <a:pt x="128" y="31"/>
                  <a:pt x="128" y="31"/>
                  <a:pt x="128" y="31"/>
                </a:cubicBezTo>
                <a:cubicBezTo>
                  <a:pt x="128" y="31"/>
                  <a:pt x="128" y="31"/>
                  <a:pt x="127" y="30"/>
                </a:cubicBezTo>
                <a:cubicBezTo>
                  <a:pt x="127" y="30"/>
                  <a:pt x="128" y="29"/>
                  <a:pt x="128" y="28"/>
                </a:cubicBezTo>
                <a:cubicBezTo>
                  <a:pt x="128" y="28"/>
                  <a:pt x="129" y="27"/>
                  <a:pt x="129" y="27"/>
                </a:cubicBezTo>
                <a:cubicBezTo>
                  <a:pt x="129" y="27"/>
                  <a:pt x="129" y="26"/>
                  <a:pt x="129" y="26"/>
                </a:cubicBezTo>
                <a:cubicBezTo>
                  <a:pt x="130" y="26"/>
                  <a:pt x="130" y="25"/>
                  <a:pt x="131" y="25"/>
                </a:cubicBezTo>
                <a:cubicBezTo>
                  <a:pt x="132" y="25"/>
                  <a:pt x="134" y="25"/>
                  <a:pt x="135" y="25"/>
                </a:cubicBezTo>
                <a:cubicBezTo>
                  <a:pt x="135" y="25"/>
                  <a:pt x="135" y="25"/>
                  <a:pt x="135" y="25"/>
                </a:cubicBezTo>
                <a:cubicBezTo>
                  <a:pt x="136" y="25"/>
                  <a:pt x="136" y="25"/>
                  <a:pt x="137" y="25"/>
                </a:cubicBezTo>
                <a:cubicBezTo>
                  <a:pt x="138" y="25"/>
                  <a:pt x="139" y="25"/>
                  <a:pt x="140" y="25"/>
                </a:cubicBezTo>
                <a:cubicBezTo>
                  <a:pt x="141" y="25"/>
                  <a:pt x="141" y="25"/>
                  <a:pt x="141" y="25"/>
                </a:cubicBezTo>
                <a:cubicBezTo>
                  <a:pt x="141" y="25"/>
                  <a:pt x="141" y="25"/>
                  <a:pt x="142" y="25"/>
                </a:cubicBezTo>
                <a:cubicBezTo>
                  <a:pt x="143" y="26"/>
                  <a:pt x="143" y="26"/>
                  <a:pt x="143" y="26"/>
                </a:cubicBezTo>
                <a:cubicBezTo>
                  <a:pt x="144" y="26"/>
                  <a:pt x="145" y="26"/>
                  <a:pt x="145" y="26"/>
                </a:cubicBezTo>
                <a:cubicBezTo>
                  <a:pt x="145" y="26"/>
                  <a:pt x="146" y="26"/>
                  <a:pt x="146" y="27"/>
                </a:cubicBezTo>
                <a:cubicBezTo>
                  <a:pt x="146" y="27"/>
                  <a:pt x="146" y="27"/>
                  <a:pt x="146" y="27"/>
                </a:cubicBezTo>
                <a:cubicBezTo>
                  <a:pt x="147" y="27"/>
                  <a:pt x="147" y="27"/>
                  <a:pt x="147" y="27"/>
                </a:cubicBezTo>
                <a:cubicBezTo>
                  <a:pt x="147" y="27"/>
                  <a:pt x="148" y="27"/>
                  <a:pt x="148" y="27"/>
                </a:cubicBezTo>
                <a:cubicBezTo>
                  <a:pt x="149" y="27"/>
                  <a:pt x="150" y="27"/>
                  <a:pt x="151" y="26"/>
                </a:cubicBezTo>
                <a:cubicBezTo>
                  <a:pt x="152" y="26"/>
                  <a:pt x="152" y="26"/>
                  <a:pt x="152" y="26"/>
                </a:cubicBezTo>
                <a:cubicBezTo>
                  <a:pt x="153" y="25"/>
                  <a:pt x="153" y="25"/>
                  <a:pt x="153" y="25"/>
                </a:cubicBezTo>
                <a:cubicBezTo>
                  <a:pt x="154" y="25"/>
                  <a:pt x="154" y="25"/>
                  <a:pt x="155" y="25"/>
                </a:cubicBezTo>
                <a:cubicBezTo>
                  <a:pt x="155" y="25"/>
                  <a:pt x="155" y="25"/>
                  <a:pt x="156" y="25"/>
                </a:cubicBezTo>
                <a:cubicBezTo>
                  <a:pt x="156" y="25"/>
                  <a:pt x="156" y="25"/>
                  <a:pt x="156" y="25"/>
                </a:cubicBezTo>
                <a:cubicBezTo>
                  <a:pt x="156" y="25"/>
                  <a:pt x="156" y="25"/>
                  <a:pt x="156" y="25"/>
                </a:cubicBezTo>
                <a:cubicBezTo>
                  <a:pt x="157" y="25"/>
                  <a:pt x="157" y="25"/>
                  <a:pt x="157" y="25"/>
                </a:cubicBezTo>
                <a:cubicBezTo>
                  <a:pt x="158" y="24"/>
                  <a:pt x="158" y="24"/>
                  <a:pt x="159" y="23"/>
                </a:cubicBezTo>
                <a:cubicBezTo>
                  <a:pt x="159" y="23"/>
                  <a:pt x="159" y="23"/>
                  <a:pt x="159" y="23"/>
                </a:cubicBezTo>
                <a:cubicBezTo>
                  <a:pt x="160" y="22"/>
                  <a:pt x="160" y="21"/>
                  <a:pt x="161" y="20"/>
                </a:cubicBezTo>
                <a:cubicBezTo>
                  <a:pt x="163" y="19"/>
                  <a:pt x="163" y="19"/>
                  <a:pt x="163" y="19"/>
                </a:cubicBezTo>
                <a:cubicBezTo>
                  <a:pt x="164" y="19"/>
                  <a:pt x="164" y="19"/>
                  <a:pt x="164" y="19"/>
                </a:cubicBezTo>
                <a:cubicBezTo>
                  <a:pt x="161" y="19"/>
                  <a:pt x="161" y="19"/>
                  <a:pt x="161" y="19"/>
                </a:cubicBezTo>
                <a:cubicBezTo>
                  <a:pt x="164" y="18"/>
                  <a:pt x="164" y="18"/>
                  <a:pt x="164" y="18"/>
                </a:cubicBezTo>
                <a:cubicBezTo>
                  <a:pt x="162" y="18"/>
                  <a:pt x="160" y="17"/>
                  <a:pt x="159" y="16"/>
                </a:cubicBezTo>
                <a:cubicBezTo>
                  <a:pt x="158" y="16"/>
                  <a:pt x="157" y="15"/>
                  <a:pt x="157" y="15"/>
                </a:cubicBezTo>
                <a:cubicBezTo>
                  <a:pt x="156" y="15"/>
                  <a:pt x="156" y="14"/>
                  <a:pt x="156" y="14"/>
                </a:cubicBezTo>
                <a:cubicBezTo>
                  <a:pt x="155" y="14"/>
                  <a:pt x="155" y="14"/>
                  <a:pt x="154" y="14"/>
                </a:cubicBezTo>
                <a:cubicBezTo>
                  <a:pt x="154" y="14"/>
                  <a:pt x="154" y="14"/>
                  <a:pt x="154" y="14"/>
                </a:cubicBezTo>
                <a:cubicBezTo>
                  <a:pt x="154" y="14"/>
                  <a:pt x="154" y="14"/>
                  <a:pt x="154" y="14"/>
                </a:cubicBezTo>
                <a:cubicBezTo>
                  <a:pt x="153" y="14"/>
                  <a:pt x="152" y="14"/>
                  <a:pt x="152" y="14"/>
                </a:cubicBezTo>
                <a:cubicBezTo>
                  <a:pt x="152" y="14"/>
                  <a:pt x="152" y="13"/>
                  <a:pt x="151" y="13"/>
                </a:cubicBezTo>
                <a:cubicBezTo>
                  <a:pt x="151" y="13"/>
                  <a:pt x="151" y="13"/>
                  <a:pt x="151" y="13"/>
                </a:cubicBezTo>
                <a:cubicBezTo>
                  <a:pt x="151" y="13"/>
                  <a:pt x="151" y="13"/>
                  <a:pt x="151" y="13"/>
                </a:cubicBezTo>
                <a:cubicBezTo>
                  <a:pt x="151" y="13"/>
                  <a:pt x="151" y="12"/>
                  <a:pt x="151" y="12"/>
                </a:cubicBezTo>
                <a:cubicBezTo>
                  <a:pt x="150" y="11"/>
                  <a:pt x="150" y="11"/>
                  <a:pt x="150" y="11"/>
                </a:cubicBezTo>
                <a:cubicBezTo>
                  <a:pt x="149" y="10"/>
                  <a:pt x="150" y="9"/>
                  <a:pt x="150" y="8"/>
                </a:cubicBezTo>
                <a:cubicBezTo>
                  <a:pt x="150" y="8"/>
                  <a:pt x="150" y="8"/>
                  <a:pt x="150" y="8"/>
                </a:cubicBezTo>
                <a:cubicBezTo>
                  <a:pt x="150" y="8"/>
                  <a:pt x="150" y="7"/>
                  <a:pt x="150" y="7"/>
                </a:cubicBezTo>
                <a:cubicBezTo>
                  <a:pt x="150" y="6"/>
                  <a:pt x="150" y="6"/>
                  <a:pt x="150" y="6"/>
                </a:cubicBezTo>
                <a:cubicBezTo>
                  <a:pt x="149" y="5"/>
                  <a:pt x="148" y="4"/>
                  <a:pt x="148" y="4"/>
                </a:cubicBezTo>
                <a:cubicBezTo>
                  <a:pt x="147" y="4"/>
                  <a:pt x="147" y="3"/>
                  <a:pt x="147" y="3"/>
                </a:cubicBezTo>
                <a:cubicBezTo>
                  <a:pt x="146" y="3"/>
                  <a:pt x="146" y="3"/>
                  <a:pt x="145" y="2"/>
                </a:cubicBezTo>
                <a:cubicBezTo>
                  <a:pt x="145" y="2"/>
                  <a:pt x="144" y="1"/>
                  <a:pt x="144" y="1"/>
                </a:cubicBezTo>
                <a:cubicBezTo>
                  <a:pt x="143" y="1"/>
                  <a:pt x="142" y="1"/>
                  <a:pt x="141" y="1"/>
                </a:cubicBezTo>
                <a:cubicBezTo>
                  <a:pt x="141" y="1"/>
                  <a:pt x="141" y="1"/>
                  <a:pt x="141" y="1"/>
                </a:cubicBezTo>
                <a:cubicBezTo>
                  <a:pt x="141" y="1"/>
                  <a:pt x="140" y="1"/>
                  <a:pt x="140" y="1"/>
                </a:cubicBezTo>
                <a:cubicBezTo>
                  <a:pt x="139" y="1"/>
                  <a:pt x="139" y="1"/>
                  <a:pt x="138" y="0"/>
                </a:cubicBezTo>
                <a:cubicBezTo>
                  <a:pt x="138" y="0"/>
                  <a:pt x="138" y="0"/>
                  <a:pt x="138" y="0"/>
                </a:cubicBezTo>
                <a:cubicBezTo>
                  <a:pt x="138" y="0"/>
                  <a:pt x="138" y="0"/>
                  <a:pt x="138" y="0"/>
                </a:cubicBezTo>
                <a:cubicBezTo>
                  <a:pt x="138" y="0"/>
                  <a:pt x="137" y="0"/>
                  <a:pt x="137" y="0"/>
                </a:cubicBezTo>
                <a:cubicBezTo>
                  <a:pt x="137" y="0"/>
                  <a:pt x="137" y="0"/>
                  <a:pt x="137" y="0"/>
                </a:cubicBezTo>
                <a:cubicBezTo>
                  <a:pt x="136" y="1"/>
                  <a:pt x="136" y="1"/>
                  <a:pt x="135" y="1"/>
                </a:cubicBezTo>
                <a:cubicBezTo>
                  <a:pt x="135" y="1"/>
                  <a:pt x="135" y="1"/>
                  <a:pt x="135" y="1"/>
                </a:cubicBezTo>
                <a:cubicBezTo>
                  <a:pt x="134" y="2"/>
                  <a:pt x="133" y="2"/>
                  <a:pt x="132" y="2"/>
                </a:cubicBezTo>
                <a:cubicBezTo>
                  <a:pt x="132" y="3"/>
                  <a:pt x="132" y="3"/>
                  <a:pt x="132" y="3"/>
                </a:cubicBezTo>
                <a:cubicBezTo>
                  <a:pt x="131" y="3"/>
                  <a:pt x="130" y="3"/>
                  <a:pt x="129" y="2"/>
                </a:cubicBezTo>
                <a:cubicBezTo>
                  <a:pt x="129" y="2"/>
                  <a:pt x="129" y="2"/>
                  <a:pt x="129" y="2"/>
                </a:cubicBezTo>
                <a:cubicBezTo>
                  <a:pt x="129" y="2"/>
                  <a:pt x="128" y="2"/>
                  <a:pt x="128" y="2"/>
                </a:cubicBezTo>
                <a:cubicBezTo>
                  <a:pt x="128" y="2"/>
                  <a:pt x="128" y="2"/>
                  <a:pt x="127" y="2"/>
                </a:cubicBezTo>
                <a:cubicBezTo>
                  <a:pt x="127" y="2"/>
                  <a:pt x="126" y="2"/>
                  <a:pt x="125" y="2"/>
                </a:cubicBezTo>
                <a:cubicBezTo>
                  <a:pt x="124" y="2"/>
                  <a:pt x="124" y="2"/>
                  <a:pt x="124" y="2"/>
                </a:cubicBezTo>
                <a:cubicBezTo>
                  <a:pt x="123" y="2"/>
                  <a:pt x="122" y="2"/>
                  <a:pt x="120" y="2"/>
                </a:cubicBezTo>
                <a:cubicBezTo>
                  <a:pt x="118" y="3"/>
                  <a:pt x="118" y="3"/>
                  <a:pt x="118" y="3"/>
                </a:cubicBezTo>
                <a:cubicBezTo>
                  <a:pt x="118" y="3"/>
                  <a:pt x="117" y="3"/>
                  <a:pt x="116" y="3"/>
                </a:cubicBezTo>
                <a:cubicBezTo>
                  <a:pt x="115" y="4"/>
                  <a:pt x="114" y="4"/>
                  <a:pt x="113" y="5"/>
                </a:cubicBezTo>
                <a:cubicBezTo>
                  <a:pt x="112" y="5"/>
                  <a:pt x="112" y="5"/>
                  <a:pt x="112" y="5"/>
                </a:cubicBezTo>
                <a:cubicBezTo>
                  <a:pt x="111" y="6"/>
                  <a:pt x="110" y="7"/>
                  <a:pt x="110" y="7"/>
                </a:cubicBezTo>
                <a:cubicBezTo>
                  <a:pt x="109" y="7"/>
                  <a:pt x="109" y="7"/>
                  <a:pt x="109" y="7"/>
                </a:cubicBezTo>
                <a:cubicBezTo>
                  <a:pt x="108" y="7"/>
                  <a:pt x="108" y="7"/>
                  <a:pt x="108" y="7"/>
                </a:cubicBezTo>
                <a:cubicBezTo>
                  <a:pt x="108" y="7"/>
                  <a:pt x="107" y="7"/>
                  <a:pt x="107" y="7"/>
                </a:cubicBezTo>
                <a:cubicBezTo>
                  <a:pt x="107" y="7"/>
                  <a:pt x="107" y="7"/>
                  <a:pt x="107" y="7"/>
                </a:cubicBezTo>
                <a:cubicBezTo>
                  <a:pt x="106" y="8"/>
                  <a:pt x="105" y="9"/>
                  <a:pt x="104" y="11"/>
                </a:cubicBezTo>
                <a:cubicBezTo>
                  <a:pt x="104" y="11"/>
                  <a:pt x="105" y="12"/>
                  <a:pt x="105" y="13"/>
                </a:cubicBezTo>
                <a:cubicBezTo>
                  <a:pt x="105" y="13"/>
                  <a:pt x="105" y="13"/>
                  <a:pt x="106" y="13"/>
                </a:cubicBezTo>
                <a:cubicBezTo>
                  <a:pt x="106" y="13"/>
                  <a:pt x="106" y="14"/>
                  <a:pt x="106" y="14"/>
                </a:cubicBezTo>
                <a:cubicBezTo>
                  <a:pt x="106" y="14"/>
                  <a:pt x="106" y="14"/>
                  <a:pt x="106" y="15"/>
                </a:cubicBezTo>
                <a:cubicBezTo>
                  <a:pt x="107" y="15"/>
                  <a:pt x="107" y="15"/>
                  <a:pt x="107" y="15"/>
                </a:cubicBezTo>
                <a:cubicBezTo>
                  <a:pt x="108" y="14"/>
                  <a:pt x="108" y="14"/>
                  <a:pt x="108" y="14"/>
                </a:cubicBezTo>
                <a:cubicBezTo>
                  <a:pt x="107" y="15"/>
                  <a:pt x="107" y="15"/>
                  <a:pt x="107" y="15"/>
                </a:cubicBezTo>
                <a:cubicBezTo>
                  <a:pt x="107" y="16"/>
                  <a:pt x="107" y="16"/>
                  <a:pt x="107" y="16"/>
                </a:cubicBezTo>
                <a:cubicBezTo>
                  <a:pt x="107" y="17"/>
                  <a:pt x="107" y="17"/>
                  <a:pt x="107" y="18"/>
                </a:cubicBezTo>
                <a:cubicBezTo>
                  <a:pt x="107" y="19"/>
                  <a:pt x="107" y="19"/>
                  <a:pt x="107" y="19"/>
                </a:cubicBezTo>
                <a:cubicBezTo>
                  <a:pt x="107" y="19"/>
                  <a:pt x="107" y="19"/>
                  <a:pt x="107" y="19"/>
                </a:cubicBezTo>
                <a:cubicBezTo>
                  <a:pt x="108" y="19"/>
                  <a:pt x="108" y="19"/>
                  <a:pt x="108" y="19"/>
                </a:cubicBezTo>
                <a:cubicBezTo>
                  <a:pt x="108" y="20"/>
                  <a:pt x="108" y="20"/>
                  <a:pt x="108" y="21"/>
                </a:cubicBezTo>
                <a:cubicBezTo>
                  <a:pt x="108" y="21"/>
                  <a:pt x="108" y="21"/>
                  <a:pt x="108" y="21"/>
                </a:cubicBezTo>
                <a:cubicBezTo>
                  <a:pt x="108" y="21"/>
                  <a:pt x="108" y="21"/>
                  <a:pt x="107" y="22"/>
                </a:cubicBezTo>
                <a:cubicBezTo>
                  <a:pt x="107" y="22"/>
                  <a:pt x="107" y="22"/>
                  <a:pt x="107" y="22"/>
                </a:cubicBezTo>
                <a:cubicBezTo>
                  <a:pt x="107" y="22"/>
                  <a:pt x="107" y="22"/>
                  <a:pt x="107" y="22"/>
                </a:cubicBezTo>
                <a:cubicBezTo>
                  <a:pt x="106" y="24"/>
                  <a:pt x="105" y="24"/>
                  <a:pt x="105" y="25"/>
                </a:cubicBezTo>
                <a:cubicBezTo>
                  <a:pt x="105" y="25"/>
                  <a:pt x="104" y="25"/>
                  <a:pt x="104" y="25"/>
                </a:cubicBezTo>
                <a:cubicBezTo>
                  <a:pt x="104" y="25"/>
                  <a:pt x="104" y="25"/>
                  <a:pt x="104" y="26"/>
                </a:cubicBezTo>
                <a:cubicBezTo>
                  <a:pt x="103" y="26"/>
                  <a:pt x="103" y="27"/>
                  <a:pt x="102" y="27"/>
                </a:cubicBezTo>
                <a:cubicBezTo>
                  <a:pt x="102" y="28"/>
                  <a:pt x="102" y="28"/>
                  <a:pt x="102" y="28"/>
                </a:cubicBezTo>
                <a:cubicBezTo>
                  <a:pt x="101" y="28"/>
                  <a:pt x="101" y="28"/>
                  <a:pt x="101" y="29"/>
                </a:cubicBezTo>
                <a:cubicBezTo>
                  <a:pt x="102" y="29"/>
                  <a:pt x="102" y="29"/>
                  <a:pt x="102" y="29"/>
                </a:cubicBezTo>
                <a:cubicBezTo>
                  <a:pt x="102" y="29"/>
                  <a:pt x="102" y="29"/>
                  <a:pt x="102" y="29"/>
                </a:cubicBezTo>
                <a:cubicBezTo>
                  <a:pt x="102" y="29"/>
                  <a:pt x="102" y="30"/>
                  <a:pt x="103" y="30"/>
                </a:cubicBezTo>
                <a:cubicBezTo>
                  <a:pt x="103" y="31"/>
                  <a:pt x="103" y="31"/>
                  <a:pt x="103" y="31"/>
                </a:cubicBezTo>
                <a:cubicBezTo>
                  <a:pt x="103" y="32"/>
                  <a:pt x="103" y="32"/>
                  <a:pt x="103" y="32"/>
                </a:cubicBezTo>
                <a:cubicBezTo>
                  <a:pt x="102" y="32"/>
                  <a:pt x="102" y="33"/>
                  <a:pt x="102" y="33"/>
                </a:cubicBezTo>
                <a:cubicBezTo>
                  <a:pt x="102" y="33"/>
                  <a:pt x="102" y="33"/>
                  <a:pt x="102" y="33"/>
                </a:cubicBezTo>
                <a:cubicBezTo>
                  <a:pt x="102" y="33"/>
                  <a:pt x="102" y="33"/>
                  <a:pt x="102" y="33"/>
                </a:cubicBezTo>
                <a:cubicBezTo>
                  <a:pt x="102" y="34"/>
                  <a:pt x="101" y="34"/>
                  <a:pt x="100" y="35"/>
                </a:cubicBezTo>
                <a:cubicBezTo>
                  <a:pt x="99" y="36"/>
                  <a:pt x="96" y="36"/>
                  <a:pt x="94" y="36"/>
                </a:cubicBezTo>
                <a:cubicBezTo>
                  <a:pt x="94" y="36"/>
                  <a:pt x="94" y="36"/>
                  <a:pt x="94" y="36"/>
                </a:cubicBezTo>
                <a:cubicBezTo>
                  <a:pt x="94" y="36"/>
                  <a:pt x="93" y="36"/>
                  <a:pt x="93" y="36"/>
                </a:cubicBezTo>
                <a:cubicBezTo>
                  <a:pt x="92" y="35"/>
                  <a:pt x="91" y="35"/>
                  <a:pt x="90" y="35"/>
                </a:cubicBezTo>
                <a:cubicBezTo>
                  <a:pt x="91" y="36"/>
                  <a:pt x="91" y="36"/>
                  <a:pt x="91" y="36"/>
                </a:cubicBezTo>
                <a:cubicBezTo>
                  <a:pt x="91" y="36"/>
                  <a:pt x="91" y="36"/>
                  <a:pt x="92" y="37"/>
                </a:cubicBezTo>
                <a:cubicBezTo>
                  <a:pt x="92" y="38"/>
                  <a:pt x="92" y="38"/>
                  <a:pt x="92" y="38"/>
                </a:cubicBezTo>
                <a:cubicBezTo>
                  <a:pt x="94" y="41"/>
                  <a:pt x="95" y="42"/>
                  <a:pt x="94" y="43"/>
                </a:cubicBezTo>
                <a:cubicBezTo>
                  <a:pt x="94" y="43"/>
                  <a:pt x="94" y="43"/>
                  <a:pt x="94" y="43"/>
                </a:cubicBezTo>
                <a:cubicBezTo>
                  <a:pt x="94" y="43"/>
                  <a:pt x="94" y="43"/>
                  <a:pt x="93" y="43"/>
                </a:cubicBezTo>
                <a:cubicBezTo>
                  <a:pt x="93" y="44"/>
                  <a:pt x="93" y="44"/>
                  <a:pt x="93" y="44"/>
                </a:cubicBezTo>
                <a:cubicBezTo>
                  <a:pt x="93" y="44"/>
                  <a:pt x="91" y="45"/>
                  <a:pt x="90" y="46"/>
                </a:cubicBezTo>
                <a:cubicBezTo>
                  <a:pt x="90" y="48"/>
                  <a:pt x="90" y="48"/>
                  <a:pt x="90" y="48"/>
                </a:cubicBezTo>
                <a:cubicBezTo>
                  <a:pt x="89" y="46"/>
                  <a:pt x="89" y="46"/>
                  <a:pt x="89" y="46"/>
                </a:cubicBezTo>
                <a:cubicBezTo>
                  <a:pt x="89" y="46"/>
                  <a:pt x="89" y="46"/>
                  <a:pt x="89" y="46"/>
                </a:cubicBezTo>
                <a:cubicBezTo>
                  <a:pt x="89" y="46"/>
                  <a:pt x="88" y="46"/>
                  <a:pt x="88" y="46"/>
                </a:cubicBezTo>
                <a:cubicBezTo>
                  <a:pt x="88" y="46"/>
                  <a:pt x="88" y="46"/>
                  <a:pt x="88" y="46"/>
                </a:cubicBezTo>
                <a:cubicBezTo>
                  <a:pt x="88" y="46"/>
                  <a:pt x="88" y="46"/>
                  <a:pt x="88" y="46"/>
                </a:cubicBezTo>
                <a:cubicBezTo>
                  <a:pt x="87" y="46"/>
                  <a:pt x="87" y="46"/>
                  <a:pt x="87" y="46"/>
                </a:cubicBezTo>
                <a:cubicBezTo>
                  <a:pt x="87" y="46"/>
                  <a:pt x="87" y="46"/>
                  <a:pt x="87" y="46"/>
                </a:cubicBezTo>
                <a:cubicBezTo>
                  <a:pt x="87" y="46"/>
                  <a:pt x="87" y="46"/>
                  <a:pt x="87" y="46"/>
                </a:cubicBezTo>
                <a:cubicBezTo>
                  <a:pt x="86" y="46"/>
                  <a:pt x="86" y="46"/>
                  <a:pt x="86" y="46"/>
                </a:cubicBezTo>
                <a:cubicBezTo>
                  <a:pt x="86" y="46"/>
                  <a:pt x="86" y="46"/>
                  <a:pt x="86" y="46"/>
                </a:cubicBezTo>
                <a:cubicBezTo>
                  <a:pt x="86" y="46"/>
                  <a:pt x="86" y="46"/>
                  <a:pt x="86" y="46"/>
                </a:cubicBezTo>
                <a:cubicBezTo>
                  <a:pt x="86" y="47"/>
                  <a:pt x="86" y="47"/>
                  <a:pt x="86" y="48"/>
                </a:cubicBezTo>
                <a:cubicBezTo>
                  <a:pt x="86" y="48"/>
                  <a:pt x="86" y="49"/>
                  <a:pt x="85" y="49"/>
                </a:cubicBezTo>
                <a:cubicBezTo>
                  <a:pt x="85" y="50"/>
                  <a:pt x="85" y="50"/>
                  <a:pt x="85" y="50"/>
                </a:cubicBezTo>
                <a:cubicBezTo>
                  <a:pt x="85" y="50"/>
                  <a:pt x="85" y="50"/>
                  <a:pt x="85" y="50"/>
                </a:cubicBezTo>
                <a:cubicBezTo>
                  <a:pt x="85" y="51"/>
                  <a:pt x="84" y="51"/>
                  <a:pt x="84" y="52"/>
                </a:cubicBezTo>
                <a:cubicBezTo>
                  <a:pt x="84" y="52"/>
                  <a:pt x="84" y="52"/>
                  <a:pt x="84" y="52"/>
                </a:cubicBezTo>
                <a:cubicBezTo>
                  <a:pt x="84" y="55"/>
                  <a:pt x="84" y="55"/>
                  <a:pt x="84" y="55"/>
                </a:cubicBezTo>
                <a:cubicBezTo>
                  <a:pt x="84" y="55"/>
                  <a:pt x="84" y="55"/>
                  <a:pt x="84" y="55"/>
                </a:cubicBezTo>
                <a:cubicBezTo>
                  <a:pt x="84" y="57"/>
                  <a:pt x="84" y="57"/>
                  <a:pt x="84" y="57"/>
                </a:cubicBezTo>
                <a:cubicBezTo>
                  <a:pt x="84" y="58"/>
                  <a:pt x="84" y="59"/>
                  <a:pt x="83" y="59"/>
                </a:cubicBezTo>
                <a:cubicBezTo>
                  <a:pt x="82" y="60"/>
                  <a:pt x="81" y="61"/>
                  <a:pt x="80" y="62"/>
                </a:cubicBezTo>
                <a:cubicBezTo>
                  <a:pt x="80" y="62"/>
                  <a:pt x="80" y="62"/>
                  <a:pt x="80" y="62"/>
                </a:cubicBezTo>
                <a:cubicBezTo>
                  <a:pt x="79" y="62"/>
                  <a:pt x="79" y="62"/>
                  <a:pt x="79" y="62"/>
                </a:cubicBezTo>
                <a:cubicBezTo>
                  <a:pt x="79" y="62"/>
                  <a:pt x="79" y="62"/>
                  <a:pt x="79" y="62"/>
                </a:cubicBezTo>
                <a:cubicBezTo>
                  <a:pt x="79" y="62"/>
                  <a:pt x="79" y="62"/>
                  <a:pt x="79" y="62"/>
                </a:cubicBezTo>
                <a:cubicBezTo>
                  <a:pt x="78" y="62"/>
                  <a:pt x="78" y="62"/>
                  <a:pt x="78" y="62"/>
                </a:cubicBezTo>
                <a:cubicBezTo>
                  <a:pt x="78" y="62"/>
                  <a:pt x="78" y="62"/>
                  <a:pt x="78" y="62"/>
                </a:cubicBezTo>
                <a:cubicBezTo>
                  <a:pt x="77" y="62"/>
                  <a:pt x="77" y="62"/>
                  <a:pt x="77" y="62"/>
                </a:cubicBezTo>
                <a:cubicBezTo>
                  <a:pt x="77" y="62"/>
                  <a:pt x="77" y="62"/>
                  <a:pt x="76" y="62"/>
                </a:cubicBezTo>
                <a:cubicBezTo>
                  <a:pt x="76" y="61"/>
                  <a:pt x="76" y="61"/>
                  <a:pt x="76" y="61"/>
                </a:cubicBezTo>
                <a:cubicBezTo>
                  <a:pt x="76" y="61"/>
                  <a:pt x="75" y="61"/>
                  <a:pt x="75" y="61"/>
                </a:cubicBezTo>
                <a:cubicBezTo>
                  <a:pt x="75" y="60"/>
                  <a:pt x="75" y="60"/>
                  <a:pt x="75" y="60"/>
                </a:cubicBezTo>
                <a:cubicBezTo>
                  <a:pt x="75" y="60"/>
                  <a:pt x="75" y="60"/>
                  <a:pt x="74" y="60"/>
                </a:cubicBezTo>
                <a:cubicBezTo>
                  <a:pt x="74" y="60"/>
                  <a:pt x="74" y="60"/>
                  <a:pt x="73" y="61"/>
                </a:cubicBezTo>
                <a:cubicBezTo>
                  <a:pt x="73" y="61"/>
                  <a:pt x="73" y="61"/>
                  <a:pt x="73" y="61"/>
                </a:cubicBezTo>
                <a:cubicBezTo>
                  <a:pt x="73" y="61"/>
                  <a:pt x="73" y="61"/>
                  <a:pt x="72" y="61"/>
                </a:cubicBezTo>
                <a:cubicBezTo>
                  <a:pt x="72" y="61"/>
                  <a:pt x="72" y="61"/>
                  <a:pt x="72" y="61"/>
                </a:cubicBezTo>
                <a:cubicBezTo>
                  <a:pt x="71" y="61"/>
                  <a:pt x="71" y="61"/>
                  <a:pt x="71" y="61"/>
                </a:cubicBezTo>
                <a:cubicBezTo>
                  <a:pt x="71" y="61"/>
                  <a:pt x="71" y="61"/>
                  <a:pt x="70" y="62"/>
                </a:cubicBezTo>
                <a:cubicBezTo>
                  <a:pt x="70" y="62"/>
                  <a:pt x="70" y="62"/>
                  <a:pt x="70" y="62"/>
                </a:cubicBezTo>
                <a:cubicBezTo>
                  <a:pt x="69" y="62"/>
                  <a:pt x="68" y="63"/>
                  <a:pt x="68" y="63"/>
                </a:cubicBezTo>
                <a:cubicBezTo>
                  <a:pt x="70" y="65"/>
                  <a:pt x="70" y="65"/>
                  <a:pt x="70" y="65"/>
                </a:cubicBezTo>
                <a:cubicBezTo>
                  <a:pt x="68" y="65"/>
                  <a:pt x="68" y="65"/>
                  <a:pt x="68" y="65"/>
                </a:cubicBezTo>
                <a:cubicBezTo>
                  <a:pt x="68" y="66"/>
                  <a:pt x="67" y="66"/>
                  <a:pt x="67" y="66"/>
                </a:cubicBezTo>
                <a:cubicBezTo>
                  <a:pt x="66" y="66"/>
                  <a:pt x="65" y="67"/>
                  <a:pt x="64" y="67"/>
                </a:cubicBezTo>
                <a:cubicBezTo>
                  <a:pt x="64" y="67"/>
                  <a:pt x="64" y="67"/>
                  <a:pt x="64" y="67"/>
                </a:cubicBezTo>
                <a:cubicBezTo>
                  <a:pt x="63" y="67"/>
                  <a:pt x="61" y="67"/>
                  <a:pt x="60" y="66"/>
                </a:cubicBezTo>
                <a:cubicBezTo>
                  <a:pt x="59" y="66"/>
                  <a:pt x="59" y="66"/>
                  <a:pt x="59" y="66"/>
                </a:cubicBezTo>
                <a:cubicBezTo>
                  <a:pt x="59" y="66"/>
                  <a:pt x="59" y="66"/>
                  <a:pt x="59" y="66"/>
                </a:cubicBezTo>
                <a:cubicBezTo>
                  <a:pt x="59" y="66"/>
                  <a:pt x="59" y="66"/>
                  <a:pt x="59" y="66"/>
                </a:cubicBezTo>
                <a:cubicBezTo>
                  <a:pt x="58" y="66"/>
                  <a:pt x="58" y="66"/>
                  <a:pt x="58" y="67"/>
                </a:cubicBezTo>
                <a:cubicBezTo>
                  <a:pt x="58" y="67"/>
                  <a:pt x="58" y="67"/>
                  <a:pt x="58" y="67"/>
                </a:cubicBezTo>
                <a:cubicBezTo>
                  <a:pt x="57" y="67"/>
                  <a:pt x="57" y="67"/>
                  <a:pt x="57" y="67"/>
                </a:cubicBezTo>
                <a:cubicBezTo>
                  <a:pt x="57" y="67"/>
                  <a:pt x="57" y="68"/>
                  <a:pt x="56" y="68"/>
                </a:cubicBezTo>
                <a:cubicBezTo>
                  <a:pt x="56" y="69"/>
                  <a:pt x="55" y="69"/>
                  <a:pt x="55" y="70"/>
                </a:cubicBezTo>
                <a:cubicBezTo>
                  <a:pt x="55" y="70"/>
                  <a:pt x="55" y="70"/>
                  <a:pt x="55" y="70"/>
                </a:cubicBezTo>
                <a:cubicBezTo>
                  <a:pt x="54" y="70"/>
                  <a:pt x="54" y="70"/>
                  <a:pt x="54" y="70"/>
                </a:cubicBezTo>
                <a:cubicBezTo>
                  <a:pt x="54" y="70"/>
                  <a:pt x="54" y="71"/>
                  <a:pt x="54" y="71"/>
                </a:cubicBezTo>
                <a:cubicBezTo>
                  <a:pt x="54" y="71"/>
                  <a:pt x="54" y="71"/>
                  <a:pt x="54" y="71"/>
                </a:cubicBezTo>
                <a:cubicBezTo>
                  <a:pt x="54" y="73"/>
                  <a:pt x="53" y="74"/>
                  <a:pt x="54" y="75"/>
                </a:cubicBezTo>
                <a:cubicBezTo>
                  <a:pt x="54" y="75"/>
                  <a:pt x="53" y="76"/>
                  <a:pt x="53" y="76"/>
                </a:cubicBezTo>
                <a:cubicBezTo>
                  <a:pt x="53" y="77"/>
                  <a:pt x="53" y="77"/>
                  <a:pt x="53" y="78"/>
                </a:cubicBezTo>
                <a:cubicBezTo>
                  <a:pt x="53" y="78"/>
                  <a:pt x="53" y="78"/>
                  <a:pt x="53" y="78"/>
                </a:cubicBezTo>
                <a:cubicBezTo>
                  <a:pt x="53" y="78"/>
                  <a:pt x="53" y="78"/>
                  <a:pt x="53" y="78"/>
                </a:cubicBezTo>
                <a:cubicBezTo>
                  <a:pt x="53" y="79"/>
                  <a:pt x="53" y="79"/>
                  <a:pt x="53" y="80"/>
                </a:cubicBezTo>
                <a:cubicBezTo>
                  <a:pt x="54" y="80"/>
                  <a:pt x="53" y="81"/>
                  <a:pt x="53" y="82"/>
                </a:cubicBezTo>
                <a:cubicBezTo>
                  <a:pt x="52" y="82"/>
                  <a:pt x="51" y="83"/>
                  <a:pt x="51" y="83"/>
                </a:cubicBezTo>
                <a:cubicBezTo>
                  <a:pt x="50" y="83"/>
                  <a:pt x="50" y="83"/>
                  <a:pt x="50" y="83"/>
                </a:cubicBezTo>
                <a:cubicBezTo>
                  <a:pt x="49" y="83"/>
                  <a:pt x="48" y="84"/>
                  <a:pt x="47" y="84"/>
                </a:cubicBezTo>
                <a:cubicBezTo>
                  <a:pt x="46" y="84"/>
                  <a:pt x="45" y="84"/>
                  <a:pt x="44" y="85"/>
                </a:cubicBezTo>
                <a:cubicBezTo>
                  <a:pt x="41" y="85"/>
                  <a:pt x="41" y="85"/>
                  <a:pt x="41" y="85"/>
                </a:cubicBezTo>
                <a:cubicBezTo>
                  <a:pt x="40" y="85"/>
                  <a:pt x="39" y="85"/>
                  <a:pt x="38" y="85"/>
                </a:cubicBezTo>
                <a:cubicBezTo>
                  <a:pt x="37" y="85"/>
                  <a:pt x="35" y="85"/>
                  <a:pt x="34" y="86"/>
                </a:cubicBezTo>
                <a:cubicBezTo>
                  <a:pt x="34" y="86"/>
                  <a:pt x="34" y="86"/>
                  <a:pt x="33" y="86"/>
                </a:cubicBezTo>
                <a:cubicBezTo>
                  <a:pt x="33" y="86"/>
                  <a:pt x="33" y="86"/>
                  <a:pt x="32" y="86"/>
                </a:cubicBezTo>
                <a:cubicBezTo>
                  <a:pt x="32" y="87"/>
                  <a:pt x="32" y="87"/>
                  <a:pt x="32" y="87"/>
                </a:cubicBezTo>
                <a:cubicBezTo>
                  <a:pt x="31" y="87"/>
                  <a:pt x="31" y="87"/>
                  <a:pt x="31" y="87"/>
                </a:cubicBezTo>
                <a:cubicBezTo>
                  <a:pt x="31" y="87"/>
                  <a:pt x="31" y="87"/>
                  <a:pt x="31" y="87"/>
                </a:cubicBezTo>
                <a:cubicBezTo>
                  <a:pt x="31" y="87"/>
                  <a:pt x="31" y="87"/>
                  <a:pt x="30" y="87"/>
                </a:cubicBezTo>
                <a:cubicBezTo>
                  <a:pt x="30" y="87"/>
                  <a:pt x="30" y="87"/>
                  <a:pt x="30" y="87"/>
                </a:cubicBezTo>
                <a:cubicBezTo>
                  <a:pt x="30" y="87"/>
                  <a:pt x="30" y="87"/>
                  <a:pt x="29" y="87"/>
                </a:cubicBezTo>
                <a:cubicBezTo>
                  <a:pt x="29" y="87"/>
                  <a:pt x="29" y="87"/>
                  <a:pt x="29" y="87"/>
                </a:cubicBezTo>
                <a:cubicBezTo>
                  <a:pt x="29" y="87"/>
                  <a:pt x="29" y="87"/>
                  <a:pt x="28" y="87"/>
                </a:cubicBezTo>
                <a:cubicBezTo>
                  <a:pt x="28" y="87"/>
                  <a:pt x="28" y="87"/>
                  <a:pt x="28" y="87"/>
                </a:cubicBezTo>
                <a:cubicBezTo>
                  <a:pt x="27" y="87"/>
                  <a:pt x="27" y="87"/>
                  <a:pt x="27" y="87"/>
                </a:cubicBezTo>
                <a:cubicBezTo>
                  <a:pt x="26" y="87"/>
                  <a:pt x="26" y="87"/>
                  <a:pt x="25" y="87"/>
                </a:cubicBezTo>
                <a:cubicBezTo>
                  <a:pt x="25" y="87"/>
                  <a:pt x="25" y="87"/>
                  <a:pt x="25" y="87"/>
                </a:cubicBezTo>
                <a:cubicBezTo>
                  <a:pt x="25" y="87"/>
                  <a:pt x="25" y="87"/>
                  <a:pt x="24" y="87"/>
                </a:cubicBezTo>
                <a:cubicBezTo>
                  <a:pt x="20" y="87"/>
                  <a:pt x="20" y="87"/>
                  <a:pt x="20" y="87"/>
                </a:cubicBezTo>
                <a:cubicBezTo>
                  <a:pt x="20" y="89"/>
                  <a:pt x="20" y="89"/>
                  <a:pt x="20" y="89"/>
                </a:cubicBezTo>
                <a:cubicBezTo>
                  <a:pt x="19" y="87"/>
                  <a:pt x="19" y="87"/>
                  <a:pt x="19" y="87"/>
                </a:cubicBezTo>
                <a:cubicBezTo>
                  <a:pt x="18" y="87"/>
                  <a:pt x="18" y="87"/>
                  <a:pt x="18" y="87"/>
                </a:cubicBezTo>
                <a:cubicBezTo>
                  <a:pt x="17" y="87"/>
                  <a:pt x="17" y="87"/>
                  <a:pt x="17" y="87"/>
                </a:cubicBezTo>
                <a:cubicBezTo>
                  <a:pt x="17" y="87"/>
                  <a:pt x="17" y="87"/>
                  <a:pt x="17" y="87"/>
                </a:cubicBezTo>
                <a:cubicBezTo>
                  <a:pt x="16" y="87"/>
                  <a:pt x="16" y="87"/>
                  <a:pt x="16" y="87"/>
                </a:cubicBezTo>
                <a:cubicBezTo>
                  <a:pt x="15" y="87"/>
                  <a:pt x="15" y="87"/>
                  <a:pt x="15" y="87"/>
                </a:cubicBezTo>
                <a:cubicBezTo>
                  <a:pt x="15" y="87"/>
                  <a:pt x="14" y="87"/>
                  <a:pt x="14" y="87"/>
                </a:cubicBezTo>
                <a:cubicBezTo>
                  <a:pt x="0" y="83"/>
                  <a:pt x="0" y="83"/>
                  <a:pt x="0" y="83"/>
                </a:cubicBezTo>
                <a:cubicBezTo>
                  <a:pt x="0" y="84"/>
                  <a:pt x="0" y="84"/>
                  <a:pt x="1" y="85"/>
                </a:cubicBezTo>
                <a:cubicBezTo>
                  <a:pt x="1" y="85"/>
                  <a:pt x="1" y="85"/>
                  <a:pt x="1" y="85"/>
                </a:cubicBezTo>
                <a:cubicBezTo>
                  <a:pt x="1" y="85"/>
                  <a:pt x="1" y="86"/>
                  <a:pt x="2" y="86"/>
                </a:cubicBezTo>
                <a:cubicBezTo>
                  <a:pt x="3" y="87"/>
                  <a:pt x="4" y="89"/>
                  <a:pt x="4" y="90"/>
                </a:cubicBezTo>
                <a:cubicBezTo>
                  <a:pt x="6" y="91"/>
                  <a:pt x="7" y="93"/>
                  <a:pt x="8" y="94"/>
                </a:cubicBezTo>
                <a:cubicBezTo>
                  <a:pt x="8" y="95"/>
                  <a:pt x="9" y="95"/>
                  <a:pt x="10" y="96"/>
                </a:cubicBezTo>
                <a:cubicBezTo>
                  <a:pt x="10" y="96"/>
                  <a:pt x="11" y="96"/>
                  <a:pt x="11" y="96"/>
                </a:cubicBezTo>
                <a:cubicBezTo>
                  <a:pt x="11" y="96"/>
                  <a:pt x="11" y="96"/>
                  <a:pt x="11" y="96"/>
                </a:cubicBezTo>
                <a:cubicBezTo>
                  <a:pt x="12" y="96"/>
                  <a:pt x="12" y="96"/>
                  <a:pt x="12" y="97"/>
                </a:cubicBezTo>
                <a:cubicBezTo>
                  <a:pt x="12" y="97"/>
                  <a:pt x="12" y="97"/>
                  <a:pt x="12" y="97"/>
                </a:cubicBezTo>
                <a:cubicBezTo>
                  <a:pt x="13" y="97"/>
                  <a:pt x="13" y="97"/>
                  <a:pt x="13" y="97"/>
                </a:cubicBezTo>
                <a:cubicBezTo>
                  <a:pt x="14" y="97"/>
                  <a:pt x="15" y="97"/>
                  <a:pt x="15" y="98"/>
                </a:cubicBezTo>
                <a:cubicBezTo>
                  <a:pt x="16" y="98"/>
                  <a:pt x="17" y="99"/>
                  <a:pt x="17" y="99"/>
                </a:cubicBezTo>
                <a:cubicBezTo>
                  <a:pt x="18" y="100"/>
                  <a:pt x="18" y="101"/>
                  <a:pt x="17" y="102"/>
                </a:cubicBezTo>
                <a:cubicBezTo>
                  <a:pt x="17" y="102"/>
                  <a:pt x="17" y="102"/>
                  <a:pt x="17" y="103"/>
                </a:cubicBezTo>
                <a:cubicBezTo>
                  <a:pt x="19" y="103"/>
                  <a:pt x="19" y="103"/>
                  <a:pt x="19" y="103"/>
                </a:cubicBezTo>
                <a:cubicBezTo>
                  <a:pt x="17" y="103"/>
                  <a:pt x="17" y="103"/>
                  <a:pt x="17" y="103"/>
                </a:cubicBezTo>
                <a:cubicBezTo>
                  <a:pt x="17" y="107"/>
                  <a:pt x="17" y="107"/>
                  <a:pt x="17" y="107"/>
                </a:cubicBezTo>
                <a:cubicBezTo>
                  <a:pt x="17" y="107"/>
                  <a:pt x="17" y="107"/>
                  <a:pt x="17" y="107"/>
                </a:cubicBezTo>
                <a:cubicBezTo>
                  <a:pt x="17" y="108"/>
                  <a:pt x="17" y="109"/>
                  <a:pt x="17" y="109"/>
                </a:cubicBezTo>
                <a:cubicBezTo>
                  <a:pt x="17" y="109"/>
                  <a:pt x="17" y="109"/>
                  <a:pt x="17" y="109"/>
                </a:cubicBezTo>
                <a:cubicBezTo>
                  <a:pt x="17" y="109"/>
                  <a:pt x="18" y="109"/>
                  <a:pt x="18" y="109"/>
                </a:cubicBezTo>
                <a:cubicBezTo>
                  <a:pt x="19" y="109"/>
                  <a:pt x="19" y="109"/>
                  <a:pt x="19" y="109"/>
                </a:cubicBezTo>
                <a:cubicBezTo>
                  <a:pt x="20" y="109"/>
                  <a:pt x="21" y="109"/>
                  <a:pt x="22" y="109"/>
                </a:cubicBezTo>
                <a:cubicBezTo>
                  <a:pt x="23" y="110"/>
                  <a:pt x="23" y="110"/>
                  <a:pt x="23" y="110"/>
                </a:cubicBezTo>
                <a:cubicBezTo>
                  <a:pt x="23" y="111"/>
                  <a:pt x="23" y="111"/>
                  <a:pt x="23" y="111"/>
                </a:cubicBezTo>
                <a:cubicBezTo>
                  <a:pt x="22" y="112"/>
                  <a:pt x="22" y="114"/>
                  <a:pt x="21" y="115"/>
                </a:cubicBezTo>
                <a:cubicBezTo>
                  <a:pt x="21" y="117"/>
                  <a:pt x="21" y="117"/>
                  <a:pt x="21" y="117"/>
                </a:cubicBezTo>
                <a:cubicBezTo>
                  <a:pt x="21" y="117"/>
                  <a:pt x="21" y="117"/>
                  <a:pt x="20" y="118"/>
                </a:cubicBezTo>
                <a:cubicBezTo>
                  <a:pt x="20" y="118"/>
                  <a:pt x="19" y="118"/>
                  <a:pt x="18" y="118"/>
                </a:cubicBezTo>
                <a:cubicBezTo>
                  <a:pt x="17" y="118"/>
                  <a:pt x="17" y="118"/>
                  <a:pt x="17" y="118"/>
                </a:cubicBezTo>
                <a:cubicBezTo>
                  <a:pt x="17" y="119"/>
                  <a:pt x="17" y="119"/>
                  <a:pt x="17" y="119"/>
                </a:cubicBezTo>
                <a:cubicBezTo>
                  <a:pt x="13" y="119"/>
                  <a:pt x="13" y="119"/>
                  <a:pt x="13" y="119"/>
                </a:cubicBezTo>
                <a:cubicBezTo>
                  <a:pt x="12" y="119"/>
                  <a:pt x="12" y="119"/>
                  <a:pt x="11" y="120"/>
                </a:cubicBezTo>
                <a:cubicBezTo>
                  <a:pt x="11" y="120"/>
                  <a:pt x="11" y="120"/>
                  <a:pt x="10" y="121"/>
                </a:cubicBezTo>
                <a:cubicBezTo>
                  <a:pt x="10" y="121"/>
                  <a:pt x="10" y="121"/>
                  <a:pt x="10" y="121"/>
                </a:cubicBezTo>
                <a:cubicBezTo>
                  <a:pt x="10" y="121"/>
                  <a:pt x="9" y="121"/>
                  <a:pt x="9" y="122"/>
                </a:cubicBezTo>
                <a:cubicBezTo>
                  <a:pt x="8" y="122"/>
                  <a:pt x="8" y="122"/>
                  <a:pt x="8" y="122"/>
                </a:cubicBezTo>
                <a:cubicBezTo>
                  <a:pt x="8" y="122"/>
                  <a:pt x="8" y="122"/>
                  <a:pt x="8" y="123"/>
                </a:cubicBezTo>
                <a:cubicBezTo>
                  <a:pt x="7" y="125"/>
                  <a:pt x="7" y="127"/>
                  <a:pt x="6" y="129"/>
                </a:cubicBezTo>
                <a:cubicBezTo>
                  <a:pt x="6" y="130"/>
                  <a:pt x="6" y="130"/>
                  <a:pt x="6" y="130"/>
                </a:cubicBezTo>
                <a:cubicBezTo>
                  <a:pt x="6" y="130"/>
                  <a:pt x="6" y="130"/>
                  <a:pt x="6" y="131"/>
                </a:cubicBezTo>
                <a:cubicBezTo>
                  <a:pt x="6" y="131"/>
                  <a:pt x="6" y="132"/>
                  <a:pt x="6" y="132"/>
                </a:cubicBezTo>
                <a:cubicBezTo>
                  <a:pt x="6" y="133"/>
                  <a:pt x="6" y="133"/>
                  <a:pt x="6" y="133"/>
                </a:cubicBezTo>
                <a:cubicBezTo>
                  <a:pt x="6" y="133"/>
                  <a:pt x="6" y="133"/>
                  <a:pt x="6" y="134"/>
                </a:cubicBezTo>
                <a:cubicBezTo>
                  <a:pt x="7" y="134"/>
                  <a:pt x="7" y="134"/>
                  <a:pt x="8" y="134"/>
                </a:cubicBezTo>
                <a:cubicBezTo>
                  <a:pt x="10" y="133"/>
                  <a:pt x="11" y="131"/>
                  <a:pt x="12" y="134"/>
                </a:cubicBezTo>
                <a:cubicBezTo>
                  <a:pt x="14" y="132"/>
                  <a:pt x="14" y="132"/>
                  <a:pt x="17" y="132"/>
                </a:cubicBezTo>
                <a:cubicBezTo>
                  <a:pt x="18" y="132"/>
                  <a:pt x="20" y="132"/>
                  <a:pt x="21" y="132"/>
                </a:cubicBezTo>
                <a:cubicBezTo>
                  <a:pt x="22" y="132"/>
                  <a:pt x="24" y="133"/>
                  <a:pt x="23" y="132"/>
                </a:cubicBezTo>
                <a:cubicBezTo>
                  <a:pt x="25" y="131"/>
                  <a:pt x="27" y="131"/>
                  <a:pt x="29" y="131"/>
                </a:cubicBezTo>
                <a:cubicBezTo>
                  <a:pt x="29" y="130"/>
                  <a:pt x="29" y="130"/>
                  <a:pt x="30" y="130"/>
                </a:cubicBezTo>
                <a:cubicBezTo>
                  <a:pt x="29" y="130"/>
                  <a:pt x="29" y="130"/>
                  <a:pt x="30" y="131"/>
                </a:cubicBezTo>
                <a:cubicBezTo>
                  <a:pt x="30" y="131"/>
                  <a:pt x="31" y="131"/>
                  <a:pt x="31" y="131"/>
                </a:cubicBezTo>
                <a:cubicBezTo>
                  <a:pt x="32" y="132"/>
                  <a:pt x="33" y="132"/>
                  <a:pt x="34" y="132"/>
                </a:cubicBezTo>
                <a:cubicBezTo>
                  <a:pt x="34" y="132"/>
                  <a:pt x="35" y="133"/>
                  <a:pt x="36" y="133"/>
                </a:cubicBezTo>
                <a:cubicBezTo>
                  <a:pt x="36" y="133"/>
                  <a:pt x="36" y="133"/>
                  <a:pt x="35" y="132"/>
                </a:cubicBezTo>
                <a:cubicBezTo>
                  <a:pt x="40" y="131"/>
                  <a:pt x="45" y="131"/>
                  <a:pt x="50" y="130"/>
                </a:cubicBezTo>
                <a:cubicBezTo>
                  <a:pt x="51" y="130"/>
                  <a:pt x="54" y="131"/>
                  <a:pt x="54" y="130"/>
                </a:cubicBezTo>
                <a:cubicBezTo>
                  <a:pt x="54" y="130"/>
                  <a:pt x="54" y="130"/>
                  <a:pt x="54" y="129"/>
                </a:cubicBezTo>
                <a:cubicBezTo>
                  <a:pt x="53" y="130"/>
                  <a:pt x="53" y="128"/>
                  <a:pt x="54" y="128"/>
                </a:cubicBezTo>
                <a:cubicBezTo>
                  <a:pt x="54" y="128"/>
                  <a:pt x="54" y="129"/>
                  <a:pt x="55" y="129"/>
                </a:cubicBezTo>
                <a:cubicBezTo>
                  <a:pt x="55" y="131"/>
                  <a:pt x="55" y="130"/>
                  <a:pt x="55" y="131"/>
                </a:cubicBezTo>
                <a:cubicBezTo>
                  <a:pt x="56" y="132"/>
                  <a:pt x="56" y="132"/>
                  <a:pt x="56" y="133"/>
                </a:cubicBezTo>
                <a:cubicBezTo>
                  <a:pt x="56" y="134"/>
                  <a:pt x="56" y="136"/>
                  <a:pt x="56" y="136"/>
                </a:cubicBezTo>
                <a:cubicBezTo>
                  <a:pt x="56" y="136"/>
                  <a:pt x="57" y="136"/>
                  <a:pt x="57" y="136"/>
                </a:cubicBezTo>
                <a:cubicBezTo>
                  <a:pt x="60" y="136"/>
                  <a:pt x="60" y="136"/>
                  <a:pt x="60" y="136"/>
                </a:cubicBezTo>
                <a:cubicBezTo>
                  <a:pt x="60" y="137"/>
                  <a:pt x="60" y="137"/>
                  <a:pt x="60" y="137"/>
                </a:cubicBezTo>
                <a:cubicBezTo>
                  <a:pt x="61" y="138"/>
                  <a:pt x="61" y="138"/>
                  <a:pt x="61" y="138"/>
                </a:cubicBezTo>
                <a:cubicBezTo>
                  <a:pt x="62" y="139"/>
                  <a:pt x="62" y="141"/>
                  <a:pt x="62" y="141"/>
                </a:cubicBezTo>
                <a:cubicBezTo>
                  <a:pt x="62" y="144"/>
                  <a:pt x="62" y="145"/>
                  <a:pt x="65" y="145"/>
                </a:cubicBezTo>
                <a:cubicBezTo>
                  <a:pt x="68" y="144"/>
                  <a:pt x="71" y="145"/>
                  <a:pt x="70" y="148"/>
                </a:cubicBezTo>
                <a:cubicBezTo>
                  <a:pt x="70" y="148"/>
                  <a:pt x="70" y="148"/>
                  <a:pt x="71" y="148"/>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88" name="Freeform 3145">
            <a:extLst>
              <a:ext uri="{FF2B5EF4-FFF2-40B4-BE49-F238E27FC236}">
                <a16:creationId xmlns:a16="http://schemas.microsoft.com/office/drawing/2014/main" id="{27D9E045-B988-4843-83EF-00D2F8818E73}"/>
              </a:ext>
            </a:extLst>
          </p:cNvPr>
          <p:cNvSpPr>
            <a:spLocks/>
          </p:cNvSpPr>
          <p:nvPr/>
        </p:nvSpPr>
        <p:spPr bwMode="auto">
          <a:xfrm>
            <a:off x="4211189" y="3197044"/>
            <a:ext cx="19822" cy="7123"/>
          </a:xfrm>
          <a:custGeom>
            <a:avLst/>
            <a:gdLst>
              <a:gd name="T0" fmla="*/ 2 w 17"/>
              <a:gd name="T1" fmla="*/ 5 h 5"/>
              <a:gd name="T2" fmla="*/ 6 w 17"/>
              <a:gd name="T3" fmla="*/ 5 h 5"/>
              <a:gd name="T4" fmla="*/ 7 w 17"/>
              <a:gd name="T5" fmla="*/ 5 h 5"/>
              <a:gd name="T6" fmla="*/ 9 w 17"/>
              <a:gd name="T7" fmla="*/ 4 h 5"/>
              <a:gd name="T8" fmla="*/ 9 w 17"/>
              <a:gd name="T9" fmla="*/ 4 h 5"/>
              <a:gd name="T10" fmla="*/ 10 w 17"/>
              <a:gd name="T11" fmla="*/ 4 h 5"/>
              <a:gd name="T12" fmla="*/ 11 w 17"/>
              <a:gd name="T13" fmla="*/ 5 h 5"/>
              <a:gd name="T14" fmla="*/ 11 w 17"/>
              <a:gd name="T15" fmla="*/ 5 h 5"/>
              <a:gd name="T16" fmla="*/ 12 w 17"/>
              <a:gd name="T17" fmla="*/ 5 h 5"/>
              <a:gd name="T18" fmla="*/ 13 w 17"/>
              <a:gd name="T19" fmla="*/ 5 h 5"/>
              <a:gd name="T20" fmla="*/ 14 w 17"/>
              <a:gd name="T21" fmla="*/ 5 h 5"/>
              <a:gd name="T22" fmla="*/ 16 w 17"/>
              <a:gd name="T23" fmla="*/ 4 h 5"/>
              <a:gd name="T24" fmla="*/ 16 w 17"/>
              <a:gd name="T25" fmla="*/ 3 h 5"/>
              <a:gd name="T26" fmla="*/ 16 w 17"/>
              <a:gd name="T27" fmla="*/ 1 h 5"/>
              <a:gd name="T28" fmla="*/ 17 w 17"/>
              <a:gd name="T29" fmla="*/ 1 h 5"/>
              <a:gd name="T30" fmla="*/ 17 w 17"/>
              <a:gd name="T31" fmla="*/ 1 h 5"/>
              <a:gd name="T32" fmla="*/ 17 w 17"/>
              <a:gd name="T33" fmla="*/ 1 h 5"/>
              <a:gd name="T34" fmla="*/ 16 w 17"/>
              <a:gd name="T35" fmla="*/ 1 h 5"/>
              <a:gd name="T36" fmla="*/ 16 w 17"/>
              <a:gd name="T37" fmla="*/ 1 h 5"/>
              <a:gd name="T38" fmla="*/ 15 w 17"/>
              <a:gd name="T39" fmla="*/ 1 h 5"/>
              <a:gd name="T40" fmla="*/ 15 w 17"/>
              <a:gd name="T41" fmla="*/ 2 h 5"/>
              <a:gd name="T42" fmla="*/ 15 w 17"/>
              <a:gd name="T43" fmla="*/ 2 h 5"/>
              <a:gd name="T44" fmla="*/ 14 w 17"/>
              <a:gd name="T45" fmla="*/ 2 h 5"/>
              <a:gd name="T46" fmla="*/ 12 w 17"/>
              <a:gd name="T47" fmla="*/ 2 h 5"/>
              <a:gd name="T48" fmla="*/ 11 w 17"/>
              <a:gd name="T49" fmla="*/ 3 h 5"/>
              <a:gd name="T50" fmla="*/ 9 w 17"/>
              <a:gd name="T51" fmla="*/ 3 h 5"/>
              <a:gd name="T52" fmla="*/ 9 w 17"/>
              <a:gd name="T53" fmla="*/ 3 h 5"/>
              <a:gd name="T54" fmla="*/ 8 w 17"/>
              <a:gd name="T55" fmla="*/ 2 h 5"/>
              <a:gd name="T56" fmla="*/ 8 w 17"/>
              <a:gd name="T57" fmla="*/ 1 h 5"/>
              <a:gd name="T58" fmla="*/ 8 w 17"/>
              <a:gd name="T59" fmla="*/ 1 h 5"/>
              <a:gd name="T60" fmla="*/ 6 w 17"/>
              <a:gd name="T61" fmla="*/ 0 h 5"/>
              <a:gd name="T62" fmla="*/ 5 w 17"/>
              <a:gd name="T63" fmla="*/ 1 h 5"/>
              <a:gd name="T64" fmla="*/ 0 w 17"/>
              <a:gd name="T65" fmla="*/ 4 h 5"/>
              <a:gd name="T66" fmla="*/ 0 w 17"/>
              <a:gd name="T67" fmla="*/ 5 h 5"/>
              <a:gd name="T68" fmla="*/ 0 w 17"/>
              <a:gd name="T69" fmla="*/ 5 h 5"/>
              <a:gd name="T70" fmla="*/ 2 w 17"/>
              <a:gd name="T7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 h="5">
                <a:moveTo>
                  <a:pt x="2" y="5"/>
                </a:moveTo>
                <a:cubicBezTo>
                  <a:pt x="4" y="5"/>
                  <a:pt x="5" y="5"/>
                  <a:pt x="6" y="5"/>
                </a:cubicBezTo>
                <a:cubicBezTo>
                  <a:pt x="7" y="5"/>
                  <a:pt x="7" y="5"/>
                  <a:pt x="7" y="5"/>
                </a:cubicBezTo>
                <a:cubicBezTo>
                  <a:pt x="8" y="4"/>
                  <a:pt x="9" y="4"/>
                  <a:pt x="9" y="4"/>
                </a:cubicBezTo>
                <a:cubicBezTo>
                  <a:pt x="9" y="4"/>
                  <a:pt x="9" y="4"/>
                  <a:pt x="9" y="4"/>
                </a:cubicBezTo>
                <a:cubicBezTo>
                  <a:pt x="10" y="4"/>
                  <a:pt x="10" y="4"/>
                  <a:pt x="10" y="4"/>
                </a:cubicBezTo>
                <a:cubicBezTo>
                  <a:pt x="10" y="5"/>
                  <a:pt x="11" y="5"/>
                  <a:pt x="11" y="5"/>
                </a:cubicBezTo>
                <a:cubicBezTo>
                  <a:pt x="11" y="5"/>
                  <a:pt x="11" y="5"/>
                  <a:pt x="11" y="5"/>
                </a:cubicBezTo>
                <a:cubicBezTo>
                  <a:pt x="12" y="5"/>
                  <a:pt x="12" y="5"/>
                  <a:pt x="12" y="5"/>
                </a:cubicBezTo>
                <a:cubicBezTo>
                  <a:pt x="12" y="5"/>
                  <a:pt x="13" y="5"/>
                  <a:pt x="13" y="5"/>
                </a:cubicBezTo>
                <a:cubicBezTo>
                  <a:pt x="14" y="5"/>
                  <a:pt x="14" y="5"/>
                  <a:pt x="14" y="5"/>
                </a:cubicBezTo>
                <a:cubicBezTo>
                  <a:pt x="14" y="5"/>
                  <a:pt x="15" y="4"/>
                  <a:pt x="16" y="4"/>
                </a:cubicBezTo>
                <a:cubicBezTo>
                  <a:pt x="16" y="4"/>
                  <a:pt x="16" y="3"/>
                  <a:pt x="16" y="3"/>
                </a:cubicBezTo>
                <a:cubicBezTo>
                  <a:pt x="16" y="2"/>
                  <a:pt x="16" y="2"/>
                  <a:pt x="16" y="1"/>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5" y="1"/>
                </a:cubicBezTo>
                <a:cubicBezTo>
                  <a:pt x="15" y="2"/>
                  <a:pt x="15" y="2"/>
                  <a:pt x="15" y="2"/>
                </a:cubicBezTo>
                <a:cubicBezTo>
                  <a:pt x="15" y="2"/>
                  <a:pt x="15" y="2"/>
                  <a:pt x="15" y="2"/>
                </a:cubicBezTo>
                <a:cubicBezTo>
                  <a:pt x="14" y="2"/>
                  <a:pt x="14" y="2"/>
                  <a:pt x="14" y="2"/>
                </a:cubicBezTo>
                <a:cubicBezTo>
                  <a:pt x="14" y="2"/>
                  <a:pt x="13" y="2"/>
                  <a:pt x="12" y="2"/>
                </a:cubicBezTo>
                <a:cubicBezTo>
                  <a:pt x="12" y="3"/>
                  <a:pt x="11" y="3"/>
                  <a:pt x="11" y="3"/>
                </a:cubicBezTo>
                <a:cubicBezTo>
                  <a:pt x="10" y="3"/>
                  <a:pt x="9" y="3"/>
                  <a:pt x="9" y="3"/>
                </a:cubicBezTo>
                <a:cubicBezTo>
                  <a:pt x="9" y="3"/>
                  <a:pt x="9" y="3"/>
                  <a:pt x="9" y="3"/>
                </a:cubicBezTo>
                <a:cubicBezTo>
                  <a:pt x="8" y="2"/>
                  <a:pt x="8" y="2"/>
                  <a:pt x="8" y="2"/>
                </a:cubicBezTo>
                <a:cubicBezTo>
                  <a:pt x="8" y="2"/>
                  <a:pt x="8" y="1"/>
                  <a:pt x="8" y="1"/>
                </a:cubicBezTo>
                <a:cubicBezTo>
                  <a:pt x="8" y="1"/>
                  <a:pt x="8" y="1"/>
                  <a:pt x="8" y="1"/>
                </a:cubicBezTo>
                <a:cubicBezTo>
                  <a:pt x="7" y="0"/>
                  <a:pt x="6" y="0"/>
                  <a:pt x="6" y="0"/>
                </a:cubicBezTo>
                <a:cubicBezTo>
                  <a:pt x="5" y="1"/>
                  <a:pt x="5" y="1"/>
                  <a:pt x="5" y="1"/>
                </a:cubicBezTo>
                <a:cubicBezTo>
                  <a:pt x="3" y="2"/>
                  <a:pt x="2" y="3"/>
                  <a:pt x="0" y="4"/>
                </a:cubicBezTo>
                <a:cubicBezTo>
                  <a:pt x="0" y="5"/>
                  <a:pt x="0" y="5"/>
                  <a:pt x="0" y="5"/>
                </a:cubicBezTo>
                <a:cubicBezTo>
                  <a:pt x="0" y="5"/>
                  <a:pt x="0" y="5"/>
                  <a:pt x="0" y="5"/>
                </a:cubicBezTo>
                <a:lnTo>
                  <a:pt x="2" y="5"/>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89" name="Freeform 3146">
            <a:extLst>
              <a:ext uri="{FF2B5EF4-FFF2-40B4-BE49-F238E27FC236}">
                <a16:creationId xmlns:a16="http://schemas.microsoft.com/office/drawing/2014/main" id="{67A842FB-1F2C-4BFF-ABC9-67D8932B807D}"/>
              </a:ext>
            </a:extLst>
          </p:cNvPr>
          <p:cNvSpPr>
            <a:spLocks/>
          </p:cNvSpPr>
          <p:nvPr/>
        </p:nvSpPr>
        <p:spPr bwMode="auto">
          <a:xfrm>
            <a:off x="4065990" y="3180423"/>
            <a:ext cx="139252" cy="143056"/>
          </a:xfrm>
          <a:custGeom>
            <a:avLst/>
            <a:gdLst>
              <a:gd name="T0" fmla="*/ 78 w 119"/>
              <a:gd name="T1" fmla="*/ 75 h 102"/>
              <a:gd name="T2" fmla="*/ 82 w 119"/>
              <a:gd name="T3" fmla="*/ 75 h 102"/>
              <a:gd name="T4" fmla="*/ 85 w 119"/>
              <a:gd name="T5" fmla="*/ 76 h 102"/>
              <a:gd name="T6" fmla="*/ 87 w 119"/>
              <a:gd name="T7" fmla="*/ 68 h 102"/>
              <a:gd name="T8" fmla="*/ 89 w 119"/>
              <a:gd name="T9" fmla="*/ 65 h 102"/>
              <a:gd name="T10" fmla="*/ 93 w 119"/>
              <a:gd name="T11" fmla="*/ 61 h 102"/>
              <a:gd name="T12" fmla="*/ 95 w 119"/>
              <a:gd name="T13" fmla="*/ 55 h 102"/>
              <a:gd name="T14" fmla="*/ 94 w 119"/>
              <a:gd name="T15" fmla="*/ 50 h 102"/>
              <a:gd name="T16" fmla="*/ 105 w 119"/>
              <a:gd name="T17" fmla="*/ 50 h 102"/>
              <a:gd name="T18" fmla="*/ 105 w 119"/>
              <a:gd name="T19" fmla="*/ 47 h 102"/>
              <a:gd name="T20" fmla="*/ 110 w 119"/>
              <a:gd name="T21" fmla="*/ 39 h 102"/>
              <a:gd name="T22" fmla="*/ 111 w 119"/>
              <a:gd name="T23" fmla="*/ 34 h 102"/>
              <a:gd name="T24" fmla="*/ 109 w 119"/>
              <a:gd name="T25" fmla="*/ 31 h 102"/>
              <a:gd name="T26" fmla="*/ 107 w 119"/>
              <a:gd name="T27" fmla="*/ 27 h 102"/>
              <a:gd name="T28" fmla="*/ 114 w 119"/>
              <a:gd name="T29" fmla="*/ 22 h 102"/>
              <a:gd name="T30" fmla="*/ 115 w 119"/>
              <a:gd name="T31" fmla="*/ 21 h 102"/>
              <a:gd name="T32" fmla="*/ 110 w 119"/>
              <a:gd name="T33" fmla="*/ 18 h 102"/>
              <a:gd name="T34" fmla="*/ 110 w 119"/>
              <a:gd name="T35" fmla="*/ 9 h 102"/>
              <a:gd name="T36" fmla="*/ 108 w 119"/>
              <a:gd name="T37" fmla="*/ 4 h 102"/>
              <a:gd name="T38" fmla="*/ 107 w 119"/>
              <a:gd name="T39" fmla="*/ 2 h 102"/>
              <a:gd name="T40" fmla="*/ 101 w 119"/>
              <a:gd name="T41" fmla="*/ 5 h 102"/>
              <a:gd name="T42" fmla="*/ 100 w 119"/>
              <a:gd name="T43" fmla="*/ 9 h 102"/>
              <a:gd name="T44" fmla="*/ 98 w 119"/>
              <a:gd name="T45" fmla="*/ 11 h 102"/>
              <a:gd name="T46" fmla="*/ 92 w 119"/>
              <a:gd name="T47" fmla="*/ 11 h 102"/>
              <a:gd name="T48" fmla="*/ 93 w 119"/>
              <a:gd name="T49" fmla="*/ 17 h 102"/>
              <a:gd name="T50" fmla="*/ 85 w 119"/>
              <a:gd name="T51" fmla="*/ 14 h 102"/>
              <a:gd name="T52" fmla="*/ 80 w 119"/>
              <a:gd name="T53" fmla="*/ 16 h 102"/>
              <a:gd name="T54" fmla="*/ 76 w 119"/>
              <a:gd name="T55" fmla="*/ 18 h 102"/>
              <a:gd name="T56" fmla="*/ 72 w 119"/>
              <a:gd name="T57" fmla="*/ 15 h 102"/>
              <a:gd name="T58" fmla="*/ 68 w 119"/>
              <a:gd name="T59" fmla="*/ 16 h 102"/>
              <a:gd name="T60" fmla="*/ 62 w 119"/>
              <a:gd name="T61" fmla="*/ 14 h 102"/>
              <a:gd name="T62" fmla="*/ 60 w 119"/>
              <a:gd name="T63" fmla="*/ 14 h 102"/>
              <a:gd name="T64" fmla="*/ 54 w 119"/>
              <a:gd name="T65" fmla="*/ 12 h 102"/>
              <a:gd name="T66" fmla="*/ 42 w 119"/>
              <a:gd name="T67" fmla="*/ 21 h 102"/>
              <a:gd name="T68" fmla="*/ 34 w 119"/>
              <a:gd name="T69" fmla="*/ 29 h 102"/>
              <a:gd name="T70" fmla="*/ 27 w 119"/>
              <a:gd name="T71" fmla="*/ 34 h 102"/>
              <a:gd name="T72" fmla="*/ 21 w 119"/>
              <a:gd name="T73" fmla="*/ 37 h 102"/>
              <a:gd name="T74" fmla="*/ 15 w 119"/>
              <a:gd name="T75" fmla="*/ 38 h 102"/>
              <a:gd name="T76" fmla="*/ 12 w 119"/>
              <a:gd name="T77" fmla="*/ 35 h 102"/>
              <a:gd name="T78" fmla="*/ 7 w 119"/>
              <a:gd name="T79" fmla="*/ 36 h 102"/>
              <a:gd name="T80" fmla="*/ 4 w 119"/>
              <a:gd name="T81" fmla="*/ 44 h 102"/>
              <a:gd name="T82" fmla="*/ 0 w 119"/>
              <a:gd name="T83" fmla="*/ 53 h 102"/>
              <a:gd name="T84" fmla="*/ 2 w 119"/>
              <a:gd name="T85" fmla="*/ 55 h 102"/>
              <a:gd name="T86" fmla="*/ 3 w 119"/>
              <a:gd name="T87" fmla="*/ 59 h 102"/>
              <a:gd name="T88" fmla="*/ 3 w 119"/>
              <a:gd name="T89" fmla="*/ 73 h 102"/>
              <a:gd name="T90" fmla="*/ 3 w 119"/>
              <a:gd name="T91" fmla="*/ 77 h 102"/>
              <a:gd name="T92" fmla="*/ 12 w 119"/>
              <a:gd name="T93" fmla="*/ 81 h 102"/>
              <a:gd name="T94" fmla="*/ 10 w 119"/>
              <a:gd name="T95" fmla="*/ 92 h 102"/>
              <a:gd name="T96" fmla="*/ 21 w 119"/>
              <a:gd name="T97" fmla="*/ 102 h 102"/>
              <a:gd name="T98" fmla="*/ 30 w 119"/>
              <a:gd name="T99" fmla="*/ 101 h 102"/>
              <a:gd name="T100" fmla="*/ 33 w 119"/>
              <a:gd name="T101" fmla="*/ 102 h 102"/>
              <a:gd name="T102" fmla="*/ 39 w 119"/>
              <a:gd name="T103" fmla="*/ 100 h 102"/>
              <a:gd name="T104" fmla="*/ 55 w 119"/>
              <a:gd name="T105" fmla="*/ 98 h 102"/>
              <a:gd name="T106" fmla="*/ 57 w 119"/>
              <a:gd name="T107" fmla="*/ 93 h 102"/>
              <a:gd name="T108" fmla="*/ 59 w 119"/>
              <a:gd name="T109" fmla="*/ 85 h 102"/>
              <a:gd name="T110" fmla="*/ 63 w 119"/>
              <a:gd name="T111" fmla="*/ 81 h 102"/>
              <a:gd name="T112" fmla="*/ 68 w 119"/>
              <a:gd name="T113" fmla="*/ 81 h 102"/>
              <a:gd name="T114" fmla="*/ 68 w 119"/>
              <a:gd name="T115" fmla="*/ 7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9" h="102">
                <a:moveTo>
                  <a:pt x="74" y="77"/>
                </a:moveTo>
                <a:cubicBezTo>
                  <a:pt x="75" y="77"/>
                  <a:pt x="75" y="77"/>
                  <a:pt x="75" y="77"/>
                </a:cubicBezTo>
                <a:cubicBezTo>
                  <a:pt x="75" y="77"/>
                  <a:pt x="75" y="77"/>
                  <a:pt x="75" y="77"/>
                </a:cubicBezTo>
                <a:cubicBezTo>
                  <a:pt x="75" y="76"/>
                  <a:pt x="76" y="76"/>
                  <a:pt x="76" y="76"/>
                </a:cubicBezTo>
                <a:cubicBezTo>
                  <a:pt x="76" y="76"/>
                  <a:pt x="77" y="76"/>
                  <a:pt x="77" y="76"/>
                </a:cubicBezTo>
                <a:cubicBezTo>
                  <a:pt x="77" y="75"/>
                  <a:pt x="78" y="75"/>
                  <a:pt x="78" y="75"/>
                </a:cubicBezTo>
                <a:cubicBezTo>
                  <a:pt x="78" y="75"/>
                  <a:pt x="78" y="75"/>
                  <a:pt x="78" y="75"/>
                </a:cubicBezTo>
                <a:cubicBezTo>
                  <a:pt x="79" y="75"/>
                  <a:pt x="79" y="75"/>
                  <a:pt x="79" y="75"/>
                </a:cubicBezTo>
                <a:cubicBezTo>
                  <a:pt x="79" y="75"/>
                  <a:pt x="80" y="75"/>
                  <a:pt x="80" y="75"/>
                </a:cubicBezTo>
                <a:cubicBezTo>
                  <a:pt x="80" y="75"/>
                  <a:pt x="81" y="75"/>
                  <a:pt x="81" y="75"/>
                </a:cubicBezTo>
                <a:cubicBezTo>
                  <a:pt x="81" y="75"/>
                  <a:pt x="81" y="75"/>
                  <a:pt x="81" y="75"/>
                </a:cubicBezTo>
                <a:cubicBezTo>
                  <a:pt x="82" y="75"/>
                  <a:pt x="82" y="75"/>
                  <a:pt x="82" y="75"/>
                </a:cubicBezTo>
                <a:cubicBezTo>
                  <a:pt x="83" y="76"/>
                  <a:pt x="83" y="76"/>
                  <a:pt x="83" y="76"/>
                </a:cubicBezTo>
                <a:cubicBezTo>
                  <a:pt x="83" y="76"/>
                  <a:pt x="83" y="76"/>
                  <a:pt x="84" y="76"/>
                </a:cubicBezTo>
                <a:cubicBezTo>
                  <a:pt x="84" y="76"/>
                  <a:pt x="84" y="76"/>
                  <a:pt x="84" y="76"/>
                </a:cubicBezTo>
                <a:cubicBezTo>
                  <a:pt x="84" y="77"/>
                  <a:pt x="84" y="77"/>
                  <a:pt x="84" y="77"/>
                </a:cubicBezTo>
                <a:cubicBezTo>
                  <a:pt x="84" y="77"/>
                  <a:pt x="84" y="77"/>
                  <a:pt x="84" y="77"/>
                </a:cubicBezTo>
                <a:cubicBezTo>
                  <a:pt x="85" y="76"/>
                  <a:pt x="85" y="76"/>
                  <a:pt x="85" y="76"/>
                </a:cubicBezTo>
                <a:cubicBezTo>
                  <a:pt x="86" y="76"/>
                  <a:pt x="87" y="75"/>
                  <a:pt x="87" y="74"/>
                </a:cubicBezTo>
                <a:cubicBezTo>
                  <a:pt x="88" y="74"/>
                  <a:pt x="88" y="74"/>
                  <a:pt x="88" y="74"/>
                </a:cubicBezTo>
                <a:cubicBezTo>
                  <a:pt x="87" y="71"/>
                  <a:pt x="87" y="71"/>
                  <a:pt x="87" y="71"/>
                </a:cubicBezTo>
                <a:cubicBezTo>
                  <a:pt x="87" y="71"/>
                  <a:pt x="87" y="71"/>
                  <a:pt x="87" y="71"/>
                </a:cubicBezTo>
                <a:cubicBezTo>
                  <a:pt x="87" y="69"/>
                  <a:pt x="87" y="69"/>
                  <a:pt x="87" y="69"/>
                </a:cubicBezTo>
                <a:cubicBezTo>
                  <a:pt x="87" y="68"/>
                  <a:pt x="87" y="68"/>
                  <a:pt x="87" y="68"/>
                </a:cubicBezTo>
                <a:cubicBezTo>
                  <a:pt x="87" y="68"/>
                  <a:pt x="88" y="68"/>
                  <a:pt x="88" y="67"/>
                </a:cubicBezTo>
                <a:cubicBezTo>
                  <a:pt x="88" y="67"/>
                  <a:pt x="88" y="67"/>
                  <a:pt x="88" y="67"/>
                </a:cubicBezTo>
                <a:cubicBezTo>
                  <a:pt x="88" y="67"/>
                  <a:pt x="89" y="67"/>
                  <a:pt x="89" y="66"/>
                </a:cubicBezTo>
                <a:cubicBezTo>
                  <a:pt x="89" y="66"/>
                  <a:pt x="89" y="66"/>
                  <a:pt x="89" y="66"/>
                </a:cubicBezTo>
                <a:cubicBezTo>
                  <a:pt x="89" y="66"/>
                  <a:pt x="89" y="66"/>
                  <a:pt x="89" y="66"/>
                </a:cubicBezTo>
                <a:cubicBezTo>
                  <a:pt x="89" y="65"/>
                  <a:pt x="89" y="65"/>
                  <a:pt x="89" y="65"/>
                </a:cubicBezTo>
                <a:cubicBezTo>
                  <a:pt x="89" y="63"/>
                  <a:pt x="90" y="62"/>
                  <a:pt x="90" y="61"/>
                </a:cubicBezTo>
                <a:cubicBezTo>
                  <a:pt x="91" y="61"/>
                  <a:pt x="91" y="61"/>
                  <a:pt x="91" y="61"/>
                </a:cubicBezTo>
                <a:cubicBezTo>
                  <a:pt x="91" y="61"/>
                  <a:pt x="91" y="61"/>
                  <a:pt x="92" y="61"/>
                </a:cubicBezTo>
                <a:cubicBezTo>
                  <a:pt x="92" y="61"/>
                  <a:pt x="92" y="61"/>
                  <a:pt x="92" y="61"/>
                </a:cubicBezTo>
                <a:cubicBezTo>
                  <a:pt x="92" y="61"/>
                  <a:pt x="92" y="61"/>
                  <a:pt x="93" y="61"/>
                </a:cubicBezTo>
                <a:cubicBezTo>
                  <a:pt x="93" y="61"/>
                  <a:pt x="93" y="61"/>
                  <a:pt x="93" y="61"/>
                </a:cubicBezTo>
                <a:cubicBezTo>
                  <a:pt x="94" y="61"/>
                  <a:pt x="94" y="61"/>
                  <a:pt x="94" y="60"/>
                </a:cubicBezTo>
                <a:cubicBezTo>
                  <a:pt x="95" y="60"/>
                  <a:pt x="95" y="60"/>
                  <a:pt x="95" y="60"/>
                </a:cubicBezTo>
                <a:cubicBezTo>
                  <a:pt x="95" y="60"/>
                  <a:pt x="97" y="59"/>
                  <a:pt x="98" y="59"/>
                </a:cubicBezTo>
                <a:cubicBezTo>
                  <a:pt x="98" y="59"/>
                  <a:pt x="98" y="59"/>
                  <a:pt x="98" y="59"/>
                </a:cubicBezTo>
                <a:cubicBezTo>
                  <a:pt x="97" y="58"/>
                  <a:pt x="97" y="58"/>
                  <a:pt x="96" y="57"/>
                </a:cubicBezTo>
                <a:cubicBezTo>
                  <a:pt x="95" y="55"/>
                  <a:pt x="95" y="55"/>
                  <a:pt x="95" y="55"/>
                </a:cubicBezTo>
                <a:cubicBezTo>
                  <a:pt x="95" y="55"/>
                  <a:pt x="95" y="55"/>
                  <a:pt x="95" y="55"/>
                </a:cubicBezTo>
                <a:cubicBezTo>
                  <a:pt x="95" y="55"/>
                  <a:pt x="95" y="55"/>
                  <a:pt x="95" y="55"/>
                </a:cubicBezTo>
                <a:cubicBezTo>
                  <a:pt x="95" y="55"/>
                  <a:pt x="95" y="55"/>
                  <a:pt x="95" y="55"/>
                </a:cubicBezTo>
                <a:cubicBezTo>
                  <a:pt x="94" y="53"/>
                  <a:pt x="94" y="53"/>
                  <a:pt x="94" y="53"/>
                </a:cubicBezTo>
                <a:cubicBezTo>
                  <a:pt x="93" y="52"/>
                  <a:pt x="94" y="51"/>
                  <a:pt x="94" y="50"/>
                </a:cubicBezTo>
                <a:cubicBezTo>
                  <a:pt x="94" y="50"/>
                  <a:pt x="94" y="50"/>
                  <a:pt x="94" y="50"/>
                </a:cubicBezTo>
                <a:cubicBezTo>
                  <a:pt x="95" y="49"/>
                  <a:pt x="97" y="50"/>
                  <a:pt x="100" y="50"/>
                </a:cubicBezTo>
                <a:cubicBezTo>
                  <a:pt x="100" y="50"/>
                  <a:pt x="100" y="50"/>
                  <a:pt x="100" y="50"/>
                </a:cubicBezTo>
                <a:cubicBezTo>
                  <a:pt x="100" y="50"/>
                  <a:pt x="100" y="50"/>
                  <a:pt x="101" y="51"/>
                </a:cubicBezTo>
                <a:cubicBezTo>
                  <a:pt x="101" y="51"/>
                  <a:pt x="101" y="51"/>
                  <a:pt x="101" y="51"/>
                </a:cubicBezTo>
                <a:cubicBezTo>
                  <a:pt x="101" y="51"/>
                  <a:pt x="102" y="51"/>
                  <a:pt x="102" y="51"/>
                </a:cubicBezTo>
                <a:cubicBezTo>
                  <a:pt x="103" y="51"/>
                  <a:pt x="104" y="50"/>
                  <a:pt x="105" y="50"/>
                </a:cubicBezTo>
                <a:cubicBezTo>
                  <a:pt x="105" y="49"/>
                  <a:pt x="106" y="49"/>
                  <a:pt x="106" y="49"/>
                </a:cubicBezTo>
                <a:cubicBezTo>
                  <a:pt x="106" y="49"/>
                  <a:pt x="106" y="49"/>
                  <a:pt x="106" y="49"/>
                </a:cubicBezTo>
                <a:cubicBezTo>
                  <a:pt x="106" y="49"/>
                  <a:pt x="106" y="49"/>
                  <a:pt x="106" y="49"/>
                </a:cubicBezTo>
                <a:cubicBezTo>
                  <a:pt x="106" y="48"/>
                  <a:pt x="106" y="48"/>
                  <a:pt x="106" y="48"/>
                </a:cubicBezTo>
                <a:cubicBezTo>
                  <a:pt x="106" y="48"/>
                  <a:pt x="106" y="48"/>
                  <a:pt x="106" y="48"/>
                </a:cubicBezTo>
                <a:cubicBezTo>
                  <a:pt x="106" y="48"/>
                  <a:pt x="106" y="47"/>
                  <a:pt x="105" y="47"/>
                </a:cubicBezTo>
                <a:cubicBezTo>
                  <a:pt x="105" y="46"/>
                  <a:pt x="105" y="44"/>
                  <a:pt x="106" y="43"/>
                </a:cubicBezTo>
                <a:cubicBezTo>
                  <a:pt x="106" y="43"/>
                  <a:pt x="106" y="43"/>
                  <a:pt x="107" y="42"/>
                </a:cubicBezTo>
                <a:cubicBezTo>
                  <a:pt x="107" y="42"/>
                  <a:pt x="107" y="42"/>
                  <a:pt x="107" y="42"/>
                </a:cubicBezTo>
                <a:cubicBezTo>
                  <a:pt x="108" y="41"/>
                  <a:pt x="108" y="41"/>
                  <a:pt x="108" y="40"/>
                </a:cubicBezTo>
                <a:cubicBezTo>
                  <a:pt x="109" y="40"/>
                  <a:pt x="109" y="39"/>
                  <a:pt x="110" y="39"/>
                </a:cubicBezTo>
                <a:cubicBezTo>
                  <a:pt x="110" y="39"/>
                  <a:pt x="110" y="39"/>
                  <a:pt x="110" y="39"/>
                </a:cubicBezTo>
                <a:cubicBezTo>
                  <a:pt x="110" y="39"/>
                  <a:pt x="110" y="39"/>
                  <a:pt x="110" y="39"/>
                </a:cubicBezTo>
                <a:cubicBezTo>
                  <a:pt x="110" y="38"/>
                  <a:pt x="111" y="38"/>
                  <a:pt x="111" y="37"/>
                </a:cubicBezTo>
                <a:cubicBezTo>
                  <a:pt x="111" y="37"/>
                  <a:pt x="111" y="37"/>
                  <a:pt x="111" y="37"/>
                </a:cubicBezTo>
                <a:cubicBezTo>
                  <a:pt x="111" y="37"/>
                  <a:pt x="111" y="37"/>
                  <a:pt x="111" y="37"/>
                </a:cubicBezTo>
                <a:cubicBezTo>
                  <a:pt x="111" y="36"/>
                  <a:pt x="111" y="36"/>
                  <a:pt x="111" y="35"/>
                </a:cubicBezTo>
                <a:cubicBezTo>
                  <a:pt x="111" y="35"/>
                  <a:pt x="111" y="34"/>
                  <a:pt x="111" y="34"/>
                </a:cubicBezTo>
                <a:cubicBezTo>
                  <a:pt x="110" y="33"/>
                  <a:pt x="110" y="33"/>
                  <a:pt x="110" y="33"/>
                </a:cubicBezTo>
                <a:cubicBezTo>
                  <a:pt x="110" y="33"/>
                  <a:pt x="110" y="33"/>
                  <a:pt x="110" y="33"/>
                </a:cubicBezTo>
                <a:cubicBezTo>
                  <a:pt x="110" y="33"/>
                  <a:pt x="110" y="33"/>
                  <a:pt x="110" y="33"/>
                </a:cubicBezTo>
                <a:cubicBezTo>
                  <a:pt x="110" y="32"/>
                  <a:pt x="110" y="32"/>
                  <a:pt x="110" y="32"/>
                </a:cubicBezTo>
                <a:cubicBezTo>
                  <a:pt x="110" y="32"/>
                  <a:pt x="110" y="32"/>
                  <a:pt x="109" y="32"/>
                </a:cubicBezTo>
                <a:cubicBezTo>
                  <a:pt x="109" y="31"/>
                  <a:pt x="109" y="31"/>
                  <a:pt x="109" y="31"/>
                </a:cubicBezTo>
                <a:cubicBezTo>
                  <a:pt x="109" y="31"/>
                  <a:pt x="109" y="31"/>
                  <a:pt x="109" y="31"/>
                </a:cubicBezTo>
                <a:cubicBezTo>
                  <a:pt x="109" y="30"/>
                  <a:pt x="108" y="29"/>
                  <a:pt x="108" y="29"/>
                </a:cubicBezTo>
                <a:cubicBezTo>
                  <a:pt x="108" y="29"/>
                  <a:pt x="108" y="29"/>
                  <a:pt x="108" y="29"/>
                </a:cubicBezTo>
                <a:cubicBezTo>
                  <a:pt x="108" y="29"/>
                  <a:pt x="107" y="29"/>
                  <a:pt x="107" y="29"/>
                </a:cubicBezTo>
                <a:cubicBezTo>
                  <a:pt x="106" y="28"/>
                  <a:pt x="106" y="28"/>
                  <a:pt x="106" y="28"/>
                </a:cubicBezTo>
                <a:cubicBezTo>
                  <a:pt x="107" y="27"/>
                  <a:pt x="107" y="27"/>
                  <a:pt x="107" y="27"/>
                </a:cubicBezTo>
                <a:cubicBezTo>
                  <a:pt x="109" y="25"/>
                  <a:pt x="110" y="23"/>
                  <a:pt x="112" y="22"/>
                </a:cubicBezTo>
                <a:cubicBezTo>
                  <a:pt x="112" y="21"/>
                  <a:pt x="112" y="21"/>
                  <a:pt x="112" y="21"/>
                </a:cubicBezTo>
                <a:cubicBezTo>
                  <a:pt x="113" y="21"/>
                  <a:pt x="113" y="21"/>
                  <a:pt x="113" y="21"/>
                </a:cubicBezTo>
                <a:cubicBezTo>
                  <a:pt x="113" y="21"/>
                  <a:pt x="113" y="21"/>
                  <a:pt x="113" y="21"/>
                </a:cubicBezTo>
                <a:cubicBezTo>
                  <a:pt x="113" y="21"/>
                  <a:pt x="113" y="22"/>
                  <a:pt x="114" y="22"/>
                </a:cubicBezTo>
                <a:cubicBezTo>
                  <a:pt x="114" y="22"/>
                  <a:pt x="114" y="22"/>
                  <a:pt x="114" y="22"/>
                </a:cubicBezTo>
                <a:cubicBezTo>
                  <a:pt x="114" y="22"/>
                  <a:pt x="114" y="22"/>
                  <a:pt x="114" y="22"/>
                </a:cubicBezTo>
                <a:cubicBezTo>
                  <a:pt x="115" y="21"/>
                  <a:pt x="116" y="21"/>
                  <a:pt x="116" y="21"/>
                </a:cubicBezTo>
                <a:cubicBezTo>
                  <a:pt x="118" y="20"/>
                  <a:pt x="118" y="20"/>
                  <a:pt x="118" y="20"/>
                </a:cubicBezTo>
                <a:cubicBezTo>
                  <a:pt x="118" y="20"/>
                  <a:pt x="118" y="19"/>
                  <a:pt x="119" y="19"/>
                </a:cubicBezTo>
                <a:cubicBezTo>
                  <a:pt x="119" y="19"/>
                  <a:pt x="119" y="19"/>
                  <a:pt x="119" y="19"/>
                </a:cubicBezTo>
                <a:cubicBezTo>
                  <a:pt x="117" y="20"/>
                  <a:pt x="116" y="20"/>
                  <a:pt x="115" y="21"/>
                </a:cubicBezTo>
                <a:cubicBezTo>
                  <a:pt x="114" y="21"/>
                  <a:pt x="114" y="21"/>
                  <a:pt x="114" y="21"/>
                </a:cubicBezTo>
                <a:cubicBezTo>
                  <a:pt x="114" y="21"/>
                  <a:pt x="113" y="21"/>
                  <a:pt x="113" y="21"/>
                </a:cubicBezTo>
                <a:cubicBezTo>
                  <a:pt x="113" y="21"/>
                  <a:pt x="113" y="21"/>
                  <a:pt x="113" y="21"/>
                </a:cubicBezTo>
                <a:cubicBezTo>
                  <a:pt x="113" y="21"/>
                  <a:pt x="112" y="21"/>
                  <a:pt x="112" y="21"/>
                </a:cubicBezTo>
                <a:cubicBezTo>
                  <a:pt x="111" y="21"/>
                  <a:pt x="111" y="20"/>
                  <a:pt x="110" y="19"/>
                </a:cubicBezTo>
                <a:cubicBezTo>
                  <a:pt x="110" y="19"/>
                  <a:pt x="110" y="18"/>
                  <a:pt x="110" y="18"/>
                </a:cubicBezTo>
                <a:cubicBezTo>
                  <a:pt x="110" y="18"/>
                  <a:pt x="110" y="18"/>
                  <a:pt x="110" y="18"/>
                </a:cubicBezTo>
                <a:cubicBezTo>
                  <a:pt x="110" y="17"/>
                  <a:pt x="109" y="17"/>
                  <a:pt x="109" y="16"/>
                </a:cubicBezTo>
                <a:cubicBezTo>
                  <a:pt x="109" y="15"/>
                  <a:pt x="109" y="15"/>
                  <a:pt x="109" y="15"/>
                </a:cubicBezTo>
                <a:cubicBezTo>
                  <a:pt x="110" y="14"/>
                  <a:pt x="110" y="14"/>
                  <a:pt x="110" y="14"/>
                </a:cubicBezTo>
                <a:cubicBezTo>
                  <a:pt x="110" y="13"/>
                  <a:pt x="110" y="13"/>
                  <a:pt x="110" y="13"/>
                </a:cubicBezTo>
                <a:cubicBezTo>
                  <a:pt x="110" y="12"/>
                  <a:pt x="110" y="11"/>
                  <a:pt x="110" y="9"/>
                </a:cubicBezTo>
                <a:cubicBezTo>
                  <a:pt x="110" y="8"/>
                  <a:pt x="111" y="7"/>
                  <a:pt x="111" y="6"/>
                </a:cubicBezTo>
                <a:cubicBezTo>
                  <a:pt x="110" y="6"/>
                  <a:pt x="110" y="6"/>
                  <a:pt x="110" y="6"/>
                </a:cubicBezTo>
                <a:cubicBezTo>
                  <a:pt x="109" y="6"/>
                  <a:pt x="109" y="6"/>
                  <a:pt x="109" y="6"/>
                </a:cubicBezTo>
                <a:cubicBezTo>
                  <a:pt x="109" y="6"/>
                  <a:pt x="109" y="6"/>
                  <a:pt x="109" y="6"/>
                </a:cubicBezTo>
                <a:cubicBezTo>
                  <a:pt x="107" y="6"/>
                  <a:pt x="107" y="6"/>
                  <a:pt x="107" y="6"/>
                </a:cubicBezTo>
                <a:cubicBezTo>
                  <a:pt x="108" y="4"/>
                  <a:pt x="108" y="4"/>
                  <a:pt x="108" y="4"/>
                </a:cubicBezTo>
                <a:cubicBezTo>
                  <a:pt x="108" y="4"/>
                  <a:pt x="108" y="3"/>
                  <a:pt x="108" y="3"/>
                </a:cubicBezTo>
                <a:cubicBezTo>
                  <a:pt x="108" y="3"/>
                  <a:pt x="108" y="3"/>
                  <a:pt x="108" y="3"/>
                </a:cubicBezTo>
                <a:cubicBezTo>
                  <a:pt x="108" y="3"/>
                  <a:pt x="108" y="3"/>
                  <a:pt x="108" y="2"/>
                </a:cubicBezTo>
                <a:cubicBezTo>
                  <a:pt x="107" y="2"/>
                  <a:pt x="107" y="2"/>
                  <a:pt x="107" y="2"/>
                </a:cubicBezTo>
                <a:cubicBezTo>
                  <a:pt x="105" y="4"/>
                  <a:pt x="105" y="4"/>
                  <a:pt x="105" y="4"/>
                </a:cubicBezTo>
                <a:cubicBezTo>
                  <a:pt x="107" y="2"/>
                  <a:pt x="107" y="2"/>
                  <a:pt x="107" y="2"/>
                </a:cubicBezTo>
                <a:cubicBezTo>
                  <a:pt x="107" y="1"/>
                  <a:pt x="106" y="1"/>
                  <a:pt x="106" y="1"/>
                </a:cubicBezTo>
                <a:cubicBezTo>
                  <a:pt x="106" y="1"/>
                  <a:pt x="106" y="1"/>
                  <a:pt x="106" y="0"/>
                </a:cubicBezTo>
                <a:cubicBezTo>
                  <a:pt x="106" y="0"/>
                  <a:pt x="106" y="0"/>
                  <a:pt x="106" y="0"/>
                </a:cubicBezTo>
                <a:cubicBezTo>
                  <a:pt x="105" y="1"/>
                  <a:pt x="105" y="1"/>
                  <a:pt x="104" y="1"/>
                </a:cubicBezTo>
                <a:cubicBezTo>
                  <a:pt x="103" y="1"/>
                  <a:pt x="103" y="2"/>
                  <a:pt x="102" y="3"/>
                </a:cubicBezTo>
                <a:cubicBezTo>
                  <a:pt x="102" y="4"/>
                  <a:pt x="101" y="4"/>
                  <a:pt x="101" y="5"/>
                </a:cubicBezTo>
                <a:cubicBezTo>
                  <a:pt x="100" y="5"/>
                  <a:pt x="100" y="5"/>
                  <a:pt x="100" y="5"/>
                </a:cubicBezTo>
                <a:cubicBezTo>
                  <a:pt x="100" y="5"/>
                  <a:pt x="99" y="6"/>
                  <a:pt x="99" y="6"/>
                </a:cubicBezTo>
                <a:cubicBezTo>
                  <a:pt x="99" y="6"/>
                  <a:pt x="99" y="6"/>
                  <a:pt x="99" y="6"/>
                </a:cubicBezTo>
                <a:cubicBezTo>
                  <a:pt x="99" y="6"/>
                  <a:pt x="99" y="6"/>
                  <a:pt x="99" y="6"/>
                </a:cubicBezTo>
                <a:cubicBezTo>
                  <a:pt x="99" y="7"/>
                  <a:pt x="100" y="7"/>
                  <a:pt x="100" y="8"/>
                </a:cubicBezTo>
                <a:cubicBezTo>
                  <a:pt x="100" y="8"/>
                  <a:pt x="100" y="8"/>
                  <a:pt x="100" y="9"/>
                </a:cubicBezTo>
                <a:cubicBezTo>
                  <a:pt x="100" y="9"/>
                  <a:pt x="100" y="9"/>
                  <a:pt x="99" y="10"/>
                </a:cubicBezTo>
                <a:cubicBezTo>
                  <a:pt x="99" y="10"/>
                  <a:pt x="99" y="11"/>
                  <a:pt x="98" y="11"/>
                </a:cubicBezTo>
                <a:cubicBezTo>
                  <a:pt x="98" y="11"/>
                  <a:pt x="98" y="11"/>
                  <a:pt x="98" y="11"/>
                </a:cubicBezTo>
                <a:cubicBezTo>
                  <a:pt x="99" y="13"/>
                  <a:pt x="99" y="13"/>
                  <a:pt x="99" y="13"/>
                </a:cubicBezTo>
                <a:cubicBezTo>
                  <a:pt x="98" y="11"/>
                  <a:pt x="98" y="11"/>
                  <a:pt x="98" y="11"/>
                </a:cubicBezTo>
                <a:cubicBezTo>
                  <a:pt x="98" y="11"/>
                  <a:pt x="98" y="11"/>
                  <a:pt x="98" y="11"/>
                </a:cubicBezTo>
                <a:cubicBezTo>
                  <a:pt x="97" y="11"/>
                  <a:pt x="97" y="11"/>
                  <a:pt x="97" y="11"/>
                </a:cubicBezTo>
                <a:cubicBezTo>
                  <a:pt x="97" y="11"/>
                  <a:pt x="97" y="11"/>
                  <a:pt x="97" y="11"/>
                </a:cubicBezTo>
                <a:cubicBezTo>
                  <a:pt x="96" y="11"/>
                  <a:pt x="95" y="11"/>
                  <a:pt x="95" y="11"/>
                </a:cubicBezTo>
                <a:cubicBezTo>
                  <a:pt x="95" y="11"/>
                  <a:pt x="94" y="11"/>
                  <a:pt x="94" y="11"/>
                </a:cubicBezTo>
                <a:cubicBezTo>
                  <a:pt x="94" y="11"/>
                  <a:pt x="93" y="11"/>
                  <a:pt x="92" y="11"/>
                </a:cubicBezTo>
                <a:cubicBezTo>
                  <a:pt x="92" y="11"/>
                  <a:pt x="92" y="11"/>
                  <a:pt x="92" y="11"/>
                </a:cubicBezTo>
                <a:cubicBezTo>
                  <a:pt x="92" y="11"/>
                  <a:pt x="92" y="11"/>
                  <a:pt x="92" y="12"/>
                </a:cubicBezTo>
                <a:cubicBezTo>
                  <a:pt x="91" y="13"/>
                  <a:pt x="91" y="13"/>
                  <a:pt x="91" y="13"/>
                </a:cubicBezTo>
                <a:cubicBezTo>
                  <a:pt x="91" y="13"/>
                  <a:pt x="91" y="13"/>
                  <a:pt x="91" y="14"/>
                </a:cubicBezTo>
                <a:cubicBezTo>
                  <a:pt x="91" y="14"/>
                  <a:pt x="91" y="14"/>
                  <a:pt x="91" y="14"/>
                </a:cubicBezTo>
                <a:cubicBezTo>
                  <a:pt x="91" y="15"/>
                  <a:pt x="91" y="15"/>
                  <a:pt x="91" y="15"/>
                </a:cubicBezTo>
                <a:cubicBezTo>
                  <a:pt x="93" y="17"/>
                  <a:pt x="93" y="17"/>
                  <a:pt x="93" y="17"/>
                </a:cubicBezTo>
                <a:cubicBezTo>
                  <a:pt x="90" y="16"/>
                  <a:pt x="90" y="16"/>
                  <a:pt x="90" y="16"/>
                </a:cubicBezTo>
                <a:cubicBezTo>
                  <a:pt x="90" y="16"/>
                  <a:pt x="90" y="16"/>
                  <a:pt x="89" y="16"/>
                </a:cubicBezTo>
                <a:cubicBezTo>
                  <a:pt x="89" y="16"/>
                  <a:pt x="88" y="16"/>
                  <a:pt x="88" y="16"/>
                </a:cubicBezTo>
                <a:cubicBezTo>
                  <a:pt x="87" y="16"/>
                  <a:pt x="87" y="16"/>
                  <a:pt x="86" y="15"/>
                </a:cubicBezTo>
                <a:cubicBezTo>
                  <a:pt x="85" y="14"/>
                  <a:pt x="85" y="14"/>
                  <a:pt x="85" y="14"/>
                </a:cubicBezTo>
                <a:cubicBezTo>
                  <a:pt x="85" y="14"/>
                  <a:pt x="85" y="14"/>
                  <a:pt x="85" y="14"/>
                </a:cubicBezTo>
                <a:cubicBezTo>
                  <a:pt x="85" y="14"/>
                  <a:pt x="85" y="14"/>
                  <a:pt x="84" y="14"/>
                </a:cubicBezTo>
                <a:cubicBezTo>
                  <a:pt x="84" y="14"/>
                  <a:pt x="84" y="14"/>
                  <a:pt x="84" y="14"/>
                </a:cubicBezTo>
                <a:cubicBezTo>
                  <a:pt x="84" y="14"/>
                  <a:pt x="84" y="14"/>
                  <a:pt x="84" y="14"/>
                </a:cubicBezTo>
                <a:cubicBezTo>
                  <a:pt x="84" y="15"/>
                  <a:pt x="83" y="15"/>
                  <a:pt x="83" y="15"/>
                </a:cubicBezTo>
                <a:cubicBezTo>
                  <a:pt x="82" y="15"/>
                  <a:pt x="81" y="16"/>
                  <a:pt x="80" y="16"/>
                </a:cubicBezTo>
                <a:cubicBezTo>
                  <a:pt x="80" y="16"/>
                  <a:pt x="80" y="16"/>
                  <a:pt x="80" y="16"/>
                </a:cubicBezTo>
                <a:cubicBezTo>
                  <a:pt x="80" y="16"/>
                  <a:pt x="80" y="16"/>
                  <a:pt x="79" y="16"/>
                </a:cubicBezTo>
                <a:cubicBezTo>
                  <a:pt x="79" y="17"/>
                  <a:pt x="78" y="17"/>
                  <a:pt x="78" y="17"/>
                </a:cubicBezTo>
                <a:cubicBezTo>
                  <a:pt x="78" y="17"/>
                  <a:pt x="78" y="17"/>
                  <a:pt x="78" y="17"/>
                </a:cubicBezTo>
                <a:cubicBezTo>
                  <a:pt x="78" y="18"/>
                  <a:pt x="78" y="18"/>
                  <a:pt x="78" y="18"/>
                </a:cubicBezTo>
                <a:cubicBezTo>
                  <a:pt x="78" y="18"/>
                  <a:pt x="78" y="18"/>
                  <a:pt x="78" y="18"/>
                </a:cubicBezTo>
                <a:cubicBezTo>
                  <a:pt x="77" y="18"/>
                  <a:pt x="77" y="18"/>
                  <a:pt x="76" y="18"/>
                </a:cubicBezTo>
                <a:cubicBezTo>
                  <a:pt x="76" y="18"/>
                  <a:pt x="76" y="18"/>
                  <a:pt x="76" y="18"/>
                </a:cubicBezTo>
                <a:cubicBezTo>
                  <a:pt x="75" y="18"/>
                  <a:pt x="75" y="18"/>
                  <a:pt x="74" y="18"/>
                </a:cubicBezTo>
                <a:cubicBezTo>
                  <a:pt x="73" y="17"/>
                  <a:pt x="73" y="17"/>
                  <a:pt x="73" y="17"/>
                </a:cubicBezTo>
                <a:cubicBezTo>
                  <a:pt x="72" y="16"/>
                  <a:pt x="72" y="16"/>
                  <a:pt x="72" y="16"/>
                </a:cubicBezTo>
                <a:cubicBezTo>
                  <a:pt x="72" y="16"/>
                  <a:pt x="72" y="16"/>
                  <a:pt x="72" y="16"/>
                </a:cubicBezTo>
                <a:cubicBezTo>
                  <a:pt x="72" y="16"/>
                  <a:pt x="72" y="16"/>
                  <a:pt x="72" y="15"/>
                </a:cubicBezTo>
                <a:cubicBezTo>
                  <a:pt x="72" y="15"/>
                  <a:pt x="72" y="15"/>
                  <a:pt x="72" y="15"/>
                </a:cubicBezTo>
                <a:cubicBezTo>
                  <a:pt x="72" y="15"/>
                  <a:pt x="71" y="15"/>
                  <a:pt x="71" y="16"/>
                </a:cubicBezTo>
                <a:cubicBezTo>
                  <a:pt x="70" y="16"/>
                  <a:pt x="70" y="16"/>
                  <a:pt x="70" y="16"/>
                </a:cubicBezTo>
                <a:cubicBezTo>
                  <a:pt x="70" y="16"/>
                  <a:pt x="70" y="16"/>
                  <a:pt x="70" y="16"/>
                </a:cubicBezTo>
                <a:cubicBezTo>
                  <a:pt x="69" y="16"/>
                  <a:pt x="69" y="16"/>
                  <a:pt x="68" y="15"/>
                </a:cubicBezTo>
                <a:cubicBezTo>
                  <a:pt x="68" y="15"/>
                  <a:pt x="68" y="16"/>
                  <a:pt x="68" y="16"/>
                </a:cubicBezTo>
                <a:cubicBezTo>
                  <a:pt x="67" y="16"/>
                  <a:pt x="67" y="15"/>
                  <a:pt x="66" y="15"/>
                </a:cubicBezTo>
                <a:cubicBezTo>
                  <a:pt x="66" y="14"/>
                  <a:pt x="66" y="14"/>
                  <a:pt x="66" y="14"/>
                </a:cubicBezTo>
                <a:cubicBezTo>
                  <a:pt x="65" y="14"/>
                  <a:pt x="65" y="14"/>
                  <a:pt x="65" y="13"/>
                </a:cubicBezTo>
                <a:cubicBezTo>
                  <a:pt x="64" y="13"/>
                  <a:pt x="64" y="13"/>
                  <a:pt x="64" y="13"/>
                </a:cubicBezTo>
                <a:cubicBezTo>
                  <a:pt x="62" y="13"/>
                  <a:pt x="62" y="13"/>
                  <a:pt x="62" y="13"/>
                </a:cubicBezTo>
                <a:cubicBezTo>
                  <a:pt x="62" y="14"/>
                  <a:pt x="62" y="14"/>
                  <a:pt x="62" y="14"/>
                </a:cubicBezTo>
                <a:cubicBezTo>
                  <a:pt x="61" y="13"/>
                  <a:pt x="61" y="13"/>
                  <a:pt x="61" y="13"/>
                </a:cubicBezTo>
                <a:cubicBezTo>
                  <a:pt x="61" y="13"/>
                  <a:pt x="61" y="13"/>
                  <a:pt x="61" y="13"/>
                </a:cubicBezTo>
                <a:cubicBezTo>
                  <a:pt x="60" y="14"/>
                  <a:pt x="60" y="14"/>
                  <a:pt x="60" y="14"/>
                </a:cubicBezTo>
                <a:cubicBezTo>
                  <a:pt x="60" y="14"/>
                  <a:pt x="60" y="14"/>
                  <a:pt x="60" y="14"/>
                </a:cubicBezTo>
                <a:cubicBezTo>
                  <a:pt x="60" y="14"/>
                  <a:pt x="60" y="14"/>
                  <a:pt x="60" y="14"/>
                </a:cubicBezTo>
                <a:cubicBezTo>
                  <a:pt x="60" y="14"/>
                  <a:pt x="60" y="14"/>
                  <a:pt x="60" y="14"/>
                </a:cubicBezTo>
                <a:cubicBezTo>
                  <a:pt x="59" y="14"/>
                  <a:pt x="59" y="14"/>
                  <a:pt x="58" y="14"/>
                </a:cubicBezTo>
                <a:cubicBezTo>
                  <a:pt x="58" y="14"/>
                  <a:pt x="57" y="13"/>
                  <a:pt x="57" y="13"/>
                </a:cubicBezTo>
                <a:cubicBezTo>
                  <a:pt x="57" y="13"/>
                  <a:pt x="57" y="13"/>
                  <a:pt x="57" y="13"/>
                </a:cubicBezTo>
                <a:cubicBezTo>
                  <a:pt x="56" y="13"/>
                  <a:pt x="56" y="13"/>
                  <a:pt x="55" y="13"/>
                </a:cubicBezTo>
                <a:cubicBezTo>
                  <a:pt x="55" y="12"/>
                  <a:pt x="55" y="12"/>
                  <a:pt x="55" y="12"/>
                </a:cubicBezTo>
                <a:cubicBezTo>
                  <a:pt x="54" y="12"/>
                  <a:pt x="54" y="12"/>
                  <a:pt x="54" y="12"/>
                </a:cubicBezTo>
                <a:cubicBezTo>
                  <a:pt x="53" y="12"/>
                  <a:pt x="53" y="12"/>
                  <a:pt x="53" y="12"/>
                </a:cubicBezTo>
                <a:cubicBezTo>
                  <a:pt x="53" y="12"/>
                  <a:pt x="53" y="12"/>
                  <a:pt x="53" y="12"/>
                </a:cubicBezTo>
                <a:cubicBezTo>
                  <a:pt x="52" y="13"/>
                  <a:pt x="51" y="14"/>
                  <a:pt x="50" y="15"/>
                </a:cubicBezTo>
                <a:cubicBezTo>
                  <a:pt x="50" y="15"/>
                  <a:pt x="50" y="15"/>
                  <a:pt x="49" y="15"/>
                </a:cubicBezTo>
                <a:cubicBezTo>
                  <a:pt x="49" y="15"/>
                  <a:pt x="48" y="15"/>
                  <a:pt x="48" y="15"/>
                </a:cubicBezTo>
                <a:cubicBezTo>
                  <a:pt x="42" y="21"/>
                  <a:pt x="42" y="21"/>
                  <a:pt x="42" y="21"/>
                </a:cubicBezTo>
                <a:cubicBezTo>
                  <a:pt x="42" y="21"/>
                  <a:pt x="42" y="21"/>
                  <a:pt x="42" y="21"/>
                </a:cubicBezTo>
                <a:cubicBezTo>
                  <a:pt x="42" y="21"/>
                  <a:pt x="42" y="21"/>
                  <a:pt x="42" y="22"/>
                </a:cubicBezTo>
                <a:cubicBezTo>
                  <a:pt x="42" y="23"/>
                  <a:pt x="42" y="24"/>
                  <a:pt x="41" y="25"/>
                </a:cubicBezTo>
                <a:cubicBezTo>
                  <a:pt x="40" y="26"/>
                  <a:pt x="40" y="26"/>
                  <a:pt x="40" y="26"/>
                </a:cubicBezTo>
                <a:cubicBezTo>
                  <a:pt x="39" y="26"/>
                  <a:pt x="38" y="27"/>
                  <a:pt x="37" y="28"/>
                </a:cubicBezTo>
                <a:cubicBezTo>
                  <a:pt x="36" y="28"/>
                  <a:pt x="35" y="29"/>
                  <a:pt x="34" y="29"/>
                </a:cubicBezTo>
                <a:cubicBezTo>
                  <a:pt x="33" y="29"/>
                  <a:pt x="33" y="29"/>
                  <a:pt x="33" y="29"/>
                </a:cubicBezTo>
                <a:cubicBezTo>
                  <a:pt x="32" y="30"/>
                  <a:pt x="31" y="30"/>
                  <a:pt x="30" y="30"/>
                </a:cubicBezTo>
                <a:cubicBezTo>
                  <a:pt x="30" y="31"/>
                  <a:pt x="29" y="31"/>
                  <a:pt x="28" y="31"/>
                </a:cubicBezTo>
                <a:cubicBezTo>
                  <a:pt x="28" y="31"/>
                  <a:pt x="28" y="31"/>
                  <a:pt x="28" y="31"/>
                </a:cubicBezTo>
                <a:cubicBezTo>
                  <a:pt x="28" y="31"/>
                  <a:pt x="28" y="31"/>
                  <a:pt x="28" y="31"/>
                </a:cubicBezTo>
                <a:cubicBezTo>
                  <a:pt x="28" y="32"/>
                  <a:pt x="27" y="33"/>
                  <a:pt x="27" y="34"/>
                </a:cubicBezTo>
                <a:cubicBezTo>
                  <a:pt x="26" y="34"/>
                  <a:pt x="26" y="34"/>
                  <a:pt x="26" y="34"/>
                </a:cubicBezTo>
                <a:cubicBezTo>
                  <a:pt x="26" y="35"/>
                  <a:pt x="25" y="36"/>
                  <a:pt x="24" y="37"/>
                </a:cubicBezTo>
                <a:cubicBezTo>
                  <a:pt x="24" y="37"/>
                  <a:pt x="24" y="37"/>
                  <a:pt x="24" y="37"/>
                </a:cubicBezTo>
                <a:cubicBezTo>
                  <a:pt x="24" y="37"/>
                  <a:pt x="24" y="37"/>
                  <a:pt x="24" y="37"/>
                </a:cubicBezTo>
                <a:cubicBezTo>
                  <a:pt x="23" y="37"/>
                  <a:pt x="23" y="37"/>
                  <a:pt x="23" y="37"/>
                </a:cubicBezTo>
                <a:cubicBezTo>
                  <a:pt x="22" y="37"/>
                  <a:pt x="22" y="37"/>
                  <a:pt x="21" y="37"/>
                </a:cubicBezTo>
                <a:cubicBezTo>
                  <a:pt x="21" y="37"/>
                  <a:pt x="21" y="37"/>
                  <a:pt x="21" y="37"/>
                </a:cubicBezTo>
                <a:cubicBezTo>
                  <a:pt x="20" y="38"/>
                  <a:pt x="20" y="38"/>
                  <a:pt x="19" y="38"/>
                </a:cubicBezTo>
                <a:cubicBezTo>
                  <a:pt x="19" y="38"/>
                  <a:pt x="19" y="38"/>
                  <a:pt x="19" y="38"/>
                </a:cubicBezTo>
                <a:cubicBezTo>
                  <a:pt x="19" y="39"/>
                  <a:pt x="18" y="39"/>
                  <a:pt x="18" y="39"/>
                </a:cubicBezTo>
                <a:cubicBezTo>
                  <a:pt x="17" y="39"/>
                  <a:pt x="17" y="39"/>
                  <a:pt x="17" y="39"/>
                </a:cubicBezTo>
                <a:cubicBezTo>
                  <a:pt x="17" y="39"/>
                  <a:pt x="16" y="39"/>
                  <a:pt x="15" y="38"/>
                </a:cubicBezTo>
                <a:cubicBezTo>
                  <a:pt x="15" y="38"/>
                  <a:pt x="15" y="38"/>
                  <a:pt x="15" y="37"/>
                </a:cubicBezTo>
                <a:cubicBezTo>
                  <a:pt x="15" y="37"/>
                  <a:pt x="14" y="37"/>
                  <a:pt x="14" y="37"/>
                </a:cubicBezTo>
                <a:cubicBezTo>
                  <a:pt x="14" y="37"/>
                  <a:pt x="14" y="37"/>
                  <a:pt x="14" y="37"/>
                </a:cubicBezTo>
                <a:cubicBezTo>
                  <a:pt x="14" y="37"/>
                  <a:pt x="14" y="36"/>
                  <a:pt x="14" y="36"/>
                </a:cubicBezTo>
                <a:cubicBezTo>
                  <a:pt x="14" y="36"/>
                  <a:pt x="14" y="36"/>
                  <a:pt x="14" y="36"/>
                </a:cubicBezTo>
                <a:cubicBezTo>
                  <a:pt x="13" y="36"/>
                  <a:pt x="13" y="36"/>
                  <a:pt x="12" y="35"/>
                </a:cubicBezTo>
                <a:cubicBezTo>
                  <a:pt x="12" y="35"/>
                  <a:pt x="12" y="35"/>
                  <a:pt x="12" y="35"/>
                </a:cubicBezTo>
                <a:cubicBezTo>
                  <a:pt x="12" y="35"/>
                  <a:pt x="12" y="35"/>
                  <a:pt x="11" y="35"/>
                </a:cubicBezTo>
                <a:cubicBezTo>
                  <a:pt x="11" y="35"/>
                  <a:pt x="10" y="35"/>
                  <a:pt x="10" y="35"/>
                </a:cubicBezTo>
                <a:cubicBezTo>
                  <a:pt x="9" y="35"/>
                  <a:pt x="9" y="35"/>
                  <a:pt x="9" y="35"/>
                </a:cubicBezTo>
                <a:cubicBezTo>
                  <a:pt x="9" y="35"/>
                  <a:pt x="9" y="35"/>
                  <a:pt x="9" y="35"/>
                </a:cubicBezTo>
                <a:cubicBezTo>
                  <a:pt x="7" y="36"/>
                  <a:pt x="7" y="36"/>
                  <a:pt x="7" y="36"/>
                </a:cubicBezTo>
                <a:cubicBezTo>
                  <a:pt x="6" y="39"/>
                  <a:pt x="6" y="39"/>
                  <a:pt x="6" y="39"/>
                </a:cubicBezTo>
                <a:cubicBezTo>
                  <a:pt x="6" y="39"/>
                  <a:pt x="6" y="40"/>
                  <a:pt x="6" y="40"/>
                </a:cubicBezTo>
                <a:cubicBezTo>
                  <a:pt x="6" y="41"/>
                  <a:pt x="6" y="41"/>
                  <a:pt x="6" y="41"/>
                </a:cubicBezTo>
                <a:cubicBezTo>
                  <a:pt x="6" y="41"/>
                  <a:pt x="6" y="41"/>
                  <a:pt x="6" y="41"/>
                </a:cubicBezTo>
                <a:cubicBezTo>
                  <a:pt x="6" y="42"/>
                  <a:pt x="6" y="42"/>
                  <a:pt x="6" y="42"/>
                </a:cubicBezTo>
                <a:cubicBezTo>
                  <a:pt x="6" y="43"/>
                  <a:pt x="5" y="43"/>
                  <a:pt x="4" y="44"/>
                </a:cubicBezTo>
                <a:cubicBezTo>
                  <a:pt x="4" y="45"/>
                  <a:pt x="4" y="45"/>
                  <a:pt x="4" y="45"/>
                </a:cubicBezTo>
                <a:cubicBezTo>
                  <a:pt x="3" y="45"/>
                  <a:pt x="3" y="45"/>
                  <a:pt x="3" y="45"/>
                </a:cubicBezTo>
                <a:cubicBezTo>
                  <a:pt x="3" y="46"/>
                  <a:pt x="3" y="46"/>
                  <a:pt x="4" y="46"/>
                </a:cubicBezTo>
                <a:cubicBezTo>
                  <a:pt x="4" y="47"/>
                  <a:pt x="4" y="47"/>
                  <a:pt x="4" y="47"/>
                </a:cubicBezTo>
                <a:cubicBezTo>
                  <a:pt x="0" y="51"/>
                  <a:pt x="0" y="51"/>
                  <a:pt x="0" y="51"/>
                </a:cubicBezTo>
                <a:cubicBezTo>
                  <a:pt x="0" y="51"/>
                  <a:pt x="0" y="52"/>
                  <a:pt x="0" y="53"/>
                </a:cubicBezTo>
                <a:cubicBezTo>
                  <a:pt x="0" y="53"/>
                  <a:pt x="0" y="54"/>
                  <a:pt x="0" y="54"/>
                </a:cubicBezTo>
                <a:cubicBezTo>
                  <a:pt x="0" y="54"/>
                  <a:pt x="0" y="54"/>
                  <a:pt x="0" y="54"/>
                </a:cubicBezTo>
                <a:cubicBezTo>
                  <a:pt x="0" y="55"/>
                  <a:pt x="0" y="55"/>
                  <a:pt x="0" y="55"/>
                </a:cubicBezTo>
                <a:cubicBezTo>
                  <a:pt x="0" y="55"/>
                  <a:pt x="1" y="55"/>
                  <a:pt x="1" y="55"/>
                </a:cubicBezTo>
                <a:cubicBezTo>
                  <a:pt x="1" y="55"/>
                  <a:pt x="1" y="55"/>
                  <a:pt x="1" y="55"/>
                </a:cubicBezTo>
                <a:cubicBezTo>
                  <a:pt x="2" y="55"/>
                  <a:pt x="2" y="55"/>
                  <a:pt x="2" y="55"/>
                </a:cubicBezTo>
                <a:cubicBezTo>
                  <a:pt x="3" y="55"/>
                  <a:pt x="3" y="55"/>
                  <a:pt x="3" y="55"/>
                </a:cubicBezTo>
                <a:cubicBezTo>
                  <a:pt x="3" y="55"/>
                  <a:pt x="3" y="56"/>
                  <a:pt x="4" y="56"/>
                </a:cubicBezTo>
                <a:cubicBezTo>
                  <a:pt x="6" y="56"/>
                  <a:pt x="6" y="56"/>
                  <a:pt x="6" y="56"/>
                </a:cubicBezTo>
                <a:cubicBezTo>
                  <a:pt x="4" y="58"/>
                  <a:pt x="4" y="58"/>
                  <a:pt x="4" y="58"/>
                </a:cubicBezTo>
                <a:cubicBezTo>
                  <a:pt x="4" y="58"/>
                  <a:pt x="4" y="58"/>
                  <a:pt x="3" y="59"/>
                </a:cubicBezTo>
                <a:cubicBezTo>
                  <a:pt x="3" y="59"/>
                  <a:pt x="3" y="59"/>
                  <a:pt x="3" y="59"/>
                </a:cubicBezTo>
                <a:cubicBezTo>
                  <a:pt x="2" y="60"/>
                  <a:pt x="1" y="61"/>
                  <a:pt x="1" y="61"/>
                </a:cubicBezTo>
                <a:cubicBezTo>
                  <a:pt x="3" y="68"/>
                  <a:pt x="3" y="68"/>
                  <a:pt x="3" y="68"/>
                </a:cubicBezTo>
                <a:cubicBezTo>
                  <a:pt x="3" y="68"/>
                  <a:pt x="3" y="68"/>
                  <a:pt x="3" y="69"/>
                </a:cubicBezTo>
                <a:cubicBezTo>
                  <a:pt x="3" y="70"/>
                  <a:pt x="3" y="70"/>
                  <a:pt x="3" y="70"/>
                </a:cubicBezTo>
                <a:cubicBezTo>
                  <a:pt x="3" y="70"/>
                  <a:pt x="4" y="70"/>
                  <a:pt x="4" y="71"/>
                </a:cubicBezTo>
                <a:cubicBezTo>
                  <a:pt x="4" y="72"/>
                  <a:pt x="4" y="72"/>
                  <a:pt x="3" y="73"/>
                </a:cubicBezTo>
                <a:cubicBezTo>
                  <a:pt x="3" y="74"/>
                  <a:pt x="3" y="74"/>
                  <a:pt x="3" y="75"/>
                </a:cubicBezTo>
                <a:cubicBezTo>
                  <a:pt x="3" y="75"/>
                  <a:pt x="3" y="75"/>
                  <a:pt x="3" y="75"/>
                </a:cubicBezTo>
                <a:cubicBezTo>
                  <a:pt x="3" y="75"/>
                  <a:pt x="3" y="76"/>
                  <a:pt x="3" y="76"/>
                </a:cubicBezTo>
                <a:cubicBezTo>
                  <a:pt x="3" y="76"/>
                  <a:pt x="3" y="76"/>
                  <a:pt x="3" y="76"/>
                </a:cubicBezTo>
                <a:cubicBezTo>
                  <a:pt x="5" y="76"/>
                  <a:pt x="5" y="76"/>
                  <a:pt x="5" y="76"/>
                </a:cubicBezTo>
                <a:cubicBezTo>
                  <a:pt x="3" y="77"/>
                  <a:pt x="3" y="77"/>
                  <a:pt x="3" y="77"/>
                </a:cubicBezTo>
                <a:cubicBezTo>
                  <a:pt x="3" y="77"/>
                  <a:pt x="3" y="77"/>
                  <a:pt x="3" y="77"/>
                </a:cubicBezTo>
                <a:cubicBezTo>
                  <a:pt x="3" y="77"/>
                  <a:pt x="3" y="78"/>
                  <a:pt x="3" y="78"/>
                </a:cubicBezTo>
                <a:cubicBezTo>
                  <a:pt x="3" y="78"/>
                  <a:pt x="3" y="78"/>
                  <a:pt x="3" y="79"/>
                </a:cubicBezTo>
                <a:cubicBezTo>
                  <a:pt x="4" y="79"/>
                  <a:pt x="4" y="79"/>
                  <a:pt x="4" y="79"/>
                </a:cubicBezTo>
                <a:cubicBezTo>
                  <a:pt x="9" y="79"/>
                  <a:pt x="9" y="79"/>
                  <a:pt x="9" y="79"/>
                </a:cubicBezTo>
                <a:cubicBezTo>
                  <a:pt x="10" y="80"/>
                  <a:pt x="11" y="80"/>
                  <a:pt x="12" y="81"/>
                </a:cubicBezTo>
                <a:cubicBezTo>
                  <a:pt x="13" y="82"/>
                  <a:pt x="13" y="82"/>
                  <a:pt x="13" y="82"/>
                </a:cubicBezTo>
                <a:cubicBezTo>
                  <a:pt x="13" y="82"/>
                  <a:pt x="13" y="83"/>
                  <a:pt x="13" y="83"/>
                </a:cubicBezTo>
                <a:cubicBezTo>
                  <a:pt x="13" y="83"/>
                  <a:pt x="13" y="84"/>
                  <a:pt x="14" y="84"/>
                </a:cubicBezTo>
                <a:cubicBezTo>
                  <a:pt x="14" y="86"/>
                  <a:pt x="14" y="87"/>
                  <a:pt x="13" y="88"/>
                </a:cubicBezTo>
                <a:cubicBezTo>
                  <a:pt x="12" y="89"/>
                  <a:pt x="11" y="90"/>
                  <a:pt x="11" y="91"/>
                </a:cubicBezTo>
                <a:cubicBezTo>
                  <a:pt x="10" y="91"/>
                  <a:pt x="10" y="91"/>
                  <a:pt x="10" y="92"/>
                </a:cubicBezTo>
                <a:cubicBezTo>
                  <a:pt x="9" y="93"/>
                  <a:pt x="9" y="93"/>
                  <a:pt x="9" y="93"/>
                </a:cubicBezTo>
                <a:cubicBezTo>
                  <a:pt x="8" y="94"/>
                  <a:pt x="8" y="94"/>
                  <a:pt x="7" y="95"/>
                </a:cubicBezTo>
                <a:cubicBezTo>
                  <a:pt x="5" y="97"/>
                  <a:pt x="5" y="97"/>
                  <a:pt x="5" y="97"/>
                </a:cubicBezTo>
                <a:cubicBezTo>
                  <a:pt x="21" y="102"/>
                  <a:pt x="21" y="102"/>
                  <a:pt x="21" y="102"/>
                </a:cubicBezTo>
                <a:cubicBezTo>
                  <a:pt x="21" y="102"/>
                  <a:pt x="21" y="102"/>
                  <a:pt x="21" y="102"/>
                </a:cubicBezTo>
                <a:cubicBezTo>
                  <a:pt x="21" y="102"/>
                  <a:pt x="21" y="102"/>
                  <a:pt x="21" y="102"/>
                </a:cubicBezTo>
                <a:cubicBezTo>
                  <a:pt x="22" y="102"/>
                  <a:pt x="22" y="102"/>
                  <a:pt x="22" y="102"/>
                </a:cubicBezTo>
                <a:cubicBezTo>
                  <a:pt x="22" y="102"/>
                  <a:pt x="22" y="102"/>
                  <a:pt x="22" y="102"/>
                </a:cubicBezTo>
                <a:cubicBezTo>
                  <a:pt x="23" y="102"/>
                  <a:pt x="23" y="102"/>
                  <a:pt x="24" y="102"/>
                </a:cubicBezTo>
                <a:cubicBezTo>
                  <a:pt x="25" y="101"/>
                  <a:pt x="25" y="101"/>
                  <a:pt x="25" y="101"/>
                </a:cubicBezTo>
                <a:cubicBezTo>
                  <a:pt x="25" y="101"/>
                  <a:pt x="25" y="101"/>
                  <a:pt x="25" y="101"/>
                </a:cubicBezTo>
                <a:cubicBezTo>
                  <a:pt x="30" y="101"/>
                  <a:pt x="30" y="101"/>
                  <a:pt x="30" y="101"/>
                </a:cubicBezTo>
                <a:cubicBezTo>
                  <a:pt x="30" y="101"/>
                  <a:pt x="30" y="101"/>
                  <a:pt x="30" y="101"/>
                </a:cubicBezTo>
                <a:cubicBezTo>
                  <a:pt x="31" y="101"/>
                  <a:pt x="31" y="101"/>
                  <a:pt x="31" y="101"/>
                </a:cubicBezTo>
                <a:cubicBezTo>
                  <a:pt x="31" y="101"/>
                  <a:pt x="31" y="101"/>
                  <a:pt x="31" y="101"/>
                </a:cubicBezTo>
                <a:cubicBezTo>
                  <a:pt x="31" y="101"/>
                  <a:pt x="32" y="101"/>
                  <a:pt x="32" y="101"/>
                </a:cubicBezTo>
                <a:cubicBezTo>
                  <a:pt x="32" y="101"/>
                  <a:pt x="32" y="101"/>
                  <a:pt x="32" y="101"/>
                </a:cubicBezTo>
                <a:cubicBezTo>
                  <a:pt x="32" y="101"/>
                  <a:pt x="33" y="101"/>
                  <a:pt x="33" y="102"/>
                </a:cubicBezTo>
                <a:cubicBezTo>
                  <a:pt x="33" y="102"/>
                  <a:pt x="34" y="102"/>
                  <a:pt x="34" y="102"/>
                </a:cubicBezTo>
                <a:cubicBezTo>
                  <a:pt x="34" y="102"/>
                  <a:pt x="34" y="102"/>
                  <a:pt x="34" y="102"/>
                </a:cubicBezTo>
                <a:cubicBezTo>
                  <a:pt x="34" y="102"/>
                  <a:pt x="35" y="102"/>
                  <a:pt x="35" y="102"/>
                </a:cubicBezTo>
                <a:cubicBezTo>
                  <a:pt x="36" y="102"/>
                  <a:pt x="36" y="102"/>
                  <a:pt x="37" y="101"/>
                </a:cubicBezTo>
                <a:cubicBezTo>
                  <a:pt x="37" y="101"/>
                  <a:pt x="38" y="101"/>
                  <a:pt x="38" y="101"/>
                </a:cubicBezTo>
                <a:cubicBezTo>
                  <a:pt x="39" y="100"/>
                  <a:pt x="39" y="100"/>
                  <a:pt x="39" y="100"/>
                </a:cubicBezTo>
                <a:cubicBezTo>
                  <a:pt x="41" y="100"/>
                  <a:pt x="42" y="100"/>
                  <a:pt x="44" y="99"/>
                </a:cubicBezTo>
                <a:cubicBezTo>
                  <a:pt x="45" y="99"/>
                  <a:pt x="46" y="99"/>
                  <a:pt x="47" y="99"/>
                </a:cubicBezTo>
                <a:cubicBezTo>
                  <a:pt x="49" y="99"/>
                  <a:pt x="49" y="99"/>
                  <a:pt x="49" y="99"/>
                </a:cubicBezTo>
                <a:cubicBezTo>
                  <a:pt x="49" y="99"/>
                  <a:pt x="49" y="99"/>
                  <a:pt x="49" y="99"/>
                </a:cubicBezTo>
                <a:cubicBezTo>
                  <a:pt x="50" y="99"/>
                  <a:pt x="52" y="99"/>
                  <a:pt x="52" y="98"/>
                </a:cubicBezTo>
                <a:cubicBezTo>
                  <a:pt x="53" y="98"/>
                  <a:pt x="54" y="98"/>
                  <a:pt x="55" y="98"/>
                </a:cubicBezTo>
                <a:cubicBezTo>
                  <a:pt x="56" y="97"/>
                  <a:pt x="56" y="97"/>
                  <a:pt x="56" y="97"/>
                </a:cubicBezTo>
                <a:cubicBezTo>
                  <a:pt x="56" y="97"/>
                  <a:pt x="57" y="97"/>
                  <a:pt x="57" y="97"/>
                </a:cubicBezTo>
                <a:cubicBezTo>
                  <a:pt x="57" y="97"/>
                  <a:pt x="57" y="97"/>
                  <a:pt x="57" y="97"/>
                </a:cubicBezTo>
                <a:cubicBezTo>
                  <a:pt x="56" y="96"/>
                  <a:pt x="56" y="95"/>
                  <a:pt x="57" y="95"/>
                </a:cubicBezTo>
                <a:cubicBezTo>
                  <a:pt x="57" y="94"/>
                  <a:pt x="57" y="94"/>
                  <a:pt x="57" y="94"/>
                </a:cubicBezTo>
                <a:cubicBezTo>
                  <a:pt x="57" y="94"/>
                  <a:pt x="57" y="93"/>
                  <a:pt x="57" y="93"/>
                </a:cubicBezTo>
                <a:cubicBezTo>
                  <a:pt x="57" y="92"/>
                  <a:pt x="57" y="92"/>
                  <a:pt x="57" y="92"/>
                </a:cubicBezTo>
                <a:cubicBezTo>
                  <a:pt x="57" y="90"/>
                  <a:pt x="57" y="89"/>
                  <a:pt x="57" y="88"/>
                </a:cubicBezTo>
                <a:cubicBezTo>
                  <a:pt x="58" y="87"/>
                  <a:pt x="58" y="87"/>
                  <a:pt x="58" y="87"/>
                </a:cubicBezTo>
                <a:cubicBezTo>
                  <a:pt x="58" y="87"/>
                  <a:pt x="58" y="86"/>
                  <a:pt x="58" y="86"/>
                </a:cubicBezTo>
                <a:cubicBezTo>
                  <a:pt x="58" y="86"/>
                  <a:pt x="58" y="85"/>
                  <a:pt x="59" y="85"/>
                </a:cubicBezTo>
                <a:cubicBezTo>
                  <a:pt x="59" y="85"/>
                  <a:pt x="59" y="85"/>
                  <a:pt x="59" y="85"/>
                </a:cubicBezTo>
                <a:cubicBezTo>
                  <a:pt x="59" y="84"/>
                  <a:pt x="60" y="84"/>
                  <a:pt x="60" y="83"/>
                </a:cubicBezTo>
                <a:cubicBezTo>
                  <a:pt x="61" y="83"/>
                  <a:pt x="61" y="82"/>
                  <a:pt x="62" y="82"/>
                </a:cubicBezTo>
                <a:cubicBezTo>
                  <a:pt x="62" y="82"/>
                  <a:pt x="62" y="82"/>
                  <a:pt x="62" y="82"/>
                </a:cubicBezTo>
                <a:cubicBezTo>
                  <a:pt x="62" y="82"/>
                  <a:pt x="62" y="82"/>
                  <a:pt x="63" y="82"/>
                </a:cubicBezTo>
                <a:cubicBezTo>
                  <a:pt x="61" y="81"/>
                  <a:pt x="61" y="81"/>
                  <a:pt x="61" y="81"/>
                </a:cubicBezTo>
                <a:cubicBezTo>
                  <a:pt x="63" y="81"/>
                  <a:pt x="63" y="81"/>
                  <a:pt x="63" y="81"/>
                </a:cubicBezTo>
                <a:cubicBezTo>
                  <a:pt x="63" y="81"/>
                  <a:pt x="63" y="81"/>
                  <a:pt x="63" y="81"/>
                </a:cubicBezTo>
                <a:cubicBezTo>
                  <a:pt x="64" y="81"/>
                  <a:pt x="64" y="81"/>
                  <a:pt x="65" y="81"/>
                </a:cubicBezTo>
                <a:cubicBezTo>
                  <a:pt x="65" y="81"/>
                  <a:pt x="65" y="81"/>
                  <a:pt x="66" y="81"/>
                </a:cubicBezTo>
                <a:cubicBezTo>
                  <a:pt x="67" y="81"/>
                  <a:pt x="67" y="81"/>
                  <a:pt x="67" y="81"/>
                </a:cubicBezTo>
                <a:cubicBezTo>
                  <a:pt x="67" y="81"/>
                  <a:pt x="67" y="81"/>
                  <a:pt x="67" y="81"/>
                </a:cubicBezTo>
                <a:cubicBezTo>
                  <a:pt x="68" y="81"/>
                  <a:pt x="68" y="81"/>
                  <a:pt x="68" y="81"/>
                </a:cubicBezTo>
                <a:cubicBezTo>
                  <a:pt x="68" y="81"/>
                  <a:pt x="68" y="81"/>
                  <a:pt x="68" y="81"/>
                </a:cubicBezTo>
                <a:cubicBezTo>
                  <a:pt x="68" y="82"/>
                  <a:pt x="69" y="82"/>
                  <a:pt x="69" y="82"/>
                </a:cubicBezTo>
                <a:cubicBezTo>
                  <a:pt x="69" y="82"/>
                  <a:pt x="69" y="82"/>
                  <a:pt x="69" y="82"/>
                </a:cubicBezTo>
                <a:cubicBezTo>
                  <a:pt x="70" y="81"/>
                  <a:pt x="70" y="81"/>
                  <a:pt x="70" y="81"/>
                </a:cubicBezTo>
                <a:cubicBezTo>
                  <a:pt x="70" y="81"/>
                  <a:pt x="71" y="81"/>
                  <a:pt x="71" y="81"/>
                </a:cubicBezTo>
                <a:cubicBezTo>
                  <a:pt x="68" y="78"/>
                  <a:pt x="68" y="78"/>
                  <a:pt x="68" y="78"/>
                </a:cubicBezTo>
                <a:cubicBezTo>
                  <a:pt x="71" y="78"/>
                  <a:pt x="71" y="78"/>
                  <a:pt x="71" y="78"/>
                </a:cubicBezTo>
                <a:cubicBezTo>
                  <a:pt x="73" y="78"/>
                  <a:pt x="73" y="78"/>
                  <a:pt x="74" y="77"/>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90" name="Freeform 3147">
            <a:extLst>
              <a:ext uri="{FF2B5EF4-FFF2-40B4-BE49-F238E27FC236}">
                <a16:creationId xmlns:a16="http://schemas.microsoft.com/office/drawing/2014/main" id="{50B884C4-98E6-4D7B-9197-E51AFE07AE6A}"/>
              </a:ext>
            </a:extLst>
          </p:cNvPr>
          <p:cNvSpPr>
            <a:spLocks noEditPoints="1"/>
          </p:cNvSpPr>
          <p:nvPr/>
        </p:nvSpPr>
        <p:spPr bwMode="auto">
          <a:xfrm>
            <a:off x="3868757" y="3159054"/>
            <a:ext cx="227462" cy="231502"/>
          </a:xfrm>
          <a:custGeom>
            <a:avLst/>
            <a:gdLst>
              <a:gd name="T0" fmla="*/ 179 w 194"/>
              <a:gd name="T1" fmla="*/ 155 h 165"/>
              <a:gd name="T2" fmla="*/ 192 w 194"/>
              <a:gd name="T3" fmla="*/ 148 h 165"/>
              <a:gd name="T4" fmla="*/ 189 w 194"/>
              <a:gd name="T5" fmla="*/ 142 h 165"/>
              <a:gd name="T6" fmla="*/ 187 w 194"/>
              <a:gd name="T7" fmla="*/ 131 h 165"/>
              <a:gd name="T8" fmla="*/ 170 w 194"/>
              <a:gd name="T9" fmla="*/ 114 h 165"/>
              <a:gd name="T10" fmla="*/ 175 w 194"/>
              <a:gd name="T11" fmla="*/ 106 h 165"/>
              <a:gd name="T12" fmla="*/ 178 w 194"/>
              <a:gd name="T13" fmla="*/ 97 h 165"/>
              <a:gd name="T14" fmla="*/ 169 w 194"/>
              <a:gd name="T15" fmla="*/ 92 h 165"/>
              <a:gd name="T16" fmla="*/ 167 w 194"/>
              <a:gd name="T17" fmla="*/ 79 h 165"/>
              <a:gd name="T18" fmla="*/ 166 w 194"/>
              <a:gd name="T19" fmla="*/ 65 h 165"/>
              <a:gd name="T20" fmla="*/ 171 w 194"/>
              <a:gd name="T21" fmla="*/ 57 h 165"/>
              <a:gd name="T22" fmla="*/ 174 w 194"/>
              <a:gd name="T23" fmla="*/ 48 h 165"/>
              <a:gd name="T24" fmla="*/ 173 w 194"/>
              <a:gd name="T25" fmla="*/ 40 h 165"/>
              <a:gd name="T26" fmla="*/ 167 w 194"/>
              <a:gd name="T27" fmla="*/ 37 h 165"/>
              <a:gd name="T28" fmla="*/ 162 w 194"/>
              <a:gd name="T29" fmla="*/ 33 h 165"/>
              <a:gd name="T30" fmla="*/ 157 w 194"/>
              <a:gd name="T31" fmla="*/ 30 h 165"/>
              <a:gd name="T32" fmla="*/ 146 w 194"/>
              <a:gd name="T33" fmla="*/ 25 h 165"/>
              <a:gd name="T34" fmla="*/ 139 w 194"/>
              <a:gd name="T35" fmla="*/ 22 h 165"/>
              <a:gd name="T36" fmla="*/ 133 w 194"/>
              <a:gd name="T37" fmla="*/ 19 h 165"/>
              <a:gd name="T38" fmla="*/ 126 w 194"/>
              <a:gd name="T39" fmla="*/ 18 h 165"/>
              <a:gd name="T40" fmla="*/ 101 w 194"/>
              <a:gd name="T41" fmla="*/ 34 h 165"/>
              <a:gd name="T42" fmla="*/ 84 w 194"/>
              <a:gd name="T43" fmla="*/ 35 h 165"/>
              <a:gd name="T44" fmla="*/ 66 w 194"/>
              <a:gd name="T45" fmla="*/ 32 h 165"/>
              <a:gd name="T46" fmla="*/ 50 w 194"/>
              <a:gd name="T47" fmla="*/ 24 h 165"/>
              <a:gd name="T48" fmla="*/ 46 w 194"/>
              <a:gd name="T49" fmla="*/ 16 h 165"/>
              <a:gd name="T50" fmla="*/ 43 w 194"/>
              <a:gd name="T51" fmla="*/ 14 h 165"/>
              <a:gd name="T52" fmla="*/ 41 w 194"/>
              <a:gd name="T53" fmla="*/ 3 h 165"/>
              <a:gd name="T54" fmla="*/ 32 w 194"/>
              <a:gd name="T55" fmla="*/ 5 h 165"/>
              <a:gd name="T56" fmla="*/ 24 w 194"/>
              <a:gd name="T57" fmla="*/ 13 h 165"/>
              <a:gd name="T58" fmla="*/ 22 w 194"/>
              <a:gd name="T59" fmla="*/ 11 h 165"/>
              <a:gd name="T60" fmla="*/ 6 w 194"/>
              <a:gd name="T61" fmla="*/ 2 h 165"/>
              <a:gd name="T62" fmla="*/ 4 w 194"/>
              <a:gd name="T63" fmla="*/ 0 h 165"/>
              <a:gd name="T64" fmla="*/ 3 w 194"/>
              <a:gd name="T65" fmla="*/ 14 h 165"/>
              <a:gd name="T66" fmla="*/ 5 w 194"/>
              <a:gd name="T67" fmla="*/ 22 h 165"/>
              <a:gd name="T68" fmla="*/ 8 w 194"/>
              <a:gd name="T69" fmla="*/ 27 h 165"/>
              <a:gd name="T70" fmla="*/ 9 w 194"/>
              <a:gd name="T71" fmla="*/ 33 h 165"/>
              <a:gd name="T72" fmla="*/ 10 w 194"/>
              <a:gd name="T73" fmla="*/ 36 h 165"/>
              <a:gd name="T74" fmla="*/ 14 w 194"/>
              <a:gd name="T75" fmla="*/ 42 h 165"/>
              <a:gd name="T76" fmla="*/ 21 w 194"/>
              <a:gd name="T77" fmla="*/ 44 h 165"/>
              <a:gd name="T78" fmla="*/ 20 w 194"/>
              <a:gd name="T79" fmla="*/ 49 h 165"/>
              <a:gd name="T80" fmla="*/ 21 w 194"/>
              <a:gd name="T81" fmla="*/ 55 h 165"/>
              <a:gd name="T82" fmla="*/ 15 w 194"/>
              <a:gd name="T83" fmla="*/ 61 h 165"/>
              <a:gd name="T84" fmla="*/ 16 w 194"/>
              <a:gd name="T85" fmla="*/ 68 h 165"/>
              <a:gd name="T86" fmla="*/ 19 w 194"/>
              <a:gd name="T87" fmla="*/ 71 h 165"/>
              <a:gd name="T88" fmla="*/ 22 w 194"/>
              <a:gd name="T89" fmla="*/ 77 h 165"/>
              <a:gd name="T90" fmla="*/ 36 w 194"/>
              <a:gd name="T91" fmla="*/ 86 h 165"/>
              <a:gd name="T92" fmla="*/ 39 w 194"/>
              <a:gd name="T93" fmla="*/ 93 h 165"/>
              <a:gd name="T94" fmla="*/ 40 w 194"/>
              <a:gd name="T95" fmla="*/ 100 h 165"/>
              <a:gd name="T96" fmla="*/ 44 w 194"/>
              <a:gd name="T97" fmla="*/ 109 h 165"/>
              <a:gd name="T98" fmla="*/ 50 w 194"/>
              <a:gd name="T99" fmla="*/ 107 h 165"/>
              <a:gd name="T100" fmla="*/ 60 w 194"/>
              <a:gd name="T101" fmla="*/ 110 h 165"/>
              <a:gd name="T102" fmla="*/ 69 w 194"/>
              <a:gd name="T103" fmla="*/ 123 h 165"/>
              <a:gd name="T104" fmla="*/ 77 w 194"/>
              <a:gd name="T105" fmla="*/ 135 h 165"/>
              <a:gd name="T106" fmla="*/ 87 w 194"/>
              <a:gd name="T107" fmla="*/ 141 h 165"/>
              <a:gd name="T108" fmla="*/ 97 w 194"/>
              <a:gd name="T109" fmla="*/ 148 h 165"/>
              <a:gd name="T110" fmla="*/ 116 w 194"/>
              <a:gd name="T111" fmla="*/ 147 h 165"/>
              <a:gd name="T112" fmla="*/ 132 w 194"/>
              <a:gd name="T113" fmla="*/ 148 h 165"/>
              <a:gd name="T114" fmla="*/ 140 w 194"/>
              <a:gd name="T115" fmla="*/ 159 h 165"/>
              <a:gd name="T116" fmla="*/ 158 w 194"/>
              <a:gd name="T117" fmla="*/ 162 h 165"/>
              <a:gd name="T118" fmla="*/ 171 w 194"/>
              <a:gd name="T119" fmla="*/ 165 h 165"/>
              <a:gd name="T120" fmla="*/ 51 w 194"/>
              <a:gd name="T121" fmla="*/ 10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4" h="165">
                <a:moveTo>
                  <a:pt x="177" y="164"/>
                </a:moveTo>
                <a:cubicBezTo>
                  <a:pt x="177" y="164"/>
                  <a:pt x="177" y="164"/>
                  <a:pt x="177" y="164"/>
                </a:cubicBezTo>
                <a:cubicBezTo>
                  <a:pt x="177" y="163"/>
                  <a:pt x="177" y="163"/>
                  <a:pt x="177" y="163"/>
                </a:cubicBezTo>
                <a:cubicBezTo>
                  <a:pt x="177" y="163"/>
                  <a:pt x="177" y="163"/>
                  <a:pt x="178" y="162"/>
                </a:cubicBezTo>
                <a:cubicBezTo>
                  <a:pt x="178" y="162"/>
                  <a:pt x="178" y="162"/>
                  <a:pt x="178" y="162"/>
                </a:cubicBezTo>
                <a:cubicBezTo>
                  <a:pt x="178" y="162"/>
                  <a:pt x="178" y="161"/>
                  <a:pt x="178" y="161"/>
                </a:cubicBezTo>
                <a:cubicBezTo>
                  <a:pt x="178" y="160"/>
                  <a:pt x="178" y="160"/>
                  <a:pt x="178" y="160"/>
                </a:cubicBezTo>
                <a:cubicBezTo>
                  <a:pt x="178" y="159"/>
                  <a:pt x="179" y="157"/>
                  <a:pt x="179" y="155"/>
                </a:cubicBezTo>
                <a:cubicBezTo>
                  <a:pt x="180" y="153"/>
                  <a:pt x="180" y="152"/>
                  <a:pt x="181" y="152"/>
                </a:cubicBezTo>
                <a:cubicBezTo>
                  <a:pt x="182" y="151"/>
                  <a:pt x="182" y="151"/>
                  <a:pt x="182" y="151"/>
                </a:cubicBezTo>
                <a:cubicBezTo>
                  <a:pt x="182" y="151"/>
                  <a:pt x="182" y="151"/>
                  <a:pt x="182" y="151"/>
                </a:cubicBezTo>
                <a:cubicBezTo>
                  <a:pt x="183" y="151"/>
                  <a:pt x="183" y="151"/>
                  <a:pt x="183" y="151"/>
                </a:cubicBezTo>
                <a:cubicBezTo>
                  <a:pt x="183" y="150"/>
                  <a:pt x="184" y="150"/>
                  <a:pt x="184" y="150"/>
                </a:cubicBezTo>
                <a:cubicBezTo>
                  <a:pt x="185" y="149"/>
                  <a:pt x="185" y="149"/>
                  <a:pt x="186" y="149"/>
                </a:cubicBezTo>
                <a:cubicBezTo>
                  <a:pt x="191" y="148"/>
                  <a:pt x="191" y="148"/>
                  <a:pt x="191" y="148"/>
                </a:cubicBezTo>
                <a:cubicBezTo>
                  <a:pt x="191" y="148"/>
                  <a:pt x="191" y="148"/>
                  <a:pt x="192" y="148"/>
                </a:cubicBezTo>
                <a:cubicBezTo>
                  <a:pt x="192" y="148"/>
                  <a:pt x="193" y="148"/>
                  <a:pt x="193" y="148"/>
                </a:cubicBezTo>
                <a:cubicBezTo>
                  <a:pt x="193" y="145"/>
                  <a:pt x="193" y="145"/>
                  <a:pt x="193" y="145"/>
                </a:cubicBezTo>
                <a:cubicBezTo>
                  <a:pt x="194" y="145"/>
                  <a:pt x="194" y="144"/>
                  <a:pt x="194" y="144"/>
                </a:cubicBezTo>
                <a:cubicBezTo>
                  <a:pt x="194" y="144"/>
                  <a:pt x="193" y="144"/>
                  <a:pt x="193" y="144"/>
                </a:cubicBezTo>
                <a:cubicBezTo>
                  <a:pt x="193" y="144"/>
                  <a:pt x="193" y="144"/>
                  <a:pt x="192" y="144"/>
                </a:cubicBezTo>
                <a:cubicBezTo>
                  <a:pt x="192" y="144"/>
                  <a:pt x="192" y="144"/>
                  <a:pt x="192" y="144"/>
                </a:cubicBezTo>
                <a:cubicBezTo>
                  <a:pt x="192" y="144"/>
                  <a:pt x="191" y="144"/>
                  <a:pt x="191" y="144"/>
                </a:cubicBezTo>
                <a:cubicBezTo>
                  <a:pt x="190" y="143"/>
                  <a:pt x="189" y="143"/>
                  <a:pt x="189" y="142"/>
                </a:cubicBezTo>
                <a:cubicBezTo>
                  <a:pt x="189" y="141"/>
                  <a:pt x="189" y="140"/>
                  <a:pt x="189" y="139"/>
                </a:cubicBezTo>
                <a:cubicBezTo>
                  <a:pt x="189" y="139"/>
                  <a:pt x="189" y="139"/>
                  <a:pt x="189" y="139"/>
                </a:cubicBezTo>
                <a:cubicBezTo>
                  <a:pt x="189" y="135"/>
                  <a:pt x="189" y="135"/>
                  <a:pt x="189" y="135"/>
                </a:cubicBezTo>
                <a:cubicBezTo>
                  <a:pt x="189" y="135"/>
                  <a:pt x="189" y="134"/>
                  <a:pt x="189" y="134"/>
                </a:cubicBezTo>
                <a:cubicBezTo>
                  <a:pt x="189" y="133"/>
                  <a:pt x="189" y="133"/>
                  <a:pt x="189" y="132"/>
                </a:cubicBezTo>
                <a:cubicBezTo>
                  <a:pt x="189" y="132"/>
                  <a:pt x="189" y="132"/>
                  <a:pt x="188" y="132"/>
                </a:cubicBezTo>
                <a:cubicBezTo>
                  <a:pt x="188" y="132"/>
                  <a:pt x="188" y="132"/>
                  <a:pt x="188" y="132"/>
                </a:cubicBezTo>
                <a:cubicBezTo>
                  <a:pt x="188" y="132"/>
                  <a:pt x="187" y="132"/>
                  <a:pt x="187" y="131"/>
                </a:cubicBezTo>
                <a:cubicBezTo>
                  <a:pt x="186" y="131"/>
                  <a:pt x="186" y="131"/>
                  <a:pt x="185" y="131"/>
                </a:cubicBezTo>
                <a:cubicBezTo>
                  <a:pt x="185" y="131"/>
                  <a:pt x="185" y="131"/>
                  <a:pt x="185" y="131"/>
                </a:cubicBezTo>
                <a:cubicBezTo>
                  <a:pt x="184" y="131"/>
                  <a:pt x="184" y="131"/>
                  <a:pt x="184" y="131"/>
                </a:cubicBezTo>
                <a:cubicBezTo>
                  <a:pt x="184" y="130"/>
                  <a:pt x="183" y="130"/>
                  <a:pt x="183" y="130"/>
                </a:cubicBezTo>
                <a:cubicBezTo>
                  <a:pt x="182" y="130"/>
                  <a:pt x="181" y="129"/>
                  <a:pt x="180" y="128"/>
                </a:cubicBezTo>
                <a:cubicBezTo>
                  <a:pt x="179" y="126"/>
                  <a:pt x="178" y="125"/>
                  <a:pt x="177" y="124"/>
                </a:cubicBezTo>
                <a:cubicBezTo>
                  <a:pt x="176" y="123"/>
                  <a:pt x="176" y="123"/>
                  <a:pt x="176" y="123"/>
                </a:cubicBezTo>
                <a:cubicBezTo>
                  <a:pt x="174" y="121"/>
                  <a:pt x="172" y="118"/>
                  <a:pt x="170" y="114"/>
                </a:cubicBezTo>
                <a:cubicBezTo>
                  <a:pt x="170" y="114"/>
                  <a:pt x="170" y="114"/>
                  <a:pt x="170" y="114"/>
                </a:cubicBezTo>
                <a:cubicBezTo>
                  <a:pt x="168" y="114"/>
                  <a:pt x="168" y="114"/>
                  <a:pt x="168" y="114"/>
                </a:cubicBezTo>
                <a:cubicBezTo>
                  <a:pt x="169" y="113"/>
                  <a:pt x="169" y="113"/>
                  <a:pt x="169" y="113"/>
                </a:cubicBezTo>
                <a:cubicBezTo>
                  <a:pt x="169" y="112"/>
                  <a:pt x="169" y="112"/>
                  <a:pt x="169" y="112"/>
                </a:cubicBezTo>
                <a:cubicBezTo>
                  <a:pt x="170" y="112"/>
                  <a:pt x="170" y="112"/>
                  <a:pt x="170" y="112"/>
                </a:cubicBezTo>
                <a:cubicBezTo>
                  <a:pt x="170" y="111"/>
                  <a:pt x="171" y="111"/>
                  <a:pt x="171" y="110"/>
                </a:cubicBezTo>
                <a:cubicBezTo>
                  <a:pt x="174" y="108"/>
                  <a:pt x="174" y="108"/>
                  <a:pt x="174" y="108"/>
                </a:cubicBezTo>
                <a:cubicBezTo>
                  <a:pt x="174" y="107"/>
                  <a:pt x="174" y="107"/>
                  <a:pt x="175" y="106"/>
                </a:cubicBezTo>
                <a:cubicBezTo>
                  <a:pt x="175" y="106"/>
                  <a:pt x="175" y="106"/>
                  <a:pt x="175" y="106"/>
                </a:cubicBezTo>
                <a:cubicBezTo>
                  <a:pt x="175" y="105"/>
                  <a:pt x="176" y="105"/>
                  <a:pt x="176" y="105"/>
                </a:cubicBezTo>
                <a:cubicBezTo>
                  <a:pt x="176" y="105"/>
                  <a:pt x="176" y="104"/>
                  <a:pt x="177" y="104"/>
                </a:cubicBezTo>
                <a:cubicBezTo>
                  <a:pt x="178" y="103"/>
                  <a:pt x="178" y="102"/>
                  <a:pt x="179" y="102"/>
                </a:cubicBezTo>
                <a:cubicBezTo>
                  <a:pt x="179" y="101"/>
                  <a:pt x="179" y="100"/>
                  <a:pt x="179" y="100"/>
                </a:cubicBezTo>
                <a:cubicBezTo>
                  <a:pt x="179" y="100"/>
                  <a:pt x="179" y="99"/>
                  <a:pt x="179" y="99"/>
                </a:cubicBezTo>
                <a:cubicBezTo>
                  <a:pt x="179" y="99"/>
                  <a:pt x="179" y="99"/>
                  <a:pt x="178" y="99"/>
                </a:cubicBezTo>
                <a:cubicBezTo>
                  <a:pt x="178" y="97"/>
                  <a:pt x="178" y="97"/>
                  <a:pt x="178" y="97"/>
                </a:cubicBezTo>
                <a:cubicBezTo>
                  <a:pt x="177" y="97"/>
                  <a:pt x="177" y="97"/>
                  <a:pt x="177" y="97"/>
                </a:cubicBezTo>
                <a:cubicBezTo>
                  <a:pt x="172" y="96"/>
                  <a:pt x="172" y="96"/>
                  <a:pt x="172" y="96"/>
                </a:cubicBezTo>
                <a:cubicBezTo>
                  <a:pt x="171" y="96"/>
                  <a:pt x="171" y="96"/>
                  <a:pt x="171" y="96"/>
                </a:cubicBezTo>
                <a:cubicBezTo>
                  <a:pt x="171" y="96"/>
                  <a:pt x="170" y="96"/>
                  <a:pt x="169" y="95"/>
                </a:cubicBezTo>
                <a:cubicBezTo>
                  <a:pt x="169" y="95"/>
                  <a:pt x="169" y="94"/>
                  <a:pt x="169" y="94"/>
                </a:cubicBezTo>
                <a:cubicBezTo>
                  <a:pt x="169" y="94"/>
                  <a:pt x="169" y="93"/>
                  <a:pt x="169" y="93"/>
                </a:cubicBezTo>
                <a:cubicBezTo>
                  <a:pt x="169" y="93"/>
                  <a:pt x="169" y="93"/>
                  <a:pt x="169" y="93"/>
                </a:cubicBezTo>
                <a:cubicBezTo>
                  <a:pt x="169" y="92"/>
                  <a:pt x="169" y="92"/>
                  <a:pt x="169" y="92"/>
                </a:cubicBezTo>
                <a:cubicBezTo>
                  <a:pt x="169" y="90"/>
                  <a:pt x="169" y="90"/>
                  <a:pt x="169" y="90"/>
                </a:cubicBezTo>
                <a:cubicBezTo>
                  <a:pt x="169" y="89"/>
                  <a:pt x="169" y="88"/>
                  <a:pt x="169" y="87"/>
                </a:cubicBezTo>
                <a:cubicBezTo>
                  <a:pt x="169" y="87"/>
                  <a:pt x="169" y="87"/>
                  <a:pt x="169" y="86"/>
                </a:cubicBezTo>
                <a:cubicBezTo>
                  <a:pt x="169" y="86"/>
                  <a:pt x="169" y="85"/>
                  <a:pt x="169" y="85"/>
                </a:cubicBezTo>
                <a:cubicBezTo>
                  <a:pt x="169" y="84"/>
                  <a:pt x="169" y="84"/>
                  <a:pt x="169" y="84"/>
                </a:cubicBezTo>
                <a:cubicBezTo>
                  <a:pt x="169" y="84"/>
                  <a:pt x="168" y="84"/>
                  <a:pt x="168" y="84"/>
                </a:cubicBezTo>
                <a:cubicBezTo>
                  <a:pt x="167" y="80"/>
                  <a:pt x="167" y="80"/>
                  <a:pt x="167" y="80"/>
                </a:cubicBezTo>
                <a:cubicBezTo>
                  <a:pt x="167" y="80"/>
                  <a:pt x="167" y="79"/>
                  <a:pt x="167" y="79"/>
                </a:cubicBezTo>
                <a:cubicBezTo>
                  <a:pt x="167" y="76"/>
                  <a:pt x="167" y="76"/>
                  <a:pt x="167" y="76"/>
                </a:cubicBezTo>
                <a:cubicBezTo>
                  <a:pt x="167" y="75"/>
                  <a:pt x="168" y="74"/>
                  <a:pt x="169" y="73"/>
                </a:cubicBezTo>
                <a:cubicBezTo>
                  <a:pt x="169" y="73"/>
                  <a:pt x="169" y="73"/>
                  <a:pt x="169" y="73"/>
                </a:cubicBezTo>
                <a:cubicBezTo>
                  <a:pt x="168" y="72"/>
                  <a:pt x="167" y="72"/>
                  <a:pt x="166" y="71"/>
                </a:cubicBezTo>
                <a:cubicBezTo>
                  <a:pt x="166" y="71"/>
                  <a:pt x="166" y="70"/>
                  <a:pt x="166" y="70"/>
                </a:cubicBezTo>
                <a:cubicBezTo>
                  <a:pt x="166" y="69"/>
                  <a:pt x="166" y="69"/>
                  <a:pt x="166" y="69"/>
                </a:cubicBezTo>
                <a:cubicBezTo>
                  <a:pt x="166" y="69"/>
                  <a:pt x="166" y="68"/>
                  <a:pt x="166" y="68"/>
                </a:cubicBezTo>
                <a:cubicBezTo>
                  <a:pt x="166" y="66"/>
                  <a:pt x="166" y="65"/>
                  <a:pt x="166" y="65"/>
                </a:cubicBezTo>
                <a:cubicBezTo>
                  <a:pt x="166" y="65"/>
                  <a:pt x="166" y="65"/>
                  <a:pt x="166" y="65"/>
                </a:cubicBezTo>
                <a:cubicBezTo>
                  <a:pt x="165" y="65"/>
                  <a:pt x="165" y="65"/>
                  <a:pt x="165" y="65"/>
                </a:cubicBezTo>
                <a:cubicBezTo>
                  <a:pt x="169" y="62"/>
                  <a:pt x="169" y="62"/>
                  <a:pt x="169" y="62"/>
                </a:cubicBezTo>
                <a:cubicBezTo>
                  <a:pt x="169" y="62"/>
                  <a:pt x="168" y="61"/>
                  <a:pt x="168" y="61"/>
                </a:cubicBezTo>
                <a:cubicBezTo>
                  <a:pt x="167" y="60"/>
                  <a:pt x="167" y="60"/>
                  <a:pt x="167" y="60"/>
                </a:cubicBezTo>
                <a:cubicBezTo>
                  <a:pt x="168" y="59"/>
                  <a:pt x="168" y="59"/>
                  <a:pt x="168" y="59"/>
                </a:cubicBezTo>
                <a:cubicBezTo>
                  <a:pt x="169" y="59"/>
                  <a:pt x="169" y="58"/>
                  <a:pt x="170" y="58"/>
                </a:cubicBezTo>
                <a:cubicBezTo>
                  <a:pt x="171" y="57"/>
                  <a:pt x="171" y="57"/>
                  <a:pt x="171" y="57"/>
                </a:cubicBezTo>
                <a:cubicBezTo>
                  <a:pt x="171" y="57"/>
                  <a:pt x="171" y="57"/>
                  <a:pt x="171" y="56"/>
                </a:cubicBezTo>
                <a:cubicBezTo>
                  <a:pt x="171" y="55"/>
                  <a:pt x="171" y="55"/>
                  <a:pt x="171" y="55"/>
                </a:cubicBezTo>
                <a:cubicBezTo>
                  <a:pt x="172" y="55"/>
                  <a:pt x="172" y="55"/>
                  <a:pt x="172" y="55"/>
                </a:cubicBezTo>
                <a:cubicBezTo>
                  <a:pt x="172" y="55"/>
                  <a:pt x="172" y="55"/>
                  <a:pt x="172" y="55"/>
                </a:cubicBezTo>
                <a:cubicBezTo>
                  <a:pt x="172" y="54"/>
                  <a:pt x="172" y="54"/>
                  <a:pt x="172" y="53"/>
                </a:cubicBezTo>
                <a:cubicBezTo>
                  <a:pt x="173" y="50"/>
                  <a:pt x="173" y="50"/>
                  <a:pt x="173" y="50"/>
                </a:cubicBezTo>
                <a:cubicBezTo>
                  <a:pt x="174" y="48"/>
                  <a:pt x="174" y="48"/>
                  <a:pt x="174" y="48"/>
                </a:cubicBezTo>
                <a:cubicBezTo>
                  <a:pt x="174" y="48"/>
                  <a:pt x="174" y="48"/>
                  <a:pt x="174" y="48"/>
                </a:cubicBezTo>
                <a:cubicBezTo>
                  <a:pt x="174" y="48"/>
                  <a:pt x="174" y="48"/>
                  <a:pt x="174" y="48"/>
                </a:cubicBezTo>
                <a:cubicBezTo>
                  <a:pt x="174" y="47"/>
                  <a:pt x="174" y="47"/>
                  <a:pt x="174" y="47"/>
                </a:cubicBezTo>
                <a:cubicBezTo>
                  <a:pt x="173" y="47"/>
                  <a:pt x="173" y="47"/>
                  <a:pt x="173" y="46"/>
                </a:cubicBezTo>
                <a:cubicBezTo>
                  <a:pt x="173" y="46"/>
                  <a:pt x="173" y="46"/>
                  <a:pt x="173" y="46"/>
                </a:cubicBezTo>
                <a:cubicBezTo>
                  <a:pt x="173" y="45"/>
                  <a:pt x="173" y="45"/>
                  <a:pt x="173" y="45"/>
                </a:cubicBezTo>
                <a:cubicBezTo>
                  <a:pt x="173" y="43"/>
                  <a:pt x="173" y="42"/>
                  <a:pt x="173" y="41"/>
                </a:cubicBezTo>
                <a:cubicBezTo>
                  <a:pt x="172" y="41"/>
                  <a:pt x="172" y="41"/>
                  <a:pt x="172" y="41"/>
                </a:cubicBezTo>
                <a:cubicBezTo>
                  <a:pt x="172" y="40"/>
                  <a:pt x="172" y="40"/>
                  <a:pt x="173" y="40"/>
                </a:cubicBezTo>
                <a:cubicBezTo>
                  <a:pt x="173" y="39"/>
                  <a:pt x="173" y="39"/>
                  <a:pt x="173" y="39"/>
                </a:cubicBezTo>
                <a:cubicBezTo>
                  <a:pt x="173" y="38"/>
                  <a:pt x="173" y="37"/>
                  <a:pt x="172" y="37"/>
                </a:cubicBezTo>
                <a:cubicBezTo>
                  <a:pt x="172" y="37"/>
                  <a:pt x="172" y="37"/>
                  <a:pt x="172" y="37"/>
                </a:cubicBezTo>
                <a:cubicBezTo>
                  <a:pt x="172" y="37"/>
                  <a:pt x="171" y="37"/>
                  <a:pt x="170" y="37"/>
                </a:cubicBezTo>
                <a:cubicBezTo>
                  <a:pt x="169" y="37"/>
                  <a:pt x="169" y="37"/>
                  <a:pt x="169" y="37"/>
                </a:cubicBezTo>
                <a:cubicBezTo>
                  <a:pt x="168" y="37"/>
                  <a:pt x="168" y="37"/>
                  <a:pt x="167" y="37"/>
                </a:cubicBezTo>
                <a:cubicBezTo>
                  <a:pt x="167" y="38"/>
                  <a:pt x="167" y="38"/>
                  <a:pt x="167" y="38"/>
                </a:cubicBezTo>
                <a:cubicBezTo>
                  <a:pt x="167" y="37"/>
                  <a:pt x="167" y="37"/>
                  <a:pt x="167" y="37"/>
                </a:cubicBezTo>
                <a:cubicBezTo>
                  <a:pt x="167" y="37"/>
                  <a:pt x="167" y="37"/>
                  <a:pt x="167" y="37"/>
                </a:cubicBezTo>
                <a:cubicBezTo>
                  <a:pt x="166" y="37"/>
                  <a:pt x="165" y="37"/>
                  <a:pt x="165" y="36"/>
                </a:cubicBezTo>
                <a:cubicBezTo>
                  <a:pt x="165" y="36"/>
                  <a:pt x="164" y="36"/>
                  <a:pt x="164" y="36"/>
                </a:cubicBezTo>
                <a:cubicBezTo>
                  <a:pt x="164" y="36"/>
                  <a:pt x="164" y="36"/>
                  <a:pt x="164" y="36"/>
                </a:cubicBezTo>
                <a:cubicBezTo>
                  <a:pt x="164" y="35"/>
                  <a:pt x="163" y="35"/>
                  <a:pt x="163" y="35"/>
                </a:cubicBezTo>
                <a:cubicBezTo>
                  <a:pt x="163" y="34"/>
                  <a:pt x="163" y="34"/>
                  <a:pt x="163" y="34"/>
                </a:cubicBezTo>
                <a:cubicBezTo>
                  <a:pt x="162" y="34"/>
                  <a:pt x="162" y="33"/>
                  <a:pt x="162" y="33"/>
                </a:cubicBezTo>
                <a:cubicBezTo>
                  <a:pt x="162" y="33"/>
                  <a:pt x="162" y="33"/>
                  <a:pt x="162" y="33"/>
                </a:cubicBezTo>
                <a:cubicBezTo>
                  <a:pt x="162" y="33"/>
                  <a:pt x="161" y="32"/>
                  <a:pt x="161" y="32"/>
                </a:cubicBezTo>
                <a:cubicBezTo>
                  <a:pt x="161" y="32"/>
                  <a:pt x="161" y="32"/>
                  <a:pt x="161" y="32"/>
                </a:cubicBezTo>
                <a:cubicBezTo>
                  <a:pt x="160" y="32"/>
                  <a:pt x="160" y="31"/>
                  <a:pt x="159" y="31"/>
                </a:cubicBezTo>
                <a:cubicBezTo>
                  <a:pt x="159" y="31"/>
                  <a:pt x="159" y="31"/>
                  <a:pt x="159" y="31"/>
                </a:cubicBezTo>
                <a:cubicBezTo>
                  <a:pt x="158" y="31"/>
                  <a:pt x="158" y="31"/>
                  <a:pt x="158" y="31"/>
                </a:cubicBezTo>
                <a:cubicBezTo>
                  <a:pt x="157" y="31"/>
                  <a:pt x="157" y="31"/>
                  <a:pt x="157" y="31"/>
                </a:cubicBezTo>
                <a:cubicBezTo>
                  <a:pt x="157" y="31"/>
                  <a:pt x="157" y="31"/>
                  <a:pt x="157" y="31"/>
                </a:cubicBezTo>
                <a:cubicBezTo>
                  <a:pt x="157" y="30"/>
                  <a:pt x="157" y="30"/>
                  <a:pt x="157" y="30"/>
                </a:cubicBezTo>
                <a:cubicBezTo>
                  <a:pt x="157" y="30"/>
                  <a:pt x="156" y="30"/>
                  <a:pt x="156" y="30"/>
                </a:cubicBezTo>
                <a:cubicBezTo>
                  <a:pt x="156" y="29"/>
                  <a:pt x="156" y="29"/>
                  <a:pt x="156" y="29"/>
                </a:cubicBezTo>
                <a:cubicBezTo>
                  <a:pt x="155" y="28"/>
                  <a:pt x="155" y="27"/>
                  <a:pt x="155" y="27"/>
                </a:cubicBezTo>
                <a:cubicBezTo>
                  <a:pt x="154" y="27"/>
                  <a:pt x="154" y="27"/>
                  <a:pt x="154" y="27"/>
                </a:cubicBezTo>
                <a:cubicBezTo>
                  <a:pt x="154" y="26"/>
                  <a:pt x="153" y="25"/>
                  <a:pt x="151" y="25"/>
                </a:cubicBezTo>
                <a:cubicBezTo>
                  <a:pt x="150" y="25"/>
                  <a:pt x="150" y="25"/>
                  <a:pt x="149" y="25"/>
                </a:cubicBezTo>
                <a:cubicBezTo>
                  <a:pt x="147" y="25"/>
                  <a:pt x="147" y="25"/>
                  <a:pt x="147" y="25"/>
                </a:cubicBezTo>
                <a:cubicBezTo>
                  <a:pt x="146" y="25"/>
                  <a:pt x="146" y="25"/>
                  <a:pt x="146" y="25"/>
                </a:cubicBezTo>
                <a:cubicBezTo>
                  <a:pt x="145" y="25"/>
                  <a:pt x="145" y="25"/>
                  <a:pt x="145" y="25"/>
                </a:cubicBezTo>
                <a:cubicBezTo>
                  <a:pt x="145" y="25"/>
                  <a:pt x="145" y="25"/>
                  <a:pt x="145" y="25"/>
                </a:cubicBezTo>
                <a:cubicBezTo>
                  <a:pt x="145" y="25"/>
                  <a:pt x="145" y="25"/>
                  <a:pt x="145" y="25"/>
                </a:cubicBezTo>
                <a:cubicBezTo>
                  <a:pt x="144" y="25"/>
                  <a:pt x="144" y="25"/>
                  <a:pt x="143" y="25"/>
                </a:cubicBezTo>
                <a:cubicBezTo>
                  <a:pt x="143" y="25"/>
                  <a:pt x="143" y="25"/>
                  <a:pt x="143" y="24"/>
                </a:cubicBezTo>
                <a:cubicBezTo>
                  <a:pt x="141" y="23"/>
                  <a:pt x="141" y="23"/>
                  <a:pt x="141" y="23"/>
                </a:cubicBezTo>
                <a:cubicBezTo>
                  <a:pt x="141" y="23"/>
                  <a:pt x="141" y="23"/>
                  <a:pt x="140" y="22"/>
                </a:cubicBezTo>
                <a:cubicBezTo>
                  <a:pt x="139" y="22"/>
                  <a:pt x="139" y="22"/>
                  <a:pt x="139" y="22"/>
                </a:cubicBezTo>
                <a:cubicBezTo>
                  <a:pt x="139" y="22"/>
                  <a:pt x="139" y="22"/>
                  <a:pt x="138" y="22"/>
                </a:cubicBezTo>
                <a:cubicBezTo>
                  <a:pt x="138" y="22"/>
                  <a:pt x="137" y="22"/>
                  <a:pt x="136" y="22"/>
                </a:cubicBezTo>
                <a:cubicBezTo>
                  <a:pt x="136" y="22"/>
                  <a:pt x="136" y="22"/>
                  <a:pt x="136" y="22"/>
                </a:cubicBezTo>
                <a:cubicBezTo>
                  <a:pt x="135" y="21"/>
                  <a:pt x="134" y="21"/>
                  <a:pt x="134" y="20"/>
                </a:cubicBezTo>
                <a:cubicBezTo>
                  <a:pt x="134" y="20"/>
                  <a:pt x="134" y="20"/>
                  <a:pt x="134" y="20"/>
                </a:cubicBezTo>
                <a:cubicBezTo>
                  <a:pt x="131" y="21"/>
                  <a:pt x="131" y="21"/>
                  <a:pt x="131" y="21"/>
                </a:cubicBezTo>
                <a:cubicBezTo>
                  <a:pt x="133" y="19"/>
                  <a:pt x="133" y="19"/>
                  <a:pt x="133" y="19"/>
                </a:cubicBezTo>
                <a:cubicBezTo>
                  <a:pt x="133" y="19"/>
                  <a:pt x="133" y="19"/>
                  <a:pt x="133" y="19"/>
                </a:cubicBezTo>
                <a:cubicBezTo>
                  <a:pt x="133" y="18"/>
                  <a:pt x="133" y="18"/>
                  <a:pt x="132" y="18"/>
                </a:cubicBezTo>
                <a:cubicBezTo>
                  <a:pt x="132" y="18"/>
                  <a:pt x="131" y="18"/>
                  <a:pt x="131" y="18"/>
                </a:cubicBezTo>
                <a:cubicBezTo>
                  <a:pt x="131" y="18"/>
                  <a:pt x="131" y="18"/>
                  <a:pt x="131" y="18"/>
                </a:cubicBezTo>
                <a:cubicBezTo>
                  <a:pt x="130" y="18"/>
                  <a:pt x="130" y="18"/>
                  <a:pt x="129" y="18"/>
                </a:cubicBezTo>
                <a:cubicBezTo>
                  <a:pt x="129" y="18"/>
                  <a:pt x="129" y="18"/>
                  <a:pt x="129" y="18"/>
                </a:cubicBezTo>
                <a:cubicBezTo>
                  <a:pt x="128" y="18"/>
                  <a:pt x="127" y="18"/>
                  <a:pt x="126" y="18"/>
                </a:cubicBezTo>
                <a:cubicBezTo>
                  <a:pt x="126" y="18"/>
                  <a:pt x="126" y="18"/>
                  <a:pt x="126" y="18"/>
                </a:cubicBezTo>
                <a:cubicBezTo>
                  <a:pt x="126" y="18"/>
                  <a:pt x="126" y="18"/>
                  <a:pt x="126" y="18"/>
                </a:cubicBezTo>
                <a:cubicBezTo>
                  <a:pt x="126" y="18"/>
                  <a:pt x="126" y="18"/>
                  <a:pt x="126" y="18"/>
                </a:cubicBezTo>
                <a:cubicBezTo>
                  <a:pt x="125" y="19"/>
                  <a:pt x="124" y="20"/>
                  <a:pt x="123" y="20"/>
                </a:cubicBezTo>
                <a:cubicBezTo>
                  <a:pt x="123" y="20"/>
                  <a:pt x="122" y="20"/>
                  <a:pt x="122" y="20"/>
                </a:cubicBezTo>
                <a:cubicBezTo>
                  <a:pt x="122" y="22"/>
                  <a:pt x="122" y="22"/>
                  <a:pt x="122" y="22"/>
                </a:cubicBezTo>
                <a:cubicBezTo>
                  <a:pt x="122" y="20"/>
                  <a:pt x="122" y="20"/>
                  <a:pt x="122" y="20"/>
                </a:cubicBezTo>
                <a:cubicBezTo>
                  <a:pt x="121" y="20"/>
                  <a:pt x="120" y="20"/>
                  <a:pt x="119" y="20"/>
                </a:cubicBezTo>
                <a:cubicBezTo>
                  <a:pt x="117" y="20"/>
                  <a:pt x="116" y="20"/>
                  <a:pt x="114" y="21"/>
                </a:cubicBezTo>
                <a:cubicBezTo>
                  <a:pt x="101" y="34"/>
                  <a:pt x="101" y="34"/>
                  <a:pt x="101" y="34"/>
                </a:cubicBezTo>
                <a:cubicBezTo>
                  <a:pt x="101" y="33"/>
                  <a:pt x="101" y="33"/>
                  <a:pt x="101" y="33"/>
                </a:cubicBezTo>
                <a:cubicBezTo>
                  <a:pt x="100" y="34"/>
                  <a:pt x="100" y="34"/>
                  <a:pt x="100" y="34"/>
                </a:cubicBezTo>
                <a:cubicBezTo>
                  <a:pt x="99" y="34"/>
                  <a:pt x="98" y="34"/>
                  <a:pt x="97" y="33"/>
                </a:cubicBezTo>
                <a:cubicBezTo>
                  <a:pt x="97" y="33"/>
                  <a:pt x="98" y="33"/>
                  <a:pt x="99" y="33"/>
                </a:cubicBezTo>
                <a:cubicBezTo>
                  <a:pt x="98" y="33"/>
                  <a:pt x="97" y="33"/>
                  <a:pt x="97" y="33"/>
                </a:cubicBezTo>
                <a:cubicBezTo>
                  <a:pt x="95" y="33"/>
                  <a:pt x="93" y="33"/>
                  <a:pt x="92" y="33"/>
                </a:cubicBezTo>
                <a:cubicBezTo>
                  <a:pt x="90" y="34"/>
                  <a:pt x="89" y="34"/>
                  <a:pt x="87" y="35"/>
                </a:cubicBezTo>
                <a:cubicBezTo>
                  <a:pt x="86" y="35"/>
                  <a:pt x="85" y="35"/>
                  <a:pt x="84" y="35"/>
                </a:cubicBezTo>
                <a:cubicBezTo>
                  <a:pt x="83" y="35"/>
                  <a:pt x="83" y="36"/>
                  <a:pt x="82" y="36"/>
                </a:cubicBezTo>
                <a:cubicBezTo>
                  <a:pt x="80" y="36"/>
                  <a:pt x="79" y="36"/>
                  <a:pt x="78" y="36"/>
                </a:cubicBezTo>
                <a:cubicBezTo>
                  <a:pt x="77" y="36"/>
                  <a:pt x="77" y="36"/>
                  <a:pt x="76" y="36"/>
                </a:cubicBezTo>
                <a:cubicBezTo>
                  <a:pt x="76" y="36"/>
                  <a:pt x="75" y="35"/>
                  <a:pt x="74" y="35"/>
                </a:cubicBezTo>
                <a:cubicBezTo>
                  <a:pt x="73" y="35"/>
                  <a:pt x="72" y="35"/>
                  <a:pt x="71" y="34"/>
                </a:cubicBezTo>
                <a:cubicBezTo>
                  <a:pt x="70" y="34"/>
                  <a:pt x="69" y="34"/>
                  <a:pt x="68" y="33"/>
                </a:cubicBezTo>
                <a:cubicBezTo>
                  <a:pt x="68" y="33"/>
                  <a:pt x="68" y="33"/>
                  <a:pt x="68" y="33"/>
                </a:cubicBezTo>
                <a:cubicBezTo>
                  <a:pt x="68" y="33"/>
                  <a:pt x="67" y="32"/>
                  <a:pt x="66" y="32"/>
                </a:cubicBezTo>
                <a:cubicBezTo>
                  <a:pt x="65" y="31"/>
                  <a:pt x="64" y="31"/>
                  <a:pt x="63" y="30"/>
                </a:cubicBezTo>
                <a:cubicBezTo>
                  <a:pt x="63" y="30"/>
                  <a:pt x="63" y="29"/>
                  <a:pt x="62" y="29"/>
                </a:cubicBezTo>
                <a:cubicBezTo>
                  <a:pt x="62" y="28"/>
                  <a:pt x="62" y="28"/>
                  <a:pt x="62" y="28"/>
                </a:cubicBezTo>
                <a:cubicBezTo>
                  <a:pt x="61" y="27"/>
                  <a:pt x="60" y="27"/>
                  <a:pt x="59" y="27"/>
                </a:cubicBezTo>
                <a:cubicBezTo>
                  <a:pt x="58" y="26"/>
                  <a:pt x="57" y="26"/>
                  <a:pt x="56" y="26"/>
                </a:cubicBezTo>
                <a:cubicBezTo>
                  <a:pt x="56" y="26"/>
                  <a:pt x="56" y="26"/>
                  <a:pt x="56" y="26"/>
                </a:cubicBezTo>
                <a:cubicBezTo>
                  <a:pt x="55" y="26"/>
                  <a:pt x="54" y="25"/>
                  <a:pt x="53" y="25"/>
                </a:cubicBezTo>
                <a:cubicBezTo>
                  <a:pt x="52" y="25"/>
                  <a:pt x="51" y="24"/>
                  <a:pt x="50" y="24"/>
                </a:cubicBezTo>
                <a:cubicBezTo>
                  <a:pt x="50" y="23"/>
                  <a:pt x="50" y="23"/>
                  <a:pt x="50" y="22"/>
                </a:cubicBezTo>
                <a:cubicBezTo>
                  <a:pt x="50" y="22"/>
                  <a:pt x="49" y="21"/>
                  <a:pt x="49" y="21"/>
                </a:cubicBezTo>
                <a:cubicBezTo>
                  <a:pt x="49" y="20"/>
                  <a:pt x="49" y="19"/>
                  <a:pt x="48" y="17"/>
                </a:cubicBezTo>
                <a:cubicBezTo>
                  <a:pt x="48" y="17"/>
                  <a:pt x="48" y="16"/>
                  <a:pt x="48" y="16"/>
                </a:cubicBezTo>
                <a:cubicBezTo>
                  <a:pt x="48" y="16"/>
                  <a:pt x="48" y="16"/>
                  <a:pt x="48" y="16"/>
                </a:cubicBezTo>
                <a:cubicBezTo>
                  <a:pt x="48" y="16"/>
                  <a:pt x="47" y="16"/>
                  <a:pt x="47" y="16"/>
                </a:cubicBezTo>
                <a:cubicBezTo>
                  <a:pt x="47" y="16"/>
                  <a:pt x="47" y="16"/>
                  <a:pt x="47" y="16"/>
                </a:cubicBezTo>
                <a:cubicBezTo>
                  <a:pt x="47" y="16"/>
                  <a:pt x="46" y="16"/>
                  <a:pt x="46" y="16"/>
                </a:cubicBezTo>
                <a:cubicBezTo>
                  <a:pt x="46" y="16"/>
                  <a:pt x="46" y="16"/>
                  <a:pt x="46" y="16"/>
                </a:cubicBezTo>
                <a:cubicBezTo>
                  <a:pt x="46" y="16"/>
                  <a:pt x="46" y="16"/>
                  <a:pt x="46" y="16"/>
                </a:cubicBezTo>
                <a:cubicBezTo>
                  <a:pt x="46" y="16"/>
                  <a:pt x="46" y="16"/>
                  <a:pt x="45" y="16"/>
                </a:cubicBezTo>
                <a:cubicBezTo>
                  <a:pt x="45" y="16"/>
                  <a:pt x="45" y="16"/>
                  <a:pt x="45" y="16"/>
                </a:cubicBezTo>
                <a:cubicBezTo>
                  <a:pt x="45" y="16"/>
                  <a:pt x="45" y="16"/>
                  <a:pt x="45" y="16"/>
                </a:cubicBezTo>
                <a:cubicBezTo>
                  <a:pt x="44" y="15"/>
                  <a:pt x="44" y="15"/>
                  <a:pt x="44" y="14"/>
                </a:cubicBezTo>
                <a:cubicBezTo>
                  <a:pt x="43" y="14"/>
                  <a:pt x="43" y="14"/>
                  <a:pt x="43" y="14"/>
                </a:cubicBezTo>
                <a:cubicBezTo>
                  <a:pt x="43" y="14"/>
                  <a:pt x="43" y="14"/>
                  <a:pt x="43" y="14"/>
                </a:cubicBezTo>
                <a:cubicBezTo>
                  <a:pt x="42" y="13"/>
                  <a:pt x="42" y="13"/>
                  <a:pt x="41" y="13"/>
                </a:cubicBezTo>
                <a:cubicBezTo>
                  <a:pt x="41" y="13"/>
                  <a:pt x="41" y="12"/>
                  <a:pt x="41" y="12"/>
                </a:cubicBezTo>
                <a:cubicBezTo>
                  <a:pt x="41" y="12"/>
                  <a:pt x="41" y="12"/>
                  <a:pt x="41" y="12"/>
                </a:cubicBezTo>
                <a:cubicBezTo>
                  <a:pt x="41" y="12"/>
                  <a:pt x="41" y="12"/>
                  <a:pt x="41" y="12"/>
                </a:cubicBezTo>
                <a:cubicBezTo>
                  <a:pt x="37" y="9"/>
                  <a:pt x="37" y="9"/>
                  <a:pt x="37" y="9"/>
                </a:cubicBezTo>
                <a:cubicBezTo>
                  <a:pt x="40" y="7"/>
                  <a:pt x="40" y="7"/>
                  <a:pt x="40" y="7"/>
                </a:cubicBezTo>
                <a:cubicBezTo>
                  <a:pt x="40" y="6"/>
                  <a:pt x="39" y="6"/>
                  <a:pt x="40" y="5"/>
                </a:cubicBezTo>
                <a:cubicBezTo>
                  <a:pt x="40" y="4"/>
                  <a:pt x="40" y="4"/>
                  <a:pt x="41" y="3"/>
                </a:cubicBezTo>
                <a:cubicBezTo>
                  <a:pt x="41" y="3"/>
                  <a:pt x="41" y="3"/>
                  <a:pt x="41" y="3"/>
                </a:cubicBezTo>
                <a:cubicBezTo>
                  <a:pt x="41" y="3"/>
                  <a:pt x="41" y="3"/>
                  <a:pt x="41" y="3"/>
                </a:cubicBezTo>
                <a:cubicBezTo>
                  <a:pt x="40" y="2"/>
                  <a:pt x="40" y="2"/>
                  <a:pt x="40" y="2"/>
                </a:cubicBezTo>
                <a:cubicBezTo>
                  <a:pt x="39" y="1"/>
                  <a:pt x="39" y="1"/>
                  <a:pt x="39" y="0"/>
                </a:cubicBezTo>
                <a:cubicBezTo>
                  <a:pt x="39" y="0"/>
                  <a:pt x="38" y="1"/>
                  <a:pt x="37" y="1"/>
                </a:cubicBezTo>
                <a:cubicBezTo>
                  <a:pt x="37" y="2"/>
                  <a:pt x="37" y="2"/>
                  <a:pt x="37" y="2"/>
                </a:cubicBezTo>
                <a:cubicBezTo>
                  <a:pt x="35" y="3"/>
                  <a:pt x="34" y="3"/>
                  <a:pt x="33" y="4"/>
                </a:cubicBezTo>
                <a:cubicBezTo>
                  <a:pt x="32" y="5"/>
                  <a:pt x="32" y="5"/>
                  <a:pt x="32" y="5"/>
                </a:cubicBezTo>
                <a:cubicBezTo>
                  <a:pt x="31" y="5"/>
                  <a:pt x="31" y="5"/>
                  <a:pt x="30" y="6"/>
                </a:cubicBezTo>
                <a:cubicBezTo>
                  <a:pt x="29" y="6"/>
                  <a:pt x="29" y="7"/>
                  <a:pt x="28" y="7"/>
                </a:cubicBezTo>
                <a:cubicBezTo>
                  <a:pt x="28" y="8"/>
                  <a:pt x="28" y="8"/>
                  <a:pt x="27" y="8"/>
                </a:cubicBezTo>
                <a:cubicBezTo>
                  <a:pt x="27" y="8"/>
                  <a:pt x="27" y="8"/>
                  <a:pt x="27" y="8"/>
                </a:cubicBezTo>
                <a:cubicBezTo>
                  <a:pt x="27" y="9"/>
                  <a:pt x="27" y="9"/>
                  <a:pt x="27" y="9"/>
                </a:cubicBezTo>
                <a:cubicBezTo>
                  <a:pt x="26" y="9"/>
                  <a:pt x="26" y="10"/>
                  <a:pt x="25" y="10"/>
                </a:cubicBezTo>
                <a:cubicBezTo>
                  <a:pt x="25" y="10"/>
                  <a:pt x="25" y="10"/>
                  <a:pt x="25" y="10"/>
                </a:cubicBezTo>
                <a:cubicBezTo>
                  <a:pt x="24" y="13"/>
                  <a:pt x="24" y="13"/>
                  <a:pt x="24" y="13"/>
                </a:cubicBezTo>
                <a:cubicBezTo>
                  <a:pt x="24" y="12"/>
                  <a:pt x="24" y="12"/>
                  <a:pt x="24" y="12"/>
                </a:cubicBezTo>
                <a:cubicBezTo>
                  <a:pt x="24" y="12"/>
                  <a:pt x="24" y="12"/>
                  <a:pt x="24" y="12"/>
                </a:cubicBezTo>
                <a:cubicBezTo>
                  <a:pt x="23" y="10"/>
                  <a:pt x="23" y="10"/>
                  <a:pt x="23" y="10"/>
                </a:cubicBezTo>
                <a:cubicBezTo>
                  <a:pt x="23" y="10"/>
                  <a:pt x="23" y="10"/>
                  <a:pt x="23" y="10"/>
                </a:cubicBezTo>
                <a:cubicBezTo>
                  <a:pt x="23" y="10"/>
                  <a:pt x="23" y="10"/>
                  <a:pt x="23" y="10"/>
                </a:cubicBezTo>
                <a:cubicBezTo>
                  <a:pt x="23" y="10"/>
                  <a:pt x="23" y="10"/>
                  <a:pt x="23" y="10"/>
                </a:cubicBezTo>
                <a:cubicBezTo>
                  <a:pt x="23" y="10"/>
                  <a:pt x="23" y="10"/>
                  <a:pt x="22" y="10"/>
                </a:cubicBezTo>
                <a:cubicBezTo>
                  <a:pt x="22" y="11"/>
                  <a:pt x="22" y="11"/>
                  <a:pt x="22" y="11"/>
                </a:cubicBezTo>
                <a:cubicBezTo>
                  <a:pt x="22" y="11"/>
                  <a:pt x="22" y="11"/>
                  <a:pt x="22" y="11"/>
                </a:cubicBezTo>
                <a:cubicBezTo>
                  <a:pt x="21" y="11"/>
                  <a:pt x="21" y="11"/>
                  <a:pt x="21" y="11"/>
                </a:cubicBezTo>
                <a:cubicBezTo>
                  <a:pt x="21" y="11"/>
                  <a:pt x="19" y="11"/>
                  <a:pt x="18" y="10"/>
                </a:cubicBezTo>
                <a:cubicBezTo>
                  <a:pt x="16" y="10"/>
                  <a:pt x="13" y="9"/>
                  <a:pt x="12" y="8"/>
                </a:cubicBezTo>
                <a:cubicBezTo>
                  <a:pt x="11" y="8"/>
                  <a:pt x="11" y="7"/>
                  <a:pt x="10" y="7"/>
                </a:cubicBezTo>
                <a:cubicBezTo>
                  <a:pt x="10" y="6"/>
                  <a:pt x="10" y="6"/>
                  <a:pt x="10" y="6"/>
                </a:cubicBezTo>
                <a:cubicBezTo>
                  <a:pt x="10" y="6"/>
                  <a:pt x="9" y="6"/>
                  <a:pt x="9" y="6"/>
                </a:cubicBezTo>
                <a:cubicBezTo>
                  <a:pt x="7" y="4"/>
                  <a:pt x="6" y="3"/>
                  <a:pt x="6" y="2"/>
                </a:cubicBezTo>
                <a:cubicBezTo>
                  <a:pt x="6" y="2"/>
                  <a:pt x="6" y="2"/>
                  <a:pt x="6" y="2"/>
                </a:cubicBezTo>
                <a:cubicBezTo>
                  <a:pt x="6" y="2"/>
                  <a:pt x="6" y="2"/>
                  <a:pt x="6" y="2"/>
                </a:cubicBezTo>
                <a:cubicBezTo>
                  <a:pt x="5" y="1"/>
                  <a:pt x="5" y="1"/>
                  <a:pt x="5" y="1"/>
                </a:cubicBezTo>
                <a:cubicBezTo>
                  <a:pt x="5" y="1"/>
                  <a:pt x="5" y="1"/>
                  <a:pt x="5" y="1"/>
                </a:cubicBezTo>
                <a:cubicBezTo>
                  <a:pt x="5" y="1"/>
                  <a:pt x="5" y="1"/>
                  <a:pt x="5" y="1"/>
                </a:cubicBezTo>
                <a:cubicBezTo>
                  <a:pt x="5" y="1"/>
                  <a:pt x="5" y="1"/>
                  <a:pt x="5" y="1"/>
                </a:cubicBezTo>
                <a:cubicBezTo>
                  <a:pt x="5" y="0"/>
                  <a:pt x="5" y="0"/>
                  <a:pt x="5" y="0"/>
                </a:cubicBezTo>
                <a:cubicBezTo>
                  <a:pt x="4" y="0"/>
                  <a:pt x="4" y="0"/>
                  <a:pt x="4" y="0"/>
                </a:cubicBezTo>
                <a:cubicBezTo>
                  <a:pt x="4" y="0"/>
                  <a:pt x="4" y="0"/>
                  <a:pt x="4" y="0"/>
                </a:cubicBezTo>
                <a:cubicBezTo>
                  <a:pt x="4" y="0"/>
                  <a:pt x="4" y="0"/>
                  <a:pt x="4" y="0"/>
                </a:cubicBezTo>
                <a:cubicBezTo>
                  <a:pt x="4" y="3"/>
                  <a:pt x="3" y="4"/>
                  <a:pt x="3" y="4"/>
                </a:cubicBezTo>
                <a:cubicBezTo>
                  <a:pt x="2" y="4"/>
                  <a:pt x="1" y="4"/>
                  <a:pt x="0" y="4"/>
                </a:cubicBezTo>
                <a:cubicBezTo>
                  <a:pt x="0" y="5"/>
                  <a:pt x="0" y="5"/>
                  <a:pt x="0" y="5"/>
                </a:cubicBezTo>
                <a:cubicBezTo>
                  <a:pt x="1" y="5"/>
                  <a:pt x="1" y="6"/>
                  <a:pt x="1" y="6"/>
                </a:cubicBezTo>
                <a:cubicBezTo>
                  <a:pt x="1" y="7"/>
                  <a:pt x="2" y="8"/>
                  <a:pt x="2" y="9"/>
                </a:cubicBezTo>
                <a:cubicBezTo>
                  <a:pt x="3" y="10"/>
                  <a:pt x="3" y="12"/>
                  <a:pt x="3" y="14"/>
                </a:cubicBezTo>
                <a:cubicBezTo>
                  <a:pt x="4" y="14"/>
                  <a:pt x="4" y="14"/>
                  <a:pt x="4" y="15"/>
                </a:cubicBezTo>
                <a:cubicBezTo>
                  <a:pt x="5" y="16"/>
                  <a:pt x="4" y="17"/>
                  <a:pt x="4" y="18"/>
                </a:cubicBezTo>
                <a:cubicBezTo>
                  <a:pt x="3" y="18"/>
                  <a:pt x="2" y="20"/>
                  <a:pt x="2" y="20"/>
                </a:cubicBezTo>
                <a:cubicBezTo>
                  <a:pt x="2" y="20"/>
                  <a:pt x="2" y="20"/>
                  <a:pt x="2" y="20"/>
                </a:cubicBezTo>
                <a:cubicBezTo>
                  <a:pt x="2" y="20"/>
                  <a:pt x="2" y="20"/>
                  <a:pt x="2" y="20"/>
                </a:cubicBezTo>
                <a:cubicBezTo>
                  <a:pt x="3" y="20"/>
                  <a:pt x="3" y="20"/>
                  <a:pt x="3" y="21"/>
                </a:cubicBezTo>
                <a:cubicBezTo>
                  <a:pt x="4" y="21"/>
                  <a:pt x="4" y="21"/>
                  <a:pt x="5" y="21"/>
                </a:cubicBezTo>
                <a:cubicBezTo>
                  <a:pt x="5" y="21"/>
                  <a:pt x="5" y="22"/>
                  <a:pt x="5" y="22"/>
                </a:cubicBezTo>
                <a:cubicBezTo>
                  <a:pt x="5" y="22"/>
                  <a:pt x="5" y="22"/>
                  <a:pt x="6" y="22"/>
                </a:cubicBezTo>
                <a:cubicBezTo>
                  <a:pt x="6" y="23"/>
                  <a:pt x="6" y="23"/>
                  <a:pt x="6" y="23"/>
                </a:cubicBezTo>
                <a:cubicBezTo>
                  <a:pt x="6" y="24"/>
                  <a:pt x="6" y="24"/>
                  <a:pt x="6" y="24"/>
                </a:cubicBezTo>
                <a:cubicBezTo>
                  <a:pt x="6" y="25"/>
                  <a:pt x="6" y="25"/>
                  <a:pt x="6" y="25"/>
                </a:cubicBezTo>
                <a:cubicBezTo>
                  <a:pt x="6" y="25"/>
                  <a:pt x="6" y="25"/>
                  <a:pt x="6" y="25"/>
                </a:cubicBezTo>
                <a:cubicBezTo>
                  <a:pt x="6" y="25"/>
                  <a:pt x="6" y="26"/>
                  <a:pt x="6" y="26"/>
                </a:cubicBezTo>
                <a:cubicBezTo>
                  <a:pt x="7" y="26"/>
                  <a:pt x="7" y="26"/>
                  <a:pt x="8" y="27"/>
                </a:cubicBezTo>
                <a:cubicBezTo>
                  <a:pt x="8" y="27"/>
                  <a:pt x="8" y="27"/>
                  <a:pt x="8" y="27"/>
                </a:cubicBezTo>
                <a:cubicBezTo>
                  <a:pt x="8" y="28"/>
                  <a:pt x="8" y="29"/>
                  <a:pt x="8" y="29"/>
                </a:cubicBezTo>
                <a:cubicBezTo>
                  <a:pt x="8" y="29"/>
                  <a:pt x="8" y="29"/>
                  <a:pt x="8" y="29"/>
                </a:cubicBezTo>
                <a:cubicBezTo>
                  <a:pt x="8" y="30"/>
                  <a:pt x="8" y="30"/>
                  <a:pt x="8" y="31"/>
                </a:cubicBezTo>
                <a:cubicBezTo>
                  <a:pt x="9" y="32"/>
                  <a:pt x="9" y="32"/>
                  <a:pt x="9" y="32"/>
                </a:cubicBezTo>
                <a:cubicBezTo>
                  <a:pt x="9" y="32"/>
                  <a:pt x="9" y="33"/>
                  <a:pt x="9" y="33"/>
                </a:cubicBezTo>
                <a:cubicBezTo>
                  <a:pt x="9" y="33"/>
                  <a:pt x="9" y="33"/>
                  <a:pt x="9" y="33"/>
                </a:cubicBezTo>
                <a:cubicBezTo>
                  <a:pt x="9" y="33"/>
                  <a:pt x="9" y="33"/>
                  <a:pt x="9" y="33"/>
                </a:cubicBezTo>
                <a:cubicBezTo>
                  <a:pt x="9" y="33"/>
                  <a:pt x="9" y="33"/>
                  <a:pt x="9" y="33"/>
                </a:cubicBezTo>
                <a:cubicBezTo>
                  <a:pt x="9" y="33"/>
                  <a:pt x="9" y="33"/>
                  <a:pt x="9" y="33"/>
                </a:cubicBezTo>
                <a:cubicBezTo>
                  <a:pt x="9" y="33"/>
                  <a:pt x="9" y="33"/>
                  <a:pt x="9" y="33"/>
                </a:cubicBezTo>
                <a:cubicBezTo>
                  <a:pt x="9" y="33"/>
                  <a:pt x="9" y="33"/>
                  <a:pt x="9" y="33"/>
                </a:cubicBezTo>
                <a:cubicBezTo>
                  <a:pt x="10" y="34"/>
                  <a:pt x="10" y="35"/>
                  <a:pt x="10" y="35"/>
                </a:cubicBezTo>
                <a:cubicBezTo>
                  <a:pt x="10" y="36"/>
                  <a:pt x="10" y="36"/>
                  <a:pt x="10" y="36"/>
                </a:cubicBezTo>
                <a:cubicBezTo>
                  <a:pt x="10" y="36"/>
                  <a:pt x="10" y="36"/>
                  <a:pt x="10" y="36"/>
                </a:cubicBezTo>
                <a:cubicBezTo>
                  <a:pt x="10" y="36"/>
                  <a:pt x="10" y="36"/>
                  <a:pt x="10" y="36"/>
                </a:cubicBezTo>
                <a:cubicBezTo>
                  <a:pt x="10" y="36"/>
                  <a:pt x="10" y="36"/>
                  <a:pt x="10" y="36"/>
                </a:cubicBezTo>
                <a:cubicBezTo>
                  <a:pt x="11" y="37"/>
                  <a:pt x="11" y="37"/>
                  <a:pt x="12" y="37"/>
                </a:cubicBezTo>
                <a:cubicBezTo>
                  <a:pt x="14" y="37"/>
                  <a:pt x="14" y="37"/>
                  <a:pt x="14" y="37"/>
                </a:cubicBezTo>
                <a:cubicBezTo>
                  <a:pt x="12" y="38"/>
                  <a:pt x="12" y="38"/>
                  <a:pt x="12" y="38"/>
                </a:cubicBezTo>
                <a:cubicBezTo>
                  <a:pt x="12" y="38"/>
                  <a:pt x="12" y="38"/>
                  <a:pt x="12" y="38"/>
                </a:cubicBezTo>
                <a:cubicBezTo>
                  <a:pt x="12" y="38"/>
                  <a:pt x="12" y="38"/>
                  <a:pt x="12" y="38"/>
                </a:cubicBezTo>
                <a:cubicBezTo>
                  <a:pt x="13" y="39"/>
                  <a:pt x="13" y="40"/>
                  <a:pt x="13" y="41"/>
                </a:cubicBezTo>
                <a:cubicBezTo>
                  <a:pt x="13" y="42"/>
                  <a:pt x="13" y="42"/>
                  <a:pt x="13" y="42"/>
                </a:cubicBezTo>
                <a:cubicBezTo>
                  <a:pt x="13" y="42"/>
                  <a:pt x="14" y="42"/>
                  <a:pt x="14" y="42"/>
                </a:cubicBezTo>
                <a:cubicBezTo>
                  <a:pt x="15" y="42"/>
                  <a:pt x="15" y="42"/>
                  <a:pt x="15" y="43"/>
                </a:cubicBezTo>
                <a:cubicBezTo>
                  <a:pt x="16" y="43"/>
                  <a:pt x="16" y="43"/>
                  <a:pt x="17" y="44"/>
                </a:cubicBezTo>
                <a:cubicBezTo>
                  <a:pt x="17" y="44"/>
                  <a:pt x="17" y="44"/>
                  <a:pt x="17" y="44"/>
                </a:cubicBezTo>
                <a:cubicBezTo>
                  <a:pt x="17" y="44"/>
                  <a:pt x="18" y="44"/>
                  <a:pt x="18" y="44"/>
                </a:cubicBezTo>
                <a:cubicBezTo>
                  <a:pt x="18" y="44"/>
                  <a:pt x="19" y="44"/>
                  <a:pt x="19" y="44"/>
                </a:cubicBezTo>
                <a:cubicBezTo>
                  <a:pt x="19" y="44"/>
                  <a:pt x="19" y="44"/>
                  <a:pt x="19" y="44"/>
                </a:cubicBezTo>
                <a:cubicBezTo>
                  <a:pt x="19" y="44"/>
                  <a:pt x="19" y="44"/>
                  <a:pt x="19" y="44"/>
                </a:cubicBezTo>
                <a:cubicBezTo>
                  <a:pt x="20" y="44"/>
                  <a:pt x="21" y="44"/>
                  <a:pt x="21" y="44"/>
                </a:cubicBezTo>
                <a:cubicBezTo>
                  <a:pt x="21" y="44"/>
                  <a:pt x="22" y="44"/>
                  <a:pt x="22" y="44"/>
                </a:cubicBezTo>
                <a:cubicBezTo>
                  <a:pt x="26" y="45"/>
                  <a:pt x="26" y="45"/>
                  <a:pt x="26" y="45"/>
                </a:cubicBezTo>
                <a:cubicBezTo>
                  <a:pt x="23" y="47"/>
                  <a:pt x="23" y="47"/>
                  <a:pt x="23" y="47"/>
                </a:cubicBezTo>
                <a:cubicBezTo>
                  <a:pt x="23" y="47"/>
                  <a:pt x="22" y="47"/>
                  <a:pt x="22" y="47"/>
                </a:cubicBezTo>
                <a:cubicBezTo>
                  <a:pt x="21" y="47"/>
                  <a:pt x="20" y="48"/>
                  <a:pt x="20" y="48"/>
                </a:cubicBezTo>
                <a:cubicBezTo>
                  <a:pt x="20" y="48"/>
                  <a:pt x="20" y="48"/>
                  <a:pt x="20" y="48"/>
                </a:cubicBezTo>
                <a:cubicBezTo>
                  <a:pt x="20" y="48"/>
                  <a:pt x="20" y="48"/>
                  <a:pt x="20" y="48"/>
                </a:cubicBezTo>
                <a:cubicBezTo>
                  <a:pt x="20" y="49"/>
                  <a:pt x="20" y="49"/>
                  <a:pt x="20" y="49"/>
                </a:cubicBezTo>
                <a:cubicBezTo>
                  <a:pt x="20" y="49"/>
                  <a:pt x="20" y="49"/>
                  <a:pt x="20" y="49"/>
                </a:cubicBezTo>
                <a:cubicBezTo>
                  <a:pt x="20" y="49"/>
                  <a:pt x="20" y="49"/>
                  <a:pt x="21" y="50"/>
                </a:cubicBezTo>
                <a:cubicBezTo>
                  <a:pt x="21" y="50"/>
                  <a:pt x="21" y="50"/>
                  <a:pt x="21" y="50"/>
                </a:cubicBezTo>
                <a:cubicBezTo>
                  <a:pt x="21" y="50"/>
                  <a:pt x="22" y="51"/>
                  <a:pt x="22" y="52"/>
                </a:cubicBezTo>
                <a:cubicBezTo>
                  <a:pt x="22" y="53"/>
                  <a:pt x="22" y="53"/>
                  <a:pt x="22" y="53"/>
                </a:cubicBezTo>
                <a:cubicBezTo>
                  <a:pt x="22" y="53"/>
                  <a:pt x="22" y="53"/>
                  <a:pt x="22" y="53"/>
                </a:cubicBezTo>
                <a:cubicBezTo>
                  <a:pt x="22" y="54"/>
                  <a:pt x="22" y="54"/>
                  <a:pt x="22" y="54"/>
                </a:cubicBezTo>
                <a:cubicBezTo>
                  <a:pt x="21" y="55"/>
                  <a:pt x="21" y="55"/>
                  <a:pt x="21" y="55"/>
                </a:cubicBezTo>
                <a:cubicBezTo>
                  <a:pt x="20" y="55"/>
                  <a:pt x="20" y="55"/>
                  <a:pt x="20" y="55"/>
                </a:cubicBezTo>
                <a:cubicBezTo>
                  <a:pt x="19" y="55"/>
                  <a:pt x="19" y="55"/>
                  <a:pt x="19" y="55"/>
                </a:cubicBezTo>
                <a:cubicBezTo>
                  <a:pt x="18" y="56"/>
                  <a:pt x="18" y="57"/>
                  <a:pt x="17" y="58"/>
                </a:cubicBezTo>
                <a:cubicBezTo>
                  <a:pt x="17" y="59"/>
                  <a:pt x="17" y="59"/>
                  <a:pt x="17" y="59"/>
                </a:cubicBezTo>
                <a:cubicBezTo>
                  <a:pt x="17" y="59"/>
                  <a:pt x="17" y="60"/>
                  <a:pt x="17" y="60"/>
                </a:cubicBezTo>
                <a:cubicBezTo>
                  <a:pt x="17" y="60"/>
                  <a:pt x="16" y="61"/>
                  <a:pt x="15" y="61"/>
                </a:cubicBezTo>
                <a:cubicBezTo>
                  <a:pt x="15" y="61"/>
                  <a:pt x="15" y="61"/>
                  <a:pt x="15" y="61"/>
                </a:cubicBezTo>
                <a:cubicBezTo>
                  <a:pt x="15" y="61"/>
                  <a:pt x="15" y="61"/>
                  <a:pt x="15" y="61"/>
                </a:cubicBezTo>
                <a:cubicBezTo>
                  <a:pt x="15" y="61"/>
                  <a:pt x="15" y="61"/>
                  <a:pt x="15" y="62"/>
                </a:cubicBezTo>
                <a:cubicBezTo>
                  <a:pt x="16" y="62"/>
                  <a:pt x="16" y="63"/>
                  <a:pt x="16" y="63"/>
                </a:cubicBezTo>
                <a:cubicBezTo>
                  <a:pt x="15" y="64"/>
                  <a:pt x="15" y="64"/>
                  <a:pt x="15" y="64"/>
                </a:cubicBezTo>
                <a:cubicBezTo>
                  <a:pt x="15" y="64"/>
                  <a:pt x="15" y="64"/>
                  <a:pt x="15" y="64"/>
                </a:cubicBezTo>
                <a:cubicBezTo>
                  <a:pt x="15" y="65"/>
                  <a:pt x="14" y="66"/>
                  <a:pt x="14" y="66"/>
                </a:cubicBezTo>
                <a:cubicBezTo>
                  <a:pt x="14" y="66"/>
                  <a:pt x="14" y="66"/>
                  <a:pt x="14" y="66"/>
                </a:cubicBezTo>
                <a:cubicBezTo>
                  <a:pt x="17" y="66"/>
                  <a:pt x="17" y="66"/>
                  <a:pt x="17" y="66"/>
                </a:cubicBezTo>
                <a:cubicBezTo>
                  <a:pt x="16" y="68"/>
                  <a:pt x="16" y="68"/>
                  <a:pt x="16" y="68"/>
                </a:cubicBezTo>
                <a:cubicBezTo>
                  <a:pt x="16" y="69"/>
                  <a:pt x="16" y="69"/>
                  <a:pt x="16" y="69"/>
                </a:cubicBezTo>
                <a:cubicBezTo>
                  <a:pt x="18" y="67"/>
                  <a:pt x="18" y="67"/>
                  <a:pt x="18" y="67"/>
                </a:cubicBezTo>
                <a:cubicBezTo>
                  <a:pt x="17" y="69"/>
                  <a:pt x="17" y="69"/>
                  <a:pt x="17" y="69"/>
                </a:cubicBezTo>
                <a:cubicBezTo>
                  <a:pt x="17" y="69"/>
                  <a:pt x="17" y="69"/>
                  <a:pt x="17" y="69"/>
                </a:cubicBezTo>
                <a:cubicBezTo>
                  <a:pt x="17" y="69"/>
                  <a:pt x="17" y="70"/>
                  <a:pt x="17" y="70"/>
                </a:cubicBezTo>
                <a:cubicBezTo>
                  <a:pt x="17" y="70"/>
                  <a:pt x="17" y="70"/>
                  <a:pt x="17" y="70"/>
                </a:cubicBezTo>
                <a:cubicBezTo>
                  <a:pt x="18" y="70"/>
                  <a:pt x="19" y="70"/>
                  <a:pt x="19" y="70"/>
                </a:cubicBezTo>
                <a:cubicBezTo>
                  <a:pt x="19" y="71"/>
                  <a:pt x="19" y="71"/>
                  <a:pt x="19" y="71"/>
                </a:cubicBezTo>
                <a:cubicBezTo>
                  <a:pt x="20" y="72"/>
                  <a:pt x="20" y="72"/>
                  <a:pt x="20" y="72"/>
                </a:cubicBezTo>
                <a:cubicBezTo>
                  <a:pt x="20" y="73"/>
                  <a:pt x="20" y="73"/>
                  <a:pt x="20" y="73"/>
                </a:cubicBezTo>
                <a:cubicBezTo>
                  <a:pt x="20" y="73"/>
                  <a:pt x="20" y="74"/>
                  <a:pt x="20" y="74"/>
                </a:cubicBezTo>
                <a:cubicBezTo>
                  <a:pt x="20" y="75"/>
                  <a:pt x="20" y="75"/>
                  <a:pt x="20" y="75"/>
                </a:cubicBezTo>
                <a:cubicBezTo>
                  <a:pt x="20" y="75"/>
                  <a:pt x="20" y="76"/>
                  <a:pt x="20" y="77"/>
                </a:cubicBezTo>
                <a:cubicBezTo>
                  <a:pt x="20" y="77"/>
                  <a:pt x="21" y="77"/>
                  <a:pt x="21" y="77"/>
                </a:cubicBezTo>
                <a:cubicBezTo>
                  <a:pt x="21" y="77"/>
                  <a:pt x="21" y="77"/>
                  <a:pt x="21" y="77"/>
                </a:cubicBezTo>
                <a:cubicBezTo>
                  <a:pt x="21" y="77"/>
                  <a:pt x="22" y="77"/>
                  <a:pt x="22" y="77"/>
                </a:cubicBezTo>
                <a:cubicBezTo>
                  <a:pt x="22" y="77"/>
                  <a:pt x="23" y="77"/>
                  <a:pt x="23" y="77"/>
                </a:cubicBezTo>
                <a:cubicBezTo>
                  <a:pt x="24" y="78"/>
                  <a:pt x="25" y="78"/>
                  <a:pt x="26" y="79"/>
                </a:cubicBezTo>
                <a:cubicBezTo>
                  <a:pt x="30" y="82"/>
                  <a:pt x="30" y="82"/>
                  <a:pt x="30" y="82"/>
                </a:cubicBezTo>
                <a:cubicBezTo>
                  <a:pt x="30" y="82"/>
                  <a:pt x="31" y="82"/>
                  <a:pt x="31" y="82"/>
                </a:cubicBezTo>
                <a:cubicBezTo>
                  <a:pt x="31" y="82"/>
                  <a:pt x="31" y="82"/>
                  <a:pt x="31" y="82"/>
                </a:cubicBezTo>
                <a:cubicBezTo>
                  <a:pt x="31" y="82"/>
                  <a:pt x="31" y="82"/>
                  <a:pt x="32" y="82"/>
                </a:cubicBezTo>
                <a:cubicBezTo>
                  <a:pt x="33" y="82"/>
                  <a:pt x="33" y="83"/>
                  <a:pt x="34" y="83"/>
                </a:cubicBezTo>
                <a:cubicBezTo>
                  <a:pt x="35" y="84"/>
                  <a:pt x="35" y="85"/>
                  <a:pt x="36" y="86"/>
                </a:cubicBezTo>
                <a:cubicBezTo>
                  <a:pt x="36" y="87"/>
                  <a:pt x="36" y="87"/>
                  <a:pt x="36" y="87"/>
                </a:cubicBezTo>
                <a:cubicBezTo>
                  <a:pt x="37" y="87"/>
                  <a:pt x="37" y="88"/>
                  <a:pt x="37" y="88"/>
                </a:cubicBezTo>
                <a:cubicBezTo>
                  <a:pt x="38" y="90"/>
                  <a:pt x="39" y="91"/>
                  <a:pt x="39" y="91"/>
                </a:cubicBezTo>
                <a:cubicBezTo>
                  <a:pt x="39" y="92"/>
                  <a:pt x="39" y="92"/>
                  <a:pt x="39" y="92"/>
                </a:cubicBezTo>
                <a:cubicBezTo>
                  <a:pt x="39" y="92"/>
                  <a:pt x="39" y="92"/>
                  <a:pt x="39" y="92"/>
                </a:cubicBezTo>
                <a:cubicBezTo>
                  <a:pt x="39" y="92"/>
                  <a:pt x="39" y="92"/>
                  <a:pt x="39" y="93"/>
                </a:cubicBezTo>
                <a:cubicBezTo>
                  <a:pt x="39" y="93"/>
                  <a:pt x="39" y="93"/>
                  <a:pt x="39" y="93"/>
                </a:cubicBezTo>
                <a:cubicBezTo>
                  <a:pt x="39" y="93"/>
                  <a:pt x="39" y="93"/>
                  <a:pt x="39" y="93"/>
                </a:cubicBezTo>
                <a:cubicBezTo>
                  <a:pt x="38" y="94"/>
                  <a:pt x="38" y="94"/>
                  <a:pt x="38" y="95"/>
                </a:cubicBezTo>
                <a:cubicBezTo>
                  <a:pt x="38" y="95"/>
                  <a:pt x="38" y="95"/>
                  <a:pt x="38" y="95"/>
                </a:cubicBezTo>
                <a:cubicBezTo>
                  <a:pt x="38" y="95"/>
                  <a:pt x="38" y="95"/>
                  <a:pt x="38" y="95"/>
                </a:cubicBezTo>
                <a:cubicBezTo>
                  <a:pt x="38" y="96"/>
                  <a:pt x="37" y="97"/>
                  <a:pt x="37" y="97"/>
                </a:cubicBezTo>
                <a:cubicBezTo>
                  <a:pt x="37" y="98"/>
                  <a:pt x="37" y="98"/>
                  <a:pt x="37" y="99"/>
                </a:cubicBezTo>
                <a:cubicBezTo>
                  <a:pt x="39" y="99"/>
                  <a:pt x="39" y="99"/>
                  <a:pt x="40" y="99"/>
                </a:cubicBezTo>
                <a:cubicBezTo>
                  <a:pt x="40" y="99"/>
                  <a:pt x="40" y="99"/>
                  <a:pt x="40" y="99"/>
                </a:cubicBezTo>
                <a:cubicBezTo>
                  <a:pt x="40" y="100"/>
                  <a:pt x="40" y="100"/>
                  <a:pt x="40" y="100"/>
                </a:cubicBezTo>
                <a:cubicBezTo>
                  <a:pt x="41" y="100"/>
                  <a:pt x="41" y="100"/>
                  <a:pt x="41" y="101"/>
                </a:cubicBezTo>
                <a:cubicBezTo>
                  <a:pt x="41" y="101"/>
                  <a:pt x="41" y="101"/>
                  <a:pt x="41" y="101"/>
                </a:cubicBezTo>
                <a:cubicBezTo>
                  <a:pt x="41" y="102"/>
                  <a:pt x="41" y="103"/>
                  <a:pt x="41" y="104"/>
                </a:cubicBezTo>
                <a:cubicBezTo>
                  <a:pt x="41" y="105"/>
                  <a:pt x="41" y="105"/>
                  <a:pt x="41" y="105"/>
                </a:cubicBezTo>
                <a:cubicBezTo>
                  <a:pt x="41" y="105"/>
                  <a:pt x="41" y="105"/>
                  <a:pt x="41" y="106"/>
                </a:cubicBezTo>
                <a:cubicBezTo>
                  <a:pt x="41" y="106"/>
                  <a:pt x="42" y="106"/>
                  <a:pt x="42" y="107"/>
                </a:cubicBezTo>
                <a:cubicBezTo>
                  <a:pt x="43" y="107"/>
                  <a:pt x="43" y="108"/>
                  <a:pt x="44" y="108"/>
                </a:cubicBezTo>
                <a:cubicBezTo>
                  <a:pt x="44" y="108"/>
                  <a:pt x="44" y="109"/>
                  <a:pt x="44" y="109"/>
                </a:cubicBezTo>
                <a:cubicBezTo>
                  <a:pt x="44" y="109"/>
                  <a:pt x="44" y="109"/>
                  <a:pt x="44" y="109"/>
                </a:cubicBezTo>
                <a:cubicBezTo>
                  <a:pt x="45" y="109"/>
                  <a:pt x="45" y="110"/>
                  <a:pt x="46" y="111"/>
                </a:cubicBezTo>
                <a:cubicBezTo>
                  <a:pt x="47" y="112"/>
                  <a:pt x="47" y="112"/>
                  <a:pt x="47" y="112"/>
                </a:cubicBezTo>
                <a:cubicBezTo>
                  <a:pt x="48" y="111"/>
                  <a:pt x="48" y="111"/>
                  <a:pt x="49" y="111"/>
                </a:cubicBezTo>
                <a:cubicBezTo>
                  <a:pt x="49" y="111"/>
                  <a:pt x="49" y="110"/>
                  <a:pt x="49" y="109"/>
                </a:cubicBezTo>
                <a:cubicBezTo>
                  <a:pt x="49" y="109"/>
                  <a:pt x="49" y="109"/>
                  <a:pt x="48" y="109"/>
                </a:cubicBezTo>
                <a:cubicBezTo>
                  <a:pt x="48" y="108"/>
                  <a:pt x="48" y="108"/>
                  <a:pt x="48" y="108"/>
                </a:cubicBezTo>
                <a:cubicBezTo>
                  <a:pt x="49" y="107"/>
                  <a:pt x="49" y="107"/>
                  <a:pt x="50" y="107"/>
                </a:cubicBezTo>
                <a:cubicBezTo>
                  <a:pt x="50" y="108"/>
                  <a:pt x="51" y="108"/>
                  <a:pt x="52" y="108"/>
                </a:cubicBezTo>
                <a:cubicBezTo>
                  <a:pt x="52" y="109"/>
                  <a:pt x="52" y="109"/>
                  <a:pt x="52" y="109"/>
                </a:cubicBezTo>
                <a:cubicBezTo>
                  <a:pt x="53" y="109"/>
                  <a:pt x="54" y="110"/>
                  <a:pt x="55" y="110"/>
                </a:cubicBezTo>
                <a:cubicBezTo>
                  <a:pt x="55" y="111"/>
                  <a:pt x="55" y="111"/>
                  <a:pt x="55" y="111"/>
                </a:cubicBezTo>
                <a:cubicBezTo>
                  <a:pt x="55" y="112"/>
                  <a:pt x="55" y="111"/>
                  <a:pt x="56" y="111"/>
                </a:cubicBezTo>
                <a:cubicBezTo>
                  <a:pt x="56" y="111"/>
                  <a:pt x="56" y="111"/>
                  <a:pt x="57" y="111"/>
                </a:cubicBezTo>
                <a:cubicBezTo>
                  <a:pt x="57" y="110"/>
                  <a:pt x="58" y="110"/>
                  <a:pt x="59" y="110"/>
                </a:cubicBezTo>
                <a:cubicBezTo>
                  <a:pt x="59" y="110"/>
                  <a:pt x="59" y="110"/>
                  <a:pt x="60" y="110"/>
                </a:cubicBezTo>
                <a:cubicBezTo>
                  <a:pt x="61" y="110"/>
                  <a:pt x="61" y="110"/>
                  <a:pt x="61" y="111"/>
                </a:cubicBezTo>
                <a:cubicBezTo>
                  <a:pt x="62" y="112"/>
                  <a:pt x="62" y="113"/>
                  <a:pt x="62" y="113"/>
                </a:cubicBezTo>
                <a:cubicBezTo>
                  <a:pt x="62" y="113"/>
                  <a:pt x="63" y="114"/>
                  <a:pt x="63" y="114"/>
                </a:cubicBezTo>
                <a:cubicBezTo>
                  <a:pt x="63" y="115"/>
                  <a:pt x="64" y="115"/>
                  <a:pt x="65" y="116"/>
                </a:cubicBezTo>
                <a:cubicBezTo>
                  <a:pt x="66" y="117"/>
                  <a:pt x="66" y="118"/>
                  <a:pt x="66" y="118"/>
                </a:cubicBezTo>
                <a:cubicBezTo>
                  <a:pt x="67" y="119"/>
                  <a:pt x="67" y="120"/>
                  <a:pt x="66" y="121"/>
                </a:cubicBezTo>
                <a:cubicBezTo>
                  <a:pt x="67" y="121"/>
                  <a:pt x="67" y="121"/>
                  <a:pt x="67" y="121"/>
                </a:cubicBezTo>
                <a:cubicBezTo>
                  <a:pt x="68" y="122"/>
                  <a:pt x="69" y="122"/>
                  <a:pt x="69" y="123"/>
                </a:cubicBezTo>
                <a:cubicBezTo>
                  <a:pt x="69" y="123"/>
                  <a:pt x="69" y="123"/>
                  <a:pt x="69" y="124"/>
                </a:cubicBezTo>
                <a:cubicBezTo>
                  <a:pt x="69" y="125"/>
                  <a:pt x="70" y="126"/>
                  <a:pt x="70" y="127"/>
                </a:cubicBezTo>
                <a:cubicBezTo>
                  <a:pt x="70" y="128"/>
                  <a:pt x="71" y="128"/>
                  <a:pt x="71" y="129"/>
                </a:cubicBezTo>
                <a:cubicBezTo>
                  <a:pt x="72" y="130"/>
                  <a:pt x="72" y="131"/>
                  <a:pt x="73" y="132"/>
                </a:cubicBezTo>
                <a:cubicBezTo>
                  <a:pt x="73" y="132"/>
                  <a:pt x="73" y="132"/>
                  <a:pt x="73" y="132"/>
                </a:cubicBezTo>
                <a:cubicBezTo>
                  <a:pt x="73" y="133"/>
                  <a:pt x="74" y="134"/>
                  <a:pt x="74" y="134"/>
                </a:cubicBezTo>
                <a:cubicBezTo>
                  <a:pt x="75" y="135"/>
                  <a:pt x="75" y="135"/>
                  <a:pt x="76" y="135"/>
                </a:cubicBezTo>
                <a:cubicBezTo>
                  <a:pt x="76" y="135"/>
                  <a:pt x="77" y="135"/>
                  <a:pt x="77" y="135"/>
                </a:cubicBezTo>
                <a:cubicBezTo>
                  <a:pt x="78" y="135"/>
                  <a:pt x="79" y="135"/>
                  <a:pt x="80" y="136"/>
                </a:cubicBezTo>
                <a:cubicBezTo>
                  <a:pt x="80" y="136"/>
                  <a:pt x="80" y="136"/>
                  <a:pt x="81" y="136"/>
                </a:cubicBezTo>
                <a:cubicBezTo>
                  <a:pt x="81" y="136"/>
                  <a:pt x="82" y="137"/>
                  <a:pt x="83" y="137"/>
                </a:cubicBezTo>
                <a:cubicBezTo>
                  <a:pt x="83" y="137"/>
                  <a:pt x="84" y="137"/>
                  <a:pt x="84" y="137"/>
                </a:cubicBezTo>
                <a:cubicBezTo>
                  <a:pt x="84" y="137"/>
                  <a:pt x="84" y="138"/>
                  <a:pt x="84" y="138"/>
                </a:cubicBezTo>
                <a:cubicBezTo>
                  <a:pt x="84" y="138"/>
                  <a:pt x="85" y="138"/>
                  <a:pt x="85" y="138"/>
                </a:cubicBezTo>
                <a:cubicBezTo>
                  <a:pt x="85" y="138"/>
                  <a:pt x="85" y="139"/>
                  <a:pt x="86" y="139"/>
                </a:cubicBezTo>
                <a:cubicBezTo>
                  <a:pt x="86" y="140"/>
                  <a:pt x="87" y="140"/>
                  <a:pt x="87" y="141"/>
                </a:cubicBezTo>
                <a:cubicBezTo>
                  <a:pt x="88" y="142"/>
                  <a:pt x="89" y="142"/>
                  <a:pt x="89" y="143"/>
                </a:cubicBezTo>
                <a:cubicBezTo>
                  <a:pt x="89" y="143"/>
                  <a:pt x="89" y="143"/>
                  <a:pt x="90" y="143"/>
                </a:cubicBezTo>
                <a:cubicBezTo>
                  <a:pt x="90" y="143"/>
                  <a:pt x="91" y="144"/>
                  <a:pt x="92" y="144"/>
                </a:cubicBezTo>
                <a:cubicBezTo>
                  <a:pt x="92" y="144"/>
                  <a:pt x="92" y="144"/>
                  <a:pt x="92" y="144"/>
                </a:cubicBezTo>
                <a:cubicBezTo>
                  <a:pt x="93" y="145"/>
                  <a:pt x="94" y="145"/>
                  <a:pt x="95" y="146"/>
                </a:cubicBezTo>
                <a:cubicBezTo>
                  <a:pt x="95" y="146"/>
                  <a:pt x="95" y="146"/>
                  <a:pt x="95" y="146"/>
                </a:cubicBezTo>
                <a:cubicBezTo>
                  <a:pt x="96" y="146"/>
                  <a:pt x="96" y="147"/>
                  <a:pt x="97" y="147"/>
                </a:cubicBezTo>
                <a:cubicBezTo>
                  <a:pt x="97" y="148"/>
                  <a:pt x="97" y="148"/>
                  <a:pt x="97" y="148"/>
                </a:cubicBezTo>
                <a:cubicBezTo>
                  <a:pt x="98" y="148"/>
                  <a:pt x="99" y="148"/>
                  <a:pt x="100" y="148"/>
                </a:cubicBezTo>
                <a:cubicBezTo>
                  <a:pt x="101" y="149"/>
                  <a:pt x="102" y="149"/>
                  <a:pt x="103" y="149"/>
                </a:cubicBezTo>
                <a:cubicBezTo>
                  <a:pt x="104" y="149"/>
                  <a:pt x="104" y="149"/>
                  <a:pt x="104" y="149"/>
                </a:cubicBezTo>
                <a:cubicBezTo>
                  <a:pt x="105" y="149"/>
                  <a:pt x="106" y="149"/>
                  <a:pt x="106" y="150"/>
                </a:cubicBezTo>
                <a:cubicBezTo>
                  <a:pt x="107" y="150"/>
                  <a:pt x="107" y="150"/>
                  <a:pt x="107" y="150"/>
                </a:cubicBezTo>
                <a:cubicBezTo>
                  <a:pt x="108" y="150"/>
                  <a:pt x="110" y="149"/>
                  <a:pt x="111" y="149"/>
                </a:cubicBezTo>
                <a:cubicBezTo>
                  <a:pt x="112" y="149"/>
                  <a:pt x="112" y="149"/>
                  <a:pt x="113" y="148"/>
                </a:cubicBezTo>
                <a:cubicBezTo>
                  <a:pt x="114" y="148"/>
                  <a:pt x="115" y="148"/>
                  <a:pt x="116" y="147"/>
                </a:cubicBezTo>
                <a:cubicBezTo>
                  <a:pt x="116" y="147"/>
                  <a:pt x="116" y="146"/>
                  <a:pt x="116" y="146"/>
                </a:cubicBezTo>
                <a:cubicBezTo>
                  <a:pt x="117" y="145"/>
                  <a:pt x="119" y="144"/>
                  <a:pt x="120" y="144"/>
                </a:cubicBezTo>
                <a:cubicBezTo>
                  <a:pt x="122" y="143"/>
                  <a:pt x="124" y="143"/>
                  <a:pt x="125" y="143"/>
                </a:cubicBezTo>
                <a:cubicBezTo>
                  <a:pt x="125" y="143"/>
                  <a:pt x="125" y="143"/>
                  <a:pt x="125" y="143"/>
                </a:cubicBezTo>
                <a:cubicBezTo>
                  <a:pt x="126" y="143"/>
                  <a:pt x="127" y="143"/>
                  <a:pt x="128" y="144"/>
                </a:cubicBezTo>
                <a:cubicBezTo>
                  <a:pt x="129" y="144"/>
                  <a:pt x="130" y="144"/>
                  <a:pt x="131" y="145"/>
                </a:cubicBezTo>
                <a:cubicBezTo>
                  <a:pt x="131" y="145"/>
                  <a:pt x="131" y="145"/>
                  <a:pt x="131" y="145"/>
                </a:cubicBezTo>
                <a:cubicBezTo>
                  <a:pt x="131" y="146"/>
                  <a:pt x="131" y="147"/>
                  <a:pt x="132" y="148"/>
                </a:cubicBezTo>
                <a:cubicBezTo>
                  <a:pt x="132" y="149"/>
                  <a:pt x="132" y="151"/>
                  <a:pt x="132" y="152"/>
                </a:cubicBezTo>
                <a:cubicBezTo>
                  <a:pt x="132" y="152"/>
                  <a:pt x="132" y="152"/>
                  <a:pt x="132" y="152"/>
                </a:cubicBezTo>
                <a:cubicBezTo>
                  <a:pt x="133" y="153"/>
                  <a:pt x="133" y="154"/>
                  <a:pt x="133" y="155"/>
                </a:cubicBezTo>
                <a:cubicBezTo>
                  <a:pt x="133" y="156"/>
                  <a:pt x="134" y="157"/>
                  <a:pt x="134" y="158"/>
                </a:cubicBezTo>
                <a:cubicBezTo>
                  <a:pt x="134" y="158"/>
                  <a:pt x="134" y="158"/>
                  <a:pt x="134" y="158"/>
                </a:cubicBezTo>
                <a:cubicBezTo>
                  <a:pt x="135" y="159"/>
                  <a:pt x="136" y="159"/>
                  <a:pt x="137" y="159"/>
                </a:cubicBezTo>
                <a:cubicBezTo>
                  <a:pt x="137" y="159"/>
                  <a:pt x="137" y="159"/>
                  <a:pt x="137" y="159"/>
                </a:cubicBezTo>
                <a:cubicBezTo>
                  <a:pt x="138" y="159"/>
                  <a:pt x="139" y="159"/>
                  <a:pt x="140" y="159"/>
                </a:cubicBezTo>
                <a:cubicBezTo>
                  <a:pt x="142" y="159"/>
                  <a:pt x="143" y="160"/>
                  <a:pt x="144" y="160"/>
                </a:cubicBezTo>
                <a:cubicBezTo>
                  <a:pt x="145" y="160"/>
                  <a:pt x="146" y="160"/>
                  <a:pt x="147" y="160"/>
                </a:cubicBezTo>
                <a:cubicBezTo>
                  <a:pt x="148" y="160"/>
                  <a:pt x="148" y="160"/>
                  <a:pt x="149" y="160"/>
                </a:cubicBezTo>
                <a:cubicBezTo>
                  <a:pt x="149" y="161"/>
                  <a:pt x="150" y="161"/>
                  <a:pt x="150" y="161"/>
                </a:cubicBezTo>
                <a:cubicBezTo>
                  <a:pt x="150" y="161"/>
                  <a:pt x="150" y="161"/>
                  <a:pt x="150" y="161"/>
                </a:cubicBezTo>
                <a:cubicBezTo>
                  <a:pt x="152" y="162"/>
                  <a:pt x="152" y="162"/>
                  <a:pt x="153" y="162"/>
                </a:cubicBezTo>
                <a:cubicBezTo>
                  <a:pt x="154" y="162"/>
                  <a:pt x="154" y="162"/>
                  <a:pt x="154" y="162"/>
                </a:cubicBezTo>
                <a:cubicBezTo>
                  <a:pt x="155" y="162"/>
                  <a:pt x="157" y="162"/>
                  <a:pt x="158" y="162"/>
                </a:cubicBezTo>
                <a:cubicBezTo>
                  <a:pt x="159" y="162"/>
                  <a:pt x="159" y="162"/>
                  <a:pt x="160" y="162"/>
                </a:cubicBezTo>
                <a:cubicBezTo>
                  <a:pt x="160" y="162"/>
                  <a:pt x="161" y="162"/>
                  <a:pt x="162" y="162"/>
                </a:cubicBezTo>
                <a:cubicBezTo>
                  <a:pt x="163" y="162"/>
                  <a:pt x="164" y="162"/>
                  <a:pt x="166" y="162"/>
                </a:cubicBezTo>
                <a:cubicBezTo>
                  <a:pt x="166" y="162"/>
                  <a:pt x="166" y="162"/>
                  <a:pt x="166" y="162"/>
                </a:cubicBezTo>
                <a:cubicBezTo>
                  <a:pt x="167" y="162"/>
                  <a:pt x="167" y="162"/>
                  <a:pt x="167" y="162"/>
                </a:cubicBezTo>
                <a:cubicBezTo>
                  <a:pt x="167" y="162"/>
                  <a:pt x="167" y="163"/>
                  <a:pt x="168" y="163"/>
                </a:cubicBezTo>
                <a:cubicBezTo>
                  <a:pt x="168" y="163"/>
                  <a:pt x="168" y="163"/>
                  <a:pt x="168" y="163"/>
                </a:cubicBezTo>
                <a:cubicBezTo>
                  <a:pt x="169" y="164"/>
                  <a:pt x="170" y="164"/>
                  <a:pt x="171" y="165"/>
                </a:cubicBezTo>
                <a:cubicBezTo>
                  <a:pt x="172" y="165"/>
                  <a:pt x="173" y="165"/>
                  <a:pt x="174" y="165"/>
                </a:cubicBezTo>
                <a:cubicBezTo>
                  <a:pt x="174" y="165"/>
                  <a:pt x="174" y="165"/>
                  <a:pt x="174" y="165"/>
                </a:cubicBezTo>
                <a:cubicBezTo>
                  <a:pt x="175" y="165"/>
                  <a:pt x="176" y="165"/>
                  <a:pt x="177" y="165"/>
                </a:cubicBezTo>
                <a:cubicBezTo>
                  <a:pt x="177" y="164"/>
                  <a:pt x="177" y="164"/>
                  <a:pt x="177" y="164"/>
                </a:cubicBezTo>
                <a:close/>
                <a:moveTo>
                  <a:pt x="50" y="107"/>
                </a:moveTo>
                <a:cubicBezTo>
                  <a:pt x="50" y="107"/>
                  <a:pt x="49" y="107"/>
                  <a:pt x="49" y="107"/>
                </a:cubicBezTo>
                <a:cubicBezTo>
                  <a:pt x="50" y="107"/>
                  <a:pt x="50" y="106"/>
                  <a:pt x="49" y="106"/>
                </a:cubicBezTo>
                <a:cubicBezTo>
                  <a:pt x="49" y="106"/>
                  <a:pt x="50" y="106"/>
                  <a:pt x="51" y="106"/>
                </a:cubicBezTo>
                <a:cubicBezTo>
                  <a:pt x="52" y="106"/>
                  <a:pt x="52" y="106"/>
                  <a:pt x="52" y="107"/>
                </a:cubicBezTo>
                <a:cubicBezTo>
                  <a:pt x="52" y="108"/>
                  <a:pt x="51" y="107"/>
                  <a:pt x="50" y="107"/>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91" name="Freeform 3148">
            <a:extLst>
              <a:ext uri="{FF2B5EF4-FFF2-40B4-BE49-F238E27FC236}">
                <a16:creationId xmlns:a16="http://schemas.microsoft.com/office/drawing/2014/main" id="{C594475D-20BD-415B-B5B7-3E6CFC414CEF}"/>
              </a:ext>
            </a:extLst>
          </p:cNvPr>
          <p:cNvSpPr>
            <a:spLocks/>
          </p:cNvSpPr>
          <p:nvPr/>
        </p:nvSpPr>
        <p:spPr bwMode="auto">
          <a:xfrm>
            <a:off x="3968365" y="3118096"/>
            <a:ext cx="7433" cy="17214"/>
          </a:xfrm>
          <a:custGeom>
            <a:avLst/>
            <a:gdLst>
              <a:gd name="T0" fmla="*/ 5 w 6"/>
              <a:gd name="T1" fmla="*/ 0 h 12"/>
              <a:gd name="T2" fmla="*/ 6 w 6"/>
              <a:gd name="T3" fmla="*/ 0 h 12"/>
              <a:gd name="T4" fmla="*/ 5 w 6"/>
              <a:gd name="T5" fmla="*/ 0 h 12"/>
              <a:gd name="T6" fmla="*/ 4 w 6"/>
              <a:gd name="T7" fmla="*/ 1 h 12"/>
              <a:gd name="T8" fmla="*/ 2 w 6"/>
              <a:gd name="T9" fmla="*/ 3 h 12"/>
              <a:gd name="T10" fmla="*/ 1 w 6"/>
              <a:gd name="T11" fmla="*/ 4 h 12"/>
              <a:gd name="T12" fmla="*/ 0 w 6"/>
              <a:gd name="T13" fmla="*/ 5 h 12"/>
              <a:gd name="T14" fmla="*/ 4 w 6"/>
              <a:gd name="T15" fmla="*/ 12 h 12"/>
              <a:gd name="T16" fmla="*/ 3 w 6"/>
              <a:gd name="T17" fmla="*/ 9 h 12"/>
              <a:gd name="T18" fmla="*/ 4 w 6"/>
              <a:gd name="T19" fmla="*/ 5 h 12"/>
              <a:gd name="T20" fmla="*/ 3 w 6"/>
              <a:gd name="T21" fmla="*/ 4 h 12"/>
              <a:gd name="T22" fmla="*/ 4 w 6"/>
              <a:gd name="T23" fmla="*/ 3 h 12"/>
              <a:gd name="T24" fmla="*/ 5 w 6"/>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12">
                <a:moveTo>
                  <a:pt x="5" y="0"/>
                </a:moveTo>
                <a:cubicBezTo>
                  <a:pt x="6" y="0"/>
                  <a:pt x="6" y="0"/>
                  <a:pt x="6" y="0"/>
                </a:cubicBezTo>
                <a:cubicBezTo>
                  <a:pt x="6" y="0"/>
                  <a:pt x="6" y="0"/>
                  <a:pt x="5" y="0"/>
                </a:cubicBezTo>
                <a:cubicBezTo>
                  <a:pt x="5" y="0"/>
                  <a:pt x="4" y="1"/>
                  <a:pt x="4" y="1"/>
                </a:cubicBezTo>
                <a:cubicBezTo>
                  <a:pt x="3" y="2"/>
                  <a:pt x="2" y="3"/>
                  <a:pt x="2" y="3"/>
                </a:cubicBezTo>
                <a:cubicBezTo>
                  <a:pt x="1" y="4"/>
                  <a:pt x="1" y="4"/>
                  <a:pt x="1" y="4"/>
                </a:cubicBezTo>
                <a:cubicBezTo>
                  <a:pt x="1" y="4"/>
                  <a:pt x="0" y="5"/>
                  <a:pt x="0" y="5"/>
                </a:cubicBezTo>
                <a:cubicBezTo>
                  <a:pt x="1" y="7"/>
                  <a:pt x="3" y="10"/>
                  <a:pt x="4" y="12"/>
                </a:cubicBezTo>
                <a:cubicBezTo>
                  <a:pt x="4" y="11"/>
                  <a:pt x="3" y="10"/>
                  <a:pt x="3" y="9"/>
                </a:cubicBezTo>
                <a:cubicBezTo>
                  <a:pt x="3" y="7"/>
                  <a:pt x="4" y="6"/>
                  <a:pt x="4" y="5"/>
                </a:cubicBezTo>
                <a:cubicBezTo>
                  <a:pt x="4" y="5"/>
                  <a:pt x="4" y="4"/>
                  <a:pt x="3" y="4"/>
                </a:cubicBezTo>
                <a:cubicBezTo>
                  <a:pt x="2" y="5"/>
                  <a:pt x="4" y="3"/>
                  <a:pt x="4" y="3"/>
                </a:cubicBezTo>
                <a:cubicBezTo>
                  <a:pt x="4" y="2"/>
                  <a:pt x="5" y="1"/>
                  <a:pt x="5"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92" name="Freeform 3149">
            <a:extLst>
              <a:ext uri="{FF2B5EF4-FFF2-40B4-BE49-F238E27FC236}">
                <a16:creationId xmlns:a16="http://schemas.microsoft.com/office/drawing/2014/main" id="{B67C2017-A005-486B-A71A-B5E7B2349C35}"/>
              </a:ext>
            </a:extLst>
          </p:cNvPr>
          <p:cNvSpPr>
            <a:spLocks/>
          </p:cNvSpPr>
          <p:nvPr/>
        </p:nvSpPr>
        <p:spPr bwMode="auto">
          <a:xfrm>
            <a:off x="3970843" y="3106817"/>
            <a:ext cx="166508" cy="124061"/>
          </a:xfrm>
          <a:custGeom>
            <a:avLst/>
            <a:gdLst>
              <a:gd name="T0" fmla="*/ 35 w 142"/>
              <a:gd name="T1" fmla="*/ 54 h 88"/>
              <a:gd name="T2" fmla="*/ 38 w 142"/>
              <a:gd name="T3" fmla="*/ 53 h 88"/>
              <a:gd name="T4" fmla="*/ 44 w 142"/>
              <a:gd name="T5" fmla="*/ 52 h 88"/>
              <a:gd name="T6" fmla="*/ 49 w 142"/>
              <a:gd name="T7" fmla="*/ 56 h 88"/>
              <a:gd name="T8" fmla="*/ 56 w 142"/>
              <a:gd name="T9" fmla="*/ 58 h 88"/>
              <a:gd name="T10" fmla="*/ 58 w 142"/>
              <a:gd name="T11" fmla="*/ 60 h 88"/>
              <a:gd name="T12" fmla="*/ 62 w 142"/>
              <a:gd name="T13" fmla="*/ 60 h 88"/>
              <a:gd name="T14" fmla="*/ 69 w 142"/>
              <a:gd name="T15" fmla="*/ 62 h 88"/>
              <a:gd name="T16" fmla="*/ 72 w 142"/>
              <a:gd name="T17" fmla="*/ 66 h 88"/>
              <a:gd name="T18" fmla="*/ 78 w 142"/>
              <a:gd name="T19" fmla="*/ 70 h 88"/>
              <a:gd name="T20" fmla="*/ 82 w 142"/>
              <a:gd name="T21" fmla="*/ 71 h 88"/>
              <a:gd name="T22" fmla="*/ 87 w 142"/>
              <a:gd name="T23" fmla="*/ 72 h 88"/>
              <a:gd name="T24" fmla="*/ 88 w 142"/>
              <a:gd name="T25" fmla="*/ 78 h 88"/>
              <a:gd name="T26" fmla="*/ 89 w 142"/>
              <a:gd name="T27" fmla="*/ 84 h 88"/>
              <a:gd name="T28" fmla="*/ 94 w 142"/>
              <a:gd name="T29" fmla="*/ 85 h 88"/>
              <a:gd name="T30" fmla="*/ 98 w 142"/>
              <a:gd name="T31" fmla="*/ 88 h 88"/>
              <a:gd name="T32" fmla="*/ 103 w 142"/>
              <a:gd name="T33" fmla="*/ 87 h 88"/>
              <a:gd name="T34" fmla="*/ 108 w 142"/>
              <a:gd name="T35" fmla="*/ 80 h 88"/>
              <a:gd name="T36" fmla="*/ 117 w 142"/>
              <a:gd name="T37" fmla="*/ 77 h 88"/>
              <a:gd name="T38" fmla="*/ 121 w 142"/>
              <a:gd name="T39" fmla="*/ 72 h 88"/>
              <a:gd name="T40" fmla="*/ 129 w 142"/>
              <a:gd name="T41" fmla="*/ 65 h 88"/>
              <a:gd name="T42" fmla="*/ 133 w 142"/>
              <a:gd name="T43" fmla="*/ 61 h 88"/>
              <a:gd name="T44" fmla="*/ 136 w 142"/>
              <a:gd name="T45" fmla="*/ 62 h 88"/>
              <a:gd name="T46" fmla="*/ 138 w 142"/>
              <a:gd name="T47" fmla="*/ 63 h 88"/>
              <a:gd name="T48" fmla="*/ 140 w 142"/>
              <a:gd name="T49" fmla="*/ 63 h 88"/>
              <a:gd name="T50" fmla="*/ 141 w 142"/>
              <a:gd name="T51" fmla="*/ 60 h 88"/>
              <a:gd name="T52" fmla="*/ 138 w 142"/>
              <a:gd name="T53" fmla="*/ 56 h 88"/>
              <a:gd name="T54" fmla="*/ 130 w 142"/>
              <a:gd name="T55" fmla="*/ 54 h 88"/>
              <a:gd name="T56" fmla="*/ 124 w 142"/>
              <a:gd name="T57" fmla="*/ 50 h 88"/>
              <a:gd name="T58" fmla="*/ 106 w 142"/>
              <a:gd name="T59" fmla="*/ 39 h 88"/>
              <a:gd name="T60" fmla="*/ 102 w 142"/>
              <a:gd name="T61" fmla="*/ 36 h 88"/>
              <a:gd name="T62" fmla="*/ 98 w 142"/>
              <a:gd name="T63" fmla="*/ 31 h 88"/>
              <a:gd name="T64" fmla="*/ 95 w 142"/>
              <a:gd name="T65" fmla="*/ 25 h 88"/>
              <a:gd name="T66" fmla="*/ 86 w 142"/>
              <a:gd name="T67" fmla="*/ 20 h 88"/>
              <a:gd name="T68" fmla="*/ 77 w 142"/>
              <a:gd name="T69" fmla="*/ 18 h 88"/>
              <a:gd name="T70" fmla="*/ 75 w 142"/>
              <a:gd name="T71" fmla="*/ 13 h 88"/>
              <a:gd name="T72" fmla="*/ 74 w 142"/>
              <a:gd name="T73" fmla="*/ 10 h 88"/>
              <a:gd name="T74" fmla="*/ 74 w 142"/>
              <a:gd name="T75" fmla="*/ 7 h 88"/>
              <a:gd name="T76" fmla="*/ 68 w 142"/>
              <a:gd name="T77" fmla="*/ 6 h 88"/>
              <a:gd name="T78" fmla="*/ 65 w 142"/>
              <a:gd name="T79" fmla="*/ 3 h 88"/>
              <a:gd name="T80" fmla="*/ 61 w 142"/>
              <a:gd name="T81" fmla="*/ 1 h 88"/>
              <a:gd name="T82" fmla="*/ 66 w 142"/>
              <a:gd name="T83" fmla="*/ 10 h 88"/>
              <a:gd name="T84" fmla="*/ 56 w 142"/>
              <a:gd name="T85" fmla="*/ 4 h 88"/>
              <a:gd name="T86" fmla="*/ 51 w 142"/>
              <a:gd name="T87" fmla="*/ 8 h 88"/>
              <a:gd name="T88" fmla="*/ 46 w 142"/>
              <a:gd name="T89" fmla="*/ 11 h 88"/>
              <a:gd name="T90" fmla="*/ 46 w 142"/>
              <a:gd name="T91" fmla="*/ 14 h 88"/>
              <a:gd name="T92" fmla="*/ 34 w 142"/>
              <a:gd name="T93" fmla="*/ 18 h 88"/>
              <a:gd name="T94" fmla="*/ 31 w 142"/>
              <a:gd name="T95" fmla="*/ 18 h 88"/>
              <a:gd name="T96" fmla="*/ 27 w 142"/>
              <a:gd name="T97" fmla="*/ 18 h 88"/>
              <a:gd name="T98" fmla="*/ 22 w 142"/>
              <a:gd name="T99" fmla="*/ 11 h 88"/>
              <a:gd name="T100" fmla="*/ 15 w 142"/>
              <a:gd name="T101" fmla="*/ 6 h 88"/>
              <a:gd name="T102" fmla="*/ 5 w 142"/>
              <a:gd name="T103" fmla="*/ 8 h 88"/>
              <a:gd name="T104" fmla="*/ 15 w 142"/>
              <a:gd name="T105" fmla="*/ 15 h 88"/>
              <a:gd name="T106" fmla="*/ 17 w 142"/>
              <a:gd name="T107" fmla="*/ 24 h 88"/>
              <a:gd name="T108" fmla="*/ 9 w 142"/>
              <a:gd name="T109" fmla="*/ 23 h 88"/>
              <a:gd name="T110" fmla="*/ 0 w 142"/>
              <a:gd name="T111" fmla="*/ 29 h 88"/>
              <a:gd name="T112" fmla="*/ 7 w 142"/>
              <a:gd name="T113" fmla="*/ 33 h 88"/>
              <a:gd name="T114" fmla="*/ 8 w 142"/>
              <a:gd name="T115" fmla="*/ 37 h 88"/>
              <a:gd name="T116" fmla="*/ 5 w 142"/>
              <a:gd name="T117" fmla="*/ 40 h 88"/>
              <a:gd name="T118" fmla="*/ 12 w 142"/>
              <a:gd name="T119" fmla="*/ 6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2" h="88">
                <a:moveTo>
                  <a:pt x="13" y="66"/>
                </a:moveTo>
                <a:cubicBezTo>
                  <a:pt x="13" y="67"/>
                  <a:pt x="13" y="68"/>
                  <a:pt x="13" y="68"/>
                </a:cubicBezTo>
                <a:cubicBezTo>
                  <a:pt x="26" y="56"/>
                  <a:pt x="26" y="56"/>
                  <a:pt x="26" y="56"/>
                </a:cubicBezTo>
                <a:cubicBezTo>
                  <a:pt x="28" y="55"/>
                  <a:pt x="30" y="54"/>
                  <a:pt x="32" y="54"/>
                </a:cubicBezTo>
                <a:cubicBezTo>
                  <a:pt x="33" y="54"/>
                  <a:pt x="34" y="54"/>
                  <a:pt x="35" y="54"/>
                </a:cubicBezTo>
                <a:cubicBezTo>
                  <a:pt x="35" y="54"/>
                  <a:pt x="35" y="54"/>
                  <a:pt x="35" y="54"/>
                </a:cubicBezTo>
                <a:cubicBezTo>
                  <a:pt x="35" y="54"/>
                  <a:pt x="35" y="54"/>
                  <a:pt x="36" y="54"/>
                </a:cubicBezTo>
                <a:cubicBezTo>
                  <a:pt x="36" y="54"/>
                  <a:pt x="36" y="54"/>
                  <a:pt x="37" y="53"/>
                </a:cubicBezTo>
                <a:cubicBezTo>
                  <a:pt x="37" y="53"/>
                  <a:pt x="37" y="53"/>
                  <a:pt x="37" y="53"/>
                </a:cubicBezTo>
                <a:cubicBezTo>
                  <a:pt x="38" y="53"/>
                  <a:pt x="38" y="53"/>
                  <a:pt x="38" y="53"/>
                </a:cubicBezTo>
                <a:cubicBezTo>
                  <a:pt x="38" y="52"/>
                  <a:pt x="38" y="52"/>
                  <a:pt x="39" y="52"/>
                </a:cubicBezTo>
                <a:cubicBezTo>
                  <a:pt x="39" y="52"/>
                  <a:pt x="39" y="52"/>
                  <a:pt x="39" y="52"/>
                </a:cubicBezTo>
                <a:cubicBezTo>
                  <a:pt x="40" y="52"/>
                  <a:pt x="40" y="52"/>
                  <a:pt x="41" y="52"/>
                </a:cubicBezTo>
                <a:cubicBezTo>
                  <a:pt x="42" y="52"/>
                  <a:pt x="42" y="52"/>
                  <a:pt x="42" y="52"/>
                </a:cubicBezTo>
                <a:cubicBezTo>
                  <a:pt x="43" y="52"/>
                  <a:pt x="43" y="52"/>
                  <a:pt x="44" y="52"/>
                </a:cubicBezTo>
                <a:cubicBezTo>
                  <a:pt x="44" y="52"/>
                  <a:pt x="44" y="52"/>
                  <a:pt x="44" y="52"/>
                </a:cubicBezTo>
                <a:cubicBezTo>
                  <a:pt x="45" y="52"/>
                  <a:pt x="45" y="52"/>
                  <a:pt x="46" y="52"/>
                </a:cubicBezTo>
                <a:cubicBezTo>
                  <a:pt x="48" y="52"/>
                  <a:pt x="48" y="54"/>
                  <a:pt x="49" y="55"/>
                </a:cubicBezTo>
                <a:cubicBezTo>
                  <a:pt x="49" y="55"/>
                  <a:pt x="49" y="55"/>
                  <a:pt x="49" y="55"/>
                </a:cubicBezTo>
                <a:cubicBezTo>
                  <a:pt x="49" y="56"/>
                  <a:pt x="49" y="56"/>
                  <a:pt x="49" y="56"/>
                </a:cubicBezTo>
                <a:cubicBezTo>
                  <a:pt x="50" y="56"/>
                  <a:pt x="51" y="56"/>
                  <a:pt x="52" y="56"/>
                </a:cubicBezTo>
                <a:cubicBezTo>
                  <a:pt x="52" y="57"/>
                  <a:pt x="53" y="57"/>
                  <a:pt x="53" y="57"/>
                </a:cubicBezTo>
                <a:cubicBezTo>
                  <a:pt x="54" y="57"/>
                  <a:pt x="54" y="57"/>
                  <a:pt x="54" y="57"/>
                </a:cubicBezTo>
                <a:cubicBezTo>
                  <a:pt x="54" y="57"/>
                  <a:pt x="54" y="57"/>
                  <a:pt x="54" y="57"/>
                </a:cubicBezTo>
                <a:cubicBezTo>
                  <a:pt x="55" y="57"/>
                  <a:pt x="55" y="58"/>
                  <a:pt x="56" y="58"/>
                </a:cubicBezTo>
                <a:cubicBezTo>
                  <a:pt x="56" y="58"/>
                  <a:pt x="56" y="58"/>
                  <a:pt x="56" y="58"/>
                </a:cubicBezTo>
                <a:cubicBezTo>
                  <a:pt x="56" y="59"/>
                  <a:pt x="57" y="59"/>
                  <a:pt x="57" y="59"/>
                </a:cubicBezTo>
                <a:cubicBezTo>
                  <a:pt x="57" y="59"/>
                  <a:pt x="57" y="59"/>
                  <a:pt x="57" y="59"/>
                </a:cubicBezTo>
                <a:cubicBezTo>
                  <a:pt x="57" y="59"/>
                  <a:pt x="57" y="59"/>
                  <a:pt x="57" y="59"/>
                </a:cubicBezTo>
                <a:cubicBezTo>
                  <a:pt x="58" y="59"/>
                  <a:pt x="58" y="59"/>
                  <a:pt x="58" y="60"/>
                </a:cubicBezTo>
                <a:cubicBezTo>
                  <a:pt x="58" y="60"/>
                  <a:pt x="58" y="60"/>
                  <a:pt x="58" y="60"/>
                </a:cubicBezTo>
                <a:cubicBezTo>
                  <a:pt x="59" y="60"/>
                  <a:pt x="59" y="60"/>
                  <a:pt x="59" y="60"/>
                </a:cubicBezTo>
                <a:cubicBezTo>
                  <a:pt x="59" y="60"/>
                  <a:pt x="59" y="60"/>
                  <a:pt x="59" y="60"/>
                </a:cubicBezTo>
                <a:cubicBezTo>
                  <a:pt x="59" y="60"/>
                  <a:pt x="60" y="59"/>
                  <a:pt x="60" y="60"/>
                </a:cubicBezTo>
                <a:cubicBezTo>
                  <a:pt x="62" y="60"/>
                  <a:pt x="62" y="60"/>
                  <a:pt x="62" y="60"/>
                </a:cubicBezTo>
                <a:cubicBezTo>
                  <a:pt x="64" y="60"/>
                  <a:pt x="65" y="60"/>
                  <a:pt x="67" y="60"/>
                </a:cubicBezTo>
                <a:cubicBezTo>
                  <a:pt x="67" y="60"/>
                  <a:pt x="67" y="60"/>
                  <a:pt x="67" y="60"/>
                </a:cubicBezTo>
                <a:cubicBezTo>
                  <a:pt x="67" y="60"/>
                  <a:pt x="67" y="60"/>
                  <a:pt x="67" y="60"/>
                </a:cubicBezTo>
                <a:cubicBezTo>
                  <a:pt x="68" y="60"/>
                  <a:pt x="68" y="61"/>
                  <a:pt x="68" y="61"/>
                </a:cubicBezTo>
                <a:cubicBezTo>
                  <a:pt x="68" y="61"/>
                  <a:pt x="69" y="61"/>
                  <a:pt x="69" y="62"/>
                </a:cubicBezTo>
                <a:cubicBezTo>
                  <a:pt x="70" y="62"/>
                  <a:pt x="70" y="62"/>
                  <a:pt x="70" y="62"/>
                </a:cubicBezTo>
                <a:cubicBezTo>
                  <a:pt x="70" y="63"/>
                  <a:pt x="71" y="64"/>
                  <a:pt x="71" y="64"/>
                </a:cubicBezTo>
                <a:cubicBezTo>
                  <a:pt x="71" y="65"/>
                  <a:pt x="71" y="65"/>
                  <a:pt x="71" y="65"/>
                </a:cubicBezTo>
                <a:cubicBezTo>
                  <a:pt x="71" y="65"/>
                  <a:pt x="71" y="65"/>
                  <a:pt x="72" y="66"/>
                </a:cubicBezTo>
                <a:cubicBezTo>
                  <a:pt x="72" y="66"/>
                  <a:pt x="72" y="66"/>
                  <a:pt x="72" y="66"/>
                </a:cubicBezTo>
                <a:cubicBezTo>
                  <a:pt x="73" y="66"/>
                  <a:pt x="74" y="66"/>
                  <a:pt x="75" y="67"/>
                </a:cubicBezTo>
                <a:cubicBezTo>
                  <a:pt x="76" y="67"/>
                  <a:pt x="76" y="67"/>
                  <a:pt x="76" y="68"/>
                </a:cubicBezTo>
                <a:cubicBezTo>
                  <a:pt x="77" y="68"/>
                  <a:pt x="77" y="68"/>
                  <a:pt x="77" y="68"/>
                </a:cubicBezTo>
                <a:cubicBezTo>
                  <a:pt x="77" y="69"/>
                  <a:pt x="77" y="69"/>
                  <a:pt x="78" y="69"/>
                </a:cubicBezTo>
                <a:cubicBezTo>
                  <a:pt x="78" y="70"/>
                  <a:pt x="78" y="70"/>
                  <a:pt x="78" y="70"/>
                </a:cubicBezTo>
                <a:cubicBezTo>
                  <a:pt x="78" y="71"/>
                  <a:pt x="79" y="71"/>
                  <a:pt x="79" y="71"/>
                </a:cubicBezTo>
                <a:cubicBezTo>
                  <a:pt x="79" y="71"/>
                  <a:pt x="79" y="71"/>
                  <a:pt x="79" y="71"/>
                </a:cubicBezTo>
                <a:cubicBezTo>
                  <a:pt x="79" y="71"/>
                  <a:pt x="79" y="71"/>
                  <a:pt x="80" y="71"/>
                </a:cubicBezTo>
                <a:cubicBezTo>
                  <a:pt x="80" y="71"/>
                  <a:pt x="80" y="71"/>
                  <a:pt x="80" y="71"/>
                </a:cubicBezTo>
                <a:cubicBezTo>
                  <a:pt x="81" y="71"/>
                  <a:pt x="81" y="71"/>
                  <a:pt x="82" y="71"/>
                </a:cubicBezTo>
                <a:cubicBezTo>
                  <a:pt x="82" y="71"/>
                  <a:pt x="82" y="71"/>
                  <a:pt x="82" y="71"/>
                </a:cubicBezTo>
                <a:cubicBezTo>
                  <a:pt x="82" y="71"/>
                  <a:pt x="83" y="71"/>
                  <a:pt x="83" y="71"/>
                </a:cubicBezTo>
                <a:cubicBezTo>
                  <a:pt x="84" y="71"/>
                  <a:pt x="85" y="71"/>
                  <a:pt x="86" y="71"/>
                </a:cubicBezTo>
                <a:cubicBezTo>
                  <a:pt x="86" y="71"/>
                  <a:pt x="86" y="71"/>
                  <a:pt x="86" y="71"/>
                </a:cubicBezTo>
                <a:cubicBezTo>
                  <a:pt x="87" y="71"/>
                  <a:pt x="87" y="71"/>
                  <a:pt x="87" y="72"/>
                </a:cubicBezTo>
                <a:cubicBezTo>
                  <a:pt x="88" y="72"/>
                  <a:pt x="88" y="72"/>
                  <a:pt x="88" y="73"/>
                </a:cubicBezTo>
                <a:cubicBezTo>
                  <a:pt x="88" y="73"/>
                  <a:pt x="88" y="73"/>
                  <a:pt x="88" y="73"/>
                </a:cubicBezTo>
                <a:cubicBezTo>
                  <a:pt x="88" y="74"/>
                  <a:pt x="88" y="75"/>
                  <a:pt x="88" y="76"/>
                </a:cubicBezTo>
                <a:cubicBezTo>
                  <a:pt x="88" y="77"/>
                  <a:pt x="88" y="77"/>
                  <a:pt x="88" y="78"/>
                </a:cubicBezTo>
                <a:cubicBezTo>
                  <a:pt x="88" y="78"/>
                  <a:pt x="88" y="78"/>
                  <a:pt x="88" y="78"/>
                </a:cubicBezTo>
                <a:cubicBezTo>
                  <a:pt x="88" y="79"/>
                  <a:pt x="88" y="80"/>
                  <a:pt x="88" y="81"/>
                </a:cubicBezTo>
                <a:cubicBezTo>
                  <a:pt x="89" y="83"/>
                  <a:pt x="89" y="83"/>
                  <a:pt x="89" y="83"/>
                </a:cubicBezTo>
                <a:cubicBezTo>
                  <a:pt x="89" y="83"/>
                  <a:pt x="89" y="83"/>
                  <a:pt x="89" y="84"/>
                </a:cubicBezTo>
                <a:cubicBezTo>
                  <a:pt x="89" y="84"/>
                  <a:pt x="89" y="84"/>
                  <a:pt x="89" y="84"/>
                </a:cubicBezTo>
                <a:cubicBezTo>
                  <a:pt x="89" y="84"/>
                  <a:pt x="89" y="84"/>
                  <a:pt x="89" y="84"/>
                </a:cubicBezTo>
                <a:cubicBezTo>
                  <a:pt x="91" y="84"/>
                  <a:pt x="91" y="84"/>
                  <a:pt x="91" y="84"/>
                </a:cubicBezTo>
                <a:cubicBezTo>
                  <a:pt x="91" y="84"/>
                  <a:pt x="91" y="84"/>
                  <a:pt x="91" y="84"/>
                </a:cubicBezTo>
                <a:cubicBezTo>
                  <a:pt x="91" y="84"/>
                  <a:pt x="92" y="85"/>
                  <a:pt x="93" y="85"/>
                </a:cubicBezTo>
                <a:cubicBezTo>
                  <a:pt x="93" y="85"/>
                  <a:pt x="93" y="85"/>
                  <a:pt x="93" y="85"/>
                </a:cubicBezTo>
                <a:cubicBezTo>
                  <a:pt x="93" y="85"/>
                  <a:pt x="93" y="85"/>
                  <a:pt x="94" y="85"/>
                </a:cubicBezTo>
                <a:cubicBezTo>
                  <a:pt x="95" y="85"/>
                  <a:pt x="95" y="86"/>
                  <a:pt x="96" y="86"/>
                </a:cubicBezTo>
                <a:cubicBezTo>
                  <a:pt x="96" y="86"/>
                  <a:pt x="97" y="86"/>
                  <a:pt x="97" y="87"/>
                </a:cubicBezTo>
                <a:cubicBezTo>
                  <a:pt x="97" y="87"/>
                  <a:pt x="97" y="87"/>
                  <a:pt x="97" y="87"/>
                </a:cubicBezTo>
                <a:cubicBezTo>
                  <a:pt x="98" y="88"/>
                  <a:pt x="98" y="88"/>
                  <a:pt x="98" y="88"/>
                </a:cubicBezTo>
                <a:cubicBezTo>
                  <a:pt x="98" y="88"/>
                  <a:pt x="98" y="88"/>
                  <a:pt x="98" y="88"/>
                </a:cubicBezTo>
                <a:cubicBezTo>
                  <a:pt x="98" y="88"/>
                  <a:pt x="98" y="88"/>
                  <a:pt x="98" y="88"/>
                </a:cubicBezTo>
                <a:cubicBezTo>
                  <a:pt x="100" y="87"/>
                  <a:pt x="101" y="87"/>
                  <a:pt x="102" y="87"/>
                </a:cubicBezTo>
                <a:cubicBezTo>
                  <a:pt x="102" y="87"/>
                  <a:pt x="102" y="87"/>
                  <a:pt x="102" y="87"/>
                </a:cubicBezTo>
                <a:cubicBezTo>
                  <a:pt x="103" y="87"/>
                  <a:pt x="103" y="87"/>
                  <a:pt x="103" y="87"/>
                </a:cubicBezTo>
                <a:cubicBezTo>
                  <a:pt x="103" y="87"/>
                  <a:pt x="103" y="87"/>
                  <a:pt x="103" y="87"/>
                </a:cubicBezTo>
                <a:cubicBezTo>
                  <a:pt x="104" y="87"/>
                  <a:pt x="104" y="86"/>
                  <a:pt x="105" y="85"/>
                </a:cubicBezTo>
                <a:cubicBezTo>
                  <a:pt x="106" y="85"/>
                  <a:pt x="106" y="85"/>
                  <a:pt x="106" y="85"/>
                </a:cubicBezTo>
                <a:cubicBezTo>
                  <a:pt x="106" y="84"/>
                  <a:pt x="106" y="84"/>
                  <a:pt x="106" y="84"/>
                </a:cubicBezTo>
                <a:cubicBezTo>
                  <a:pt x="106" y="83"/>
                  <a:pt x="106" y="83"/>
                  <a:pt x="106" y="83"/>
                </a:cubicBezTo>
                <a:cubicBezTo>
                  <a:pt x="108" y="80"/>
                  <a:pt x="108" y="80"/>
                  <a:pt x="108" y="80"/>
                </a:cubicBezTo>
                <a:cubicBezTo>
                  <a:pt x="109" y="80"/>
                  <a:pt x="109" y="80"/>
                  <a:pt x="109" y="80"/>
                </a:cubicBezTo>
                <a:cubicBezTo>
                  <a:pt x="109" y="80"/>
                  <a:pt x="110" y="80"/>
                  <a:pt x="110" y="80"/>
                </a:cubicBezTo>
                <a:cubicBezTo>
                  <a:pt x="111" y="80"/>
                  <a:pt x="111" y="80"/>
                  <a:pt x="112" y="79"/>
                </a:cubicBezTo>
                <a:cubicBezTo>
                  <a:pt x="114" y="79"/>
                  <a:pt x="114" y="79"/>
                  <a:pt x="114" y="79"/>
                </a:cubicBezTo>
                <a:cubicBezTo>
                  <a:pt x="115" y="78"/>
                  <a:pt x="116" y="78"/>
                  <a:pt x="117" y="77"/>
                </a:cubicBezTo>
                <a:cubicBezTo>
                  <a:pt x="118" y="77"/>
                  <a:pt x="119" y="76"/>
                  <a:pt x="120" y="76"/>
                </a:cubicBezTo>
                <a:cubicBezTo>
                  <a:pt x="120" y="75"/>
                  <a:pt x="120" y="75"/>
                  <a:pt x="120" y="75"/>
                </a:cubicBezTo>
                <a:cubicBezTo>
                  <a:pt x="121" y="75"/>
                  <a:pt x="121" y="75"/>
                  <a:pt x="121" y="74"/>
                </a:cubicBezTo>
                <a:cubicBezTo>
                  <a:pt x="121" y="73"/>
                  <a:pt x="121" y="73"/>
                  <a:pt x="121" y="73"/>
                </a:cubicBezTo>
                <a:cubicBezTo>
                  <a:pt x="121" y="72"/>
                  <a:pt x="121" y="72"/>
                  <a:pt x="121" y="72"/>
                </a:cubicBezTo>
                <a:cubicBezTo>
                  <a:pt x="121" y="72"/>
                  <a:pt x="121" y="72"/>
                  <a:pt x="121" y="72"/>
                </a:cubicBezTo>
                <a:cubicBezTo>
                  <a:pt x="121" y="71"/>
                  <a:pt x="121" y="71"/>
                  <a:pt x="121" y="71"/>
                </a:cubicBezTo>
                <a:cubicBezTo>
                  <a:pt x="128" y="65"/>
                  <a:pt x="128" y="65"/>
                  <a:pt x="128" y="65"/>
                </a:cubicBezTo>
                <a:cubicBezTo>
                  <a:pt x="128" y="65"/>
                  <a:pt x="128" y="65"/>
                  <a:pt x="128" y="65"/>
                </a:cubicBezTo>
                <a:cubicBezTo>
                  <a:pt x="129" y="65"/>
                  <a:pt x="129" y="65"/>
                  <a:pt x="129" y="65"/>
                </a:cubicBezTo>
                <a:cubicBezTo>
                  <a:pt x="129" y="65"/>
                  <a:pt x="130" y="65"/>
                  <a:pt x="130" y="65"/>
                </a:cubicBezTo>
                <a:cubicBezTo>
                  <a:pt x="130" y="65"/>
                  <a:pt x="130" y="64"/>
                  <a:pt x="130" y="64"/>
                </a:cubicBezTo>
                <a:cubicBezTo>
                  <a:pt x="131" y="64"/>
                  <a:pt x="131" y="63"/>
                  <a:pt x="132" y="62"/>
                </a:cubicBezTo>
                <a:cubicBezTo>
                  <a:pt x="132" y="62"/>
                  <a:pt x="132" y="62"/>
                  <a:pt x="132" y="62"/>
                </a:cubicBezTo>
                <a:cubicBezTo>
                  <a:pt x="133" y="62"/>
                  <a:pt x="133" y="61"/>
                  <a:pt x="133" y="61"/>
                </a:cubicBezTo>
                <a:cubicBezTo>
                  <a:pt x="133" y="61"/>
                  <a:pt x="133" y="61"/>
                  <a:pt x="133" y="61"/>
                </a:cubicBezTo>
                <a:cubicBezTo>
                  <a:pt x="133" y="61"/>
                  <a:pt x="134" y="61"/>
                  <a:pt x="134" y="61"/>
                </a:cubicBezTo>
                <a:cubicBezTo>
                  <a:pt x="134" y="61"/>
                  <a:pt x="134" y="61"/>
                  <a:pt x="134" y="61"/>
                </a:cubicBezTo>
                <a:cubicBezTo>
                  <a:pt x="135" y="61"/>
                  <a:pt x="135" y="61"/>
                  <a:pt x="135" y="61"/>
                </a:cubicBezTo>
                <a:cubicBezTo>
                  <a:pt x="135" y="61"/>
                  <a:pt x="135" y="61"/>
                  <a:pt x="136" y="62"/>
                </a:cubicBezTo>
                <a:cubicBezTo>
                  <a:pt x="136" y="62"/>
                  <a:pt x="136" y="62"/>
                  <a:pt x="136" y="62"/>
                </a:cubicBezTo>
                <a:cubicBezTo>
                  <a:pt x="136" y="62"/>
                  <a:pt x="136" y="62"/>
                  <a:pt x="137" y="62"/>
                </a:cubicBezTo>
                <a:cubicBezTo>
                  <a:pt x="137" y="62"/>
                  <a:pt x="137" y="62"/>
                  <a:pt x="137" y="62"/>
                </a:cubicBezTo>
                <a:cubicBezTo>
                  <a:pt x="138" y="63"/>
                  <a:pt x="138" y="63"/>
                  <a:pt x="138" y="63"/>
                </a:cubicBezTo>
                <a:cubicBezTo>
                  <a:pt x="138" y="63"/>
                  <a:pt x="138" y="63"/>
                  <a:pt x="138" y="63"/>
                </a:cubicBezTo>
                <a:cubicBezTo>
                  <a:pt x="139" y="63"/>
                  <a:pt x="139" y="63"/>
                  <a:pt x="139" y="63"/>
                </a:cubicBezTo>
                <a:cubicBezTo>
                  <a:pt x="139" y="63"/>
                  <a:pt x="139" y="63"/>
                  <a:pt x="139" y="63"/>
                </a:cubicBezTo>
                <a:cubicBezTo>
                  <a:pt x="139" y="63"/>
                  <a:pt x="139" y="63"/>
                  <a:pt x="140" y="63"/>
                </a:cubicBezTo>
                <a:cubicBezTo>
                  <a:pt x="140" y="63"/>
                  <a:pt x="140" y="63"/>
                  <a:pt x="140" y="63"/>
                </a:cubicBezTo>
                <a:cubicBezTo>
                  <a:pt x="140" y="63"/>
                  <a:pt x="140" y="63"/>
                  <a:pt x="140" y="63"/>
                </a:cubicBezTo>
                <a:cubicBezTo>
                  <a:pt x="141" y="63"/>
                  <a:pt x="141" y="63"/>
                  <a:pt x="141" y="63"/>
                </a:cubicBezTo>
                <a:cubicBezTo>
                  <a:pt x="141" y="63"/>
                  <a:pt x="141" y="62"/>
                  <a:pt x="141" y="62"/>
                </a:cubicBezTo>
                <a:cubicBezTo>
                  <a:pt x="141" y="62"/>
                  <a:pt x="141" y="62"/>
                  <a:pt x="141" y="62"/>
                </a:cubicBezTo>
                <a:cubicBezTo>
                  <a:pt x="141" y="62"/>
                  <a:pt x="141" y="61"/>
                  <a:pt x="141" y="61"/>
                </a:cubicBezTo>
                <a:cubicBezTo>
                  <a:pt x="141" y="60"/>
                  <a:pt x="141" y="60"/>
                  <a:pt x="141" y="60"/>
                </a:cubicBezTo>
                <a:cubicBezTo>
                  <a:pt x="141" y="59"/>
                  <a:pt x="141" y="59"/>
                  <a:pt x="141" y="59"/>
                </a:cubicBezTo>
                <a:cubicBezTo>
                  <a:pt x="141" y="58"/>
                  <a:pt x="141" y="58"/>
                  <a:pt x="141" y="58"/>
                </a:cubicBezTo>
                <a:cubicBezTo>
                  <a:pt x="141" y="58"/>
                  <a:pt x="141" y="58"/>
                  <a:pt x="142" y="58"/>
                </a:cubicBezTo>
                <a:cubicBezTo>
                  <a:pt x="140" y="57"/>
                  <a:pt x="140" y="57"/>
                  <a:pt x="140" y="57"/>
                </a:cubicBezTo>
                <a:cubicBezTo>
                  <a:pt x="139" y="56"/>
                  <a:pt x="138" y="56"/>
                  <a:pt x="138" y="56"/>
                </a:cubicBezTo>
                <a:cubicBezTo>
                  <a:pt x="137" y="55"/>
                  <a:pt x="137" y="55"/>
                  <a:pt x="137" y="55"/>
                </a:cubicBezTo>
                <a:cubicBezTo>
                  <a:pt x="136" y="55"/>
                  <a:pt x="135" y="55"/>
                  <a:pt x="135" y="55"/>
                </a:cubicBezTo>
                <a:cubicBezTo>
                  <a:pt x="135" y="55"/>
                  <a:pt x="135" y="55"/>
                  <a:pt x="135" y="55"/>
                </a:cubicBezTo>
                <a:cubicBezTo>
                  <a:pt x="135" y="55"/>
                  <a:pt x="134" y="55"/>
                  <a:pt x="134" y="55"/>
                </a:cubicBezTo>
                <a:cubicBezTo>
                  <a:pt x="132" y="55"/>
                  <a:pt x="131" y="55"/>
                  <a:pt x="130" y="54"/>
                </a:cubicBezTo>
                <a:cubicBezTo>
                  <a:pt x="130" y="54"/>
                  <a:pt x="130" y="54"/>
                  <a:pt x="130" y="54"/>
                </a:cubicBezTo>
                <a:cubicBezTo>
                  <a:pt x="129" y="53"/>
                  <a:pt x="129" y="53"/>
                  <a:pt x="128" y="53"/>
                </a:cubicBezTo>
                <a:cubicBezTo>
                  <a:pt x="128" y="52"/>
                  <a:pt x="127" y="52"/>
                  <a:pt x="126" y="51"/>
                </a:cubicBezTo>
                <a:cubicBezTo>
                  <a:pt x="126" y="51"/>
                  <a:pt x="125" y="51"/>
                  <a:pt x="125" y="50"/>
                </a:cubicBezTo>
                <a:cubicBezTo>
                  <a:pt x="124" y="50"/>
                  <a:pt x="124" y="50"/>
                  <a:pt x="124" y="50"/>
                </a:cubicBezTo>
                <a:cubicBezTo>
                  <a:pt x="122" y="49"/>
                  <a:pt x="121" y="48"/>
                  <a:pt x="119" y="47"/>
                </a:cubicBezTo>
                <a:cubicBezTo>
                  <a:pt x="118" y="46"/>
                  <a:pt x="116" y="45"/>
                  <a:pt x="114" y="44"/>
                </a:cubicBezTo>
                <a:cubicBezTo>
                  <a:pt x="113" y="43"/>
                  <a:pt x="113" y="43"/>
                  <a:pt x="113" y="43"/>
                </a:cubicBezTo>
                <a:cubicBezTo>
                  <a:pt x="112" y="43"/>
                  <a:pt x="112" y="43"/>
                  <a:pt x="111" y="42"/>
                </a:cubicBezTo>
                <a:cubicBezTo>
                  <a:pt x="110" y="41"/>
                  <a:pt x="108" y="40"/>
                  <a:pt x="106" y="39"/>
                </a:cubicBezTo>
                <a:cubicBezTo>
                  <a:pt x="106" y="38"/>
                  <a:pt x="106" y="38"/>
                  <a:pt x="106" y="38"/>
                </a:cubicBezTo>
                <a:cubicBezTo>
                  <a:pt x="105" y="38"/>
                  <a:pt x="105" y="38"/>
                  <a:pt x="105" y="38"/>
                </a:cubicBezTo>
                <a:cubicBezTo>
                  <a:pt x="103" y="36"/>
                  <a:pt x="103" y="36"/>
                  <a:pt x="103" y="36"/>
                </a:cubicBezTo>
                <a:cubicBezTo>
                  <a:pt x="103" y="36"/>
                  <a:pt x="102" y="36"/>
                  <a:pt x="102" y="36"/>
                </a:cubicBezTo>
                <a:cubicBezTo>
                  <a:pt x="102" y="36"/>
                  <a:pt x="102" y="36"/>
                  <a:pt x="102" y="36"/>
                </a:cubicBezTo>
                <a:cubicBezTo>
                  <a:pt x="101" y="35"/>
                  <a:pt x="100" y="35"/>
                  <a:pt x="100" y="34"/>
                </a:cubicBezTo>
                <a:cubicBezTo>
                  <a:pt x="99" y="34"/>
                  <a:pt x="99" y="34"/>
                  <a:pt x="99" y="34"/>
                </a:cubicBezTo>
                <a:cubicBezTo>
                  <a:pt x="99" y="33"/>
                  <a:pt x="99" y="33"/>
                  <a:pt x="99" y="33"/>
                </a:cubicBezTo>
                <a:cubicBezTo>
                  <a:pt x="99" y="33"/>
                  <a:pt x="99" y="33"/>
                  <a:pt x="99" y="33"/>
                </a:cubicBezTo>
                <a:cubicBezTo>
                  <a:pt x="99" y="32"/>
                  <a:pt x="99" y="32"/>
                  <a:pt x="98" y="31"/>
                </a:cubicBezTo>
                <a:cubicBezTo>
                  <a:pt x="98" y="31"/>
                  <a:pt x="98" y="30"/>
                  <a:pt x="98" y="30"/>
                </a:cubicBezTo>
                <a:cubicBezTo>
                  <a:pt x="98" y="30"/>
                  <a:pt x="98" y="30"/>
                  <a:pt x="98" y="30"/>
                </a:cubicBezTo>
                <a:cubicBezTo>
                  <a:pt x="98" y="29"/>
                  <a:pt x="97" y="29"/>
                  <a:pt x="97" y="29"/>
                </a:cubicBezTo>
                <a:cubicBezTo>
                  <a:pt x="97" y="28"/>
                  <a:pt x="96" y="28"/>
                  <a:pt x="96" y="27"/>
                </a:cubicBezTo>
                <a:cubicBezTo>
                  <a:pt x="95" y="26"/>
                  <a:pt x="95" y="26"/>
                  <a:pt x="95" y="25"/>
                </a:cubicBezTo>
                <a:cubicBezTo>
                  <a:pt x="94" y="23"/>
                  <a:pt x="93" y="20"/>
                  <a:pt x="92" y="19"/>
                </a:cubicBezTo>
                <a:cubicBezTo>
                  <a:pt x="91" y="18"/>
                  <a:pt x="90" y="18"/>
                  <a:pt x="90" y="18"/>
                </a:cubicBezTo>
                <a:cubicBezTo>
                  <a:pt x="90" y="18"/>
                  <a:pt x="90" y="19"/>
                  <a:pt x="90" y="19"/>
                </a:cubicBezTo>
                <a:cubicBezTo>
                  <a:pt x="89" y="19"/>
                  <a:pt x="88" y="20"/>
                  <a:pt x="87" y="20"/>
                </a:cubicBezTo>
                <a:cubicBezTo>
                  <a:pt x="86" y="20"/>
                  <a:pt x="86" y="20"/>
                  <a:pt x="86" y="20"/>
                </a:cubicBezTo>
                <a:cubicBezTo>
                  <a:pt x="86" y="20"/>
                  <a:pt x="85" y="19"/>
                  <a:pt x="85" y="19"/>
                </a:cubicBezTo>
                <a:cubicBezTo>
                  <a:pt x="84" y="19"/>
                  <a:pt x="83" y="19"/>
                  <a:pt x="82" y="19"/>
                </a:cubicBezTo>
                <a:cubicBezTo>
                  <a:pt x="81" y="19"/>
                  <a:pt x="81" y="19"/>
                  <a:pt x="81" y="19"/>
                </a:cubicBezTo>
                <a:cubicBezTo>
                  <a:pt x="80" y="19"/>
                  <a:pt x="79" y="19"/>
                  <a:pt x="77" y="18"/>
                </a:cubicBezTo>
                <a:cubicBezTo>
                  <a:pt x="77" y="18"/>
                  <a:pt x="77" y="18"/>
                  <a:pt x="77" y="18"/>
                </a:cubicBezTo>
                <a:cubicBezTo>
                  <a:pt x="77" y="18"/>
                  <a:pt x="77" y="18"/>
                  <a:pt x="76" y="17"/>
                </a:cubicBezTo>
                <a:cubicBezTo>
                  <a:pt x="76" y="17"/>
                  <a:pt x="76" y="17"/>
                  <a:pt x="76" y="17"/>
                </a:cubicBezTo>
                <a:cubicBezTo>
                  <a:pt x="76" y="17"/>
                  <a:pt x="76" y="17"/>
                  <a:pt x="76" y="17"/>
                </a:cubicBezTo>
                <a:cubicBezTo>
                  <a:pt x="75" y="17"/>
                  <a:pt x="74" y="16"/>
                  <a:pt x="75" y="14"/>
                </a:cubicBezTo>
                <a:cubicBezTo>
                  <a:pt x="75" y="13"/>
                  <a:pt x="75" y="13"/>
                  <a:pt x="75" y="13"/>
                </a:cubicBezTo>
                <a:cubicBezTo>
                  <a:pt x="75" y="13"/>
                  <a:pt x="75" y="13"/>
                  <a:pt x="75" y="13"/>
                </a:cubicBezTo>
                <a:cubicBezTo>
                  <a:pt x="75" y="13"/>
                  <a:pt x="75" y="13"/>
                  <a:pt x="75" y="13"/>
                </a:cubicBezTo>
                <a:cubicBezTo>
                  <a:pt x="74" y="11"/>
                  <a:pt x="74" y="11"/>
                  <a:pt x="74" y="11"/>
                </a:cubicBezTo>
                <a:cubicBezTo>
                  <a:pt x="75" y="11"/>
                  <a:pt x="75" y="11"/>
                  <a:pt x="75" y="11"/>
                </a:cubicBezTo>
                <a:cubicBezTo>
                  <a:pt x="75" y="11"/>
                  <a:pt x="74" y="10"/>
                  <a:pt x="74" y="10"/>
                </a:cubicBezTo>
                <a:cubicBezTo>
                  <a:pt x="71" y="9"/>
                  <a:pt x="71" y="9"/>
                  <a:pt x="71" y="9"/>
                </a:cubicBezTo>
                <a:cubicBezTo>
                  <a:pt x="74" y="8"/>
                  <a:pt x="74" y="8"/>
                  <a:pt x="74" y="8"/>
                </a:cubicBezTo>
                <a:cubicBezTo>
                  <a:pt x="74" y="8"/>
                  <a:pt x="74" y="8"/>
                  <a:pt x="74" y="8"/>
                </a:cubicBezTo>
                <a:cubicBezTo>
                  <a:pt x="74" y="8"/>
                  <a:pt x="74" y="8"/>
                  <a:pt x="74" y="8"/>
                </a:cubicBezTo>
                <a:cubicBezTo>
                  <a:pt x="74" y="7"/>
                  <a:pt x="74" y="7"/>
                  <a:pt x="74" y="7"/>
                </a:cubicBezTo>
                <a:cubicBezTo>
                  <a:pt x="73" y="6"/>
                  <a:pt x="72" y="6"/>
                  <a:pt x="71" y="6"/>
                </a:cubicBezTo>
                <a:cubicBezTo>
                  <a:pt x="71" y="6"/>
                  <a:pt x="71" y="6"/>
                  <a:pt x="71" y="6"/>
                </a:cubicBezTo>
                <a:cubicBezTo>
                  <a:pt x="71" y="6"/>
                  <a:pt x="69" y="6"/>
                  <a:pt x="68" y="6"/>
                </a:cubicBezTo>
                <a:cubicBezTo>
                  <a:pt x="68" y="6"/>
                  <a:pt x="68" y="6"/>
                  <a:pt x="68" y="6"/>
                </a:cubicBezTo>
                <a:cubicBezTo>
                  <a:pt x="68" y="6"/>
                  <a:pt x="68" y="6"/>
                  <a:pt x="68" y="6"/>
                </a:cubicBezTo>
                <a:cubicBezTo>
                  <a:pt x="67" y="6"/>
                  <a:pt x="67" y="5"/>
                  <a:pt x="67" y="5"/>
                </a:cubicBezTo>
                <a:cubicBezTo>
                  <a:pt x="66" y="5"/>
                  <a:pt x="66" y="4"/>
                  <a:pt x="66" y="4"/>
                </a:cubicBezTo>
                <a:cubicBezTo>
                  <a:pt x="66" y="4"/>
                  <a:pt x="66" y="4"/>
                  <a:pt x="66" y="4"/>
                </a:cubicBezTo>
                <a:cubicBezTo>
                  <a:pt x="66" y="4"/>
                  <a:pt x="65" y="3"/>
                  <a:pt x="65" y="3"/>
                </a:cubicBezTo>
                <a:cubicBezTo>
                  <a:pt x="65" y="3"/>
                  <a:pt x="65" y="3"/>
                  <a:pt x="65" y="3"/>
                </a:cubicBezTo>
                <a:cubicBezTo>
                  <a:pt x="65" y="3"/>
                  <a:pt x="65" y="3"/>
                  <a:pt x="65" y="3"/>
                </a:cubicBezTo>
                <a:cubicBezTo>
                  <a:pt x="65" y="3"/>
                  <a:pt x="65" y="3"/>
                  <a:pt x="65" y="3"/>
                </a:cubicBezTo>
                <a:cubicBezTo>
                  <a:pt x="64" y="3"/>
                  <a:pt x="64" y="3"/>
                  <a:pt x="64" y="3"/>
                </a:cubicBezTo>
                <a:cubicBezTo>
                  <a:pt x="63" y="3"/>
                  <a:pt x="63" y="3"/>
                  <a:pt x="63" y="2"/>
                </a:cubicBezTo>
                <a:cubicBezTo>
                  <a:pt x="62" y="2"/>
                  <a:pt x="61" y="1"/>
                  <a:pt x="61" y="1"/>
                </a:cubicBezTo>
                <a:cubicBezTo>
                  <a:pt x="61" y="0"/>
                  <a:pt x="61" y="0"/>
                  <a:pt x="61" y="0"/>
                </a:cubicBezTo>
                <a:cubicBezTo>
                  <a:pt x="61" y="1"/>
                  <a:pt x="61" y="1"/>
                  <a:pt x="61" y="1"/>
                </a:cubicBezTo>
                <a:cubicBezTo>
                  <a:pt x="59" y="2"/>
                  <a:pt x="59" y="2"/>
                  <a:pt x="59" y="2"/>
                </a:cubicBezTo>
                <a:cubicBezTo>
                  <a:pt x="60" y="3"/>
                  <a:pt x="60" y="3"/>
                  <a:pt x="60" y="4"/>
                </a:cubicBezTo>
                <a:cubicBezTo>
                  <a:pt x="66" y="10"/>
                  <a:pt x="66" y="10"/>
                  <a:pt x="66" y="10"/>
                </a:cubicBezTo>
                <a:cubicBezTo>
                  <a:pt x="59" y="6"/>
                  <a:pt x="59" y="6"/>
                  <a:pt x="59" y="6"/>
                </a:cubicBezTo>
                <a:cubicBezTo>
                  <a:pt x="58" y="5"/>
                  <a:pt x="58" y="5"/>
                  <a:pt x="58" y="5"/>
                </a:cubicBezTo>
                <a:cubicBezTo>
                  <a:pt x="58" y="5"/>
                  <a:pt x="58" y="5"/>
                  <a:pt x="58" y="4"/>
                </a:cubicBezTo>
                <a:cubicBezTo>
                  <a:pt x="57" y="4"/>
                  <a:pt x="57" y="4"/>
                  <a:pt x="57" y="4"/>
                </a:cubicBezTo>
                <a:cubicBezTo>
                  <a:pt x="56" y="4"/>
                  <a:pt x="56" y="4"/>
                  <a:pt x="56" y="4"/>
                </a:cubicBezTo>
                <a:cubicBezTo>
                  <a:pt x="56" y="4"/>
                  <a:pt x="56" y="4"/>
                  <a:pt x="56" y="4"/>
                </a:cubicBezTo>
                <a:cubicBezTo>
                  <a:pt x="55" y="4"/>
                  <a:pt x="55" y="4"/>
                  <a:pt x="55" y="4"/>
                </a:cubicBezTo>
                <a:cubicBezTo>
                  <a:pt x="55" y="4"/>
                  <a:pt x="55" y="4"/>
                  <a:pt x="55" y="5"/>
                </a:cubicBezTo>
                <a:cubicBezTo>
                  <a:pt x="55" y="5"/>
                  <a:pt x="55" y="5"/>
                  <a:pt x="55" y="5"/>
                </a:cubicBezTo>
                <a:cubicBezTo>
                  <a:pt x="54" y="7"/>
                  <a:pt x="53" y="7"/>
                  <a:pt x="51" y="8"/>
                </a:cubicBezTo>
                <a:cubicBezTo>
                  <a:pt x="51" y="8"/>
                  <a:pt x="50" y="8"/>
                  <a:pt x="50" y="8"/>
                </a:cubicBezTo>
                <a:cubicBezTo>
                  <a:pt x="49" y="8"/>
                  <a:pt x="48" y="8"/>
                  <a:pt x="47" y="9"/>
                </a:cubicBezTo>
                <a:cubicBezTo>
                  <a:pt x="47" y="9"/>
                  <a:pt x="47" y="9"/>
                  <a:pt x="47" y="9"/>
                </a:cubicBezTo>
                <a:cubicBezTo>
                  <a:pt x="47" y="9"/>
                  <a:pt x="47" y="9"/>
                  <a:pt x="47" y="9"/>
                </a:cubicBezTo>
                <a:cubicBezTo>
                  <a:pt x="47" y="9"/>
                  <a:pt x="46" y="10"/>
                  <a:pt x="46" y="11"/>
                </a:cubicBezTo>
                <a:cubicBezTo>
                  <a:pt x="46" y="12"/>
                  <a:pt x="46" y="12"/>
                  <a:pt x="45" y="12"/>
                </a:cubicBezTo>
                <a:cubicBezTo>
                  <a:pt x="45" y="13"/>
                  <a:pt x="45" y="13"/>
                  <a:pt x="45" y="13"/>
                </a:cubicBezTo>
                <a:cubicBezTo>
                  <a:pt x="46" y="13"/>
                  <a:pt x="46" y="13"/>
                  <a:pt x="46" y="13"/>
                </a:cubicBezTo>
                <a:cubicBezTo>
                  <a:pt x="45" y="13"/>
                  <a:pt x="45" y="13"/>
                  <a:pt x="45" y="13"/>
                </a:cubicBezTo>
                <a:cubicBezTo>
                  <a:pt x="46" y="14"/>
                  <a:pt x="46" y="14"/>
                  <a:pt x="46" y="14"/>
                </a:cubicBezTo>
                <a:cubicBezTo>
                  <a:pt x="46" y="15"/>
                  <a:pt x="46" y="15"/>
                  <a:pt x="46" y="15"/>
                </a:cubicBezTo>
                <a:cubicBezTo>
                  <a:pt x="46" y="15"/>
                  <a:pt x="46" y="15"/>
                  <a:pt x="46" y="15"/>
                </a:cubicBezTo>
                <a:cubicBezTo>
                  <a:pt x="53" y="16"/>
                  <a:pt x="53" y="16"/>
                  <a:pt x="53" y="16"/>
                </a:cubicBezTo>
                <a:cubicBezTo>
                  <a:pt x="46" y="17"/>
                  <a:pt x="46" y="17"/>
                  <a:pt x="46" y="17"/>
                </a:cubicBezTo>
                <a:cubicBezTo>
                  <a:pt x="42" y="18"/>
                  <a:pt x="38" y="18"/>
                  <a:pt x="34" y="18"/>
                </a:cubicBezTo>
                <a:cubicBezTo>
                  <a:pt x="34" y="18"/>
                  <a:pt x="34" y="18"/>
                  <a:pt x="34" y="18"/>
                </a:cubicBezTo>
                <a:cubicBezTo>
                  <a:pt x="33" y="18"/>
                  <a:pt x="33" y="18"/>
                  <a:pt x="33" y="18"/>
                </a:cubicBezTo>
                <a:cubicBezTo>
                  <a:pt x="33" y="18"/>
                  <a:pt x="33" y="18"/>
                  <a:pt x="33" y="18"/>
                </a:cubicBezTo>
                <a:cubicBezTo>
                  <a:pt x="33" y="18"/>
                  <a:pt x="33" y="18"/>
                  <a:pt x="33" y="18"/>
                </a:cubicBezTo>
                <a:cubicBezTo>
                  <a:pt x="32" y="18"/>
                  <a:pt x="32" y="18"/>
                  <a:pt x="31" y="18"/>
                </a:cubicBezTo>
                <a:cubicBezTo>
                  <a:pt x="30" y="18"/>
                  <a:pt x="29" y="18"/>
                  <a:pt x="29" y="18"/>
                </a:cubicBezTo>
                <a:cubicBezTo>
                  <a:pt x="29" y="18"/>
                  <a:pt x="29" y="18"/>
                  <a:pt x="29" y="18"/>
                </a:cubicBezTo>
                <a:cubicBezTo>
                  <a:pt x="28" y="18"/>
                  <a:pt x="28" y="18"/>
                  <a:pt x="28" y="18"/>
                </a:cubicBezTo>
                <a:cubicBezTo>
                  <a:pt x="28" y="18"/>
                  <a:pt x="28" y="18"/>
                  <a:pt x="28" y="18"/>
                </a:cubicBezTo>
                <a:cubicBezTo>
                  <a:pt x="27" y="18"/>
                  <a:pt x="27" y="18"/>
                  <a:pt x="27" y="18"/>
                </a:cubicBezTo>
                <a:cubicBezTo>
                  <a:pt x="27" y="18"/>
                  <a:pt x="27" y="17"/>
                  <a:pt x="27" y="17"/>
                </a:cubicBezTo>
                <a:cubicBezTo>
                  <a:pt x="26" y="16"/>
                  <a:pt x="25" y="15"/>
                  <a:pt x="25" y="15"/>
                </a:cubicBezTo>
                <a:cubicBezTo>
                  <a:pt x="24" y="14"/>
                  <a:pt x="24" y="14"/>
                  <a:pt x="24" y="14"/>
                </a:cubicBezTo>
                <a:cubicBezTo>
                  <a:pt x="24" y="14"/>
                  <a:pt x="24" y="13"/>
                  <a:pt x="24" y="13"/>
                </a:cubicBezTo>
                <a:cubicBezTo>
                  <a:pt x="23" y="12"/>
                  <a:pt x="22" y="12"/>
                  <a:pt x="22" y="11"/>
                </a:cubicBezTo>
                <a:cubicBezTo>
                  <a:pt x="21" y="11"/>
                  <a:pt x="21" y="11"/>
                  <a:pt x="21" y="11"/>
                </a:cubicBezTo>
                <a:cubicBezTo>
                  <a:pt x="20" y="10"/>
                  <a:pt x="20" y="10"/>
                  <a:pt x="19" y="9"/>
                </a:cubicBezTo>
                <a:cubicBezTo>
                  <a:pt x="18" y="8"/>
                  <a:pt x="17" y="7"/>
                  <a:pt x="16" y="6"/>
                </a:cubicBezTo>
                <a:cubicBezTo>
                  <a:pt x="15" y="6"/>
                  <a:pt x="15" y="6"/>
                  <a:pt x="15" y="6"/>
                </a:cubicBezTo>
                <a:cubicBezTo>
                  <a:pt x="15" y="6"/>
                  <a:pt x="15" y="6"/>
                  <a:pt x="15" y="6"/>
                </a:cubicBezTo>
                <a:cubicBezTo>
                  <a:pt x="15" y="5"/>
                  <a:pt x="14" y="5"/>
                  <a:pt x="14" y="5"/>
                </a:cubicBezTo>
                <a:cubicBezTo>
                  <a:pt x="14" y="6"/>
                  <a:pt x="13" y="6"/>
                  <a:pt x="13" y="6"/>
                </a:cubicBezTo>
                <a:cubicBezTo>
                  <a:pt x="13" y="6"/>
                  <a:pt x="13" y="6"/>
                  <a:pt x="13" y="6"/>
                </a:cubicBezTo>
                <a:cubicBezTo>
                  <a:pt x="12" y="6"/>
                  <a:pt x="10" y="6"/>
                  <a:pt x="9" y="6"/>
                </a:cubicBezTo>
                <a:cubicBezTo>
                  <a:pt x="8" y="6"/>
                  <a:pt x="6" y="7"/>
                  <a:pt x="5" y="8"/>
                </a:cubicBezTo>
                <a:cubicBezTo>
                  <a:pt x="5" y="7"/>
                  <a:pt x="6" y="7"/>
                  <a:pt x="7" y="7"/>
                </a:cubicBezTo>
                <a:cubicBezTo>
                  <a:pt x="8" y="7"/>
                  <a:pt x="10" y="7"/>
                  <a:pt x="11" y="7"/>
                </a:cubicBezTo>
                <a:cubicBezTo>
                  <a:pt x="13" y="7"/>
                  <a:pt x="12" y="8"/>
                  <a:pt x="12" y="10"/>
                </a:cubicBezTo>
                <a:cubicBezTo>
                  <a:pt x="13" y="11"/>
                  <a:pt x="14" y="11"/>
                  <a:pt x="14" y="12"/>
                </a:cubicBezTo>
                <a:cubicBezTo>
                  <a:pt x="14" y="14"/>
                  <a:pt x="14" y="14"/>
                  <a:pt x="15" y="15"/>
                </a:cubicBezTo>
                <a:cubicBezTo>
                  <a:pt x="16" y="17"/>
                  <a:pt x="18" y="17"/>
                  <a:pt x="20" y="19"/>
                </a:cubicBezTo>
                <a:cubicBezTo>
                  <a:pt x="21" y="19"/>
                  <a:pt x="22" y="20"/>
                  <a:pt x="21" y="21"/>
                </a:cubicBezTo>
                <a:cubicBezTo>
                  <a:pt x="20" y="23"/>
                  <a:pt x="16" y="21"/>
                  <a:pt x="16" y="23"/>
                </a:cubicBezTo>
                <a:cubicBezTo>
                  <a:pt x="16" y="24"/>
                  <a:pt x="17" y="24"/>
                  <a:pt x="18" y="24"/>
                </a:cubicBezTo>
                <a:cubicBezTo>
                  <a:pt x="18" y="24"/>
                  <a:pt x="17" y="24"/>
                  <a:pt x="17" y="24"/>
                </a:cubicBezTo>
                <a:cubicBezTo>
                  <a:pt x="17" y="24"/>
                  <a:pt x="17" y="25"/>
                  <a:pt x="18" y="25"/>
                </a:cubicBezTo>
                <a:cubicBezTo>
                  <a:pt x="16" y="25"/>
                  <a:pt x="14" y="25"/>
                  <a:pt x="13" y="25"/>
                </a:cubicBezTo>
                <a:cubicBezTo>
                  <a:pt x="12" y="25"/>
                  <a:pt x="11" y="26"/>
                  <a:pt x="11" y="25"/>
                </a:cubicBezTo>
                <a:cubicBezTo>
                  <a:pt x="10" y="25"/>
                  <a:pt x="10" y="23"/>
                  <a:pt x="10" y="23"/>
                </a:cubicBezTo>
                <a:cubicBezTo>
                  <a:pt x="9" y="22"/>
                  <a:pt x="10" y="23"/>
                  <a:pt x="9" y="23"/>
                </a:cubicBezTo>
                <a:cubicBezTo>
                  <a:pt x="9" y="24"/>
                  <a:pt x="8" y="24"/>
                  <a:pt x="8" y="24"/>
                </a:cubicBezTo>
                <a:cubicBezTo>
                  <a:pt x="7" y="24"/>
                  <a:pt x="6" y="24"/>
                  <a:pt x="5" y="24"/>
                </a:cubicBezTo>
                <a:cubicBezTo>
                  <a:pt x="4" y="23"/>
                  <a:pt x="3" y="21"/>
                  <a:pt x="2" y="20"/>
                </a:cubicBezTo>
                <a:cubicBezTo>
                  <a:pt x="2" y="22"/>
                  <a:pt x="2" y="24"/>
                  <a:pt x="1" y="26"/>
                </a:cubicBezTo>
                <a:cubicBezTo>
                  <a:pt x="1" y="27"/>
                  <a:pt x="0" y="28"/>
                  <a:pt x="0" y="29"/>
                </a:cubicBezTo>
                <a:cubicBezTo>
                  <a:pt x="0" y="30"/>
                  <a:pt x="1" y="30"/>
                  <a:pt x="1" y="31"/>
                </a:cubicBezTo>
                <a:cubicBezTo>
                  <a:pt x="1" y="33"/>
                  <a:pt x="0" y="32"/>
                  <a:pt x="3" y="33"/>
                </a:cubicBezTo>
                <a:cubicBezTo>
                  <a:pt x="3" y="33"/>
                  <a:pt x="4" y="33"/>
                  <a:pt x="5" y="33"/>
                </a:cubicBezTo>
                <a:cubicBezTo>
                  <a:pt x="5" y="33"/>
                  <a:pt x="5" y="33"/>
                  <a:pt x="6" y="33"/>
                </a:cubicBezTo>
                <a:cubicBezTo>
                  <a:pt x="6" y="33"/>
                  <a:pt x="7" y="33"/>
                  <a:pt x="7" y="33"/>
                </a:cubicBezTo>
                <a:cubicBezTo>
                  <a:pt x="7" y="33"/>
                  <a:pt x="7" y="33"/>
                  <a:pt x="8" y="33"/>
                </a:cubicBezTo>
                <a:cubicBezTo>
                  <a:pt x="8" y="33"/>
                  <a:pt x="7" y="35"/>
                  <a:pt x="7" y="35"/>
                </a:cubicBezTo>
                <a:cubicBezTo>
                  <a:pt x="8" y="37"/>
                  <a:pt x="9" y="37"/>
                  <a:pt x="10" y="38"/>
                </a:cubicBezTo>
                <a:cubicBezTo>
                  <a:pt x="10" y="38"/>
                  <a:pt x="9" y="38"/>
                  <a:pt x="9" y="39"/>
                </a:cubicBezTo>
                <a:cubicBezTo>
                  <a:pt x="8" y="38"/>
                  <a:pt x="8" y="38"/>
                  <a:pt x="8" y="37"/>
                </a:cubicBezTo>
                <a:cubicBezTo>
                  <a:pt x="8" y="38"/>
                  <a:pt x="6" y="39"/>
                  <a:pt x="6" y="38"/>
                </a:cubicBezTo>
                <a:cubicBezTo>
                  <a:pt x="5" y="38"/>
                  <a:pt x="6" y="37"/>
                  <a:pt x="6" y="36"/>
                </a:cubicBezTo>
                <a:cubicBezTo>
                  <a:pt x="6" y="36"/>
                  <a:pt x="5" y="38"/>
                  <a:pt x="4" y="39"/>
                </a:cubicBezTo>
                <a:cubicBezTo>
                  <a:pt x="4" y="40"/>
                  <a:pt x="5" y="41"/>
                  <a:pt x="5" y="42"/>
                </a:cubicBezTo>
                <a:cubicBezTo>
                  <a:pt x="5" y="41"/>
                  <a:pt x="5" y="41"/>
                  <a:pt x="5" y="40"/>
                </a:cubicBezTo>
                <a:cubicBezTo>
                  <a:pt x="8" y="40"/>
                  <a:pt x="10" y="43"/>
                  <a:pt x="12" y="44"/>
                </a:cubicBezTo>
                <a:cubicBezTo>
                  <a:pt x="13" y="45"/>
                  <a:pt x="13" y="45"/>
                  <a:pt x="13" y="47"/>
                </a:cubicBezTo>
                <a:cubicBezTo>
                  <a:pt x="12" y="48"/>
                  <a:pt x="12" y="48"/>
                  <a:pt x="12" y="49"/>
                </a:cubicBezTo>
                <a:cubicBezTo>
                  <a:pt x="11" y="53"/>
                  <a:pt x="11" y="57"/>
                  <a:pt x="12" y="60"/>
                </a:cubicBezTo>
                <a:cubicBezTo>
                  <a:pt x="12" y="61"/>
                  <a:pt x="12" y="64"/>
                  <a:pt x="12" y="64"/>
                </a:cubicBezTo>
                <a:cubicBezTo>
                  <a:pt x="13" y="65"/>
                  <a:pt x="13" y="66"/>
                  <a:pt x="13" y="66"/>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93" name="Freeform 3150">
            <a:extLst>
              <a:ext uri="{FF2B5EF4-FFF2-40B4-BE49-F238E27FC236}">
                <a16:creationId xmlns:a16="http://schemas.microsoft.com/office/drawing/2014/main" id="{5AE30778-6E70-46BE-97EC-88C14C07D6CB}"/>
              </a:ext>
            </a:extLst>
          </p:cNvPr>
          <p:cNvSpPr>
            <a:spLocks/>
          </p:cNvSpPr>
          <p:nvPr/>
        </p:nvSpPr>
        <p:spPr bwMode="auto">
          <a:xfrm>
            <a:off x="4170058" y="3150743"/>
            <a:ext cx="991" cy="1187"/>
          </a:xfrm>
          <a:custGeom>
            <a:avLst/>
            <a:gdLst>
              <a:gd name="T0" fmla="*/ 1 w 1"/>
              <a:gd name="T1" fmla="*/ 0 h 1"/>
              <a:gd name="T2" fmla="*/ 0 w 1"/>
              <a:gd name="T3" fmla="*/ 0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0"/>
                  <a:pt x="0" y="0"/>
                </a:cubicBezTo>
                <a:cubicBezTo>
                  <a:pt x="1" y="1"/>
                  <a:pt x="1" y="1"/>
                  <a:pt x="1" y="1"/>
                </a:cubicBezTo>
                <a:cubicBezTo>
                  <a:pt x="1" y="1"/>
                  <a:pt x="1" y="0"/>
                  <a:pt x="1"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94" name="Freeform 3151">
            <a:extLst>
              <a:ext uri="{FF2B5EF4-FFF2-40B4-BE49-F238E27FC236}">
                <a16:creationId xmlns:a16="http://schemas.microsoft.com/office/drawing/2014/main" id="{FA66B262-5675-42E0-ABD6-8F99C47BD6B5}"/>
              </a:ext>
            </a:extLst>
          </p:cNvPr>
          <p:cNvSpPr>
            <a:spLocks/>
          </p:cNvSpPr>
          <p:nvPr/>
        </p:nvSpPr>
        <p:spPr bwMode="auto">
          <a:xfrm>
            <a:off x="4147758" y="3150743"/>
            <a:ext cx="90192" cy="55798"/>
          </a:xfrm>
          <a:custGeom>
            <a:avLst/>
            <a:gdLst>
              <a:gd name="T0" fmla="*/ 59 w 77"/>
              <a:gd name="T1" fmla="*/ 31 h 40"/>
              <a:gd name="T2" fmla="*/ 65 w 77"/>
              <a:gd name="T3" fmla="*/ 33 h 40"/>
              <a:gd name="T4" fmla="*/ 69 w 77"/>
              <a:gd name="T5" fmla="*/ 31 h 40"/>
              <a:gd name="T6" fmla="*/ 71 w 77"/>
              <a:gd name="T7" fmla="*/ 31 h 40"/>
              <a:gd name="T8" fmla="*/ 77 w 77"/>
              <a:gd name="T9" fmla="*/ 33 h 40"/>
              <a:gd name="T10" fmla="*/ 75 w 77"/>
              <a:gd name="T11" fmla="*/ 28 h 40"/>
              <a:gd name="T12" fmla="*/ 74 w 77"/>
              <a:gd name="T13" fmla="*/ 21 h 40"/>
              <a:gd name="T14" fmla="*/ 72 w 77"/>
              <a:gd name="T15" fmla="*/ 20 h 40"/>
              <a:gd name="T16" fmla="*/ 69 w 77"/>
              <a:gd name="T17" fmla="*/ 19 h 40"/>
              <a:gd name="T18" fmla="*/ 67 w 77"/>
              <a:gd name="T19" fmla="*/ 19 h 40"/>
              <a:gd name="T20" fmla="*/ 63 w 77"/>
              <a:gd name="T21" fmla="*/ 17 h 40"/>
              <a:gd name="T22" fmla="*/ 63 w 77"/>
              <a:gd name="T23" fmla="*/ 13 h 40"/>
              <a:gd name="T24" fmla="*/ 62 w 77"/>
              <a:gd name="T25" fmla="*/ 11 h 40"/>
              <a:gd name="T26" fmla="*/ 61 w 77"/>
              <a:gd name="T27" fmla="*/ 10 h 40"/>
              <a:gd name="T28" fmla="*/ 55 w 77"/>
              <a:gd name="T29" fmla="*/ 11 h 40"/>
              <a:gd name="T30" fmla="*/ 49 w 77"/>
              <a:gd name="T31" fmla="*/ 13 h 40"/>
              <a:gd name="T32" fmla="*/ 45 w 77"/>
              <a:gd name="T33" fmla="*/ 12 h 40"/>
              <a:gd name="T34" fmla="*/ 43 w 77"/>
              <a:gd name="T35" fmla="*/ 10 h 40"/>
              <a:gd name="T36" fmla="*/ 41 w 77"/>
              <a:gd name="T37" fmla="*/ 9 h 40"/>
              <a:gd name="T38" fmla="*/ 36 w 77"/>
              <a:gd name="T39" fmla="*/ 10 h 40"/>
              <a:gd name="T40" fmla="*/ 36 w 77"/>
              <a:gd name="T41" fmla="*/ 10 h 40"/>
              <a:gd name="T42" fmla="*/ 19 w 77"/>
              <a:gd name="T43" fmla="*/ 9 h 40"/>
              <a:gd name="T44" fmla="*/ 18 w 77"/>
              <a:gd name="T45" fmla="*/ 4 h 40"/>
              <a:gd name="T46" fmla="*/ 17 w 77"/>
              <a:gd name="T47" fmla="*/ 0 h 40"/>
              <a:gd name="T48" fmla="*/ 16 w 77"/>
              <a:gd name="T49" fmla="*/ 2 h 40"/>
              <a:gd name="T50" fmla="*/ 15 w 77"/>
              <a:gd name="T51" fmla="*/ 3 h 40"/>
              <a:gd name="T52" fmla="*/ 13 w 77"/>
              <a:gd name="T53" fmla="*/ 4 h 40"/>
              <a:gd name="T54" fmla="*/ 11 w 77"/>
              <a:gd name="T55" fmla="*/ 8 h 40"/>
              <a:gd name="T56" fmla="*/ 9 w 77"/>
              <a:gd name="T57" fmla="*/ 8 h 40"/>
              <a:gd name="T58" fmla="*/ 3 w 77"/>
              <a:gd name="T59" fmla="*/ 8 h 40"/>
              <a:gd name="T60" fmla="*/ 2 w 77"/>
              <a:gd name="T61" fmla="*/ 8 h 40"/>
              <a:gd name="T62" fmla="*/ 1 w 77"/>
              <a:gd name="T63" fmla="*/ 10 h 40"/>
              <a:gd name="T64" fmla="*/ 2 w 77"/>
              <a:gd name="T65" fmla="*/ 11 h 40"/>
              <a:gd name="T66" fmla="*/ 8 w 77"/>
              <a:gd name="T67" fmla="*/ 14 h 40"/>
              <a:gd name="T68" fmla="*/ 8 w 77"/>
              <a:gd name="T69" fmla="*/ 19 h 40"/>
              <a:gd name="T70" fmla="*/ 9 w 77"/>
              <a:gd name="T71" fmla="*/ 21 h 40"/>
              <a:gd name="T72" fmla="*/ 7 w 77"/>
              <a:gd name="T73" fmla="*/ 30 h 40"/>
              <a:gd name="T74" fmla="*/ 5 w 77"/>
              <a:gd name="T75" fmla="*/ 33 h 40"/>
              <a:gd name="T76" fmla="*/ 6 w 77"/>
              <a:gd name="T77" fmla="*/ 37 h 40"/>
              <a:gd name="T78" fmla="*/ 8 w 77"/>
              <a:gd name="T79" fmla="*/ 35 h 40"/>
              <a:gd name="T80" fmla="*/ 13 w 77"/>
              <a:gd name="T81" fmla="*/ 33 h 40"/>
              <a:gd name="T82" fmla="*/ 13 w 77"/>
              <a:gd name="T83" fmla="*/ 33 h 40"/>
              <a:gd name="T84" fmla="*/ 18 w 77"/>
              <a:gd name="T85" fmla="*/ 34 h 40"/>
              <a:gd name="T86" fmla="*/ 19 w 77"/>
              <a:gd name="T87" fmla="*/ 34 h 40"/>
              <a:gd name="T88" fmla="*/ 19 w 77"/>
              <a:gd name="T89" fmla="*/ 33 h 40"/>
              <a:gd name="T90" fmla="*/ 22 w 77"/>
              <a:gd name="T91" fmla="*/ 29 h 40"/>
              <a:gd name="T92" fmla="*/ 27 w 77"/>
              <a:gd name="T93" fmla="*/ 30 h 40"/>
              <a:gd name="T94" fmla="*/ 27 w 77"/>
              <a:gd name="T95" fmla="*/ 30 h 40"/>
              <a:gd name="T96" fmla="*/ 27 w 77"/>
              <a:gd name="T97" fmla="*/ 29 h 40"/>
              <a:gd name="T98" fmla="*/ 29 w 77"/>
              <a:gd name="T99" fmla="*/ 24 h 40"/>
              <a:gd name="T100" fmla="*/ 30 w 77"/>
              <a:gd name="T101" fmla="*/ 22 h 40"/>
              <a:gd name="T102" fmla="*/ 36 w 77"/>
              <a:gd name="T103" fmla="*/ 19 h 40"/>
              <a:gd name="T104" fmla="*/ 39 w 77"/>
              <a:gd name="T105" fmla="*/ 21 h 40"/>
              <a:gd name="T106" fmla="*/ 40 w 77"/>
              <a:gd name="T107" fmla="*/ 20 h 40"/>
              <a:gd name="T108" fmla="*/ 40 w 77"/>
              <a:gd name="T109" fmla="*/ 23 h 40"/>
              <a:gd name="T110" fmla="*/ 43 w 77"/>
              <a:gd name="T111" fmla="*/ 27 h 40"/>
              <a:gd name="T112" fmla="*/ 45 w 77"/>
              <a:gd name="T113" fmla="*/ 35 h 40"/>
              <a:gd name="T114" fmla="*/ 42 w 77"/>
              <a:gd name="T115" fmla="*/ 36 h 40"/>
              <a:gd name="T116" fmla="*/ 43 w 77"/>
              <a:gd name="T117" fmla="*/ 39 h 40"/>
              <a:gd name="T118" fmla="*/ 48 w 77"/>
              <a:gd name="T119" fmla="*/ 38 h 40"/>
              <a:gd name="T120" fmla="*/ 53 w 77"/>
              <a:gd name="T121"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7" h="40">
                <a:moveTo>
                  <a:pt x="53" y="36"/>
                </a:moveTo>
                <a:cubicBezTo>
                  <a:pt x="54" y="34"/>
                  <a:pt x="56" y="33"/>
                  <a:pt x="58" y="32"/>
                </a:cubicBezTo>
                <a:cubicBezTo>
                  <a:pt x="58" y="31"/>
                  <a:pt x="58" y="31"/>
                  <a:pt x="59" y="31"/>
                </a:cubicBezTo>
                <a:cubicBezTo>
                  <a:pt x="60" y="31"/>
                  <a:pt x="62" y="31"/>
                  <a:pt x="63" y="32"/>
                </a:cubicBezTo>
                <a:cubicBezTo>
                  <a:pt x="64" y="32"/>
                  <a:pt x="64" y="32"/>
                  <a:pt x="65" y="33"/>
                </a:cubicBezTo>
                <a:cubicBezTo>
                  <a:pt x="65" y="33"/>
                  <a:pt x="65" y="33"/>
                  <a:pt x="65" y="33"/>
                </a:cubicBezTo>
                <a:cubicBezTo>
                  <a:pt x="66" y="33"/>
                  <a:pt x="67" y="32"/>
                  <a:pt x="68" y="32"/>
                </a:cubicBezTo>
                <a:cubicBezTo>
                  <a:pt x="68" y="32"/>
                  <a:pt x="68" y="32"/>
                  <a:pt x="68" y="32"/>
                </a:cubicBezTo>
                <a:cubicBezTo>
                  <a:pt x="68" y="32"/>
                  <a:pt x="68" y="32"/>
                  <a:pt x="69" y="31"/>
                </a:cubicBezTo>
                <a:cubicBezTo>
                  <a:pt x="69" y="31"/>
                  <a:pt x="69" y="31"/>
                  <a:pt x="70" y="31"/>
                </a:cubicBezTo>
                <a:cubicBezTo>
                  <a:pt x="70" y="31"/>
                  <a:pt x="70" y="31"/>
                  <a:pt x="70" y="31"/>
                </a:cubicBezTo>
                <a:cubicBezTo>
                  <a:pt x="71" y="31"/>
                  <a:pt x="71" y="31"/>
                  <a:pt x="71" y="31"/>
                </a:cubicBezTo>
                <a:cubicBezTo>
                  <a:pt x="72" y="32"/>
                  <a:pt x="73" y="32"/>
                  <a:pt x="74" y="32"/>
                </a:cubicBezTo>
                <a:cubicBezTo>
                  <a:pt x="76" y="33"/>
                  <a:pt x="76" y="33"/>
                  <a:pt x="76" y="33"/>
                </a:cubicBezTo>
                <a:cubicBezTo>
                  <a:pt x="76" y="33"/>
                  <a:pt x="77" y="33"/>
                  <a:pt x="77" y="33"/>
                </a:cubicBezTo>
                <a:cubicBezTo>
                  <a:pt x="76" y="32"/>
                  <a:pt x="76" y="31"/>
                  <a:pt x="76" y="31"/>
                </a:cubicBezTo>
                <a:cubicBezTo>
                  <a:pt x="76" y="30"/>
                  <a:pt x="76" y="30"/>
                  <a:pt x="76" y="30"/>
                </a:cubicBezTo>
                <a:cubicBezTo>
                  <a:pt x="75" y="29"/>
                  <a:pt x="75" y="29"/>
                  <a:pt x="75" y="28"/>
                </a:cubicBezTo>
                <a:cubicBezTo>
                  <a:pt x="75" y="27"/>
                  <a:pt x="75" y="27"/>
                  <a:pt x="75" y="27"/>
                </a:cubicBezTo>
                <a:cubicBezTo>
                  <a:pt x="75" y="26"/>
                  <a:pt x="75" y="24"/>
                  <a:pt x="75" y="22"/>
                </a:cubicBezTo>
                <a:cubicBezTo>
                  <a:pt x="74" y="22"/>
                  <a:pt x="74" y="22"/>
                  <a:pt x="74" y="21"/>
                </a:cubicBezTo>
                <a:cubicBezTo>
                  <a:pt x="73" y="21"/>
                  <a:pt x="73" y="21"/>
                  <a:pt x="73" y="21"/>
                </a:cubicBezTo>
                <a:cubicBezTo>
                  <a:pt x="73" y="21"/>
                  <a:pt x="72" y="20"/>
                  <a:pt x="72" y="20"/>
                </a:cubicBezTo>
                <a:cubicBezTo>
                  <a:pt x="72" y="20"/>
                  <a:pt x="72" y="20"/>
                  <a:pt x="72" y="20"/>
                </a:cubicBezTo>
                <a:cubicBezTo>
                  <a:pt x="71" y="20"/>
                  <a:pt x="71" y="19"/>
                  <a:pt x="71" y="19"/>
                </a:cubicBezTo>
                <a:cubicBezTo>
                  <a:pt x="70" y="19"/>
                  <a:pt x="70" y="19"/>
                  <a:pt x="70" y="19"/>
                </a:cubicBezTo>
                <a:cubicBezTo>
                  <a:pt x="70" y="19"/>
                  <a:pt x="69" y="19"/>
                  <a:pt x="69" y="19"/>
                </a:cubicBezTo>
                <a:cubicBezTo>
                  <a:pt x="69" y="19"/>
                  <a:pt x="69" y="19"/>
                  <a:pt x="69" y="19"/>
                </a:cubicBezTo>
                <a:cubicBezTo>
                  <a:pt x="68" y="19"/>
                  <a:pt x="68" y="19"/>
                  <a:pt x="67" y="19"/>
                </a:cubicBezTo>
                <a:cubicBezTo>
                  <a:pt x="67" y="19"/>
                  <a:pt x="67" y="19"/>
                  <a:pt x="67" y="19"/>
                </a:cubicBezTo>
                <a:cubicBezTo>
                  <a:pt x="66" y="20"/>
                  <a:pt x="66" y="20"/>
                  <a:pt x="65" y="19"/>
                </a:cubicBezTo>
                <a:cubicBezTo>
                  <a:pt x="64" y="19"/>
                  <a:pt x="64" y="19"/>
                  <a:pt x="64" y="18"/>
                </a:cubicBezTo>
                <a:cubicBezTo>
                  <a:pt x="63" y="18"/>
                  <a:pt x="63" y="18"/>
                  <a:pt x="63" y="17"/>
                </a:cubicBezTo>
                <a:cubicBezTo>
                  <a:pt x="63" y="16"/>
                  <a:pt x="62" y="15"/>
                  <a:pt x="63" y="14"/>
                </a:cubicBezTo>
                <a:cubicBezTo>
                  <a:pt x="63" y="14"/>
                  <a:pt x="63" y="14"/>
                  <a:pt x="63" y="14"/>
                </a:cubicBezTo>
                <a:cubicBezTo>
                  <a:pt x="63" y="14"/>
                  <a:pt x="63" y="14"/>
                  <a:pt x="63" y="13"/>
                </a:cubicBezTo>
                <a:cubicBezTo>
                  <a:pt x="61" y="15"/>
                  <a:pt x="61" y="15"/>
                  <a:pt x="61" y="15"/>
                </a:cubicBezTo>
                <a:cubicBezTo>
                  <a:pt x="63" y="13"/>
                  <a:pt x="63" y="13"/>
                  <a:pt x="63" y="13"/>
                </a:cubicBezTo>
                <a:cubicBezTo>
                  <a:pt x="62" y="13"/>
                  <a:pt x="62" y="12"/>
                  <a:pt x="62" y="11"/>
                </a:cubicBezTo>
                <a:cubicBezTo>
                  <a:pt x="62" y="11"/>
                  <a:pt x="62" y="11"/>
                  <a:pt x="62" y="11"/>
                </a:cubicBezTo>
                <a:cubicBezTo>
                  <a:pt x="62" y="10"/>
                  <a:pt x="62" y="10"/>
                  <a:pt x="62" y="10"/>
                </a:cubicBezTo>
                <a:cubicBezTo>
                  <a:pt x="61" y="10"/>
                  <a:pt x="61" y="10"/>
                  <a:pt x="61" y="10"/>
                </a:cubicBezTo>
                <a:cubicBezTo>
                  <a:pt x="60" y="10"/>
                  <a:pt x="60" y="10"/>
                  <a:pt x="60" y="10"/>
                </a:cubicBezTo>
                <a:cubicBezTo>
                  <a:pt x="59" y="10"/>
                  <a:pt x="58" y="10"/>
                  <a:pt x="58" y="10"/>
                </a:cubicBezTo>
                <a:cubicBezTo>
                  <a:pt x="57" y="10"/>
                  <a:pt x="56" y="11"/>
                  <a:pt x="55" y="11"/>
                </a:cubicBezTo>
                <a:cubicBezTo>
                  <a:pt x="52" y="10"/>
                  <a:pt x="52" y="10"/>
                  <a:pt x="52" y="10"/>
                </a:cubicBezTo>
                <a:cubicBezTo>
                  <a:pt x="51" y="10"/>
                  <a:pt x="51" y="11"/>
                  <a:pt x="50" y="12"/>
                </a:cubicBezTo>
                <a:cubicBezTo>
                  <a:pt x="49" y="13"/>
                  <a:pt x="49" y="13"/>
                  <a:pt x="49" y="13"/>
                </a:cubicBezTo>
                <a:cubicBezTo>
                  <a:pt x="48" y="12"/>
                  <a:pt x="48" y="12"/>
                  <a:pt x="48" y="12"/>
                </a:cubicBezTo>
                <a:cubicBezTo>
                  <a:pt x="48" y="12"/>
                  <a:pt x="46" y="12"/>
                  <a:pt x="46" y="12"/>
                </a:cubicBezTo>
                <a:cubicBezTo>
                  <a:pt x="45" y="12"/>
                  <a:pt x="45" y="12"/>
                  <a:pt x="45" y="12"/>
                </a:cubicBezTo>
                <a:cubicBezTo>
                  <a:pt x="44" y="12"/>
                  <a:pt x="44" y="12"/>
                  <a:pt x="44" y="12"/>
                </a:cubicBezTo>
                <a:cubicBezTo>
                  <a:pt x="43" y="11"/>
                  <a:pt x="43" y="11"/>
                  <a:pt x="43" y="11"/>
                </a:cubicBezTo>
                <a:cubicBezTo>
                  <a:pt x="43" y="11"/>
                  <a:pt x="43" y="10"/>
                  <a:pt x="43" y="10"/>
                </a:cubicBezTo>
                <a:cubicBezTo>
                  <a:pt x="42" y="10"/>
                  <a:pt x="42" y="10"/>
                  <a:pt x="42" y="10"/>
                </a:cubicBezTo>
                <a:cubicBezTo>
                  <a:pt x="42" y="10"/>
                  <a:pt x="42" y="9"/>
                  <a:pt x="42" y="9"/>
                </a:cubicBezTo>
                <a:cubicBezTo>
                  <a:pt x="41" y="9"/>
                  <a:pt x="41" y="9"/>
                  <a:pt x="41" y="9"/>
                </a:cubicBezTo>
                <a:cubicBezTo>
                  <a:pt x="41" y="9"/>
                  <a:pt x="41" y="9"/>
                  <a:pt x="41" y="9"/>
                </a:cubicBezTo>
                <a:cubicBezTo>
                  <a:pt x="41" y="9"/>
                  <a:pt x="41" y="9"/>
                  <a:pt x="40" y="8"/>
                </a:cubicBezTo>
                <a:cubicBezTo>
                  <a:pt x="39" y="9"/>
                  <a:pt x="37" y="10"/>
                  <a:pt x="36" y="10"/>
                </a:cubicBezTo>
                <a:cubicBezTo>
                  <a:pt x="36" y="10"/>
                  <a:pt x="36" y="10"/>
                  <a:pt x="36" y="10"/>
                </a:cubicBezTo>
                <a:cubicBezTo>
                  <a:pt x="36" y="10"/>
                  <a:pt x="36" y="10"/>
                  <a:pt x="36" y="10"/>
                </a:cubicBezTo>
                <a:cubicBezTo>
                  <a:pt x="36" y="10"/>
                  <a:pt x="36" y="10"/>
                  <a:pt x="36" y="10"/>
                </a:cubicBezTo>
                <a:cubicBezTo>
                  <a:pt x="36" y="10"/>
                  <a:pt x="36" y="10"/>
                  <a:pt x="36" y="10"/>
                </a:cubicBezTo>
                <a:cubicBezTo>
                  <a:pt x="34" y="9"/>
                  <a:pt x="32" y="9"/>
                  <a:pt x="30" y="9"/>
                </a:cubicBezTo>
                <a:cubicBezTo>
                  <a:pt x="27" y="8"/>
                  <a:pt x="24" y="8"/>
                  <a:pt x="19" y="9"/>
                </a:cubicBezTo>
                <a:cubicBezTo>
                  <a:pt x="17" y="9"/>
                  <a:pt x="17" y="9"/>
                  <a:pt x="17" y="9"/>
                </a:cubicBezTo>
                <a:cubicBezTo>
                  <a:pt x="18" y="7"/>
                  <a:pt x="18" y="7"/>
                  <a:pt x="18" y="7"/>
                </a:cubicBezTo>
                <a:cubicBezTo>
                  <a:pt x="18" y="6"/>
                  <a:pt x="18" y="5"/>
                  <a:pt x="18" y="4"/>
                </a:cubicBezTo>
                <a:cubicBezTo>
                  <a:pt x="18" y="1"/>
                  <a:pt x="18" y="1"/>
                  <a:pt x="18" y="1"/>
                </a:cubicBezTo>
                <a:cubicBezTo>
                  <a:pt x="18" y="1"/>
                  <a:pt x="18" y="1"/>
                  <a:pt x="18" y="1"/>
                </a:cubicBezTo>
                <a:cubicBezTo>
                  <a:pt x="17" y="1"/>
                  <a:pt x="17" y="1"/>
                  <a:pt x="17" y="0"/>
                </a:cubicBezTo>
                <a:cubicBezTo>
                  <a:pt x="17" y="1"/>
                  <a:pt x="17" y="1"/>
                  <a:pt x="17" y="2"/>
                </a:cubicBezTo>
                <a:cubicBezTo>
                  <a:pt x="16" y="2"/>
                  <a:pt x="16" y="2"/>
                  <a:pt x="16" y="2"/>
                </a:cubicBezTo>
                <a:cubicBezTo>
                  <a:pt x="16" y="2"/>
                  <a:pt x="16" y="2"/>
                  <a:pt x="16" y="2"/>
                </a:cubicBezTo>
                <a:cubicBezTo>
                  <a:pt x="16" y="2"/>
                  <a:pt x="16" y="2"/>
                  <a:pt x="15" y="2"/>
                </a:cubicBezTo>
                <a:cubicBezTo>
                  <a:pt x="15" y="2"/>
                  <a:pt x="15" y="2"/>
                  <a:pt x="15" y="2"/>
                </a:cubicBezTo>
                <a:cubicBezTo>
                  <a:pt x="15" y="2"/>
                  <a:pt x="15" y="2"/>
                  <a:pt x="15" y="3"/>
                </a:cubicBezTo>
                <a:cubicBezTo>
                  <a:pt x="15" y="3"/>
                  <a:pt x="15" y="3"/>
                  <a:pt x="15" y="3"/>
                </a:cubicBezTo>
                <a:cubicBezTo>
                  <a:pt x="15" y="9"/>
                  <a:pt x="15" y="9"/>
                  <a:pt x="15" y="9"/>
                </a:cubicBezTo>
                <a:cubicBezTo>
                  <a:pt x="13" y="4"/>
                  <a:pt x="13" y="4"/>
                  <a:pt x="13" y="4"/>
                </a:cubicBezTo>
                <a:cubicBezTo>
                  <a:pt x="13" y="4"/>
                  <a:pt x="13" y="4"/>
                  <a:pt x="13" y="4"/>
                </a:cubicBezTo>
                <a:cubicBezTo>
                  <a:pt x="13" y="5"/>
                  <a:pt x="13" y="5"/>
                  <a:pt x="13" y="5"/>
                </a:cubicBezTo>
                <a:cubicBezTo>
                  <a:pt x="12" y="7"/>
                  <a:pt x="12" y="8"/>
                  <a:pt x="11" y="8"/>
                </a:cubicBezTo>
                <a:cubicBezTo>
                  <a:pt x="11" y="8"/>
                  <a:pt x="11" y="8"/>
                  <a:pt x="11" y="8"/>
                </a:cubicBezTo>
                <a:cubicBezTo>
                  <a:pt x="10" y="9"/>
                  <a:pt x="10" y="8"/>
                  <a:pt x="9" y="8"/>
                </a:cubicBezTo>
                <a:cubicBezTo>
                  <a:pt x="9" y="8"/>
                  <a:pt x="9" y="8"/>
                  <a:pt x="9" y="8"/>
                </a:cubicBezTo>
                <a:cubicBezTo>
                  <a:pt x="9" y="8"/>
                  <a:pt x="8" y="8"/>
                  <a:pt x="7" y="8"/>
                </a:cubicBezTo>
                <a:cubicBezTo>
                  <a:pt x="6" y="8"/>
                  <a:pt x="5" y="8"/>
                  <a:pt x="4" y="8"/>
                </a:cubicBezTo>
                <a:cubicBezTo>
                  <a:pt x="3" y="8"/>
                  <a:pt x="3" y="8"/>
                  <a:pt x="3" y="8"/>
                </a:cubicBezTo>
                <a:cubicBezTo>
                  <a:pt x="3" y="8"/>
                  <a:pt x="3" y="8"/>
                  <a:pt x="3" y="8"/>
                </a:cubicBezTo>
                <a:cubicBezTo>
                  <a:pt x="2" y="8"/>
                  <a:pt x="2" y="8"/>
                  <a:pt x="2" y="8"/>
                </a:cubicBezTo>
                <a:cubicBezTo>
                  <a:pt x="2" y="8"/>
                  <a:pt x="2" y="8"/>
                  <a:pt x="2" y="8"/>
                </a:cubicBezTo>
                <a:cubicBezTo>
                  <a:pt x="2" y="8"/>
                  <a:pt x="2" y="8"/>
                  <a:pt x="2" y="8"/>
                </a:cubicBezTo>
                <a:cubicBezTo>
                  <a:pt x="1" y="9"/>
                  <a:pt x="1" y="9"/>
                  <a:pt x="0" y="10"/>
                </a:cubicBezTo>
                <a:cubicBezTo>
                  <a:pt x="0" y="10"/>
                  <a:pt x="1" y="10"/>
                  <a:pt x="1" y="10"/>
                </a:cubicBezTo>
                <a:cubicBezTo>
                  <a:pt x="1" y="10"/>
                  <a:pt x="1" y="11"/>
                  <a:pt x="1" y="11"/>
                </a:cubicBezTo>
                <a:cubicBezTo>
                  <a:pt x="1" y="11"/>
                  <a:pt x="1" y="11"/>
                  <a:pt x="1" y="11"/>
                </a:cubicBezTo>
                <a:cubicBezTo>
                  <a:pt x="2" y="11"/>
                  <a:pt x="2" y="11"/>
                  <a:pt x="2" y="11"/>
                </a:cubicBezTo>
                <a:cubicBezTo>
                  <a:pt x="3" y="12"/>
                  <a:pt x="3" y="12"/>
                  <a:pt x="4" y="12"/>
                </a:cubicBezTo>
                <a:cubicBezTo>
                  <a:pt x="5" y="12"/>
                  <a:pt x="5" y="12"/>
                  <a:pt x="6" y="13"/>
                </a:cubicBezTo>
                <a:cubicBezTo>
                  <a:pt x="7" y="13"/>
                  <a:pt x="8" y="13"/>
                  <a:pt x="8" y="14"/>
                </a:cubicBezTo>
                <a:cubicBezTo>
                  <a:pt x="9" y="15"/>
                  <a:pt x="9" y="15"/>
                  <a:pt x="9" y="15"/>
                </a:cubicBezTo>
                <a:cubicBezTo>
                  <a:pt x="9" y="16"/>
                  <a:pt x="9" y="17"/>
                  <a:pt x="8" y="18"/>
                </a:cubicBezTo>
                <a:cubicBezTo>
                  <a:pt x="8" y="19"/>
                  <a:pt x="8" y="19"/>
                  <a:pt x="8" y="19"/>
                </a:cubicBezTo>
                <a:cubicBezTo>
                  <a:pt x="8" y="20"/>
                  <a:pt x="8" y="20"/>
                  <a:pt x="8" y="20"/>
                </a:cubicBezTo>
                <a:cubicBezTo>
                  <a:pt x="8" y="20"/>
                  <a:pt x="8" y="20"/>
                  <a:pt x="8" y="20"/>
                </a:cubicBezTo>
                <a:cubicBezTo>
                  <a:pt x="9" y="21"/>
                  <a:pt x="9" y="21"/>
                  <a:pt x="9" y="21"/>
                </a:cubicBezTo>
                <a:cubicBezTo>
                  <a:pt x="9" y="21"/>
                  <a:pt x="10" y="22"/>
                  <a:pt x="10" y="22"/>
                </a:cubicBezTo>
                <a:cubicBezTo>
                  <a:pt x="12" y="24"/>
                  <a:pt x="9" y="27"/>
                  <a:pt x="7" y="29"/>
                </a:cubicBezTo>
                <a:cubicBezTo>
                  <a:pt x="7" y="29"/>
                  <a:pt x="7" y="30"/>
                  <a:pt x="7" y="30"/>
                </a:cubicBezTo>
                <a:cubicBezTo>
                  <a:pt x="6" y="31"/>
                  <a:pt x="6" y="31"/>
                  <a:pt x="6" y="31"/>
                </a:cubicBezTo>
                <a:cubicBezTo>
                  <a:pt x="6" y="31"/>
                  <a:pt x="5" y="32"/>
                  <a:pt x="5" y="32"/>
                </a:cubicBezTo>
                <a:cubicBezTo>
                  <a:pt x="5" y="33"/>
                  <a:pt x="5" y="33"/>
                  <a:pt x="5" y="33"/>
                </a:cubicBezTo>
                <a:cubicBezTo>
                  <a:pt x="5" y="34"/>
                  <a:pt x="5" y="35"/>
                  <a:pt x="5" y="35"/>
                </a:cubicBezTo>
                <a:cubicBezTo>
                  <a:pt x="5" y="35"/>
                  <a:pt x="5" y="36"/>
                  <a:pt x="5" y="36"/>
                </a:cubicBezTo>
                <a:cubicBezTo>
                  <a:pt x="6" y="37"/>
                  <a:pt x="6" y="37"/>
                  <a:pt x="6" y="37"/>
                </a:cubicBezTo>
                <a:cubicBezTo>
                  <a:pt x="6" y="37"/>
                  <a:pt x="6" y="37"/>
                  <a:pt x="6" y="37"/>
                </a:cubicBezTo>
                <a:cubicBezTo>
                  <a:pt x="6" y="37"/>
                  <a:pt x="6" y="37"/>
                  <a:pt x="6" y="36"/>
                </a:cubicBezTo>
                <a:cubicBezTo>
                  <a:pt x="7" y="36"/>
                  <a:pt x="8" y="35"/>
                  <a:pt x="8" y="35"/>
                </a:cubicBezTo>
                <a:cubicBezTo>
                  <a:pt x="8" y="35"/>
                  <a:pt x="9" y="35"/>
                  <a:pt x="9" y="35"/>
                </a:cubicBezTo>
                <a:cubicBezTo>
                  <a:pt x="10" y="34"/>
                  <a:pt x="11" y="34"/>
                  <a:pt x="12" y="34"/>
                </a:cubicBezTo>
                <a:cubicBezTo>
                  <a:pt x="12" y="33"/>
                  <a:pt x="12" y="33"/>
                  <a:pt x="13" y="33"/>
                </a:cubicBezTo>
                <a:cubicBezTo>
                  <a:pt x="13" y="34"/>
                  <a:pt x="13" y="34"/>
                  <a:pt x="13" y="34"/>
                </a:cubicBezTo>
                <a:cubicBezTo>
                  <a:pt x="13" y="33"/>
                  <a:pt x="13" y="33"/>
                  <a:pt x="13" y="33"/>
                </a:cubicBezTo>
                <a:cubicBezTo>
                  <a:pt x="13" y="33"/>
                  <a:pt x="13" y="33"/>
                  <a:pt x="13" y="33"/>
                </a:cubicBezTo>
                <a:cubicBezTo>
                  <a:pt x="15" y="32"/>
                  <a:pt x="16" y="32"/>
                  <a:pt x="16" y="33"/>
                </a:cubicBezTo>
                <a:cubicBezTo>
                  <a:pt x="17" y="33"/>
                  <a:pt x="17" y="33"/>
                  <a:pt x="17" y="34"/>
                </a:cubicBezTo>
                <a:cubicBezTo>
                  <a:pt x="18" y="34"/>
                  <a:pt x="18" y="34"/>
                  <a:pt x="18" y="34"/>
                </a:cubicBezTo>
                <a:cubicBezTo>
                  <a:pt x="18" y="34"/>
                  <a:pt x="18" y="35"/>
                  <a:pt x="19" y="35"/>
                </a:cubicBezTo>
                <a:cubicBezTo>
                  <a:pt x="19" y="35"/>
                  <a:pt x="19" y="35"/>
                  <a:pt x="19" y="35"/>
                </a:cubicBezTo>
                <a:cubicBezTo>
                  <a:pt x="19" y="35"/>
                  <a:pt x="19" y="34"/>
                  <a:pt x="19" y="34"/>
                </a:cubicBezTo>
                <a:cubicBezTo>
                  <a:pt x="19" y="34"/>
                  <a:pt x="19" y="34"/>
                  <a:pt x="19" y="34"/>
                </a:cubicBezTo>
                <a:cubicBezTo>
                  <a:pt x="19" y="34"/>
                  <a:pt x="19" y="34"/>
                  <a:pt x="19" y="33"/>
                </a:cubicBezTo>
                <a:cubicBezTo>
                  <a:pt x="19" y="33"/>
                  <a:pt x="19" y="33"/>
                  <a:pt x="19" y="33"/>
                </a:cubicBezTo>
                <a:cubicBezTo>
                  <a:pt x="19" y="32"/>
                  <a:pt x="19" y="31"/>
                  <a:pt x="20" y="31"/>
                </a:cubicBezTo>
                <a:cubicBezTo>
                  <a:pt x="20" y="30"/>
                  <a:pt x="20" y="30"/>
                  <a:pt x="20" y="30"/>
                </a:cubicBezTo>
                <a:cubicBezTo>
                  <a:pt x="20" y="30"/>
                  <a:pt x="21" y="29"/>
                  <a:pt x="22" y="29"/>
                </a:cubicBezTo>
                <a:cubicBezTo>
                  <a:pt x="23" y="29"/>
                  <a:pt x="24" y="29"/>
                  <a:pt x="24" y="29"/>
                </a:cubicBezTo>
                <a:cubicBezTo>
                  <a:pt x="25" y="29"/>
                  <a:pt x="25" y="30"/>
                  <a:pt x="25" y="30"/>
                </a:cubicBezTo>
                <a:cubicBezTo>
                  <a:pt x="26" y="30"/>
                  <a:pt x="26" y="30"/>
                  <a:pt x="27" y="30"/>
                </a:cubicBezTo>
                <a:cubicBezTo>
                  <a:pt x="27" y="30"/>
                  <a:pt x="27" y="30"/>
                  <a:pt x="27" y="30"/>
                </a:cubicBezTo>
                <a:cubicBezTo>
                  <a:pt x="27" y="30"/>
                  <a:pt x="27" y="30"/>
                  <a:pt x="27" y="30"/>
                </a:cubicBezTo>
                <a:cubicBezTo>
                  <a:pt x="27" y="30"/>
                  <a:pt x="27" y="30"/>
                  <a:pt x="27" y="30"/>
                </a:cubicBezTo>
                <a:cubicBezTo>
                  <a:pt x="27" y="29"/>
                  <a:pt x="27" y="29"/>
                  <a:pt x="27" y="29"/>
                </a:cubicBezTo>
                <a:cubicBezTo>
                  <a:pt x="27" y="29"/>
                  <a:pt x="27" y="29"/>
                  <a:pt x="27" y="29"/>
                </a:cubicBezTo>
                <a:cubicBezTo>
                  <a:pt x="27" y="29"/>
                  <a:pt x="27" y="29"/>
                  <a:pt x="27" y="29"/>
                </a:cubicBezTo>
                <a:cubicBezTo>
                  <a:pt x="27" y="28"/>
                  <a:pt x="26" y="28"/>
                  <a:pt x="26" y="27"/>
                </a:cubicBezTo>
                <a:cubicBezTo>
                  <a:pt x="26" y="27"/>
                  <a:pt x="26" y="26"/>
                  <a:pt x="27" y="25"/>
                </a:cubicBezTo>
                <a:cubicBezTo>
                  <a:pt x="28" y="25"/>
                  <a:pt x="28" y="24"/>
                  <a:pt x="29" y="24"/>
                </a:cubicBezTo>
                <a:cubicBezTo>
                  <a:pt x="29" y="24"/>
                  <a:pt x="30" y="23"/>
                  <a:pt x="30" y="23"/>
                </a:cubicBezTo>
                <a:cubicBezTo>
                  <a:pt x="31" y="23"/>
                  <a:pt x="31" y="23"/>
                  <a:pt x="31" y="23"/>
                </a:cubicBezTo>
                <a:cubicBezTo>
                  <a:pt x="30" y="22"/>
                  <a:pt x="30" y="22"/>
                  <a:pt x="30" y="22"/>
                </a:cubicBezTo>
                <a:cubicBezTo>
                  <a:pt x="31" y="21"/>
                  <a:pt x="32" y="20"/>
                  <a:pt x="33" y="20"/>
                </a:cubicBezTo>
                <a:cubicBezTo>
                  <a:pt x="34" y="19"/>
                  <a:pt x="34" y="19"/>
                  <a:pt x="35" y="19"/>
                </a:cubicBezTo>
                <a:cubicBezTo>
                  <a:pt x="36" y="19"/>
                  <a:pt x="36" y="19"/>
                  <a:pt x="36" y="19"/>
                </a:cubicBezTo>
                <a:cubicBezTo>
                  <a:pt x="37" y="19"/>
                  <a:pt x="37" y="19"/>
                  <a:pt x="37" y="19"/>
                </a:cubicBezTo>
                <a:cubicBezTo>
                  <a:pt x="37" y="19"/>
                  <a:pt x="38" y="20"/>
                  <a:pt x="38" y="20"/>
                </a:cubicBezTo>
                <a:cubicBezTo>
                  <a:pt x="38" y="20"/>
                  <a:pt x="38" y="20"/>
                  <a:pt x="39" y="21"/>
                </a:cubicBezTo>
                <a:cubicBezTo>
                  <a:pt x="40" y="19"/>
                  <a:pt x="40" y="19"/>
                  <a:pt x="40" y="19"/>
                </a:cubicBezTo>
                <a:cubicBezTo>
                  <a:pt x="40" y="20"/>
                  <a:pt x="40" y="20"/>
                  <a:pt x="40" y="20"/>
                </a:cubicBezTo>
                <a:cubicBezTo>
                  <a:pt x="40" y="20"/>
                  <a:pt x="40" y="20"/>
                  <a:pt x="40" y="20"/>
                </a:cubicBezTo>
                <a:cubicBezTo>
                  <a:pt x="39" y="21"/>
                  <a:pt x="39" y="21"/>
                  <a:pt x="39" y="21"/>
                </a:cubicBezTo>
                <a:cubicBezTo>
                  <a:pt x="40" y="22"/>
                  <a:pt x="40" y="22"/>
                  <a:pt x="40" y="22"/>
                </a:cubicBezTo>
                <a:cubicBezTo>
                  <a:pt x="40" y="22"/>
                  <a:pt x="40" y="22"/>
                  <a:pt x="40" y="23"/>
                </a:cubicBezTo>
                <a:cubicBezTo>
                  <a:pt x="40" y="23"/>
                  <a:pt x="41" y="24"/>
                  <a:pt x="41" y="25"/>
                </a:cubicBezTo>
                <a:cubicBezTo>
                  <a:pt x="41" y="25"/>
                  <a:pt x="42" y="25"/>
                  <a:pt x="42" y="25"/>
                </a:cubicBezTo>
                <a:cubicBezTo>
                  <a:pt x="43" y="26"/>
                  <a:pt x="43" y="26"/>
                  <a:pt x="43" y="27"/>
                </a:cubicBezTo>
                <a:cubicBezTo>
                  <a:pt x="43" y="28"/>
                  <a:pt x="43" y="29"/>
                  <a:pt x="43" y="30"/>
                </a:cubicBezTo>
                <a:cubicBezTo>
                  <a:pt x="43" y="32"/>
                  <a:pt x="43" y="33"/>
                  <a:pt x="42" y="34"/>
                </a:cubicBezTo>
                <a:cubicBezTo>
                  <a:pt x="45" y="35"/>
                  <a:pt x="45" y="35"/>
                  <a:pt x="45" y="35"/>
                </a:cubicBezTo>
                <a:cubicBezTo>
                  <a:pt x="42" y="35"/>
                  <a:pt x="42" y="35"/>
                  <a:pt x="42" y="35"/>
                </a:cubicBezTo>
                <a:cubicBezTo>
                  <a:pt x="42" y="35"/>
                  <a:pt x="42" y="35"/>
                  <a:pt x="42" y="35"/>
                </a:cubicBezTo>
                <a:cubicBezTo>
                  <a:pt x="42" y="36"/>
                  <a:pt x="42" y="36"/>
                  <a:pt x="42" y="36"/>
                </a:cubicBezTo>
                <a:cubicBezTo>
                  <a:pt x="42" y="36"/>
                  <a:pt x="42" y="37"/>
                  <a:pt x="42" y="37"/>
                </a:cubicBezTo>
                <a:cubicBezTo>
                  <a:pt x="42" y="37"/>
                  <a:pt x="42" y="37"/>
                  <a:pt x="42" y="38"/>
                </a:cubicBezTo>
                <a:cubicBezTo>
                  <a:pt x="42" y="38"/>
                  <a:pt x="42" y="38"/>
                  <a:pt x="43" y="39"/>
                </a:cubicBezTo>
                <a:cubicBezTo>
                  <a:pt x="43" y="39"/>
                  <a:pt x="43" y="39"/>
                  <a:pt x="43" y="39"/>
                </a:cubicBezTo>
                <a:cubicBezTo>
                  <a:pt x="43" y="39"/>
                  <a:pt x="43" y="39"/>
                  <a:pt x="43" y="40"/>
                </a:cubicBezTo>
                <a:cubicBezTo>
                  <a:pt x="48" y="38"/>
                  <a:pt x="48" y="38"/>
                  <a:pt x="48" y="38"/>
                </a:cubicBezTo>
                <a:cubicBezTo>
                  <a:pt x="48" y="38"/>
                  <a:pt x="48" y="38"/>
                  <a:pt x="48" y="38"/>
                </a:cubicBezTo>
                <a:cubicBezTo>
                  <a:pt x="49" y="37"/>
                  <a:pt x="49" y="37"/>
                  <a:pt x="49" y="37"/>
                </a:cubicBezTo>
                <a:cubicBezTo>
                  <a:pt x="51" y="37"/>
                  <a:pt x="52" y="36"/>
                  <a:pt x="53" y="36"/>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95" name="Freeform 3152">
            <a:extLst>
              <a:ext uri="{FF2B5EF4-FFF2-40B4-BE49-F238E27FC236}">
                <a16:creationId xmlns:a16="http://schemas.microsoft.com/office/drawing/2014/main" id="{F0C0C07C-F795-48F7-B19C-FAE794514060}"/>
              </a:ext>
            </a:extLst>
          </p:cNvPr>
          <p:cNvSpPr>
            <a:spLocks/>
          </p:cNvSpPr>
          <p:nvPr/>
        </p:nvSpPr>
        <p:spPr bwMode="auto">
          <a:xfrm>
            <a:off x="4170058" y="3138278"/>
            <a:ext cx="15362" cy="12465"/>
          </a:xfrm>
          <a:custGeom>
            <a:avLst/>
            <a:gdLst>
              <a:gd name="T0" fmla="*/ 8 w 13"/>
              <a:gd name="T1" fmla="*/ 3 h 9"/>
              <a:gd name="T2" fmla="*/ 8 w 13"/>
              <a:gd name="T3" fmla="*/ 3 h 9"/>
              <a:gd name="T4" fmla="*/ 7 w 13"/>
              <a:gd name="T5" fmla="*/ 3 h 9"/>
              <a:gd name="T6" fmla="*/ 6 w 13"/>
              <a:gd name="T7" fmla="*/ 3 h 9"/>
              <a:gd name="T8" fmla="*/ 3 w 13"/>
              <a:gd name="T9" fmla="*/ 4 h 9"/>
              <a:gd name="T10" fmla="*/ 2 w 13"/>
              <a:gd name="T11" fmla="*/ 4 h 9"/>
              <a:gd name="T12" fmla="*/ 2 w 13"/>
              <a:gd name="T13" fmla="*/ 4 h 9"/>
              <a:gd name="T14" fmla="*/ 1 w 13"/>
              <a:gd name="T15" fmla="*/ 3 h 9"/>
              <a:gd name="T16" fmla="*/ 1 w 13"/>
              <a:gd name="T17" fmla="*/ 3 h 9"/>
              <a:gd name="T18" fmla="*/ 0 w 13"/>
              <a:gd name="T19" fmla="*/ 4 h 9"/>
              <a:gd name="T20" fmla="*/ 1 w 13"/>
              <a:gd name="T21" fmla="*/ 7 h 9"/>
              <a:gd name="T22" fmla="*/ 1 w 13"/>
              <a:gd name="T23" fmla="*/ 7 h 9"/>
              <a:gd name="T24" fmla="*/ 1 w 13"/>
              <a:gd name="T25" fmla="*/ 8 h 9"/>
              <a:gd name="T26" fmla="*/ 1 w 13"/>
              <a:gd name="T27" fmla="*/ 9 h 9"/>
              <a:gd name="T28" fmla="*/ 2 w 13"/>
              <a:gd name="T29" fmla="*/ 8 h 9"/>
              <a:gd name="T30" fmla="*/ 3 w 13"/>
              <a:gd name="T31" fmla="*/ 8 h 9"/>
              <a:gd name="T32" fmla="*/ 3 w 13"/>
              <a:gd name="T33" fmla="*/ 8 h 9"/>
              <a:gd name="T34" fmla="*/ 6 w 13"/>
              <a:gd name="T35" fmla="*/ 7 h 9"/>
              <a:gd name="T36" fmla="*/ 13 w 13"/>
              <a:gd name="T37" fmla="*/ 9 h 9"/>
              <a:gd name="T38" fmla="*/ 13 w 13"/>
              <a:gd name="T39" fmla="*/ 9 h 9"/>
              <a:gd name="T40" fmla="*/ 13 w 13"/>
              <a:gd name="T41" fmla="*/ 9 h 9"/>
              <a:gd name="T42" fmla="*/ 13 w 13"/>
              <a:gd name="T43" fmla="*/ 9 h 9"/>
              <a:gd name="T44" fmla="*/ 10 w 13"/>
              <a:gd name="T45" fmla="*/ 7 h 9"/>
              <a:gd name="T46" fmla="*/ 8 w 13"/>
              <a:gd name="T47" fmla="*/ 6 h 9"/>
              <a:gd name="T48" fmla="*/ 10 w 13"/>
              <a:gd name="T49" fmla="*/ 5 h 9"/>
              <a:gd name="T50" fmla="*/ 13 w 13"/>
              <a:gd name="T51" fmla="*/ 2 h 9"/>
              <a:gd name="T52" fmla="*/ 11 w 13"/>
              <a:gd name="T53" fmla="*/ 0 h 9"/>
              <a:gd name="T54" fmla="*/ 11 w 13"/>
              <a:gd name="T55" fmla="*/ 0 h 9"/>
              <a:gd name="T56" fmla="*/ 11 w 13"/>
              <a:gd name="T57" fmla="*/ 0 h 9"/>
              <a:gd name="T58" fmla="*/ 11 w 13"/>
              <a:gd name="T59" fmla="*/ 0 h 9"/>
              <a:gd name="T60" fmla="*/ 10 w 13"/>
              <a:gd name="T61" fmla="*/ 1 h 9"/>
              <a:gd name="T62" fmla="*/ 10 w 13"/>
              <a:gd name="T63" fmla="*/ 1 h 9"/>
              <a:gd name="T64" fmla="*/ 8 w 13"/>
              <a:gd name="T6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 h="9">
                <a:moveTo>
                  <a:pt x="8" y="3"/>
                </a:moveTo>
                <a:cubicBezTo>
                  <a:pt x="8" y="3"/>
                  <a:pt x="8" y="3"/>
                  <a:pt x="8" y="3"/>
                </a:cubicBezTo>
                <a:cubicBezTo>
                  <a:pt x="7" y="3"/>
                  <a:pt x="7" y="3"/>
                  <a:pt x="7" y="3"/>
                </a:cubicBezTo>
                <a:cubicBezTo>
                  <a:pt x="7" y="3"/>
                  <a:pt x="6" y="3"/>
                  <a:pt x="6" y="3"/>
                </a:cubicBezTo>
                <a:cubicBezTo>
                  <a:pt x="5" y="4"/>
                  <a:pt x="4" y="4"/>
                  <a:pt x="3" y="4"/>
                </a:cubicBezTo>
                <a:cubicBezTo>
                  <a:pt x="2" y="4"/>
                  <a:pt x="2" y="4"/>
                  <a:pt x="2" y="4"/>
                </a:cubicBezTo>
                <a:cubicBezTo>
                  <a:pt x="2" y="4"/>
                  <a:pt x="2" y="4"/>
                  <a:pt x="2" y="4"/>
                </a:cubicBezTo>
                <a:cubicBezTo>
                  <a:pt x="2" y="3"/>
                  <a:pt x="1" y="3"/>
                  <a:pt x="1" y="3"/>
                </a:cubicBezTo>
                <a:cubicBezTo>
                  <a:pt x="1" y="3"/>
                  <a:pt x="1" y="3"/>
                  <a:pt x="1" y="3"/>
                </a:cubicBezTo>
                <a:cubicBezTo>
                  <a:pt x="0" y="4"/>
                  <a:pt x="0" y="4"/>
                  <a:pt x="0" y="4"/>
                </a:cubicBezTo>
                <a:cubicBezTo>
                  <a:pt x="0" y="5"/>
                  <a:pt x="0" y="6"/>
                  <a:pt x="1" y="7"/>
                </a:cubicBezTo>
                <a:cubicBezTo>
                  <a:pt x="1" y="7"/>
                  <a:pt x="1" y="7"/>
                  <a:pt x="1" y="7"/>
                </a:cubicBezTo>
                <a:cubicBezTo>
                  <a:pt x="1" y="7"/>
                  <a:pt x="1" y="8"/>
                  <a:pt x="1" y="8"/>
                </a:cubicBezTo>
                <a:cubicBezTo>
                  <a:pt x="1" y="9"/>
                  <a:pt x="1" y="9"/>
                  <a:pt x="1" y="9"/>
                </a:cubicBezTo>
                <a:cubicBezTo>
                  <a:pt x="1" y="8"/>
                  <a:pt x="2" y="8"/>
                  <a:pt x="2" y="8"/>
                </a:cubicBezTo>
                <a:cubicBezTo>
                  <a:pt x="3" y="8"/>
                  <a:pt x="3" y="8"/>
                  <a:pt x="3" y="8"/>
                </a:cubicBezTo>
                <a:cubicBezTo>
                  <a:pt x="3" y="8"/>
                  <a:pt x="3" y="8"/>
                  <a:pt x="3" y="8"/>
                </a:cubicBezTo>
                <a:cubicBezTo>
                  <a:pt x="4" y="7"/>
                  <a:pt x="5" y="7"/>
                  <a:pt x="6" y="7"/>
                </a:cubicBezTo>
                <a:cubicBezTo>
                  <a:pt x="8" y="7"/>
                  <a:pt x="11" y="8"/>
                  <a:pt x="13" y="9"/>
                </a:cubicBezTo>
                <a:cubicBezTo>
                  <a:pt x="13" y="9"/>
                  <a:pt x="13" y="9"/>
                  <a:pt x="13" y="9"/>
                </a:cubicBezTo>
                <a:cubicBezTo>
                  <a:pt x="13" y="9"/>
                  <a:pt x="13" y="9"/>
                  <a:pt x="13" y="9"/>
                </a:cubicBezTo>
                <a:cubicBezTo>
                  <a:pt x="13" y="9"/>
                  <a:pt x="13" y="9"/>
                  <a:pt x="13" y="9"/>
                </a:cubicBezTo>
                <a:cubicBezTo>
                  <a:pt x="12" y="8"/>
                  <a:pt x="11" y="8"/>
                  <a:pt x="10" y="7"/>
                </a:cubicBezTo>
                <a:cubicBezTo>
                  <a:pt x="8" y="6"/>
                  <a:pt x="8" y="6"/>
                  <a:pt x="8" y="6"/>
                </a:cubicBezTo>
                <a:cubicBezTo>
                  <a:pt x="10" y="5"/>
                  <a:pt x="10" y="5"/>
                  <a:pt x="10" y="5"/>
                </a:cubicBezTo>
                <a:cubicBezTo>
                  <a:pt x="11" y="4"/>
                  <a:pt x="12" y="3"/>
                  <a:pt x="13" y="2"/>
                </a:cubicBezTo>
                <a:cubicBezTo>
                  <a:pt x="11" y="0"/>
                  <a:pt x="11" y="0"/>
                  <a:pt x="11" y="0"/>
                </a:cubicBezTo>
                <a:cubicBezTo>
                  <a:pt x="11" y="0"/>
                  <a:pt x="11" y="0"/>
                  <a:pt x="11" y="0"/>
                </a:cubicBezTo>
                <a:cubicBezTo>
                  <a:pt x="11" y="0"/>
                  <a:pt x="11" y="0"/>
                  <a:pt x="11" y="0"/>
                </a:cubicBezTo>
                <a:cubicBezTo>
                  <a:pt x="11" y="0"/>
                  <a:pt x="11" y="0"/>
                  <a:pt x="11" y="0"/>
                </a:cubicBezTo>
                <a:cubicBezTo>
                  <a:pt x="10" y="1"/>
                  <a:pt x="10" y="1"/>
                  <a:pt x="10" y="1"/>
                </a:cubicBezTo>
                <a:cubicBezTo>
                  <a:pt x="10" y="1"/>
                  <a:pt x="10" y="1"/>
                  <a:pt x="10" y="1"/>
                </a:cubicBezTo>
                <a:cubicBezTo>
                  <a:pt x="9" y="2"/>
                  <a:pt x="9" y="2"/>
                  <a:pt x="8" y="3"/>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96" name="Freeform 3153">
            <a:extLst>
              <a:ext uri="{FF2B5EF4-FFF2-40B4-BE49-F238E27FC236}">
                <a16:creationId xmlns:a16="http://schemas.microsoft.com/office/drawing/2014/main" id="{1A7E8207-1599-44D9-8442-8757FEDAF94A}"/>
              </a:ext>
            </a:extLst>
          </p:cNvPr>
          <p:cNvSpPr>
            <a:spLocks/>
          </p:cNvSpPr>
          <p:nvPr/>
        </p:nvSpPr>
        <p:spPr bwMode="auto">
          <a:xfrm>
            <a:off x="4299895" y="3311014"/>
            <a:ext cx="94156" cy="58766"/>
          </a:xfrm>
          <a:custGeom>
            <a:avLst/>
            <a:gdLst>
              <a:gd name="T0" fmla="*/ 80 w 80"/>
              <a:gd name="T1" fmla="*/ 41 h 42"/>
              <a:gd name="T2" fmla="*/ 79 w 80"/>
              <a:gd name="T3" fmla="*/ 37 h 42"/>
              <a:gd name="T4" fmla="*/ 79 w 80"/>
              <a:gd name="T5" fmla="*/ 29 h 42"/>
              <a:gd name="T6" fmla="*/ 67 w 80"/>
              <a:gd name="T7" fmla="*/ 27 h 42"/>
              <a:gd name="T8" fmla="*/ 64 w 80"/>
              <a:gd name="T9" fmla="*/ 27 h 42"/>
              <a:gd name="T10" fmla="*/ 60 w 80"/>
              <a:gd name="T11" fmla="*/ 29 h 42"/>
              <a:gd name="T12" fmla="*/ 56 w 80"/>
              <a:gd name="T13" fmla="*/ 24 h 42"/>
              <a:gd name="T14" fmla="*/ 54 w 80"/>
              <a:gd name="T15" fmla="*/ 23 h 42"/>
              <a:gd name="T16" fmla="*/ 49 w 80"/>
              <a:gd name="T17" fmla="*/ 23 h 42"/>
              <a:gd name="T18" fmla="*/ 44 w 80"/>
              <a:gd name="T19" fmla="*/ 19 h 42"/>
              <a:gd name="T20" fmla="*/ 42 w 80"/>
              <a:gd name="T21" fmla="*/ 18 h 42"/>
              <a:gd name="T22" fmla="*/ 39 w 80"/>
              <a:gd name="T23" fmla="*/ 13 h 42"/>
              <a:gd name="T24" fmla="*/ 36 w 80"/>
              <a:gd name="T25" fmla="*/ 14 h 42"/>
              <a:gd name="T26" fmla="*/ 33 w 80"/>
              <a:gd name="T27" fmla="*/ 12 h 42"/>
              <a:gd name="T28" fmla="*/ 31 w 80"/>
              <a:gd name="T29" fmla="*/ 10 h 42"/>
              <a:gd name="T30" fmla="*/ 30 w 80"/>
              <a:gd name="T31" fmla="*/ 9 h 42"/>
              <a:gd name="T32" fmla="*/ 26 w 80"/>
              <a:gd name="T33" fmla="*/ 8 h 42"/>
              <a:gd name="T34" fmla="*/ 22 w 80"/>
              <a:gd name="T35" fmla="*/ 5 h 42"/>
              <a:gd name="T36" fmla="*/ 18 w 80"/>
              <a:gd name="T37" fmla="*/ 2 h 42"/>
              <a:gd name="T38" fmla="*/ 14 w 80"/>
              <a:gd name="T39" fmla="*/ 0 h 42"/>
              <a:gd name="T40" fmla="*/ 14 w 80"/>
              <a:gd name="T41" fmla="*/ 1 h 42"/>
              <a:gd name="T42" fmla="*/ 11 w 80"/>
              <a:gd name="T43" fmla="*/ 4 h 42"/>
              <a:gd name="T44" fmla="*/ 3 w 80"/>
              <a:gd name="T45" fmla="*/ 8 h 42"/>
              <a:gd name="T46" fmla="*/ 2 w 80"/>
              <a:gd name="T47" fmla="*/ 10 h 42"/>
              <a:gd name="T48" fmla="*/ 1 w 80"/>
              <a:gd name="T49" fmla="*/ 14 h 42"/>
              <a:gd name="T50" fmla="*/ 2 w 80"/>
              <a:gd name="T51" fmla="*/ 18 h 42"/>
              <a:gd name="T52" fmla="*/ 7 w 80"/>
              <a:gd name="T53" fmla="*/ 19 h 42"/>
              <a:gd name="T54" fmla="*/ 12 w 80"/>
              <a:gd name="T55" fmla="*/ 22 h 42"/>
              <a:gd name="T56" fmla="*/ 15 w 80"/>
              <a:gd name="T57" fmla="*/ 24 h 42"/>
              <a:gd name="T58" fmla="*/ 17 w 80"/>
              <a:gd name="T59" fmla="*/ 26 h 42"/>
              <a:gd name="T60" fmla="*/ 19 w 80"/>
              <a:gd name="T61" fmla="*/ 26 h 42"/>
              <a:gd name="T62" fmla="*/ 26 w 80"/>
              <a:gd name="T63" fmla="*/ 28 h 42"/>
              <a:gd name="T64" fmla="*/ 27 w 80"/>
              <a:gd name="T65" fmla="*/ 30 h 42"/>
              <a:gd name="T66" fmla="*/ 33 w 80"/>
              <a:gd name="T67" fmla="*/ 31 h 42"/>
              <a:gd name="T68" fmla="*/ 34 w 80"/>
              <a:gd name="T69" fmla="*/ 30 h 42"/>
              <a:gd name="T70" fmla="*/ 37 w 80"/>
              <a:gd name="T71" fmla="*/ 31 h 42"/>
              <a:gd name="T72" fmla="*/ 39 w 80"/>
              <a:gd name="T73" fmla="*/ 30 h 42"/>
              <a:gd name="T74" fmla="*/ 42 w 80"/>
              <a:gd name="T75" fmla="*/ 31 h 42"/>
              <a:gd name="T76" fmla="*/ 47 w 80"/>
              <a:gd name="T77" fmla="*/ 35 h 42"/>
              <a:gd name="T78" fmla="*/ 48 w 80"/>
              <a:gd name="T79" fmla="*/ 36 h 42"/>
              <a:gd name="T80" fmla="*/ 52 w 80"/>
              <a:gd name="T81" fmla="*/ 37 h 42"/>
              <a:gd name="T82" fmla="*/ 53 w 80"/>
              <a:gd name="T83" fmla="*/ 38 h 42"/>
              <a:gd name="T84" fmla="*/ 55 w 80"/>
              <a:gd name="T85" fmla="*/ 37 h 42"/>
              <a:gd name="T86" fmla="*/ 57 w 80"/>
              <a:gd name="T87" fmla="*/ 38 h 42"/>
              <a:gd name="T88" fmla="*/ 58 w 80"/>
              <a:gd name="T89" fmla="*/ 39 h 42"/>
              <a:gd name="T90" fmla="*/ 61 w 80"/>
              <a:gd name="T91" fmla="*/ 40 h 42"/>
              <a:gd name="T92" fmla="*/ 65 w 80"/>
              <a:gd name="T93" fmla="*/ 41 h 42"/>
              <a:gd name="T94" fmla="*/ 70 w 80"/>
              <a:gd name="T95" fmla="*/ 40 h 42"/>
              <a:gd name="T96" fmla="*/ 71 w 80"/>
              <a:gd name="T97" fmla="*/ 41 h 42"/>
              <a:gd name="T98" fmla="*/ 72 w 80"/>
              <a:gd name="T99" fmla="*/ 42 h 42"/>
              <a:gd name="T100" fmla="*/ 76 w 80"/>
              <a:gd name="T101" fmla="*/ 42 h 42"/>
              <a:gd name="T102" fmla="*/ 79 w 80"/>
              <a:gd name="T10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42">
                <a:moveTo>
                  <a:pt x="79" y="42"/>
                </a:moveTo>
                <a:cubicBezTo>
                  <a:pt x="79" y="42"/>
                  <a:pt x="79" y="42"/>
                  <a:pt x="79" y="42"/>
                </a:cubicBezTo>
                <a:cubicBezTo>
                  <a:pt x="79" y="42"/>
                  <a:pt x="79" y="42"/>
                  <a:pt x="79" y="42"/>
                </a:cubicBezTo>
                <a:cubicBezTo>
                  <a:pt x="80" y="41"/>
                  <a:pt x="80" y="41"/>
                  <a:pt x="80" y="41"/>
                </a:cubicBezTo>
                <a:cubicBezTo>
                  <a:pt x="80" y="41"/>
                  <a:pt x="80" y="40"/>
                  <a:pt x="80" y="40"/>
                </a:cubicBezTo>
                <a:cubicBezTo>
                  <a:pt x="80" y="39"/>
                  <a:pt x="80" y="39"/>
                  <a:pt x="80" y="39"/>
                </a:cubicBezTo>
                <a:cubicBezTo>
                  <a:pt x="80" y="39"/>
                  <a:pt x="80" y="39"/>
                  <a:pt x="80" y="39"/>
                </a:cubicBezTo>
                <a:cubicBezTo>
                  <a:pt x="80" y="38"/>
                  <a:pt x="79" y="38"/>
                  <a:pt x="79" y="37"/>
                </a:cubicBezTo>
                <a:cubicBezTo>
                  <a:pt x="79" y="37"/>
                  <a:pt x="79" y="37"/>
                  <a:pt x="79" y="37"/>
                </a:cubicBezTo>
                <a:cubicBezTo>
                  <a:pt x="79" y="37"/>
                  <a:pt x="79" y="36"/>
                  <a:pt x="79" y="36"/>
                </a:cubicBezTo>
                <a:cubicBezTo>
                  <a:pt x="78" y="35"/>
                  <a:pt x="78" y="34"/>
                  <a:pt x="79" y="33"/>
                </a:cubicBezTo>
                <a:cubicBezTo>
                  <a:pt x="79" y="32"/>
                  <a:pt x="79" y="30"/>
                  <a:pt x="79" y="29"/>
                </a:cubicBezTo>
                <a:cubicBezTo>
                  <a:pt x="80" y="29"/>
                  <a:pt x="80" y="29"/>
                  <a:pt x="80" y="29"/>
                </a:cubicBezTo>
                <a:cubicBezTo>
                  <a:pt x="77" y="29"/>
                  <a:pt x="76" y="29"/>
                  <a:pt x="74" y="28"/>
                </a:cubicBezTo>
                <a:cubicBezTo>
                  <a:pt x="72" y="28"/>
                  <a:pt x="71" y="28"/>
                  <a:pt x="70" y="28"/>
                </a:cubicBezTo>
                <a:cubicBezTo>
                  <a:pt x="69" y="27"/>
                  <a:pt x="68" y="27"/>
                  <a:pt x="67" y="27"/>
                </a:cubicBezTo>
                <a:cubicBezTo>
                  <a:pt x="67" y="26"/>
                  <a:pt x="67" y="26"/>
                  <a:pt x="67" y="26"/>
                </a:cubicBezTo>
                <a:cubicBezTo>
                  <a:pt x="67" y="26"/>
                  <a:pt x="67" y="26"/>
                  <a:pt x="66" y="26"/>
                </a:cubicBezTo>
                <a:cubicBezTo>
                  <a:pt x="66" y="26"/>
                  <a:pt x="66" y="26"/>
                  <a:pt x="66" y="26"/>
                </a:cubicBezTo>
                <a:cubicBezTo>
                  <a:pt x="66" y="27"/>
                  <a:pt x="65" y="28"/>
                  <a:pt x="64" y="27"/>
                </a:cubicBezTo>
                <a:cubicBezTo>
                  <a:pt x="63" y="27"/>
                  <a:pt x="63" y="27"/>
                  <a:pt x="63" y="27"/>
                </a:cubicBezTo>
                <a:cubicBezTo>
                  <a:pt x="63" y="27"/>
                  <a:pt x="62" y="27"/>
                  <a:pt x="61" y="27"/>
                </a:cubicBezTo>
                <a:cubicBezTo>
                  <a:pt x="61" y="27"/>
                  <a:pt x="61" y="27"/>
                  <a:pt x="61" y="27"/>
                </a:cubicBezTo>
                <a:cubicBezTo>
                  <a:pt x="60" y="29"/>
                  <a:pt x="60" y="29"/>
                  <a:pt x="60" y="29"/>
                </a:cubicBezTo>
                <a:cubicBezTo>
                  <a:pt x="58" y="27"/>
                  <a:pt x="58" y="27"/>
                  <a:pt x="58" y="27"/>
                </a:cubicBezTo>
                <a:cubicBezTo>
                  <a:pt x="58" y="26"/>
                  <a:pt x="57" y="25"/>
                  <a:pt x="56" y="24"/>
                </a:cubicBezTo>
                <a:cubicBezTo>
                  <a:pt x="56" y="24"/>
                  <a:pt x="56" y="24"/>
                  <a:pt x="56" y="24"/>
                </a:cubicBezTo>
                <a:cubicBezTo>
                  <a:pt x="56" y="24"/>
                  <a:pt x="56" y="24"/>
                  <a:pt x="56" y="24"/>
                </a:cubicBezTo>
                <a:cubicBezTo>
                  <a:pt x="56" y="24"/>
                  <a:pt x="56" y="24"/>
                  <a:pt x="56" y="24"/>
                </a:cubicBezTo>
                <a:cubicBezTo>
                  <a:pt x="56" y="24"/>
                  <a:pt x="55" y="23"/>
                  <a:pt x="55" y="23"/>
                </a:cubicBezTo>
                <a:cubicBezTo>
                  <a:pt x="55" y="23"/>
                  <a:pt x="55" y="23"/>
                  <a:pt x="55" y="23"/>
                </a:cubicBezTo>
                <a:cubicBezTo>
                  <a:pt x="54" y="23"/>
                  <a:pt x="54" y="23"/>
                  <a:pt x="54" y="23"/>
                </a:cubicBezTo>
                <a:cubicBezTo>
                  <a:pt x="53" y="23"/>
                  <a:pt x="53" y="23"/>
                  <a:pt x="53" y="23"/>
                </a:cubicBezTo>
                <a:cubicBezTo>
                  <a:pt x="53" y="24"/>
                  <a:pt x="53" y="24"/>
                  <a:pt x="52" y="24"/>
                </a:cubicBezTo>
                <a:cubicBezTo>
                  <a:pt x="52" y="24"/>
                  <a:pt x="51" y="24"/>
                  <a:pt x="51" y="24"/>
                </a:cubicBezTo>
                <a:cubicBezTo>
                  <a:pt x="50" y="23"/>
                  <a:pt x="50" y="23"/>
                  <a:pt x="49" y="23"/>
                </a:cubicBezTo>
                <a:cubicBezTo>
                  <a:pt x="49" y="22"/>
                  <a:pt x="49" y="21"/>
                  <a:pt x="49" y="21"/>
                </a:cubicBezTo>
                <a:cubicBezTo>
                  <a:pt x="49" y="21"/>
                  <a:pt x="48" y="21"/>
                  <a:pt x="48" y="21"/>
                </a:cubicBezTo>
                <a:cubicBezTo>
                  <a:pt x="47" y="21"/>
                  <a:pt x="46" y="20"/>
                  <a:pt x="46" y="20"/>
                </a:cubicBezTo>
                <a:cubicBezTo>
                  <a:pt x="45" y="20"/>
                  <a:pt x="45" y="20"/>
                  <a:pt x="44" y="19"/>
                </a:cubicBezTo>
                <a:cubicBezTo>
                  <a:pt x="44" y="19"/>
                  <a:pt x="44" y="19"/>
                  <a:pt x="44" y="19"/>
                </a:cubicBezTo>
                <a:cubicBezTo>
                  <a:pt x="44" y="19"/>
                  <a:pt x="44" y="19"/>
                  <a:pt x="43" y="19"/>
                </a:cubicBezTo>
                <a:cubicBezTo>
                  <a:pt x="43" y="18"/>
                  <a:pt x="43" y="18"/>
                  <a:pt x="43" y="18"/>
                </a:cubicBezTo>
                <a:cubicBezTo>
                  <a:pt x="43" y="18"/>
                  <a:pt x="42" y="18"/>
                  <a:pt x="42" y="18"/>
                </a:cubicBezTo>
                <a:cubicBezTo>
                  <a:pt x="42" y="18"/>
                  <a:pt x="42" y="18"/>
                  <a:pt x="42" y="18"/>
                </a:cubicBezTo>
                <a:cubicBezTo>
                  <a:pt x="41" y="17"/>
                  <a:pt x="40" y="16"/>
                  <a:pt x="40" y="15"/>
                </a:cubicBezTo>
                <a:cubicBezTo>
                  <a:pt x="40" y="14"/>
                  <a:pt x="40" y="14"/>
                  <a:pt x="40" y="14"/>
                </a:cubicBezTo>
                <a:cubicBezTo>
                  <a:pt x="40" y="14"/>
                  <a:pt x="39" y="14"/>
                  <a:pt x="39" y="13"/>
                </a:cubicBezTo>
                <a:cubicBezTo>
                  <a:pt x="39" y="13"/>
                  <a:pt x="39" y="13"/>
                  <a:pt x="39" y="13"/>
                </a:cubicBezTo>
                <a:cubicBezTo>
                  <a:pt x="39" y="13"/>
                  <a:pt x="38" y="14"/>
                  <a:pt x="37" y="14"/>
                </a:cubicBezTo>
                <a:cubicBezTo>
                  <a:pt x="36" y="14"/>
                  <a:pt x="36" y="14"/>
                  <a:pt x="36" y="14"/>
                </a:cubicBezTo>
                <a:cubicBezTo>
                  <a:pt x="36" y="14"/>
                  <a:pt x="36" y="14"/>
                  <a:pt x="36" y="14"/>
                </a:cubicBezTo>
                <a:cubicBezTo>
                  <a:pt x="34" y="14"/>
                  <a:pt x="34" y="13"/>
                  <a:pt x="33" y="12"/>
                </a:cubicBezTo>
                <a:cubicBezTo>
                  <a:pt x="33" y="12"/>
                  <a:pt x="33" y="12"/>
                  <a:pt x="33" y="12"/>
                </a:cubicBezTo>
                <a:cubicBezTo>
                  <a:pt x="33" y="12"/>
                  <a:pt x="33" y="12"/>
                  <a:pt x="33" y="12"/>
                </a:cubicBezTo>
                <a:cubicBezTo>
                  <a:pt x="33" y="12"/>
                  <a:pt x="33" y="12"/>
                  <a:pt x="33" y="12"/>
                </a:cubicBezTo>
                <a:cubicBezTo>
                  <a:pt x="32" y="11"/>
                  <a:pt x="32" y="11"/>
                  <a:pt x="31" y="10"/>
                </a:cubicBezTo>
                <a:cubicBezTo>
                  <a:pt x="31" y="10"/>
                  <a:pt x="31" y="10"/>
                  <a:pt x="31" y="10"/>
                </a:cubicBezTo>
                <a:cubicBezTo>
                  <a:pt x="31" y="10"/>
                  <a:pt x="31" y="10"/>
                  <a:pt x="31" y="10"/>
                </a:cubicBezTo>
                <a:cubicBezTo>
                  <a:pt x="31" y="10"/>
                  <a:pt x="31" y="10"/>
                  <a:pt x="31" y="10"/>
                </a:cubicBezTo>
                <a:cubicBezTo>
                  <a:pt x="31" y="10"/>
                  <a:pt x="31" y="9"/>
                  <a:pt x="31" y="9"/>
                </a:cubicBezTo>
                <a:cubicBezTo>
                  <a:pt x="30" y="9"/>
                  <a:pt x="30" y="9"/>
                  <a:pt x="30" y="9"/>
                </a:cubicBezTo>
                <a:cubicBezTo>
                  <a:pt x="30" y="12"/>
                  <a:pt x="30" y="12"/>
                  <a:pt x="30" y="12"/>
                </a:cubicBezTo>
                <a:cubicBezTo>
                  <a:pt x="30" y="9"/>
                  <a:pt x="30" y="9"/>
                  <a:pt x="30" y="9"/>
                </a:cubicBezTo>
                <a:cubicBezTo>
                  <a:pt x="29" y="9"/>
                  <a:pt x="29" y="9"/>
                  <a:pt x="29" y="9"/>
                </a:cubicBezTo>
                <a:cubicBezTo>
                  <a:pt x="29" y="9"/>
                  <a:pt x="29" y="9"/>
                  <a:pt x="29" y="9"/>
                </a:cubicBezTo>
                <a:cubicBezTo>
                  <a:pt x="29" y="9"/>
                  <a:pt x="29" y="9"/>
                  <a:pt x="29" y="9"/>
                </a:cubicBezTo>
                <a:cubicBezTo>
                  <a:pt x="28" y="9"/>
                  <a:pt x="27" y="8"/>
                  <a:pt x="26" y="8"/>
                </a:cubicBezTo>
                <a:cubicBezTo>
                  <a:pt x="25" y="7"/>
                  <a:pt x="25" y="7"/>
                  <a:pt x="25" y="7"/>
                </a:cubicBezTo>
                <a:cubicBezTo>
                  <a:pt x="25" y="7"/>
                  <a:pt x="24" y="6"/>
                  <a:pt x="24" y="6"/>
                </a:cubicBezTo>
                <a:cubicBezTo>
                  <a:pt x="24" y="6"/>
                  <a:pt x="23" y="5"/>
                  <a:pt x="23" y="5"/>
                </a:cubicBezTo>
                <a:cubicBezTo>
                  <a:pt x="22" y="5"/>
                  <a:pt x="22" y="5"/>
                  <a:pt x="22" y="5"/>
                </a:cubicBezTo>
                <a:cubicBezTo>
                  <a:pt x="22" y="5"/>
                  <a:pt x="22" y="5"/>
                  <a:pt x="21" y="5"/>
                </a:cubicBezTo>
                <a:cubicBezTo>
                  <a:pt x="21" y="4"/>
                  <a:pt x="20" y="4"/>
                  <a:pt x="19" y="3"/>
                </a:cubicBezTo>
                <a:cubicBezTo>
                  <a:pt x="19" y="3"/>
                  <a:pt x="19" y="3"/>
                  <a:pt x="19" y="3"/>
                </a:cubicBezTo>
                <a:cubicBezTo>
                  <a:pt x="19" y="3"/>
                  <a:pt x="19" y="2"/>
                  <a:pt x="18" y="2"/>
                </a:cubicBezTo>
                <a:cubicBezTo>
                  <a:pt x="18" y="1"/>
                  <a:pt x="18" y="1"/>
                  <a:pt x="18" y="1"/>
                </a:cubicBezTo>
                <a:cubicBezTo>
                  <a:pt x="18" y="1"/>
                  <a:pt x="17" y="0"/>
                  <a:pt x="15" y="0"/>
                </a:cubicBezTo>
                <a:cubicBezTo>
                  <a:pt x="15" y="0"/>
                  <a:pt x="15" y="0"/>
                  <a:pt x="15" y="0"/>
                </a:cubicBezTo>
                <a:cubicBezTo>
                  <a:pt x="15" y="0"/>
                  <a:pt x="14" y="0"/>
                  <a:pt x="14" y="0"/>
                </a:cubicBezTo>
                <a:cubicBezTo>
                  <a:pt x="14" y="0"/>
                  <a:pt x="14" y="0"/>
                  <a:pt x="14" y="0"/>
                </a:cubicBezTo>
                <a:cubicBezTo>
                  <a:pt x="14" y="0"/>
                  <a:pt x="14" y="0"/>
                  <a:pt x="14" y="0"/>
                </a:cubicBezTo>
                <a:cubicBezTo>
                  <a:pt x="14" y="0"/>
                  <a:pt x="14" y="0"/>
                  <a:pt x="14" y="0"/>
                </a:cubicBezTo>
                <a:cubicBezTo>
                  <a:pt x="14" y="1"/>
                  <a:pt x="14" y="1"/>
                  <a:pt x="14" y="1"/>
                </a:cubicBezTo>
                <a:cubicBezTo>
                  <a:pt x="14" y="1"/>
                  <a:pt x="13" y="1"/>
                  <a:pt x="13" y="1"/>
                </a:cubicBezTo>
                <a:cubicBezTo>
                  <a:pt x="13" y="1"/>
                  <a:pt x="13" y="2"/>
                  <a:pt x="12" y="3"/>
                </a:cubicBezTo>
                <a:cubicBezTo>
                  <a:pt x="12" y="4"/>
                  <a:pt x="12" y="4"/>
                  <a:pt x="12" y="4"/>
                </a:cubicBezTo>
                <a:cubicBezTo>
                  <a:pt x="11" y="4"/>
                  <a:pt x="11" y="4"/>
                  <a:pt x="11" y="4"/>
                </a:cubicBezTo>
                <a:cubicBezTo>
                  <a:pt x="10" y="4"/>
                  <a:pt x="9" y="4"/>
                  <a:pt x="9" y="4"/>
                </a:cubicBezTo>
                <a:cubicBezTo>
                  <a:pt x="8" y="4"/>
                  <a:pt x="8" y="4"/>
                  <a:pt x="8" y="4"/>
                </a:cubicBezTo>
                <a:cubicBezTo>
                  <a:pt x="8" y="4"/>
                  <a:pt x="8" y="4"/>
                  <a:pt x="8" y="3"/>
                </a:cubicBezTo>
                <a:cubicBezTo>
                  <a:pt x="3" y="8"/>
                  <a:pt x="3" y="8"/>
                  <a:pt x="3" y="8"/>
                </a:cubicBezTo>
                <a:cubicBezTo>
                  <a:pt x="3" y="9"/>
                  <a:pt x="3" y="9"/>
                  <a:pt x="3" y="9"/>
                </a:cubicBezTo>
                <a:cubicBezTo>
                  <a:pt x="3" y="9"/>
                  <a:pt x="3" y="9"/>
                  <a:pt x="3" y="9"/>
                </a:cubicBezTo>
                <a:cubicBezTo>
                  <a:pt x="2" y="10"/>
                  <a:pt x="2" y="10"/>
                  <a:pt x="2" y="10"/>
                </a:cubicBezTo>
                <a:cubicBezTo>
                  <a:pt x="2" y="10"/>
                  <a:pt x="2" y="10"/>
                  <a:pt x="2" y="10"/>
                </a:cubicBezTo>
                <a:cubicBezTo>
                  <a:pt x="2" y="10"/>
                  <a:pt x="2" y="10"/>
                  <a:pt x="2" y="10"/>
                </a:cubicBezTo>
                <a:cubicBezTo>
                  <a:pt x="2" y="10"/>
                  <a:pt x="2" y="11"/>
                  <a:pt x="2" y="11"/>
                </a:cubicBezTo>
                <a:cubicBezTo>
                  <a:pt x="2" y="12"/>
                  <a:pt x="2" y="13"/>
                  <a:pt x="1" y="13"/>
                </a:cubicBezTo>
                <a:cubicBezTo>
                  <a:pt x="1" y="14"/>
                  <a:pt x="1" y="14"/>
                  <a:pt x="1" y="14"/>
                </a:cubicBezTo>
                <a:cubicBezTo>
                  <a:pt x="1" y="14"/>
                  <a:pt x="1" y="14"/>
                  <a:pt x="1" y="15"/>
                </a:cubicBezTo>
                <a:cubicBezTo>
                  <a:pt x="0" y="15"/>
                  <a:pt x="0" y="16"/>
                  <a:pt x="0" y="16"/>
                </a:cubicBezTo>
                <a:cubicBezTo>
                  <a:pt x="0" y="16"/>
                  <a:pt x="1" y="17"/>
                  <a:pt x="1" y="17"/>
                </a:cubicBezTo>
                <a:cubicBezTo>
                  <a:pt x="1" y="17"/>
                  <a:pt x="2" y="17"/>
                  <a:pt x="2" y="18"/>
                </a:cubicBezTo>
                <a:cubicBezTo>
                  <a:pt x="2" y="16"/>
                  <a:pt x="2" y="16"/>
                  <a:pt x="2" y="16"/>
                </a:cubicBezTo>
                <a:cubicBezTo>
                  <a:pt x="4" y="17"/>
                  <a:pt x="4" y="17"/>
                  <a:pt x="4" y="17"/>
                </a:cubicBezTo>
                <a:cubicBezTo>
                  <a:pt x="5" y="18"/>
                  <a:pt x="6" y="18"/>
                  <a:pt x="6" y="18"/>
                </a:cubicBezTo>
                <a:cubicBezTo>
                  <a:pt x="7" y="19"/>
                  <a:pt x="7" y="19"/>
                  <a:pt x="7" y="19"/>
                </a:cubicBezTo>
                <a:cubicBezTo>
                  <a:pt x="8" y="19"/>
                  <a:pt x="8" y="19"/>
                  <a:pt x="9" y="20"/>
                </a:cubicBezTo>
                <a:cubicBezTo>
                  <a:pt x="10" y="20"/>
                  <a:pt x="11" y="21"/>
                  <a:pt x="11" y="21"/>
                </a:cubicBezTo>
                <a:cubicBezTo>
                  <a:pt x="12" y="20"/>
                  <a:pt x="12" y="20"/>
                  <a:pt x="12" y="20"/>
                </a:cubicBezTo>
                <a:cubicBezTo>
                  <a:pt x="12" y="22"/>
                  <a:pt x="12" y="22"/>
                  <a:pt x="12" y="22"/>
                </a:cubicBezTo>
                <a:cubicBezTo>
                  <a:pt x="12" y="22"/>
                  <a:pt x="12" y="22"/>
                  <a:pt x="12" y="22"/>
                </a:cubicBezTo>
                <a:cubicBezTo>
                  <a:pt x="12" y="22"/>
                  <a:pt x="13" y="23"/>
                  <a:pt x="14" y="24"/>
                </a:cubicBezTo>
                <a:cubicBezTo>
                  <a:pt x="14" y="24"/>
                  <a:pt x="14" y="24"/>
                  <a:pt x="14" y="24"/>
                </a:cubicBezTo>
                <a:cubicBezTo>
                  <a:pt x="14" y="24"/>
                  <a:pt x="14" y="24"/>
                  <a:pt x="15" y="24"/>
                </a:cubicBezTo>
                <a:cubicBezTo>
                  <a:pt x="15" y="24"/>
                  <a:pt x="15" y="25"/>
                  <a:pt x="15" y="25"/>
                </a:cubicBezTo>
                <a:cubicBezTo>
                  <a:pt x="16" y="25"/>
                  <a:pt x="16" y="25"/>
                  <a:pt x="16" y="25"/>
                </a:cubicBezTo>
                <a:cubicBezTo>
                  <a:pt x="17" y="26"/>
                  <a:pt x="17" y="26"/>
                  <a:pt x="17" y="26"/>
                </a:cubicBezTo>
                <a:cubicBezTo>
                  <a:pt x="17" y="26"/>
                  <a:pt x="17" y="26"/>
                  <a:pt x="17" y="26"/>
                </a:cubicBezTo>
                <a:cubicBezTo>
                  <a:pt x="17" y="26"/>
                  <a:pt x="17" y="26"/>
                  <a:pt x="17" y="26"/>
                </a:cubicBezTo>
                <a:cubicBezTo>
                  <a:pt x="18" y="26"/>
                  <a:pt x="18" y="26"/>
                  <a:pt x="19" y="26"/>
                </a:cubicBezTo>
                <a:cubicBezTo>
                  <a:pt x="19" y="25"/>
                  <a:pt x="19" y="25"/>
                  <a:pt x="19" y="25"/>
                </a:cubicBezTo>
                <a:cubicBezTo>
                  <a:pt x="19" y="26"/>
                  <a:pt x="19" y="26"/>
                  <a:pt x="19" y="26"/>
                </a:cubicBezTo>
                <a:cubicBezTo>
                  <a:pt x="19" y="26"/>
                  <a:pt x="20" y="26"/>
                  <a:pt x="20" y="26"/>
                </a:cubicBezTo>
                <a:cubicBezTo>
                  <a:pt x="20" y="26"/>
                  <a:pt x="21" y="26"/>
                  <a:pt x="22" y="27"/>
                </a:cubicBezTo>
                <a:cubicBezTo>
                  <a:pt x="26" y="28"/>
                  <a:pt x="26" y="28"/>
                  <a:pt x="26" y="28"/>
                </a:cubicBezTo>
                <a:cubicBezTo>
                  <a:pt x="26" y="28"/>
                  <a:pt x="26" y="28"/>
                  <a:pt x="26" y="28"/>
                </a:cubicBezTo>
                <a:cubicBezTo>
                  <a:pt x="26" y="28"/>
                  <a:pt x="26" y="28"/>
                  <a:pt x="27" y="29"/>
                </a:cubicBezTo>
                <a:cubicBezTo>
                  <a:pt x="27" y="29"/>
                  <a:pt x="27" y="29"/>
                  <a:pt x="27" y="29"/>
                </a:cubicBezTo>
                <a:cubicBezTo>
                  <a:pt x="27" y="29"/>
                  <a:pt x="27" y="29"/>
                  <a:pt x="27" y="30"/>
                </a:cubicBezTo>
                <a:cubicBezTo>
                  <a:pt x="27" y="30"/>
                  <a:pt x="27" y="30"/>
                  <a:pt x="27" y="30"/>
                </a:cubicBezTo>
                <a:cubicBezTo>
                  <a:pt x="28" y="30"/>
                  <a:pt x="28" y="30"/>
                  <a:pt x="28" y="30"/>
                </a:cubicBezTo>
                <a:cubicBezTo>
                  <a:pt x="29" y="30"/>
                  <a:pt x="29" y="31"/>
                  <a:pt x="30" y="31"/>
                </a:cubicBezTo>
                <a:cubicBezTo>
                  <a:pt x="30" y="31"/>
                  <a:pt x="31" y="31"/>
                  <a:pt x="32" y="32"/>
                </a:cubicBezTo>
                <a:cubicBezTo>
                  <a:pt x="33" y="31"/>
                  <a:pt x="33" y="31"/>
                  <a:pt x="33" y="31"/>
                </a:cubicBezTo>
                <a:cubicBezTo>
                  <a:pt x="33" y="31"/>
                  <a:pt x="33" y="31"/>
                  <a:pt x="33" y="31"/>
                </a:cubicBezTo>
                <a:cubicBezTo>
                  <a:pt x="33" y="31"/>
                  <a:pt x="33" y="31"/>
                  <a:pt x="33" y="31"/>
                </a:cubicBezTo>
                <a:cubicBezTo>
                  <a:pt x="34" y="31"/>
                  <a:pt x="34" y="30"/>
                  <a:pt x="34" y="30"/>
                </a:cubicBezTo>
                <a:cubicBezTo>
                  <a:pt x="34" y="30"/>
                  <a:pt x="34" y="30"/>
                  <a:pt x="34" y="30"/>
                </a:cubicBezTo>
                <a:cubicBezTo>
                  <a:pt x="34" y="30"/>
                  <a:pt x="34" y="30"/>
                  <a:pt x="34" y="30"/>
                </a:cubicBezTo>
                <a:cubicBezTo>
                  <a:pt x="34" y="30"/>
                  <a:pt x="34" y="30"/>
                  <a:pt x="34" y="30"/>
                </a:cubicBezTo>
                <a:cubicBezTo>
                  <a:pt x="35" y="30"/>
                  <a:pt x="35" y="30"/>
                  <a:pt x="35" y="30"/>
                </a:cubicBezTo>
                <a:cubicBezTo>
                  <a:pt x="37" y="31"/>
                  <a:pt x="37" y="31"/>
                  <a:pt x="37" y="31"/>
                </a:cubicBezTo>
                <a:cubicBezTo>
                  <a:pt x="37" y="31"/>
                  <a:pt x="37" y="31"/>
                  <a:pt x="37" y="31"/>
                </a:cubicBezTo>
                <a:cubicBezTo>
                  <a:pt x="37" y="31"/>
                  <a:pt x="38" y="31"/>
                  <a:pt x="38" y="31"/>
                </a:cubicBezTo>
                <a:cubicBezTo>
                  <a:pt x="38" y="28"/>
                  <a:pt x="38" y="28"/>
                  <a:pt x="38" y="28"/>
                </a:cubicBezTo>
                <a:cubicBezTo>
                  <a:pt x="39" y="30"/>
                  <a:pt x="39" y="30"/>
                  <a:pt x="39" y="30"/>
                </a:cubicBezTo>
                <a:cubicBezTo>
                  <a:pt x="39" y="30"/>
                  <a:pt x="41" y="30"/>
                  <a:pt x="42" y="30"/>
                </a:cubicBezTo>
                <a:cubicBezTo>
                  <a:pt x="42" y="30"/>
                  <a:pt x="42" y="30"/>
                  <a:pt x="42" y="30"/>
                </a:cubicBezTo>
                <a:cubicBezTo>
                  <a:pt x="42" y="30"/>
                  <a:pt x="42" y="30"/>
                  <a:pt x="42" y="30"/>
                </a:cubicBezTo>
                <a:cubicBezTo>
                  <a:pt x="42" y="31"/>
                  <a:pt x="42" y="31"/>
                  <a:pt x="42" y="31"/>
                </a:cubicBezTo>
                <a:cubicBezTo>
                  <a:pt x="43" y="31"/>
                  <a:pt x="44" y="31"/>
                  <a:pt x="45" y="32"/>
                </a:cubicBezTo>
                <a:cubicBezTo>
                  <a:pt x="45" y="32"/>
                  <a:pt x="46" y="32"/>
                  <a:pt x="46" y="33"/>
                </a:cubicBezTo>
                <a:cubicBezTo>
                  <a:pt x="46" y="34"/>
                  <a:pt x="46" y="34"/>
                  <a:pt x="46" y="34"/>
                </a:cubicBezTo>
                <a:cubicBezTo>
                  <a:pt x="46" y="34"/>
                  <a:pt x="47" y="35"/>
                  <a:pt x="47" y="35"/>
                </a:cubicBezTo>
                <a:cubicBezTo>
                  <a:pt x="47" y="35"/>
                  <a:pt x="47" y="35"/>
                  <a:pt x="47" y="35"/>
                </a:cubicBezTo>
                <a:cubicBezTo>
                  <a:pt x="47" y="35"/>
                  <a:pt x="47" y="35"/>
                  <a:pt x="47" y="35"/>
                </a:cubicBezTo>
                <a:cubicBezTo>
                  <a:pt x="47" y="36"/>
                  <a:pt x="48" y="36"/>
                  <a:pt x="48" y="36"/>
                </a:cubicBezTo>
                <a:cubicBezTo>
                  <a:pt x="48" y="36"/>
                  <a:pt x="48" y="36"/>
                  <a:pt x="48" y="36"/>
                </a:cubicBezTo>
                <a:cubicBezTo>
                  <a:pt x="49" y="36"/>
                  <a:pt x="50" y="36"/>
                  <a:pt x="51" y="37"/>
                </a:cubicBezTo>
                <a:cubicBezTo>
                  <a:pt x="52" y="34"/>
                  <a:pt x="52" y="34"/>
                  <a:pt x="52" y="34"/>
                </a:cubicBezTo>
                <a:cubicBezTo>
                  <a:pt x="51" y="37"/>
                  <a:pt x="51" y="37"/>
                  <a:pt x="51" y="37"/>
                </a:cubicBezTo>
                <a:cubicBezTo>
                  <a:pt x="52" y="37"/>
                  <a:pt x="52" y="37"/>
                  <a:pt x="52" y="37"/>
                </a:cubicBezTo>
                <a:cubicBezTo>
                  <a:pt x="52" y="38"/>
                  <a:pt x="52" y="38"/>
                  <a:pt x="52" y="38"/>
                </a:cubicBezTo>
                <a:cubicBezTo>
                  <a:pt x="52" y="38"/>
                  <a:pt x="52" y="38"/>
                  <a:pt x="52" y="38"/>
                </a:cubicBezTo>
                <a:cubicBezTo>
                  <a:pt x="53" y="38"/>
                  <a:pt x="53" y="38"/>
                  <a:pt x="53" y="38"/>
                </a:cubicBezTo>
                <a:cubicBezTo>
                  <a:pt x="53" y="38"/>
                  <a:pt x="53" y="38"/>
                  <a:pt x="53" y="38"/>
                </a:cubicBezTo>
                <a:cubicBezTo>
                  <a:pt x="53" y="38"/>
                  <a:pt x="53" y="38"/>
                  <a:pt x="53" y="38"/>
                </a:cubicBezTo>
                <a:cubicBezTo>
                  <a:pt x="53" y="38"/>
                  <a:pt x="53" y="38"/>
                  <a:pt x="53" y="38"/>
                </a:cubicBezTo>
                <a:cubicBezTo>
                  <a:pt x="54" y="38"/>
                  <a:pt x="54" y="38"/>
                  <a:pt x="55" y="38"/>
                </a:cubicBezTo>
                <a:cubicBezTo>
                  <a:pt x="55" y="38"/>
                  <a:pt x="55" y="38"/>
                  <a:pt x="55" y="37"/>
                </a:cubicBezTo>
                <a:cubicBezTo>
                  <a:pt x="55" y="37"/>
                  <a:pt x="55" y="37"/>
                  <a:pt x="56" y="37"/>
                </a:cubicBezTo>
                <a:cubicBezTo>
                  <a:pt x="56" y="37"/>
                  <a:pt x="56" y="37"/>
                  <a:pt x="56" y="37"/>
                </a:cubicBezTo>
                <a:cubicBezTo>
                  <a:pt x="56" y="37"/>
                  <a:pt x="56" y="37"/>
                  <a:pt x="56" y="37"/>
                </a:cubicBezTo>
                <a:cubicBezTo>
                  <a:pt x="57" y="38"/>
                  <a:pt x="57" y="38"/>
                  <a:pt x="57" y="38"/>
                </a:cubicBezTo>
                <a:cubicBezTo>
                  <a:pt x="57" y="38"/>
                  <a:pt x="57" y="38"/>
                  <a:pt x="57" y="38"/>
                </a:cubicBezTo>
                <a:cubicBezTo>
                  <a:pt x="57" y="38"/>
                  <a:pt x="57" y="38"/>
                  <a:pt x="57" y="38"/>
                </a:cubicBezTo>
                <a:cubicBezTo>
                  <a:pt x="57" y="38"/>
                  <a:pt x="57" y="38"/>
                  <a:pt x="57" y="38"/>
                </a:cubicBezTo>
                <a:cubicBezTo>
                  <a:pt x="58" y="39"/>
                  <a:pt x="58" y="39"/>
                  <a:pt x="58" y="39"/>
                </a:cubicBezTo>
                <a:cubicBezTo>
                  <a:pt x="58" y="40"/>
                  <a:pt x="58" y="40"/>
                  <a:pt x="58" y="40"/>
                </a:cubicBezTo>
                <a:cubicBezTo>
                  <a:pt x="59" y="40"/>
                  <a:pt x="59" y="40"/>
                  <a:pt x="59" y="40"/>
                </a:cubicBezTo>
                <a:cubicBezTo>
                  <a:pt x="60" y="40"/>
                  <a:pt x="60" y="40"/>
                  <a:pt x="60" y="40"/>
                </a:cubicBezTo>
                <a:cubicBezTo>
                  <a:pt x="60" y="40"/>
                  <a:pt x="60" y="40"/>
                  <a:pt x="61" y="40"/>
                </a:cubicBezTo>
                <a:cubicBezTo>
                  <a:pt x="61" y="40"/>
                  <a:pt x="62" y="40"/>
                  <a:pt x="62" y="40"/>
                </a:cubicBezTo>
                <a:cubicBezTo>
                  <a:pt x="62" y="40"/>
                  <a:pt x="62" y="40"/>
                  <a:pt x="62" y="40"/>
                </a:cubicBezTo>
                <a:cubicBezTo>
                  <a:pt x="63" y="40"/>
                  <a:pt x="63" y="40"/>
                  <a:pt x="64" y="40"/>
                </a:cubicBezTo>
                <a:cubicBezTo>
                  <a:pt x="64" y="40"/>
                  <a:pt x="65" y="41"/>
                  <a:pt x="65" y="41"/>
                </a:cubicBezTo>
                <a:cubicBezTo>
                  <a:pt x="67" y="42"/>
                  <a:pt x="67" y="42"/>
                  <a:pt x="67" y="42"/>
                </a:cubicBezTo>
                <a:cubicBezTo>
                  <a:pt x="67" y="42"/>
                  <a:pt x="68" y="41"/>
                  <a:pt x="68" y="41"/>
                </a:cubicBezTo>
                <a:cubicBezTo>
                  <a:pt x="68" y="41"/>
                  <a:pt x="68" y="41"/>
                  <a:pt x="68" y="41"/>
                </a:cubicBezTo>
                <a:cubicBezTo>
                  <a:pt x="69" y="41"/>
                  <a:pt x="69" y="40"/>
                  <a:pt x="70" y="40"/>
                </a:cubicBezTo>
                <a:cubicBezTo>
                  <a:pt x="70" y="40"/>
                  <a:pt x="70" y="40"/>
                  <a:pt x="70" y="40"/>
                </a:cubicBezTo>
                <a:cubicBezTo>
                  <a:pt x="70" y="40"/>
                  <a:pt x="70" y="40"/>
                  <a:pt x="70" y="40"/>
                </a:cubicBezTo>
                <a:cubicBezTo>
                  <a:pt x="70" y="40"/>
                  <a:pt x="71" y="40"/>
                  <a:pt x="71" y="40"/>
                </a:cubicBezTo>
                <a:cubicBezTo>
                  <a:pt x="71" y="41"/>
                  <a:pt x="71" y="41"/>
                  <a:pt x="71" y="41"/>
                </a:cubicBezTo>
                <a:cubicBezTo>
                  <a:pt x="71" y="41"/>
                  <a:pt x="71" y="41"/>
                  <a:pt x="71" y="41"/>
                </a:cubicBezTo>
                <a:cubicBezTo>
                  <a:pt x="71" y="41"/>
                  <a:pt x="71" y="41"/>
                  <a:pt x="72" y="41"/>
                </a:cubicBezTo>
                <a:cubicBezTo>
                  <a:pt x="72" y="41"/>
                  <a:pt x="72" y="42"/>
                  <a:pt x="72" y="42"/>
                </a:cubicBezTo>
                <a:cubicBezTo>
                  <a:pt x="72" y="42"/>
                  <a:pt x="72" y="42"/>
                  <a:pt x="72" y="42"/>
                </a:cubicBezTo>
                <a:cubicBezTo>
                  <a:pt x="72" y="42"/>
                  <a:pt x="72" y="42"/>
                  <a:pt x="72" y="42"/>
                </a:cubicBezTo>
                <a:cubicBezTo>
                  <a:pt x="72" y="42"/>
                  <a:pt x="73" y="42"/>
                  <a:pt x="74" y="42"/>
                </a:cubicBezTo>
                <a:cubicBezTo>
                  <a:pt x="76" y="42"/>
                  <a:pt x="76" y="42"/>
                  <a:pt x="76" y="42"/>
                </a:cubicBezTo>
                <a:cubicBezTo>
                  <a:pt x="76" y="42"/>
                  <a:pt x="76" y="42"/>
                  <a:pt x="76" y="42"/>
                </a:cubicBezTo>
                <a:cubicBezTo>
                  <a:pt x="76" y="42"/>
                  <a:pt x="76" y="42"/>
                  <a:pt x="76" y="42"/>
                </a:cubicBezTo>
                <a:cubicBezTo>
                  <a:pt x="77" y="42"/>
                  <a:pt x="77" y="42"/>
                  <a:pt x="77" y="42"/>
                </a:cubicBezTo>
                <a:cubicBezTo>
                  <a:pt x="78" y="42"/>
                  <a:pt x="78" y="42"/>
                  <a:pt x="78" y="42"/>
                </a:cubicBezTo>
                <a:cubicBezTo>
                  <a:pt x="78" y="42"/>
                  <a:pt x="78" y="42"/>
                  <a:pt x="79" y="42"/>
                </a:cubicBezTo>
                <a:cubicBezTo>
                  <a:pt x="79" y="42"/>
                  <a:pt x="79" y="42"/>
                  <a:pt x="79" y="42"/>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97" name="Freeform 3154">
            <a:extLst>
              <a:ext uri="{FF2B5EF4-FFF2-40B4-BE49-F238E27FC236}">
                <a16:creationId xmlns:a16="http://schemas.microsoft.com/office/drawing/2014/main" id="{D3D9F913-874C-4ECC-85FC-5C4BBA80600E}"/>
              </a:ext>
            </a:extLst>
          </p:cNvPr>
          <p:cNvSpPr>
            <a:spLocks/>
          </p:cNvSpPr>
          <p:nvPr/>
        </p:nvSpPr>
        <p:spPr bwMode="auto">
          <a:xfrm>
            <a:off x="4315257" y="33110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98" name="Freeform 3155">
            <a:extLst>
              <a:ext uri="{FF2B5EF4-FFF2-40B4-BE49-F238E27FC236}">
                <a16:creationId xmlns:a16="http://schemas.microsoft.com/office/drawing/2014/main" id="{D8B0796E-E2AF-416C-8E26-424ACA5C2EAD}"/>
              </a:ext>
            </a:extLst>
          </p:cNvPr>
          <p:cNvSpPr>
            <a:spLocks/>
          </p:cNvSpPr>
          <p:nvPr/>
        </p:nvSpPr>
        <p:spPr bwMode="auto">
          <a:xfrm>
            <a:off x="4434687" y="3414893"/>
            <a:ext cx="12885" cy="36209"/>
          </a:xfrm>
          <a:custGeom>
            <a:avLst/>
            <a:gdLst>
              <a:gd name="T0" fmla="*/ 6 w 11"/>
              <a:gd name="T1" fmla="*/ 26 h 26"/>
              <a:gd name="T2" fmla="*/ 6 w 11"/>
              <a:gd name="T3" fmla="*/ 26 h 26"/>
              <a:gd name="T4" fmla="*/ 6 w 11"/>
              <a:gd name="T5" fmla="*/ 25 h 26"/>
              <a:gd name="T6" fmla="*/ 6 w 11"/>
              <a:gd name="T7" fmla="*/ 25 h 26"/>
              <a:gd name="T8" fmla="*/ 8 w 11"/>
              <a:gd name="T9" fmla="*/ 23 h 26"/>
              <a:gd name="T10" fmla="*/ 8 w 11"/>
              <a:gd name="T11" fmla="*/ 22 h 26"/>
              <a:gd name="T12" fmla="*/ 10 w 11"/>
              <a:gd name="T13" fmla="*/ 20 h 26"/>
              <a:gd name="T14" fmla="*/ 11 w 11"/>
              <a:gd name="T15" fmla="*/ 22 h 26"/>
              <a:gd name="T16" fmla="*/ 11 w 11"/>
              <a:gd name="T17" fmla="*/ 23 h 26"/>
              <a:gd name="T18" fmla="*/ 11 w 11"/>
              <a:gd name="T19" fmla="*/ 19 h 26"/>
              <a:gd name="T20" fmla="*/ 10 w 11"/>
              <a:gd name="T21" fmla="*/ 17 h 26"/>
              <a:gd name="T22" fmla="*/ 10 w 11"/>
              <a:gd name="T23" fmla="*/ 12 h 26"/>
              <a:gd name="T24" fmla="*/ 9 w 11"/>
              <a:gd name="T25" fmla="*/ 9 h 26"/>
              <a:gd name="T26" fmla="*/ 9 w 11"/>
              <a:gd name="T27" fmla="*/ 9 h 26"/>
              <a:gd name="T28" fmla="*/ 8 w 11"/>
              <a:gd name="T29" fmla="*/ 6 h 26"/>
              <a:gd name="T30" fmla="*/ 8 w 11"/>
              <a:gd name="T31" fmla="*/ 6 h 26"/>
              <a:gd name="T32" fmla="*/ 8 w 11"/>
              <a:gd name="T33" fmla="*/ 6 h 26"/>
              <a:gd name="T34" fmla="*/ 8 w 11"/>
              <a:gd name="T35" fmla="*/ 2 h 26"/>
              <a:gd name="T36" fmla="*/ 7 w 11"/>
              <a:gd name="T37" fmla="*/ 0 h 26"/>
              <a:gd name="T38" fmla="*/ 7 w 11"/>
              <a:gd name="T39" fmla="*/ 0 h 26"/>
              <a:gd name="T40" fmla="*/ 6 w 11"/>
              <a:gd name="T41" fmla="*/ 1 h 26"/>
              <a:gd name="T42" fmla="*/ 6 w 11"/>
              <a:gd name="T43" fmla="*/ 1 h 26"/>
              <a:gd name="T44" fmla="*/ 5 w 11"/>
              <a:gd name="T45" fmla="*/ 3 h 26"/>
              <a:gd name="T46" fmla="*/ 5 w 11"/>
              <a:gd name="T47" fmla="*/ 4 h 26"/>
              <a:gd name="T48" fmla="*/ 4 w 11"/>
              <a:gd name="T49" fmla="*/ 6 h 26"/>
              <a:gd name="T50" fmla="*/ 4 w 11"/>
              <a:gd name="T51" fmla="*/ 7 h 26"/>
              <a:gd name="T52" fmla="*/ 1 w 11"/>
              <a:gd name="T53" fmla="*/ 8 h 26"/>
              <a:gd name="T54" fmla="*/ 1 w 11"/>
              <a:gd name="T55" fmla="*/ 8 h 26"/>
              <a:gd name="T56" fmla="*/ 0 w 11"/>
              <a:gd name="T57" fmla="*/ 8 h 26"/>
              <a:gd name="T58" fmla="*/ 4 w 11"/>
              <a:gd name="T59" fmla="*/ 15 h 26"/>
              <a:gd name="T60" fmla="*/ 5 w 11"/>
              <a:gd name="T61" fmla="*/ 13 h 26"/>
              <a:gd name="T62" fmla="*/ 4 w 11"/>
              <a:gd name="T63" fmla="*/ 15 h 26"/>
              <a:gd name="T64" fmla="*/ 5 w 11"/>
              <a:gd name="T65" fmla="*/ 18 h 26"/>
              <a:gd name="T66" fmla="*/ 5 w 11"/>
              <a:gd name="T67" fmla="*/ 20 h 26"/>
              <a:gd name="T68" fmla="*/ 5 w 11"/>
              <a:gd name="T69" fmla="*/ 21 h 26"/>
              <a:gd name="T70" fmla="*/ 5 w 11"/>
              <a:gd name="T71" fmla="*/ 23 h 26"/>
              <a:gd name="T72" fmla="*/ 6 w 11"/>
              <a:gd name="T7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 h="26">
                <a:moveTo>
                  <a:pt x="6" y="26"/>
                </a:moveTo>
                <a:cubicBezTo>
                  <a:pt x="6" y="26"/>
                  <a:pt x="6" y="26"/>
                  <a:pt x="6" y="26"/>
                </a:cubicBezTo>
                <a:cubicBezTo>
                  <a:pt x="6" y="25"/>
                  <a:pt x="6" y="25"/>
                  <a:pt x="6" y="25"/>
                </a:cubicBezTo>
                <a:cubicBezTo>
                  <a:pt x="6" y="25"/>
                  <a:pt x="6" y="25"/>
                  <a:pt x="6" y="25"/>
                </a:cubicBezTo>
                <a:cubicBezTo>
                  <a:pt x="7" y="25"/>
                  <a:pt x="7" y="24"/>
                  <a:pt x="8" y="23"/>
                </a:cubicBezTo>
                <a:cubicBezTo>
                  <a:pt x="8" y="23"/>
                  <a:pt x="8" y="22"/>
                  <a:pt x="8" y="22"/>
                </a:cubicBezTo>
                <a:cubicBezTo>
                  <a:pt x="10" y="20"/>
                  <a:pt x="10" y="20"/>
                  <a:pt x="10" y="20"/>
                </a:cubicBezTo>
                <a:cubicBezTo>
                  <a:pt x="11" y="22"/>
                  <a:pt x="11" y="22"/>
                  <a:pt x="11" y="22"/>
                </a:cubicBezTo>
                <a:cubicBezTo>
                  <a:pt x="11" y="22"/>
                  <a:pt x="11" y="23"/>
                  <a:pt x="11" y="23"/>
                </a:cubicBezTo>
                <a:cubicBezTo>
                  <a:pt x="11" y="19"/>
                  <a:pt x="11" y="19"/>
                  <a:pt x="11" y="19"/>
                </a:cubicBezTo>
                <a:cubicBezTo>
                  <a:pt x="10" y="17"/>
                  <a:pt x="10" y="17"/>
                  <a:pt x="10" y="17"/>
                </a:cubicBezTo>
                <a:cubicBezTo>
                  <a:pt x="10" y="12"/>
                  <a:pt x="10" y="12"/>
                  <a:pt x="10" y="12"/>
                </a:cubicBezTo>
                <a:cubicBezTo>
                  <a:pt x="10" y="11"/>
                  <a:pt x="10" y="10"/>
                  <a:pt x="9" y="9"/>
                </a:cubicBezTo>
                <a:cubicBezTo>
                  <a:pt x="9" y="9"/>
                  <a:pt x="9" y="9"/>
                  <a:pt x="9" y="9"/>
                </a:cubicBezTo>
                <a:cubicBezTo>
                  <a:pt x="9" y="8"/>
                  <a:pt x="8" y="7"/>
                  <a:pt x="8" y="6"/>
                </a:cubicBezTo>
                <a:cubicBezTo>
                  <a:pt x="8" y="6"/>
                  <a:pt x="8" y="6"/>
                  <a:pt x="8" y="6"/>
                </a:cubicBezTo>
                <a:cubicBezTo>
                  <a:pt x="8" y="6"/>
                  <a:pt x="8" y="6"/>
                  <a:pt x="8" y="6"/>
                </a:cubicBezTo>
                <a:cubicBezTo>
                  <a:pt x="8" y="4"/>
                  <a:pt x="8" y="3"/>
                  <a:pt x="8" y="2"/>
                </a:cubicBezTo>
                <a:cubicBezTo>
                  <a:pt x="8" y="2"/>
                  <a:pt x="8" y="1"/>
                  <a:pt x="7" y="0"/>
                </a:cubicBezTo>
                <a:cubicBezTo>
                  <a:pt x="7" y="0"/>
                  <a:pt x="7" y="0"/>
                  <a:pt x="7" y="0"/>
                </a:cubicBezTo>
                <a:cubicBezTo>
                  <a:pt x="7" y="0"/>
                  <a:pt x="7" y="1"/>
                  <a:pt x="6" y="1"/>
                </a:cubicBezTo>
                <a:cubicBezTo>
                  <a:pt x="6" y="1"/>
                  <a:pt x="6" y="1"/>
                  <a:pt x="6" y="1"/>
                </a:cubicBezTo>
                <a:cubicBezTo>
                  <a:pt x="6" y="1"/>
                  <a:pt x="6" y="2"/>
                  <a:pt x="5" y="3"/>
                </a:cubicBezTo>
                <a:cubicBezTo>
                  <a:pt x="5" y="3"/>
                  <a:pt x="5" y="4"/>
                  <a:pt x="5" y="4"/>
                </a:cubicBezTo>
                <a:cubicBezTo>
                  <a:pt x="5" y="5"/>
                  <a:pt x="5" y="5"/>
                  <a:pt x="4" y="6"/>
                </a:cubicBezTo>
                <a:cubicBezTo>
                  <a:pt x="4" y="7"/>
                  <a:pt x="4" y="7"/>
                  <a:pt x="4" y="7"/>
                </a:cubicBezTo>
                <a:cubicBezTo>
                  <a:pt x="3" y="8"/>
                  <a:pt x="2" y="8"/>
                  <a:pt x="1" y="8"/>
                </a:cubicBezTo>
                <a:cubicBezTo>
                  <a:pt x="1" y="8"/>
                  <a:pt x="1" y="8"/>
                  <a:pt x="1" y="8"/>
                </a:cubicBezTo>
                <a:cubicBezTo>
                  <a:pt x="0" y="8"/>
                  <a:pt x="0" y="8"/>
                  <a:pt x="0" y="8"/>
                </a:cubicBezTo>
                <a:cubicBezTo>
                  <a:pt x="1" y="10"/>
                  <a:pt x="2" y="12"/>
                  <a:pt x="4" y="15"/>
                </a:cubicBezTo>
                <a:cubicBezTo>
                  <a:pt x="4" y="14"/>
                  <a:pt x="4" y="14"/>
                  <a:pt x="5" y="13"/>
                </a:cubicBezTo>
                <a:cubicBezTo>
                  <a:pt x="4" y="14"/>
                  <a:pt x="4" y="14"/>
                  <a:pt x="4" y="15"/>
                </a:cubicBezTo>
                <a:cubicBezTo>
                  <a:pt x="4" y="16"/>
                  <a:pt x="4" y="17"/>
                  <a:pt x="5" y="18"/>
                </a:cubicBezTo>
                <a:cubicBezTo>
                  <a:pt x="5" y="19"/>
                  <a:pt x="5" y="19"/>
                  <a:pt x="5" y="20"/>
                </a:cubicBezTo>
                <a:cubicBezTo>
                  <a:pt x="5" y="20"/>
                  <a:pt x="5" y="20"/>
                  <a:pt x="5" y="21"/>
                </a:cubicBezTo>
                <a:cubicBezTo>
                  <a:pt x="6" y="22"/>
                  <a:pt x="5" y="23"/>
                  <a:pt x="5" y="23"/>
                </a:cubicBezTo>
                <a:cubicBezTo>
                  <a:pt x="6" y="24"/>
                  <a:pt x="6" y="25"/>
                  <a:pt x="6" y="26"/>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99" name="Freeform 3156">
            <a:extLst>
              <a:ext uri="{FF2B5EF4-FFF2-40B4-BE49-F238E27FC236}">
                <a16:creationId xmlns:a16="http://schemas.microsoft.com/office/drawing/2014/main" id="{8C033CBE-8E39-4687-B469-ABAB005D0BE7}"/>
              </a:ext>
            </a:extLst>
          </p:cNvPr>
          <p:cNvSpPr>
            <a:spLocks/>
          </p:cNvSpPr>
          <p:nvPr/>
        </p:nvSpPr>
        <p:spPr bwMode="auto">
          <a:xfrm>
            <a:off x="4396033" y="3373935"/>
            <a:ext cx="48069" cy="70044"/>
          </a:xfrm>
          <a:custGeom>
            <a:avLst/>
            <a:gdLst>
              <a:gd name="T0" fmla="*/ 30 w 41"/>
              <a:gd name="T1" fmla="*/ 34 h 50"/>
              <a:gd name="T2" fmla="*/ 30 w 41"/>
              <a:gd name="T3" fmla="*/ 31 h 50"/>
              <a:gd name="T4" fmla="*/ 29 w 41"/>
              <a:gd name="T5" fmla="*/ 29 h 50"/>
              <a:gd name="T6" fmla="*/ 29 w 41"/>
              <a:gd name="T7" fmla="*/ 26 h 50"/>
              <a:gd name="T8" fmla="*/ 34 w 41"/>
              <a:gd name="T9" fmla="*/ 22 h 50"/>
              <a:gd name="T10" fmla="*/ 34 w 41"/>
              <a:gd name="T11" fmla="*/ 21 h 50"/>
              <a:gd name="T12" fmla="*/ 36 w 41"/>
              <a:gd name="T13" fmla="*/ 21 h 50"/>
              <a:gd name="T14" fmla="*/ 38 w 41"/>
              <a:gd name="T15" fmla="*/ 19 h 50"/>
              <a:gd name="T16" fmla="*/ 39 w 41"/>
              <a:gd name="T17" fmla="*/ 18 h 50"/>
              <a:gd name="T18" fmla="*/ 40 w 41"/>
              <a:gd name="T19" fmla="*/ 16 h 50"/>
              <a:gd name="T20" fmla="*/ 41 w 41"/>
              <a:gd name="T21" fmla="*/ 14 h 50"/>
              <a:gd name="T22" fmla="*/ 37 w 41"/>
              <a:gd name="T23" fmla="*/ 13 h 50"/>
              <a:gd name="T24" fmla="*/ 30 w 41"/>
              <a:gd name="T25" fmla="*/ 13 h 50"/>
              <a:gd name="T26" fmla="*/ 26 w 41"/>
              <a:gd name="T27" fmla="*/ 13 h 50"/>
              <a:gd name="T28" fmla="*/ 25 w 41"/>
              <a:gd name="T29" fmla="*/ 13 h 50"/>
              <a:gd name="T30" fmla="*/ 22 w 41"/>
              <a:gd name="T31" fmla="*/ 13 h 50"/>
              <a:gd name="T32" fmla="*/ 21 w 41"/>
              <a:gd name="T33" fmla="*/ 13 h 50"/>
              <a:gd name="T34" fmla="*/ 18 w 41"/>
              <a:gd name="T35" fmla="*/ 12 h 50"/>
              <a:gd name="T36" fmla="*/ 15 w 41"/>
              <a:gd name="T37" fmla="*/ 10 h 50"/>
              <a:gd name="T38" fmla="*/ 15 w 41"/>
              <a:gd name="T39" fmla="*/ 9 h 50"/>
              <a:gd name="T40" fmla="*/ 15 w 41"/>
              <a:gd name="T41" fmla="*/ 5 h 50"/>
              <a:gd name="T42" fmla="*/ 10 w 41"/>
              <a:gd name="T43" fmla="*/ 4 h 50"/>
              <a:gd name="T44" fmla="*/ 6 w 41"/>
              <a:gd name="T45" fmla="*/ 1 h 50"/>
              <a:gd name="T46" fmla="*/ 3 w 41"/>
              <a:gd name="T47" fmla="*/ 0 h 50"/>
              <a:gd name="T48" fmla="*/ 1 w 41"/>
              <a:gd name="T49" fmla="*/ 3 h 50"/>
              <a:gd name="T50" fmla="*/ 1 w 41"/>
              <a:gd name="T51" fmla="*/ 4 h 50"/>
              <a:gd name="T52" fmla="*/ 3 w 41"/>
              <a:gd name="T53" fmla="*/ 6 h 50"/>
              <a:gd name="T54" fmla="*/ 5 w 41"/>
              <a:gd name="T55" fmla="*/ 7 h 50"/>
              <a:gd name="T56" fmla="*/ 8 w 41"/>
              <a:gd name="T57" fmla="*/ 9 h 50"/>
              <a:gd name="T58" fmla="*/ 9 w 41"/>
              <a:gd name="T59" fmla="*/ 12 h 50"/>
              <a:gd name="T60" fmla="*/ 7 w 41"/>
              <a:gd name="T61" fmla="*/ 13 h 50"/>
              <a:gd name="T62" fmla="*/ 2 w 41"/>
              <a:gd name="T63" fmla="*/ 16 h 50"/>
              <a:gd name="T64" fmla="*/ 0 w 41"/>
              <a:gd name="T65" fmla="*/ 17 h 50"/>
              <a:gd name="T66" fmla="*/ 1 w 41"/>
              <a:gd name="T67" fmla="*/ 19 h 50"/>
              <a:gd name="T68" fmla="*/ 3 w 41"/>
              <a:gd name="T69" fmla="*/ 20 h 50"/>
              <a:gd name="T70" fmla="*/ 4 w 41"/>
              <a:gd name="T71" fmla="*/ 20 h 50"/>
              <a:gd name="T72" fmla="*/ 7 w 41"/>
              <a:gd name="T73" fmla="*/ 21 h 50"/>
              <a:gd name="T74" fmla="*/ 6 w 41"/>
              <a:gd name="T75" fmla="*/ 26 h 50"/>
              <a:gd name="T76" fmla="*/ 6 w 41"/>
              <a:gd name="T77" fmla="*/ 28 h 50"/>
              <a:gd name="T78" fmla="*/ 7 w 41"/>
              <a:gd name="T79" fmla="*/ 30 h 50"/>
              <a:gd name="T80" fmla="*/ 6 w 41"/>
              <a:gd name="T81" fmla="*/ 31 h 50"/>
              <a:gd name="T82" fmla="*/ 7 w 41"/>
              <a:gd name="T83" fmla="*/ 31 h 50"/>
              <a:gd name="T84" fmla="*/ 9 w 41"/>
              <a:gd name="T85" fmla="*/ 34 h 50"/>
              <a:gd name="T86" fmla="*/ 8 w 41"/>
              <a:gd name="T87" fmla="*/ 35 h 50"/>
              <a:gd name="T88" fmla="*/ 9 w 41"/>
              <a:gd name="T89" fmla="*/ 38 h 50"/>
              <a:gd name="T90" fmla="*/ 9 w 41"/>
              <a:gd name="T91" fmla="*/ 39 h 50"/>
              <a:gd name="T92" fmla="*/ 10 w 41"/>
              <a:gd name="T93" fmla="*/ 46 h 50"/>
              <a:gd name="T94" fmla="*/ 11 w 41"/>
              <a:gd name="T95" fmla="*/ 50 h 50"/>
              <a:gd name="T96" fmla="*/ 13 w 41"/>
              <a:gd name="T97" fmla="*/ 43 h 50"/>
              <a:gd name="T98" fmla="*/ 14 w 41"/>
              <a:gd name="T99" fmla="*/ 49 h 50"/>
              <a:gd name="T100" fmla="*/ 18 w 41"/>
              <a:gd name="T101" fmla="*/ 41 h 50"/>
              <a:gd name="T102" fmla="*/ 19 w 41"/>
              <a:gd name="T103" fmla="*/ 46 h 50"/>
              <a:gd name="T104" fmla="*/ 21 w 41"/>
              <a:gd name="T105" fmla="*/ 48 h 50"/>
              <a:gd name="T106" fmla="*/ 22 w 41"/>
              <a:gd name="T107" fmla="*/ 38 h 50"/>
              <a:gd name="T108" fmla="*/ 21 w 41"/>
              <a:gd name="T109" fmla="*/ 31 h 50"/>
              <a:gd name="T110" fmla="*/ 23 w 41"/>
              <a:gd name="T111" fmla="*/ 30 h 50"/>
              <a:gd name="T112" fmla="*/ 24 w 41"/>
              <a:gd name="T113" fmla="*/ 30 h 50"/>
              <a:gd name="T114" fmla="*/ 25 w 41"/>
              <a:gd name="T115" fmla="*/ 35 h 50"/>
              <a:gd name="T116" fmla="*/ 33 w 41"/>
              <a:gd name="T117" fmla="*/ 3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 h="50">
                <a:moveTo>
                  <a:pt x="33" y="36"/>
                </a:moveTo>
                <a:cubicBezTo>
                  <a:pt x="32" y="36"/>
                  <a:pt x="32" y="36"/>
                  <a:pt x="32" y="36"/>
                </a:cubicBezTo>
                <a:cubicBezTo>
                  <a:pt x="31" y="36"/>
                  <a:pt x="31" y="35"/>
                  <a:pt x="30" y="34"/>
                </a:cubicBezTo>
                <a:cubicBezTo>
                  <a:pt x="30" y="33"/>
                  <a:pt x="30" y="33"/>
                  <a:pt x="30" y="32"/>
                </a:cubicBezTo>
                <a:cubicBezTo>
                  <a:pt x="30" y="32"/>
                  <a:pt x="30" y="31"/>
                  <a:pt x="30" y="31"/>
                </a:cubicBezTo>
                <a:cubicBezTo>
                  <a:pt x="30" y="31"/>
                  <a:pt x="30" y="31"/>
                  <a:pt x="30" y="31"/>
                </a:cubicBezTo>
                <a:cubicBezTo>
                  <a:pt x="30" y="31"/>
                  <a:pt x="30" y="30"/>
                  <a:pt x="29" y="30"/>
                </a:cubicBezTo>
                <a:cubicBezTo>
                  <a:pt x="29" y="30"/>
                  <a:pt x="29" y="30"/>
                  <a:pt x="29" y="30"/>
                </a:cubicBezTo>
                <a:cubicBezTo>
                  <a:pt x="29" y="30"/>
                  <a:pt x="29" y="29"/>
                  <a:pt x="29" y="29"/>
                </a:cubicBezTo>
                <a:cubicBezTo>
                  <a:pt x="29" y="29"/>
                  <a:pt x="29" y="29"/>
                  <a:pt x="29" y="29"/>
                </a:cubicBezTo>
                <a:cubicBezTo>
                  <a:pt x="29" y="28"/>
                  <a:pt x="29" y="27"/>
                  <a:pt x="29" y="27"/>
                </a:cubicBezTo>
                <a:cubicBezTo>
                  <a:pt x="29" y="26"/>
                  <a:pt x="29" y="26"/>
                  <a:pt x="29" y="26"/>
                </a:cubicBezTo>
                <a:cubicBezTo>
                  <a:pt x="29" y="25"/>
                  <a:pt x="29" y="25"/>
                  <a:pt x="29" y="25"/>
                </a:cubicBezTo>
                <a:cubicBezTo>
                  <a:pt x="30" y="25"/>
                  <a:pt x="30" y="25"/>
                  <a:pt x="30" y="25"/>
                </a:cubicBezTo>
                <a:cubicBezTo>
                  <a:pt x="34" y="22"/>
                  <a:pt x="34" y="22"/>
                  <a:pt x="34" y="22"/>
                </a:cubicBezTo>
                <a:cubicBezTo>
                  <a:pt x="34" y="21"/>
                  <a:pt x="34" y="21"/>
                  <a:pt x="34" y="21"/>
                </a:cubicBezTo>
                <a:cubicBezTo>
                  <a:pt x="34" y="21"/>
                  <a:pt x="34" y="21"/>
                  <a:pt x="34" y="21"/>
                </a:cubicBezTo>
                <a:cubicBezTo>
                  <a:pt x="34" y="21"/>
                  <a:pt x="34" y="21"/>
                  <a:pt x="34" y="21"/>
                </a:cubicBezTo>
                <a:cubicBezTo>
                  <a:pt x="34" y="21"/>
                  <a:pt x="34" y="21"/>
                  <a:pt x="34" y="21"/>
                </a:cubicBezTo>
                <a:cubicBezTo>
                  <a:pt x="35" y="21"/>
                  <a:pt x="35" y="21"/>
                  <a:pt x="36" y="21"/>
                </a:cubicBezTo>
                <a:cubicBezTo>
                  <a:pt x="36" y="21"/>
                  <a:pt x="36" y="21"/>
                  <a:pt x="36" y="21"/>
                </a:cubicBezTo>
                <a:cubicBezTo>
                  <a:pt x="37" y="20"/>
                  <a:pt x="37" y="20"/>
                  <a:pt x="37" y="20"/>
                </a:cubicBezTo>
                <a:cubicBezTo>
                  <a:pt x="36" y="17"/>
                  <a:pt x="36" y="17"/>
                  <a:pt x="36" y="17"/>
                </a:cubicBezTo>
                <a:cubicBezTo>
                  <a:pt x="38" y="19"/>
                  <a:pt x="38" y="19"/>
                  <a:pt x="38" y="19"/>
                </a:cubicBezTo>
                <a:cubicBezTo>
                  <a:pt x="38" y="19"/>
                  <a:pt x="38" y="19"/>
                  <a:pt x="38" y="19"/>
                </a:cubicBezTo>
                <a:cubicBezTo>
                  <a:pt x="38" y="19"/>
                  <a:pt x="39" y="18"/>
                  <a:pt x="39" y="18"/>
                </a:cubicBezTo>
                <a:cubicBezTo>
                  <a:pt x="39" y="18"/>
                  <a:pt x="39" y="18"/>
                  <a:pt x="39" y="18"/>
                </a:cubicBezTo>
                <a:cubicBezTo>
                  <a:pt x="39" y="18"/>
                  <a:pt x="39" y="18"/>
                  <a:pt x="39" y="18"/>
                </a:cubicBezTo>
                <a:cubicBezTo>
                  <a:pt x="39" y="18"/>
                  <a:pt x="40" y="17"/>
                  <a:pt x="40" y="16"/>
                </a:cubicBezTo>
                <a:cubicBezTo>
                  <a:pt x="40" y="16"/>
                  <a:pt x="40" y="16"/>
                  <a:pt x="40" y="16"/>
                </a:cubicBezTo>
                <a:cubicBezTo>
                  <a:pt x="41" y="14"/>
                  <a:pt x="41" y="14"/>
                  <a:pt x="41" y="14"/>
                </a:cubicBezTo>
                <a:cubicBezTo>
                  <a:pt x="41" y="14"/>
                  <a:pt x="41" y="14"/>
                  <a:pt x="41" y="14"/>
                </a:cubicBezTo>
                <a:cubicBezTo>
                  <a:pt x="41" y="14"/>
                  <a:pt x="41" y="14"/>
                  <a:pt x="41" y="14"/>
                </a:cubicBezTo>
                <a:cubicBezTo>
                  <a:pt x="40" y="14"/>
                  <a:pt x="40" y="13"/>
                  <a:pt x="40" y="13"/>
                </a:cubicBezTo>
                <a:cubicBezTo>
                  <a:pt x="39" y="13"/>
                  <a:pt x="38" y="13"/>
                  <a:pt x="38" y="13"/>
                </a:cubicBezTo>
                <a:cubicBezTo>
                  <a:pt x="37" y="13"/>
                  <a:pt x="37" y="13"/>
                  <a:pt x="37" y="13"/>
                </a:cubicBezTo>
                <a:cubicBezTo>
                  <a:pt x="37" y="13"/>
                  <a:pt x="36" y="13"/>
                  <a:pt x="35" y="13"/>
                </a:cubicBezTo>
                <a:cubicBezTo>
                  <a:pt x="34" y="13"/>
                  <a:pt x="32" y="13"/>
                  <a:pt x="30" y="13"/>
                </a:cubicBezTo>
                <a:cubicBezTo>
                  <a:pt x="30" y="13"/>
                  <a:pt x="30" y="13"/>
                  <a:pt x="30" y="13"/>
                </a:cubicBezTo>
                <a:cubicBezTo>
                  <a:pt x="29" y="13"/>
                  <a:pt x="28" y="13"/>
                  <a:pt x="27" y="13"/>
                </a:cubicBezTo>
                <a:cubicBezTo>
                  <a:pt x="27" y="13"/>
                  <a:pt x="27" y="13"/>
                  <a:pt x="27" y="13"/>
                </a:cubicBezTo>
                <a:cubicBezTo>
                  <a:pt x="27" y="13"/>
                  <a:pt x="27" y="13"/>
                  <a:pt x="26" y="13"/>
                </a:cubicBezTo>
                <a:cubicBezTo>
                  <a:pt x="26" y="13"/>
                  <a:pt x="26" y="13"/>
                  <a:pt x="26" y="13"/>
                </a:cubicBezTo>
                <a:cubicBezTo>
                  <a:pt x="25" y="13"/>
                  <a:pt x="25" y="13"/>
                  <a:pt x="25" y="13"/>
                </a:cubicBezTo>
                <a:cubicBezTo>
                  <a:pt x="25" y="13"/>
                  <a:pt x="25" y="13"/>
                  <a:pt x="25" y="13"/>
                </a:cubicBezTo>
                <a:cubicBezTo>
                  <a:pt x="25" y="13"/>
                  <a:pt x="25" y="13"/>
                  <a:pt x="24" y="13"/>
                </a:cubicBezTo>
                <a:cubicBezTo>
                  <a:pt x="24" y="13"/>
                  <a:pt x="24" y="13"/>
                  <a:pt x="24" y="13"/>
                </a:cubicBezTo>
                <a:cubicBezTo>
                  <a:pt x="24" y="13"/>
                  <a:pt x="23" y="13"/>
                  <a:pt x="22" y="13"/>
                </a:cubicBezTo>
                <a:cubicBezTo>
                  <a:pt x="22" y="13"/>
                  <a:pt x="22" y="13"/>
                  <a:pt x="22" y="13"/>
                </a:cubicBezTo>
                <a:cubicBezTo>
                  <a:pt x="22" y="13"/>
                  <a:pt x="22" y="13"/>
                  <a:pt x="21" y="13"/>
                </a:cubicBezTo>
                <a:cubicBezTo>
                  <a:pt x="21" y="13"/>
                  <a:pt x="21" y="13"/>
                  <a:pt x="21" y="13"/>
                </a:cubicBezTo>
                <a:cubicBezTo>
                  <a:pt x="21" y="13"/>
                  <a:pt x="20" y="13"/>
                  <a:pt x="20" y="13"/>
                </a:cubicBezTo>
                <a:cubicBezTo>
                  <a:pt x="19" y="13"/>
                  <a:pt x="19" y="12"/>
                  <a:pt x="18" y="12"/>
                </a:cubicBezTo>
                <a:cubicBezTo>
                  <a:pt x="18" y="12"/>
                  <a:pt x="18" y="12"/>
                  <a:pt x="18" y="12"/>
                </a:cubicBezTo>
                <a:cubicBezTo>
                  <a:pt x="18" y="12"/>
                  <a:pt x="17" y="12"/>
                  <a:pt x="17" y="12"/>
                </a:cubicBezTo>
                <a:cubicBezTo>
                  <a:pt x="17" y="12"/>
                  <a:pt x="17" y="12"/>
                  <a:pt x="16" y="11"/>
                </a:cubicBezTo>
                <a:cubicBezTo>
                  <a:pt x="16" y="11"/>
                  <a:pt x="15" y="11"/>
                  <a:pt x="15" y="10"/>
                </a:cubicBezTo>
                <a:cubicBezTo>
                  <a:pt x="14" y="10"/>
                  <a:pt x="14" y="10"/>
                  <a:pt x="14" y="10"/>
                </a:cubicBezTo>
                <a:cubicBezTo>
                  <a:pt x="15" y="10"/>
                  <a:pt x="15" y="10"/>
                  <a:pt x="15" y="10"/>
                </a:cubicBezTo>
                <a:cubicBezTo>
                  <a:pt x="15" y="9"/>
                  <a:pt x="15" y="9"/>
                  <a:pt x="15" y="9"/>
                </a:cubicBezTo>
                <a:cubicBezTo>
                  <a:pt x="15" y="9"/>
                  <a:pt x="15" y="8"/>
                  <a:pt x="15" y="7"/>
                </a:cubicBezTo>
                <a:cubicBezTo>
                  <a:pt x="15" y="6"/>
                  <a:pt x="15" y="6"/>
                  <a:pt x="15" y="6"/>
                </a:cubicBezTo>
                <a:cubicBezTo>
                  <a:pt x="15" y="6"/>
                  <a:pt x="15" y="6"/>
                  <a:pt x="15" y="5"/>
                </a:cubicBezTo>
                <a:cubicBezTo>
                  <a:pt x="15" y="5"/>
                  <a:pt x="15" y="4"/>
                  <a:pt x="15" y="3"/>
                </a:cubicBezTo>
                <a:cubicBezTo>
                  <a:pt x="14" y="4"/>
                  <a:pt x="12" y="4"/>
                  <a:pt x="11" y="4"/>
                </a:cubicBezTo>
                <a:cubicBezTo>
                  <a:pt x="10" y="4"/>
                  <a:pt x="10" y="4"/>
                  <a:pt x="10" y="4"/>
                </a:cubicBezTo>
                <a:cubicBezTo>
                  <a:pt x="10" y="3"/>
                  <a:pt x="9" y="2"/>
                  <a:pt x="9" y="1"/>
                </a:cubicBezTo>
                <a:cubicBezTo>
                  <a:pt x="8" y="1"/>
                  <a:pt x="8" y="1"/>
                  <a:pt x="8" y="1"/>
                </a:cubicBezTo>
                <a:cubicBezTo>
                  <a:pt x="7" y="1"/>
                  <a:pt x="7" y="1"/>
                  <a:pt x="6" y="1"/>
                </a:cubicBezTo>
                <a:cubicBezTo>
                  <a:pt x="5" y="1"/>
                  <a:pt x="5" y="1"/>
                  <a:pt x="5" y="1"/>
                </a:cubicBezTo>
                <a:cubicBezTo>
                  <a:pt x="5" y="1"/>
                  <a:pt x="4" y="1"/>
                  <a:pt x="4" y="0"/>
                </a:cubicBezTo>
                <a:cubicBezTo>
                  <a:pt x="3" y="0"/>
                  <a:pt x="3" y="0"/>
                  <a:pt x="3" y="0"/>
                </a:cubicBezTo>
                <a:cubicBezTo>
                  <a:pt x="3" y="0"/>
                  <a:pt x="2" y="1"/>
                  <a:pt x="1" y="3"/>
                </a:cubicBezTo>
                <a:cubicBezTo>
                  <a:pt x="1" y="3"/>
                  <a:pt x="1" y="3"/>
                  <a:pt x="1" y="3"/>
                </a:cubicBezTo>
                <a:cubicBezTo>
                  <a:pt x="1" y="3"/>
                  <a:pt x="1" y="3"/>
                  <a:pt x="1" y="3"/>
                </a:cubicBezTo>
                <a:cubicBezTo>
                  <a:pt x="0" y="3"/>
                  <a:pt x="0" y="3"/>
                  <a:pt x="0" y="3"/>
                </a:cubicBezTo>
                <a:cubicBezTo>
                  <a:pt x="0" y="3"/>
                  <a:pt x="0" y="3"/>
                  <a:pt x="0" y="4"/>
                </a:cubicBezTo>
                <a:cubicBezTo>
                  <a:pt x="1" y="4"/>
                  <a:pt x="1" y="4"/>
                  <a:pt x="1" y="4"/>
                </a:cubicBezTo>
                <a:cubicBezTo>
                  <a:pt x="1" y="4"/>
                  <a:pt x="1" y="4"/>
                  <a:pt x="1" y="4"/>
                </a:cubicBezTo>
                <a:cubicBezTo>
                  <a:pt x="2" y="4"/>
                  <a:pt x="3" y="5"/>
                  <a:pt x="3" y="6"/>
                </a:cubicBezTo>
                <a:cubicBezTo>
                  <a:pt x="3" y="6"/>
                  <a:pt x="3" y="6"/>
                  <a:pt x="3" y="6"/>
                </a:cubicBezTo>
                <a:cubicBezTo>
                  <a:pt x="3" y="6"/>
                  <a:pt x="3" y="6"/>
                  <a:pt x="4" y="6"/>
                </a:cubicBezTo>
                <a:cubicBezTo>
                  <a:pt x="4" y="7"/>
                  <a:pt x="4" y="7"/>
                  <a:pt x="4" y="7"/>
                </a:cubicBezTo>
                <a:cubicBezTo>
                  <a:pt x="5" y="7"/>
                  <a:pt x="5" y="7"/>
                  <a:pt x="5" y="7"/>
                </a:cubicBezTo>
                <a:cubicBezTo>
                  <a:pt x="5" y="7"/>
                  <a:pt x="5" y="7"/>
                  <a:pt x="6" y="7"/>
                </a:cubicBezTo>
                <a:cubicBezTo>
                  <a:pt x="7" y="7"/>
                  <a:pt x="7" y="8"/>
                  <a:pt x="7" y="9"/>
                </a:cubicBezTo>
                <a:cubicBezTo>
                  <a:pt x="7" y="9"/>
                  <a:pt x="7" y="9"/>
                  <a:pt x="8" y="9"/>
                </a:cubicBezTo>
                <a:cubicBezTo>
                  <a:pt x="8" y="9"/>
                  <a:pt x="8" y="9"/>
                  <a:pt x="8" y="9"/>
                </a:cubicBezTo>
                <a:cubicBezTo>
                  <a:pt x="11" y="10"/>
                  <a:pt x="11" y="10"/>
                  <a:pt x="11" y="10"/>
                </a:cubicBezTo>
                <a:cubicBezTo>
                  <a:pt x="9" y="12"/>
                  <a:pt x="9" y="12"/>
                  <a:pt x="9" y="12"/>
                </a:cubicBezTo>
                <a:cubicBezTo>
                  <a:pt x="9" y="12"/>
                  <a:pt x="9" y="12"/>
                  <a:pt x="9" y="12"/>
                </a:cubicBezTo>
                <a:cubicBezTo>
                  <a:pt x="9" y="13"/>
                  <a:pt x="9" y="13"/>
                  <a:pt x="9" y="13"/>
                </a:cubicBezTo>
                <a:cubicBezTo>
                  <a:pt x="7" y="13"/>
                  <a:pt x="7" y="13"/>
                  <a:pt x="7" y="13"/>
                </a:cubicBezTo>
                <a:cubicBezTo>
                  <a:pt x="7" y="13"/>
                  <a:pt x="6" y="13"/>
                  <a:pt x="6" y="13"/>
                </a:cubicBezTo>
                <a:cubicBezTo>
                  <a:pt x="4" y="13"/>
                  <a:pt x="3" y="13"/>
                  <a:pt x="3" y="14"/>
                </a:cubicBezTo>
                <a:cubicBezTo>
                  <a:pt x="3" y="15"/>
                  <a:pt x="2" y="16"/>
                  <a:pt x="2" y="16"/>
                </a:cubicBezTo>
                <a:cubicBezTo>
                  <a:pt x="1" y="16"/>
                  <a:pt x="1" y="16"/>
                  <a:pt x="1" y="16"/>
                </a:cubicBezTo>
                <a:cubicBezTo>
                  <a:pt x="1" y="16"/>
                  <a:pt x="1" y="16"/>
                  <a:pt x="0" y="16"/>
                </a:cubicBezTo>
                <a:cubicBezTo>
                  <a:pt x="0" y="17"/>
                  <a:pt x="0" y="17"/>
                  <a:pt x="0" y="17"/>
                </a:cubicBezTo>
                <a:cubicBezTo>
                  <a:pt x="0" y="17"/>
                  <a:pt x="0" y="18"/>
                  <a:pt x="0" y="18"/>
                </a:cubicBezTo>
                <a:cubicBezTo>
                  <a:pt x="0" y="18"/>
                  <a:pt x="1" y="18"/>
                  <a:pt x="1" y="18"/>
                </a:cubicBezTo>
                <a:cubicBezTo>
                  <a:pt x="1" y="19"/>
                  <a:pt x="1" y="19"/>
                  <a:pt x="1" y="19"/>
                </a:cubicBezTo>
                <a:cubicBezTo>
                  <a:pt x="1" y="19"/>
                  <a:pt x="2" y="19"/>
                  <a:pt x="2" y="19"/>
                </a:cubicBezTo>
                <a:cubicBezTo>
                  <a:pt x="2" y="19"/>
                  <a:pt x="3" y="19"/>
                  <a:pt x="3" y="19"/>
                </a:cubicBezTo>
                <a:cubicBezTo>
                  <a:pt x="3" y="20"/>
                  <a:pt x="3" y="20"/>
                  <a:pt x="3" y="20"/>
                </a:cubicBezTo>
                <a:cubicBezTo>
                  <a:pt x="3" y="20"/>
                  <a:pt x="3" y="20"/>
                  <a:pt x="3" y="20"/>
                </a:cubicBezTo>
                <a:cubicBezTo>
                  <a:pt x="4" y="18"/>
                  <a:pt x="4" y="18"/>
                  <a:pt x="4" y="18"/>
                </a:cubicBezTo>
                <a:cubicBezTo>
                  <a:pt x="4" y="20"/>
                  <a:pt x="4" y="20"/>
                  <a:pt x="4" y="20"/>
                </a:cubicBezTo>
                <a:cubicBezTo>
                  <a:pt x="4" y="20"/>
                  <a:pt x="4" y="20"/>
                  <a:pt x="4" y="20"/>
                </a:cubicBezTo>
                <a:cubicBezTo>
                  <a:pt x="4" y="20"/>
                  <a:pt x="5" y="20"/>
                  <a:pt x="5" y="20"/>
                </a:cubicBezTo>
                <a:cubicBezTo>
                  <a:pt x="6" y="20"/>
                  <a:pt x="6" y="21"/>
                  <a:pt x="7" y="21"/>
                </a:cubicBezTo>
                <a:cubicBezTo>
                  <a:pt x="7" y="22"/>
                  <a:pt x="7" y="22"/>
                  <a:pt x="7" y="23"/>
                </a:cubicBezTo>
                <a:cubicBezTo>
                  <a:pt x="7" y="25"/>
                  <a:pt x="7" y="25"/>
                  <a:pt x="6" y="25"/>
                </a:cubicBezTo>
                <a:cubicBezTo>
                  <a:pt x="6" y="26"/>
                  <a:pt x="6" y="26"/>
                  <a:pt x="6" y="26"/>
                </a:cubicBezTo>
                <a:cubicBezTo>
                  <a:pt x="6" y="26"/>
                  <a:pt x="6" y="26"/>
                  <a:pt x="6" y="26"/>
                </a:cubicBezTo>
                <a:cubicBezTo>
                  <a:pt x="6" y="27"/>
                  <a:pt x="6" y="27"/>
                  <a:pt x="6" y="27"/>
                </a:cubicBezTo>
                <a:cubicBezTo>
                  <a:pt x="5" y="28"/>
                  <a:pt x="5" y="28"/>
                  <a:pt x="6" y="28"/>
                </a:cubicBezTo>
                <a:cubicBezTo>
                  <a:pt x="6" y="29"/>
                  <a:pt x="6" y="29"/>
                  <a:pt x="7" y="29"/>
                </a:cubicBezTo>
                <a:cubicBezTo>
                  <a:pt x="7" y="29"/>
                  <a:pt x="7" y="29"/>
                  <a:pt x="7" y="29"/>
                </a:cubicBezTo>
                <a:cubicBezTo>
                  <a:pt x="7" y="30"/>
                  <a:pt x="7" y="30"/>
                  <a:pt x="7" y="30"/>
                </a:cubicBezTo>
                <a:cubicBezTo>
                  <a:pt x="7" y="30"/>
                  <a:pt x="7" y="30"/>
                  <a:pt x="7" y="30"/>
                </a:cubicBezTo>
                <a:cubicBezTo>
                  <a:pt x="7" y="31"/>
                  <a:pt x="7" y="31"/>
                  <a:pt x="7" y="31"/>
                </a:cubicBezTo>
                <a:cubicBezTo>
                  <a:pt x="6" y="31"/>
                  <a:pt x="6" y="31"/>
                  <a:pt x="6" y="31"/>
                </a:cubicBezTo>
                <a:cubicBezTo>
                  <a:pt x="7" y="31"/>
                  <a:pt x="7" y="31"/>
                  <a:pt x="7" y="31"/>
                </a:cubicBezTo>
                <a:cubicBezTo>
                  <a:pt x="7" y="31"/>
                  <a:pt x="7" y="31"/>
                  <a:pt x="7" y="31"/>
                </a:cubicBezTo>
                <a:cubicBezTo>
                  <a:pt x="7" y="31"/>
                  <a:pt x="7" y="31"/>
                  <a:pt x="7" y="31"/>
                </a:cubicBezTo>
                <a:cubicBezTo>
                  <a:pt x="8" y="32"/>
                  <a:pt x="8" y="32"/>
                  <a:pt x="8" y="32"/>
                </a:cubicBezTo>
                <a:cubicBezTo>
                  <a:pt x="8" y="32"/>
                  <a:pt x="8" y="33"/>
                  <a:pt x="9" y="33"/>
                </a:cubicBezTo>
                <a:cubicBezTo>
                  <a:pt x="9" y="33"/>
                  <a:pt x="9" y="34"/>
                  <a:pt x="9" y="34"/>
                </a:cubicBezTo>
                <a:cubicBezTo>
                  <a:pt x="9" y="34"/>
                  <a:pt x="9" y="34"/>
                  <a:pt x="9" y="34"/>
                </a:cubicBezTo>
                <a:cubicBezTo>
                  <a:pt x="9" y="35"/>
                  <a:pt x="9" y="35"/>
                  <a:pt x="9" y="35"/>
                </a:cubicBezTo>
                <a:cubicBezTo>
                  <a:pt x="9" y="35"/>
                  <a:pt x="8" y="35"/>
                  <a:pt x="8" y="35"/>
                </a:cubicBezTo>
                <a:cubicBezTo>
                  <a:pt x="8" y="36"/>
                  <a:pt x="8" y="36"/>
                  <a:pt x="9" y="36"/>
                </a:cubicBezTo>
                <a:cubicBezTo>
                  <a:pt x="9" y="37"/>
                  <a:pt x="9" y="37"/>
                  <a:pt x="9" y="38"/>
                </a:cubicBezTo>
                <a:cubicBezTo>
                  <a:pt x="9" y="38"/>
                  <a:pt x="9" y="38"/>
                  <a:pt x="9" y="38"/>
                </a:cubicBezTo>
                <a:cubicBezTo>
                  <a:pt x="9" y="38"/>
                  <a:pt x="9" y="38"/>
                  <a:pt x="9" y="38"/>
                </a:cubicBezTo>
                <a:cubicBezTo>
                  <a:pt x="9" y="38"/>
                  <a:pt x="9" y="38"/>
                  <a:pt x="9" y="38"/>
                </a:cubicBezTo>
                <a:cubicBezTo>
                  <a:pt x="9" y="39"/>
                  <a:pt x="9" y="39"/>
                  <a:pt x="9" y="39"/>
                </a:cubicBezTo>
                <a:cubicBezTo>
                  <a:pt x="9" y="42"/>
                  <a:pt x="9" y="42"/>
                  <a:pt x="9" y="42"/>
                </a:cubicBezTo>
                <a:cubicBezTo>
                  <a:pt x="10" y="43"/>
                  <a:pt x="10" y="44"/>
                  <a:pt x="10" y="44"/>
                </a:cubicBezTo>
                <a:cubicBezTo>
                  <a:pt x="10" y="45"/>
                  <a:pt x="10" y="45"/>
                  <a:pt x="10" y="46"/>
                </a:cubicBezTo>
                <a:cubicBezTo>
                  <a:pt x="10" y="47"/>
                  <a:pt x="10" y="47"/>
                  <a:pt x="10" y="47"/>
                </a:cubicBezTo>
                <a:cubicBezTo>
                  <a:pt x="9" y="47"/>
                  <a:pt x="9" y="47"/>
                  <a:pt x="9" y="47"/>
                </a:cubicBezTo>
                <a:cubicBezTo>
                  <a:pt x="9" y="49"/>
                  <a:pt x="10" y="50"/>
                  <a:pt x="11" y="50"/>
                </a:cubicBezTo>
                <a:cubicBezTo>
                  <a:pt x="11" y="50"/>
                  <a:pt x="11" y="47"/>
                  <a:pt x="12" y="46"/>
                </a:cubicBezTo>
                <a:cubicBezTo>
                  <a:pt x="12" y="47"/>
                  <a:pt x="12" y="48"/>
                  <a:pt x="12" y="49"/>
                </a:cubicBezTo>
                <a:cubicBezTo>
                  <a:pt x="14" y="48"/>
                  <a:pt x="13" y="45"/>
                  <a:pt x="13" y="43"/>
                </a:cubicBezTo>
                <a:cubicBezTo>
                  <a:pt x="13" y="44"/>
                  <a:pt x="13" y="45"/>
                  <a:pt x="14" y="46"/>
                </a:cubicBezTo>
                <a:cubicBezTo>
                  <a:pt x="14" y="45"/>
                  <a:pt x="14" y="44"/>
                  <a:pt x="14" y="42"/>
                </a:cubicBezTo>
                <a:cubicBezTo>
                  <a:pt x="14" y="44"/>
                  <a:pt x="13" y="47"/>
                  <a:pt x="14" y="49"/>
                </a:cubicBezTo>
                <a:cubicBezTo>
                  <a:pt x="14" y="48"/>
                  <a:pt x="14" y="47"/>
                  <a:pt x="15" y="47"/>
                </a:cubicBezTo>
                <a:cubicBezTo>
                  <a:pt x="16" y="48"/>
                  <a:pt x="17" y="48"/>
                  <a:pt x="17" y="46"/>
                </a:cubicBezTo>
                <a:cubicBezTo>
                  <a:pt x="17" y="44"/>
                  <a:pt x="17" y="43"/>
                  <a:pt x="18" y="41"/>
                </a:cubicBezTo>
                <a:cubicBezTo>
                  <a:pt x="17" y="43"/>
                  <a:pt x="17" y="45"/>
                  <a:pt x="18" y="46"/>
                </a:cubicBezTo>
                <a:cubicBezTo>
                  <a:pt x="18" y="45"/>
                  <a:pt x="18" y="45"/>
                  <a:pt x="19" y="44"/>
                </a:cubicBezTo>
                <a:cubicBezTo>
                  <a:pt x="19" y="45"/>
                  <a:pt x="19" y="46"/>
                  <a:pt x="19" y="46"/>
                </a:cubicBezTo>
                <a:cubicBezTo>
                  <a:pt x="19" y="45"/>
                  <a:pt x="20" y="45"/>
                  <a:pt x="21" y="44"/>
                </a:cubicBezTo>
                <a:cubicBezTo>
                  <a:pt x="20" y="45"/>
                  <a:pt x="19" y="46"/>
                  <a:pt x="20" y="47"/>
                </a:cubicBezTo>
                <a:cubicBezTo>
                  <a:pt x="20" y="48"/>
                  <a:pt x="20" y="48"/>
                  <a:pt x="21" y="48"/>
                </a:cubicBezTo>
                <a:cubicBezTo>
                  <a:pt x="22" y="47"/>
                  <a:pt x="22" y="44"/>
                  <a:pt x="22" y="43"/>
                </a:cubicBezTo>
                <a:cubicBezTo>
                  <a:pt x="25" y="47"/>
                  <a:pt x="24" y="38"/>
                  <a:pt x="23" y="40"/>
                </a:cubicBezTo>
                <a:cubicBezTo>
                  <a:pt x="23" y="39"/>
                  <a:pt x="23" y="39"/>
                  <a:pt x="22" y="38"/>
                </a:cubicBezTo>
                <a:cubicBezTo>
                  <a:pt x="22" y="38"/>
                  <a:pt x="24" y="37"/>
                  <a:pt x="24" y="36"/>
                </a:cubicBezTo>
                <a:cubicBezTo>
                  <a:pt x="23" y="35"/>
                  <a:pt x="23" y="35"/>
                  <a:pt x="24" y="34"/>
                </a:cubicBezTo>
                <a:cubicBezTo>
                  <a:pt x="25" y="33"/>
                  <a:pt x="21" y="31"/>
                  <a:pt x="21" y="31"/>
                </a:cubicBezTo>
                <a:cubicBezTo>
                  <a:pt x="21" y="30"/>
                  <a:pt x="21" y="30"/>
                  <a:pt x="21" y="30"/>
                </a:cubicBezTo>
                <a:cubicBezTo>
                  <a:pt x="21" y="31"/>
                  <a:pt x="22" y="31"/>
                  <a:pt x="23" y="31"/>
                </a:cubicBezTo>
                <a:cubicBezTo>
                  <a:pt x="23" y="31"/>
                  <a:pt x="23" y="30"/>
                  <a:pt x="23" y="30"/>
                </a:cubicBezTo>
                <a:cubicBezTo>
                  <a:pt x="23" y="29"/>
                  <a:pt x="23" y="29"/>
                  <a:pt x="23" y="29"/>
                </a:cubicBezTo>
                <a:cubicBezTo>
                  <a:pt x="25" y="29"/>
                  <a:pt x="25" y="29"/>
                  <a:pt x="25" y="29"/>
                </a:cubicBezTo>
                <a:cubicBezTo>
                  <a:pt x="25" y="29"/>
                  <a:pt x="25" y="30"/>
                  <a:pt x="24" y="30"/>
                </a:cubicBezTo>
                <a:cubicBezTo>
                  <a:pt x="25" y="30"/>
                  <a:pt x="25" y="30"/>
                  <a:pt x="25" y="29"/>
                </a:cubicBezTo>
                <a:cubicBezTo>
                  <a:pt x="25" y="30"/>
                  <a:pt x="25" y="31"/>
                  <a:pt x="24" y="32"/>
                </a:cubicBezTo>
                <a:cubicBezTo>
                  <a:pt x="25" y="32"/>
                  <a:pt x="25" y="34"/>
                  <a:pt x="25" y="35"/>
                </a:cubicBezTo>
                <a:cubicBezTo>
                  <a:pt x="25" y="36"/>
                  <a:pt x="26" y="37"/>
                  <a:pt x="27" y="37"/>
                </a:cubicBezTo>
                <a:cubicBezTo>
                  <a:pt x="29" y="37"/>
                  <a:pt x="33" y="39"/>
                  <a:pt x="33" y="36"/>
                </a:cubicBezTo>
                <a:cubicBezTo>
                  <a:pt x="33" y="36"/>
                  <a:pt x="33" y="36"/>
                  <a:pt x="33" y="36"/>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00" name="Freeform 3157">
            <a:extLst>
              <a:ext uri="{FF2B5EF4-FFF2-40B4-BE49-F238E27FC236}">
                <a16:creationId xmlns:a16="http://schemas.microsoft.com/office/drawing/2014/main" id="{C697C1B0-5272-496B-A837-E63D1F3DB0DC}"/>
              </a:ext>
            </a:extLst>
          </p:cNvPr>
          <p:cNvSpPr>
            <a:spLocks/>
          </p:cNvSpPr>
          <p:nvPr/>
        </p:nvSpPr>
        <p:spPr bwMode="auto">
          <a:xfrm>
            <a:off x="4442121" y="3451103"/>
            <a:ext cx="991" cy="1781"/>
          </a:xfrm>
          <a:custGeom>
            <a:avLst/>
            <a:gdLst>
              <a:gd name="T0" fmla="*/ 1 w 1"/>
              <a:gd name="T1" fmla="*/ 1 h 1"/>
              <a:gd name="T2" fmla="*/ 0 w 1"/>
              <a:gd name="T3" fmla="*/ 0 h 1"/>
              <a:gd name="T4" fmla="*/ 0 w 1"/>
              <a:gd name="T5" fmla="*/ 0 h 1"/>
              <a:gd name="T6" fmla="*/ 0 w 1"/>
              <a:gd name="T7" fmla="*/ 0 h 1"/>
              <a:gd name="T8" fmla="*/ 0 w 1"/>
              <a:gd name="T9" fmla="*/ 1 h 1"/>
              <a:gd name="T10" fmla="*/ 0 w 1"/>
              <a:gd name="T11" fmla="*/ 1 h 1"/>
              <a:gd name="T12" fmla="*/ 1 w 1"/>
              <a:gd name="T13" fmla="*/ 1 h 1"/>
              <a:gd name="T14" fmla="*/ 1 w 1"/>
              <a:gd name="T15" fmla="*/ 1 h 1"/>
              <a:gd name="T16" fmla="*/ 1 w 1"/>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
                <a:moveTo>
                  <a:pt x="1" y="1"/>
                </a:moveTo>
                <a:cubicBezTo>
                  <a:pt x="0" y="1"/>
                  <a:pt x="0" y="0"/>
                  <a:pt x="0" y="0"/>
                </a:cubicBezTo>
                <a:cubicBezTo>
                  <a:pt x="0" y="0"/>
                  <a:pt x="0" y="0"/>
                  <a:pt x="0" y="0"/>
                </a:cubicBezTo>
                <a:cubicBezTo>
                  <a:pt x="0" y="0"/>
                  <a:pt x="0" y="0"/>
                  <a:pt x="0" y="0"/>
                </a:cubicBezTo>
                <a:cubicBezTo>
                  <a:pt x="0" y="0"/>
                  <a:pt x="0" y="0"/>
                  <a:pt x="0" y="1"/>
                </a:cubicBezTo>
                <a:cubicBezTo>
                  <a:pt x="0" y="1"/>
                  <a:pt x="0" y="1"/>
                  <a:pt x="0" y="1"/>
                </a:cubicBezTo>
                <a:cubicBezTo>
                  <a:pt x="1" y="1"/>
                  <a:pt x="1" y="1"/>
                  <a:pt x="1" y="1"/>
                </a:cubicBezTo>
                <a:cubicBezTo>
                  <a:pt x="1" y="1"/>
                  <a:pt x="1" y="1"/>
                  <a:pt x="1" y="1"/>
                </a:cubicBezTo>
                <a:cubicBezTo>
                  <a:pt x="1" y="1"/>
                  <a:pt x="1" y="1"/>
                  <a:pt x="1" y="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01" name="Freeform 3158">
            <a:extLst>
              <a:ext uri="{FF2B5EF4-FFF2-40B4-BE49-F238E27FC236}">
                <a16:creationId xmlns:a16="http://schemas.microsoft.com/office/drawing/2014/main" id="{860BF627-A3E0-43F5-A168-497E3CF4F9CE}"/>
              </a:ext>
            </a:extLst>
          </p:cNvPr>
          <p:cNvSpPr>
            <a:spLocks/>
          </p:cNvSpPr>
          <p:nvPr/>
        </p:nvSpPr>
        <p:spPr bwMode="auto">
          <a:xfrm>
            <a:off x="4443112" y="3454071"/>
            <a:ext cx="2478" cy="4155"/>
          </a:xfrm>
          <a:custGeom>
            <a:avLst/>
            <a:gdLst>
              <a:gd name="T0" fmla="*/ 1 w 2"/>
              <a:gd name="T1" fmla="*/ 0 h 3"/>
              <a:gd name="T2" fmla="*/ 1 w 2"/>
              <a:gd name="T3" fmla="*/ 0 h 3"/>
              <a:gd name="T4" fmla="*/ 1 w 2"/>
              <a:gd name="T5" fmla="*/ 0 h 3"/>
              <a:gd name="T6" fmla="*/ 0 w 2"/>
              <a:gd name="T7" fmla="*/ 0 h 3"/>
              <a:gd name="T8" fmla="*/ 2 w 2"/>
              <a:gd name="T9" fmla="*/ 3 h 3"/>
              <a:gd name="T10" fmla="*/ 2 w 2"/>
              <a:gd name="T11" fmla="*/ 1 h 3"/>
              <a:gd name="T12" fmla="*/ 1 w 2"/>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1" y="0"/>
                </a:moveTo>
                <a:cubicBezTo>
                  <a:pt x="1" y="0"/>
                  <a:pt x="1" y="0"/>
                  <a:pt x="1" y="0"/>
                </a:cubicBezTo>
                <a:cubicBezTo>
                  <a:pt x="1" y="0"/>
                  <a:pt x="1" y="0"/>
                  <a:pt x="1" y="0"/>
                </a:cubicBezTo>
                <a:cubicBezTo>
                  <a:pt x="0" y="0"/>
                  <a:pt x="0" y="0"/>
                  <a:pt x="0" y="0"/>
                </a:cubicBezTo>
                <a:cubicBezTo>
                  <a:pt x="1" y="1"/>
                  <a:pt x="1" y="2"/>
                  <a:pt x="2" y="3"/>
                </a:cubicBezTo>
                <a:cubicBezTo>
                  <a:pt x="2" y="2"/>
                  <a:pt x="2" y="2"/>
                  <a:pt x="2" y="1"/>
                </a:cubicBezTo>
                <a:cubicBezTo>
                  <a:pt x="1" y="1"/>
                  <a:pt x="1" y="1"/>
                  <a:pt x="1"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02" name="Freeform 3159">
            <a:extLst>
              <a:ext uri="{FF2B5EF4-FFF2-40B4-BE49-F238E27FC236}">
                <a16:creationId xmlns:a16="http://schemas.microsoft.com/office/drawing/2014/main" id="{AFEC399D-49EA-40DD-8469-EF5EC3EE82FE}"/>
              </a:ext>
            </a:extLst>
          </p:cNvPr>
          <p:cNvSpPr>
            <a:spLocks/>
          </p:cNvSpPr>
          <p:nvPr/>
        </p:nvSpPr>
        <p:spPr bwMode="auto">
          <a:xfrm>
            <a:off x="4445590" y="3340100"/>
            <a:ext cx="101590" cy="272460"/>
          </a:xfrm>
          <a:custGeom>
            <a:avLst/>
            <a:gdLst>
              <a:gd name="T0" fmla="*/ 65 w 87"/>
              <a:gd name="T1" fmla="*/ 173 h 194"/>
              <a:gd name="T2" fmla="*/ 64 w 87"/>
              <a:gd name="T3" fmla="*/ 176 h 194"/>
              <a:gd name="T4" fmla="*/ 65 w 87"/>
              <a:gd name="T5" fmla="*/ 184 h 194"/>
              <a:gd name="T6" fmla="*/ 68 w 87"/>
              <a:gd name="T7" fmla="*/ 185 h 194"/>
              <a:gd name="T8" fmla="*/ 72 w 87"/>
              <a:gd name="T9" fmla="*/ 171 h 194"/>
              <a:gd name="T10" fmla="*/ 69 w 87"/>
              <a:gd name="T11" fmla="*/ 162 h 194"/>
              <a:gd name="T12" fmla="*/ 68 w 87"/>
              <a:gd name="T13" fmla="*/ 156 h 194"/>
              <a:gd name="T14" fmla="*/ 62 w 87"/>
              <a:gd name="T15" fmla="*/ 140 h 194"/>
              <a:gd name="T16" fmla="*/ 64 w 87"/>
              <a:gd name="T17" fmla="*/ 131 h 194"/>
              <a:gd name="T18" fmla="*/ 62 w 87"/>
              <a:gd name="T19" fmla="*/ 124 h 194"/>
              <a:gd name="T20" fmla="*/ 54 w 87"/>
              <a:gd name="T21" fmla="*/ 113 h 194"/>
              <a:gd name="T22" fmla="*/ 53 w 87"/>
              <a:gd name="T23" fmla="*/ 105 h 194"/>
              <a:gd name="T24" fmla="*/ 57 w 87"/>
              <a:gd name="T25" fmla="*/ 93 h 194"/>
              <a:gd name="T26" fmla="*/ 63 w 87"/>
              <a:gd name="T27" fmla="*/ 91 h 194"/>
              <a:gd name="T28" fmla="*/ 68 w 87"/>
              <a:gd name="T29" fmla="*/ 92 h 194"/>
              <a:gd name="T30" fmla="*/ 73 w 87"/>
              <a:gd name="T31" fmla="*/ 86 h 194"/>
              <a:gd name="T32" fmla="*/ 75 w 87"/>
              <a:gd name="T33" fmla="*/ 79 h 194"/>
              <a:gd name="T34" fmla="*/ 84 w 87"/>
              <a:gd name="T35" fmla="*/ 78 h 194"/>
              <a:gd name="T36" fmla="*/ 78 w 87"/>
              <a:gd name="T37" fmla="*/ 75 h 194"/>
              <a:gd name="T38" fmla="*/ 68 w 87"/>
              <a:gd name="T39" fmla="*/ 69 h 194"/>
              <a:gd name="T40" fmla="*/ 71 w 87"/>
              <a:gd name="T41" fmla="*/ 61 h 194"/>
              <a:gd name="T42" fmla="*/ 71 w 87"/>
              <a:gd name="T43" fmla="*/ 60 h 194"/>
              <a:gd name="T44" fmla="*/ 65 w 87"/>
              <a:gd name="T45" fmla="*/ 53 h 194"/>
              <a:gd name="T46" fmla="*/ 64 w 87"/>
              <a:gd name="T47" fmla="*/ 49 h 194"/>
              <a:gd name="T48" fmla="*/ 60 w 87"/>
              <a:gd name="T49" fmla="*/ 49 h 194"/>
              <a:gd name="T50" fmla="*/ 54 w 87"/>
              <a:gd name="T51" fmla="*/ 46 h 194"/>
              <a:gd name="T52" fmla="*/ 54 w 87"/>
              <a:gd name="T53" fmla="*/ 39 h 194"/>
              <a:gd name="T54" fmla="*/ 56 w 87"/>
              <a:gd name="T55" fmla="*/ 33 h 194"/>
              <a:gd name="T56" fmla="*/ 58 w 87"/>
              <a:gd name="T57" fmla="*/ 32 h 194"/>
              <a:gd name="T58" fmla="*/ 63 w 87"/>
              <a:gd name="T59" fmla="*/ 27 h 194"/>
              <a:gd name="T60" fmla="*/ 64 w 87"/>
              <a:gd name="T61" fmla="*/ 21 h 194"/>
              <a:gd name="T62" fmla="*/ 62 w 87"/>
              <a:gd name="T63" fmla="*/ 10 h 194"/>
              <a:gd name="T64" fmla="*/ 56 w 87"/>
              <a:gd name="T65" fmla="*/ 2 h 194"/>
              <a:gd name="T66" fmla="*/ 53 w 87"/>
              <a:gd name="T67" fmla="*/ 4 h 194"/>
              <a:gd name="T68" fmla="*/ 45 w 87"/>
              <a:gd name="T69" fmla="*/ 13 h 194"/>
              <a:gd name="T70" fmla="*/ 30 w 87"/>
              <a:gd name="T71" fmla="*/ 23 h 194"/>
              <a:gd name="T72" fmla="*/ 21 w 87"/>
              <a:gd name="T73" fmla="*/ 48 h 194"/>
              <a:gd name="T74" fmla="*/ 12 w 87"/>
              <a:gd name="T75" fmla="*/ 58 h 194"/>
              <a:gd name="T76" fmla="*/ 4 w 87"/>
              <a:gd name="T77" fmla="*/ 72 h 194"/>
              <a:gd name="T78" fmla="*/ 0 w 87"/>
              <a:gd name="T79" fmla="*/ 79 h 194"/>
              <a:gd name="T80" fmla="*/ 1 w 87"/>
              <a:gd name="T81" fmla="*/ 82 h 194"/>
              <a:gd name="T82" fmla="*/ 5 w 87"/>
              <a:gd name="T83" fmla="*/ 89 h 194"/>
              <a:gd name="T84" fmla="*/ 7 w 87"/>
              <a:gd name="T85" fmla="*/ 91 h 194"/>
              <a:gd name="T86" fmla="*/ 14 w 87"/>
              <a:gd name="T87" fmla="*/ 93 h 194"/>
              <a:gd name="T88" fmla="*/ 16 w 87"/>
              <a:gd name="T89" fmla="*/ 100 h 194"/>
              <a:gd name="T90" fmla="*/ 14 w 87"/>
              <a:gd name="T91" fmla="*/ 101 h 194"/>
              <a:gd name="T92" fmla="*/ 18 w 87"/>
              <a:gd name="T93" fmla="*/ 101 h 194"/>
              <a:gd name="T94" fmla="*/ 23 w 87"/>
              <a:gd name="T95" fmla="*/ 116 h 194"/>
              <a:gd name="T96" fmla="*/ 23 w 87"/>
              <a:gd name="T97" fmla="*/ 131 h 194"/>
              <a:gd name="T98" fmla="*/ 25 w 87"/>
              <a:gd name="T99" fmla="*/ 133 h 194"/>
              <a:gd name="T100" fmla="*/ 27 w 87"/>
              <a:gd name="T101" fmla="*/ 136 h 194"/>
              <a:gd name="T102" fmla="*/ 31 w 87"/>
              <a:gd name="T103" fmla="*/ 133 h 194"/>
              <a:gd name="T104" fmla="*/ 40 w 87"/>
              <a:gd name="T105" fmla="*/ 128 h 194"/>
              <a:gd name="T106" fmla="*/ 46 w 87"/>
              <a:gd name="T107" fmla="*/ 118 h 194"/>
              <a:gd name="T108" fmla="*/ 55 w 87"/>
              <a:gd name="T109" fmla="*/ 128 h 194"/>
              <a:gd name="T110" fmla="*/ 56 w 87"/>
              <a:gd name="T111" fmla="*/ 145 h 194"/>
              <a:gd name="T112" fmla="*/ 59 w 87"/>
              <a:gd name="T113" fmla="*/ 155 h 194"/>
              <a:gd name="T114" fmla="*/ 62 w 87"/>
              <a:gd name="T115" fmla="*/ 15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 h="194">
                <a:moveTo>
                  <a:pt x="63" y="162"/>
                </a:moveTo>
                <a:cubicBezTo>
                  <a:pt x="64" y="163"/>
                  <a:pt x="64" y="164"/>
                  <a:pt x="64" y="165"/>
                </a:cubicBezTo>
                <a:cubicBezTo>
                  <a:pt x="65" y="166"/>
                  <a:pt x="65" y="167"/>
                  <a:pt x="65" y="168"/>
                </a:cubicBezTo>
                <a:cubicBezTo>
                  <a:pt x="65" y="168"/>
                  <a:pt x="65" y="168"/>
                  <a:pt x="65" y="169"/>
                </a:cubicBezTo>
                <a:cubicBezTo>
                  <a:pt x="65" y="169"/>
                  <a:pt x="64" y="170"/>
                  <a:pt x="64" y="171"/>
                </a:cubicBezTo>
                <a:cubicBezTo>
                  <a:pt x="64" y="172"/>
                  <a:pt x="64" y="172"/>
                  <a:pt x="63" y="173"/>
                </a:cubicBezTo>
                <a:cubicBezTo>
                  <a:pt x="64" y="173"/>
                  <a:pt x="64" y="173"/>
                  <a:pt x="65" y="173"/>
                </a:cubicBezTo>
                <a:cubicBezTo>
                  <a:pt x="65" y="173"/>
                  <a:pt x="65" y="173"/>
                  <a:pt x="65" y="173"/>
                </a:cubicBezTo>
                <a:cubicBezTo>
                  <a:pt x="65" y="173"/>
                  <a:pt x="64" y="174"/>
                  <a:pt x="64" y="175"/>
                </a:cubicBezTo>
                <a:cubicBezTo>
                  <a:pt x="64" y="175"/>
                  <a:pt x="65" y="176"/>
                  <a:pt x="65" y="176"/>
                </a:cubicBezTo>
                <a:cubicBezTo>
                  <a:pt x="64" y="175"/>
                  <a:pt x="63" y="175"/>
                  <a:pt x="63" y="175"/>
                </a:cubicBezTo>
                <a:cubicBezTo>
                  <a:pt x="63" y="175"/>
                  <a:pt x="63" y="175"/>
                  <a:pt x="63" y="174"/>
                </a:cubicBezTo>
                <a:cubicBezTo>
                  <a:pt x="63" y="175"/>
                  <a:pt x="63" y="175"/>
                  <a:pt x="62" y="175"/>
                </a:cubicBezTo>
                <a:cubicBezTo>
                  <a:pt x="62" y="175"/>
                  <a:pt x="62" y="175"/>
                  <a:pt x="62" y="175"/>
                </a:cubicBezTo>
                <a:cubicBezTo>
                  <a:pt x="62" y="177"/>
                  <a:pt x="63" y="176"/>
                  <a:pt x="65" y="176"/>
                </a:cubicBezTo>
                <a:cubicBezTo>
                  <a:pt x="65" y="176"/>
                  <a:pt x="65" y="176"/>
                  <a:pt x="64" y="176"/>
                </a:cubicBezTo>
                <a:cubicBezTo>
                  <a:pt x="64" y="176"/>
                  <a:pt x="64" y="176"/>
                  <a:pt x="64" y="176"/>
                </a:cubicBezTo>
                <a:cubicBezTo>
                  <a:pt x="64" y="176"/>
                  <a:pt x="64" y="177"/>
                  <a:pt x="64" y="177"/>
                </a:cubicBezTo>
                <a:cubicBezTo>
                  <a:pt x="64" y="178"/>
                  <a:pt x="64" y="178"/>
                  <a:pt x="64" y="178"/>
                </a:cubicBezTo>
                <a:cubicBezTo>
                  <a:pt x="65" y="179"/>
                  <a:pt x="65" y="178"/>
                  <a:pt x="66" y="177"/>
                </a:cubicBezTo>
                <a:cubicBezTo>
                  <a:pt x="67" y="179"/>
                  <a:pt x="66" y="178"/>
                  <a:pt x="66" y="179"/>
                </a:cubicBezTo>
                <a:cubicBezTo>
                  <a:pt x="66" y="179"/>
                  <a:pt x="66" y="179"/>
                  <a:pt x="65" y="180"/>
                </a:cubicBezTo>
                <a:cubicBezTo>
                  <a:pt x="65" y="180"/>
                  <a:pt x="65" y="180"/>
                  <a:pt x="65" y="180"/>
                </a:cubicBezTo>
                <a:cubicBezTo>
                  <a:pt x="65" y="181"/>
                  <a:pt x="65" y="183"/>
                  <a:pt x="65" y="184"/>
                </a:cubicBezTo>
                <a:cubicBezTo>
                  <a:pt x="65" y="184"/>
                  <a:pt x="65" y="185"/>
                  <a:pt x="65" y="185"/>
                </a:cubicBezTo>
                <a:cubicBezTo>
                  <a:pt x="65" y="187"/>
                  <a:pt x="64" y="187"/>
                  <a:pt x="63" y="188"/>
                </a:cubicBezTo>
                <a:cubicBezTo>
                  <a:pt x="62" y="189"/>
                  <a:pt x="63" y="189"/>
                  <a:pt x="63" y="190"/>
                </a:cubicBezTo>
                <a:cubicBezTo>
                  <a:pt x="63" y="191"/>
                  <a:pt x="63" y="192"/>
                  <a:pt x="63" y="192"/>
                </a:cubicBezTo>
                <a:cubicBezTo>
                  <a:pt x="63" y="193"/>
                  <a:pt x="63" y="193"/>
                  <a:pt x="63" y="194"/>
                </a:cubicBezTo>
                <a:cubicBezTo>
                  <a:pt x="63" y="194"/>
                  <a:pt x="63" y="194"/>
                  <a:pt x="63" y="194"/>
                </a:cubicBezTo>
                <a:cubicBezTo>
                  <a:pt x="65" y="190"/>
                  <a:pt x="65" y="190"/>
                  <a:pt x="65" y="190"/>
                </a:cubicBezTo>
                <a:cubicBezTo>
                  <a:pt x="66" y="188"/>
                  <a:pt x="66" y="187"/>
                  <a:pt x="68" y="185"/>
                </a:cubicBezTo>
                <a:cubicBezTo>
                  <a:pt x="68" y="185"/>
                  <a:pt x="69" y="184"/>
                  <a:pt x="70" y="183"/>
                </a:cubicBezTo>
                <a:cubicBezTo>
                  <a:pt x="71" y="182"/>
                  <a:pt x="71" y="181"/>
                  <a:pt x="72" y="180"/>
                </a:cubicBezTo>
                <a:cubicBezTo>
                  <a:pt x="72" y="179"/>
                  <a:pt x="73" y="178"/>
                  <a:pt x="73" y="177"/>
                </a:cubicBezTo>
                <a:cubicBezTo>
                  <a:pt x="73" y="177"/>
                  <a:pt x="73" y="176"/>
                  <a:pt x="73" y="175"/>
                </a:cubicBezTo>
                <a:cubicBezTo>
                  <a:pt x="73" y="175"/>
                  <a:pt x="73" y="175"/>
                  <a:pt x="73" y="175"/>
                </a:cubicBezTo>
                <a:cubicBezTo>
                  <a:pt x="73" y="175"/>
                  <a:pt x="73" y="175"/>
                  <a:pt x="73" y="175"/>
                </a:cubicBezTo>
                <a:cubicBezTo>
                  <a:pt x="72" y="174"/>
                  <a:pt x="72" y="174"/>
                  <a:pt x="72" y="174"/>
                </a:cubicBezTo>
                <a:cubicBezTo>
                  <a:pt x="72" y="173"/>
                  <a:pt x="72" y="172"/>
                  <a:pt x="72" y="171"/>
                </a:cubicBezTo>
                <a:cubicBezTo>
                  <a:pt x="71" y="171"/>
                  <a:pt x="71" y="171"/>
                  <a:pt x="71" y="171"/>
                </a:cubicBezTo>
                <a:cubicBezTo>
                  <a:pt x="71" y="171"/>
                  <a:pt x="71" y="170"/>
                  <a:pt x="71" y="170"/>
                </a:cubicBezTo>
                <a:cubicBezTo>
                  <a:pt x="71" y="169"/>
                  <a:pt x="71" y="168"/>
                  <a:pt x="70" y="168"/>
                </a:cubicBezTo>
                <a:cubicBezTo>
                  <a:pt x="70" y="167"/>
                  <a:pt x="69" y="167"/>
                  <a:pt x="69" y="167"/>
                </a:cubicBezTo>
                <a:cubicBezTo>
                  <a:pt x="69" y="166"/>
                  <a:pt x="69" y="166"/>
                  <a:pt x="69" y="166"/>
                </a:cubicBezTo>
                <a:cubicBezTo>
                  <a:pt x="69" y="166"/>
                  <a:pt x="68" y="165"/>
                  <a:pt x="68" y="164"/>
                </a:cubicBezTo>
                <a:cubicBezTo>
                  <a:pt x="68" y="163"/>
                  <a:pt x="69" y="163"/>
                  <a:pt x="69" y="162"/>
                </a:cubicBezTo>
                <a:cubicBezTo>
                  <a:pt x="69" y="162"/>
                  <a:pt x="69" y="162"/>
                  <a:pt x="69" y="162"/>
                </a:cubicBezTo>
                <a:cubicBezTo>
                  <a:pt x="69" y="162"/>
                  <a:pt x="69" y="162"/>
                  <a:pt x="69" y="162"/>
                </a:cubicBezTo>
                <a:cubicBezTo>
                  <a:pt x="69" y="162"/>
                  <a:pt x="69" y="162"/>
                  <a:pt x="69" y="161"/>
                </a:cubicBezTo>
                <a:cubicBezTo>
                  <a:pt x="69" y="161"/>
                  <a:pt x="69" y="161"/>
                  <a:pt x="69" y="160"/>
                </a:cubicBezTo>
                <a:cubicBezTo>
                  <a:pt x="69" y="159"/>
                  <a:pt x="69" y="158"/>
                  <a:pt x="69" y="158"/>
                </a:cubicBezTo>
                <a:cubicBezTo>
                  <a:pt x="69" y="158"/>
                  <a:pt x="69" y="158"/>
                  <a:pt x="69" y="158"/>
                </a:cubicBezTo>
                <a:cubicBezTo>
                  <a:pt x="69" y="157"/>
                  <a:pt x="68" y="157"/>
                  <a:pt x="68" y="157"/>
                </a:cubicBezTo>
                <a:cubicBezTo>
                  <a:pt x="68" y="157"/>
                  <a:pt x="68" y="157"/>
                  <a:pt x="68" y="157"/>
                </a:cubicBezTo>
                <a:cubicBezTo>
                  <a:pt x="68" y="156"/>
                  <a:pt x="68" y="156"/>
                  <a:pt x="68" y="156"/>
                </a:cubicBezTo>
                <a:cubicBezTo>
                  <a:pt x="67" y="156"/>
                  <a:pt x="67" y="156"/>
                  <a:pt x="67" y="156"/>
                </a:cubicBezTo>
                <a:cubicBezTo>
                  <a:pt x="66" y="154"/>
                  <a:pt x="66" y="154"/>
                  <a:pt x="66" y="154"/>
                </a:cubicBezTo>
                <a:cubicBezTo>
                  <a:pt x="65" y="154"/>
                  <a:pt x="65" y="154"/>
                  <a:pt x="65" y="153"/>
                </a:cubicBezTo>
                <a:cubicBezTo>
                  <a:pt x="64" y="153"/>
                  <a:pt x="64" y="153"/>
                  <a:pt x="64" y="153"/>
                </a:cubicBezTo>
                <a:cubicBezTo>
                  <a:pt x="63" y="151"/>
                  <a:pt x="61" y="149"/>
                  <a:pt x="60" y="146"/>
                </a:cubicBezTo>
                <a:cubicBezTo>
                  <a:pt x="59" y="145"/>
                  <a:pt x="59" y="144"/>
                  <a:pt x="59" y="143"/>
                </a:cubicBezTo>
                <a:cubicBezTo>
                  <a:pt x="59" y="141"/>
                  <a:pt x="60" y="140"/>
                  <a:pt x="61" y="140"/>
                </a:cubicBezTo>
                <a:cubicBezTo>
                  <a:pt x="62" y="140"/>
                  <a:pt x="62" y="140"/>
                  <a:pt x="62" y="140"/>
                </a:cubicBezTo>
                <a:cubicBezTo>
                  <a:pt x="62" y="140"/>
                  <a:pt x="62" y="140"/>
                  <a:pt x="63" y="140"/>
                </a:cubicBezTo>
                <a:cubicBezTo>
                  <a:pt x="63" y="140"/>
                  <a:pt x="63" y="140"/>
                  <a:pt x="63" y="139"/>
                </a:cubicBezTo>
                <a:cubicBezTo>
                  <a:pt x="63" y="139"/>
                  <a:pt x="63" y="139"/>
                  <a:pt x="63" y="139"/>
                </a:cubicBezTo>
                <a:cubicBezTo>
                  <a:pt x="63" y="139"/>
                  <a:pt x="63" y="138"/>
                  <a:pt x="63" y="138"/>
                </a:cubicBezTo>
                <a:cubicBezTo>
                  <a:pt x="63" y="136"/>
                  <a:pt x="63" y="136"/>
                  <a:pt x="63" y="136"/>
                </a:cubicBezTo>
                <a:cubicBezTo>
                  <a:pt x="63" y="135"/>
                  <a:pt x="63" y="134"/>
                  <a:pt x="63" y="134"/>
                </a:cubicBezTo>
                <a:cubicBezTo>
                  <a:pt x="63" y="132"/>
                  <a:pt x="63" y="132"/>
                  <a:pt x="64" y="131"/>
                </a:cubicBezTo>
                <a:cubicBezTo>
                  <a:pt x="64" y="131"/>
                  <a:pt x="64" y="131"/>
                  <a:pt x="64" y="131"/>
                </a:cubicBezTo>
                <a:cubicBezTo>
                  <a:pt x="64" y="130"/>
                  <a:pt x="64" y="130"/>
                  <a:pt x="63" y="129"/>
                </a:cubicBezTo>
                <a:cubicBezTo>
                  <a:pt x="63" y="129"/>
                  <a:pt x="63" y="128"/>
                  <a:pt x="63" y="128"/>
                </a:cubicBezTo>
                <a:cubicBezTo>
                  <a:pt x="63" y="127"/>
                  <a:pt x="63" y="127"/>
                  <a:pt x="63" y="126"/>
                </a:cubicBezTo>
                <a:cubicBezTo>
                  <a:pt x="63" y="126"/>
                  <a:pt x="62" y="125"/>
                  <a:pt x="62" y="125"/>
                </a:cubicBezTo>
                <a:cubicBezTo>
                  <a:pt x="62" y="125"/>
                  <a:pt x="62" y="125"/>
                  <a:pt x="62" y="125"/>
                </a:cubicBezTo>
                <a:cubicBezTo>
                  <a:pt x="62" y="124"/>
                  <a:pt x="62" y="124"/>
                  <a:pt x="62" y="124"/>
                </a:cubicBezTo>
                <a:cubicBezTo>
                  <a:pt x="62" y="124"/>
                  <a:pt x="62" y="124"/>
                  <a:pt x="62" y="124"/>
                </a:cubicBezTo>
                <a:cubicBezTo>
                  <a:pt x="62" y="124"/>
                  <a:pt x="62" y="124"/>
                  <a:pt x="62" y="124"/>
                </a:cubicBezTo>
                <a:cubicBezTo>
                  <a:pt x="62" y="124"/>
                  <a:pt x="61" y="124"/>
                  <a:pt x="61" y="124"/>
                </a:cubicBezTo>
                <a:cubicBezTo>
                  <a:pt x="61" y="123"/>
                  <a:pt x="60" y="123"/>
                  <a:pt x="60" y="123"/>
                </a:cubicBezTo>
                <a:cubicBezTo>
                  <a:pt x="59" y="122"/>
                  <a:pt x="59" y="122"/>
                  <a:pt x="59" y="122"/>
                </a:cubicBezTo>
                <a:cubicBezTo>
                  <a:pt x="59" y="121"/>
                  <a:pt x="58" y="120"/>
                  <a:pt x="57" y="120"/>
                </a:cubicBezTo>
                <a:cubicBezTo>
                  <a:pt x="56" y="118"/>
                  <a:pt x="55" y="117"/>
                  <a:pt x="54" y="115"/>
                </a:cubicBezTo>
                <a:cubicBezTo>
                  <a:pt x="53" y="114"/>
                  <a:pt x="54" y="114"/>
                  <a:pt x="54" y="113"/>
                </a:cubicBezTo>
                <a:cubicBezTo>
                  <a:pt x="54" y="113"/>
                  <a:pt x="54" y="113"/>
                  <a:pt x="54" y="113"/>
                </a:cubicBezTo>
                <a:cubicBezTo>
                  <a:pt x="54" y="113"/>
                  <a:pt x="54" y="113"/>
                  <a:pt x="54" y="113"/>
                </a:cubicBezTo>
                <a:cubicBezTo>
                  <a:pt x="54" y="112"/>
                  <a:pt x="54" y="112"/>
                  <a:pt x="54" y="112"/>
                </a:cubicBezTo>
                <a:cubicBezTo>
                  <a:pt x="53" y="111"/>
                  <a:pt x="53" y="111"/>
                  <a:pt x="53" y="111"/>
                </a:cubicBezTo>
                <a:cubicBezTo>
                  <a:pt x="53" y="111"/>
                  <a:pt x="53" y="111"/>
                  <a:pt x="53" y="111"/>
                </a:cubicBezTo>
                <a:cubicBezTo>
                  <a:pt x="53" y="111"/>
                  <a:pt x="53" y="111"/>
                  <a:pt x="53" y="111"/>
                </a:cubicBezTo>
                <a:cubicBezTo>
                  <a:pt x="51" y="110"/>
                  <a:pt x="51" y="109"/>
                  <a:pt x="51" y="108"/>
                </a:cubicBezTo>
                <a:cubicBezTo>
                  <a:pt x="50" y="105"/>
                  <a:pt x="50" y="105"/>
                  <a:pt x="50" y="105"/>
                </a:cubicBezTo>
                <a:cubicBezTo>
                  <a:pt x="51" y="105"/>
                  <a:pt x="51" y="105"/>
                  <a:pt x="51" y="105"/>
                </a:cubicBezTo>
                <a:cubicBezTo>
                  <a:pt x="52" y="105"/>
                  <a:pt x="52" y="105"/>
                  <a:pt x="53" y="105"/>
                </a:cubicBezTo>
                <a:cubicBezTo>
                  <a:pt x="53" y="105"/>
                  <a:pt x="54" y="105"/>
                  <a:pt x="54" y="105"/>
                </a:cubicBezTo>
                <a:cubicBezTo>
                  <a:pt x="54" y="105"/>
                  <a:pt x="54" y="105"/>
                  <a:pt x="54" y="105"/>
                </a:cubicBezTo>
                <a:cubicBezTo>
                  <a:pt x="54" y="105"/>
                  <a:pt x="54" y="105"/>
                  <a:pt x="54" y="105"/>
                </a:cubicBezTo>
                <a:cubicBezTo>
                  <a:pt x="54" y="105"/>
                  <a:pt x="54" y="105"/>
                  <a:pt x="54" y="104"/>
                </a:cubicBezTo>
                <a:cubicBezTo>
                  <a:pt x="54" y="104"/>
                  <a:pt x="54" y="103"/>
                  <a:pt x="54" y="103"/>
                </a:cubicBezTo>
                <a:cubicBezTo>
                  <a:pt x="54" y="102"/>
                  <a:pt x="54" y="102"/>
                  <a:pt x="54" y="102"/>
                </a:cubicBezTo>
                <a:cubicBezTo>
                  <a:pt x="55" y="101"/>
                  <a:pt x="55" y="100"/>
                  <a:pt x="55" y="99"/>
                </a:cubicBezTo>
                <a:cubicBezTo>
                  <a:pt x="55" y="96"/>
                  <a:pt x="55" y="95"/>
                  <a:pt x="57" y="93"/>
                </a:cubicBezTo>
                <a:cubicBezTo>
                  <a:pt x="57" y="93"/>
                  <a:pt x="57" y="93"/>
                  <a:pt x="58" y="93"/>
                </a:cubicBezTo>
                <a:cubicBezTo>
                  <a:pt x="58" y="92"/>
                  <a:pt x="59" y="92"/>
                  <a:pt x="60" y="93"/>
                </a:cubicBezTo>
                <a:cubicBezTo>
                  <a:pt x="60" y="93"/>
                  <a:pt x="60" y="93"/>
                  <a:pt x="60" y="93"/>
                </a:cubicBezTo>
                <a:cubicBezTo>
                  <a:pt x="61" y="93"/>
                  <a:pt x="62" y="93"/>
                  <a:pt x="62" y="93"/>
                </a:cubicBezTo>
                <a:cubicBezTo>
                  <a:pt x="63" y="93"/>
                  <a:pt x="63" y="93"/>
                  <a:pt x="63" y="93"/>
                </a:cubicBezTo>
                <a:cubicBezTo>
                  <a:pt x="63" y="93"/>
                  <a:pt x="63" y="93"/>
                  <a:pt x="63" y="93"/>
                </a:cubicBezTo>
                <a:cubicBezTo>
                  <a:pt x="63" y="93"/>
                  <a:pt x="64" y="93"/>
                  <a:pt x="64" y="93"/>
                </a:cubicBezTo>
                <a:cubicBezTo>
                  <a:pt x="63" y="91"/>
                  <a:pt x="63" y="91"/>
                  <a:pt x="63" y="91"/>
                </a:cubicBezTo>
                <a:cubicBezTo>
                  <a:pt x="64" y="93"/>
                  <a:pt x="64" y="93"/>
                  <a:pt x="64" y="93"/>
                </a:cubicBezTo>
                <a:cubicBezTo>
                  <a:pt x="65" y="93"/>
                  <a:pt x="65" y="93"/>
                  <a:pt x="65" y="93"/>
                </a:cubicBezTo>
                <a:cubicBezTo>
                  <a:pt x="65" y="93"/>
                  <a:pt x="65" y="93"/>
                  <a:pt x="65" y="93"/>
                </a:cubicBezTo>
                <a:cubicBezTo>
                  <a:pt x="66" y="93"/>
                  <a:pt x="66" y="93"/>
                  <a:pt x="66" y="93"/>
                </a:cubicBezTo>
                <a:cubicBezTo>
                  <a:pt x="66" y="93"/>
                  <a:pt x="67" y="93"/>
                  <a:pt x="67" y="93"/>
                </a:cubicBezTo>
                <a:cubicBezTo>
                  <a:pt x="67" y="93"/>
                  <a:pt x="67" y="93"/>
                  <a:pt x="67" y="93"/>
                </a:cubicBezTo>
                <a:cubicBezTo>
                  <a:pt x="67" y="92"/>
                  <a:pt x="67" y="92"/>
                  <a:pt x="67" y="92"/>
                </a:cubicBezTo>
                <a:cubicBezTo>
                  <a:pt x="68" y="92"/>
                  <a:pt x="68" y="92"/>
                  <a:pt x="68" y="92"/>
                </a:cubicBezTo>
                <a:cubicBezTo>
                  <a:pt x="67" y="92"/>
                  <a:pt x="67" y="92"/>
                  <a:pt x="67" y="92"/>
                </a:cubicBezTo>
                <a:cubicBezTo>
                  <a:pt x="67" y="92"/>
                  <a:pt x="68" y="92"/>
                  <a:pt x="68" y="91"/>
                </a:cubicBezTo>
                <a:cubicBezTo>
                  <a:pt x="68" y="91"/>
                  <a:pt x="68" y="90"/>
                  <a:pt x="68" y="90"/>
                </a:cubicBezTo>
                <a:cubicBezTo>
                  <a:pt x="69" y="89"/>
                  <a:pt x="70" y="89"/>
                  <a:pt x="71" y="89"/>
                </a:cubicBezTo>
                <a:cubicBezTo>
                  <a:pt x="71" y="89"/>
                  <a:pt x="71" y="89"/>
                  <a:pt x="72" y="89"/>
                </a:cubicBezTo>
                <a:cubicBezTo>
                  <a:pt x="72" y="88"/>
                  <a:pt x="72" y="88"/>
                  <a:pt x="71" y="87"/>
                </a:cubicBezTo>
                <a:cubicBezTo>
                  <a:pt x="71" y="85"/>
                  <a:pt x="71" y="85"/>
                  <a:pt x="71" y="85"/>
                </a:cubicBezTo>
                <a:cubicBezTo>
                  <a:pt x="73" y="86"/>
                  <a:pt x="73" y="86"/>
                  <a:pt x="73" y="86"/>
                </a:cubicBezTo>
                <a:cubicBezTo>
                  <a:pt x="74" y="86"/>
                  <a:pt x="74" y="86"/>
                  <a:pt x="74" y="86"/>
                </a:cubicBezTo>
                <a:cubicBezTo>
                  <a:pt x="74" y="86"/>
                  <a:pt x="74" y="86"/>
                  <a:pt x="74" y="86"/>
                </a:cubicBezTo>
                <a:cubicBezTo>
                  <a:pt x="74" y="87"/>
                  <a:pt x="74" y="87"/>
                  <a:pt x="75" y="87"/>
                </a:cubicBezTo>
                <a:cubicBezTo>
                  <a:pt x="75" y="87"/>
                  <a:pt x="75" y="87"/>
                  <a:pt x="75" y="86"/>
                </a:cubicBezTo>
                <a:cubicBezTo>
                  <a:pt x="75" y="86"/>
                  <a:pt x="75" y="86"/>
                  <a:pt x="75" y="86"/>
                </a:cubicBezTo>
                <a:cubicBezTo>
                  <a:pt x="76" y="86"/>
                  <a:pt x="76" y="86"/>
                  <a:pt x="77" y="86"/>
                </a:cubicBezTo>
                <a:cubicBezTo>
                  <a:pt x="77" y="86"/>
                  <a:pt x="77" y="86"/>
                  <a:pt x="77" y="85"/>
                </a:cubicBezTo>
                <a:cubicBezTo>
                  <a:pt x="75" y="79"/>
                  <a:pt x="75" y="79"/>
                  <a:pt x="75" y="79"/>
                </a:cubicBezTo>
                <a:cubicBezTo>
                  <a:pt x="79" y="85"/>
                  <a:pt x="79" y="85"/>
                  <a:pt x="79" y="85"/>
                </a:cubicBezTo>
                <a:cubicBezTo>
                  <a:pt x="79" y="84"/>
                  <a:pt x="80" y="83"/>
                  <a:pt x="81" y="82"/>
                </a:cubicBezTo>
                <a:cubicBezTo>
                  <a:pt x="81" y="82"/>
                  <a:pt x="81" y="82"/>
                  <a:pt x="81" y="82"/>
                </a:cubicBezTo>
                <a:cubicBezTo>
                  <a:pt x="82" y="82"/>
                  <a:pt x="82" y="81"/>
                  <a:pt x="83" y="81"/>
                </a:cubicBezTo>
                <a:cubicBezTo>
                  <a:pt x="83" y="81"/>
                  <a:pt x="83" y="80"/>
                  <a:pt x="83" y="80"/>
                </a:cubicBezTo>
                <a:cubicBezTo>
                  <a:pt x="83" y="80"/>
                  <a:pt x="83" y="80"/>
                  <a:pt x="83" y="80"/>
                </a:cubicBezTo>
                <a:cubicBezTo>
                  <a:pt x="83" y="80"/>
                  <a:pt x="83" y="80"/>
                  <a:pt x="83" y="79"/>
                </a:cubicBezTo>
                <a:cubicBezTo>
                  <a:pt x="84" y="78"/>
                  <a:pt x="84" y="78"/>
                  <a:pt x="84" y="78"/>
                </a:cubicBezTo>
                <a:cubicBezTo>
                  <a:pt x="84" y="77"/>
                  <a:pt x="85" y="77"/>
                  <a:pt x="85" y="76"/>
                </a:cubicBezTo>
                <a:cubicBezTo>
                  <a:pt x="86" y="76"/>
                  <a:pt x="86" y="76"/>
                  <a:pt x="87" y="75"/>
                </a:cubicBezTo>
                <a:cubicBezTo>
                  <a:pt x="86" y="76"/>
                  <a:pt x="85" y="76"/>
                  <a:pt x="85" y="76"/>
                </a:cubicBezTo>
                <a:cubicBezTo>
                  <a:pt x="81" y="77"/>
                  <a:pt x="81" y="77"/>
                  <a:pt x="81" y="77"/>
                </a:cubicBezTo>
                <a:cubicBezTo>
                  <a:pt x="80" y="77"/>
                  <a:pt x="80" y="77"/>
                  <a:pt x="79" y="77"/>
                </a:cubicBezTo>
                <a:cubicBezTo>
                  <a:pt x="79" y="76"/>
                  <a:pt x="79" y="76"/>
                  <a:pt x="78" y="75"/>
                </a:cubicBezTo>
                <a:cubicBezTo>
                  <a:pt x="78" y="75"/>
                  <a:pt x="78" y="75"/>
                  <a:pt x="78" y="75"/>
                </a:cubicBezTo>
                <a:cubicBezTo>
                  <a:pt x="78" y="75"/>
                  <a:pt x="78" y="75"/>
                  <a:pt x="78" y="75"/>
                </a:cubicBezTo>
                <a:cubicBezTo>
                  <a:pt x="78" y="74"/>
                  <a:pt x="78" y="74"/>
                  <a:pt x="78" y="74"/>
                </a:cubicBezTo>
                <a:cubicBezTo>
                  <a:pt x="77" y="74"/>
                  <a:pt x="77" y="73"/>
                  <a:pt x="77" y="73"/>
                </a:cubicBezTo>
                <a:cubicBezTo>
                  <a:pt x="77" y="72"/>
                  <a:pt x="77" y="72"/>
                  <a:pt x="77" y="72"/>
                </a:cubicBezTo>
                <a:cubicBezTo>
                  <a:pt x="77" y="72"/>
                  <a:pt x="77" y="72"/>
                  <a:pt x="77" y="72"/>
                </a:cubicBezTo>
                <a:cubicBezTo>
                  <a:pt x="77" y="72"/>
                  <a:pt x="77" y="71"/>
                  <a:pt x="77" y="71"/>
                </a:cubicBezTo>
                <a:cubicBezTo>
                  <a:pt x="77" y="71"/>
                  <a:pt x="77" y="71"/>
                  <a:pt x="77" y="71"/>
                </a:cubicBezTo>
                <a:cubicBezTo>
                  <a:pt x="77" y="71"/>
                  <a:pt x="77" y="71"/>
                  <a:pt x="77" y="71"/>
                </a:cubicBezTo>
                <a:cubicBezTo>
                  <a:pt x="68" y="69"/>
                  <a:pt x="68" y="69"/>
                  <a:pt x="68" y="69"/>
                </a:cubicBezTo>
                <a:cubicBezTo>
                  <a:pt x="69" y="68"/>
                  <a:pt x="69" y="68"/>
                  <a:pt x="69" y="68"/>
                </a:cubicBezTo>
                <a:cubicBezTo>
                  <a:pt x="69" y="67"/>
                  <a:pt x="69" y="66"/>
                  <a:pt x="70" y="65"/>
                </a:cubicBezTo>
                <a:cubicBezTo>
                  <a:pt x="70" y="65"/>
                  <a:pt x="70" y="65"/>
                  <a:pt x="70" y="65"/>
                </a:cubicBezTo>
                <a:cubicBezTo>
                  <a:pt x="70" y="65"/>
                  <a:pt x="70" y="64"/>
                  <a:pt x="70" y="64"/>
                </a:cubicBezTo>
                <a:cubicBezTo>
                  <a:pt x="70" y="64"/>
                  <a:pt x="70" y="64"/>
                  <a:pt x="70" y="64"/>
                </a:cubicBezTo>
                <a:cubicBezTo>
                  <a:pt x="70" y="63"/>
                  <a:pt x="70" y="63"/>
                  <a:pt x="70" y="63"/>
                </a:cubicBezTo>
                <a:cubicBezTo>
                  <a:pt x="70" y="62"/>
                  <a:pt x="70" y="62"/>
                  <a:pt x="71" y="62"/>
                </a:cubicBezTo>
                <a:cubicBezTo>
                  <a:pt x="71" y="61"/>
                  <a:pt x="71" y="61"/>
                  <a:pt x="71" y="61"/>
                </a:cubicBezTo>
                <a:cubicBezTo>
                  <a:pt x="71" y="61"/>
                  <a:pt x="71" y="61"/>
                  <a:pt x="71" y="61"/>
                </a:cubicBezTo>
                <a:cubicBezTo>
                  <a:pt x="71" y="61"/>
                  <a:pt x="71" y="60"/>
                  <a:pt x="72" y="60"/>
                </a:cubicBezTo>
                <a:cubicBezTo>
                  <a:pt x="72" y="60"/>
                  <a:pt x="72" y="60"/>
                  <a:pt x="72" y="60"/>
                </a:cubicBezTo>
                <a:cubicBezTo>
                  <a:pt x="72" y="60"/>
                  <a:pt x="72" y="60"/>
                  <a:pt x="72" y="60"/>
                </a:cubicBezTo>
                <a:cubicBezTo>
                  <a:pt x="72" y="60"/>
                  <a:pt x="72" y="60"/>
                  <a:pt x="72" y="60"/>
                </a:cubicBezTo>
                <a:cubicBezTo>
                  <a:pt x="72" y="60"/>
                  <a:pt x="72" y="60"/>
                  <a:pt x="72" y="60"/>
                </a:cubicBezTo>
                <a:cubicBezTo>
                  <a:pt x="72" y="60"/>
                  <a:pt x="72" y="60"/>
                  <a:pt x="72" y="60"/>
                </a:cubicBezTo>
                <a:cubicBezTo>
                  <a:pt x="72" y="60"/>
                  <a:pt x="71" y="60"/>
                  <a:pt x="71" y="60"/>
                </a:cubicBezTo>
                <a:cubicBezTo>
                  <a:pt x="70" y="59"/>
                  <a:pt x="70" y="59"/>
                  <a:pt x="70" y="59"/>
                </a:cubicBezTo>
                <a:cubicBezTo>
                  <a:pt x="70" y="59"/>
                  <a:pt x="70" y="59"/>
                  <a:pt x="70" y="59"/>
                </a:cubicBezTo>
                <a:cubicBezTo>
                  <a:pt x="69" y="59"/>
                  <a:pt x="69" y="59"/>
                  <a:pt x="69" y="59"/>
                </a:cubicBezTo>
                <a:cubicBezTo>
                  <a:pt x="67" y="59"/>
                  <a:pt x="66" y="58"/>
                  <a:pt x="66" y="57"/>
                </a:cubicBezTo>
                <a:cubicBezTo>
                  <a:pt x="66" y="56"/>
                  <a:pt x="66" y="56"/>
                  <a:pt x="66" y="56"/>
                </a:cubicBezTo>
                <a:cubicBezTo>
                  <a:pt x="65" y="55"/>
                  <a:pt x="65" y="54"/>
                  <a:pt x="65" y="54"/>
                </a:cubicBezTo>
                <a:cubicBezTo>
                  <a:pt x="65" y="54"/>
                  <a:pt x="65" y="54"/>
                  <a:pt x="65" y="53"/>
                </a:cubicBezTo>
                <a:cubicBezTo>
                  <a:pt x="65" y="53"/>
                  <a:pt x="65" y="53"/>
                  <a:pt x="65" y="53"/>
                </a:cubicBezTo>
                <a:cubicBezTo>
                  <a:pt x="65" y="53"/>
                  <a:pt x="64" y="53"/>
                  <a:pt x="64" y="52"/>
                </a:cubicBezTo>
                <a:cubicBezTo>
                  <a:pt x="64" y="53"/>
                  <a:pt x="64" y="53"/>
                  <a:pt x="64" y="53"/>
                </a:cubicBezTo>
                <a:cubicBezTo>
                  <a:pt x="64" y="52"/>
                  <a:pt x="64" y="52"/>
                  <a:pt x="64" y="52"/>
                </a:cubicBezTo>
                <a:cubicBezTo>
                  <a:pt x="64" y="52"/>
                  <a:pt x="64" y="52"/>
                  <a:pt x="64" y="52"/>
                </a:cubicBezTo>
                <a:cubicBezTo>
                  <a:pt x="64" y="52"/>
                  <a:pt x="64" y="52"/>
                  <a:pt x="64" y="51"/>
                </a:cubicBezTo>
                <a:cubicBezTo>
                  <a:pt x="64" y="51"/>
                  <a:pt x="64" y="51"/>
                  <a:pt x="64" y="51"/>
                </a:cubicBezTo>
                <a:cubicBezTo>
                  <a:pt x="64" y="51"/>
                  <a:pt x="64" y="50"/>
                  <a:pt x="64" y="50"/>
                </a:cubicBezTo>
                <a:cubicBezTo>
                  <a:pt x="64" y="50"/>
                  <a:pt x="64" y="50"/>
                  <a:pt x="64" y="49"/>
                </a:cubicBezTo>
                <a:cubicBezTo>
                  <a:pt x="64" y="49"/>
                  <a:pt x="64" y="49"/>
                  <a:pt x="64" y="49"/>
                </a:cubicBezTo>
                <a:cubicBezTo>
                  <a:pt x="64" y="49"/>
                  <a:pt x="64" y="49"/>
                  <a:pt x="63" y="49"/>
                </a:cubicBezTo>
                <a:cubicBezTo>
                  <a:pt x="63" y="49"/>
                  <a:pt x="63" y="49"/>
                  <a:pt x="63" y="49"/>
                </a:cubicBezTo>
                <a:cubicBezTo>
                  <a:pt x="63" y="49"/>
                  <a:pt x="62" y="49"/>
                  <a:pt x="62" y="49"/>
                </a:cubicBezTo>
                <a:cubicBezTo>
                  <a:pt x="62" y="49"/>
                  <a:pt x="62" y="49"/>
                  <a:pt x="62" y="49"/>
                </a:cubicBezTo>
                <a:cubicBezTo>
                  <a:pt x="61" y="49"/>
                  <a:pt x="60" y="48"/>
                  <a:pt x="60" y="48"/>
                </a:cubicBezTo>
                <a:cubicBezTo>
                  <a:pt x="60" y="49"/>
                  <a:pt x="60" y="49"/>
                  <a:pt x="60" y="49"/>
                </a:cubicBezTo>
                <a:cubicBezTo>
                  <a:pt x="60" y="49"/>
                  <a:pt x="60" y="49"/>
                  <a:pt x="60" y="49"/>
                </a:cubicBezTo>
                <a:cubicBezTo>
                  <a:pt x="59" y="49"/>
                  <a:pt x="59" y="49"/>
                  <a:pt x="59" y="49"/>
                </a:cubicBezTo>
                <a:cubicBezTo>
                  <a:pt x="57" y="50"/>
                  <a:pt x="55" y="51"/>
                  <a:pt x="54" y="51"/>
                </a:cubicBezTo>
                <a:cubicBezTo>
                  <a:pt x="53" y="51"/>
                  <a:pt x="53" y="51"/>
                  <a:pt x="53" y="51"/>
                </a:cubicBezTo>
                <a:cubicBezTo>
                  <a:pt x="53" y="51"/>
                  <a:pt x="53" y="51"/>
                  <a:pt x="53" y="51"/>
                </a:cubicBezTo>
                <a:cubicBezTo>
                  <a:pt x="52" y="50"/>
                  <a:pt x="52" y="50"/>
                  <a:pt x="52" y="49"/>
                </a:cubicBezTo>
                <a:cubicBezTo>
                  <a:pt x="52" y="48"/>
                  <a:pt x="52" y="48"/>
                  <a:pt x="52" y="48"/>
                </a:cubicBezTo>
                <a:cubicBezTo>
                  <a:pt x="52" y="48"/>
                  <a:pt x="53" y="48"/>
                  <a:pt x="53" y="47"/>
                </a:cubicBezTo>
                <a:cubicBezTo>
                  <a:pt x="54" y="46"/>
                  <a:pt x="54" y="46"/>
                  <a:pt x="54" y="46"/>
                </a:cubicBezTo>
                <a:cubicBezTo>
                  <a:pt x="54" y="46"/>
                  <a:pt x="54" y="46"/>
                  <a:pt x="54" y="45"/>
                </a:cubicBezTo>
                <a:cubicBezTo>
                  <a:pt x="53" y="45"/>
                  <a:pt x="53" y="45"/>
                  <a:pt x="53" y="45"/>
                </a:cubicBezTo>
                <a:cubicBezTo>
                  <a:pt x="53" y="45"/>
                  <a:pt x="53" y="45"/>
                  <a:pt x="53" y="45"/>
                </a:cubicBezTo>
                <a:cubicBezTo>
                  <a:pt x="53" y="45"/>
                  <a:pt x="52" y="44"/>
                  <a:pt x="52" y="43"/>
                </a:cubicBezTo>
                <a:cubicBezTo>
                  <a:pt x="52" y="43"/>
                  <a:pt x="52" y="43"/>
                  <a:pt x="52" y="43"/>
                </a:cubicBezTo>
                <a:cubicBezTo>
                  <a:pt x="52" y="43"/>
                  <a:pt x="52" y="43"/>
                  <a:pt x="52" y="42"/>
                </a:cubicBezTo>
                <a:cubicBezTo>
                  <a:pt x="52" y="41"/>
                  <a:pt x="52" y="40"/>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8"/>
                  <a:pt x="54" y="38"/>
                  <a:pt x="54" y="38"/>
                </a:cubicBezTo>
                <a:cubicBezTo>
                  <a:pt x="54" y="38"/>
                  <a:pt x="54" y="37"/>
                  <a:pt x="55" y="36"/>
                </a:cubicBezTo>
                <a:cubicBezTo>
                  <a:pt x="55" y="35"/>
                  <a:pt x="55" y="35"/>
                  <a:pt x="56" y="34"/>
                </a:cubicBezTo>
                <a:cubicBezTo>
                  <a:pt x="56" y="34"/>
                  <a:pt x="56" y="34"/>
                  <a:pt x="56" y="33"/>
                </a:cubicBezTo>
                <a:cubicBezTo>
                  <a:pt x="56" y="33"/>
                  <a:pt x="56" y="33"/>
                  <a:pt x="56" y="33"/>
                </a:cubicBezTo>
                <a:cubicBezTo>
                  <a:pt x="57" y="33"/>
                  <a:pt x="57" y="33"/>
                  <a:pt x="57" y="33"/>
                </a:cubicBezTo>
                <a:cubicBezTo>
                  <a:pt x="57" y="33"/>
                  <a:pt x="57" y="33"/>
                  <a:pt x="57" y="33"/>
                </a:cubicBezTo>
                <a:cubicBezTo>
                  <a:pt x="57" y="33"/>
                  <a:pt x="57" y="33"/>
                  <a:pt x="57" y="33"/>
                </a:cubicBezTo>
                <a:cubicBezTo>
                  <a:pt x="57" y="33"/>
                  <a:pt x="58" y="33"/>
                  <a:pt x="58" y="33"/>
                </a:cubicBezTo>
                <a:cubicBezTo>
                  <a:pt x="58" y="33"/>
                  <a:pt x="58" y="33"/>
                  <a:pt x="58" y="33"/>
                </a:cubicBezTo>
                <a:cubicBezTo>
                  <a:pt x="58" y="32"/>
                  <a:pt x="58" y="32"/>
                  <a:pt x="58" y="32"/>
                </a:cubicBezTo>
                <a:cubicBezTo>
                  <a:pt x="58" y="32"/>
                  <a:pt x="58" y="32"/>
                  <a:pt x="58" y="32"/>
                </a:cubicBezTo>
                <a:cubicBezTo>
                  <a:pt x="58" y="31"/>
                  <a:pt x="58" y="31"/>
                  <a:pt x="59" y="30"/>
                </a:cubicBezTo>
                <a:cubicBezTo>
                  <a:pt x="60" y="30"/>
                  <a:pt x="60" y="30"/>
                  <a:pt x="61" y="30"/>
                </a:cubicBezTo>
                <a:cubicBezTo>
                  <a:pt x="61" y="30"/>
                  <a:pt x="61" y="30"/>
                  <a:pt x="61" y="30"/>
                </a:cubicBezTo>
                <a:cubicBezTo>
                  <a:pt x="61" y="30"/>
                  <a:pt x="62" y="29"/>
                  <a:pt x="62" y="29"/>
                </a:cubicBezTo>
                <a:cubicBezTo>
                  <a:pt x="63" y="29"/>
                  <a:pt x="63" y="29"/>
                  <a:pt x="63" y="28"/>
                </a:cubicBezTo>
                <a:cubicBezTo>
                  <a:pt x="63" y="28"/>
                  <a:pt x="63" y="28"/>
                  <a:pt x="63" y="28"/>
                </a:cubicBezTo>
                <a:cubicBezTo>
                  <a:pt x="63" y="28"/>
                  <a:pt x="63" y="28"/>
                  <a:pt x="63" y="28"/>
                </a:cubicBezTo>
                <a:cubicBezTo>
                  <a:pt x="63" y="28"/>
                  <a:pt x="63" y="28"/>
                  <a:pt x="63" y="27"/>
                </a:cubicBezTo>
                <a:cubicBezTo>
                  <a:pt x="63" y="27"/>
                  <a:pt x="63" y="27"/>
                  <a:pt x="63" y="27"/>
                </a:cubicBezTo>
                <a:cubicBezTo>
                  <a:pt x="63" y="26"/>
                  <a:pt x="63" y="26"/>
                  <a:pt x="63" y="25"/>
                </a:cubicBezTo>
                <a:cubicBezTo>
                  <a:pt x="63" y="25"/>
                  <a:pt x="63" y="25"/>
                  <a:pt x="63" y="25"/>
                </a:cubicBezTo>
                <a:cubicBezTo>
                  <a:pt x="63" y="24"/>
                  <a:pt x="63" y="24"/>
                  <a:pt x="63" y="24"/>
                </a:cubicBezTo>
                <a:cubicBezTo>
                  <a:pt x="63" y="24"/>
                  <a:pt x="64" y="23"/>
                  <a:pt x="64" y="23"/>
                </a:cubicBezTo>
                <a:cubicBezTo>
                  <a:pt x="64" y="23"/>
                  <a:pt x="64" y="23"/>
                  <a:pt x="64" y="23"/>
                </a:cubicBezTo>
                <a:cubicBezTo>
                  <a:pt x="64" y="22"/>
                  <a:pt x="64" y="22"/>
                  <a:pt x="64" y="22"/>
                </a:cubicBezTo>
                <a:cubicBezTo>
                  <a:pt x="64" y="21"/>
                  <a:pt x="64" y="21"/>
                  <a:pt x="64" y="21"/>
                </a:cubicBezTo>
                <a:cubicBezTo>
                  <a:pt x="65" y="20"/>
                  <a:pt x="65" y="19"/>
                  <a:pt x="65" y="17"/>
                </a:cubicBezTo>
                <a:cubicBezTo>
                  <a:pt x="64" y="17"/>
                  <a:pt x="64" y="16"/>
                  <a:pt x="64" y="16"/>
                </a:cubicBezTo>
                <a:cubicBezTo>
                  <a:pt x="64" y="15"/>
                  <a:pt x="64" y="15"/>
                  <a:pt x="64" y="15"/>
                </a:cubicBezTo>
                <a:cubicBezTo>
                  <a:pt x="64" y="14"/>
                  <a:pt x="64" y="12"/>
                  <a:pt x="64" y="11"/>
                </a:cubicBezTo>
                <a:cubicBezTo>
                  <a:pt x="64" y="10"/>
                  <a:pt x="64" y="10"/>
                  <a:pt x="64" y="10"/>
                </a:cubicBezTo>
                <a:cubicBezTo>
                  <a:pt x="64" y="10"/>
                  <a:pt x="64" y="10"/>
                  <a:pt x="64" y="10"/>
                </a:cubicBezTo>
                <a:cubicBezTo>
                  <a:pt x="64" y="10"/>
                  <a:pt x="64" y="10"/>
                  <a:pt x="64" y="10"/>
                </a:cubicBezTo>
                <a:cubicBezTo>
                  <a:pt x="62" y="10"/>
                  <a:pt x="62" y="10"/>
                  <a:pt x="62" y="10"/>
                </a:cubicBezTo>
                <a:cubicBezTo>
                  <a:pt x="61" y="10"/>
                  <a:pt x="60" y="9"/>
                  <a:pt x="60" y="8"/>
                </a:cubicBezTo>
                <a:cubicBezTo>
                  <a:pt x="59" y="8"/>
                  <a:pt x="59" y="7"/>
                  <a:pt x="59" y="6"/>
                </a:cubicBezTo>
                <a:cubicBezTo>
                  <a:pt x="58" y="5"/>
                  <a:pt x="58" y="4"/>
                  <a:pt x="58" y="3"/>
                </a:cubicBezTo>
                <a:cubicBezTo>
                  <a:pt x="58" y="3"/>
                  <a:pt x="58" y="3"/>
                  <a:pt x="58" y="3"/>
                </a:cubicBezTo>
                <a:cubicBezTo>
                  <a:pt x="57" y="3"/>
                  <a:pt x="57" y="2"/>
                  <a:pt x="57" y="2"/>
                </a:cubicBezTo>
                <a:cubicBezTo>
                  <a:pt x="56" y="2"/>
                  <a:pt x="56" y="2"/>
                  <a:pt x="56" y="2"/>
                </a:cubicBezTo>
                <a:cubicBezTo>
                  <a:pt x="56" y="2"/>
                  <a:pt x="56" y="2"/>
                  <a:pt x="56" y="2"/>
                </a:cubicBezTo>
                <a:cubicBezTo>
                  <a:pt x="56" y="2"/>
                  <a:pt x="56" y="2"/>
                  <a:pt x="56" y="2"/>
                </a:cubicBezTo>
                <a:cubicBezTo>
                  <a:pt x="55" y="1"/>
                  <a:pt x="55" y="1"/>
                  <a:pt x="54" y="1"/>
                </a:cubicBezTo>
                <a:cubicBezTo>
                  <a:pt x="54" y="1"/>
                  <a:pt x="54" y="1"/>
                  <a:pt x="54" y="1"/>
                </a:cubicBezTo>
                <a:cubicBezTo>
                  <a:pt x="54" y="0"/>
                  <a:pt x="54" y="0"/>
                  <a:pt x="54" y="0"/>
                </a:cubicBezTo>
                <a:cubicBezTo>
                  <a:pt x="53" y="1"/>
                  <a:pt x="53" y="2"/>
                  <a:pt x="53" y="2"/>
                </a:cubicBezTo>
                <a:cubicBezTo>
                  <a:pt x="53" y="2"/>
                  <a:pt x="52" y="3"/>
                  <a:pt x="52" y="3"/>
                </a:cubicBezTo>
                <a:cubicBezTo>
                  <a:pt x="52" y="3"/>
                  <a:pt x="52" y="3"/>
                  <a:pt x="52" y="3"/>
                </a:cubicBezTo>
                <a:cubicBezTo>
                  <a:pt x="52" y="3"/>
                  <a:pt x="53" y="3"/>
                  <a:pt x="53" y="3"/>
                </a:cubicBezTo>
                <a:cubicBezTo>
                  <a:pt x="53" y="4"/>
                  <a:pt x="53" y="4"/>
                  <a:pt x="53" y="4"/>
                </a:cubicBezTo>
                <a:cubicBezTo>
                  <a:pt x="53" y="6"/>
                  <a:pt x="52" y="7"/>
                  <a:pt x="50" y="8"/>
                </a:cubicBezTo>
                <a:cubicBezTo>
                  <a:pt x="50" y="8"/>
                  <a:pt x="50" y="8"/>
                  <a:pt x="50" y="8"/>
                </a:cubicBezTo>
                <a:cubicBezTo>
                  <a:pt x="50" y="8"/>
                  <a:pt x="50" y="8"/>
                  <a:pt x="49" y="8"/>
                </a:cubicBezTo>
                <a:cubicBezTo>
                  <a:pt x="48" y="9"/>
                  <a:pt x="48" y="9"/>
                  <a:pt x="48" y="10"/>
                </a:cubicBezTo>
                <a:cubicBezTo>
                  <a:pt x="48" y="10"/>
                  <a:pt x="49" y="11"/>
                  <a:pt x="49" y="11"/>
                </a:cubicBezTo>
                <a:cubicBezTo>
                  <a:pt x="49" y="12"/>
                  <a:pt x="49" y="12"/>
                  <a:pt x="49" y="12"/>
                </a:cubicBezTo>
                <a:cubicBezTo>
                  <a:pt x="46" y="17"/>
                  <a:pt x="46" y="17"/>
                  <a:pt x="46" y="17"/>
                </a:cubicBezTo>
                <a:cubicBezTo>
                  <a:pt x="45" y="13"/>
                  <a:pt x="45" y="13"/>
                  <a:pt x="45" y="13"/>
                </a:cubicBezTo>
                <a:cubicBezTo>
                  <a:pt x="44" y="13"/>
                  <a:pt x="42" y="14"/>
                  <a:pt x="40" y="15"/>
                </a:cubicBezTo>
                <a:cubicBezTo>
                  <a:pt x="39" y="16"/>
                  <a:pt x="38" y="16"/>
                  <a:pt x="37" y="16"/>
                </a:cubicBezTo>
                <a:cubicBezTo>
                  <a:pt x="36" y="17"/>
                  <a:pt x="35" y="18"/>
                  <a:pt x="34" y="18"/>
                </a:cubicBezTo>
                <a:cubicBezTo>
                  <a:pt x="33" y="19"/>
                  <a:pt x="33" y="20"/>
                  <a:pt x="32" y="20"/>
                </a:cubicBezTo>
                <a:cubicBezTo>
                  <a:pt x="31" y="20"/>
                  <a:pt x="31" y="20"/>
                  <a:pt x="31" y="20"/>
                </a:cubicBezTo>
                <a:cubicBezTo>
                  <a:pt x="29" y="21"/>
                  <a:pt x="29" y="21"/>
                  <a:pt x="30" y="22"/>
                </a:cubicBezTo>
                <a:cubicBezTo>
                  <a:pt x="30" y="22"/>
                  <a:pt x="30" y="23"/>
                  <a:pt x="30" y="23"/>
                </a:cubicBezTo>
                <a:cubicBezTo>
                  <a:pt x="30" y="23"/>
                  <a:pt x="30" y="23"/>
                  <a:pt x="30" y="23"/>
                </a:cubicBezTo>
                <a:cubicBezTo>
                  <a:pt x="30" y="24"/>
                  <a:pt x="30" y="26"/>
                  <a:pt x="30" y="27"/>
                </a:cubicBezTo>
                <a:cubicBezTo>
                  <a:pt x="30" y="27"/>
                  <a:pt x="30" y="27"/>
                  <a:pt x="30" y="28"/>
                </a:cubicBezTo>
                <a:cubicBezTo>
                  <a:pt x="29" y="28"/>
                  <a:pt x="29" y="28"/>
                  <a:pt x="29" y="28"/>
                </a:cubicBezTo>
                <a:cubicBezTo>
                  <a:pt x="29" y="28"/>
                  <a:pt x="29" y="29"/>
                  <a:pt x="29" y="29"/>
                </a:cubicBezTo>
                <a:cubicBezTo>
                  <a:pt x="29" y="30"/>
                  <a:pt x="28" y="31"/>
                  <a:pt x="27" y="32"/>
                </a:cubicBezTo>
                <a:cubicBezTo>
                  <a:pt x="25" y="34"/>
                  <a:pt x="25" y="34"/>
                  <a:pt x="25" y="34"/>
                </a:cubicBezTo>
                <a:cubicBezTo>
                  <a:pt x="26" y="37"/>
                  <a:pt x="25" y="40"/>
                  <a:pt x="23" y="43"/>
                </a:cubicBezTo>
                <a:cubicBezTo>
                  <a:pt x="22" y="45"/>
                  <a:pt x="21" y="48"/>
                  <a:pt x="21" y="48"/>
                </a:cubicBezTo>
                <a:cubicBezTo>
                  <a:pt x="21" y="48"/>
                  <a:pt x="21" y="48"/>
                  <a:pt x="21" y="48"/>
                </a:cubicBezTo>
                <a:cubicBezTo>
                  <a:pt x="21" y="48"/>
                  <a:pt x="21" y="48"/>
                  <a:pt x="21" y="48"/>
                </a:cubicBezTo>
                <a:cubicBezTo>
                  <a:pt x="21" y="48"/>
                  <a:pt x="20" y="49"/>
                  <a:pt x="18" y="51"/>
                </a:cubicBezTo>
                <a:cubicBezTo>
                  <a:pt x="18" y="51"/>
                  <a:pt x="18" y="51"/>
                  <a:pt x="18" y="51"/>
                </a:cubicBezTo>
                <a:cubicBezTo>
                  <a:pt x="17" y="51"/>
                  <a:pt x="17" y="51"/>
                  <a:pt x="17" y="51"/>
                </a:cubicBezTo>
                <a:cubicBezTo>
                  <a:pt x="15" y="50"/>
                  <a:pt x="13" y="50"/>
                  <a:pt x="12" y="50"/>
                </a:cubicBezTo>
                <a:cubicBezTo>
                  <a:pt x="12" y="50"/>
                  <a:pt x="12" y="50"/>
                  <a:pt x="12" y="50"/>
                </a:cubicBezTo>
                <a:cubicBezTo>
                  <a:pt x="13" y="52"/>
                  <a:pt x="12" y="55"/>
                  <a:pt x="12" y="58"/>
                </a:cubicBezTo>
                <a:cubicBezTo>
                  <a:pt x="12" y="59"/>
                  <a:pt x="11" y="60"/>
                  <a:pt x="10" y="60"/>
                </a:cubicBezTo>
                <a:cubicBezTo>
                  <a:pt x="10" y="60"/>
                  <a:pt x="10" y="60"/>
                  <a:pt x="9" y="60"/>
                </a:cubicBezTo>
                <a:cubicBezTo>
                  <a:pt x="9" y="62"/>
                  <a:pt x="9" y="62"/>
                  <a:pt x="9" y="62"/>
                </a:cubicBezTo>
                <a:cubicBezTo>
                  <a:pt x="9" y="64"/>
                  <a:pt x="9" y="64"/>
                  <a:pt x="9" y="64"/>
                </a:cubicBezTo>
                <a:cubicBezTo>
                  <a:pt x="10" y="68"/>
                  <a:pt x="10" y="68"/>
                  <a:pt x="10" y="68"/>
                </a:cubicBezTo>
                <a:cubicBezTo>
                  <a:pt x="7" y="71"/>
                  <a:pt x="7" y="71"/>
                  <a:pt x="7" y="71"/>
                </a:cubicBezTo>
                <a:cubicBezTo>
                  <a:pt x="6" y="71"/>
                  <a:pt x="6" y="71"/>
                  <a:pt x="6" y="71"/>
                </a:cubicBezTo>
                <a:cubicBezTo>
                  <a:pt x="4" y="72"/>
                  <a:pt x="4" y="72"/>
                  <a:pt x="4" y="72"/>
                </a:cubicBezTo>
                <a:cubicBezTo>
                  <a:pt x="5" y="76"/>
                  <a:pt x="5" y="76"/>
                  <a:pt x="5" y="76"/>
                </a:cubicBezTo>
                <a:cubicBezTo>
                  <a:pt x="5" y="76"/>
                  <a:pt x="5" y="77"/>
                  <a:pt x="5" y="77"/>
                </a:cubicBezTo>
                <a:cubicBezTo>
                  <a:pt x="5" y="77"/>
                  <a:pt x="5" y="77"/>
                  <a:pt x="5" y="77"/>
                </a:cubicBezTo>
                <a:cubicBezTo>
                  <a:pt x="5" y="80"/>
                  <a:pt x="5" y="80"/>
                  <a:pt x="5" y="80"/>
                </a:cubicBezTo>
                <a:cubicBezTo>
                  <a:pt x="3" y="79"/>
                  <a:pt x="3" y="79"/>
                  <a:pt x="3" y="79"/>
                </a:cubicBezTo>
                <a:cubicBezTo>
                  <a:pt x="2" y="78"/>
                  <a:pt x="2" y="78"/>
                  <a:pt x="2" y="78"/>
                </a:cubicBezTo>
                <a:cubicBezTo>
                  <a:pt x="1" y="78"/>
                  <a:pt x="1" y="78"/>
                  <a:pt x="1" y="78"/>
                </a:cubicBezTo>
                <a:cubicBezTo>
                  <a:pt x="0" y="78"/>
                  <a:pt x="0" y="79"/>
                  <a:pt x="0" y="79"/>
                </a:cubicBezTo>
                <a:cubicBezTo>
                  <a:pt x="0" y="79"/>
                  <a:pt x="0" y="79"/>
                  <a:pt x="0" y="79"/>
                </a:cubicBezTo>
                <a:cubicBezTo>
                  <a:pt x="0" y="79"/>
                  <a:pt x="0" y="79"/>
                  <a:pt x="0" y="79"/>
                </a:cubicBezTo>
                <a:cubicBezTo>
                  <a:pt x="0" y="80"/>
                  <a:pt x="0" y="80"/>
                  <a:pt x="0" y="80"/>
                </a:cubicBezTo>
                <a:cubicBezTo>
                  <a:pt x="0" y="80"/>
                  <a:pt x="0" y="80"/>
                  <a:pt x="0" y="80"/>
                </a:cubicBezTo>
                <a:cubicBezTo>
                  <a:pt x="1" y="80"/>
                  <a:pt x="1" y="80"/>
                  <a:pt x="1" y="80"/>
                </a:cubicBezTo>
                <a:cubicBezTo>
                  <a:pt x="0" y="81"/>
                  <a:pt x="0" y="81"/>
                  <a:pt x="0" y="81"/>
                </a:cubicBezTo>
                <a:cubicBezTo>
                  <a:pt x="0" y="81"/>
                  <a:pt x="0" y="82"/>
                  <a:pt x="0" y="82"/>
                </a:cubicBezTo>
                <a:cubicBezTo>
                  <a:pt x="0" y="82"/>
                  <a:pt x="1" y="82"/>
                  <a:pt x="1" y="82"/>
                </a:cubicBezTo>
                <a:cubicBezTo>
                  <a:pt x="1" y="83"/>
                  <a:pt x="1" y="84"/>
                  <a:pt x="2" y="85"/>
                </a:cubicBezTo>
                <a:cubicBezTo>
                  <a:pt x="2" y="86"/>
                  <a:pt x="3" y="87"/>
                  <a:pt x="3" y="87"/>
                </a:cubicBezTo>
                <a:cubicBezTo>
                  <a:pt x="4" y="88"/>
                  <a:pt x="4" y="88"/>
                  <a:pt x="4" y="89"/>
                </a:cubicBezTo>
                <a:cubicBezTo>
                  <a:pt x="4" y="88"/>
                  <a:pt x="4" y="87"/>
                  <a:pt x="4" y="87"/>
                </a:cubicBezTo>
                <a:cubicBezTo>
                  <a:pt x="4" y="86"/>
                  <a:pt x="4" y="85"/>
                  <a:pt x="4" y="85"/>
                </a:cubicBezTo>
                <a:cubicBezTo>
                  <a:pt x="4" y="85"/>
                  <a:pt x="4" y="86"/>
                  <a:pt x="5" y="86"/>
                </a:cubicBezTo>
                <a:cubicBezTo>
                  <a:pt x="5" y="87"/>
                  <a:pt x="5" y="87"/>
                  <a:pt x="5" y="88"/>
                </a:cubicBezTo>
                <a:cubicBezTo>
                  <a:pt x="6" y="88"/>
                  <a:pt x="5" y="88"/>
                  <a:pt x="5" y="89"/>
                </a:cubicBezTo>
                <a:cubicBezTo>
                  <a:pt x="5" y="89"/>
                  <a:pt x="5" y="89"/>
                  <a:pt x="6" y="89"/>
                </a:cubicBezTo>
                <a:cubicBezTo>
                  <a:pt x="6" y="89"/>
                  <a:pt x="6" y="89"/>
                  <a:pt x="6" y="90"/>
                </a:cubicBezTo>
                <a:cubicBezTo>
                  <a:pt x="6" y="89"/>
                  <a:pt x="6" y="89"/>
                  <a:pt x="6" y="88"/>
                </a:cubicBezTo>
                <a:cubicBezTo>
                  <a:pt x="7" y="88"/>
                  <a:pt x="7" y="87"/>
                  <a:pt x="7" y="86"/>
                </a:cubicBezTo>
                <a:cubicBezTo>
                  <a:pt x="7" y="87"/>
                  <a:pt x="7" y="87"/>
                  <a:pt x="7" y="87"/>
                </a:cubicBezTo>
                <a:cubicBezTo>
                  <a:pt x="7" y="87"/>
                  <a:pt x="7" y="88"/>
                  <a:pt x="7" y="88"/>
                </a:cubicBezTo>
                <a:cubicBezTo>
                  <a:pt x="8" y="87"/>
                  <a:pt x="8" y="87"/>
                  <a:pt x="8" y="87"/>
                </a:cubicBezTo>
                <a:cubicBezTo>
                  <a:pt x="7" y="88"/>
                  <a:pt x="7" y="90"/>
                  <a:pt x="7" y="91"/>
                </a:cubicBezTo>
                <a:cubicBezTo>
                  <a:pt x="7" y="91"/>
                  <a:pt x="7" y="91"/>
                  <a:pt x="7" y="91"/>
                </a:cubicBezTo>
                <a:cubicBezTo>
                  <a:pt x="7" y="91"/>
                  <a:pt x="7" y="91"/>
                  <a:pt x="7" y="91"/>
                </a:cubicBezTo>
                <a:cubicBezTo>
                  <a:pt x="7" y="92"/>
                  <a:pt x="8" y="93"/>
                  <a:pt x="8" y="93"/>
                </a:cubicBezTo>
                <a:cubicBezTo>
                  <a:pt x="8" y="91"/>
                  <a:pt x="8" y="90"/>
                  <a:pt x="10" y="91"/>
                </a:cubicBezTo>
                <a:cubicBezTo>
                  <a:pt x="11" y="91"/>
                  <a:pt x="11" y="91"/>
                  <a:pt x="11" y="91"/>
                </a:cubicBezTo>
                <a:cubicBezTo>
                  <a:pt x="12" y="91"/>
                  <a:pt x="14" y="92"/>
                  <a:pt x="14" y="92"/>
                </a:cubicBezTo>
                <a:cubicBezTo>
                  <a:pt x="14" y="92"/>
                  <a:pt x="14" y="93"/>
                  <a:pt x="14" y="93"/>
                </a:cubicBezTo>
                <a:cubicBezTo>
                  <a:pt x="14" y="93"/>
                  <a:pt x="14" y="93"/>
                  <a:pt x="14" y="93"/>
                </a:cubicBezTo>
                <a:cubicBezTo>
                  <a:pt x="14" y="93"/>
                  <a:pt x="14" y="93"/>
                  <a:pt x="13" y="93"/>
                </a:cubicBezTo>
                <a:cubicBezTo>
                  <a:pt x="13" y="93"/>
                  <a:pt x="13" y="93"/>
                  <a:pt x="13" y="93"/>
                </a:cubicBezTo>
                <a:cubicBezTo>
                  <a:pt x="13" y="94"/>
                  <a:pt x="14" y="94"/>
                  <a:pt x="15" y="94"/>
                </a:cubicBezTo>
                <a:cubicBezTo>
                  <a:pt x="14" y="95"/>
                  <a:pt x="14" y="95"/>
                  <a:pt x="15" y="96"/>
                </a:cubicBezTo>
                <a:cubicBezTo>
                  <a:pt x="15" y="96"/>
                  <a:pt x="15" y="96"/>
                  <a:pt x="15" y="96"/>
                </a:cubicBezTo>
                <a:cubicBezTo>
                  <a:pt x="15" y="97"/>
                  <a:pt x="16" y="97"/>
                  <a:pt x="17" y="98"/>
                </a:cubicBezTo>
                <a:cubicBezTo>
                  <a:pt x="17" y="98"/>
                  <a:pt x="17" y="98"/>
                  <a:pt x="17" y="98"/>
                </a:cubicBezTo>
                <a:cubicBezTo>
                  <a:pt x="16" y="99"/>
                  <a:pt x="16" y="99"/>
                  <a:pt x="16" y="100"/>
                </a:cubicBezTo>
                <a:cubicBezTo>
                  <a:pt x="16" y="99"/>
                  <a:pt x="15" y="99"/>
                  <a:pt x="15" y="99"/>
                </a:cubicBezTo>
                <a:cubicBezTo>
                  <a:pt x="15" y="99"/>
                  <a:pt x="15" y="99"/>
                  <a:pt x="14" y="99"/>
                </a:cubicBezTo>
                <a:cubicBezTo>
                  <a:pt x="14" y="99"/>
                  <a:pt x="14" y="98"/>
                  <a:pt x="13" y="98"/>
                </a:cubicBezTo>
                <a:cubicBezTo>
                  <a:pt x="13" y="98"/>
                  <a:pt x="13" y="98"/>
                  <a:pt x="13" y="98"/>
                </a:cubicBezTo>
                <a:cubicBezTo>
                  <a:pt x="13" y="98"/>
                  <a:pt x="13" y="97"/>
                  <a:pt x="12" y="97"/>
                </a:cubicBezTo>
                <a:cubicBezTo>
                  <a:pt x="12" y="97"/>
                  <a:pt x="12" y="98"/>
                  <a:pt x="12" y="98"/>
                </a:cubicBezTo>
                <a:cubicBezTo>
                  <a:pt x="12" y="99"/>
                  <a:pt x="13" y="101"/>
                  <a:pt x="14" y="101"/>
                </a:cubicBezTo>
                <a:cubicBezTo>
                  <a:pt x="14" y="101"/>
                  <a:pt x="14" y="101"/>
                  <a:pt x="14" y="101"/>
                </a:cubicBezTo>
                <a:cubicBezTo>
                  <a:pt x="14" y="102"/>
                  <a:pt x="15" y="102"/>
                  <a:pt x="16" y="103"/>
                </a:cubicBezTo>
                <a:cubicBezTo>
                  <a:pt x="16" y="103"/>
                  <a:pt x="16" y="103"/>
                  <a:pt x="16" y="104"/>
                </a:cubicBezTo>
                <a:cubicBezTo>
                  <a:pt x="16" y="103"/>
                  <a:pt x="16" y="103"/>
                  <a:pt x="16" y="102"/>
                </a:cubicBezTo>
                <a:cubicBezTo>
                  <a:pt x="16" y="102"/>
                  <a:pt x="16" y="101"/>
                  <a:pt x="16" y="100"/>
                </a:cubicBezTo>
                <a:cubicBezTo>
                  <a:pt x="16" y="100"/>
                  <a:pt x="16" y="100"/>
                  <a:pt x="16" y="100"/>
                </a:cubicBezTo>
                <a:cubicBezTo>
                  <a:pt x="16" y="100"/>
                  <a:pt x="16" y="100"/>
                  <a:pt x="16" y="100"/>
                </a:cubicBezTo>
                <a:cubicBezTo>
                  <a:pt x="17" y="99"/>
                  <a:pt x="17" y="99"/>
                  <a:pt x="17" y="98"/>
                </a:cubicBezTo>
                <a:cubicBezTo>
                  <a:pt x="18" y="99"/>
                  <a:pt x="18" y="100"/>
                  <a:pt x="18" y="101"/>
                </a:cubicBezTo>
                <a:cubicBezTo>
                  <a:pt x="18" y="102"/>
                  <a:pt x="17" y="102"/>
                  <a:pt x="17" y="103"/>
                </a:cubicBezTo>
                <a:cubicBezTo>
                  <a:pt x="17" y="104"/>
                  <a:pt x="18" y="103"/>
                  <a:pt x="18" y="104"/>
                </a:cubicBezTo>
                <a:cubicBezTo>
                  <a:pt x="18" y="104"/>
                  <a:pt x="18" y="104"/>
                  <a:pt x="18" y="104"/>
                </a:cubicBezTo>
                <a:cubicBezTo>
                  <a:pt x="19" y="105"/>
                  <a:pt x="19" y="106"/>
                  <a:pt x="20" y="107"/>
                </a:cubicBezTo>
                <a:cubicBezTo>
                  <a:pt x="20" y="108"/>
                  <a:pt x="21" y="108"/>
                  <a:pt x="21" y="109"/>
                </a:cubicBezTo>
                <a:cubicBezTo>
                  <a:pt x="21" y="110"/>
                  <a:pt x="22" y="112"/>
                  <a:pt x="22" y="113"/>
                </a:cubicBezTo>
                <a:cubicBezTo>
                  <a:pt x="22" y="113"/>
                  <a:pt x="22" y="113"/>
                  <a:pt x="22" y="113"/>
                </a:cubicBezTo>
                <a:cubicBezTo>
                  <a:pt x="22" y="114"/>
                  <a:pt x="22" y="115"/>
                  <a:pt x="23" y="116"/>
                </a:cubicBezTo>
                <a:cubicBezTo>
                  <a:pt x="23" y="117"/>
                  <a:pt x="23" y="118"/>
                  <a:pt x="23" y="118"/>
                </a:cubicBezTo>
                <a:cubicBezTo>
                  <a:pt x="23" y="119"/>
                  <a:pt x="22" y="120"/>
                  <a:pt x="22" y="120"/>
                </a:cubicBezTo>
                <a:cubicBezTo>
                  <a:pt x="22" y="121"/>
                  <a:pt x="22" y="122"/>
                  <a:pt x="21" y="124"/>
                </a:cubicBezTo>
                <a:cubicBezTo>
                  <a:pt x="21" y="124"/>
                  <a:pt x="21" y="125"/>
                  <a:pt x="21" y="125"/>
                </a:cubicBezTo>
                <a:cubicBezTo>
                  <a:pt x="21" y="127"/>
                  <a:pt x="21" y="128"/>
                  <a:pt x="20" y="130"/>
                </a:cubicBezTo>
                <a:cubicBezTo>
                  <a:pt x="20" y="131"/>
                  <a:pt x="20" y="133"/>
                  <a:pt x="20" y="134"/>
                </a:cubicBezTo>
                <a:cubicBezTo>
                  <a:pt x="21" y="133"/>
                  <a:pt x="22" y="132"/>
                  <a:pt x="23" y="132"/>
                </a:cubicBezTo>
                <a:cubicBezTo>
                  <a:pt x="23" y="131"/>
                  <a:pt x="23" y="131"/>
                  <a:pt x="23" y="131"/>
                </a:cubicBezTo>
                <a:cubicBezTo>
                  <a:pt x="23" y="131"/>
                  <a:pt x="23" y="131"/>
                  <a:pt x="23" y="131"/>
                </a:cubicBezTo>
                <a:cubicBezTo>
                  <a:pt x="24" y="130"/>
                  <a:pt x="24" y="129"/>
                  <a:pt x="24" y="128"/>
                </a:cubicBezTo>
                <a:cubicBezTo>
                  <a:pt x="24" y="129"/>
                  <a:pt x="24" y="129"/>
                  <a:pt x="24" y="130"/>
                </a:cubicBezTo>
                <a:cubicBezTo>
                  <a:pt x="24" y="130"/>
                  <a:pt x="24" y="131"/>
                  <a:pt x="24" y="131"/>
                </a:cubicBezTo>
                <a:cubicBezTo>
                  <a:pt x="24" y="132"/>
                  <a:pt x="23" y="133"/>
                  <a:pt x="23" y="134"/>
                </a:cubicBezTo>
                <a:cubicBezTo>
                  <a:pt x="23" y="134"/>
                  <a:pt x="23" y="134"/>
                  <a:pt x="24" y="134"/>
                </a:cubicBezTo>
                <a:cubicBezTo>
                  <a:pt x="24" y="134"/>
                  <a:pt x="24" y="133"/>
                  <a:pt x="25" y="132"/>
                </a:cubicBezTo>
                <a:cubicBezTo>
                  <a:pt x="25" y="133"/>
                  <a:pt x="25" y="133"/>
                  <a:pt x="25" y="133"/>
                </a:cubicBezTo>
                <a:cubicBezTo>
                  <a:pt x="24" y="134"/>
                  <a:pt x="24" y="135"/>
                  <a:pt x="24" y="135"/>
                </a:cubicBezTo>
                <a:cubicBezTo>
                  <a:pt x="25" y="135"/>
                  <a:pt x="25" y="134"/>
                  <a:pt x="25" y="134"/>
                </a:cubicBezTo>
                <a:cubicBezTo>
                  <a:pt x="25" y="134"/>
                  <a:pt x="26" y="133"/>
                  <a:pt x="26" y="133"/>
                </a:cubicBezTo>
                <a:cubicBezTo>
                  <a:pt x="26" y="133"/>
                  <a:pt x="26" y="133"/>
                  <a:pt x="26" y="132"/>
                </a:cubicBezTo>
                <a:cubicBezTo>
                  <a:pt x="26" y="132"/>
                  <a:pt x="26" y="132"/>
                  <a:pt x="26" y="132"/>
                </a:cubicBezTo>
                <a:cubicBezTo>
                  <a:pt x="26" y="132"/>
                  <a:pt x="26" y="132"/>
                  <a:pt x="26" y="132"/>
                </a:cubicBezTo>
                <a:cubicBezTo>
                  <a:pt x="26" y="133"/>
                  <a:pt x="26" y="134"/>
                  <a:pt x="27" y="135"/>
                </a:cubicBezTo>
                <a:cubicBezTo>
                  <a:pt x="27" y="136"/>
                  <a:pt x="27" y="136"/>
                  <a:pt x="27" y="136"/>
                </a:cubicBezTo>
                <a:cubicBezTo>
                  <a:pt x="28" y="136"/>
                  <a:pt x="28" y="135"/>
                  <a:pt x="28" y="135"/>
                </a:cubicBezTo>
                <a:cubicBezTo>
                  <a:pt x="28" y="134"/>
                  <a:pt x="28" y="134"/>
                  <a:pt x="28" y="134"/>
                </a:cubicBezTo>
                <a:cubicBezTo>
                  <a:pt x="28" y="134"/>
                  <a:pt x="28" y="134"/>
                  <a:pt x="28" y="134"/>
                </a:cubicBezTo>
                <a:cubicBezTo>
                  <a:pt x="28" y="133"/>
                  <a:pt x="29" y="131"/>
                  <a:pt x="29" y="133"/>
                </a:cubicBezTo>
                <a:cubicBezTo>
                  <a:pt x="29" y="133"/>
                  <a:pt x="29" y="133"/>
                  <a:pt x="29" y="133"/>
                </a:cubicBezTo>
                <a:cubicBezTo>
                  <a:pt x="29" y="134"/>
                  <a:pt x="28" y="136"/>
                  <a:pt x="29" y="136"/>
                </a:cubicBezTo>
                <a:cubicBezTo>
                  <a:pt x="29" y="136"/>
                  <a:pt x="30" y="135"/>
                  <a:pt x="30" y="135"/>
                </a:cubicBezTo>
                <a:cubicBezTo>
                  <a:pt x="30" y="134"/>
                  <a:pt x="31" y="134"/>
                  <a:pt x="31" y="133"/>
                </a:cubicBezTo>
                <a:cubicBezTo>
                  <a:pt x="31" y="133"/>
                  <a:pt x="31" y="135"/>
                  <a:pt x="30" y="136"/>
                </a:cubicBezTo>
                <a:cubicBezTo>
                  <a:pt x="30" y="136"/>
                  <a:pt x="30" y="137"/>
                  <a:pt x="31" y="136"/>
                </a:cubicBezTo>
                <a:cubicBezTo>
                  <a:pt x="33" y="136"/>
                  <a:pt x="34" y="133"/>
                  <a:pt x="34" y="132"/>
                </a:cubicBezTo>
                <a:cubicBezTo>
                  <a:pt x="35" y="131"/>
                  <a:pt x="36" y="132"/>
                  <a:pt x="37" y="131"/>
                </a:cubicBezTo>
                <a:cubicBezTo>
                  <a:pt x="38" y="131"/>
                  <a:pt x="38" y="130"/>
                  <a:pt x="38" y="130"/>
                </a:cubicBezTo>
                <a:cubicBezTo>
                  <a:pt x="38" y="130"/>
                  <a:pt x="41" y="130"/>
                  <a:pt x="41" y="129"/>
                </a:cubicBezTo>
                <a:cubicBezTo>
                  <a:pt x="41" y="129"/>
                  <a:pt x="41" y="129"/>
                  <a:pt x="41" y="129"/>
                </a:cubicBezTo>
                <a:cubicBezTo>
                  <a:pt x="40" y="128"/>
                  <a:pt x="40" y="128"/>
                  <a:pt x="40" y="128"/>
                </a:cubicBezTo>
                <a:cubicBezTo>
                  <a:pt x="41" y="128"/>
                  <a:pt x="41" y="128"/>
                  <a:pt x="41" y="128"/>
                </a:cubicBezTo>
                <a:cubicBezTo>
                  <a:pt x="41" y="128"/>
                  <a:pt x="41" y="128"/>
                  <a:pt x="42" y="128"/>
                </a:cubicBezTo>
                <a:cubicBezTo>
                  <a:pt x="42" y="128"/>
                  <a:pt x="42" y="128"/>
                  <a:pt x="43" y="128"/>
                </a:cubicBezTo>
                <a:cubicBezTo>
                  <a:pt x="44" y="128"/>
                  <a:pt x="44" y="127"/>
                  <a:pt x="45" y="126"/>
                </a:cubicBezTo>
                <a:cubicBezTo>
                  <a:pt x="46" y="125"/>
                  <a:pt x="46" y="125"/>
                  <a:pt x="46" y="124"/>
                </a:cubicBezTo>
                <a:cubicBezTo>
                  <a:pt x="46" y="124"/>
                  <a:pt x="46" y="124"/>
                  <a:pt x="46" y="124"/>
                </a:cubicBezTo>
                <a:cubicBezTo>
                  <a:pt x="46" y="123"/>
                  <a:pt x="47" y="121"/>
                  <a:pt x="47" y="120"/>
                </a:cubicBezTo>
                <a:cubicBezTo>
                  <a:pt x="47" y="119"/>
                  <a:pt x="46" y="119"/>
                  <a:pt x="46" y="118"/>
                </a:cubicBezTo>
                <a:cubicBezTo>
                  <a:pt x="47" y="119"/>
                  <a:pt x="47" y="119"/>
                  <a:pt x="47" y="119"/>
                </a:cubicBezTo>
                <a:cubicBezTo>
                  <a:pt x="48" y="120"/>
                  <a:pt x="48" y="120"/>
                  <a:pt x="49" y="121"/>
                </a:cubicBezTo>
                <a:cubicBezTo>
                  <a:pt x="49" y="122"/>
                  <a:pt x="50" y="123"/>
                  <a:pt x="50" y="123"/>
                </a:cubicBezTo>
                <a:cubicBezTo>
                  <a:pt x="50" y="124"/>
                  <a:pt x="50" y="124"/>
                  <a:pt x="50" y="124"/>
                </a:cubicBezTo>
                <a:cubicBezTo>
                  <a:pt x="50" y="125"/>
                  <a:pt x="50" y="126"/>
                  <a:pt x="51" y="127"/>
                </a:cubicBezTo>
                <a:cubicBezTo>
                  <a:pt x="51" y="127"/>
                  <a:pt x="51" y="128"/>
                  <a:pt x="52" y="128"/>
                </a:cubicBezTo>
                <a:cubicBezTo>
                  <a:pt x="52" y="128"/>
                  <a:pt x="53" y="128"/>
                  <a:pt x="54" y="128"/>
                </a:cubicBezTo>
                <a:cubicBezTo>
                  <a:pt x="55" y="128"/>
                  <a:pt x="55" y="128"/>
                  <a:pt x="55" y="128"/>
                </a:cubicBezTo>
                <a:cubicBezTo>
                  <a:pt x="54" y="128"/>
                  <a:pt x="54" y="131"/>
                  <a:pt x="54" y="132"/>
                </a:cubicBezTo>
                <a:cubicBezTo>
                  <a:pt x="54" y="132"/>
                  <a:pt x="54" y="132"/>
                  <a:pt x="54" y="133"/>
                </a:cubicBezTo>
                <a:cubicBezTo>
                  <a:pt x="54" y="133"/>
                  <a:pt x="54" y="134"/>
                  <a:pt x="55" y="135"/>
                </a:cubicBezTo>
                <a:cubicBezTo>
                  <a:pt x="55" y="136"/>
                  <a:pt x="55" y="136"/>
                  <a:pt x="55" y="137"/>
                </a:cubicBezTo>
                <a:cubicBezTo>
                  <a:pt x="55" y="137"/>
                  <a:pt x="55" y="137"/>
                  <a:pt x="55" y="138"/>
                </a:cubicBezTo>
                <a:cubicBezTo>
                  <a:pt x="55" y="138"/>
                  <a:pt x="55" y="138"/>
                  <a:pt x="55" y="138"/>
                </a:cubicBezTo>
                <a:cubicBezTo>
                  <a:pt x="55" y="140"/>
                  <a:pt x="56" y="141"/>
                  <a:pt x="56" y="142"/>
                </a:cubicBezTo>
                <a:cubicBezTo>
                  <a:pt x="56" y="143"/>
                  <a:pt x="56" y="144"/>
                  <a:pt x="56" y="145"/>
                </a:cubicBezTo>
                <a:cubicBezTo>
                  <a:pt x="56" y="145"/>
                  <a:pt x="56" y="145"/>
                  <a:pt x="56" y="146"/>
                </a:cubicBezTo>
                <a:cubicBezTo>
                  <a:pt x="57" y="146"/>
                  <a:pt x="57" y="147"/>
                  <a:pt x="58" y="148"/>
                </a:cubicBezTo>
                <a:cubicBezTo>
                  <a:pt x="58" y="148"/>
                  <a:pt x="58" y="148"/>
                  <a:pt x="58" y="148"/>
                </a:cubicBezTo>
                <a:cubicBezTo>
                  <a:pt x="58" y="148"/>
                  <a:pt x="58" y="148"/>
                  <a:pt x="58" y="148"/>
                </a:cubicBezTo>
                <a:cubicBezTo>
                  <a:pt x="58" y="148"/>
                  <a:pt x="58" y="148"/>
                  <a:pt x="58" y="148"/>
                </a:cubicBezTo>
                <a:cubicBezTo>
                  <a:pt x="58" y="148"/>
                  <a:pt x="58" y="148"/>
                  <a:pt x="58" y="148"/>
                </a:cubicBezTo>
                <a:cubicBezTo>
                  <a:pt x="58" y="149"/>
                  <a:pt x="58" y="150"/>
                  <a:pt x="58" y="151"/>
                </a:cubicBezTo>
                <a:cubicBezTo>
                  <a:pt x="58" y="153"/>
                  <a:pt x="58" y="154"/>
                  <a:pt x="59" y="155"/>
                </a:cubicBezTo>
                <a:cubicBezTo>
                  <a:pt x="59" y="156"/>
                  <a:pt x="59" y="157"/>
                  <a:pt x="59" y="158"/>
                </a:cubicBezTo>
                <a:cubicBezTo>
                  <a:pt x="59" y="159"/>
                  <a:pt x="59" y="159"/>
                  <a:pt x="59" y="159"/>
                </a:cubicBezTo>
                <a:cubicBezTo>
                  <a:pt x="59" y="159"/>
                  <a:pt x="60" y="159"/>
                  <a:pt x="60" y="159"/>
                </a:cubicBezTo>
                <a:cubicBezTo>
                  <a:pt x="59" y="159"/>
                  <a:pt x="60" y="158"/>
                  <a:pt x="60" y="158"/>
                </a:cubicBezTo>
                <a:cubicBezTo>
                  <a:pt x="60" y="158"/>
                  <a:pt x="60" y="158"/>
                  <a:pt x="60" y="158"/>
                </a:cubicBezTo>
                <a:cubicBezTo>
                  <a:pt x="60" y="157"/>
                  <a:pt x="60" y="155"/>
                  <a:pt x="60" y="154"/>
                </a:cubicBezTo>
                <a:cubicBezTo>
                  <a:pt x="60" y="154"/>
                  <a:pt x="61" y="155"/>
                  <a:pt x="61" y="156"/>
                </a:cubicBezTo>
                <a:cubicBezTo>
                  <a:pt x="62" y="157"/>
                  <a:pt x="62" y="158"/>
                  <a:pt x="62" y="159"/>
                </a:cubicBezTo>
                <a:cubicBezTo>
                  <a:pt x="62" y="160"/>
                  <a:pt x="63" y="161"/>
                  <a:pt x="63" y="161"/>
                </a:cubicBezTo>
                <a:cubicBezTo>
                  <a:pt x="63" y="162"/>
                  <a:pt x="63" y="162"/>
                  <a:pt x="63" y="162"/>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03" name="Freeform 3160">
            <a:extLst>
              <a:ext uri="{FF2B5EF4-FFF2-40B4-BE49-F238E27FC236}">
                <a16:creationId xmlns:a16="http://schemas.microsoft.com/office/drawing/2014/main" id="{D1555BF9-FB63-478A-8B44-DA0D358FCCBC}"/>
              </a:ext>
            </a:extLst>
          </p:cNvPr>
          <p:cNvSpPr>
            <a:spLocks/>
          </p:cNvSpPr>
          <p:nvPr/>
        </p:nvSpPr>
        <p:spPr bwMode="auto">
          <a:xfrm>
            <a:off x="4540242" y="3465349"/>
            <a:ext cx="2478" cy="4155"/>
          </a:xfrm>
          <a:custGeom>
            <a:avLst/>
            <a:gdLst>
              <a:gd name="T0" fmla="*/ 2 w 2"/>
              <a:gd name="T1" fmla="*/ 2 h 3"/>
              <a:gd name="T2" fmla="*/ 2 w 2"/>
              <a:gd name="T3" fmla="*/ 1 h 3"/>
              <a:gd name="T4" fmla="*/ 1 w 2"/>
              <a:gd name="T5" fmla="*/ 1 h 3"/>
              <a:gd name="T6" fmla="*/ 1 w 2"/>
              <a:gd name="T7" fmla="*/ 0 h 3"/>
              <a:gd name="T8" fmla="*/ 1 w 2"/>
              <a:gd name="T9" fmla="*/ 0 h 3"/>
              <a:gd name="T10" fmla="*/ 1 w 2"/>
              <a:gd name="T11" fmla="*/ 0 h 3"/>
              <a:gd name="T12" fmla="*/ 1 w 2"/>
              <a:gd name="T13" fmla="*/ 0 h 3"/>
              <a:gd name="T14" fmla="*/ 0 w 2"/>
              <a:gd name="T15" fmla="*/ 0 h 3"/>
              <a:gd name="T16" fmla="*/ 0 w 2"/>
              <a:gd name="T17" fmla="*/ 0 h 3"/>
              <a:gd name="T18" fmla="*/ 1 w 2"/>
              <a:gd name="T19" fmla="*/ 3 h 3"/>
              <a:gd name="T20" fmla="*/ 2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2" y="2"/>
                </a:moveTo>
                <a:cubicBezTo>
                  <a:pt x="2" y="1"/>
                  <a:pt x="2" y="1"/>
                  <a:pt x="2" y="1"/>
                </a:cubicBezTo>
                <a:cubicBezTo>
                  <a:pt x="2" y="1"/>
                  <a:pt x="1" y="1"/>
                  <a:pt x="1" y="1"/>
                </a:cubicBezTo>
                <a:cubicBezTo>
                  <a:pt x="1" y="0"/>
                  <a:pt x="1" y="0"/>
                  <a:pt x="1" y="0"/>
                </a:cubicBezTo>
                <a:cubicBezTo>
                  <a:pt x="1" y="0"/>
                  <a:pt x="1" y="0"/>
                  <a:pt x="1" y="0"/>
                </a:cubicBezTo>
                <a:cubicBezTo>
                  <a:pt x="1" y="0"/>
                  <a:pt x="1" y="0"/>
                  <a:pt x="1" y="0"/>
                </a:cubicBezTo>
                <a:cubicBezTo>
                  <a:pt x="1" y="0"/>
                  <a:pt x="1" y="0"/>
                  <a:pt x="1" y="0"/>
                </a:cubicBezTo>
                <a:cubicBezTo>
                  <a:pt x="1" y="0"/>
                  <a:pt x="0" y="0"/>
                  <a:pt x="0" y="0"/>
                </a:cubicBezTo>
                <a:cubicBezTo>
                  <a:pt x="0" y="0"/>
                  <a:pt x="0" y="0"/>
                  <a:pt x="0" y="0"/>
                </a:cubicBezTo>
                <a:cubicBezTo>
                  <a:pt x="1" y="3"/>
                  <a:pt x="1" y="3"/>
                  <a:pt x="1" y="3"/>
                </a:cubicBezTo>
                <a:cubicBezTo>
                  <a:pt x="2" y="2"/>
                  <a:pt x="2" y="2"/>
                  <a:pt x="2" y="2"/>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04" name="Freeform 3161">
            <a:extLst>
              <a:ext uri="{FF2B5EF4-FFF2-40B4-BE49-F238E27FC236}">
                <a16:creationId xmlns:a16="http://schemas.microsoft.com/office/drawing/2014/main" id="{C7819E43-362D-4DEF-8C39-917F776C9C9D}"/>
              </a:ext>
            </a:extLst>
          </p:cNvPr>
          <p:cNvSpPr>
            <a:spLocks/>
          </p:cNvSpPr>
          <p:nvPr/>
        </p:nvSpPr>
        <p:spPr bwMode="auto">
          <a:xfrm>
            <a:off x="4550648" y="350749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05" name="Freeform 3162">
            <a:extLst>
              <a:ext uri="{FF2B5EF4-FFF2-40B4-BE49-F238E27FC236}">
                <a16:creationId xmlns:a16="http://schemas.microsoft.com/office/drawing/2014/main" id="{C12BEA7F-E0C0-4A7C-B9DD-634B823F15B1}"/>
              </a:ext>
            </a:extLst>
          </p:cNvPr>
          <p:cNvSpPr>
            <a:spLocks/>
          </p:cNvSpPr>
          <p:nvPr/>
        </p:nvSpPr>
        <p:spPr bwMode="auto">
          <a:xfrm>
            <a:off x="4507535" y="3463568"/>
            <a:ext cx="94652" cy="212507"/>
          </a:xfrm>
          <a:custGeom>
            <a:avLst/>
            <a:gdLst>
              <a:gd name="T0" fmla="*/ 77 w 81"/>
              <a:gd name="T1" fmla="*/ 46 h 151"/>
              <a:gd name="T2" fmla="*/ 73 w 81"/>
              <a:gd name="T3" fmla="*/ 41 h 151"/>
              <a:gd name="T4" fmla="*/ 73 w 81"/>
              <a:gd name="T5" fmla="*/ 33 h 151"/>
              <a:gd name="T6" fmla="*/ 72 w 81"/>
              <a:gd name="T7" fmla="*/ 30 h 151"/>
              <a:gd name="T8" fmla="*/ 64 w 81"/>
              <a:gd name="T9" fmla="*/ 22 h 151"/>
              <a:gd name="T10" fmla="*/ 60 w 81"/>
              <a:gd name="T11" fmla="*/ 22 h 151"/>
              <a:gd name="T12" fmla="*/ 55 w 81"/>
              <a:gd name="T13" fmla="*/ 26 h 151"/>
              <a:gd name="T14" fmla="*/ 47 w 81"/>
              <a:gd name="T15" fmla="*/ 24 h 151"/>
              <a:gd name="T16" fmla="*/ 38 w 81"/>
              <a:gd name="T17" fmla="*/ 31 h 151"/>
              <a:gd name="T18" fmla="*/ 36 w 81"/>
              <a:gd name="T19" fmla="*/ 31 h 151"/>
              <a:gd name="T20" fmla="*/ 34 w 81"/>
              <a:gd name="T21" fmla="*/ 29 h 151"/>
              <a:gd name="T22" fmla="*/ 36 w 81"/>
              <a:gd name="T23" fmla="*/ 24 h 151"/>
              <a:gd name="T24" fmla="*/ 37 w 81"/>
              <a:gd name="T25" fmla="*/ 16 h 151"/>
              <a:gd name="T26" fmla="*/ 37 w 81"/>
              <a:gd name="T27" fmla="*/ 12 h 151"/>
              <a:gd name="T28" fmla="*/ 31 w 81"/>
              <a:gd name="T29" fmla="*/ 10 h 151"/>
              <a:gd name="T30" fmla="*/ 29 w 81"/>
              <a:gd name="T31" fmla="*/ 7 h 151"/>
              <a:gd name="T32" fmla="*/ 25 w 81"/>
              <a:gd name="T33" fmla="*/ 1 h 151"/>
              <a:gd name="T34" fmla="*/ 22 w 81"/>
              <a:gd name="T35" fmla="*/ 1 h 151"/>
              <a:gd name="T36" fmla="*/ 20 w 81"/>
              <a:gd name="T37" fmla="*/ 3 h 151"/>
              <a:gd name="T38" fmla="*/ 17 w 81"/>
              <a:gd name="T39" fmla="*/ 5 h 151"/>
              <a:gd name="T40" fmla="*/ 13 w 81"/>
              <a:gd name="T41" fmla="*/ 7 h 151"/>
              <a:gd name="T42" fmla="*/ 10 w 81"/>
              <a:gd name="T43" fmla="*/ 8 h 151"/>
              <a:gd name="T44" fmla="*/ 5 w 81"/>
              <a:gd name="T45" fmla="*/ 11 h 151"/>
              <a:gd name="T46" fmla="*/ 4 w 81"/>
              <a:gd name="T47" fmla="*/ 17 h 151"/>
              <a:gd name="T48" fmla="*/ 0 w 81"/>
              <a:gd name="T49" fmla="*/ 20 h 151"/>
              <a:gd name="T50" fmla="*/ 3 w 81"/>
              <a:gd name="T51" fmla="*/ 23 h 151"/>
              <a:gd name="T52" fmla="*/ 9 w 81"/>
              <a:gd name="T53" fmla="*/ 33 h 151"/>
              <a:gd name="T54" fmla="*/ 11 w 81"/>
              <a:gd name="T55" fmla="*/ 35 h 151"/>
              <a:gd name="T56" fmla="*/ 14 w 81"/>
              <a:gd name="T57" fmla="*/ 38 h 151"/>
              <a:gd name="T58" fmla="*/ 14 w 81"/>
              <a:gd name="T59" fmla="*/ 45 h 151"/>
              <a:gd name="T60" fmla="*/ 12 w 81"/>
              <a:gd name="T61" fmla="*/ 51 h 151"/>
              <a:gd name="T62" fmla="*/ 13 w 81"/>
              <a:gd name="T63" fmla="*/ 63 h 151"/>
              <a:gd name="T64" fmla="*/ 17 w 81"/>
              <a:gd name="T65" fmla="*/ 67 h 151"/>
              <a:gd name="T66" fmla="*/ 18 w 81"/>
              <a:gd name="T67" fmla="*/ 76 h 151"/>
              <a:gd name="T68" fmla="*/ 19 w 81"/>
              <a:gd name="T69" fmla="*/ 78 h 151"/>
              <a:gd name="T70" fmla="*/ 22 w 81"/>
              <a:gd name="T71" fmla="*/ 88 h 151"/>
              <a:gd name="T72" fmla="*/ 14 w 81"/>
              <a:gd name="T73" fmla="*/ 103 h 151"/>
              <a:gd name="T74" fmla="*/ 8 w 81"/>
              <a:gd name="T75" fmla="*/ 117 h 151"/>
              <a:gd name="T76" fmla="*/ 8 w 81"/>
              <a:gd name="T77" fmla="*/ 126 h 151"/>
              <a:gd name="T78" fmla="*/ 19 w 81"/>
              <a:gd name="T79" fmla="*/ 135 h 151"/>
              <a:gd name="T80" fmla="*/ 26 w 81"/>
              <a:gd name="T81" fmla="*/ 142 h 151"/>
              <a:gd name="T82" fmla="*/ 34 w 81"/>
              <a:gd name="T83" fmla="*/ 143 h 151"/>
              <a:gd name="T84" fmla="*/ 37 w 81"/>
              <a:gd name="T85" fmla="*/ 150 h 151"/>
              <a:gd name="T86" fmla="*/ 43 w 81"/>
              <a:gd name="T87" fmla="*/ 150 h 151"/>
              <a:gd name="T88" fmla="*/ 42 w 81"/>
              <a:gd name="T89" fmla="*/ 143 h 151"/>
              <a:gd name="T90" fmla="*/ 29 w 81"/>
              <a:gd name="T91" fmla="*/ 135 h 151"/>
              <a:gd name="T92" fmla="*/ 25 w 81"/>
              <a:gd name="T93" fmla="*/ 120 h 151"/>
              <a:gd name="T94" fmla="*/ 17 w 81"/>
              <a:gd name="T95" fmla="*/ 110 h 151"/>
              <a:gd name="T96" fmla="*/ 25 w 81"/>
              <a:gd name="T97" fmla="*/ 81 h 151"/>
              <a:gd name="T98" fmla="*/ 31 w 81"/>
              <a:gd name="T99" fmla="*/ 66 h 151"/>
              <a:gd name="T100" fmla="*/ 41 w 81"/>
              <a:gd name="T101" fmla="*/ 80 h 151"/>
              <a:gd name="T102" fmla="*/ 52 w 81"/>
              <a:gd name="T103" fmla="*/ 84 h 151"/>
              <a:gd name="T104" fmla="*/ 50 w 81"/>
              <a:gd name="T105" fmla="*/ 81 h 151"/>
              <a:gd name="T106" fmla="*/ 49 w 81"/>
              <a:gd name="T107" fmla="*/ 70 h 151"/>
              <a:gd name="T108" fmla="*/ 61 w 81"/>
              <a:gd name="T109" fmla="*/ 61 h 151"/>
              <a:gd name="T110" fmla="*/ 75 w 81"/>
              <a:gd name="T111" fmla="*/ 61 h 151"/>
              <a:gd name="T112" fmla="*/ 80 w 81"/>
              <a:gd name="T113" fmla="*/ 60 h 151"/>
              <a:gd name="T114" fmla="*/ 81 w 81"/>
              <a:gd name="T115" fmla="*/ 5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 h="151">
                <a:moveTo>
                  <a:pt x="81" y="50"/>
                </a:moveTo>
                <a:cubicBezTo>
                  <a:pt x="81" y="50"/>
                  <a:pt x="81" y="50"/>
                  <a:pt x="81" y="50"/>
                </a:cubicBezTo>
                <a:cubicBezTo>
                  <a:pt x="81" y="49"/>
                  <a:pt x="80" y="49"/>
                  <a:pt x="80" y="49"/>
                </a:cubicBezTo>
                <a:cubicBezTo>
                  <a:pt x="79" y="48"/>
                  <a:pt x="79" y="47"/>
                  <a:pt x="79" y="47"/>
                </a:cubicBezTo>
                <a:cubicBezTo>
                  <a:pt x="79" y="47"/>
                  <a:pt x="79" y="47"/>
                  <a:pt x="79" y="46"/>
                </a:cubicBezTo>
                <a:cubicBezTo>
                  <a:pt x="78" y="46"/>
                  <a:pt x="77" y="46"/>
                  <a:pt x="77" y="46"/>
                </a:cubicBezTo>
                <a:cubicBezTo>
                  <a:pt x="76" y="45"/>
                  <a:pt x="76" y="44"/>
                  <a:pt x="76" y="44"/>
                </a:cubicBezTo>
                <a:cubicBezTo>
                  <a:pt x="75" y="44"/>
                  <a:pt x="75" y="43"/>
                  <a:pt x="75" y="43"/>
                </a:cubicBezTo>
                <a:cubicBezTo>
                  <a:pt x="75" y="43"/>
                  <a:pt x="75" y="43"/>
                  <a:pt x="75" y="43"/>
                </a:cubicBezTo>
                <a:cubicBezTo>
                  <a:pt x="74" y="43"/>
                  <a:pt x="74" y="42"/>
                  <a:pt x="74" y="42"/>
                </a:cubicBezTo>
                <a:cubicBezTo>
                  <a:pt x="73" y="41"/>
                  <a:pt x="73" y="41"/>
                  <a:pt x="73" y="41"/>
                </a:cubicBezTo>
                <a:cubicBezTo>
                  <a:pt x="73" y="41"/>
                  <a:pt x="73" y="41"/>
                  <a:pt x="73" y="41"/>
                </a:cubicBezTo>
                <a:cubicBezTo>
                  <a:pt x="73" y="41"/>
                  <a:pt x="73" y="40"/>
                  <a:pt x="73" y="40"/>
                </a:cubicBezTo>
                <a:cubicBezTo>
                  <a:pt x="73" y="40"/>
                  <a:pt x="73" y="39"/>
                  <a:pt x="73" y="39"/>
                </a:cubicBezTo>
                <a:cubicBezTo>
                  <a:pt x="73" y="39"/>
                  <a:pt x="73" y="39"/>
                  <a:pt x="73" y="39"/>
                </a:cubicBezTo>
                <a:cubicBezTo>
                  <a:pt x="72" y="37"/>
                  <a:pt x="72" y="36"/>
                  <a:pt x="73" y="35"/>
                </a:cubicBezTo>
                <a:cubicBezTo>
                  <a:pt x="73" y="34"/>
                  <a:pt x="73" y="34"/>
                  <a:pt x="73" y="34"/>
                </a:cubicBezTo>
                <a:cubicBezTo>
                  <a:pt x="73" y="34"/>
                  <a:pt x="73" y="34"/>
                  <a:pt x="73" y="33"/>
                </a:cubicBezTo>
                <a:cubicBezTo>
                  <a:pt x="73" y="33"/>
                  <a:pt x="73" y="33"/>
                  <a:pt x="73" y="33"/>
                </a:cubicBezTo>
                <a:cubicBezTo>
                  <a:pt x="73" y="33"/>
                  <a:pt x="73" y="33"/>
                  <a:pt x="73" y="33"/>
                </a:cubicBezTo>
                <a:cubicBezTo>
                  <a:pt x="73" y="32"/>
                  <a:pt x="73" y="32"/>
                  <a:pt x="73" y="32"/>
                </a:cubicBezTo>
                <a:cubicBezTo>
                  <a:pt x="73" y="32"/>
                  <a:pt x="73" y="32"/>
                  <a:pt x="73" y="32"/>
                </a:cubicBezTo>
                <a:cubicBezTo>
                  <a:pt x="73" y="32"/>
                  <a:pt x="73" y="32"/>
                  <a:pt x="73" y="32"/>
                </a:cubicBezTo>
                <a:cubicBezTo>
                  <a:pt x="73" y="31"/>
                  <a:pt x="72" y="31"/>
                  <a:pt x="72" y="30"/>
                </a:cubicBezTo>
                <a:cubicBezTo>
                  <a:pt x="71" y="30"/>
                  <a:pt x="71" y="30"/>
                  <a:pt x="71" y="30"/>
                </a:cubicBezTo>
                <a:cubicBezTo>
                  <a:pt x="70" y="29"/>
                  <a:pt x="68" y="27"/>
                  <a:pt x="67" y="25"/>
                </a:cubicBezTo>
                <a:cubicBezTo>
                  <a:pt x="67" y="25"/>
                  <a:pt x="67" y="25"/>
                  <a:pt x="67" y="25"/>
                </a:cubicBezTo>
                <a:cubicBezTo>
                  <a:pt x="66" y="24"/>
                  <a:pt x="66" y="24"/>
                  <a:pt x="66" y="24"/>
                </a:cubicBezTo>
                <a:cubicBezTo>
                  <a:pt x="66" y="24"/>
                  <a:pt x="66" y="24"/>
                  <a:pt x="66" y="23"/>
                </a:cubicBezTo>
                <a:cubicBezTo>
                  <a:pt x="65" y="22"/>
                  <a:pt x="65" y="22"/>
                  <a:pt x="64" y="22"/>
                </a:cubicBezTo>
                <a:cubicBezTo>
                  <a:pt x="63" y="22"/>
                  <a:pt x="63" y="22"/>
                  <a:pt x="62" y="22"/>
                </a:cubicBezTo>
                <a:cubicBezTo>
                  <a:pt x="62" y="22"/>
                  <a:pt x="62" y="22"/>
                  <a:pt x="61" y="21"/>
                </a:cubicBezTo>
                <a:cubicBezTo>
                  <a:pt x="61" y="21"/>
                  <a:pt x="61" y="21"/>
                  <a:pt x="61" y="21"/>
                </a:cubicBezTo>
                <a:cubicBezTo>
                  <a:pt x="61" y="21"/>
                  <a:pt x="61" y="21"/>
                  <a:pt x="60" y="21"/>
                </a:cubicBezTo>
                <a:cubicBezTo>
                  <a:pt x="60" y="22"/>
                  <a:pt x="60" y="22"/>
                  <a:pt x="60" y="22"/>
                </a:cubicBezTo>
                <a:cubicBezTo>
                  <a:pt x="60" y="22"/>
                  <a:pt x="60" y="22"/>
                  <a:pt x="60" y="22"/>
                </a:cubicBezTo>
                <a:cubicBezTo>
                  <a:pt x="58" y="24"/>
                  <a:pt x="58" y="24"/>
                  <a:pt x="58" y="24"/>
                </a:cubicBezTo>
                <a:cubicBezTo>
                  <a:pt x="58" y="24"/>
                  <a:pt x="58" y="24"/>
                  <a:pt x="58" y="25"/>
                </a:cubicBezTo>
                <a:cubicBezTo>
                  <a:pt x="58" y="25"/>
                  <a:pt x="58" y="25"/>
                  <a:pt x="58" y="25"/>
                </a:cubicBezTo>
                <a:cubicBezTo>
                  <a:pt x="57" y="26"/>
                  <a:pt x="56" y="26"/>
                  <a:pt x="55" y="26"/>
                </a:cubicBezTo>
                <a:cubicBezTo>
                  <a:pt x="55" y="26"/>
                  <a:pt x="55" y="26"/>
                  <a:pt x="55" y="26"/>
                </a:cubicBezTo>
                <a:cubicBezTo>
                  <a:pt x="55" y="26"/>
                  <a:pt x="55" y="26"/>
                  <a:pt x="55" y="26"/>
                </a:cubicBezTo>
                <a:cubicBezTo>
                  <a:pt x="55" y="26"/>
                  <a:pt x="54" y="26"/>
                  <a:pt x="54" y="27"/>
                </a:cubicBezTo>
                <a:cubicBezTo>
                  <a:pt x="54" y="27"/>
                  <a:pt x="54" y="27"/>
                  <a:pt x="54" y="27"/>
                </a:cubicBezTo>
                <a:cubicBezTo>
                  <a:pt x="56" y="30"/>
                  <a:pt x="56" y="30"/>
                  <a:pt x="56" y="30"/>
                </a:cubicBezTo>
                <a:cubicBezTo>
                  <a:pt x="52" y="28"/>
                  <a:pt x="52" y="28"/>
                  <a:pt x="52" y="28"/>
                </a:cubicBezTo>
                <a:cubicBezTo>
                  <a:pt x="50" y="27"/>
                  <a:pt x="49" y="26"/>
                  <a:pt x="48" y="24"/>
                </a:cubicBezTo>
                <a:cubicBezTo>
                  <a:pt x="47" y="24"/>
                  <a:pt x="47" y="24"/>
                  <a:pt x="47" y="24"/>
                </a:cubicBezTo>
                <a:cubicBezTo>
                  <a:pt x="47" y="24"/>
                  <a:pt x="47" y="24"/>
                  <a:pt x="47" y="24"/>
                </a:cubicBezTo>
                <a:cubicBezTo>
                  <a:pt x="46" y="25"/>
                  <a:pt x="45" y="25"/>
                  <a:pt x="45" y="26"/>
                </a:cubicBezTo>
                <a:cubicBezTo>
                  <a:pt x="44" y="26"/>
                  <a:pt x="44" y="26"/>
                  <a:pt x="44" y="26"/>
                </a:cubicBezTo>
                <a:cubicBezTo>
                  <a:pt x="43" y="26"/>
                  <a:pt x="43" y="27"/>
                  <a:pt x="43" y="27"/>
                </a:cubicBezTo>
                <a:cubicBezTo>
                  <a:pt x="42" y="28"/>
                  <a:pt x="40" y="29"/>
                  <a:pt x="39" y="30"/>
                </a:cubicBezTo>
                <a:cubicBezTo>
                  <a:pt x="38" y="31"/>
                  <a:pt x="38" y="31"/>
                  <a:pt x="38" y="31"/>
                </a:cubicBezTo>
                <a:cubicBezTo>
                  <a:pt x="37" y="31"/>
                  <a:pt x="37" y="31"/>
                  <a:pt x="37" y="31"/>
                </a:cubicBezTo>
                <a:cubicBezTo>
                  <a:pt x="37" y="31"/>
                  <a:pt x="37" y="31"/>
                  <a:pt x="37" y="31"/>
                </a:cubicBezTo>
                <a:cubicBezTo>
                  <a:pt x="37" y="31"/>
                  <a:pt x="37" y="31"/>
                  <a:pt x="37" y="31"/>
                </a:cubicBezTo>
                <a:cubicBezTo>
                  <a:pt x="37" y="31"/>
                  <a:pt x="37" y="31"/>
                  <a:pt x="37" y="31"/>
                </a:cubicBezTo>
                <a:cubicBezTo>
                  <a:pt x="37" y="31"/>
                  <a:pt x="37" y="31"/>
                  <a:pt x="37" y="31"/>
                </a:cubicBezTo>
                <a:cubicBezTo>
                  <a:pt x="36" y="31"/>
                  <a:pt x="36" y="31"/>
                  <a:pt x="36" y="31"/>
                </a:cubicBezTo>
                <a:cubicBezTo>
                  <a:pt x="35" y="31"/>
                  <a:pt x="35" y="31"/>
                  <a:pt x="35" y="31"/>
                </a:cubicBezTo>
                <a:cubicBezTo>
                  <a:pt x="35" y="30"/>
                  <a:pt x="35" y="30"/>
                  <a:pt x="35" y="30"/>
                </a:cubicBezTo>
                <a:cubicBezTo>
                  <a:pt x="35" y="30"/>
                  <a:pt x="35" y="30"/>
                  <a:pt x="34" y="30"/>
                </a:cubicBezTo>
                <a:cubicBezTo>
                  <a:pt x="34" y="30"/>
                  <a:pt x="34" y="30"/>
                  <a:pt x="34" y="30"/>
                </a:cubicBezTo>
                <a:cubicBezTo>
                  <a:pt x="34" y="30"/>
                  <a:pt x="34" y="30"/>
                  <a:pt x="34" y="30"/>
                </a:cubicBezTo>
                <a:cubicBezTo>
                  <a:pt x="34" y="29"/>
                  <a:pt x="34" y="29"/>
                  <a:pt x="34" y="29"/>
                </a:cubicBezTo>
                <a:cubicBezTo>
                  <a:pt x="34" y="28"/>
                  <a:pt x="34" y="27"/>
                  <a:pt x="35" y="26"/>
                </a:cubicBezTo>
                <a:cubicBezTo>
                  <a:pt x="35" y="25"/>
                  <a:pt x="35" y="25"/>
                  <a:pt x="35" y="25"/>
                </a:cubicBezTo>
                <a:cubicBezTo>
                  <a:pt x="35" y="25"/>
                  <a:pt x="35" y="25"/>
                  <a:pt x="35" y="25"/>
                </a:cubicBezTo>
                <a:cubicBezTo>
                  <a:pt x="35" y="25"/>
                  <a:pt x="35" y="25"/>
                  <a:pt x="35" y="25"/>
                </a:cubicBezTo>
                <a:cubicBezTo>
                  <a:pt x="36" y="24"/>
                  <a:pt x="36" y="24"/>
                  <a:pt x="36" y="24"/>
                </a:cubicBezTo>
                <a:cubicBezTo>
                  <a:pt x="36" y="24"/>
                  <a:pt x="36" y="24"/>
                  <a:pt x="36" y="24"/>
                </a:cubicBezTo>
                <a:cubicBezTo>
                  <a:pt x="36" y="24"/>
                  <a:pt x="36" y="23"/>
                  <a:pt x="36" y="23"/>
                </a:cubicBezTo>
                <a:cubicBezTo>
                  <a:pt x="35" y="22"/>
                  <a:pt x="35" y="21"/>
                  <a:pt x="35" y="20"/>
                </a:cubicBezTo>
                <a:cubicBezTo>
                  <a:pt x="35" y="19"/>
                  <a:pt x="36" y="19"/>
                  <a:pt x="36" y="18"/>
                </a:cubicBezTo>
                <a:cubicBezTo>
                  <a:pt x="37" y="17"/>
                  <a:pt x="37" y="17"/>
                  <a:pt x="37" y="17"/>
                </a:cubicBezTo>
                <a:cubicBezTo>
                  <a:pt x="37" y="17"/>
                  <a:pt x="37" y="17"/>
                  <a:pt x="37" y="17"/>
                </a:cubicBezTo>
                <a:cubicBezTo>
                  <a:pt x="37" y="16"/>
                  <a:pt x="37" y="16"/>
                  <a:pt x="37" y="16"/>
                </a:cubicBezTo>
                <a:cubicBezTo>
                  <a:pt x="37" y="15"/>
                  <a:pt x="37" y="15"/>
                  <a:pt x="37" y="15"/>
                </a:cubicBezTo>
                <a:cubicBezTo>
                  <a:pt x="37" y="14"/>
                  <a:pt x="37" y="14"/>
                  <a:pt x="37" y="14"/>
                </a:cubicBezTo>
                <a:cubicBezTo>
                  <a:pt x="37" y="14"/>
                  <a:pt x="38" y="14"/>
                  <a:pt x="38" y="13"/>
                </a:cubicBezTo>
                <a:cubicBezTo>
                  <a:pt x="38" y="13"/>
                  <a:pt x="38" y="13"/>
                  <a:pt x="37" y="13"/>
                </a:cubicBezTo>
                <a:cubicBezTo>
                  <a:pt x="37" y="13"/>
                  <a:pt x="37" y="13"/>
                  <a:pt x="37" y="13"/>
                </a:cubicBezTo>
                <a:cubicBezTo>
                  <a:pt x="37" y="13"/>
                  <a:pt x="37" y="12"/>
                  <a:pt x="37" y="12"/>
                </a:cubicBezTo>
                <a:cubicBezTo>
                  <a:pt x="37" y="12"/>
                  <a:pt x="37" y="12"/>
                  <a:pt x="37" y="12"/>
                </a:cubicBezTo>
                <a:cubicBezTo>
                  <a:pt x="37" y="11"/>
                  <a:pt x="36" y="10"/>
                  <a:pt x="36" y="10"/>
                </a:cubicBezTo>
                <a:cubicBezTo>
                  <a:pt x="36" y="10"/>
                  <a:pt x="36" y="10"/>
                  <a:pt x="36" y="10"/>
                </a:cubicBezTo>
                <a:cubicBezTo>
                  <a:pt x="36" y="10"/>
                  <a:pt x="35" y="10"/>
                  <a:pt x="34" y="10"/>
                </a:cubicBezTo>
                <a:cubicBezTo>
                  <a:pt x="34" y="10"/>
                  <a:pt x="33" y="10"/>
                  <a:pt x="32" y="10"/>
                </a:cubicBezTo>
                <a:cubicBezTo>
                  <a:pt x="32" y="10"/>
                  <a:pt x="32" y="10"/>
                  <a:pt x="31" y="10"/>
                </a:cubicBezTo>
                <a:cubicBezTo>
                  <a:pt x="31" y="9"/>
                  <a:pt x="31" y="9"/>
                  <a:pt x="31" y="9"/>
                </a:cubicBezTo>
                <a:cubicBezTo>
                  <a:pt x="31" y="10"/>
                  <a:pt x="31" y="10"/>
                  <a:pt x="31" y="10"/>
                </a:cubicBezTo>
                <a:cubicBezTo>
                  <a:pt x="31" y="10"/>
                  <a:pt x="30" y="9"/>
                  <a:pt x="30" y="9"/>
                </a:cubicBezTo>
                <a:cubicBezTo>
                  <a:pt x="30" y="9"/>
                  <a:pt x="30" y="9"/>
                  <a:pt x="30" y="9"/>
                </a:cubicBezTo>
                <a:cubicBezTo>
                  <a:pt x="29" y="8"/>
                  <a:pt x="29" y="8"/>
                  <a:pt x="29" y="8"/>
                </a:cubicBezTo>
                <a:cubicBezTo>
                  <a:pt x="29" y="8"/>
                  <a:pt x="29" y="8"/>
                  <a:pt x="29" y="7"/>
                </a:cubicBezTo>
                <a:cubicBezTo>
                  <a:pt x="29" y="7"/>
                  <a:pt x="29" y="7"/>
                  <a:pt x="29" y="7"/>
                </a:cubicBezTo>
                <a:cubicBezTo>
                  <a:pt x="28" y="6"/>
                  <a:pt x="28" y="6"/>
                  <a:pt x="28" y="5"/>
                </a:cubicBezTo>
                <a:cubicBezTo>
                  <a:pt x="26" y="2"/>
                  <a:pt x="26" y="2"/>
                  <a:pt x="26" y="2"/>
                </a:cubicBezTo>
                <a:cubicBezTo>
                  <a:pt x="26" y="2"/>
                  <a:pt x="26" y="2"/>
                  <a:pt x="26" y="2"/>
                </a:cubicBezTo>
                <a:cubicBezTo>
                  <a:pt x="26" y="2"/>
                  <a:pt x="26" y="1"/>
                  <a:pt x="26" y="1"/>
                </a:cubicBezTo>
                <a:cubicBezTo>
                  <a:pt x="25" y="1"/>
                  <a:pt x="25" y="1"/>
                  <a:pt x="25" y="1"/>
                </a:cubicBezTo>
                <a:cubicBezTo>
                  <a:pt x="25" y="1"/>
                  <a:pt x="25" y="1"/>
                  <a:pt x="25" y="0"/>
                </a:cubicBezTo>
                <a:cubicBezTo>
                  <a:pt x="25" y="0"/>
                  <a:pt x="25" y="0"/>
                  <a:pt x="25" y="0"/>
                </a:cubicBezTo>
                <a:cubicBezTo>
                  <a:pt x="25" y="0"/>
                  <a:pt x="25" y="0"/>
                  <a:pt x="25" y="0"/>
                </a:cubicBezTo>
                <a:cubicBezTo>
                  <a:pt x="25" y="0"/>
                  <a:pt x="25" y="0"/>
                  <a:pt x="25" y="0"/>
                </a:cubicBezTo>
                <a:cubicBezTo>
                  <a:pt x="24" y="0"/>
                  <a:pt x="24" y="1"/>
                  <a:pt x="23" y="1"/>
                </a:cubicBezTo>
                <a:cubicBezTo>
                  <a:pt x="23" y="1"/>
                  <a:pt x="23" y="1"/>
                  <a:pt x="22" y="1"/>
                </a:cubicBezTo>
                <a:cubicBezTo>
                  <a:pt x="22" y="1"/>
                  <a:pt x="22" y="1"/>
                  <a:pt x="22" y="1"/>
                </a:cubicBezTo>
                <a:cubicBezTo>
                  <a:pt x="22" y="1"/>
                  <a:pt x="22" y="1"/>
                  <a:pt x="22" y="1"/>
                </a:cubicBezTo>
                <a:cubicBezTo>
                  <a:pt x="22" y="1"/>
                  <a:pt x="21" y="1"/>
                  <a:pt x="21" y="1"/>
                </a:cubicBezTo>
                <a:cubicBezTo>
                  <a:pt x="22" y="3"/>
                  <a:pt x="22" y="3"/>
                  <a:pt x="22" y="3"/>
                </a:cubicBezTo>
                <a:cubicBezTo>
                  <a:pt x="20" y="3"/>
                  <a:pt x="20" y="3"/>
                  <a:pt x="20" y="3"/>
                </a:cubicBezTo>
                <a:cubicBezTo>
                  <a:pt x="20" y="3"/>
                  <a:pt x="20" y="3"/>
                  <a:pt x="20" y="3"/>
                </a:cubicBezTo>
                <a:cubicBezTo>
                  <a:pt x="19" y="3"/>
                  <a:pt x="19" y="3"/>
                  <a:pt x="19" y="3"/>
                </a:cubicBezTo>
                <a:cubicBezTo>
                  <a:pt x="19" y="3"/>
                  <a:pt x="18" y="3"/>
                  <a:pt x="18" y="3"/>
                </a:cubicBezTo>
                <a:cubicBezTo>
                  <a:pt x="18" y="3"/>
                  <a:pt x="18" y="3"/>
                  <a:pt x="18" y="3"/>
                </a:cubicBezTo>
                <a:cubicBezTo>
                  <a:pt x="17" y="3"/>
                  <a:pt x="17" y="3"/>
                  <a:pt x="17" y="3"/>
                </a:cubicBezTo>
                <a:cubicBezTo>
                  <a:pt x="17" y="4"/>
                  <a:pt x="17" y="4"/>
                  <a:pt x="17" y="4"/>
                </a:cubicBezTo>
                <a:cubicBezTo>
                  <a:pt x="17" y="5"/>
                  <a:pt x="17" y="5"/>
                  <a:pt x="17" y="5"/>
                </a:cubicBezTo>
                <a:cubicBezTo>
                  <a:pt x="16" y="6"/>
                  <a:pt x="16" y="6"/>
                  <a:pt x="16" y="6"/>
                </a:cubicBezTo>
                <a:cubicBezTo>
                  <a:pt x="16" y="6"/>
                  <a:pt x="16" y="6"/>
                  <a:pt x="16" y="6"/>
                </a:cubicBezTo>
                <a:cubicBezTo>
                  <a:pt x="16" y="6"/>
                  <a:pt x="16" y="6"/>
                  <a:pt x="16" y="6"/>
                </a:cubicBezTo>
                <a:cubicBezTo>
                  <a:pt x="15" y="7"/>
                  <a:pt x="15" y="7"/>
                  <a:pt x="15" y="7"/>
                </a:cubicBezTo>
                <a:cubicBezTo>
                  <a:pt x="15" y="7"/>
                  <a:pt x="14" y="7"/>
                  <a:pt x="14" y="7"/>
                </a:cubicBezTo>
                <a:cubicBezTo>
                  <a:pt x="13" y="7"/>
                  <a:pt x="13" y="7"/>
                  <a:pt x="13" y="7"/>
                </a:cubicBezTo>
                <a:cubicBezTo>
                  <a:pt x="13" y="7"/>
                  <a:pt x="12" y="7"/>
                  <a:pt x="12" y="7"/>
                </a:cubicBezTo>
                <a:cubicBezTo>
                  <a:pt x="13" y="10"/>
                  <a:pt x="13" y="10"/>
                  <a:pt x="13" y="10"/>
                </a:cubicBezTo>
                <a:cubicBezTo>
                  <a:pt x="12" y="8"/>
                  <a:pt x="12" y="8"/>
                  <a:pt x="12" y="8"/>
                </a:cubicBezTo>
                <a:cubicBezTo>
                  <a:pt x="12" y="8"/>
                  <a:pt x="12" y="8"/>
                  <a:pt x="12" y="8"/>
                </a:cubicBezTo>
                <a:cubicBezTo>
                  <a:pt x="11" y="8"/>
                  <a:pt x="11" y="8"/>
                  <a:pt x="10" y="8"/>
                </a:cubicBezTo>
                <a:cubicBezTo>
                  <a:pt x="10" y="8"/>
                  <a:pt x="10" y="8"/>
                  <a:pt x="10" y="8"/>
                </a:cubicBezTo>
                <a:cubicBezTo>
                  <a:pt x="10" y="8"/>
                  <a:pt x="9" y="8"/>
                  <a:pt x="9" y="8"/>
                </a:cubicBezTo>
                <a:cubicBezTo>
                  <a:pt x="8" y="8"/>
                  <a:pt x="8" y="7"/>
                  <a:pt x="7" y="7"/>
                </a:cubicBezTo>
                <a:cubicBezTo>
                  <a:pt x="6" y="9"/>
                  <a:pt x="6" y="9"/>
                  <a:pt x="6" y="9"/>
                </a:cubicBezTo>
                <a:cubicBezTo>
                  <a:pt x="6" y="7"/>
                  <a:pt x="6" y="7"/>
                  <a:pt x="6" y="7"/>
                </a:cubicBezTo>
                <a:cubicBezTo>
                  <a:pt x="6" y="7"/>
                  <a:pt x="6" y="7"/>
                  <a:pt x="6" y="7"/>
                </a:cubicBezTo>
                <a:cubicBezTo>
                  <a:pt x="5" y="8"/>
                  <a:pt x="5" y="9"/>
                  <a:pt x="5" y="11"/>
                </a:cubicBezTo>
                <a:cubicBezTo>
                  <a:pt x="4" y="12"/>
                  <a:pt x="4" y="13"/>
                  <a:pt x="4" y="15"/>
                </a:cubicBezTo>
                <a:cubicBezTo>
                  <a:pt x="4" y="15"/>
                  <a:pt x="4" y="15"/>
                  <a:pt x="4" y="15"/>
                </a:cubicBezTo>
                <a:cubicBezTo>
                  <a:pt x="4" y="15"/>
                  <a:pt x="4" y="15"/>
                  <a:pt x="4" y="16"/>
                </a:cubicBezTo>
                <a:cubicBezTo>
                  <a:pt x="4" y="16"/>
                  <a:pt x="4" y="16"/>
                  <a:pt x="4" y="16"/>
                </a:cubicBezTo>
                <a:cubicBezTo>
                  <a:pt x="4" y="17"/>
                  <a:pt x="4" y="17"/>
                  <a:pt x="4" y="17"/>
                </a:cubicBezTo>
                <a:cubicBezTo>
                  <a:pt x="4" y="17"/>
                  <a:pt x="4" y="17"/>
                  <a:pt x="4" y="17"/>
                </a:cubicBezTo>
                <a:cubicBezTo>
                  <a:pt x="4" y="18"/>
                  <a:pt x="4" y="18"/>
                  <a:pt x="4" y="18"/>
                </a:cubicBezTo>
                <a:cubicBezTo>
                  <a:pt x="4" y="18"/>
                  <a:pt x="4" y="18"/>
                  <a:pt x="4" y="18"/>
                </a:cubicBezTo>
                <a:cubicBezTo>
                  <a:pt x="4" y="18"/>
                  <a:pt x="4" y="18"/>
                  <a:pt x="4" y="18"/>
                </a:cubicBezTo>
                <a:cubicBezTo>
                  <a:pt x="4" y="19"/>
                  <a:pt x="3" y="20"/>
                  <a:pt x="3" y="20"/>
                </a:cubicBezTo>
                <a:cubicBezTo>
                  <a:pt x="2" y="20"/>
                  <a:pt x="2" y="20"/>
                  <a:pt x="2" y="20"/>
                </a:cubicBezTo>
                <a:cubicBezTo>
                  <a:pt x="2" y="20"/>
                  <a:pt x="1" y="20"/>
                  <a:pt x="0" y="20"/>
                </a:cubicBezTo>
                <a:cubicBezTo>
                  <a:pt x="1" y="20"/>
                  <a:pt x="1" y="20"/>
                  <a:pt x="1" y="20"/>
                </a:cubicBezTo>
                <a:cubicBezTo>
                  <a:pt x="1" y="20"/>
                  <a:pt x="1" y="20"/>
                  <a:pt x="2" y="21"/>
                </a:cubicBezTo>
                <a:cubicBezTo>
                  <a:pt x="2" y="21"/>
                  <a:pt x="2" y="21"/>
                  <a:pt x="2" y="21"/>
                </a:cubicBezTo>
                <a:cubicBezTo>
                  <a:pt x="3" y="22"/>
                  <a:pt x="3" y="22"/>
                  <a:pt x="3" y="22"/>
                </a:cubicBezTo>
                <a:cubicBezTo>
                  <a:pt x="3" y="22"/>
                  <a:pt x="3" y="22"/>
                  <a:pt x="3" y="22"/>
                </a:cubicBezTo>
                <a:cubicBezTo>
                  <a:pt x="3" y="22"/>
                  <a:pt x="3" y="23"/>
                  <a:pt x="3" y="23"/>
                </a:cubicBezTo>
                <a:cubicBezTo>
                  <a:pt x="3" y="23"/>
                  <a:pt x="3" y="23"/>
                  <a:pt x="3" y="23"/>
                </a:cubicBezTo>
                <a:cubicBezTo>
                  <a:pt x="3" y="24"/>
                  <a:pt x="4" y="24"/>
                  <a:pt x="4" y="25"/>
                </a:cubicBezTo>
                <a:cubicBezTo>
                  <a:pt x="4" y="25"/>
                  <a:pt x="3" y="26"/>
                  <a:pt x="3" y="26"/>
                </a:cubicBezTo>
                <a:cubicBezTo>
                  <a:pt x="3" y="26"/>
                  <a:pt x="3" y="26"/>
                  <a:pt x="3" y="26"/>
                </a:cubicBezTo>
                <a:cubicBezTo>
                  <a:pt x="4" y="28"/>
                  <a:pt x="6" y="29"/>
                  <a:pt x="6" y="30"/>
                </a:cubicBezTo>
                <a:cubicBezTo>
                  <a:pt x="7" y="31"/>
                  <a:pt x="8" y="32"/>
                  <a:pt x="9" y="33"/>
                </a:cubicBezTo>
                <a:cubicBezTo>
                  <a:pt x="9" y="33"/>
                  <a:pt x="9" y="33"/>
                  <a:pt x="9" y="33"/>
                </a:cubicBezTo>
                <a:cubicBezTo>
                  <a:pt x="9" y="33"/>
                  <a:pt x="10" y="33"/>
                  <a:pt x="10" y="34"/>
                </a:cubicBezTo>
                <a:cubicBezTo>
                  <a:pt x="10" y="34"/>
                  <a:pt x="11" y="34"/>
                  <a:pt x="11" y="34"/>
                </a:cubicBezTo>
                <a:cubicBezTo>
                  <a:pt x="11" y="35"/>
                  <a:pt x="11" y="35"/>
                  <a:pt x="11" y="35"/>
                </a:cubicBezTo>
                <a:cubicBezTo>
                  <a:pt x="11" y="35"/>
                  <a:pt x="11" y="35"/>
                  <a:pt x="11" y="35"/>
                </a:cubicBezTo>
                <a:cubicBezTo>
                  <a:pt x="11" y="35"/>
                  <a:pt x="11" y="35"/>
                  <a:pt x="11" y="35"/>
                </a:cubicBezTo>
                <a:cubicBezTo>
                  <a:pt x="11" y="35"/>
                  <a:pt x="11" y="35"/>
                  <a:pt x="11" y="36"/>
                </a:cubicBezTo>
                <a:cubicBezTo>
                  <a:pt x="12" y="36"/>
                  <a:pt x="12" y="37"/>
                  <a:pt x="12" y="38"/>
                </a:cubicBezTo>
                <a:cubicBezTo>
                  <a:pt x="12" y="38"/>
                  <a:pt x="12" y="39"/>
                  <a:pt x="13" y="39"/>
                </a:cubicBezTo>
                <a:cubicBezTo>
                  <a:pt x="13" y="39"/>
                  <a:pt x="13" y="39"/>
                  <a:pt x="13" y="39"/>
                </a:cubicBezTo>
                <a:cubicBezTo>
                  <a:pt x="13" y="40"/>
                  <a:pt x="13" y="40"/>
                  <a:pt x="13" y="40"/>
                </a:cubicBezTo>
                <a:cubicBezTo>
                  <a:pt x="14" y="38"/>
                  <a:pt x="14" y="38"/>
                  <a:pt x="14" y="38"/>
                </a:cubicBezTo>
                <a:cubicBezTo>
                  <a:pt x="15" y="40"/>
                  <a:pt x="15" y="40"/>
                  <a:pt x="15" y="40"/>
                </a:cubicBezTo>
                <a:cubicBezTo>
                  <a:pt x="15" y="40"/>
                  <a:pt x="15" y="41"/>
                  <a:pt x="15" y="42"/>
                </a:cubicBezTo>
                <a:cubicBezTo>
                  <a:pt x="16" y="42"/>
                  <a:pt x="15" y="43"/>
                  <a:pt x="15" y="43"/>
                </a:cubicBezTo>
                <a:cubicBezTo>
                  <a:pt x="15" y="43"/>
                  <a:pt x="15" y="44"/>
                  <a:pt x="15" y="44"/>
                </a:cubicBezTo>
                <a:cubicBezTo>
                  <a:pt x="15" y="45"/>
                  <a:pt x="15" y="45"/>
                  <a:pt x="15" y="45"/>
                </a:cubicBezTo>
                <a:cubicBezTo>
                  <a:pt x="15" y="45"/>
                  <a:pt x="15" y="45"/>
                  <a:pt x="14" y="45"/>
                </a:cubicBezTo>
                <a:cubicBezTo>
                  <a:pt x="14" y="45"/>
                  <a:pt x="14" y="45"/>
                  <a:pt x="14" y="45"/>
                </a:cubicBezTo>
                <a:cubicBezTo>
                  <a:pt x="14" y="46"/>
                  <a:pt x="13" y="46"/>
                  <a:pt x="12" y="46"/>
                </a:cubicBezTo>
                <a:cubicBezTo>
                  <a:pt x="12" y="46"/>
                  <a:pt x="12" y="46"/>
                  <a:pt x="12" y="46"/>
                </a:cubicBezTo>
                <a:cubicBezTo>
                  <a:pt x="12" y="47"/>
                  <a:pt x="12" y="48"/>
                  <a:pt x="12" y="48"/>
                </a:cubicBezTo>
                <a:cubicBezTo>
                  <a:pt x="12" y="50"/>
                  <a:pt x="12" y="50"/>
                  <a:pt x="12" y="50"/>
                </a:cubicBezTo>
                <a:cubicBezTo>
                  <a:pt x="12" y="50"/>
                  <a:pt x="12" y="51"/>
                  <a:pt x="12" y="51"/>
                </a:cubicBezTo>
                <a:cubicBezTo>
                  <a:pt x="12" y="52"/>
                  <a:pt x="12" y="53"/>
                  <a:pt x="11" y="54"/>
                </a:cubicBezTo>
                <a:cubicBezTo>
                  <a:pt x="11" y="54"/>
                  <a:pt x="10" y="54"/>
                  <a:pt x="9" y="54"/>
                </a:cubicBezTo>
                <a:cubicBezTo>
                  <a:pt x="9" y="54"/>
                  <a:pt x="8" y="54"/>
                  <a:pt x="8" y="55"/>
                </a:cubicBezTo>
                <a:cubicBezTo>
                  <a:pt x="8" y="55"/>
                  <a:pt x="8" y="55"/>
                  <a:pt x="8" y="55"/>
                </a:cubicBezTo>
                <a:cubicBezTo>
                  <a:pt x="8" y="56"/>
                  <a:pt x="9" y="56"/>
                  <a:pt x="9" y="57"/>
                </a:cubicBezTo>
                <a:cubicBezTo>
                  <a:pt x="10" y="59"/>
                  <a:pt x="12" y="61"/>
                  <a:pt x="13" y="63"/>
                </a:cubicBezTo>
                <a:cubicBezTo>
                  <a:pt x="14" y="64"/>
                  <a:pt x="14" y="64"/>
                  <a:pt x="14" y="64"/>
                </a:cubicBezTo>
                <a:cubicBezTo>
                  <a:pt x="14" y="64"/>
                  <a:pt x="14" y="64"/>
                  <a:pt x="15" y="65"/>
                </a:cubicBezTo>
                <a:cubicBezTo>
                  <a:pt x="16" y="66"/>
                  <a:pt x="16" y="66"/>
                  <a:pt x="16" y="66"/>
                </a:cubicBezTo>
                <a:cubicBezTo>
                  <a:pt x="16" y="66"/>
                  <a:pt x="16" y="66"/>
                  <a:pt x="16" y="66"/>
                </a:cubicBezTo>
                <a:cubicBezTo>
                  <a:pt x="16" y="67"/>
                  <a:pt x="16" y="67"/>
                  <a:pt x="16" y="67"/>
                </a:cubicBezTo>
                <a:cubicBezTo>
                  <a:pt x="17" y="67"/>
                  <a:pt x="17" y="67"/>
                  <a:pt x="17" y="67"/>
                </a:cubicBezTo>
                <a:cubicBezTo>
                  <a:pt x="18" y="68"/>
                  <a:pt x="18" y="68"/>
                  <a:pt x="18" y="69"/>
                </a:cubicBezTo>
                <a:cubicBezTo>
                  <a:pt x="18" y="69"/>
                  <a:pt x="18" y="71"/>
                  <a:pt x="18" y="72"/>
                </a:cubicBezTo>
                <a:cubicBezTo>
                  <a:pt x="18" y="73"/>
                  <a:pt x="18" y="73"/>
                  <a:pt x="18" y="73"/>
                </a:cubicBezTo>
                <a:cubicBezTo>
                  <a:pt x="18" y="73"/>
                  <a:pt x="18" y="73"/>
                  <a:pt x="18" y="73"/>
                </a:cubicBezTo>
                <a:cubicBezTo>
                  <a:pt x="18" y="74"/>
                  <a:pt x="18" y="74"/>
                  <a:pt x="18" y="74"/>
                </a:cubicBezTo>
                <a:cubicBezTo>
                  <a:pt x="18" y="74"/>
                  <a:pt x="19" y="75"/>
                  <a:pt x="18" y="76"/>
                </a:cubicBezTo>
                <a:cubicBezTo>
                  <a:pt x="18" y="76"/>
                  <a:pt x="18" y="76"/>
                  <a:pt x="18" y="76"/>
                </a:cubicBezTo>
                <a:cubicBezTo>
                  <a:pt x="18" y="76"/>
                  <a:pt x="18" y="76"/>
                  <a:pt x="18" y="76"/>
                </a:cubicBezTo>
                <a:cubicBezTo>
                  <a:pt x="18" y="76"/>
                  <a:pt x="18" y="77"/>
                  <a:pt x="18" y="77"/>
                </a:cubicBezTo>
                <a:cubicBezTo>
                  <a:pt x="18" y="77"/>
                  <a:pt x="18" y="77"/>
                  <a:pt x="18" y="77"/>
                </a:cubicBezTo>
                <a:cubicBezTo>
                  <a:pt x="18" y="77"/>
                  <a:pt x="18" y="77"/>
                  <a:pt x="18" y="77"/>
                </a:cubicBezTo>
                <a:cubicBezTo>
                  <a:pt x="19" y="78"/>
                  <a:pt x="19" y="78"/>
                  <a:pt x="19" y="78"/>
                </a:cubicBezTo>
                <a:cubicBezTo>
                  <a:pt x="20" y="79"/>
                  <a:pt x="21" y="80"/>
                  <a:pt x="21" y="82"/>
                </a:cubicBezTo>
                <a:cubicBezTo>
                  <a:pt x="21" y="82"/>
                  <a:pt x="21" y="82"/>
                  <a:pt x="21" y="83"/>
                </a:cubicBezTo>
                <a:cubicBezTo>
                  <a:pt x="21" y="83"/>
                  <a:pt x="21" y="83"/>
                  <a:pt x="21" y="83"/>
                </a:cubicBezTo>
                <a:cubicBezTo>
                  <a:pt x="21" y="84"/>
                  <a:pt x="21" y="84"/>
                  <a:pt x="21" y="85"/>
                </a:cubicBezTo>
                <a:cubicBezTo>
                  <a:pt x="22" y="85"/>
                  <a:pt x="22" y="86"/>
                  <a:pt x="22" y="87"/>
                </a:cubicBezTo>
                <a:cubicBezTo>
                  <a:pt x="22" y="87"/>
                  <a:pt x="22" y="88"/>
                  <a:pt x="22" y="88"/>
                </a:cubicBezTo>
                <a:cubicBezTo>
                  <a:pt x="24" y="88"/>
                  <a:pt x="24" y="88"/>
                  <a:pt x="24" y="88"/>
                </a:cubicBezTo>
                <a:cubicBezTo>
                  <a:pt x="23" y="90"/>
                  <a:pt x="23" y="90"/>
                  <a:pt x="23" y="90"/>
                </a:cubicBezTo>
                <a:cubicBezTo>
                  <a:pt x="22" y="91"/>
                  <a:pt x="22" y="92"/>
                  <a:pt x="21" y="93"/>
                </a:cubicBezTo>
                <a:cubicBezTo>
                  <a:pt x="20" y="94"/>
                  <a:pt x="20" y="95"/>
                  <a:pt x="19" y="96"/>
                </a:cubicBezTo>
                <a:cubicBezTo>
                  <a:pt x="18" y="97"/>
                  <a:pt x="17" y="98"/>
                  <a:pt x="17" y="99"/>
                </a:cubicBezTo>
                <a:cubicBezTo>
                  <a:pt x="16" y="100"/>
                  <a:pt x="15" y="101"/>
                  <a:pt x="14" y="103"/>
                </a:cubicBezTo>
                <a:cubicBezTo>
                  <a:pt x="12" y="109"/>
                  <a:pt x="12" y="109"/>
                  <a:pt x="12" y="109"/>
                </a:cubicBezTo>
                <a:cubicBezTo>
                  <a:pt x="11" y="109"/>
                  <a:pt x="11" y="109"/>
                  <a:pt x="11" y="109"/>
                </a:cubicBezTo>
                <a:cubicBezTo>
                  <a:pt x="11" y="109"/>
                  <a:pt x="11" y="109"/>
                  <a:pt x="11" y="109"/>
                </a:cubicBezTo>
                <a:cubicBezTo>
                  <a:pt x="10" y="111"/>
                  <a:pt x="9" y="114"/>
                  <a:pt x="8" y="116"/>
                </a:cubicBezTo>
                <a:cubicBezTo>
                  <a:pt x="8" y="117"/>
                  <a:pt x="8" y="117"/>
                  <a:pt x="8" y="117"/>
                </a:cubicBezTo>
                <a:cubicBezTo>
                  <a:pt x="8" y="117"/>
                  <a:pt x="8" y="117"/>
                  <a:pt x="8" y="117"/>
                </a:cubicBezTo>
                <a:cubicBezTo>
                  <a:pt x="8" y="117"/>
                  <a:pt x="8" y="117"/>
                  <a:pt x="8" y="117"/>
                </a:cubicBezTo>
                <a:cubicBezTo>
                  <a:pt x="8" y="117"/>
                  <a:pt x="8" y="117"/>
                  <a:pt x="8" y="117"/>
                </a:cubicBezTo>
                <a:cubicBezTo>
                  <a:pt x="8" y="118"/>
                  <a:pt x="8" y="119"/>
                  <a:pt x="8" y="120"/>
                </a:cubicBezTo>
                <a:cubicBezTo>
                  <a:pt x="7" y="121"/>
                  <a:pt x="7" y="122"/>
                  <a:pt x="7" y="123"/>
                </a:cubicBezTo>
                <a:cubicBezTo>
                  <a:pt x="7" y="123"/>
                  <a:pt x="7" y="123"/>
                  <a:pt x="7" y="123"/>
                </a:cubicBezTo>
                <a:cubicBezTo>
                  <a:pt x="7" y="123"/>
                  <a:pt x="7" y="125"/>
                  <a:pt x="8" y="126"/>
                </a:cubicBezTo>
                <a:cubicBezTo>
                  <a:pt x="8" y="127"/>
                  <a:pt x="10" y="127"/>
                  <a:pt x="9" y="125"/>
                </a:cubicBezTo>
                <a:cubicBezTo>
                  <a:pt x="11" y="124"/>
                  <a:pt x="12" y="125"/>
                  <a:pt x="13" y="127"/>
                </a:cubicBezTo>
                <a:cubicBezTo>
                  <a:pt x="14" y="127"/>
                  <a:pt x="15" y="129"/>
                  <a:pt x="16" y="129"/>
                </a:cubicBezTo>
                <a:cubicBezTo>
                  <a:pt x="16" y="130"/>
                  <a:pt x="15" y="131"/>
                  <a:pt x="16" y="131"/>
                </a:cubicBezTo>
                <a:cubicBezTo>
                  <a:pt x="16" y="132"/>
                  <a:pt x="18" y="132"/>
                  <a:pt x="18" y="132"/>
                </a:cubicBezTo>
                <a:cubicBezTo>
                  <a:pt x="18" y="133"/>
                  <a:pt x="18" y="135"/>
                  <a:pt x="19" y="135"/>
                </a:cubicBezTo>
                <a:cubicBezTo>
                  <a:pt x="19" y="136"/>
                  <a:pt x="20" y="135"/>
                  <a:pt x="21" y="135"/>
                </a:cubicBezTo>
                <a:cubicBezTo>
                  <a:pt x="20" y="137"/>
                  <a:pt x="21" y="137"/>
                  <a:pt x="23" y="137"/>
                </a:cubicBezTo>
                <a:cubicBezTo>
                  <a:pt x="22" y="138"/>
                  <a:pt x="22" y="139"/>
                  <a:pt x="22" y="140"/>
                </a:cubicBezTo>
                <a:cubicBezTo>
                  <a:pt x="22" y="141"/>
                  <a:pt x="24" y="142"/>
                  <a:pt x="26" y="144"/>
                </a:cubicBezTo>
                <a:cubicBezTo>
                  <a:pt x="26" y="143"/>
                  <a:pt x="26" y="143"/>
                  <a:pt x="26" y="143"/>
                </a:cubicBezTo>
                <a:cubicBezTo>
                  <a:pt x="26" y="143"/>
                  <a:pt x="26" y="142"/>
                  <a:pt x="26" y="142"/>
                </a:cubicBezTo>
                <a:cubicBezTo>
                  <a:pt x="27" y="139"/>
                  <a:pt x="27" y="139"/>
                  <a:pt x="27" y="139"/>
                </a:cubicBezTo>
                <a:cubicBezTo>
                  <a:pt x="28" y="141"/>
                  <a:pt x="28" y="141"/>
                  <a:pt x="28" y="141"/>
                </a:cubicBezTo>
                <a:cubicBezTo>
                  <a:pt x="29" y="142"/>
                  <a:pt x="30" y="142"/>
                  <a:pt x="31" y="142"/>
                </a:cubicBezTo>
                <a:cubicBezTo>
                  <a:pt x="31" y="142"/>
                  <a:pt x="32" y="142"/>
                  <a:pt x="33" y="143"/>
                </a:cubicBezTo>
                <a:cubicBezTo>
                  <a:pt x="33" y="143"/>
                  <a:pt x="33" y="143"/>
                  <a:pt x="33" y="143"/>
                </a:cubicBezTo>
                <a:cubicBezTo>
                  <a:pt x="34" y="143"/>
                  <a:pt x="34" y="143"/>
                  <a:pt x="34" y="143"/>
                </a:cubicBezTo>
                <a:cubicBezTo>
                  <a:pt x="34" y="143"/>
                  <a:pt x="34" y="143"/>
                  <a:pt x="34" y="143"/>
                </a:cubicBezTo>
                <a:cubicBezTo>
                  <a:pt x="35" y="144"/>
                  <a:pt x="35" y="145"/>
                  <a:pt x="35" y="145"/>
                </a:cubicBezTo>
                <a:cubicBezTo>
                  <a:pt x="35" y="145"/>
                  <a:pt x="35" y="145"/>
                  <a:pt x="35" y="145"/>
                </a:cubicBezTo>
                <a:cubicBezTo>
                  <a:pt x="36" y="145"/>
                  <a:pt x="37" y="145"/>
                  <a:pt x="38" y="146"/>
                </a:cubicBezTo>
                <a:cubicBezTo>
                  <a:pt x="38" y="146"/>
                  <a:pt x="38" y="147"/>
                  <a:pt x="38" y="148"/>
                </a:cubicBezTo>
                <a:cubicBezTo>
                  <a:pt x="38" y="149"/>
                  <a:pt x="38" y="149"/>
                  <a:pt x="37" y="150"/>
                </a:cubicBezTo>
                <a:cubicBezTo>
                  <a:pt x="37" y="150"/>
                  <a:pt x="37" y="151"/>
                  <a:pt x="37" y="151"/>
                </a:cubicBezTo>
                <a:cubicBezTo>
                  <a:pt x="37" y="151"/>
                  <a:pt x="37" y="151"/>
                  <a:pt x="37" y="151"/>
                </a:cubicBezTo>
                <a:cubicBezTo>
                  <a:pt x="37" y="151"/>
                  <a:pt x="37" y="151"/>
                  <a:pt x="38" y="151"/>
                </a:cubicBezTo>
                <a:cubicBezTo>
                  <a:pt x="38" y="150"/>
                  <a:pt x="38" y="150"/>
                  <a:pt x="38" y="150"/>
                </a:cubicBezTo>
                <a:cubicBezTo>
                  <a:pt x="39" y="150"/>
                  <a:pt x="40" y="149"/>
                  <a:pt x="41" y="149"/>
                </a:cubicBezTo>
                <a:cubicBezTo>
                  <a:pt x="42" y="149"/>
                  <a:pt x="42" y="149"/>
                  <a:pt x="43" y="150"/>
                </a:cubicBezTo>
                <a:cubicBezTo>
                  <a:pt x="43" y="150"/>
                  <a:pt x="43" y="150"/>
                  <a:pt x="43" y="150"/>
                </a:cubicBezTo>
                <a:cubicBezTo>
                  <a:pt x="44" y="150"/>
                  <a:pt x="44" y="149"/>
                  <a:pt x="45" y="148"/>
                </a:cubicBezTo>
                <a:cubicBezTo>
                  <a:pt x="45" y="148"/>
                  <a:pt x="45" y="147"/>
                  <a:pt x="46" y="146"/>
                </a:cubicBezTo>
                <a:cubicBezTo>
                  <a:pt x="46" y="146"/>
                  <a:pt x="46" y="146"/>
                  <a:pt x="46" y="146"/>
                </a:cubicBezTo>
                <a:cubicBezTo>
                  <a:pt x="45" y="145"/>
                  <a:pt x="45" y="145"/>
                  <a:pt x="45" y="145"/>
                </a:cubicBezTo>
                <a:cubicBezTo>
                  <a:pt x="44" y="144"/>
                  <a:pt x="43" y="143"/>
                  <a:pt x="42" y="143"/>
                </a:cubicBezTo>
                <a:cubicBezTo>
                  <a:pt x="41" y="141"/>
                  <a:pt x="40" y="139"/>
                  <a:pt x="38" y="139"/>
                </a:cubicBezTo>
                <a:cubicBezTo>
                  <a:pt x="39" y="139"/>
                  <a:pt x="39" y="140"/>
                  <a:pt x="39" y="140"/>
                </a:cubicBezTo>
                <a:cubicBezTo>
                  <a:pt x="38" y="140"/>
                  <a:pt x="37" y="140"/>
                  <a:pt x="36" y="140"/>
                </a:cubicBezTo>
                <a:cubicBezTo>
                  <a:pt x="35" y="140"/>
                  <a:pt x="32" y="136"/>
                  <a:pt x="31" y="137"/>
                </a:cubicBezTo>
                <a:cubicBezTo>
                  <a:pt x="31" y="137"/>
                  <a:pt x="30" y="137"/>
                  <a:pt x="30" y="137"/>
                </a:cubicBezTo>
                <a:cubicBezTo>
                  <a:pt x="29" y="137"/>
                  <a:pt x="29" y="136"/>
                  <a:pt x="29" y="135"/>
                </a:cubicBezTo>
                <a:cubicBezTo>
                  <a:pt x="29" y="135"/>
                  <a:pt x="28" y="134"/>
                  <a:pt x="28" y="134"/>
                </a:cubicBezTo>
                <a:cubicBezTo>
                  <a:pt x="27" y="133"/>
                  <a:pt x="27" y="132"/>
                  <a:pt x="27" y="131"/>
                </a:cubicBezTo>
                <a:cubicBezTo>
                  <a:pt x="29" y="133"/>
                  <a:pt x="30" y="135"/>
                  <a:pt x="31" y="137"/>
                </a:cubicBezTo>
                <a:cubicBezTo>
                  <a:pt x="31" y="136"/>
                  <a:pt x="31" y="136"/>
                  <a:pt x="31" y="136"/>
                </a:cubicBezTo>
                <a:cubicBezTo>
                  <a:pt x="29" y="134"/>
                  <a:pt x="29" y="131"/>
                  <a:pt x="29" y="129"/>
                </a:cubicBezTo>
                <a:cubicBezTo>
                  <a:pt x="28" y="126"/>
                  <a:pt x="26" y="123"/>
                  <a:pt x="25" y="120"/>
                </a:cubicBezTo>
                <a:cubicBezTo>
                  <a:pt x="24" y="118"/>
                  <a:pt x="24" y="117"/>
                  <a:pt x="23" y="115"/>
                </a:cubicBezTo>
                <a:cubicBezTo>
                  <a:pt x="23" y="115"/>
                  <a:pt x="21" y="115"/>
                  <a:pt x="20" y="115"/>
                </a:cubicBezTo>
                <a:cubicBezTo>
                  <a:pt x="19" y="116"/>
                  <a:pt x="17" y="116"/>
                  <a:pt x="17" y="115"/>
                </a:cubicBezTo>
                <a:cubicBezTo>
                  <a:pt x="17" y="115"/>
                  <a:pt x="18" y="114"/>
                  <a:pt x="18" y="114"/>
                </a:cubicBezTo>
                <a:cubicBezTo>
                  <a:pt x="18" y="114"/>
                  <a:pt x="18" y="113"/>
                  <a:pt x="17" y="112"/>
                </a:cubicBezTo>
                <a:cubicBezTo>
                  <a:pt x="17" y="112"/>
                  <a:pt x="16" y="111"/>
                  <a:pt x="17" y="110"/>
                </a:cubicBezTo>
                <a:cubicBezTo>
                  <a:pt x="17" y="108"/>
                  <a:pt x="18" y="106"/>
                  <a:pt x="17" y="104"/>
                </a:cubicBezTo>
                <a:cubicBezTo>
                  <a:pt x="17" y="104"/>
                  <a:pt x="18" y="102"/>
                  <a:pt x="18" y="102"/>
                </a:cubicBezTo>
                <a:cubicBezTo>
                  <a:pt x="19" y="100"/>
                  <a:pt x="20" y="98"/>
                  <a:pt x="21" y="96"/>
                </a:cubicBezTo>
                <a:cubicBezTo>
                  <a:pt x="22" y="93"/>
                  <a:pt x="24" y="90"/>
                  <a:pt x="25" y="86"/>
                </a:cubicBezTo>
                <a:cubicBezTo>
                  <a:pt x="26" y="85"/>
                  <a:pt x="25" y="85"/>
                  <a:pt x="25" y="84"/>
                </a:cubicBezTo>
                <a:cubicBezTo>
                  <a:pt x="25" y="83"/>
                  <a:pt x="25" y="82"/>
                  <a:pt x="25" y="81"/>
                </a:cubicBezTo>
                <a:cubicBezTo>
                  <a:pt x="25" y="79"/>
                  <a:pt x="26" y="78"/>
                  <a:pt x="26" y="76"/>
                </a:cubicBezTo>
                <a:cubicBezTo>
                  <a:pt x="26" y="75"/>
                  <a:pt x="25" y="74"/>
                  <a:pt x="25" y="73"/>
                </a:cubicBezTo>
                <a:cubicBezTo>
                  <a:pt x="26" y="72"/>
                  <a:pt x="27" y="72"/>
                  <a:pt x="29" y="72"/>
                </a:cubicBezTo>
                <a:cubicBezTo>
                  <a:pt x="29" y="72"/>
                  <a:pt x="30" y="72"/>
                  <a:pt x="30" y="72"/>
                </a:cubicBezTo>
                <a:cubicBezTo>
                  <a:pt x="29" y="71"/>
                  <a:pt x="28" y="70"/>
                  <a:pt x="28" y="69"/>
                </a:cubicBezTo>
                <a:cubicBezTo>
                  <a:pt x="28" y="68"/>
                  <a:pt x="29" y="66"/>
                  <a:pt x="31" y="66"/>
                </a:cubicBezTo>
                <a:cubicBezTo>
                  <a:pt x="32" y="66"/>
                  <a:pt x="34" y="68"/>
                  <a:pt x="34" y="69"/>
                </a:cubicBezTo>
                <a:cubicBezTo>
                  <a:pt x="34" y="70"/>
                  <a:pt x="33" y="71"/>
                  <a:pt x="32" y="71"/>
                </a:cubicBezTo>
                <a:cubicBezTo>
                  <a:pt x="33" y="72"/>
                  <a:pt x="34" y="72"/>
                  <a:pt x="35" y="72"/>
                </a:cubicBezTo>
                <a:cubicBezTo>
                  <a:pt x="35" y="75"/>
                  <a:pt x="34" y="77"/>
                  <a:pt x="34" y="79"/>
                </a:cubicBezTo>
                <a:cubicBezTo>
                  <a:pt x="34" y="81"/>
                  <a:pt x="35" y="81"/>
                  <a:pt x="36" y="81"/>
                </a:cubicBezTo>
                <a:cubicBezTo>
                  <a:pt x="38" y="80"/>
                  <a:pt x="39" y="80"/>
                  <a:pt x="41" y="80"/>
                </a:cubicBezTo>
                <a:cubicBezTo>
                  <a:pt x="42" y="80"/>
                  <a:pt x="43" y="80"/>
                  <a:pt x="44" y="80"/>
                </a:cubicBezTo>
                <a:cubicBezTo>
                  <a:pt x="45" y="81"/>
                  <a:pt x="48" y="85"/>
                  <a:pt x="49" y="84"/>
                </a:cubicBezTo>
                <a:cubicBezTo>
                  <a:pt x="48" y="86"/>
                  <a:pt x="49" y="85"/>
                  <a:pt x="50" y="86"/>
                </a:cubicBezTo>
                <a:cubicBezTo>
                  <a:pt x="50" y="86"/>
                  <a:pt x="51" y="86"/>
                  <a:pt x="52" y="87"/>
                </a:cubicBezTo>
                <a:cubicBezTo>
                  <a:pt x="52" y="87"/>
                  <a:pt x="52" y="87"/>
                  <a:pt x="53" y="87"/>
                </a:cubicBezTo>
                <a:cubicBezTo>
                  <a:pt x="53" y="86"/>
                  <a:pt x="52" y="85"/>
                  <a:pt x="52" y="84"/>
                </a:cubicBezTo>
                <a:cubicBezTo>
                  <a:pt x="53" y="84"/>
                  <a:pt x="52" y="84"/>
                  <a:pt x="52" y="84"/>
                </a:cubicBezTo>
                <a:cubicBezTo>
                  <a:pt x="52" y="83"/>
                  <a:pt x="52" y="83"/>
                  <a:pt x="52" y="83"/>
                </a:cubicBezTo>
                <a:cubicBezTo>
                  <a:pt x="52" y="83"/>
                  <a:pt x="52" y="83"/>
                  <a:pt x="52" y="83"/>
                </a:cubicBezTo>
                <a:cubicBezTo>
                  <a:pt x="52" y="83"/>
                  <a:pt x="52" y="83"/>
                  <a:pt x="52" y="83"/>
                </a:cubicBezTo>
                <a:cubicBezTo>
                  <a:pt x="51" y="82"/>
                  <a:pt x="51" y="82"/>
                  <a:pt x="51" y="82"/>
                </a:cubicBezTo>
                <a:cubicBezTo>
                  <a:pt x="50" y="81"/>
                  <a:pt x="50" y="81"/>
                  <a:pt x="50" y="81"/>
                </a:cubicBezTo>
                <a:cubicBezTo>
                  <a:pt x="50" y="80"/>
                  <a:pt x="50" y="79"/>
                  <a:pt x="50" y="78"/>
                </a:cubicBezTo>
                <a:cubicBezTo>
                  <a:pt x="50" y="78"/>
                  <a:pt x="50" y="78"/>
                  <a:pt x="50" y="78"/>
                </a:cubicBezTo>
                <a:cubicBezTo>
                  <a:pt x="50" y="78"/>
                  <a:pt x="50" y="77"/>
                  <a:pt x="49" y="77"/>
                </a:cubicBezTo>
                <a:cubicBezTo>
                  <a:pt x="49" y="76"/>
                  <a:pt x="49" y="76"/>
                  <a:pt x="49" y="76"/>
                </a:cubicBezTo>
                <a:cubicBezTo>
                  <a:pt x="48" y="75"/>
                  <a:pt x="47" y="72"/>
                  <a:pt x="49" y="71"/>
                </a:cubicBezTo>
                <a:cubicBezTo>
                  <a:pt x="49" y="70"/>
                  <a:pt x="49" y="70"/>
                  <a:pt x="49" y="70"/>
                </a:cubicBezTo>
                <a:cubicBezTo>
                  <a:pt x="50" y="70"/>
                  <a:pt x="50" y="70"/>
                  <a:pt x="50" y="70"/>
                </a:cubicBezTo>
                <a:cubicBezTo>
                  <a:pt x="51" y="68"/>
                  <a:pt x="52" y="67"/>
                  <a:pt x="53" y="66"/>
                </a:cubicBezTo>
                <a:cubicBezTo>
                  <a:pt x="53" y="65"/>
                  <a:pt x="54" y="64"/>
                  <a:pt x="54" y="64"/>
                </a:cubicBezTo>
                <a:cubicBezTo>
                  <a:pt x="55" y="64"/>
                  <a:pt x="55" y="63"/>
                  <a:pt x="55" y="63"/>
                </a:cubicBezTo>
                <a:cubicBezTo>
                  <a:pt x="56" y="62"/>
                  <a:pt x="58" y="62"/>
                  <a:pt x="60" y="61"/>
                </a:cubicBezTo>
                <a:cubicBezTo>
                  <a:pt x="60" y="61"/>
                  <a:pt x="61" y="61"/>
                  <a:pt x="61" y="61"/>
                </a:cubicBezTo>
                <a:cubicBezTo>
                  <a:pt x="63" y="61"/>
                  <a:pt x="64" y="61"/>
                  <a:pt x="66" y="61"/>
                </a:cubicBezTo>
                <a:cubicBezTo>
                  <a:pt x="66" y="61"/>
                  <a:pt x="66" y="61"/>
                  <a:pt x="66" y="61"/>
                </a:cubicBezTo>
                <a:cubicBezTo>
                  <a:pt x="67" y="61"/>
                  <a:pt x="68" y="61"/>
                  <a:pt x="69" y="61"/>
                </a:cubicBezTo>
                <a:cubicBezTo>
                  <a:pt x="70" y="61"/>
                  <a:pt x="71" y="61"/>
                  <a:pt x="72" y="61"/>
                </a:cubicBezTo>
                <a:cubicBezTo>
                  <a:pt x="72" y="61"/>
                  <a:pt x="72" y="61"/>
                  <a:pt x="72" y="61"/>
                </a:cubicBezTo>
                <a:cubicBezTo>
                  <a:pt x="73" y="61"/>
                  <a:pt x="74" y="61"/>
                  <a:pt x="75" y="61"/>
                </a:cubicBezTo>
                <a:cubicBezTo>
                  <a:pt x="76" y="61"/>
                  <a:pt x="76" y="61"/>
                  <a:pt x="77" y="61"/>
                </a:cubicBezTo>
                <a:cubicBezTo>
                  <a:pt x="77" y="62"/>
                  <a:pt x="77" y="62"/>
                  <a:pt x="78" y="62"/>
                </a:cubicBezTo>
                <a:cubicBezTo>
                  <a:pt x="79" y="61"/>
                  <a:pt x="79" y="61"/>
                  <a:pt x="79" y="61"/>
                </a:cubicBezTo>
                <a:cubicBezTo>
                  <a:pt x="79" y="61"/>
                  <a:pt x="79" y="61"/>
                  <a:pt x="79" y="61"/>
                </a:cubicBezTo>
                <a:cubicBezTo>
                  <a:pt x="79" y="61"/>
                  <a:pt x="80" y="61"/>
                  <a:pt x="80" y="61"/>
                </a:cubicBezTo>
                <a:cubicBezTo>
                  <a:pt x="80" y="61"/>
                  <a:pt x="80" y="61"/>
                  <a:pt x="80" y="60"/>
                </a:cubicBezTo>
                <a:cubicBezTo>
                  <a:pt x="81" y="60"/>
                  <a:pt x="81" y="58"/>
                  <a:pt x="80" y="57"/>
                </a:cubicBezTo>
                <a:cubicBezTo>
                  <a:pt x="80" y="56"/>
                  <a:pt x="80" y="55"/>
                  <a:pt x="80" y="54"/>
                </a:cubicBezTo>
                <a:cubicBezTo>
                  <a:pt x="80" y="53"/>
                  <a:pt x="80" y="52"/>
                  <a:pt x="80" y="52"/>
                </a:cubicBezTo>
                <a:cubicBezTo>
                  <a:pt x="80" y="51"/>
                  <a:pt x="81" y="51"/>
                  <a:pt x="81" y="51"/>
                </a:cubicBezTo>
                <a:cubicBezTo>
                  <a:pt x="81" y="51"/>
                  <a:pt x="81" y="51"/>
                  <a:pt x="81" y="50"/>
                </a:cubicBezTo>
                <a:cubicBezTo>
                  <a:pt x="81" y="50"/>
                  <a:pt x="81" y="50"/>
                  <a:pt x="81" y="50"/>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06" name="Freeform 3163">
            <a:extLst>
              <a:ext uri="{FF2B5EF4-FFF2-40B4-BE49-F238E27FC236}">
                <a16:creationId xmlns:a16="http://schemas.microsoft.com/office/drawing/2014/main" id="{5723E544-6DDD-4B0F-9469-6DC846C6CFB7}"/>
              </a:ext>
            </a:extLst>
          </p:cNvPr>
          <p:cNvSpPr>
            <a:spLocks/>
          </p:cNvSpPr>
          <p:nvPr/>
        </p:nvSpPr>
        <p:spPr bwMode="auto">
          <a:xfrm>
            <a:off x="4571957" y="344397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07" name="Freeform 3164">
            <a:extLst>
              <a:ext uri="{FF2B5EF4-FFF2-40B4-BE49-F238E27FC236}">
                <a16:creationId xmlns:a16="http://schemas.microsoft.com/office/drawing/2014/main" id="{5B474DE9-F0D2-430E-9FE0-D69ABB5C691B}"/>
              </a:ext>
            </a:extLst>
          </p:cNvPr>
          <p:cNvSpPr>
            <a:spLocks/>
          </p:cNvSpPr>
          <p:nvPr/>
        </p:nvSpPr>
        <p:spPr bwMode="auto">
          <a:xfrm>
            <a:off x="4540242" y="3432701"/>
            <a:ext cx="86723" cy="124061"/>
          </a:xfrm>
          <a:custGeom>
            <a:avLst/>
            <a:gdLst>
              <a:gd name="T0" fmla="*/ 18 w 74"/>
              <a:gd name="T1" fmla="*/ 43 h 88"/>
              <a:gd name="T2" fmla="*/ 25 w 74"/>
              <a:gd name="T3" fmla="*/ 47 h 88"/>
              <a:gd name="T4" fmla="*/ 30 w 74"/>
              <a:gd name="T5" fmla="*/ 42 h 88"/>
              <a:gd name="T6" fmla="*/ 36 w 74"/>
              <a:gd name="T7" fmla="*/ 42 h 88"/>
              <a:gd name="T8" fmla="*/ 42 w 74"/>
              <a:gd name="T9" fmla="*/ 46 h 88"/>
              <a:gd name="T10" fmla="*/ 48 w 74"/>
              <a:gd name="T11" fmla="*/ 54 h 88"/>
              <a:gd name="T12" fmla="*/ 47 w 74"/>
              <a:gd name="T13" fmla="*/ 60 h 88"/>
              <a:gd name="T14" fmla="*/ 50 w 74"/>
              <a:gd name="T15" fmla="*/ 65 h 88"/>
              <a:gd name="T16" fmla="*/ 56 w 74"/>
              <a:gd name="T17" fmla="*/ 67 h 88"/>
              <a:gd name="T18" fmla="*/ 55 w 74"/>
              <a:gd name="T19" fmla="*/ 70 h 88"/>
              <a:gd name="T20" fmla="*/ 55 w 74"/>
              <a:gd name="T21" fmla="*/ 79 h 88"/>
              <a:gd name="T22" fmla="*/ 53 w 74"/>
              <a:gd name="T23" fmla="*/ 86 h 88"/>
              <a:gd name="T24" fmla="*/ 58 w 74"/>
              <a:gd name="T25" fmla="*/ 87 h 88"/>
              <a:gd name="T26" fmla="*/ 59 w 74"/>
              <a:gd name="T27" fmla="*/ 88 h 88"/>
              <a:gd name="T28" fmla="*/ 60 w 74"/>
              <a:gd name="T29" fmla="*/ 83 h 88"/>
              <a:gd name="T30" fmla="*/ 64 w 74"/>
              <a:gd name="T31" fmla="*/ 81 h 88"/>
              <a:gd name="T32" fmla="*/ 69 w 74"/>
              <a:gd name="T33" fmla="*/ 83 h 88"/>
              <a:gd name="T34" fmla="*/ 73 w 74"/>
              <a:gd name="T35" fmla="*/ 80 h 88"/>
              <a:gd name="T36" fmla="*/ 73 w 74"/>
              <a:gd name="T37" fmla="*/ 74 h 88"/>
              <a:gd name="T38" fmla="*/ 72 w 74"/>
              <a:gd name="T39" fmla="*/ 67 h 88"/>
              <a:gd name="T40" fmla="*/ 69 w 74"/>
              <a:gd name="T41" fmla="*/ 66 h 88"/>
              <a:gd name="T42" fmla="*/ 67 w 74"/>
              <a:gd name="T43" fmla="*/ 64 h 88"/>
              <a:gd name="T44" fmla="*/ 64 w 74"/>
              <a:gd name="T45" fmla="*/ 63 h 88"/>
              <a:gd name="T46" fmla="*/ 63 w 74"/>
              <a:gd name="T47" fmla="*/ 60 h 88"/>
              <a:gd name="T48" fmla="*/ 61 w 74"/>
              <a:gd name="T49" fmla="*/ 57 h 88"/>
              <a:gd name="T50" fmla="*/ 58 w 74"/>
              <a:gd name="T51" fmla="*/ 53 h 88"/>
              <a:gd name="T52" fmla="*/ 53 w 74"/>
              <a:gd name="T53" fmla="*/ 47 h 88"/>
              <a:gd name="T54" fmla="*/ 47 w 74"/>
              <a:gd name="T55" fmla="*/ 39 h 88"/>
              <a:gd name="T56" fmla="*/ 37 w 74"/>
              <a:gd name="T57" fmla="*/ 31 h 88"/>
              <a:gd name="T58" fmla="*/ 38 w 74"/>
              <a:gd name="T59" fmla="*/ 28 h 88"/>
              <a:gd name="T60" fmla="*/ 43 w 74"/>
              <a:gd name="T61" fmla="*/ 28 h 88"/>
              <a:gd name="T62" fmla="*/ 45 w 74"/>
              <a:gd name="T63" fmla="*/ 27 h 88"/>
              <a:gd name="T64" fmla="*/ 43 w 74"/>
              <a:gd name="T65" fmla="*/ 22 h 88"/>
              <a:gd name="T66" fmla="*/ 43 w 74"/>
              <a:gd name="T67" fmla="*/ 19 h 88"/>
              <a:gd name="T68" fmla="*/ 40 w 74"/>
              <a:gd name="T69" fmla="*/ 19 h 88"/>
              <a:gd name="T70" fmla="*/ 39 w 74"/>
              <a:gd name="T71" fmla="*/ 17 h 88"/>
              <a:gd name="T72" fmla="*/ 36 w 74"/>
              <a:gd name="T73" fmla="*/ 19 h 88"/>
              <a:gd name="T74" fmla="*/ 34 w 74"/>
              <a:gd name="T75" fmla="*/ 19 h 88"/>
              <a:gd name="T76" fmla="*/ 31 w 74"/>
              <a:gd name="T77" fmla="*/ 18 h 88"/>
              <a:gd name="T78" fmla="*/ 26 w 74"/>
              <a:gd name="T79" fmla="*/ 13 h 88"/>
              <a:gd name="T80" fmla="*/ 26 w 74"/>
              <a:gd name="T81" fmla="*/ 9 h 88"/>
              <a:gd name="T82" fmla="*/ 25 w 74"/>
              <a:gd name="T83" fmla="*/ 9 h 88"/>
              <a:gd name="T84" fmla="*/ 22 w 74"/>
              <a:gd name="T85" fmla="*/ 4 h 88"/>
              <a:gd name="T86" fmla="*/ 16 w 74"/>
              <a:gd name="T87" fmla="*/ 0 h 88"/>
              <a:gd name="T88" fmla="*/ 15 w 74"/>
              <a:gd name="T89" fmla="*/ 3 h 88"/>
              <a:gd name="T90" fmla="*/ 17 w 74"/>
              <a:gd name="T91" fmla="*/ 11 h 88"/>
              <a:gd name="T92" fmla="*/ 12 w 74"/>
              <a:gd name="T93" fmla="*/ 14 h 88"/>
              <a:gd name="T94" fmla="*/ 8 w 74"/>
              <a:gd name="T95" fmla="*/ 11 h 88"/>
              <a:gd name="T96" fmla="*/ 5 w 74"/>
              <a:gd name="T97" fmla="*/ 16 h 88"/>
              <a:gd name="T98" fmla="*/ 0 w 74"/>
              <a:gd name="T99" fmla="*/ 20 h 88"/>
              <a:gd name="T100" fmla="*/ 4 w 74"/>
              <a:gd name="T101" fmla="*/ 25 h 88"/>
              <a:gd name="T102" fmla="*/ 3 w 74"/>
              <a:gd name="T103" fmla="*/ 28 h 88"/>
              <a:gd name="T104" fmla="*/ 11 w 74"/>
              <a:gd name="T105" fmla="*/ 29 h 88"/>
              <a:gd name="T106" fmla="*/ 11 w 74"/>
              <a:gd name="T107" fmla="*/ 33 h 88"/>
              <a:gd name="T108" fmla="*/ 11 w 74"/>
              <a:gd name="T109" fmla="*/ 38 h 88"/>
              <a:gd name="T110" fmla="*/ 10 w 74"/>
              <a:gd name="T111" fmla="*/ 43 h 88"/>
              <a:gd name="T112" fmla="*/ 9 w 74"/>
              <a:gd name="T113" fmla="*/ 4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4" h="88">
                <a:moveTo>
                  <a:pt x="9" y="50"/>
                </a:moveTo>
                <a:cubicBezTo>
                  <a:pt x="11" y="49"/>
                  <a:pt x="12" y="48"/>
                  <a:pt x="13" y="47"/>
                </a:cubicBezTo>
                <a:cubicBezTo>
                  <a:pt x="14" y="47"/>
                  <a:pt x="14" y="46"/>
                  <a:pt x="14" y="46"/>
                </a:cubicBezTo>
                <a:cubicBezTo>
                  <a:pt x="15" y="45"/>
                  <a:pt x="15" y="45"/>
                  <a:pt x="15" y="45"/>
                </a:cubicBezTo>
                <a:cubicBezTo>
                  <a:pt x="16" y="45"/>
                  <a:pt x="17" y="44"/>
                  <a:pt x="17" y="44"/>
                </a:cubicBezTo>
                <a:cubicBezTo>
                  <a:pt x="18" y="44"/>
                  <a:pt x="18" y="43"/>
                  <a:pt x="18" y="43"/>
                </a:cubicBezTo>
                <a:cubicBezTo>
                  <a:pt x="19" y="43"/>
                  <a:pt x="19" y="43"/>
                  <a:pt x="19" y="43"/>
                </a:cubicBezTo>
                <a:cubicBezTo>
                  <a:pt x="19" y="43"/>
                  <a:pt x="20" y="44"/>
                  <a:pt x="20" y="44"/>
                </a:cubicBezTo>
                <a:cubicBezTo>
                  <a:pt x="20" y="44"/>
                  <a:pt x="20" y="44"/>
                  <a:pt x="20" y="44"/>
                </a:cubicBezTo>
                <a:cubicBezTo>
                  <a:pt x="21" y="44"/>
                  <a:pt x="21" y="44"/>
                  <a:pt x="21" y="44"/>
                </a:cubicBezTo>
                <a:cubicBezTo>
                  <a:pt x="22" y="45"/>
                  <a:pt x="23" y="46"/>
                  <a:pt x="24" y="47"/>
                </a:cubicBezTo>
                <a:cubicBezTo>
                  <a:pt x="25" y="47"/>
                  <a:pt x="25" y="47"/>
                  <a:pt x="25" y="47"/>
                </a:cubicBezTo>
                <a:cubicBezTo>
                  <a:pt x="25" y="46"/>
                  <a:pt x="25" y="46"/>
                  <a:pt x="26" y="46"/>
                </a:cubicBezTo>
                <a:cubicBezTo>
                  <a:pt x="26" y="46"/>
                  <a:pt x="27" y="46"/>
                  <a:pt x="27" y="46"/>
                </a:cubicBezTo>
                <a:cubicBezTo>
                  <a:pt x="27" y="46"/>
                  <a:pt x="27" y="46"/>
                  <a:pt x="28" y="46"/>
                </a:cubicBezTo>
                <a:cubicBezTo>
                  <a:pt x="28" y="45"/>
                  <a:pt x="28" y="45"/>
                  <a:pt x="28" y="45"/>
                </a:cubicBezTo>
                <a:cubicBezTo>
                  <a:pt x="28" y="45"/>
                  <a:pt x="28" y="44"/>
                  <a:pt x="28" y="44"/>
                </a:cubicBezTo>
                <a:cubicBezTo>
                  <a:pt x="29" y="43"/>
                  <a:pt x="29" y="43"/>
                  <a:pt x="30" y="42"/>
                </a:cubicBezTo>
                <a:cubicBezTo>
                  <a:pt x="30" y="42"/>
                  <a:pt x="30" y="42"/>
                  <a:pt x="30" y="42"/>
                </a:cubicBezTo>
                <a:cubicBezTo>
                  <a:pt x="31" y="41"/>
                  <a:pt x="32" y="41"/>
                  <a:pt x="33" y="41"/>
                </a:cubicBezTo>
                <a:cubicBezTo>
                  <a:pt x="33" y="41"/>
                  <a:pt x="33" y="41"/>
                  <a:pt x="33" y="41"/>
                </a:cubicBezTo>
                <a:cubicBezTo>
                  <a:pt x="33" y="41"/>
                  <a:pt x="33" y="41"/>
                  <a:pt x="34" y="41"/>
                </a:cubicBezTo>
                <a:cubicBezTo>
                  <a:pt x="35" y="41"/>
                  <a:pt x="35" y="41"/>
                  <a:pt x="35" y="41"/>
                </a:cubicBezTo>
                <a:cubicBezTo>
                  <a:pt x="35" y="41"/>
                  <a:pt x="36" y="41"/>
                  <a:pt x="36" y="42"/>
                </a:cubicBezTo>
                <a:cubicBezTo>
                  <a:pt x="38" y="42"/>
                  <a:pt x="39" y="42"/>
                  <a:pt x="40" y="44"/>
                </a:cubicBezTo>
                <a:cubicBezTo>
                  <a:pt x="40" y="44"/>
                  <a:pt x="40" y="44"/>
                  <a:pt x="40" y="44"/>
                </a:cubicBezTo>
                <a:cubicBezTo>
                  <a:pt x="42" y="43"/>
                  <a:pt x="42" y="43"/>
                  <a:pt x="42" y="43"/>
                </a:cubicBezTo>
                <a:cubicBezTo>
                  <a:pt x="41" y="45"/>
                  <a:pt x="41" y="45"/>
                  <a:pt x="41" y="45"/>
                </a:cubicBezTo>
                <a:cubicBezTo>
                  <a:pt x="41" y="46"/>
                  <a:pt x="41" y="46"/>
                  <a:pt x="41" y="46"/>
                </a:cubicBezTo>
                <a:cubicBezTo>
                  <a:pt x="41" y="46"/>
                  <a:pt x="41" y="46"/>
                  <a:pt x="42" y="46"/>
                </a:cubicBezTo>
                <a:cubicBezTo>
                  <a:pt x="42" y="48"/>
                  <a:pt x="44" y="49"/>
                  <a:pt x="45" y="50"/>
                </a:cubicBezTo>
                <a:cubicBezTo>
                  <a:pt x="46" y="51"/>
                  <a:pt x="46" y="51"/>
                  <a:pt x="47" y="52"/>
                </a:cubicBezTo>
                <a:cubicBezTo>
                  <a:pt x="47" y="53"/>
                  <a:pt x="48" y="53"/>
                  <a:pt x="48" y="53"/>
                </a:cubicBezTo>
                <a:cubicBezTo>
                  <a:pt x="50" y="53"/>
                  <a:pt x="50" y="53"/>
                  <a:pt x="50" y="53"/>
                </a:cubicBezTo>
                <a:cubicBezTo>
                  <a:pt x="48" y="54"/>
                  <a:pt x="48" y="54"/>
                  <a:pt x="48" y="54"/>
                </a:cubicBezTo>
                <a:cubicBezTo>
                  <a:pt x="48" y="54"/>
                  <a:pt x="48" y="54"/>
                  <a:pt x="48" y="54"/>
                </a:cubicBezTo>
                <a:cubicBezTo>
                  <a:pt x="48" y="55"/>
                  <a:pt x="48" y="55"/>
                  <a:pt x="48" y="55"/>
                </a:cubicBezTo>
                <a:cubicBezTo>
                  <a:pt x="48" y="55"/>
                  <a:pt x="48" y="55"/>
                  <a:pt x="48" y="56"/>
                </a:cubicBezTo>
                <a:cubicBezTo>
                  <a:pt x="48" y="56"/>
                  <a:pt x="48" y="56"/>
                  <a:pt x="48" y="56"/>
                </a:cubicBezTo>
                <a:cubicBezTo>
                  <a:pt x="47" y="56"/>
                  <a:pt x="47" y="57"/>
                  <a:pt x="47" y="57"/>
                </a:cubicBezTo>
                <a:cubicBezTo>
                  <a:pt x="47" y="57"/>
                  <a:pt x="47" y="57"/>
                  <a:pt x="47" y="57"/>
                </a:cubicBezTo>
                <a:cubicBezTo>
                  <a:pt x="47" y="58"/>
                  <a:pt x="47" y="59"/>
                  <a:pt x="47" y="60"/>
                </a:cubicBezTo>
                <a:cubicBezTo>
                  <a:pt x="47" y="61"/>
                  <a:pt x="47" y="61"/>
                  <a:pt x="47" y="61"/>
                </a:cubicBezTo>
                <a:cubicBezTo>
                  <a:pt x="47" y="61"/>
                  <a:pt x="47" y="61"/>
                  <a:pt x="47" y="61"/>
                </a:cubicBezTo>
                <a:cubicBezTo>
                  <a:pt x="47" y="61"/>
                  <a:pt x="47" y="62"/>
                  <a:pt x="47" y="62"/>
                </a:cubicBezTo>
                <a:cubicBezTo>
                  <a:pt x="48" y="62"/>
                  <a:pt x="48" y="62"/>
                  <a:pt x="48" y="62"/>
                </a:cubicBezTo>
                <a:cubicBezTo>
                  <a:pt x="48" y="63"/>
                  <a:pt x="48" y="63"/>
                  <a:pt x="49" y="63"/>
                </a:cubicBezTo>
                <a:cubicBezTo>
                  <a:pt x="49" y="64"/>
                  <a:pt x="49" y="64"/>
                  <a:pt x="50" y="65"/>
                </a:cubicBezTo>
                <a:cubicBezTo>
                  <a:pt x="50" y="65"/>
                  <a:pt x="50" y="65"/>
                  <a:pt x="50" y="65"/>
                </a:cubicBezTo>
                <a:cubicBezTo>
                  <a:pt x="50" y="65"/>
                  <a:pt x="50" y="66"/>
                  <a:pt x="50" y="66"/>
                </a:cubicBezTo>
                <a:cubicBezTo>
                  <a:pt x="50" y="66"/>
                  <a:pt x="51" y="66"/>
                  <a:pt x="52" y="66"/>
                </a:cubicBezTo>
                <a:cubicBezTo>
                  <a:pt x="52" y="66"/>
                  <a:pt x="52" y="66"/>
                  <a:pt x="52" y="66"/>
                </a:cubicBezTo>
                <a:cubicBezTo>
                  <a:pt x="52" y="66"/>
                  <a:pt x="53" y="66"/>
                  <a:pt x="53" y="66"/>
                </a:cubicBezTo>
                <a:cubicBezTo>
                  <a:pt x="56" y="67"/>
                  <a:pt x="56" y="67"/>
                  <a:pt x="56" y="67"/>
                </a:cubicBezTo>
                <a:cubicBezTo>
                  <a:pt x="53" y="69"/>
                  <a:pt x="53" y="69"/>
                  <a:pt x="53" y="69"/>
                </a:cubicBezTo>
                <a:cubicBezTo>
                  <a:pt x="53" y="69"/>
                  <a:pt x="53" y="69"/>
                  <a:pt x="53" y="69"/>
                </a:cubicBezTo>
                <a:cubicBezTo>
                  <a:pt x="53" y="69"/>
                  <a:pt x="53" y="69"/>
                  <a:pt x="54" y="69"/>
                </a:cubicBezTo>
                <a:cubicBezTo>
                  <a:pt x="54" y="69"/>
                  <a:pt x="54" y="69"/>
                  <a:pt x="54" y="69"/>
                </a:cubicBezTo>
                <a:cubicBezTo>
                  <a:pt x="54" y="70"/>
                  <a:pt x="54" y="70"/>
                  <a:pt x="54" y="70"/>
                </a:cubicBezTo>
                <a:cubicBezTo>
                  <a:pt x="55" y="70"/>
                  <a:pt x="55" y="70"/>
                  <a:pt x="55" y="70"/>
                </a:cubicBezTo>
                <a:cubicBezTo>
                  <a:pt x="55" y="70"/>
                  <a:pt x="56" y="71"/>
                  <a:pt x="56" y="71"/>
                </a:cubicBezTo>
                <a:cubicBezTo>
                  <a:pt x="56" y="71"/>
                  <a:pt x="56" y="72"/>
                  <a:pt x="56" y="73"/>
                </a:cubicBezTo>
                <a:cubicBezTo>
                  <a:pt x="56" y="74"/>
                  <a:pt x="55" y="74"/>
                  <a:pt x="55" y="75"/>
                </a:cubicBezTo>
                <a:cubicBezTo>
                  <a:pt x="54" y="75"/>
                  <a:pt x="54" y="75"/>
                  <a:pt x="54" y="75"/>
                </a:cubicBezTo>
                <a:cubicBezTo>
                  <a:pt x="54" y="75"/>
                  <a:pt x="54" y="75"/>
                  <a:pt x="54" y="76"/>
                </a:cubicBezTo>
                <a:cubicBezTo>
                  <a:pt x="54" y="77"/>
                  <a:pt x="55" y="78"/>
                  <a:pt x="55" y="79"/>
                </a:cubicBezTo>
                <a:cubicBezTo>
                  <a:pt x="55" y="80"/>
                  <a:pt x="55" y="82"/>
                  <a:pt x="55" y="83"/>
                </a:cubicBezTo>
                <a:cubicBezTo>
                  <a:pt x="55" y="83"/>
                  <a:pt x="55" y="84"/>
                  <a:pt x="55" y="84"/>
                </a:cubicBezTo>
                <a:cubicBezTo>
                  <a:pt x="54" y="84"/>
                  <a:pt x="54" y="84"/>
                  <a:pt x="54" y="85"/>
                </a:cubicBezTo>
                <a:cubicBezTo>
                  <a:pt x="53" y="85"/>
                  <a:pt x="53" y="85"/>
                  <a:pt x="53" y="85"/>
                </a:cubicBezTo>
                <a:cubicBezTo>
                  <a:pt x="53" y="85"/>
                  <a:pt x="53" y="85"/>
                  <a:pt x="53" y="85"/>
                </a:cubicBezTo>
                <a:cubicBezTo>
                  <a:pt x="53" y="86"/>
                  <a:pt x="53" y="86"/>
                  <a:pt x="53" y="86"/>
                </a:cubicBezTo>
                <a:cubicBezTo>
                  <a:pt x="53" y="86"/>
                  <a:pt x="53" y="86"/>
                  <a:pt x="53" y="86"/>
                </a:cubicBezTo>
                <a:cubicBezTo>
                  <a:pt x="53" y="86"/>
                  <a:pt x="54" y="86"/>
                  <a:pt x="54" y="86"/>
                </a:cubicBezTo>
                <a:cubicBezTo>
                  <a:pt x="54" y="86"/>
                  <a:pt x="55" y="86"/>
                  <a:pt x="55" y="86"/>
                </a:cubicBezTo>
                <a:cubicBezTo>
                  <a:pt x="55" y="86"/>
                  <a:pt x="55" y="86"/>
                  <a:pt x="56" y="86"/>
                </a:cubicBezTo>
                <a:cubicBezTo>
                  <a:pt x="56" y="86"/>
                  <a:pt x="57" y="86"/>
                  <a:pt x="57" y="87"/>
                </a:cubicBezTo>
                <a:cubicBezTo>
                  <a:pt x="58" y="87"/>
                  <a:pt x="58" y="87"/>
                  <a:pt x="58" y="87"/>
                </a:cubicBezTo>
                <a:cubicBezTo>
                  <a:pt x="58" y="88"/>
                  <a:pt x="58" y="88"/>
                  <a:pt x="58" y="88"/>
                </a:cubicBezTo>
                <a:cubicBezTo>
                  <a:pt x="58" y="88"/>
                  <a:pt x="58" y="88"/>
                  <a:pt x="58" y="88"/>
                </a:cubicBezTo>
                <a:cubicBezTo>
                  <a:pt x="58" y="88"/>
                  <a:pt x="58" y="88"/>
                  <a:pt x="58" y="88"/>
                </a:cubicBezTo>
                <a:cubicBezTo>
                  <a:pt x="59" y="88"/>
                  <a:pt x="59" y="88"/>
                  <a:pt x="59" y="88"/>
                </a:cubicBezTo>
                <a:cubicBezTo>
                  <a:pt x="59" y="88"/>
                  <a:pt x="59" y="88"/>
                  <a:pt x="59" y="88"/>
                </a:cubicBezTo>
                <a:cubicBezTo>
                  <a:pt x="59" y="88"/>
                  <a:pt x="59" y="88"/>
                  <a:pt x="59" y="88"/>
                </a:cubicBezTo>
                <a:cubicBezTo>
                  <a:pt x="59" y="88"/>
                  <a:pt x="59" y="88"/>
                  <a:pt x="59" y="88"/>
                </a:cubicBezTo>
                <a:cubicBezTo>
                  <a:pt x="59" y="88"/>
                  <a:pt x="59" y="87"/>
                  <a:pt x="58" y="86"/>
                </a:cubicBezTo>
                <a:cubicBezTo>
                  <a:pt x="58" y="86"/>
                  <a:pt x="58" y="86"/>
                  <a:pt x="57" y="85"/>
                </a:cubicBezTo>
                <a:cubicBezTo>
                  <a:pt x="56" y="82"/>
                  <a:pt x="56" y="82"/>
                  <a:pt x="56" y="82"/>
                </a:cubicBezTo>
                <a:cubicBezTo>
                  <a:pt x="59" y="83"/>
                  <a:pt x="59" y="83"/>
                  <a:pt x="59" y="83"/>
                </a:cubicBezTo>
                <a:cubicBezTo>
                  <a:pt x="59" y="84"/>
                  <a:pt x="59" y="83"/>
                  <a:pt x="60" y="83"/>
                </a:cubicBezTo>
                <a:cubicBezTo>
                  <a:pt x="61" y="83"/>
                  <a:pt x="61" y="83"/>
                  <a:pt x="61" y="83"/>
                </a:cubicBezTo>
                <a:cubicBezTo>
                  <a:pt x="61" y="82"/>
                  <a:pt x="62" y="82"/>
                  <a:pt x="63" y="81"/>
                </a:cubicBezTo>
                <a:cubicBezTo>
                  <a:pt x="63" y="81"/>
                  <a:pt x="63" y="81"/>
                  <a:pt x="63" y="81"/>
                </a:cubicBezTo>
                <a:cubicBezTo>
                  <a:pt x="64" y="81"/>
                  <a:pt x="64" y="81"/>
                  <a:pt x="64" y="81"/>
                </a:cubicBezTo>
                <a:cubicBezTo>
                  <a:pt x="64" y="81"/>
                  <a:pt x="64" y="81"/>
                  <a:pt x="64" y="81"/>
                </a:cubicBezTo>
                <a:cubicBezTo>
                  <a:pt x="64" y="81"/>
                  <a:pt x="64" y="81"/>
                  <a:pt x="64" y="81"/>
                </a:cubicBezTo>
                <a:cubicBezTo>
                  <a:pt x="65" y="81"/>
                  <a:pt x="65" y="82"/>
                  <a:pt x="66" y="82"/>
                </a:cubicBezTo>
                <a:cubicBezTo>
                  <a:pt x="66" y="82"/>
                  <a:pt x="66" y="82"/>
                  <a:pt x="66" y="83"/>
                </a:cubicBezTo>
                <a:cubicBezTo>
                  <a:pt x="68" y="83"/>
                  <a:pt x="68" y="83"/>
                  <a:pt x="68" y="83"/>
                </a:cubicBezTo>
                <a:cubicBezTo>
                  <a:pt x="68" y="83"/>
                  <a:pt x="68" y="83"/>
                  <a:pt x="68" y="83"/>
                </a:cubicBezTo>
                <a:cubicBezTo>
                  <a:pt x="69" y="83"/>
                  <a:pt x="69" y="83"/>
                  <a:pt x="69" y="83"/>
                </a:cubicBezTo>
                <a:cubicBezTo>
                  <a:pt x="69" y="83"/>
                  <a:pt x="69" y="83"/>
                  <a:pt x="69" y="83"/>
                </a:cubicBezTo>
                <a:cubicBezTo>
                  <a:pt x="69" y="83"/>
                  <a:pt x="70" y="82"/>
                  <a:pt x="71" y="82"/>
                </a:cubicBezTo>
                <a:cubicBezTo>
                  <a:pt x="72" y="81"/>
                  <a:pt x="72" y="81"/>
                  <a:pt x="72" y="81"/>
                </a:cubicBezTo>
                <a:cubicBezTo>
                  <a:pt x="72" y="81"/>
                  <a:pt x="73" y="81"/>
                  <a:pt x="73" y="81"/>
                </a:cubicBezTo>
                <a:cubicBezTo>
                  <a:pt x="73" y="80"/>
                  <a:pt x="73" y="80"/>
                  <a:pt x="73" y="80"/>
                </a:cubicBezTo>
                <a:cubicBezTo>
                  <a:pt x="73" y="80"/>
                  <a:pt x="73" y="80"/>
                  <a:pt x="73" y="80"/>
                </a:cubicBezTo>
                <a:cubicBezTo>
                  <a:pt x="73" y="80"/>
                  <a:pt x="73" y="80"/>
                  <a:pt x="73" y="80"/>
                </a:cubicBezTo>
                <a:cubicBezTo>
                  <a:pt x="73" y="79"/>
                  <a:pt x="73" y="79"/>
                  <a:pt x="73" y="79"/>
                </a:cubicBezTo>
                <a:cubicBezTo>
                  <a:pt x="73" y="79"/>
                  <a:pt x="73" y="79"/>
                  <a:pt x="73" y="79"/>
                </a:cubicBezTo>
                <a:cubicBezTo>
                  <a:pt x="72" y="77"/>
                  <a:pt x="73" y="76"/>
                  <a:pt x="74" y="76"/>
                </a:cubicBezTo>
                <a:cubicBezTo>
                  <a:pt x="74" y="75"/>
                  <a:pt x="74" y="75"/>
                  <a:pt x="74" y="75"/>
                </a:cubicBezTo>
                <a:cubicBezTo>
                  <a:pt x="74" y="75"/>
                  <a:pt x="74" y="74"/>
                  <a:pt x="73" y="74"/>
                </a:cubicBezTo>
                <a:cubicBezTo>
                  <a:pt x="73" y="74"/>
                  <a:pt x="73" y="74"/>
                  <a:pt x="73" y="74"/>
                </a:cubicBezTo>
                <a:cubicBezTo>
                  <a:pt x="72" y="73"/>
                  <a:pt x="71" y="72"/>
                  <a:pt x="70" y="71"/>
                </a:cubicBezTo>
                <a:cubicBezTo>
                  <a:pt x="70" y="71"/>
                  <a:pt x="69" y="70"/>
                  <a:pt x="69" y="69"/>
                </a:cubicBezTo>
                <a:cubicBezTo>
                  <a:pt x="69" y="69"/>
                  <a:pt x="70" y="68"/>
                  <a:pt x="71" y="68"/>
                </a:cubicBezTo>
                <a:cubicBezTo>
                  <a:pt x="71" y="68"/>
                  <a:pt x="71" y="68"/>
                  <a:pt x="71" y="68"/>
                </a:cubicBezTo>
                <a:cubicBezTo>
                  <a:pt x="71" y="68"/>
                  <a:pt x="71" y="68"/>
                  <a:pt x="71" y="68"/>
                </a:cubicBezTo>
                <a:cubicBezTo>
                  <a:pt x="71" y="68"/>
                  <a:pt x="72" y="68"/>
                  <a:pt x="72" y="67"/>
                </a:cubicBezTo>
                <a:cubicBezTo>
                  <a:pt x="72" y="67"/>
                  <a:pt x="72" y="67"/>
                  <a:pt x="72" y="67"/>
                </a:cubicBezTo>
                <a:cubicBezTo>
                  <a:pt x="72" y="67"/>
                  <a:pt x="71" y="67"/>
                  <a:pt x="71" y="67"/>
                </a:cubicBezTo>
                <a:cubicBezTo>
                  <a:pt x="71" y="67"/>
                  <a:pt x="70" y="67"/>
                  <a:pt x="70" y="66"/>
                </a:cubicBezTo>
                <a:cubicBezTo>
                  <a:pt x="70" y="66"/>
                  <a:pt x="70" y="66"/>
                  <a:pt x="69" y="66"/>
                </a:cubicBezTo>
                <a:cubicBezTo>
                  <a:pt x="69" y="66"/>
                  <a:pt x="69" y="66"/>
                  <a:pt x="69" y="66"/>
                </a:cubicBezTo>
                <a:cubicBezTo>
                  <a:pt x="69" y="66"/>
                  <a:pt x="69" y="66"/>
                  <a:pt x="69" y="66"/>
                </a:cubicBezTo>
                <a:cubicBezTo>
                  <a:pt x="69" y="66"/>
                  <a:pt x="69" y="66"/>
                  <a:pt x="68" y="66"/>
                </a:cubicBezTo>
                <a:cubicBezTo>
                  <a:pt x="68" y="65"/>
                  <a:pt x="68" y="65"/>
                  <a:pt x="68" y="65"/>
                </a:cubicBezTo>
                <a:cubicBezTo>
                  <a:pt x="68" y="65"/>
                  <a:pt x="68" y="65"/>
                  <a:pt x="68" y="65"/>
                </a:cubicBezTo>
                <a:cubicBezTo>
                  <a:pt x="68" y="65"/>
                  <a:pt x="67" y="65"/>
                  <a:pt x="67" y="65"/>
                </a:cubicBezTo>
                <a:cubicBezTo>
                  <a:pt x="67" y="64"/>
                  <a:pt x="67" y="64"/>
                  <a:pt x="67" y="64"/>
                </a:cubicBezTo>
                <a:cubicBezTo>
                  <a:pt x="67" y="64"/>
                  <a:pt x="67" y="64"/>
                  <a:pt x="67" y="64"/>
                </a:cubicBezTo>
                <a:cubicBezTo>
                  <a:pt x="67" y="64"/>
                  <a:pt x="67" y="64"/>
                  <a:pt x="67" y="64"/>
                </a:cubicBezTo>
                <a:cubicBezTo>
                  <a:pt x="67" y="64"/>
                  <a:pt x="66" y="64"/>
                  <a:pt x="66" y="64"/>
                </a:cubicBezTo>
                <a:cubicBezTo>
                  <a:pt x="66" y="64"/>
                  <a:pt x="66" y="64"/>
                  <a:pt x="66" y="64"/>
                </a:cubicBezTo>
                <a:cubicBezTo>
                  <a:pt x="65" y="64"/>
                  <a:pt x="64" y="64"/>
                  <a:pt x="64" y="63"/>
                </a:cubicBezTo>
                <a:cubicBezTo>
                  <a:pt x="64" y="63"/>
                  <a:pt x="64" y="63"/>
                  <a:pt x="64" y="63"/>
                </a:cubicBezTo>
                <a:cubicBezTo>
                  <a:pt x="64" y="63"/>
                  <a:pt x="64" y="63"/>
                  <a:pt x="64" y="63"/>
                </a:cubicBezTo>
                <a:cubicBezTo>
                  <a:pt x="64" y="63"/>
                  <a:pt x="64" y="62"/>
                  <a:pt x="63" y="62"/>
                </a:cubicBezTo>
                <a:cubicBezTo>
                  <a:pt x="64" y="61"/>
                  <a:pt x="64" y="61"/>
                  <a:pt x="64" y="61"/>
                </a:cubicBezTo>
                <a:cubicBezTo>
                  <a:pt x="64" y="61"/>
                  <a:pt x="64" y="61"/>
                  <a:pt x="64" y="61"/>
                </a:cubicBezTo>
                <a:cubicBezTo>
                  <a:pt x="63" y="62"/>
                  <a:pt x="63" y="62"/>
                  <a:pt x="63" y="62"/>
                </a:cubicBezTo>
                <a:cubicBezTo>
                  <a:pt x="63" y="61"/>
                  <a:pt x="63" y="61"/>
                  <a:pt x="63" y="60"/>
                </a:cubicBezTo>
                <a:cubicBezTo>
                  <a:pt x="63" y="60"/>
                  <a:pt x="63" y="60"/>
                  <a:pt x="63" y="60"/>
                </a:cubicBezTo>
                <a:cubicBezTo>
                  <a:pt x="63" y="59"/>
                  <a:pt x="63" y="59"/>
                  <a:pt x="63" y="59"/>
                </a:cubicBezTo>
                <a:cubicBezTo>
                  <a:pt x="63" y="59"/>
                  <a:pt x="63" y="59"/>
                  <a:pt x="63" y="58"/>
                </a:cubicBezTo>
                <a:cubicBezTo>
                  <a:pt x="63" y="58"/>
                  <a:pt x="62" y="58"/>
                  <a:pt x="62" y="57"/>
                </a:cubicBezTo>
                <a:cubicBezTo>
                  <a:pt x="62" y="57"/>
                  <a:pt x="62" y="57"/>
                  <a:pt x="62" y="57"/>
                </a:cubicBezTo>
                <a:cubicBezTo>
                  <a:pt x="62" y="57"/>
                  <a:pt x="62" y="57"/>
                  <a:pt x="62" y="57"/>
                </a:cubicBezTo>
                <a:cubicBezTo>
                  <a:pt x="62" y="57"/>
                  <a:pt x="62" y="57"/>
                  <a:pt x="61" y="57"/>
                </a:cubicBezTo>
                <a:cubicBezTo>
                  <a:pt x="61" y="56"/>
                  <a:pt x="61" y="56"/>
                  <a:pt x="61" y="56"/>
                </a:cubicBezTo>
                <a:cubicBezTo>
                  <a:pt x="61" y="55"/>
                  <a:pt x="61" y="55"/>
                  <a:pt x="61" y="55"/>
                </a:cubicBezTo>
                <a:cubicBezTo>
                  <a:pt x="61" y="55"/>
                  <a:pt x="60" y="55"/>
                  <a:pt x="60" y="54"/>
                </a:cubicBezTo>
                <a:cubicBezTo>
                  <a:pt x="59" y="54"/>
                  <a:pt x="59" y="54"/>
                  <a:pt x="59" y="54"/>
                </a:cubicBezTo>
                <a:cubicBezTo>
                  <a:pt x="59" y="54"/>
                  <a:pt x="59" y="54"/>
                  <a:pt x="59" y="53"/>
                </a:cubicBezTo>
                <a:cubicBezTo>
                  <a:pt x="58" y="53"/>
                  <a:pt x="58" y="53"/>
                  <a:pt x="58" y="53"/>
                </a:cubicBezTo>
                <a:cubicBezTo>
                  <a:pt x="57" y="53"/>
                  <a:pt x="56" y="52"/>
                  <a:pt x="56" y="51"/>
                </a:cubicBezTo>
                <a:cubicBezTo>
                  <a:pt x="56" y="51"/>
                  <a:pt x="56" y="51"/>
                  <a:pt x="56" y="51"/>
                </a:cubicBezTo>
                <a:cubicBezTo>
                  <a:pt x="55" y="51"/>
                  <a:pt x="55" y="50"/>
                  <a:pt x="55" y="50"/>
                </a:cubicBezTo>
                <a:cubicBezTo>
                  <a:pt x="55" y="50"/>
                  <a:pt x="55" y="50"/>
                  <a:pt x="55" y="50"/>
                </a:cubicBezTo>
                <a:cubicBezTo>
                  <a:pt x="54" y="48"/>
                  <a:pt x="54" y="48"/>
                  <a:pt x="53" y="47"/>
                </a:cubicBezTo>
                <a:cubicBezTo>
                  <a:pt x="53" y="47"/>
                  <a:pt x="53" y="47"/>
                  <a:pt x="53" y="47"/>
                </a:cubicBezTo>
                <a:cubicBezTo>
                  <a:pt x="51" y="46"/>
                  <a:pt x="50" y="45"/>
                  <a:pt x="49" y="43"/>
                </a:cubicBezTo>
                <a:cubicBezTo>
                  <a:pt x="49" y="43"/>
                  <a:pt x="48" y="42"/>
                  <a:pt x="48" y="42"/>
                </a:cubicBezTo>
                <a:cubicBezTo>
                  <a:pt x="48" y="42"/>
                  <a:pt x="48" y="42"/>
                  <a:pt x="48" y="42"/>
                </a:cubicBezTo>
                <a:cubicBezTo>
                  <a:pt x="48" y="41"/>
                  <a:pt x="48" y="41"/>
                  <a:pt x="49" y="41"/>
                </a:cubicBezTo>
                <a:cubicBezTo>
                  <a:pt x="49" y="41"/>
                  <a:pt x="49" y="41"/>
                  <a:pt x="49" y="41"/>
                </a:cubicBezTo>
                <a:cubicBezTo>
                  <a:pt x="48" y="40"/>
                  <a:pt x="47" y="40"/>
                  <a:pt x="47" y="39"/>
                </a:cubicBezTo>
                <a:cubicBezTo>
                  <a:pt x="46" y="39"/>
                  <a:pt x="46" y="39"/>
                  <a:pt x="46" y="39"/>
                </a:cubicBezTo>
                <a:cubicBezTo>
                  <a:pt x="43" y="38"/>
                  <a:pt x="39" y="36"/>
                  <a:pt x="36" y="34"/>
                </a:cubicBezTo>
                <a:cubicBezTo>
                  <a:pt x="34" y="32"/>
                  <a:pt x="34" y="32"/>
                  <a:pt x="34" y="32"/>
                </a:cubicBezTo>
                <a:cubicBezTo>
                  <a:pt x="36" y="31"/>
                  <a:pt x="36" y="31"/>
                  <a:pt x="36" y="31"/>
                </a:cubicBezTo>
                <a:cubicBezTo>
                  <a:pt x="37" y="31"/>
                  <a:pt x="37" y="31"/>
                  <a:pt x="37" y="31"/>
                </a:cubicBezTo>
                <a:cubicBezTo>
                  <a:pt x="37" y="31"/>
                  <a:pt x="37" y="31"/>
                  <a:pt x="37" y="31"/>
                </a:cubicBezTo>
                <a:cubicBezTo>
                  <a:pt x="37" y="31"/>
                  <a:pt x="37" y="31"/>
                  <a:pt x="37" y="31"/>
                </a:cubicBezTo>
                <a:cubicBezTo>
                  <a:pt x="37" y="30"/>
                  <a:pt x="37" y="30"/>
                  <a:pt x="37" y="30"/>
                </a:cubicBezTo>
                <a:cubicBezTo>
                  <a:pt x="37" y="30"/>
                  <a:pt x="37" y="30"/>
                  <a:pt x="37" y="29"/>
                </a:cubicBezTo>
                <a:cubicBezTo>
                  <a:pt x="37" y="29"/>
                  <a:pt x="37" y="28"/>
                  <a:pt x="37" y="28"/>
                </a:cubicBezTo>
                <a:cubicBezTo>
                  <a:pt x="38" y="28"/>
                  <a:pt x="38" y="28"/>
                  <a:pt x="38" y="28"/>
                </a:cubicBezTo>
                <a:cubicBezTo>
                  <a:pt x="38" y="28"/>
                  <a:pt x="38" y="28"/>
                  <a:pt x="38" y="28"/>
                </a:cubicBezTo>
                <a:cubicBezTo>
                  <a:pt x="39" y="28"/>
                  <a:pt x="39" y="27"/>
                  <a:pt x="39" y="27"/>
                </a:cubicBezTo>
                <a:cubicBezTo>
                  <a:pt x="39" y="27"/>
                  <a:pt x="39" y="27"/>
                  <a:pt x="40" y="27"/>
                </a:cubicBezTo>
                <a:cubicBezTo>
                  <a:pt x="40" y="27"/>
                  <a:pt x="40" y="27"/>
                  <a:pt x="41" y="28"/>
                </a:cubicBezTo>
                <a:cubicBezTo>
                  <a:pt x="41" y="28"/>
                  <a:pt x="41" y="28"/>
                  <a:pt x="41" y="28"/>
                </a:cubicBezTo>
                <a:cubicBezTo>
                  <a:pt x="42" y="28"/>
                  <a:pt x="42" y="28"/>
                  <a:pt x="42" y="28"/>
                </a:cubicBezTo>
                <a:cubicBezTo>
                  <a:pt x="43" y="28"/>
                  <a:pt x="43" y="28"/>
                  <a:pt x="43" y="28"/>
                </a:cubicBezTo>
                <a:cubicBezTo>
                  <a:pt x="43" y="28"/>
                  <a:pt x="44" y="28"/>
                  <a:pt x="44" y="28"/>
                </a:cubicBezTo>
                <a:cubicBezTo>
                  <a:pt x="44" y="28"/>
                  <a:pt x="44" y="28"/>
                  <a:pt x="44" y="28"/>
                </a:cubicBezTo>
                <a:cubicBezTo>
                  <a:pt x="44" y="28"/>
                  <a:pt x="44" y="28"/>
                  <a:pt x="44" y="28"/>
                </a:cubicBezTo>
                <a:cubicBezTo>
                  <a:pt x="44" y="28"/>
                  <a:pt x="44" y="28"/>
                  <a:pt x="44" y="28"/>
                </a:cubicBezTo>
                <a:cubicBezTo>
                  <a:pt x="45" y="27"/>
                  <a:pt x="45" y="27"/>
                  <a:pt x="45" y="27"/>
                </a:cubicBezTo>
                <a:cubicBezTo>
                  <a:pt x="45" y="27"/>
                  <a:pt x="45" y="27"/>
                  <a:pt x="45" y="27"/>
                </a:cubicBezTo>
                <a:cubicBezTo>
                  <a:pt x="46" y="26"/>
                  <a:pt x="46" y="26"/>
                  <a:pt x="46" y="26"/>
                </a:cubicBezTo>
                <a:cubicBezTo>
                  <a:pt x="46" y="26"/>
                  <a:pt x="47" y="25"/>
                  <a:pt x="47" y="24"/>
                </a:cubicBezTo>
                <a:cubicBezTo>
                  <a:pt x="47" y="24"/>
                  <a:pt x="46" y="24"/>
                  <a:pt x="46" y="23"/>
                </a:cubicBezTo>
                <a:cubicBezTo>
                  <a:pt x="45" y="23"/>
                  <a:pt x="45" y="23"/>
                  <a:pt x="45" y="23"/>
                </a:cubicBezTo>
                <a:cubicBezTo>
                  <a:pt x="45" y="23"/>
                  <a:pt x="45" y="23"/>
                  <a:pt x="45" y="23"/>
                </a:cubicBezTo>
                <a:cubicBezTo>
                  <a:pt x="44" y="22"/>
                  <a:pt x="44" y="22"/>
                  <a:pt x="43" y="22"/>
                </a:cubicBezTo>
                <a:cubicBezTo>
                  <a:pt x="43" y="22"/>
                  <a:pt x="42" y="22"/>
                  <a:pt x="42" y="22"/>
                </a:cubicBezTo>
                <a:cubicBezTo>
                  <a:pt x="40" y="21"/>
                  <a:pt x="40" y="21"/>
                  <a:pt x="40" y="21"/>
                </a:cubicBezTo>
                <a:cubicBezTo>
                  <a:pt x="41" y="20"/>
                  <a:pt x="41" y="20"/>
                  <a:pt x="41" y="20"/>
                </a:cubicBezTo>
                <a:cubicBezTo>
                  <a:pt x="41" y="20"/>
                  <a:pt x="41" y="19"/>
                  <a:pt x="42" y="19"/>
                </a:cubicBezTo>
                <a:cubicBezTo>
                  <a:pt x="42" y="19"/>
                  <a:pt x="43" y="19"/>
                  <a:pt x="43" y="19"/>
                </a:cubicBezTo>
                <a:cubicBezTo>
                  <a:pt x="43" y="19"/>
                  <a:pt x="43" y="19"/>
                  <a:pt x="43" y="19"/>
                </a:cubicBezTo>
                <a:cubicBezTo>
                  <a:pt x="43" y="19"/>
                  <a:pt x="43" y="19"/>
                  <a:pt x="43" y="19"/>
                </a:cubicBezTo>
                <a:cubicBezTo>
                  <a:pt x="43" y="19"/>
                  <a:pt x="43" y="18"/>
                  <a:pt x="42" y="18"/>
                </a:cubicBezTo>
                <a:cubicBezTo>
                  <a:pt x="42" y="18"/>
                  <a:pt x="42" y="18"/>
                  <a:pt x="42" y="18"/>
                </a:cubicBezTo>
                <a:cubicBezTo>
                  <a:pt x="41" y="20"/>
                  <a:pt x="41" y="20"/>
                  <a:pt x="41" y="20"/>
                </a:cubicBezTo>
                <a:cubicBezTo>
                  <a:pt x="41" y="18"/>
                  <a:pt x="41" y="18"/>
                  <a:pt x="41" y="18"/>
                </a:cubicBezTo>
                <a:cubicBezTo>
                  <a:pt x="40" y="19"/>
                  <a:pt x="40" y="19"/>
                  <a:pt x="40" y="19"/>
                </a:cubicBezTo>
                <a:cubicBezTo>
                  <a:pt x="41" y="18"/>
                  <a:pt x="41" y="18"/>
                  <a:pt x="41" y="18"/>
                </a:cubicBezTo>
                <a:cubicBezTo>
                  <a:pt x="41" y="18"/>
                  <a:pt x="41" y="18"/>
                  <a:pt x="41" y="17"/>
                </a:cubicBezTo>
                <a:cubicBezTo>
                  <a:pt x="41" y="17"/>
                  <a:pt x="41" y="17"/>
                  <a:pt x="40" y="17"/>
                </a:cubicBezTo>
                <a:cubicBezTo>
                  <a:pt x="40" y="17"/>
                  <a:pt x="40" y="17"/>
                  <a:pt x="40" y="17"/>
                </a:cubicBezTo>
                <a:cubicBezTo>
                  <a:pt x="40" y="17"/>
                  <a:pt x="40" y="17"/>
                  <a:pt x="40" y="17"/>
                </a:cubicBezTo>
                <a:cubicBezTo>
                  <a:pt x="40" y="16"/>
                  <a:pt x="39" y="16"/>
                  <a:pt x="39" y="17"/>
                </a:cubicBezTo>
                <a:cubicBezTo>
                  <a:pt x="38" y="17"/>
                  <a:pt x="38" y="17"/>
                  <a:pt x="38" y="17"/>
                </a:cubicBezTo>
                <a:cubicBezTo>
                  <a:pt x="38" y="17"/>
                  <a:pt x="38" y="17"/>
                  <a:pt x="37" y="18"/>
                </a:cubicBezTo>
                <a:cubicBezTo>
                  <a:pt x="37" y="18"/>
                  <a:pt x="37" y="18"/>
                  <a:pt x="37" y="18"/>
                </a:cubicBezTo>
                <a:cubicBezTo>
                  <a:pt x="37" y="19"/>
                  <a:pt x="37" y="19"/>
                  <a:pt x="37" y="19"/>
                </a:cubicBezTo>
                <a:cubicBezTo>
                  <a:pt x="36" y="19"/>
                  <a:pt x="36" y="19"/>
                  <a:pt x="36" y="19"/>
                </a:cubicBezTo>
                <a:cubicBezTo>
                  <a:pt x="36" y="19"/>
                  <a:pt x="36" y="19"/>
                  <a:pt x="36" y="19"/>
                </a:cubicBezTo>
                <a:cubicBezTo>
                  <a:pt x="36" y="19"/>
                  <a:pt x="36" y="19"/>
                  <a:pt x="36" y="19"/>
                </a:cubicBezTo>
                <a:cubicBezTo>
                  <a:pt x="36" y="19"/>
                  <a:pt x="36" y="20"/>
                  <a:pt x="35" y="20"/>
                </a:cubicBezTo>
                <a:cubicBezTo>
                  <a:pt x="35" y="20"/>
                  <a:pt x="35" y="20"/>
                  <a:pt x="35" y="20"/>
                </a:cubicBezTo>
                <a:cubicBezTo>
                  <a:pt x="35" y="20"/>
                  <a:pt x="35" y="20"/>
                  <a:pt x="35" y="20"/>
                </a:cubicBezTo>
                <a:cubicBezTo>
                  <a:pt x="35" y="20"/>
                  <a:pt x="34" y="20"/>
                  <a:pt x="34" y="20"/>
                </a:cubicBezTo>
                <a:cubicBezTo>
                  <a:pt x="34" y="19"/>
                  <a:pt x="34" y="19"/>
                  <a:pt x="34" y="19"/>
                </a:cubicBezTo>
                <a:cubicBezTo>
                  <a:pt x="34" y="19"/>
                  <a:pt x="34" y="19"/>
                  <a:pt x="33" y="19"/>
                </a:cubicBezTo>
                <a:cubicBezTo>
                  <a:pt x="33" y="19"/>
                  <a:pt x="33" y="19"/>
                  <a:pt x="33" y="19"/>
                </a:cubicBezTo>
                <a:cubicBezTo>
                  <a:pt x="33" y="19"/>
                  <a:pt x="33" y="19"/>
                  <a:pt x="33" y="19"/>
                </a:cubicBezTo>
                <a:cubicBezTo>
                  <a:pt x="32" y="19"/>
                  <a:pt x="32" y="19"/>
                  <a:pt x="32" y="18"/>
                </a:cubicBezTo>
                <a:cubicBezTo>
                  <a:pt x="32" y="18"/>
                  <a:pt x="32" y="18"/>
                  <a:pt x="32" y="18"/>
                </a:cubicBezTo>
                <a:cubicBezTo>
                  <a:pt x="32" y="18"/>
                  <a:pt x="31" y="18"/>
                  <a:pt x="31" y="18"/>
                </a:cubicBezTo>
                <a:cubicBezTo>
                  <a:pt x="31" y="18"/>
                  <a:pt x="31" y="18"/>
                  <a:pt x="31" y="18"/>
                </a:cubicBezTo>
                <a:cubicBezTo>
                  <a:pt x="30" y="18"/>
                  <a:pt x="30" y="18"/>
                  <a:pt x="30" y="18"/>
                </a:cubicBezTo>
                <a:cubicBezTo>
                  <a:pt x="28" y="17"/>
                  <a:pt x="27" y="15"/>
                  <a:pt x="26" y="13"/>
                </a:cubicBezTo>
                <a:cubicBezTo>
                  <a:pt x="26" y="13"/>
                  <a:pt x="26" y="13"/>
                  <a:pt x="26" y="13"/>
                </a:cubicBezTo>
                <a:cubicBezTo>
                  <a:pt x="25" y="14"/>
                  <a:pt x="25" y="14"/>
                  <a:pt x="25" y="14"/>
                </a:cubicBezTo>
                <a:cubicBezTo>
                  <a:pt x="26" y="13"/>
                  <a:pt x="26" y="13"/>
                  <a:pt x="26" y="13"/>
                </a:cubicBezTo>
                <a:cubicBezTo>
                  <a:pt x="26" y="13"/>
                  <a:pt x="26" y="13"/>
                  <a:pt x="26" y="12"/>
                </a:cubicBezTo>
                <a:cubicBezTo>
                  <a:pt x="26" y="12"/>
                  <a:pt x="26" y="12"/>
                  <a:pt x="26" y="11"/>
                </a:cubicBezTo>
                <a:cubicBezTo>
                  <a:pt x="26" y="11"/>
                  <a:pt x="26" y="11"/>
                  <a:pt x="26" y="11"/>
                </a:cubicBezTo>
                <a:cubicBezTo>
                  <a:pt x="26" y="11"/>
                  <a:pt x="26" y="11"/>
                  <a:pt x="26" y="11"/>
                </a:cubicBezTo>
                <a:cubicBezTo>
                  <a:pt x="26" y="10"/>
                  <a:pt x="26" y="10"/>
                  <a:pt x="26" y="10"/>
                </a:cubicBezTo>
                <a:cubicBezTo>
                  <a:pt x="26" y="10"/>
                  <a:pt x="26" y="9"/>
                  <a:pt x="26" y="9"/>
                </a:cubicBezTo>
                <a:cubicBezTo>
                  <a:pt x="26" y="9"/>
                  <a:pt x="26" y="9"/>
                  <a:pt x="26" y="9"/>
                </a:cubicBezTo>
                <a:cubicBezTo>
                  <a:pt x="26" y="9"/>
                  <a:pt x="26" y="9"/>
                  <a:pt x="26" y="9"/>
                </a:cubicBezTo>
                <a:cubicBezTo>
                  <a:pt x="26" y="9"/>
                  <a:pt x="26" y="9"/>
                  <a:pt x="26" y="9"/>
                </a:cubicBezTo>
                <a:cubicBezTo>
                  <a:pt x="26" y="9"/>
                  <a:pt x="26" y="9"/>
                  <a:pt x="25" y="9"/>
                </a:cubicBezTo>
                <a:cubicBezTo>
                  <a:pt x="25" y="9"/>
                  <a:pt x="25" y="9"/>
                  <a:pt x="25" y="9"/>
                </a:cubicBezTo>
                <a:cubicBezTo>
                  <a:pt x="25" y="9"/>
                  <a:pt x="25" y="9"/>
                  <a:pt x="25" y="9"/>
                </a:cubicBezTo>
                <a:cubicBezTo>
                  <a:pt x="24" y="9"/>
                  <a:pt x="24" y="9"/>
                  <a:pt x="24" y="9"/>
                </a:cubicBezTo>
                <a:cubicBezTo>
                  <a:pt x="24" y="8"/>
                  <a:pt x="24" y="8"/>
                  <a:pt x="24" y="8"/>
                </a:cubicBezTo>
                <a:cubicBezTo>
                  <a:pt x="23" y="8"/>
                  <a:pt x="23" y="8"/>
                  <a:pt x="23" y="7"/>
                </a:cubicBezTo>
                <a:cubicBezTo>
                  <a:pt x="23" y="7"/>
                  <a:pt x="23" y="7"/>
                  <a:pt x="23" y="7"/>
                </a:cubicBezTo>
                <a:cubicBezTo>
                  <a:pt x="23" y="6"/>
                  <a:pt x="23" y="5"/>
                  <a:pt x="22" y="5"/>
                </a:cubicBezTo>
                <a:cubicBezTo>
                  <a:pt x="22" y="5"/>
                  <a:pt x="22" y="4"/>
                  <a:pt x="22" y="4"/>
                </a:cubicBezTo>
                <a:cubicBezTo>
                  <a:pt x="21" y="4"/>
                  <a:pt x="21" y="4"/>
                  <a:pt x="21" y="4"/>
                </a:cubicBezTo>
                <a:cubicBezTo>
                  <a:pt x="21" y="3"/>
                  <a:pt x="20" y="3"/>
                  <a:pt x="20" y="2"/>
                </a:cubicBezTo>
                <a:cubicBezTo>
                  <a:pt x="19" y="1"/>
                  <a:pt x="19" y="1"/>
                  <a:pt x="19" y="1"/>
                </a:cubicBezTo>
                <a:cubicBezTo>
                  <a:pt x="18" y="1"/>
                  <a:pt x="18" y="1"/>
                  <a:pt x="18" y="1"/>
                </a:cubicBezTo>
                <a:cubicBezTo>
                  <a:pt x="18" y="1"/>
                  <a:pt x="18" y="1"/>
                  <a:pt x="17" y="1"/>
                </a:cubicBezTo>
                <a:cubicBezTo>
                  <a:pt x="17" y="0"/>
                  <a:pt x="16" y="0"/>
                  <a:pt x="16" y="0"/>
                </a:cubicBezTo>
                <a:cubicBezTo>
                  <a:pt x="16" y="0"/>
                  <a:pt x="15" y="0"/>
                  <a:pt x="15" y="0"/>
                </a:cubicBezTo>
                <a:cubicBezTo>
                  <a:pt x="15" y="0"/>
                  <a:pt x="15" y="1"/>
                  <a:pt x="15" y="1"/>
                </a:cubicBezTo>
                <a:cubicBezTo>
                  <a:pt x="15" y="1"/>
                  <a:pt x="15" y="1"/>
                  <a:pt x="15" y="2"/>
                </a:cubicBezTo>
                <a:cubicBezTo>
                  <a:pt x="14" y="2"/>
                  <a:pt x="14" y="2"/>
                  <a:pt x="14" y="2"/>
                </a:cubicBezTo>
                <a:cubicBezTo>
                  <a:pt x="15" y="2"/>
                  <a:pt x="15" y="2"/>
                  <a:pt x="15" y="3"/>
                </a:cubicBezTo>
                <a:cubicBezTo>
                  <a:pt x="15" y="3"/>
                  <a:pt x="15" y="3"/>
                  <a:pt x="15" y="3"/>
                </a:cubicBezTo>
                <a:cubicBezTo>
                  <a:pt x="15" y="3"/>
                  <a:pt x="16" y="4"/>
                  <a:pt x="16" y="4"/>
                </a:cubicBezTo>
                <a:cubicBezTo>
                  <a:pt x="17" y="5"/>
                  <a:pt x="17" y="6"/>
                  <a:pt x="17" y="8"/>
                </a:cubicBezTo>
                <a:cubicBezTo>
                  <a:pt x="17" y="8"/>
                  <a:pt x="17" y="8"/>
                  <a:pt x="17" y="8"/>
                </a:cubicBezTo>
                <a:cubicBezTo>
                  <a:pt x="16" y="10"/>
                  <a:pt x="16" y="11"/>
                  <a:pt x="16" y="11"/>
                </a:cubicBezTo>
                <a:cubicBezTo>
                  <a:pt x="16" y="11"/>
                  <a:pt x="16" y="11"/>
                  <a:pt x="16" y="11"/>
                </a:cubicBezTo>
                <a:cubicBezTo>
                  <a:pt x="17" y="11"/>
                  <a:pt x="17" y="11"/>
                  <a:pt x="17" y="11"/>
                </a:cubicBezTo>
                <a:cubicBezTo>
                  <a:pt x="18" y="12"/>
                  <a:pt x="18" y="12"/>
                  <a:pt x="18" y="12"/>
                </a:cubicBezTo>
                <a:cubicBezTo>
                  <a:pt x="17" y="13"/>
                  <a:pt x="17" y="13"/>
                  <a:pt x="17" y="13"/>
                </a:cubicBezTo>
                <a:cubicBezTo>
                  <a:pt x="16" y="14"/>
                  <a:pt x="15" y="15"/>
                  <a:pt x="13" y="14"/>
                </a:cubicBezTo>
                <a:cubicBezTo>
                  <a:pt x="13" y="14"/>
                  <a:pt x="13" y="14"/>
                  <a:pt x="13" y="14"/>
                </a:cubicBezTo>
                <a:cubicBezTo>
                  <a:pt x="12" y="14"/>
                  <a:pt x="12" y="14"/>
                  <a:pt x="12" y="14"/>
                </a:cubicBezTo>
                <a:cubicBezTo>
                  <a:pt x="12" y="14"/>
                  <a:pt x="12" y="14"/>
                  <a:pt x="12" y="14"/>
                </a:cubicBezTo>
                <a:cubicBezTo>
                  <a:pt x="12" y="14"/>
                  <a:pt x="12" y="14"/>
                  <a:pt x="12" y="14"/>
                </a:cubicBezTo>
                <a:cubicBezTo>
                  <a:pt x="11" y="14"/>
                  <a:pt x="11" y="14"/>
                  <a:pt x="11" y="14"/>
                </a:cubicBezTo>
                <a:cubicBezTo>
                  <a:pt x="11" y="14"/>
                  <a:pt x="11" y="14"/>
                  <a:pt x="11" y="14"/>
                </a:cubicBezTo>
                <a:cubicBezTo>
                  <a:pt x="10" y="14"/>
                  <a:pt x="10" y="14"/>
                  <a:pt x="10" y="14"/>
                </a:cubicBezTo>
                <a:cubicBezTo>
                  <a:pt x="9" y="14"/>
                  <a:pt x="9" y="12"/>
                  <a:pt x="8" y="11"/>
                </a:cubicBezTo>
                <a:cubicBezTo>
                  <a:pt x="8" y="11"/>
                  <a:pt x="8" y="11"/>
                  <a:pt x="8" y="11"/>
                </a:cubicBezTo>
                <a:cubicBezTo>
                  <a:pt x="7" y="11"/>
                  <a:pt x="7" y="12"/>
                  <a:pt x="6" y="12"/>
                </a:cubicBezTo>
                <a:cubicBezTo>
                  <a:pt x="6" y="12"/>
                  <a:pt x="5" y="13"/>
                  <a:pt x="5" y="13"/>
                </a:cubicBezTo>
                <a:cubicBezTo>
                  <a:pt x="4" y="15"/>
                  <a:pt x="4" y="15"/>
                  <a:pt x="4" y="15"/>
                </a:cubicBezTo>
                <a:cubicBezTo>
                  <a:pt x="4" y="15"/>
                  <a:pt x="4" y="15"/>
                  <a:pt x="4" y="15"/>
                </a:cubicBezTo>
                <a:cubicBezTo>
                  <a:pt x="5" y="15"/>
                  <a:pt x="5" y="15"/>
                  <a:pt x="5" y="15"/>
                </a:cubicBezTo>
                <a:cubicBezTo>
                  <a:pt x="5" y="16"/>
                  <a:pt x="5" y="16"/>
                  <a:pt x="5" y="16"/>
                </a:cubicBezTo>
                <a:cubicBezTo>
                  <a:pt x="6" y="17"/>
                  <a:pt x="6" y="17"/>
                  <a:pt x="6" y="17"/>
                </a:cubicBezTo>
                <a:cubicBezTo>
                  <a:pt x="4" y="18"/>
                  <a:pt x="4" y="18"/>
                  <a:pt x="4" y="18"/>
                </a:cubicBezTo>
                <a:cubicBezTo>
                  <a:pt x="3" y="18"/>
                  <a:pt x="3" y="18"/>
                  <a:pt x="3" y="18"/>
                </a:cubicBezTo>
                <a:cubicBezTo>
                  <a:pt x="2" y="18"/>
                  <a:pt x="2" y="18"/>
                  <a:pt x="1" y="18"/>
                </a:cubicBezTo>
                <a:cubicBezTo>
                  <a:pt x="1" y="18"/>
                  <a:pt x="1" y="18"/>
                  <a:pt x="1" y="18"/>
                </a:cubicBezTo>
                <a:cubicBezTo>
                  <a:pt x="1" y="19"/>
                  <a:pt x="0" y="20"/>
                  <a:pt x="0" y="20"/>
                </a:cubicBezTo>
                <a:cubicBezTo>
                  <a:pt x="0" y="20"/>
                  <a:pt x="0" y="20"/>
                  <a:pt x="0" y="20"/>
                </a:cubicBezTo>
                <a:cubicBezTo>
                  <a:pt x="0" y="20"/>
                  <a:pt x="0" y="20"/>
                  <a:pt x="0" y="20"/>
                </a:cubicBezTo>
                <a:cubicBezTo>
                  <a:pt x="1" y="20"/>
                  <a:pt x="2" y="21"/>
                  <a:pt x="3" y="21"/>
                </a:cubicBezTo>
                <a:cubicBezTo>
                  <a:pt x="3" y="22"/>
                  <a:pt x="3" y="22"/>
                  <a:pt x="3" y="22"/>
                </a:cubicBezTo>
                <a:cubicBezTo>
                  <a:pt x="3" y="22"/>
                  <a:pt x="4" y="22"/>
                  <a:pt x="4" y="22"/>
                </a:cubicBezTo>
                <a:cubicBezTo>
                  <a:pt x="4" y="23"/>
                  <a:pt x="4" y="24"/>
                  <a:pt x="4" y="25"/>
                </a:cubicBezTo>
                <a:cubicBezTo>
                  <a:pt x="4" y="26"/>
                  <a:pt x="4" y="26"/>
                  <a:pt x="4" y="27"/>
                </a:cubicBezTo>
                <a:cubicBezTo>
                  <a:pt x="4" y="27"/>
                  <a:pt x="4" y="27"/>
                  <a:pt x="4" y="27"/>
                </a:cubicBezTo>
                <a:cubicBezTo>
                  <a:pt x="3" y="27"/>
                  <a:pt x="3" y="27"/>
                  <a:pt x="3" y="27"/>
                </a:cubicBezTo>
                <a:cubicBezTo>
                  <a:pt x="3" y="28"/>
                  <a:pt x="3" y="28"/>
                  <a:pt x="3" y="28"/>
                </a:cubicBezTo>
                <a:cubicBezTo>
                  <a:pt x="3" y="28"/>
                  <a:pt x="3" y="28"/>
                  <a:pt x="3" y="28"/>
                </a:cubicBezTo>
                <a:cubicBezTo>
                  <a:pt x="3" y="28"/>
                  <a:pt x="3" y="28"/>
                  <a:pt x="3" y="28"/>
                </a:cubicBezTo>
                <a:cubicBezTo>
                  <a:pt x="3" y="28"/>
                  <a:pt x="3" y="29"/>
                  <a:pt x="3" y="29"/>
                </a:cubicBezTo>
                <a:cubicBezTo>
                  <a:pt x="4" y="29"/>
                  <a:pt x="4" y="29"/>
                  <a:pt x="4" y="30"/>
                </a:cubicBezTo>
                <a:cubicBezTo>
                  <a:pt x="4" y="30"/>
                  <a:pt x="4" y="30"/>
                  <a:pt x="4" y="30"/>
                </a:cubicBezTo>
                <a:cubicBezTo>
                  <a:pt x="5" y="30"/>
                  <a:pt x="7" y="29"/>
                  <a:pt x="8" y="29"/>
                </a:cubicBezTo>
                <a:cubicBezTo>
                  <a:pt x="9" y="29"/>
                  <a:pt x="10" y="29"/>
                  <a:pt x="10" y="29"/>
                </a:cubicBezTo>
                <a:cubicBezTo>
                  <a:pt x="11" y="29"/>
                  <a:pt x="11" y="29"/>
                  <a:pt x="11" y="29"/>
                </a:cubicBezTo>
                <a:cubicBezTo>
                  <a:pt x="12" y="30"/>
                  <a:pt x="12" y="30"/>
                  <a:pt x="12" y="30"/>
                </a:cubicBezTo>
                <a:cubicBezTo>
                  <a:pt x="12" y="30"/>
                  <a:pt x="12" y="30"/>
                  <a:pt x="12" y="31"/>
                </a:cubicBezTo>
                <a:cubicBezTo>
                  <a:pt x="12" y="31"/>
                  <a:pt x="11" y="31"/>
                  <a:pt x="11" y="31"/>
                </a:cubicBezTo>
                <a:cubicBezTo>
                  <a:pt x="11" y="32"/>
                  <a:pt x="11" y="32"/>
                  <a:pt x="11" y="32"/>
                </a:cubicBezTo>
                <a:cubicBezTo>
                  <a:pt x="11" y="32"/>
                  <a:pt x="11" y="32"/>
                  <a:pt x="11" y="32"/>
                </a:cubicBezTo>
                <a:cubicBezTo>
                  <a:pt x="11" y="32"/>
                  <a:pt x="11" y="32"/>
                  <a:pt x="11" y="33"/>
                </a:cubicBezTo>
                <a:cubicBezTo>
                  <a:pt x="11" y="33"/>
                  <a:pt x="11" y="33"/>
                  <a:pt x="11" y="33"/>
                </a:cubicBezTo>
                <a:cubicBezTo>
                  <a:pt x="11" y="33"/>
                  <a:pt x="11" y="33"/>
                  <a:pt x="12" y="34"/>
                </a:cubicBezTo>
                <a:cubicBezTo>
                  <a:pt x="12" y="34"/>
                  <a:pt x="12" y="35"/>
                  <a:pt x="12" y="36"/>
                </a:cubicBezTo>
                <a:cubicBezTo>
                  <a:pt x="12" y="37"/>
                  <a:pt x="12" y="37"/>
                  <a:pt x="12" y="37"/>
                </a:cubicBezTo>
                <a:cubicBezTo>
                  <a:pt x="11" y="37"/>
                  <a:pt x="11" y="37"/>
                  <a:pt x="11" y="37"/>
                </a:cubicBezTo>
                <a:cubicBezTo>
                  <a:pt x="11" y="38"/>
                  <a:pt x="11" y="38"/>
                  <a:pt x="11" y="38"/>
                </a:cubicBezTo>
                <a:cubicBezTo>
                  <a:pt x="11" y="38"/>
                  <a:pt x="11" y="38"/>
                  <a:pt x="11" y="38"/>
                </a:cubicBezTo>
                <a:cubicBezTo>
                  <a:pt x="11" y="39"/>
                  <a:pt x="11" y="39"/>
                  <a:pt x="11" y="39"/>
                </a:cubicBezTo>
                <a:cubicBezTo>
                  <a:pt x="11" y="39"/>
                  <a:pt x="11" y="40"/>
                  <a:pt x="11" y="41"/>
                </a:cubicBezTo>
                <a:cubicBezTo>
                  <a:pt x="11" y="41"/>
                  <a:pt x="11" y="41"/>
                  <a:pt x="10" y="41"/>
                </a:cubicBezTo>
                <a:cubicBezTo>
                  <a:pt x="10" y="42"/>
                  <a:pt x="10" y="42"/>
                  <a:pt x="10" y="42"/>
                </a:cubicBezTo>
                <a:cubicBezTo>
                  <a:pt x="10" y="42"/>
                  <a:pt x="10" y="42"/>
                  <a:pt x="10" y="43"/>
                </a:cubicBezTo>
                <a:cubicBezTo>
                  <a:pt x="10" y="43"/>
                  <a:pt x="10" y="43"/>
                  <a:pt x="10" y="44"/>
                </a:cubicBezTo>
                <a:cubicBezTo>
                  <a:pt x="10" y="45"/>
                  <a:pt x="10" y="45"/>
                  <a:pt x="10" y="46"/>
                </a:cubicBezTo>
                <a:cubicBezTo>
                  <a:pt x="10" y="47"/>
                  <a:pt x="10" y="47"/>
                  <a:pt x="10" y="47"/>
                </a:cubicBezTo>
                <a:cubicBezTo>
                  <a:pt x="11" y="48"/>
                  <a:pt x="11" y="48"/>
                  <a:pt x="11" y="48"/>
                </a:cubicBezTo>
                <a:cubicBezTo>
                  <a:pt x="10" y="48"/>
                  <a:pt x="10" y="48"/>
                  <a:pt x="10" y="48"/>
                </a:cubicBezTo>
                <a:cubicBezTo>
                  <a:pt x="9" y="49"/>
                  <a:pt x="9" y="49"/>
                  <a:pt x="9" y="49"/>
                </a:cubicBezTo>
                <a:cubicBezTo>
                  <a:pt x="9" y="50"/>
                  <a:pt x="8" y="50"/>
                  <a:pt x="8" y="50"/>
                </a:cubicBezTo>
                <a:cubicBezTo>
                  <a:pt x="8" y="51"/>
                  <a:pt x="9" y="51"/>
                  <a:pt x="9" y="51"/>
                </a:cubicBezTo>
                <a:cubicBezTo>
                  <a:pt x="9" y="51"/>
                  <a:pt x="9" y="50"/>
                  <a:pt x="9" y="5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08" name="Rectangle 3165">
            <a:extLst>
              <a:ext uri="{FF2B5EF4-FFF2-40B4-BE49-F238E27FC236}">
                <a16:creationId xmlns:a16="http://schemas.microsoft.com/office/drawing/2014/main" id="{CF8A994D-89E3-4A98-B26A-D4739C0BA699}"/>
              </a:ext>
            </a:extLst>
          </p:cNvPr>
          <p:cNvSpPr>
            <a:spLocks noChangeArrowheads="1"/>
          </p:cNvSpPr>
          <p:nvPr/>
        </p:nvSpPr>
        <p:spPr bwMode="auto">
          <a:xfrm>
            <a:off x="4615071" y="3511649"/>
            <a:ext cx="496" cy="594"/>
          </a:xfrm>
          <a:prstGeom prst="rect">
            <a:avLst/>
          </a:prstGeom>
          <a:solidFill>
            <a:schemeClr val="tx1">
              <a:lumMod val="40000"/>
              <a:lumOff val="60000"/>
            </a:schemeClr>
          </a:solid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09" name="Rectangle 3166">
            <a:extLst>
              <a:ext uri="{FF2B5EF4-FFF2-40B4-BE49-F238E27FC236}">
                <a16:creationId xmlns:a16="http://schemas.microsoft.com/office/drawing/2014/main" id="{E4AD022C-89CC-4FB4-8B11-53A69D96AC7C}"/>
              </a:ext>
            </a:extLst>
          </p:cNvPr>
          <p:cNvSpPr>
            <a:spLocks noChangeArrowheads="1"/>
          </p:cNvSpPr>
          <p:nvPr/>
        </p:nvSpPr>
        <p:spPr bwMode="auto">
          <a:xfrm>
            <a:off x="4572949" y="3448135"/>
            <a:ext cx="496" cy="594"/>
          </a:xfrm>
          <a:prstGeom prst="rect">
            <a:avLst/>
          </a:prstGeom>
          <a:solidFill>
            <a:schemeClr val="tx1">
              <a:lumMod val="40000"/>
              <a:lumOff val="60000"/>
            </a:schemeClr>
          </a:solidFill>
          <a:ln w="9525">
            <a:noFill/>
            <a:miter lim="800000"/>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10" name="Freeform 3167">
            <a:extLst>
              <a:ext uri="{FF2B5EF4-FFF2-40B4-BE49-F238E27FC236}">
                <a16:creationId xmlns:a16="http://schemas.microsoft.com/office/drawing/2014/main" id="{B5ED3A30-6C95-40D3-8137-347106B81BFF}"/>
              </a:ext>
            </a:extLst>
          </p:cNvPr>
          <p:cNvSpPr>
            <a:spLocks/>
          </p:cNvSpPr>
          <p:nvPr/>
        </p:nvSpPr>
        <p:spPr bwMode="auto">
          <a:xfrm>
            <a:off x="4565020" y="3420236"/>
            <a:ext cx="85236" cy="191138"/>
          </a:xfrm>
          <a:custGeom>
            <a:avLst/>
            <a:gdLst>
              <a:gd name="T0" fmla="*/ 69 w 73"/>
              <a:gd name="T1" fmla="*/ 90 h 136"/>
              <a:gd name="T2" fmla="*/ 60 w 73"/>
              <a:gd name="T3" fmla="*/ 74 h 136"/>
              <a:gd name="T4" fmla="*/ 41 w 73"/>
              <a:gd name="T5" fmla="*/ 58 h 136"/>
              <a:gd name="T6" fmla="*/ 36 w 73"/>
              <a:gd name="T7" fmla="*/ 42 h 136"/>
              <a:gd name="T8" fmla="*/ 46 w 73"/>
              <a:gd name="T9" fmla="*/ 27 h 136"/>
              <a:gd name="T10" fmla="*/ 50 w 73"/>
              <a:gd name="T11" fmla="*/ 24 h 136"/>
              <a:gd name="T12" fmla="*/ 54 w 73"/>
              <a:gd name="T13" fmla="*/ 22 h 136"/>
              <a:gd name="T14" fmla="*/ 53 w 73"/>
              <a:gd name="T15" fmla="*/ 18 h 136"/>
              <a:gd name="T16" fmla="*/ 46 w 73"/>
              <a:gd name="T17" fmla="*/ 15 h 136"/>
              <a:gd name="T18" fmla="*/ 43 w 73"/>
              <a:gd name="T19" fmla="*/ 13 h 136"/>
              <a:gd name="T20" fmla="*/ 43 w 73"/>
              <a:gd name="T21" fmla="*/ 6 h 136"/>
              <a:gd name="T22" fmla="*/ 40 w 73"/>
              <a:gd name="T23" fmla="*/ 5 h 136"/>
              <a:gd name="T24" fmla="*/ 31 w 73"/>
              <a:gd name="T25" fmla="*/ 0 h 136"/>
              <a:gd name="T26" fmla="*/ 28 w 73"/>
              <a:gd name="T27" fmla="*/ 2 h 136"/>
              <a:gd name="T28" fmla="*/ 22 w 73"/>
              <a:gd name="T29" fmla="*/ 7 h 136"/>
              <a:gd name="T30" fmla="*/ 14 w 73"/>
              <a:gd name="T31" fmla="*/ 7 h 136"/>
              <a:gd name="T32" fmla="*/ 11 w 73"/>
              <a:gd name="T33" fmla="*/ 7 h 136"/>
              <a:gd name="T34" fmla="*/ 8 w 73"/>
              <a:gd name="T35" fmla="*/ 10 h 136"/>
              <a:gd name="T36" fmla="*/ 2 w 73"/>
              <a:gd name="T37" fmla="*/ 6 h 136"/>
              <a:gd name="T38" fmla="*/ 5 w 73"/>
              <a:gd name="T39" fmla="*/ 15 h 136"/>
              <a:gd name="T40" fmla="*/ 8 w 73"/>
              <a:gd name="T41" fmla="*/ 16 h 136"/>
              <a:gd name="T42" fmla="*/ 7 w 73"/>
              <a:gd name="T43" fmla="*/ 20 h 136"/>
              <a:gd name="T44" fmla="*/ 10 w 73"/>
              <a:gd name="T45" fmla="*/ 24 h 136"/>
              <a:gd name="T46" fmla="*/ 13 w 73"/>
              <a:gd name="T47" fmla="*/ 26 h 136"/>
              <a:gd name="T48" fmla="*/ 17 w 73"/>
              <a:gd name="T49" fmla="*/ 23 h 136"/>
              <a:gd name="T50" fmla="*/ 21 w 73"/>
              <a:gd name="T51" fmla="*/ 24 h 136"/>
              <a:gd name="T52" fmla="*/ 24 w 73"/>
              <a:gd name="T53" fmla="*/ 26 h 136"/>
              <a:gd name="T54" fmla="*/ 24 w 73"/>
              <a:gd name="T55" fmla="*/ 29 h 136"/>
              <a:gd name="T56" fmla="*/ 28 w 73"/>
              <a:gd name="T57" fmla="*/ 33 h 136"/>
              <a:gd name="T58" fmla="*/ 24 w 73"/>
              <a:gd name="T59" fmla="*/ 40 h 136"/>
              <a:gd name="T60" fmla="*/ 21 w 73"/>
              <a:gd name="T61" fmla="*/ 39 h 136"/>
              <a:gd name="T62" fmla="*/ 18 w 73"/>
              <a:gd name="T63" fmla="*/ 42 h 136"/>
              <a:gd name="T64" fmla="*/ 30 w 73"/>
              <a:gd name="T65" fmla="*/ 50 h 136"/>
              <a:gd name="T66" fmla="*/ 36 w 73"/>
              <a:gd name="T67" fmla="*/ 58 h 136"/>
              <a:gd name="T68" fmla="*/ 42 w 73"/>
              <a:gd name="T69" fmla="*/ 64 h 136"/>
              <a:gd name="T70" fmla="*/ 45 w 73"/>
              <a:gd name="T71" fmla="*/ 68 h 136"/>
              <a:gd name="T72" fmla="*/ 45 w 73"/>
              <a:gd name="T73" fmla="*/ 70 h 136"/>
              <a:gd name="T74" fmla="*/ 48 w 73"/>
              <a:gd name="T75" fmla="*/ 72 h 136"/>
              <a:gd name="T76" fmla="*/ 50 w 73"/>
              <a:gd name="T77" fmla="*/ 73 h 136"/>
              <a:gd name="T78" fmla="*/ 53 w 73"/>
              <a:gd name="T79" fmla="*/ 78 h 136"/>
              <a:gd name="T80" fmla="*/ 56 w 73"/>
              <a:gd name="T81" fmla="*/ 84 h 136"/>
              <a:gd name="T82" fmla="*/ 54 w 73"/>
              <a:gd name="T83" fmla="*/ 88 h 136"/>
              <a:gd name="T84" fmla="*/ 53 w 73"/>
              <a:gd name="T85" fmla="*/ 95 h 136"/>
              <a:gd name="T86" fmla="*/ 54 w 73"/>
              <a:gd name="T87" fmla="*/ 101 h 136"/>
              <a:gd name="T88" fmla="*/ 55 w 73"/>
              <a:gd name="T89" fmla="*/ 110 h 136"/>
              <a:gd name="T90" fmla="*/ 53 w 73"/>
              <a:gd name="T91" fmla="*/ 117 h 136"/>
              <a:gd name="T92" fmla="*/ 46 w 73"/>
              <a:gd name="T93" fmla="*/ 119 h 136"/>
              <a:gd name="T94" fmla="*/ 38 w 73"/>
              <a:gd name="T95" fmla="*/ 122 h 136"/>
              <a:gd name="T96" fmla="*/ 43 w 73"/>
              <a:gd name="T97" fmla="*/ 131 h 136"/>
              <a:gd name="T98" fmla="*/ 35 w 73"/>
              <a:gd name="T99" fmla="*/ 130 h 136"/>
              <a:gd name="T100" fmla="*/ 31 w 73"/>
              <a:gd name="T101" fmla="*/ 131 h 136"/>
              <a:gd name="T102" fmla="*/ 44 w 73"/>
              <a:gd name="T103" fmla="*/ 134 h 136"/>
              <a:gd name="T104" fmla="*/ 47 w 73"/>
              <a:gd name="T105" fmla="*/ 133 h 136"/>
              <a:gd name="T106" fmla="*/ 60 w 73"/>
              <a:gd name="T107" fmla="*/ 129 h 136"/>
              <a:gd name="T108" fmla="*/ 71 w 73"/>
              <a:gd name="T109" fmla="*/ 115 h 136"/>
              <a:gd name="T110" fmla="*/ 72 w 73"/>
              <a:gd name="T111" fmla="*/ 11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 h="136">
                <a:moveTo>
                  <a:pt x="73" y="109"/>
                </a:moveTo>
                <a:cubicBezTo>
                  <a:pt x="73" y="108"/>
                  <a:pt x="72" y="106"/>
                  <a:pt x="72" y="105"/>
                </a:cubicBezTo>
                <a:cubicBezTo>
                  <a:pt x="71" y="104"/>
                  <a:pt x="71" y="102"/>
                  <a:pt x="71" y="101"/>
                </a:cubicBezTo>
                <a:cubicBezTo>
                  <a:pt x="71" y="100"/>
                  <a:pt x="71" y="99"/>
                  <a:pt x="71" y="99"/>
                </a:cubicBezTo>
                <a:cubicBezTo>
                  <a:pt x="71" y="99"/>
                  <a:pt x="71" y="98"/>
                  <a:pt x="71" y="97"/>
                </a:cubicBezTo>
                <a:cubicBezTo>
                  <a:pt x="71" y="95"/>
                  <a:pt x="70" y="92"/>
                  <a:pt x="69" y="90"/>
                </a:cubicBezTo>
                <a:cubicBezTo>
                  <a:pt x="68" y="88"/>
                  <a:pt x="68" y="87"/>
                  <a:pt x="68" y="85"/>
                </a:cubicBezTo>
                <a:cubicBezTo>
                  <a:pt x="68" y="84"/>
                  <a:pt x="68" y="84"/>
                  <a:pt x="67" y="84"/>
                </a:cubicBezTo>
                <a:cubicBezTo>
                  <a:pt x="65" y="82"/>
                  <a:pt x="63" y="80"/>
                  <a:pt x="61" y="77"/>
                </a:cubicBezTo>
                <a:cubicBezTo>
                  <a:pt x="61" y="76"/>
                  <a:pt x="62" y="75"/>
                  <a:pt x="61" y="75"/>
                </a:cubicBezTo>
                <a:cubicBezTo>
                  <a:pt x="61" y="74"/>
                  <a:pt x="60" y="76"/>
                  <a:pt x="60" y="76"/>
                </a:cubicBezTo>
                <a:cubicBezTo>
                  <a:pt x="60" y="76"/>
                  <a:pt x="59" y="75"/>
                  <a:pt x="60" y="74"/>
                </a:cubicBezTo>
                <a:cubicBezTo>
                  <a:pt x="58" y="73"/>
                  <a:pt x="56" y="73"/>
                  <a:pt x="54" y="71"/>
                </a:cubicBezTo>
                <a:cubicBezTo>
                  <a:pt x="54" y="70"/>
                  <a:pt x="53" y="69"/>
                  <a:pt x="52" y="69"/>
                </a:cubicBezTo>
                <a:cubicBezTo>
                  <a:pt x="51" y="68"/>
                  <a:pt x="50" y="68"/>
                  <a:pt x="49" y="67"/>
                </a:cubicBezTo>
                <a:cubicBezTo>
                  <a:pt x="48" y="66"/>
                  <a:pt x="49" y="65"/>
                  <a:pt x="48" y="64"/>
                </a:cubicBezTo>
                <a:cubicBezTo>
                  <a:pt x="47" y="64"/>
                  <a:pt x="46" y="63"/>
                  <a:pt x="45" y="62"/>
                </a:cubicBezTo>
                <a:cubicBezTo>
                  <a:pt x="44" y="61"/>
                  <a:pt x="42" y="59"/>
                  <a:pt x="41" y="58"/>
                </a:cubicBezTo>
                <a:cubicBezTo>
                  <a:pt x="41" y="58"/>
                  <a:pt x="42" y="58"/>
                  <a:pt x="43" y="59"/>
                </a:cubicBezTo>
                <a:cubicBezTo>
                  <a:pt x="42" y="58"/>
                  <a:pt x="42" y="57"/>
                  <a:pt x="43" y="56"/>
                </a:cubicBezTo>
                <a:cubicBezTo>
                  <a:pt x="43" y="56"/>
                  <a:pt x="37" y="51"/>
                  <a:pt x="37" y="50"/>
                </a:cubicBezTo>
                <a:cubicBezTo>
                  <a:pt x="35" y="49"/>
                  <a:pt x="34" y="47"/>
                  <a:pt x="34" y="45"/>
                </a:cubicBezTo>
                <a:cubicBezTo>
                  <a:pt x="34" y="45"/>
                  <a:pt x="34" y="45"/>
                  <a:pt x="34" y="45"/>
                </a:cubicBezTo>
                <a:cubicBezTo>
                  <a:pt x="34" y="44"/>
                  <a:pt x="35" y="43"/>
                  <a:pt x="36" y="42"/>
                </a:cubicBezTo>
                <a:cubicBezTo>
                  <a:pt x="36" y="41"/>
                  <a:pt x="35" y="40"/>
                  <a:pt x="35" y="39"/>
                </a:cubicBezTo>
                <a:cubicBezTo>
                  <a:pt x="36" y="38"/>
                  <a:pt x="37" y="37"/>
                  <a:pt x="37" y="36"/>
                </a:cubicBezTo>
                <a:cubicBezTo>
                  <a:pt x="38" y="35"/>
                  <a:pt x="38" y="34"/>
                  <a:pt x="40" y="33"/>
                </a:cubicBezTo>
                <a:cubicBezTo>
                  <a:pt x="41" y="33"/>
                  <a:pt x="42" y="31"/>
                  <a:pt x="43" y="31"/>
                </a:cubicBezTo>
                <a:cubicBezTo>
                  <a:pt x="43" y="30"/>
                  <a:pt x="44" y="29"/>
                  <a:pt x="44" y="28"/>
                </a:cubicBezTo>
                <a:cubicBezTo>
                  <a:pt x="44" y="27"/>
                  <a:pt x="45" y="27"/>
                  <a:pt x="46" y="27"/>
                </a:cubicBezTo>
                <a:cubicBezTo>
                  <a:pt x="46" y="27"/>
                  <a:pt x="45" y="26"/>
                  <a:pt x="45" y="26"/>
                </a:cubicBezTo>
                <a:cubicBezTo>
                  <a:pt x="45" y="25"/>
                  <a:pt x="45" y="25"/>
                  <a:pt x="44" y="24"/>
                </a:cubicBezTo>
                <a:cubicBezTo>
                  <a:pt x="45" y="24"/>
                  <a:pt x="46" y="25"/>
                  <a:pt x="47" y="25"/>
                </a:cubicBezTo>
                <a:cubicBezTo>
                  <a:pt x="47" y="25"/>
                  <a:pt x="47" y="25"/>
                  <a:pt x="47" y="25"/>
                </a:cubicBezTo>
                <a:cubicBezTo>
                  <a:pt x="47" y="24"/>
                  <a:pt x="48" y="24"/>
                  <a:pt x="48" y="24"/>
                </a:cubicBezTo>
                <a:cubicBezTo>
                  <a:pt x="49" y="24"/>
                  <a:pt x="49" y="24"/>
                  <a:pt x="50" y="24"/>
                </a:cubicBezTo>
                <a:cubicBezTo>
                  <a:pt x="50" y="24"/>
                  <a:pt x="51" y="24"/>
                  <a:pt x="51" y="24"/>
                </a:cubicBezTo>
                <a:cubicBezTo>
                  <a:pt x="52" y="23"/>
                  <a:pt x="51" y="23"/>
                  <a:pt x="51" y="23"/>
                </a:cubicBezTo>
                <a:cubicBezTo>
                  <a:pt x="52" y="23"/>
                  <a:pt x="52" y="22"/>
                  <a:pt x="51" y="22"/>
                </a:cubicBezTo>
                <a:cubicBezTo>
                  <a:pt x="52" y="22"/>
                  <a:pt x="52" y="21"/>
                  <a:pt x="53" y="21"/>
                </a:cubicBezTo>
                <a:cubicBezTo>
                  <a:pt x="52" y="22"/>
                  <a:pt x="52" y="22"/>
                  <a:pt x="52" y="23"/>
                </a:cubicBezTo>
                <a:cubicBezTo>
                  <a:pt x="52" y="23"/>
                  <a:pt x="53" y="22"/>
                  <a:pt x="54" y="22"/>
                </a:cubicBezTo>
                <a:cubicBezTo>
                  <a:pt x="54" y="21"/>
                  <a:pt x="53" y="21"/>
                  <a:pt x="53" y="21"/>
                </a:cubicBezTo>
                <a:cubicBezTo>
                  <a:pt x="54" y="20"/>
                  <a:pt x="55" y="20"/>
                  <a:pt x="56" y="19"/>
                </a:cubicBezTo>
                <a:cubicBezTo>
                  <a:pt x="56" y="19"/>
                  <a:pt x="56" y="19"/>
                  <a:pt x="56" y="19"/>
                </a:cubicBezTo>
                <a:cubicBezTo>
                  <a:pt x="56" y="19"/>
                  <a:pt x="56" y="19"/>
                  <a:pt x="56" y="19"/>
                </a:cubicBezTo>
                <a:cubicBezTo>
                  <a:pt x="55" y="18"/>
                  <a:pt x="54" y="18"/>
                  <a:pt x="53" y="18"/>
                </a:cubicBezTo>
                <a:cubicBezTo>
                  <a:pt x="53" y="18"/>
                  <a:pt x="53" y="18"/>
                  <a:pt x="53" y="18"/>
                </a:cubicBezTo>
                <a:cubicBezTo>
                  <a:pt x="51" y="19"/>
                  <a:pt x="50" y="18"/>
                  <a:pt x="49" y="17"/>
                </a:cubicBezTo>
                <a:cubicBezTo>
                  <a:pt x="49" y="17"/>
                  <a:pt x="49" y="17"/>
                  <a:pt x="49" y="16"/>
                </a:cubicBezTo>
                <a:cubicBezTo>
                  <a:pt x="48" y="16"/>
                  <a:pt x="48" y="16"/>
                  <a:pt x="48" y="16"/>
                </a:cubicBezTo>
                <a:cubicBezTo>
                  <a:pt x="48" y="15"/>
                  <a:pt x="47" y="15"/>
                  <a:pt x="47" y="15"/>
                </a:cubicBezTo>
                <a:cubicBezTo>
                  <a:pt x="47" y="15"/>
                  <a:pt x="47" y="15"/>
                  <a:pt x="47" y="15"/>
                </a:cubicBezTo>
                <a:cubicBezTo>
                  <a:pt x="46" y="15"/>
                  <a:pt x="46" y="15"/>
                  <a:pt x="46" y="15"/>
                </a:cubicBezTo>
                <a:cubicBezTo>
                  <a:pt x="46" y="15"/>
                  <a:pt x="45" y="15"/>
                  <a:pt x="44" y="14"/>
                </a:cubicBezTo>
                <a:cubicBezTo>
                  <a:pt x="44" y="14"/>
                  <a:pt x="44" y="14"/>
                  <a:pt x="44" y="14"/>
                </a:cubicBezTo>
                <a:cubicBezTo>
                  <a:pt x="44" y="14"/>
                  <a:pt x="44" y="14"/>
                  <a:pt x="44" y="14"/>
                </a:cubicBezTo>
                <a:cubicBezTo>
                  <a:pt x="43" y="13"/>
                  <a:pt x="43" y="13"/>
                  <a:pt x="43" y="13"/>
                </a:cubicBezTo>
                <a:cubicBezTo>
                  <a:pt x="43" y="13"/>
                  <a:pt x="43" y="13"/>
                  <a:pt x="43" y="13"/>
                </a:cubicBezTo>
                <a:cubicBezTo>
                  <a:pt x="43" y="13"/>
                  <a:pt x="43" y="13"/>
                  <a:pt x="43" y="13"/>
                </a:cubicBezTo>
                <a:cubicBezTo>
                  <a:pt x="43" y="12"/>
                  <a:pt x="43" y="12"/>
                  <a:pt x="43" y="12"/>
                </a:cubicBezTo>
                <a:cubicBezTo>
                  <a:pt x="43" y="12"/>
                  <a:pt x="43" y="12"/>
                  <a:pt x="43" y="12"/>
                </a:cubicBezTo>
                <a:cubicBezTo>
                  <a:pt x="43" y="12"/>
                  <a:pt x="43" y="12"/>
                  <a:pt x="43" y="12"/>
                </a:cubicBezTo>
                <a:cubicBezTo>
                  <a:pt x="43" y="11"/>
                  <a:pt x="43" y="11"/>
                  <a:pt x="43" y="10"/>
                </a:cubicBezTo>
                <a:cubicBezTo>
                  <a:pt x="42" y="10"/>
                  <a:pt x="42" y="10"/>
                  <a:pt x="42" y="10"/>
                </a:cubicBezTo>
                <a:cubicBezTo>
                  <a:pt x="42" y="8"/>
                  <a:pt x="42" y="8"/>
                  <a:pt x="43" y="6"/>
                </a:cubicBezTo>
                <a:cubicBezTo>
                  <a:pt x="44" y="6"/>
                  <a:pt x="44" y="6"/>
                  <a:pt x="44" y="6"/>
                </a:cubicBezTo>
                <a:cubicBezTo>
                  <a:pt x="44" y="6"/>
                  <a:pt x="44" y="5"/>
                  <a:pt x="44" y="5"/>
                </a:cubicBezTo>
                <a:cubicBezTo>
                  <a:pt x="44" y="5"/>
                  <a:pt x="44" y="5"/>
                  <a:pt x="44" y="5"/>
                </a:cubicBezTo>
                <a:cubicBezTo>
                  <a:pt x="44" y="5"/>
                  <a:pt x="44" y="5"/>
                  <a:pt x="44" y="5"/>
                </a:cubicBezTo>
                <a:cubicBezTo>
                  <a:pt x="43" y="5"/>
                  <a:pt x="42" y="5"/>
                  <a:pt x="42" y="5"/>
                </a:cubicBezTo>
                <a:cubicBezTo>
                  <a:pt x="41" y="5"/>
                  <a:pt x="41" y="5"/>
                  <a:pt x="40" y="5"/>
                </a:cubicBezTo>
                <a:cubicBezTo>
                  <a:pt x="40" y="5"/>
                  <a:pt x="40" y="5"/>
                  <a:pt x="40" y="5"/>
                </a:cubicBezTo>
                <a:cubicBezTo>
                  <a:pt x="38" y="5"/>
                  <a:pt x="36" y="5"/>
                  <a:pt x="34" y="3"/>
                </a:cubicBezTo>
                <a:cubicBezTo>
                  <a:pt x="34" y="3"/>
                  <a:pt x="34" y="3"/>
                  <a:pt x="34" y="3"/>
                </a:cubicBezTo>
                <a:cubicBezTo>
                  <a:pt x="33" y="3"/>
                  <a:pt x="32" y="2"/>
                  <a:pt x="32" y="1"/>
                </a:cubicBezTo>
                <a:cubicBezTo>
                  <a:pt x="31" y="1"/>
                  <a:pt x="31" y="1"/>
                  <a:pt x="31" y="1"/>
                </a:cubicBezTo>
                <a:cubicBezTo>
                  <a:pt x="31" y="1"/>
                  <a:pt x="31" y="0"/>
                  <a:pt x="31" y="0"/>
                </a:cubicBezTo>
                <a:cubicBezTo>
                  <a:pt x="31" y="0"/>
                  <a:pt x="31" y="0"/>
                  <a:pt x="31" y="0"/>
                </a:cubicBezTo>
                <a:cubicBezTo>
                  <a:pt x="31" y="0"/>
                  <a:pt x="31" y="0"/>
                  <a:pt x="30" y="0"/>
                </a:cubicBezTo>
                <a:cubicBezTo>
                  <a:pt x="30" y="0"/>
                  <a:pt x="30" y="0"/>
                  <a:pt x="30" y="0"/>
                </a:cubicBezTo>
                <a:cubicBezTo>
                  <a:pt x="30" y="0"/>
                  <a:pt x="29" y="1"/>
                  <a:pt x="29" y="1"/>
                </a:cubicBezTo>
                <a:cubicBezTo>
                  <a:pt x="28" y="1"/>
                  <a:pt x="28" y="1"/>
                  <a:pt x="28" y="1"/>
                </a:cubicBezTo>
                <a:cubicBezTo>
                  <a:pt x="28" y="1"/>
                  <a:pt x="28" y="1"/>
                  <a:pt x="28" y="2"/>
                </a:cubicBezTo>
                <a:cubicBezTo>
                  <a:pt x="28" y="2"/>
                  <a:pt x="27" y="3"/>
                  <a:pt x="27" y="4"/>
                </a:cubicBezTo>
                <a:cubicBezTo>
                  <a:pt x="26" y="4"/>
                  <a:pt x="26" y="4"/>
                  <a:pt x="26" y="5"/>
                </a:cubicBezTo>
                <a:cubicBezTo>
                  <a:pt x="26" y="5"/>
                  <a:pt x="26" y="5"/>
                  <a:pt x="26" y="5"/>
                </a:cubicBezTo>
                <a:cubicBezTo>
                  <a:pt x="25" y="5"/>
                  <a:pt x="25" y="6"/>
                  <a:pt x="24" y="6"/>
                </a:cubicBezTo>
                <a:cubicBezTo>
                  <a:pt x="24" y="6"/>
                  <a:pt x="24" y="6"/>
                  <a:pt x="24" y="6"/>
                </a:cubicBezTo>
                <a:cubicBezTo>
                  <a:pt x="22" y="7"/>
                  <a:pt x="22" y="7"/>
                  <a:pt x="22" y="7"/>
                </a:cubicBezTo>
                <a:cubicBezTo>
                  <a:pt x="21" y="7"/>
                  <a:pt x="20" y="7"/>
                  <a:pt x="20" y="6"/>
                </a:cubicBezTo>
                <a:cubicBezTo>
                  <a:pt x="18" y="8"/>
                  <a:pt x="18" y="8"/>
                  <a:pt x="18" y="8"/>
                </a:cubicBezTo>
                <a:cubicBezTo>
                  <a:pt x="18" y="9"/>
                  <a:pt x="17" y="9"/>
                  <a:pt x="17" y="9"/>
                </a:cubicBezTo>
                <a:cubicBezTo>
                  <a:pt x="16" y="9"/>
                  <a:pt x="15" y="8"/>
                  <a:pt x="15" y="8"/>
                </a:cubicBezTo>
                <a:cubicBezTo>
                  <a:pt x="15" y="7"/>
                  <a:pt x="15" y="7"/>
                  <a:pt x="15" y="7"/>
                </a:cubicBezTo>
                <a:cubicBezTo>
                  <a:pt x="15" y="7"/>
                  <a:pt x="14" y="7"/>
                  <a:pt x="14" y="7"/>
                </a:cubicBezTo>
                <a:cubicBezTo>
                  <a:pt x="14" y="7"/>
                  <a:pt x="14" y="7"/>
                  <a:pt x="14" y="7"/>
                </a:cubicBezTo>
                <a:cubicBezTo>
                  <a:pt x="14" y="7"/>
                  <a:pt x="14" y="7"/>
                  <a:pt x="14" y="7"/>
                </a:cubicBezTo>
                <a:cubicBezTo>
                  <a:pt x="14" y="7"/>
                  <a:pt x="13" y="7"/>
                  <a:pt x="13" y="8"/>
                </a:cubicBezTo>
                <a:cubicBezTo>
                  <a:pt x="12" y="9"/>
                  <a:pt x="12" y="9"/>
                  <a:pt x="12" y="9"/>
                </a:cubicBezTo>
                <a:cubicBezTo>
                  <a:pt x="11" y="8"/>
                  <a:pt x="11" y="8"/>
                  <a:pt x="11" y="8"/>
                </a:cubicBezTo>
                <a:cubicBezTo>
                  <a:pt x="11" y="7"/>
                  <a:pt x="11" y="7"/>
                  <a:pt x="11" y="7"/>
                </a:cubicBezTo>
                <a:cubicBezTo>
                  <a:pt x="11" y="7"/>
                  <a:pt x="11" y="7"/>
                  <a:pt x="11" y="7"/>
                </a:cubicBezTo>
                <a:cubicBezTo>
                  <a:pt x="11" y="7"/>
                  <a:pt x="11" y="6"/>
                  <a:pt x="11" y="6"/>
                </a:cubicBezTo>
                <a:cubicBezTo>
                  <a:pt x="10" y="8"/>
                  <a:pt x="10" y="8"/>
                  <a:pt x="10" y="8"/>
                </a:cubicBezTo>
                <a:cubicBezTo>
                  <a:pt x="9" y="8"/>
                  <a:pt x="9" y="8"/>
                  <a:pt x="9" y="8"/>
                </a:cubicBezTo>
                <a:cubicBezTo>
                  <a:pt x="8" y="9"/>
                  <a:pt x="8" y="9"/>
                  <a:pt x="8" y="9"/>
                </a:cubicBezTo>
                <a:cubicBezTo>
                  <a:pt x="8" y="10"/>
                  <a:pt x="8" y="10"/>
                  <a:pt x="8" y="10"/>
                </a:cubicBezTo>
                <a:cubicBezTo>
                  <a:pt x="7" y="10"/>
                  <a:pt x="6" y="9"/>
                  <a:pt x="6" y="8"/>
                </a:cubicBezTo>
                <a:cubicBezTo>
                  <a:pt x="5" y="8"/>
                  <a:pt x="5" y="8"/>
                  <a:pt x="5" y="8"/>
                </a:cubicBezTo>
                <a:cubicBezTo>
                  <a:pt x="5" y="8"/>
                  <a:pt x="5" y="8"/>
                  <a:pt x="5" y="8"/>
                </a:cubicBezTo>
                <a:cubicBezTo>
                  <a:pt x="5" y="7"/>
                  <a:pt x="4" y="7"/>
                  <a:pt x="4" y="7"/>
                </a:cubicBezTo>
                <a:cubicBezTo>
                  <a:pt x="3" y="7"/>
                  <a:pt x="3" y="7"/>
                  <a:pt x="3" y="7"/>
                </a:cubicBezTo>
                <a:cubicBezTo>
                  <a:pt x="3" y="7"/>
                  <a:pt x="2" y="6"/>
                  <a:pt x="2" y="6"/>
                </a:cubicBezTo>
                <a:cubicBezTo>
                  <a:pt x="2" y="7"/>
                  <a:pt x="2" y="7"/>
                  <a:pt x="2" y="7"/>
                </a:cubicBezTo>
                <a:cubicBezTo>
                  <a:pt x="1" y="7"/>
                  <a:pt x="1" y="8"/>
                  <a:pt x="0" y="9"/>
                </a:cubicBezTo>
                <a:cubicBezTo>
                  <a:pt x="0" y="9"/>
                  <a:pt x="0" y="9"/>
                  <a:pt x="0" y="9"/>
                </a:cubicBezTo>
                <a:cubicBezTo>
                  <a:pt x="1" y="10"/>
                  <a:pt x="2" y="11"/>
                  <a:pt x="2" y="11"/>
                </a:cubicBezTo>
                <a:cubicBezTo>
                  <a:pt x="3" y="12"/>
                  <a:pt x="3" y="12"/>
                  <a:pt x="3" y="12"/>
                </a:cubicBezTo>
                <a:cubicBezTo>
                  <a:pt x="4" y="13"/>
                  <a:pt x="4" y="14"/>
                  <a:pt x="5" y="15"/>
                </a:cubicBezTo>
                <a:cubicBezTo>
                  <a:pt x="5" y="15"/>
                  <a:pt x="5" y="15"/>
                  <a:pt x="5" y="15"/>
                </a:cubicBezTo>
                <a:cubicBezTo>
                  <a:pt x="5" y="15"/>
                  <a:pt x="5" y="15"/>
                  <a:pt x="5" y="15"/>
                </a:cubicBezTo>
                <a:cubicBezTo>
                  <a:pt x="6" y="15"/>
                  <a:pt x="6" y="15"/>
                  <a:pt x="6" y="15"/>
                </a:cubicBezTo>
                <a:cubicBezTo>
                  <a:pt x="6" y="15"/>
                  <a:pt x="7" y="15"/>
                  <a:pt x="7" y="15"/>
                </a:cubicBezTo>
                <a:cubicBezTo>
                  <a:pt x="7" y="15"/>
                  <a:pt x="7" y="15"/>
                  <a:pt x="7" y="15"/>
                </a:cubicBezTo>
                <a:cubicBezTo>
                  <a:pt x="7" y="15"/>
                  <a:pt x="8" y="16"/>
                  <a:pt x="8" y="16"/>
                </a:cubicBezTo>
                <a:cubicBezTo>
                  <a:pt x="8" y="17"/>
                  <a:pt x="8" y="18"/>
                  <a:pt x="8" y="18"/>
                </a:cubicBezTo>
                <a:cubicBezTo>
                  <a:pt x="8" y="19"/>
                  <a:pt x="8" y="19"/>
                  <a:pt x="8" y="19"/>
                </a:cubicBezTo>
                <a:cubicBezTo>
                  <a:pt x="7" y="19"/>
                  <a:pt x="7" y="19"/>
                  <a:pt x="7" y="20"/>
                </a:cubicBezTo>
                <a:cubicBezTo>
                  <a:pt x="7" y="20"/>
                  <a:pt x="7" y="20"/>
                  <a:pt x="7" y="20"/>
                </a:cubicBezTo>
                <a:cubicBezTo>
                  <a:pt x="7" y="20"/>
                  <a:pt x="7" y="20"/>
                  <a:pt x="7" y="20"/>
                </a:cubicBezTo>
                <a:cubicBezTo>
                  <a:pt x="7" y="20"/>
                  <a:pt x="7" y="20"/>
                  <a:pt x="7" y="20"/>
                </a:cubicBezTo>
                <a:cubicBezTo>
                  <a:pt x="7" y="21"/>
                  <a:pt x="7" y="21"/>
                  <a:pt x="7" y="21"/>
                </a:cubicBezTo>
                <a:cubicBezTo>
                  <a:pt x="7" y="21"/>
                  <a:pt x="7" y="21"/>
                  <a:pt x="7" y="21"/>
                </a:cubicBezTo>
                <a:cubicBezTo>
                  <a:pt x="7" y="21"/>
                  <a:pt x="8" y="21"/>
                  <a:pt x="8" y="22"/>
                </a:cubicBezTo>
                <a:cubicBezTo>
                  <a:pt x="8" y="23"/>
                  <a:pt x="9" y="24"/>
                  <a:pt x="10" y="24"/>
                </a:cubicBezTo>
                <a:cubicBezTo>
                  <a:pt x="10" y="24"/>
                  <a:pt x="10" y="24"/>
                  <a:pt x="10" y="24"/>
                </a:cubicBezTo>
                <a:cubicBezTo>
                  <a:pt x="10" y="24"/>
                  <a:pt x="10" y="24"/>
                  <a:pt x="10" y="24"/>
                </a:cubicBezTo>
                <a:cubicBezTo>
                  <a:pt x="11" y="25"/>
                  <a:pt x="11" y="25"/>
                  <a:pt x="11" y="25"/>
                </a:cubicBezTo>
                <a:cubicBezTo>
                  <a:pt x="11" y="25"/>
                  <a:pt x="12" y="25"/>
                  <a:pt x="12" y="25"/>
                </a:cubicBezTo>
                <a:cubicBezTo>
                  <a:pt x="12" y="25"/>
                  <a:pt x="12" y="25"/>
                  <a:pt x="12" y="25"/>
                </a:cubicBezTo>
                <a:cubicBezTo>
                  <a:pt x="13" y="25"/>
                  <a:pt x="13" y="25"/>
                  <a:pt x="13" y="25"/>
                </a:cubicBezTo>
                <a:cubicBezTo>
                  <a:pt x="13" y="26"/>
                  <a:pt x="13" y="26"/>
                  <a:pt x="13" y="26"/>
                </a:cubicBezTo>
                <a:cubicBezTo>
                  <a:pt x="13" y="26"/>
                  <a:pt x="13" y="26"/>
                  <a:pt x="13" y="26"/>
                </a:cubicBezTo>
                <a:cubicBezTo>
                  <a:pt x="14" y="26"/>
                  <a:pt x="14" y="26"/>
                  <a:pt x="14" y="26"/>
                </a:cubicBezTo>
                <a:cubicBezTo>
                  <a:pt x="14" y="26"/>
                  <a:pt x="14" y="26"/>
                  <a:pt x="14" y="26"/>
                </a:cubicBezTo>
                <a:cubicBezTo>
                  <a:pt x="14" y="26"/>
                  <a:pt x="14" y="26"/>
                  <a:pt x="14" y="26"/>
                </a:cubicBezTo>
                <a:cubicBezTo>
                  <a:pt x="14" y="25"/>
                  <a:pt x="14" y="25"/>
                  <a:pt x="14" y="25"/>
                </a:cubicBezTo>
                <a:cubicBezTo>
                  <a:pt x="15" y="25"/>
                  <a:pt x="16" y="24"/>
                  <a:pt x="16" y="24"/>
                </a:cubicBezTo>
                <a:cubicBezTo>
                  <a:pt x="17" y="23"/>
                  <a:pt x="17" y="23"/>
                  <a:pt x="17" y="23"/>
                </a:cubicBezTo>
                <a:cubicBezTo>
                  <a:pt x="17" y="23"/>
                  <a:pt x="17" y="23"/>
                  <a:pt x="17" y="23"/>
                </a:cubicBezTo>
                <a:cubicBezTo>
                  <a:pt x="17" y="23"/>
                  <a:pt x="17" y="23"/>
                  <a:pt x="17" y="23"/>
                </a:cubicBezTo>
                <a:cubicBezTo>
                  <a:pt x="18" y="23"/>
                  <a:pt x="19" y="23"/>
                  <a:pt x="19" y="23"/>
                </a:cubicBezTo>
                <a:cubicBezTo>
                  <a:pt x="20" y="23"/>
                  <a:pt x="20" y="23"/>
                  <a:pt x="20" y="23"/>
                </a:cubicBezTo>
                <a:cubicBezTo>
                  <a:pt x="20" y="23"/>
                  <a:pt x="21" y="24"/>
                  <a:pt x="21" y="24"/>
                </a:cubicBezTo>
                <a:cubicBezTo>
                  <a:pt x="21" y="24"/>
                  <a:pt x="21" y="24"/>
                  <a:pt x="21" y="24"/>
                </a:cubicBezTo>
                <a:cubicBezTo>
                  <a:pt x="21" y="24"/>
                  <a:pt x="21" y="24"/>
                  <a:pt x="21" y="24"/>
                </a:cubicBezTo>
                <a:cubicBezTo>
                  <a:pt x="22" y="25"/>
                  <a:pt x="22" y="25"/>
                  <a:pt x="22" y="25"/>
                </a:cubicBezTo>
                <a:cubicBezTo>
                  <a:pt x="22" y="25"/>
                  <a:pt x="22" y="25"/>
                  <a:pt x="22" y="25"/>
                </a:cubicBezTo>
                <a:cubicBezTo>
                  <a:pt x="22" y="25"/>
                  <a:pt x="22" y="25"/>
                  <a:pt x="22" y="25"/>
                </a:cubicBezTo>
                <a:cubicBezTo>
                  <a:pt x="23" y="25"/>
                  <a:pt x="23" y="25"/>
                  <a:pt x="23" y="26"/>
                </a:cubicBezTo>
                <a:cubicBezTo>
                  <a:pt x="23" y="26"/>
                  <a:pt x="24" y="26"/>
                  <a:pt x="24" y="26"/>
                </a:cubicBezTo>
                <a:cubicBezTo>
                  <a:pt x="24" y="26"/>
                  <a:pt x="24" y="26"/>
                  <a:pt x="24" y="26"/>
                </a:cubicBezTo>
                <a:cubicBezTo>
                  <a:pt x="24" y="26"/>
                  <a:pt x="24" y="26"/>
                  <a:pt x="24" y="26"/>
                </a:cubicBezTo>
                <a:cubicBezTo>
                  <a:pt x="25" y="27"/>
                  <a:pt x="25" y="27"/>
                  <a:pt x="25" y="27"/>
                </a:cubicBezTo>
                <a:cubicBezTo>
                  <a:pt x="25" y="27"/>
                  <a:pt x="25" y="27"/>
                  <a:pt x="25" y="28"/>
                </a:cubicBezTo>
                <a:cubicBezTo>
                  <a:pt x="25" y="28"/>
                  <a:pt x="25" y="28"/>
                  <a:pt x="24" y="29"/>
                </a:cubicBezTo>
                <a:cubicBezTo>
                  <a:pt x="24" y="29"/>
                  <a:pt x="24" y="29"/>
                  <a:pt x="24" y="29"/>
                </a:cubicBezTo>
                <a:cubicBezTo>
                  <a:pt x="24" y="29"/>
                  <a:pt x="24" y="29"/>
                  <a:pt x="24" y="29"/>
                </a:cubicBezTo>
                <a:cubicBezTo>
                  <a:pt x="25" y="29"/>
                  <a:pt x="25" y="30"/>
                  <a:pt x="25" y="30"/>
                </a:cubicBezTo>
                <a:cubicBezTo>
                  <a:pt x="26" y="30"/>
                  <a:pt x="26" y="30"/>
                  <a:pt x="26" y="30"/>
                </a:cubicBezTo>
                <a:cubicBezTo>
                  <a:pt x="26" y="30"/>
                  <a:pt x="26" y="30"/>
                  <a:pt x="26" y="30"/>
                </a:cubicBezTo>
                <a:cubicBezTo>
                  <a:pt x="27" y="31"/>
                  <a:pt x="28" y="32"/>
                  <a:pt x="28" y="33"/>
                </a:cubicBezTo>
                <a:cubicBezTo>
                  <a:pt x="28" y="33"/>
                  <a:pt x="28" y="33"/>
                  <a:pt x="28" y="33"/>
                </a:cubicBezTo>
                <a:cubicBezTo>
                  <a:pt x="28" y="34"/>
                  <a:pt x="28" y="35"/>
                  <a:pt x="27" y="36"/>
                </a:cubicBezTo>
                <a:cubicBezTo>
                  <a:pt x="27" y="37"/>
                  <a:pt x="26" y="37"/>
                  <a:pt x="26" y="38"/>
                </a:cubicBezTo>
                <a:cubicBezTo>
                  <a:pt x="26" y="38"/>
                  <a:pt x="25" y="38"/>
                  <a:pt x="25" y="38"/>
                </a:cubicBezTo>
                <a:cubicBezTo>
                  <a:pt x="25" y="38"/>
                  <a:pt x="25" y="38"/>
                  <a:pt x="25" y="38"/>
                </a:cubicBezTo>
                <a:cubicBezTo>
                  <a:pt x="25" y="39"/>
                  <a:pt x="25" y="39"/>
                  <a:pt x="24" y="39"/>
                </a:cubicBezTo>
                <a:cubicBezTo>
                  <a:pt x="24" y="39"/>
                  <a:pt x="24" y="39"/>
                  <a:pt x="24" y="40"/>
                </a:cubicBezTo>
                <a:cubicBezTo>
                  <a:pt x="24" y="40"/>
                  <a:pt x="24" y="40"/>
                  <a:pt x="24" y="40"/>
                </a:cubicBezTo>
                <a:cubicBezTo>
                  <a:pt x="23" y="40"/>
                  <a:pt x="23" y="40"/>
                  <a:pt x="23" y="40"/>
                </a:cubicBezTo>
                <a:cubicBezTo>
                  <a:pt x="22" y="40"/>
                  <a:pt x="22" y="40"/>
                  <a:pt x="22" y="40"/>
                </a:cubicBezTo>
                <a:cubicBezTo>
                  <a:pt x="22" y="40"/>
                  <a:pt x="22" y="40"/>
                  <a:pt x="22" y="40"/>
                </a:cubicBezTo>
                <a:cubicBezTo>
                  <a:pt x="22" y="40"/>
                  <a:pt x="22" y="40"/>
                  <a:pt x="22" y="40"/>
                </a:cubicBezTo>
                <a:cubicBezTo>
                  <a:pt x="21" y="39"/>
                  <a:pt x="21" y="39"/>
                  <a:pt x="21" y="39"/>
                </a:cubicBezTo>
                <a:cubicBezTo>
                  <a:pt x="21" y="39"/>
                  <a:pt x="21" y="39"/>
                  <a:pt x="21" y="39"/>
                </a:cubicBezTo>
                <a:cubicBezTo>
                  <a:pt x="20" y="39"/>
                  <a:pt x="19" y="39"/>
                  <a:pt x="19" y="39"/>
                </a:cubicBezTo>
                <a:cubicBezTo>
                  <a:pt x="19" y="39"/>
                  <a:pt x="19" y="39"/>
                  <a:pt x="19" y="39"/>
                </a:cubicBezTo>
                <a:cubicBezTo>
                  <a:pt x="19" y="39"/>
                  <a:pt x="19" y="40"/>
                  <a:pt x="18" y="41"/>
                </a:cubicBezTo>
                <a:cubicBezTo>
                  <a:pt x="18" y="41"/>
                  <a:pt x="18" y="41"/>
                  <a:pt x="18" y="42"/>
                </a:cubicBezTo>
                <a:cubicBezTo>
                  <a:pt x="18" y="42"/>
                  <a:pt x="18" y="42"/>
                  <a:pt x="18" y="42"/>
                </a:cubicBezTo>
                <a:cubicBezTo>
                  <a:pt x="21" y="43"/>
                  <a:pt x="24" y="45"/>
                  <a:pt x="26" y="46"/>
                </a:cubicBezTo>
                <a:cubicBezTo>
                  <a:pt x="27" y="46"/>
                  <a:pt x="27" y="46"/>
                  <a:pt x="27" y="46"/>
                </a:cubicBezTo>
                <a:cubicBezTo>
                  <a:pt x="28" y="47"/>
                  <a:pt x="29" y="47"/>
                  <a:pt x="30" y="48"/>
                </a:cubicBezTo>
                <a:cubicBezTo>
                  <a:pt x="31" y="49"/>
                  <a:pt x="31" y="49"/>
                  <a:pt x="31" y="49"/>
                </a:cubicBezTo>
                <a:cubicBezTo>
                  <a:pt x="30" y="50"/>
                  <a:pt x="30" y="50"/>
                  <a:pt x="30" y="50"/>
                </a:cubicBezTo>
                <a:cubicBezTo>
                  <a:pt x="30" y="50"/>
                  <a:pt x="30" y="50"/>
                  <a:pt x="30" y="50"/>
                </a:cubicBezTo>
                <a:cubicBezTo>
                  <a:pt x="30" y="51"/>
                  <a:pt x="30" y="51"/>
                  <a:pt x="30" y="51"/>
                </a:cubicBezTo>
                <a:cubicBezTo>
                  <a:pt x="30" y="51"/>
                  <a:pt x="30" y="51"/>
                  <a:pt x="30" y="51"/>
                </a:cubicBezTo>
                <a:cubicBezTo>
                  <a:pt x="30" y="52"/>
                  <a:pt x="32" y="53"/>
                  <a:pt x="33" y="54"/>
                </a:cubicBezTo>
                <a:cubicBezTo>
                  <a:pt x="34" y="54"/>
                  <a:pt x="34" y="54"/>
                  <a:pt x="34" y="54"/>
                </a:cubicBezTo>
                <a:cubicBezTo>
                  <a:pt x="35" y="55"/>
                  <a:pt x="35" y="56"/>
                  <a:pt x="36" y="58"/>
                </a:cubicBezTo>
                <a:cubicBezTo>
                  <a:pt x="36" y="58"/>
                  <a:pt x="36" y="58"/>
                  <a:pt x="36" y="58"/>
                </a:cubicBezTo>
                <a:cubicBezTo>
                  <a:pt x="36" y="58"/>
                  <a:pt x="36" y="58"/>
                  <a:pt x="36" y="58"/>
                </a:cubicBezTo>
                <a:cubicBezTo>
                  <a:pt x="37" y="59"/>
                  <a:pt x="37" y="59"/>
                  <a:pt x="37" y="59"/>
                </a:cubicBezTo>
                <a:cubicBezTo>
                  <a:pt x="37" y="59"/>
                  <a:pt x="38" y="60"/>
                  <a:pt x="39" y="60"/>
                </a:cubicBezTo>
                <a:cubicBezTo>
                  <a:pt x="40" y="61"/>
                  <a:pt x="40" y="61"/>
                  <a:pt x="40" y="61"/>
                </a:cubicBezTo>
                <a:cubicBezTo>
                  <a:pt x="41" y="62"/>
                  <a:pt x="41" y="62"/>
                  <a:pt x="42" y="63"/>
                </a:cubicBezTo>
                <a:cubicBezTo>
                  <a:pt x="42" y="63"/>
                  <a:pt x="42" y="63"/>
                  <a:pt x="42" y="64"/>
                </a:cubicBezTo>
                <a:cubicBezTo>
                  <a:pt x="43" y="64"/>
                  <a:pt x="43" y="64"/>
                  <a:pt x="43" y="64"/>
                </a:cubicBezTo>
                <a:cubicBezTo>
                  <a:pt x="43" y="65"/>
                  <a:pt x="43" y="65"/>
                  <a:pt x="43" y="65"/>
                </a:cubicBezTo>
                <a:cubicBezTo>
                  <a:pt x="43" y="65"/>
                  <a:pt x="43" y="65"/>
                  <a:pt x="43" y="65"/>
                </a:cubicBezTo>
                <a:cubicBezTo>
                  <a:pt x="44" y="65"/>
                  <a:pt x="45" y="66"/>
                  <a:pt x="45" y="67"/>
                </a:cubicBezTo>
                <a:cubicBezTo>
                  <a:pt x="45" y="67"/>
                  <a:pt x="45" y="67"/>
                  <a:pt x="45" y="67"/>
                </a:cubicBezTo>
                <a:cubicBezTo>
                  <a:pt x="45" y="67"/>
                  <a:pt x="45" y="68"/>
                  <a:pt x="45" y="68"/>
                </a:cubicBezTo>
                <a:cubicBezTo>
                  <a:pt x="45" y="68"/>
                  <a:pt x="45" y="68"/>
                  <a:pt x="45" y="69"/>
                </a:cubicBezTo>
                <a:cubicBezTo>
                  <a:pt x="45" y="69"/>
                  <a:pt x="45" y="69"/>
                  <a:pt x="45" y="69"/>
                </a:cubicBezTo>
                <a:cubicBezTo>
                  <a:pt x="45" y="69"/>
                  <a:pt x="45" y="69"/>
                  <a:pt x="45" y="70"/>
                </a:cubicBezTo>
                <a:cubicBezTo>
                  <a:pt x="45" y="70"/>
                  <a:pt x="45" y="70"/>
                  <a:pt x="45" y="70"/>
                </a:cubicBezTo>
                <a:cubicBezTo>
                  <a:pt x="45" y="70"/>
                  <a:pt x="45" y="70"/>
                  <a:pt x="45" y="70"/>
                </a:cubicBezTo>
                <a:cubicBezTo>
                  <a:pt x="45" y="70"/>
                  <a:pt x="45" y="70"/>
                  <a:pt x="45" y="70"/>
                </a:cubicBezTo>
                <a:cubicBezTo>
                  <a:pt x="45" y="70"/>
                  <a:pt x="45" y="70"/>
                  <a:pt x="45" y="70"/>
                </a:cubicBezTo>
                <a:cubicBezTo>
                  <a:pt x="46" y="70"/>
                  <a:pt x="46" y="70"/>
                  <a:pt x="46" y="70"/>
                </a:cubicBezTo>
                <a:cubicBezTo>
                  <a:pt x="47" y="70"/>
                  <a:pt x="47" y="70"/>
                  <a:pt x="47" y="70"/>
                </a:cubicBezTo>
                <a:cubicBezTo>
                  <a:pt x="47" y="70"/>
                  <a:pt x="47" y="70"/>
                  <a:pt x="47" y="70"/>
                </a:cubicBezTo>
                <a:cubicBezTo>
                  <a:pt x="48" y="70"/>
                  <a:pt x="48" y="70"/>
                  <a:pt x="48" y="70"/>
                </a:cubicBezTo>
                <a:cubicBezTo>
                  <a:pt x="48" y="71"/>
                  <a:pt x="48" y="71"/>
                  <a:pt x="48" y="72"/>
                </a:cubicBezTo>
                <a:cubicBezTo>
                  <a:pt x="48" y="72"/>
                  <a:pt x="48" y="72"/>
                  <a:pt x="48" y="72"/>
                </a:cubicBezTo>
                <a:cubicBezTo>
                  <a:pt x="48" y="72"/>
                  <a:pt x="48" y="72"/>
                  <a:pt x="48" y="72"/>
                </a:cubicBezTo>
                <a:cubicBezTo>
                  <a:pt x="49" y="72"/>
                  <a:pt x="49" y="72"/>
                  <a:pt x="49" y="72"/>
                </a:cubicBezTo>
                <a:cubicBezTo>
                  <a:pt x="49" y="73"/>
                  <a:pt x="49" y="73"/>
                  <a:pt x="49" y="73"/>
                </a:cubicBezTo>
                <a:cubicBezTo>
                  <a:pt x="49" y="73"/>
                  <a:pt x="50" y="73"/>
                  <a:pt x="50" y="73"/>
                </a:cubicBezTo>
                <a:cubicBezTo>
                  <a:pt x="50" y="73"/>
                  <a:pt x="50" y="73"/>
                  <a:pt x="50" y="73"/>
                </a:cubicBezTo>
                <a:cubicBezTo>
                  <a:pt x="50" y="73"/>
                  <a:pt x="50" y="73"/>
                  <a:pt x="50" y="73"/>
                </a:cubicBezTo>
                <a:cubicBezTo>
                  <a:pt x="51" y="73"/>
                  <a:pt x="51" y="73"/>
                  <a:pt x="51" y="74"/>
                </a:cubicBezTo>
                <a:cubicBezTo>
                  <a:pt x="51" y="74"/>
                  <a:pt x="51" y="74"/>
                  <a:pt x="51" y="74"/>
                </a:cubicBezTo>
                <a:cubicBezTo>
                  <a:pt x="52" y="74"/>
                  <a:pt x="53" y="75"/>
                  <a:pt x="53" y="75"/>
                </a:cubicBezTo>
                <a:cubicBezTo>
                  <a:pt x="54" y="76"/>
                  <a:pt x="54" y="77"/>
                  <a:pt x="53" y="77"/>
                </a:cubicBezTo>
                <a:cubicBezTo>
                  <a:pt x="53" y="77"/>
                  <a:pt x="53" y="78"/>
                  <a:pt x="53" y="78"/>
                </a:cubicBezTo>
                <a:cubicBezTo>
                  <a:pt x="53" y="78"/>
                  <a:pt x="52" y="78"/>
                  <a:pt x="52" y="79"/>
                </a:cubicBezTo>
                <a:cubicBezTo>
                  <a:pt x="52" y="79"/>
                  <a:pt x="52" y="79"/>
                  <a:pt x="52" y="79"/>
                </a:cubicBezTo>
                <a:cubicBezTo>
                  <a:pt x="52" y="79"/>
                  <a:pt x="51" y="79"/>
                  <a:pt x="51" y="79"/>
                </a:cubicBezTo>
                <a:cubicBezTo>
                  <a:pt x="52" y="80"/>
                  <a:pt x="53" y="80"/>
                  <a:pt x="54" y="81"/>
                </a:cubicBezTo>
                <a:cubicBezTo>
                  <a:pt x="54" y="81"/>
                  <a:pt x="54" y="81"/>
                  <a:pt x="54" y="81"/>
                </a:cubicBezTo>
                <a:cubicBezTo>
                  <a:pt x="55" y="82"/>
                  <a:pt x="55" y="83"/>
                  <a:pt x="56" y="84"/>
                </a:cubicBezTo>
                <a:cubicBezTo>
                  <a:pt x="56" y="84"/>
                  <a:pt x="56" y="84"/>
                  <a:pt x="56" y="84"/>
                </a:cubicBezTo>
                <a:cubicBezTo>
                  <a:pt x="56" y="85"/>
                  <a:pt x="56" y="86"/>
                  <a:pt x="55" y="86"/>
                </a:cubicBezTo>
                <a:cubicBezTo>
                  <a:pt x="55" y="87"/>
                  <a:pt x="55" y="87"/>
                  <a:pt x="55" y="87"/>
                </a:cubicBezTo>
                <a:cubicBezTo>
                  <a:pt x="54" y="87"/>
                  <a:pt x="54" y="87"/>
                  <a:pt x="54" y="87"/>
                </a:cubicBezTo>
                <a:cubicBezTo>
                  <a:pt x="54" y="87"/>
                  <a:pt x="54" y="88"/>
                  <a:pt x="54" y="88"/>
                </a:cubicBezTo>
                <a:cubicBezTo>
                  <a:pt x="54" y="88"/>
                  <a:pt x="54" y="88"/>
                  <a:pt x="54" y="88"/>
                </a:cubicBezTo>
                <a:cubicBezTo>
                  <a:pt x="54" y="88"/>
                  <a:pt x="54" y="88"/>
                  <a:pt x="54" y="88"/>
                </a:cubicBezTo>
                <a:cubicBezTo>
                  <a:pt x="55" y="90"/>
                  <a:pt x="55" y="90"/>
                  <a:pt x="55" y="90"/>
                </a:cubicBezTo>
                <a:cubicBezTo>
                  <a:pt x="55" y="90"/>
                  <a:pt x="55" y="90"/>
                  <a:pt x="55" y="90"/>
                </a:cubicBezTo>
                <a:cubicBezTo>
                  <a:pt x="54" y="91"/>
                  <a:pt x="54" y="91"/>
                  <a:pt x="54" y="91"/>
                </a:cubicBezTo>
                <a:cubicBezTo>
                  <a:pt x="54" y="91"/>
                  <a:pt x="54" y="91"/>
                  <a:pt x="54" y="91"/>
                </a:cubicBezTo>
                <a:cubicBezTo>
                  <a:pt x="54" y="93"/>
                  <a:pt x="54" y="94"/>
                  <a:pt x="53" y="95"/>
                </a:cubicBezTo>
                <a:cubicBezTo>
                  <a:pt x="53" y="96"/>
                  <a:pt x="53" y="96"/>
                  <a:pt x="53" y="96"/>
                </a:cubicBezTo>
                <a:cubicBezTo>
                  <a:pt x="53" y="96"/>
                  <a:pt x="53" y="97"/>
                  <a:pt x="53" y="97"/>
                </a:cubicBezTo>
                <a:cubicBezTo>
                  <a:pt x="53" y="97"/>
                  <a:pt x="53" y="97"/>
                  <a:pt x="53" y="97"/>
                </a:cubicBezTo>
                <a:cubicBezTo>
                  <a:pt x="54" y="98"/>
                  <a:pt x="54" y="98"/>
                  <a:pt x="54" y="99"/>
                </a:cubicBezTo>
                <a:cubicBezTo>
                  <a:pt x="54" y="99"/>
                  <a:pt x="54" y="100"/>
                  <a:pt x="54" y="100"/>
                </a:cubicBezTo>
                <a:cubicBezTo>
                  <a:pt x="54" y="101"/>
                  <a:pt x="54" y="101"/>
                  <a:pt x="54" y="101"/>
                </a:cubicBezTo>
                <a:cubicBezTo>
                  <a:pt x="55" y="102"/>
                  <a:pt x="56" y="103"/>
                  <a:pt x="55" y="104"/>
                </a:cubicBezTo>
                <a:cubicBezTo>
                  <a:pt x="55" y="105"/>
                  <a:pt x="55" y="105"/>
                  <a:pt x="55" y="105"/>
                </a:cubicBezTo>
                <a:cubicBezTo>
                  <a:pt x="55" y="106"/>
                  <a:pt x="55" y="107"/>
                  <a:pt x="55" y="108"/>
                </a:cubicBezTo>
                <a:cubicBezTo>
                  <a:pt x="54" y="108"/>
                  <a:pt x="54" y="108"/>
                  <a:pt x="54" y="108"/>
                </a:cubicBezTo>
                <a:cubicBezTo>
                  <a:pt x="54" y="108"/>
                  <a:pt x="55" y="110"/>
                  <a:pt x="55" y="110"/>
                </a:cubicBezTo>
                <a:cubicBezTo>
                  <a:pt x="55" y="110"/>
                  <a:pt x="55" y="110"/>
                  <a:pt x="55" y="110"/>
                </a:cubicBezTo>
                <a:cubicBezTo>
                  <a:pt x="55" y="111"/>
                  <a:pt x="55" y="112"/>
                  <a:pt x="55" y="113"/>
                </a:cubicBezTo>
                <a:cubicBezTo>
                  <a:pt x="55" y="113"/>
                  <a:pt x="55" y="113"/>
                  <a:pt x="55" y="113"/>
                </a:cubicBezTo>
                <a:cubicBezTo>
                  <a:pt x="58" y="113"/>
                  <a:pt x="58" y="113"/>
                  <a:pt x="58" y="113"/>
                </a:cubicBezTo>
                <a:cubicBezTo>
                  <a:pt x="55" y="114"/>
                  <a:pt x="55" y="114"/>
                  <a:pt x="55" y="114"/>
                </a:cubicBezTo>
                <a:cubicBezTo>
                  <a:pt x="55" y="114"/>
                  <a:pt x="55" y="114"/>
                  <a:pt x="55" y="114"/>
                </a:cubicBezTo>
                <a:cubicBezTo>
                  <a:pt x="55" y="116"/>
                  <a:pt x="54" y="117"/>
                  <a:pt x="53" y="117"/>
                </a:cubicBezTo>
                <a:cubicBezTo>
                  <a:pt x="52" y="117"/>
                  <a:pt x="51" y="117"/>
                  <a:pt x="51" y="117"/>
                </a:cubicBezTo>
                <a:cubicBezTo>
                  <a:pt x="51" y="116"/>
                  <a:pt x="50" y="116"/>
                  <a:pt x="50" y="116"/>
                </a:cubicBezTo>
                <a:cubicBezTo>
                  <a:pt x="50" y="117"/>
                  <a:pt x="50" y="117"/>
                  <a:pt x="50" y="117"/>
                </a:cubicBezTo>
                <a:cubicBezTo>
                  <a:pt x="49" y="118"/>
                  <a:pt x="49" y="118"/>
                  <a:pt x="49" y="118"/>
                </a:cubicBezTo>
                <a:cubicBezTo>
                  <a:pt x="49" y="118"/>
                  <a:pt x="48" y="118"/>
                  <a:pt x="47" y="119"/>
                </a:cubicBezTo>
                <a:cubicBezTo>
                  <a:pt x="46" y="119"/>
                  <a:pt x="46" y="119"/>
                  <a:pt x="46" y="119"/>
                </a:cubicBezTo>
                <a:cubicBezTo>
                  <a:pt x="45" y="119"/>
                  <a:pt x="44" y="119"/>
                  <a:pt x="43" y="120"/>
                </a:cubicBezTo>
                <a:cubicBezTo>
                  <a:pt x="43" y="120"/>
                  <a:pt x="43" y="120"/>
                  <a:pt x="43" y="121"/>
                </a:cubicBezTo>
                <a:cubicBezTo>
                  <a:pt x="43" y="121"/>
                  <a:pt x="43" y="121"/>
                  <a:pt x="43" y="121"/>
                </a:cubicBezTo>
                <a:cubicBezTo>
                  <a:pt x="43" y="121"/>
                  <a:pt x="44" y="121"/>
                  <a:pt x="44" y="122"/>
                </a:cubicBezTo>
                <a:cubicBezTo>
                  <a:pt x="44" y="123"/>
                  <a:pt x="44" y="123"/>
                  <a:pt x="44" y="123"/>
                </a:cubicBezTo>
                <a:cubicBezTo>
                  <a:pt x="38" y="122"/>
                  <a:pt x="38" y="122"/>
                  <a:pt x="38" y="122"/>
                </a:cubicBezTo>
                <a:cubicBezTo>
                  <a:pt x="38" y="122"/>
                  <a:pt x="37" y="122"/>
                  <a:pt x="37" y="123"/>
                </a:cubicBezTo>
                <a:cubicBezTo>
                  <a:pt x="37" y="123"/>
                  <a:pt x="37" y="123"/>
                  <a:pt x="37" y="123"/>
                </a:cubicBezTo>
                <a:cubicBezTo>
                  <a:pt x="37" y="124"/>
                  <a:pt x="37" y="125"/>
                  <a:pt x="38" y="126"/>
                </a:cubicBezTo>
                <a:cubicBezTo>
                  <a:pt x="38" y="126"/>
                  <a:pt x="39" y="126"/>
                  <a:pt x="39" y="127"/>
                </a:cubicBezTo>
                <a:cubicBezTo>
                  <a:pt x="40" y="127"/>
                  <a:pt x="40" y="128"/>
                  <a:pt x="41" y="128"/>
                </a:cubicBezTo>
                <a:cubicBezTo>
                  <a:pt x="43" y="131"/>
                  <a:pt x="43" y="131"/>
                  <a:pt x="43" y="131"/>
                </a:cubicBezTo>
                <a:cubicBezTo>
                  <a:pt x="41" y="130"/>
                  <a:pt x="41" y="130"/>
                  <a:pt x="41" y="130"/>
                </a:cubicBezTo>
                <a:cubicBezTo>
                  <a:pt x="41" y="130"/>
                  <a:pt x="41" y="130"/>
                  <a:pt x="41" y="131"/>
                </a:cubicBezTo>
                <a:cubicBezTo>
                  <a:pt x="41" y="133"/>
                  <a:pt x="41" y="133"/>
                  <a:pt x="41" y="133"/>
                </a:cubicBezTo>
                <a:cubicBezTo>
                  <a:pt x="39" y="132"/>
                  <a:pt x="39" y="132"/>
                  <a:pt x="39" y="132"/>
                </a:cubicBezTo>
                <a:cubicBezTo>
                  <a:pt x="38" y="132"/>
                  <a:pt x="37" y="131"/>
                  <a:pt x="36" y="130"/>
                </a:cubicBezTo>
                <a:cubicBezTo>
                  <a:pt x="35" y="130"/>
                  <a:pt x="35" y="130"/>
                  <a:pt x="35" y="130"/>
                </a:cubicBezTo>
                <a:cubicBezTo>
                  <a:pt x="35" y="130"/>
                  <a:pt x="35" y="130"/>
                  <a:pt x="35" y="130"/>
                </a:cubicBezTo>
                <a:cubicBezTo>
                  <a:pt x="35" y="130"/>
                  <a:pt x="35" y="130"/>
                  <a:pt x="35" y="130"/>
                </a:cubicBezTo>
                <a:cubicBezTo>
                  <a:pt x="35" y="130"/>
                  <a:pt x="35" y="130"/>
                  <a:pt x="34" y="130"/>
                </a:cubicBezTo>
                <a:cubicBezTo>
                  <a:pt x="34" y="130"/>
                  <a:pt x="33" y="130"/>
                  <a:pt x="32" y="130"/>
                </a:cubicBezTo>
                <a:cubicBezTo>
                  <a:pt x="32" y="130"/>
                  <a:pt x="32" y="130"/>
                  <a:pt x="32" y="130"/>
                </a:cubicBezTo>
                <a:cubicBezTo>
                  <a:pt x="32" y="130"/>
                  <a:pt x="31" y="131"/>
                  <a:pt x="31" y="131"/>
                </a:cubicBezTo>
                <a:cubicBezTo>
                  <a:pt x="32" y="132"/>
                  <a:pt x="34" y="134"/>
                  <a:pt x="35" y="135"/>
                </a:cubicBezTo>
                <a:cubicBezTo>
                  <a:pt x="37" y="136"/>
                  <a:pt x="39" y="136"/>
                  <a:pt x="41" y="136"/>
                </a:cubicBezTo>
                <a:cubicBezTo>
                  <a:pt x="42" y="135"/>
                  <a:pt x="43" y="136"/>
                  <a:pt x="44" y="136"/>
                </a:cubicBezTo>
                <a:cubicBezTo>
                  <a:pt x="47" y="136"/>
                  <a:pt x="46" y="135"/>
                  <a:pt x="44" y="135"/>
                </a:cubicBezTo>
                <a:cubicBezTo>
                  <a:pt x="44" y="134"/>
                  <a:pt x="44" y="134"/>
                  <a:pt x="45" y="134"/>
                </a:cubicBezTo>
                <a:cubicBezTo>
                  <a:pt x="45" y="134"/>
                  <a:pt x="44" y="134"/>
                  <a:pt x="44" y="134"/>
                </a:cubicBezTo>
                <a:cubicBezTo>
                  <a:pt x="44" y="133"/>
                  <a:pt x="44" y="133"/>
                  <a:pt x="44" y="133"/>
                </a:cubicBezTo>
                <a:cubicBezTo>
                  <a:pt x="44" y="132"/>
                  <a:pt x="44" y="132"/>
                  <a:pt x="44" y="132"/>
                </a:cubicBezTo>
                <a:cubicBezTo>
                  <a:pt x="45" y="131"/>
                  <a:pt x="45" y="131"/>
                  <a:pt x="45" y="131"/>
                </a:cubicBezTo>
                <a:cubicBezTo>
                  <a:pt x="46" y="132"/>
                  <a:pt x="46" y="132"/>
                  <a:pt x="46" y="132"/>
                </a:cubicBezTo>
                <a:cubicBezTo>
                  <a:pt x="47" y="131"/>
                  <a:pt x="47" y="131"/>
                  <a:pt x="47" y="131"/>
                </a:cubicBezTo>
                <a:cubicBezTo>
                  <a:pt x="47" y="132"/>
                  <a:pt x="47" y="132"/>
                  <a:pt x="47" y="133"/>
                </a:cubicBezTo>
                <a:cubicBezTo>
                  <a:pt x="47" y="133"/>
                  <a:pt x="48" y="134"/>
                  <a:pt x="48" y="134"/>
                </a:cubicBezTo>
                <a:cubicBezTo>
                  <a:pt x="48" y="133"/>
                  <a:pt x="48" y="133"/>
                  <a:pt x="48" y="132"/>
                </a:cubicBezTo>
                <a:cubicBezTo>
                  <a:pt x="48" y="134"/>
                  <a:pt x="48" y="134"/>
                  <a:pt x="49" y="135"/>
                </a:cubicBezTo>
                <a:cubicBezTo>
                  <a:pt x="49" y="135"/>
                  <a:pt x="48" y="135"/>
                  <a:pt x="49" y="135"/>
                </a:cubicBezTo>
                <a:cubicBezTo>
                  <a:pt x="49" y="136"/>
                  <a:pt x="52" y="134"/>
                  <a:pt x="52" y="134"/>
                </a:cubicBezTo>
                <a:cubicBezTo>
                  <a:pt x="55" y="132"/>
                  <a:pt x="58" y="131"/>
                  <a:pt x="60" y="129"/>
                </a:cubicBezTo>
                <a:cubicBezTo>
                  <a:pt x="63" y="128"/>
                  <a:pt x="67" y="127"/>
                  <a:pt x="68" y="124"/>
                </a:cubicBezTo>
                <a:cubicBezTo>
                  <a:pt x="68" y="123"/>
                  <a:pt x="71" y="121"/>
                  <a:pt x="70" y="120"/>
                </a:cubicBezTo>
                <a:cubicBezTo>
                  <a:pt x="69" y="120"/>
                  <a:pt x="70" y="118"/>
                  <a:pt x="70" y="117"/>
                </a:cubicBezTo>
                <a:cubicBezTo>
                  <a:pt x="70" y="118"/>
                  <a:pt x="70" y="119"/>
                  <a:pt x="71" y="119"/>
                </a:cubicBezTo>
                <a:cubicBezTo>
                  <a:pt x="71" y="119"/>
                  <a:pt x="71" y="119"/>
                  <a:pt x="71" y="118"/>
                </a:cubicBezTo>
                <a:cubicBezTo>
                  <a:pt x="71" y="117"/>
                  <a:pt x="71" y="116"/>
                  <a:pt x="71" y="115"/>
                </a:cubicBezTo>
                <a:cubicBezTo>
                  <a:pt x="71" y="115"/>
                  <a:pt x="70" y="114"/>
                  <a:pt x="70" y="114"/>
                </a:cubicBezTo>
                <a:cubicBezTo>
                  <a:pt x="70" y="113"/>
                  <a:pt x="71" y="114"/>
                  <a:pt x="72" y="114"/>
                </a:cubicBezTo>
                <a:cubicBezTo>
                  <a:pt x="72" y="114"/>
                  <a:pt x="71" y="114"/>
                  <a:pt x="71" y="114"/>
                </a:cubicBezTo>
                <a:cubicBezTo>
                  <a:pt x="71" y="112"/>
                  <a:pt x="70" y="111"/>
                  <a:pt x="72" y="110"/>
                </a:cubicBezTo>
                <a:cubicBezTo>
                  <a:pt x="72" y="111"/>
                  <a:pt x="72" y="112"/>
                  <a:pt x="73" y="112"/>
                </a:cubicBezTo>
                <a:cubicBezTo>
                  <a:pt x="73" y="111"/>
                  <a:pt x="73" y="112"/>
                  <a:pt x="72" y="111"/>
                </a:cubicBezTo>
                <a:cubicBezTo>
                  <a:pt x="72" y="111"/>
                  <a:pt x="72" y="111"/>
                  <a:pt x="72" y="110"/>
                </a:cubicBezTo>
                <a:cubicBezTo>
                  <a:pt x="72" y="110"/>
                  <a:pt x="72" y="110"/>
                  <a:pt x="72" y="109"/>
                </a:cubicBezTo>
                <a:cubicBezTo>
                  <a:pt x="72" y="109"/>
                  <a:pt x="73" y="109"/>
                  <a:pt x="73" y="109"/>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11" name="Freeform 3168">
            <a:extLst>
              <a:ext uri="{FF2B5EF4-FFF2-40B4-BE49-F238E27FC236}">
                <a16:creationId xmlns:a16="http://schemas.microsoft.com/office/drawing/2014/main" id="{B7C838C7-BEF5-4C71-A949-9AFBC6B13F5D}"/>
              </a:ext>
            </a:extLst>
          </p:cNvPr>
          <p:cNvSpPr>
            <a:spLocks/>
          </p:cNvSpPr>
          <p:nvPr/>
        </p:nvSpPr>
        <p:spPr bwMode="auto">
          <a:xfrm>
            <a:off x="4590789" y="3604250"/>
            <a:ext cx="19822" cy="30867"/>
          </a:xfrm>
          <a:custGeom>
            <a:avLst/>
            <a:gdLst>
              <a:gd name="T0" fmla="*/ 15 w 17"/>
              <a:gd name="T1" fmla="*/ 9 h 22"/>
              <a:gd name="T2" fmla="*/ 14 w 17"/>
              <a:gd name="T3" fmla="*/ 7 h 22"/>
              <a:gd name="T4" fmla="*/ 12 w 17"/>
              <a:gd name="T5" fmla="*/ 6 h 22"/>
              <a:gd name="T6" fmla="*/ 9 w 17"/>
              <a:gd name="T7" fmla="*/ 4 h 22"/>
              <a:gd name="T8" fmla="*/ 8 w 17"/>
              <a:gd name="T9" fmla="*/ 2 h 22"/>
              <a:gd name="T10" fmla="*/ 9 w 17"/>
              <a:gd name="T11" fmla="*/ 2 h 22"/>
              <a:gd name="T12" fmla="*/ 8 w 17"/>
              <a:gd name="T13" fmla="*/ 0 h 22"/>
              <a:gd name="T14" fmla="*/ 7 w 17"/>
              <a:gd name="T15" fmla="*/ 0 h 22"/>
              <a:gd name="T16" fmla="*/ 7 w 17"/>
              <a:gd name="T17" fmla="*/ 0 h 22"/>
              <a:gd name="T18" fmla="*/ 3 w 17"/>
              <a:gd name="T19" fmla="*/ 4 h 22"/>
              <a:gd name="T20" fmla="*/ 0 w 17"/>
              <a:gd name="T21" fmla="*/ 5 h 22"/>
              <a:gd name="T22" fmla="*/ 2 w 17"/>
              <a:gd name="T23" fmla="*/ 6 h 22"/>
              <a:gd name="T24" fmla="*/ 7 w 17"/>
              <a:gd name="T25" fmla="*/ 9 h 22"/>
              <a:gd name="T26" fmla="*/ 4 w 17"/>
              <a:gd name="T27" fmla="*/ 10 h 22"/>
              <a:gd name="T28" fmla="*/ 4 w 17"/>
              <a:gd name="T29" fmla="*/ 16 h 22"/>
              <a:gd name="T30" fmla="*/ 5 w 17"/>
              <a:gd name="T31" fmla="*/ 21 h 22"/>
              <a:gd name="T32" fmla="*/ 3 w 17"/>
              <a:gd name="T33" fmla="*/ 22 h 22"/>
              <a:gd name="T34" fmla="*/ 8 w 17"/>
              <a:gd name="T35" fmla="*/ 21 h 22"/>
              <a:gd name="T36" fmla="*/ 9 w 17"/>
              <a:gd name="T37" fmla="*/ 19 h 22"/>
              <a:gd name="T38" fmla="*/ 15 w 17"/>
              <a:gd name="T39" fmla="*/ 15 h 22"/>
              <a:gd name="T40" fmla="*/ 17 w 17"/>
              <a:gd name="T41" fmla="*/ 13 h 22"/>
              <a:gd name="T42" fmla="*/ 15 w 17"/>
              <a:gd name="T43"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22">
                <a:moveTo>
                  <a:pt x="15" y="9"/>
                </a:moveTo>
                <a:cubicBezTo>
                  <a:pt x="14" y="8"/>
                  <a:pt x="14" y="8"/>
                  <a:pt x="14" y="7"/>
                </a:cubicBezTo>
                <a:cubicBezTo>
                  <a:pt x="13" y="7"/>
                  <a:pt x="13" y="6"/>
                  <a:pt x="12" y="6"/>
                </a:cubicBezTo>
                <a:cubicBezTo>
                  <a:pt x="11" y="5"/>
                  <a:pt x="10" y="4"/>
                  <a:pt x="9" y="4"/>
                </a:cubicBezTo>
                <a:cubicBezTo>
                  <a:pt x="9" y="3"/>
                  <a:pt x="8" y="3"/>
                  <a:pt x="8" y="2"/>
                </a:cubicBezTo>
                <a:cubicBezTo>
                  <a:pt x="8" y="2"/>
                  <a:pt x="8" y="2"/>
                  <a:pt x="9" y="2"/>
                </a:cubicBezTo>
                <a:cubicBezTo>
                  <a:pt x="9" y="2"/>
                  <a:pt x="9" y="1"/>
                  <a:pt x="8" y="0"/>
                </a:cubicBezTo>
                <a:cubicBezTo>
                  <a:pt x="8" y="0"/>
                  <a:pt x="7" y="0"/>
                  <a:pt x="7" y="0"/>
                </a:cubicBezTo>
                <a:cubicBezTo>
                  <a:pt x="7" y="0"/>
                  <a:pt x="7" y="0"/>
                  <a:pt x="7" y="0"/>
                </a:cubicBezTo>
                <a:cubicBezTo>
                  <a:pt x="7" y="2"/>
                  <a:pt x="5" y="3"/>
                  <a:pt x="3" y="4"/>
                </a:cubicBezTo>
                <a:cubicBezTo>
                  <a:pt x="2" y="4"/>
                  <a:pt x="1" y="4"/>
                  <a:pt x="0" y="5"/>
                </a:cubicBezTo>
                <a:cubicBezTo>
                  <a:pt x="1" y="5"/>
                  <a:pt x="1" y="6"/>
                  <a:pt x="2" y="6"/>
                </a:cubicBezTo>
                <a:cubicBezTo>
                  <a:pt x="3" y="7"/>
                  <a:pt x="7" y="7"/>
                  <a:pt x="7" y="9"/>
                </a:cubicBezTo>
                <a:cubicBezTo>
                  <a:pt x="6" y="8"/>
                  <a:pt x="5" y="9"/>
                  <a:pt x="4" y="10"/>
                </a:cubicBezTo>
                <a:cubicBezTo>
                  <a:pt x="3" y="12"/>
                  <a:pt x="4" y="15"/>
                  <a:pt x="4" y="16"/>
                </a:cubicBezTo>
                <a:cubicBezTo>
                  <a:pt x="3" y="17"/>
                  <a:pt x="3" y="22"/>
                  <a:pt x="5" y="21"/>
                </a:cubicBezTo>
                <a:cubicBezTo>
                  <a:pt x="4" y="22"/>
                  <a:pt x="4" y="22"/>
                  <a:pt x="3" y="22"/>
                </a:cubicBezTo>
                <a:cubicBezTo>
                  <a:pt x="5" y="22"/>
                  <a:pt x="6" y="22"/>
                  <a:pt x="8" y="21"/>
                </a:cubicBezTo>
                <a:cubicBezTo>
                  <a:pt x="9" y="20"/>
                  <a:pt x="9" y="20"/>
                  <a:pt x="9" y="19"/>
                </a:cubicBezTo>
                <a:cubicBezTo>
                  <a:pt x="10" y="17"/>
                  <a:pt x="13" y="16"/>
                  <a:pt x="15" y="15"/>
                </a:cubicBezTo>
                <a:cubicBezTo>
                  <a:pt x="17" y="14"/>
                  <a:pt x="17" y="14"/>
                  <a:pt x="17" y="13"/>
                </a:cubicBezTo>
                <a:cubicBezTo>
                  <a:pt x="16" y="12"/>
                  <a:pt x="15" y="10"/>
                  <a:pt x="15" y="9"/>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12" name="Freeform 3169">
            <a:extLst>
              <a:ext uri="{FF2B5EF4-FFF2-40B4-BE49-F238E27FC236}">
                <a16:creationId xmlns:a16="http://schemas.microsoft.com/office/drawing/2014/main" id="{45E231B9-021B-486B-9C8F-5EFDACF61003}"/>
              </a:ext>
            </a:extLst>
          </p:cNvPr>
          <p:cNvSpPr>
            <a:spLocks/>
          </p:cNvSpPr>
          <p:nvPr/>
        </p:nvSpPr>
        <p:spPr bwMode="auto">
          <a:xfrm>
            <a:off x="4571957" y="3590004"/>
            <a:ext cx="0" cy="1781"/>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0"/>
                </a:cubicBezTo>
                <a:cubicBezTo>
                  <a:pt x="0" y="0"/>
                  <a:pt x="0" y="1"/>
                  <a:pt x="0" y="1"/>
                </a:cubicBezTo>
                <a:cubicBezTo>
                  <a:pt x="0" y="1"/>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13" name="Freeform 3170">
            <a:extLst>
              <a:ext uri="{FF2B5EF4-FFF2-40B4-BE49-F238E27FC236}">
                <a16:creationId xmlns:a16="http://schemas.microsoft.com/office/drawing/2014/main" id="{586826FE-4CA9-457D-8728-F6349303D1F5}"/>
              </a:ext>
            </a:extLst>
          </p:cNvPr>
          <p:cNvSpPr>
            <a:spLocks/>
          </p:cNvSpPr>
          <p:nvPr/>
        </p:nvSpPr>
        <p:spPr bwMode="auto">
          <a:xfrm>
            <a:off x="4566011" y="3550827"/>
            <a:ext cx="60954" cy="57579"/>
          </a:xfrm>
          <a:custGeom>
            <a:avLst/>
            <a:gdLst>
              <a:gd name="T0" fmla="*/ 20 w 52"/>
              <a:gd name="T1" fmla="*/ 40 h 41"/>
              <a:gd name="T2" fmla="*/ 25 w 52"/>
              <a:gd name="T3" fmla="*/ 38 h 41"/>
              <a:gd name="T4" fmla="*/ 27 w 52"/>
              <a:gd name="T5" fmla="*/ 35 h 41"/>
              <a:gd name="T6" fmla="*/ 31 w 52"/>
              <a:gd name="T7" fmla="*/ 35 h 41"/>
              <a:gd name="T8" fmla="*/ 34 w 52"/>
              <a:gd name="T9" fmla="*/ 34 h 41"/>
              <a:gd name="T10" fmla="*/ 35 w 52"/>
              <a:gd name="T11" fmla="*/ 34 h 41"/>
              <a:gd name="T12" fmla="*/ 34 w 52"/>
              <a:gd name="T13" fmla="*/ 30 h 41"/>
              <a:gd name="T14" fmla="*/ 36 w 52"/>
              <a:gd name="T15" fmla="*/ 27 h 41"/>
              <a:gd name="T16" fmla="*/ 40 w 52"/>
              <a:gd name="T17" fmla="*/ 27 h 41"/>
              <a:gd name="T18" fmla="*/ 45 w 52"/>
              <a:gd name="T19" fmla="*/ 23 h 41"/>
              <a:gd name="T20" fmla="*/ 46 w 52"/>
              <a:gd name="T21" fmla="*/ 23 h 41"/>
              <a:gd name="T22" fmla="*/ 48 w 52"/>
              <a:gd name="T23" fmla="*/ 21 h 41"/>
              <a:gd name="T24" fmla="*/ 51 w 52"/>
              <a:gd name="T25" fmla="*/ 21 h 41"/>
              <a:gd name="T26" fmla="*/ 51 w 52"/>
              <a:gd name="T27" fmla="*/ 21 h 41"/>
              <a:gd name="T28" fmla="*/ 51 w 52"/>
              <a:gd name="T29" fmla="*/ 20 h 41"/>
              <a:gd name="T30" fmla="*/ 51 w 52"/>
              <a:gd name="T31" fmla="*/ 20 h 41"/>
              <a:gd name="T32" fmla="*/ 51 w 52"/>
              <a:gd name="T33" fmla="*/ 15 h 41"/>
              <a:gd name="T34" fmla="*/ 52 w 52"/>
              <a:gd name="T35" fmla="*/ 11 h 41"/>
              <a:gd name="T36" fmla="*/ 51 w 52"/>
              <a:gd name="T37" fmla="*/ 9 h 41"/>
              <a:gd name="T38" fmla="*/ 50 w 52"/>
              <a:gd name="T39" fmla="*/ 6 h 41"/>
              <a:gd name="T40" fmla="*/ 50 w 52"/>
              <a:gd name="T41" fmla="*/ 6 h 41"/>
              <a:gd name="T42" fmla="*/ 50 w 52"/>
              <a:gd name="T43" fmla="*/ 1 h 41"/>
              <a:gd name="T44" fmla="*/ 49 w 52"/>
              <a:gd name="T45" fmla="*/ 1 h 41"/>
              <a:gd name="T46" fmla="*/ 48 w 52"/>
              <a:gd name="T47" fmla="*/ 2 h 41"/>
              <a:gd name="T48" fmla="*/ 42 w 52"/>
              <a:gd name="T49" fmla="*/ 1 h 41"/>
              <a:gd name="T50" fmla="*/ 42 w 52"/>
              <a:gd name="T51" fmla="*/ 0 h 41"/>
              <a:gd name="T52" fmla="*/ 40 w 52"/>
              <a:gd name="T53" fmla="*/ 1 h 41"/>
              <a:gd name="T54" fmla="*/ 39 w 52"/>
              <a:gd name="T55" fmla="*/ 2 h 41"/>
              <a:gd name="T56" fmla="*/ 39 w 52"/>
              <a:gd name="T57" fmla="*/ 5 h 41"/>
              <a:gd name="T58" fmla="*/ 37 w 52"/>
              <a:gd name="T59" fmla="*/ 8 h 41"/>
              <a:gd name="T60" fmla="*/ 36 w 52"/>
              <a:gd name="T61" fmla="*/ 6 h 41"/>
              <a:gd name="T62" fmla="*/ 35 w 52"/>
              <a:gd name="T63" fmla="*/ 6 h 41"/>
              <a:gd name="T64" fmla="*/ 35 w 52"/>
              <a:gd name="T65" fmla="*/ 6 h 41"/>
              <a:gd name="T66" fmla="*/ 34 w 52"/>
              <a:gd name="T67" fmla="*/ 5 h 41"/>
              <a:gd name="T68" fmla="*/ 33 w 52"/>
              <a:gd name="T69" fmla="*/ 5 h 41"/>
              <a:gd name="T70" fmla="*/ 32 w 52"/>
              <a:gd name="T71" fmla="*/ 5 h 41"/>
              <a:gd name="T72" fmla="*/ 31 w 52"/>
              <a:gd name="T73" fmla="*/ 5 h 41"/>
              <a:gd name="T74" fmla="*/ 31 w 52"/>
              <a:gd name="T75" fmla="*/ 5 h 41"/>
              <a:gd name="T76" fmla="*/ 29 w 52"/>
              <a:gd name="T77" fmla="*/ 3 h 41"/>
              <a:gd name="T78" fmla="*/ 26 w 52"/>
              <a:gd name="T79" fmla="*/ 3 h 41"/>
              <a:gd name="T80" fmla="*/ 25 w 52"/>
              <a:gd name="T81" fmla="*/ 2 h 41"/>
              <a:gd name="T82" fmla="*/ 25 w 52"/>
              <a:gd name="T83" fmla="*/ 1 h 41"/>
              <a:gd name="T84" fmla="*/ 22 w 52"/>
              <a:gd name="T85" fmla="*/ 2 h 41"/>
              <a:gd name="T86" fmla="*/ 16 w 52"/>
              <a:gd name="T87" fmla="*/ 2 h 41"/>
              <a:gd name="T88" fmla="*/ 11 w 52"/>
              <a:gd name="T89" fmla="*/ 2 h 41"/>
              <a:gd name="T90" fmla="*/ 7 w 52"/>
              <a:gd name="T91" fmla="*/ 3 h 41"/>
              <a:gd name="T92" fmla="*/ 5 w 52"/>
              <a:gd name="T93" fmla="*/ 5 h 41"/>
              <a:gd name="T94" fmla="*/ 1 w 52"/>
              <a:gd name="T95" fmla="*/ 10 h 41"/>
              <a:gd name="T96" fmla="*/ 1 w 52"/>
              <a:gd name="T97" fmla="*/ 13 h 41"/>
              <a:gd name="T98" fmla="*/ 2 w 52"/>
              <a:gd name="T99" fmla="*/ 16 h 41"/>
              <a:gd name="T100" fmla="*/ 2 w 52"/>
              <a:gd name="T101" fmla="*/ 18 h 41"/>
              <a:gd name="T102" fmla="*/ 3 w 52"/>
              <a:gd name="T103" fmla="*/ 19 h 41"/>
              <a:gd name="T104" fmla="*/ 5 w 52"/>
              <a:gd name="T105" fmla="*/ 20 h 41"/>
              <a:gd name="T106" fmla="*/ 5 w 52"/>
              <a:gd name="T107" fmla="*/ 21 h 41"/>
              <a:gd name="T108" fmla="*/ 5 w 52"/>
              <a:gd name="T109" fmla="*/ 22 h 41"/>
              <a:gd name="T110" fmla="*/ 6 w 52"/>
              <a:gd name="T111" fmla="*/ 28 h 41"/>
              <a:gd name="T112" fmla="*/ 6 w 52"/>
              <a:gd name="T113" fmla="*/ 30 h 41"/>
              <a:gd name="T114" fmla="*/ 8 w 52"/>
              <a:gd name="T115" fmla="*/ 37 h 41"/>
              <a:gd name="T116" fmla="*/ 12 w 52"/>
              <a:gd name="T117" fmla="*/ 34 h 41"/>
              <a:gd name="T118" fmla="*/ 12 w 52"/>
              <a:gd name="T119" fmla="*/ 39 h 41"/>
              <a:gd name="T120" fmla="*/ 20 w 52"/>
              <a:gd name="T121"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 h="41">
                <a:moveTo>
                  <a:pt x="20" y="41"/>
                </a:moveTo>
                <a:cubicBezTo>
                  <a:pt x="20" y="40"/>
                  <a:pt x="20" y="40"/>
                  <a:pt x="20" y="40"/>
                </a:cubicBezTo>
                <a:cubicBezTo>
                  <a:pt x="21" y="40"/>
                  <a:pt x="22" y="39"/>
                  <a:pt x="23" y="39"/>
                </a:cubicBezTo>
                <a:cubicBezTo>
                  <a:pt x="24" y="39"/>
                  <a:pt x="25" y="38"/>
                  <a:pt x="25" y="38"/>
                </a:cubicBezTo>
                <a:cubicBezTo>
                  <a:pt x="25" y="37"/>
                  <a:pt x="25" y="36"/>
                  <a:pt x="26" y="35"/>
                </a:cubicBezTo>
                <a:cubicBezTo>
                  <a:pt x="26" y="35"/>
                  <a:pt x="27" y="35"/>
                  <a:pt x="27" y="35"/>
                </a:cubicBezTo>
                <a:cubicBezTo>
                  <a:pt x="27" y="35"/>
                  <a:pt x="28" y="35"/>
                  <a:pt x="28" y="35"/>
                </a:cubicBezTo>
                <a:cubicBezTo>
                  <a:pt x="29" y="35"/>
                  <a:pt x="30" y="35"/>
                  <a:pt x="31" y="35"/>
                </a:cubicBezTo>
                <a:cubicBezTo>
                  <a:pt x="31" y="35"/>
                  <a:pt x="31" y="35"/>
                  <a:pt x="31" y="35"/>
                </a:cubicBezTo>
                <a:cubicBezTo>
                  <a:pt x="32" y="35"/>
                  <a:pt x="34" y="34"/>
                  <a:pt x="34" y="34"/>
                </a:cubicBezTo>
                <a:cubicBezTo>
                  <a:pt x="34" y="34"/>
                  <a:pt x="35" y="34"/>
                  <a:pt x="36" y="35"/>
                </a:cubicBezTo>
                <a:cubicBezTo>
                  <a:pt x="35" y="35"/>
                  <a:pt x="35" y="34"/>
                  <a:pt x="35" y="34"/>
                </a:cubicBezTo>
                <a:cubicBezTo>
                  <a:pt x="34" y="33"/>
                  <a:pt x="34" y="32"/>
                  <a:pt x="34" y="31"/>
                </a:cubicBezTo>
                <a:cubicBezTo>
                  <a:pt x="34" y="30"/>
                  <a:pt x="34" y="30"/>
                  <a:pt x="34" y="30"/>
                </a:cubicBezTo>
                <a:cubicBezTo>
                  <a:pt x="34" y="30"/>
                  <a:pt x="34" y="30"/>
                  <a:pt x="34" y="30"/>
                </a:cubicBezTo>
                <a:cubicBezTo>
                  <a:pt x="33" y="28"/>
                  <a:pt x="35" y="27"/>
                  <a:pt x="36" y="27"/>
                </a:cubicBezTo>
                <a:cubicBezTo>
                  <a:pt x="36" y="26"/>
                  <a:pt x="37" y="26"/>
                  <a:pt x="37" y="26"/>
                </a:cubicBezTo>
                <a:cubicBezTo>
                  <a:pt x="40" y="27"/>
                  <a:pt x="40" y="27"/>
                  <a:pt x="40" y="27"/>
                </a:cubicBezTo>
                <a:cubicBezTo>
                  <a:pt x="40" y="26"/>
                  <a:pt x="40" y="25"/>
                  <a:pt x="41" y="24"/>
                </a:cubicBezTo>
                <a:cubicBezTo>
                  <a:pt x="42" y="24"/>
                  <a:pt x="43" y="24"/>
                  <a:pt x="45" y="23"/>
                </a:cubicBezTo>
                <a:cubicBezTo>
                  <a:pt x="45" y="23"/>
                  <a:pt x="45" y="23"/>
                  <a:pt x="45" y="23"/>
                </a:cubicBezTo>
                <a:cubicBezTo>
                  <a:pt x="46" y="23"/>
                  <a:pt x="46" y="23"/>
                  <a:pt x="46" y="23"/>
                </a:cubicBezTo>
                <a:cubicBezTo>
                  <a:pt x="47" y="23"/>
                  <a:pt x="47" y="23"/>
                  <a:pt x="47" y="23"/>
                </a:cubicBezTo>
                <a:cubicBezTo>
                  <a:pt x="47" y="22"/>
                  <a:pt x="47" y="22"/>
                  <a:pt x="48" y="21"/>
                </a:cubicBezTo>
                <a:cubicBezTo>
                  <a:pt x="48" y="21"/>
                  <a:pt x="48" y="21"/>
                  <a:pt x="48" y="21"/>
                </a:cubicBezTo>
                <a:cubicBezTo>
                  <a:pt x="50" y="21"/>
                  <a:pt x="50" y="21"/>
                  <a:pt x="51" y="21"/>
                </a:cubicBezTo>
                <a:cubicBezTo>
                  <a:pt x="51" y="21"/>
                  <a:pt x="51" y="21"/>
                  <a:pt x="51" y="21"/>
                </a:cubicBezTo>
                <a:cubicBezTo>
                  <a:pt x="51" y="21"/>
                  <a:pt x="51" y="21"/>
                  <a:pt x="51" y="21"/>
                </a:cubicBezTo>
                <a:cubicBezTo>
                  <a:pt x="51" y="21"/>
                  <a:pt x="51" y="21"/>
                  <a:pt x="51" y="21"/>
                </a:cubicBezTo>
                <a:cubicBezTo>
                  <a:pt x="51" y="20"/>
                  <a:pt x="51" y="20"/>
                  <a:pt x="51" y="20"/>
                </a:cubicBezTo>
                <a:cubicBezTo>
                  <a:pt x="51" y="20"/>
                  <a:pt x="51" y="20"/>
                  <a:pt x="51" y="20"/>
                </a:cubicBezTo>
                <a:cubicBezTo>
                  <a:pt x="51" y="20"/>
                  <a:pt x="51" y="20"/>
                  <a:pt x="51" y="20"/>
                </a:cubicBezTo>
                <a:cubicBezTo>
                  <a:pt x="51" y="19"/>
                  <a:pt x="51" y="18"/>
                  <a:pt x="51" y="17"/>
                </a:cubicBezTo>
                <a:cubicBezTo>
                  <a:pt x="51" y="16"/>
                  <a:pt x="51" y="15"/>
                  <a:pt x="51" y="15"/>
                </a:cubicBezTo>
                <a:cubicBezTo>
                  <a:pt x="51" y="14"/>
                  <a:pt x="51" y="14"/>
                  <a:pt x="51" y="14"/>
                </a:cubicBezTo>
                <a:cubicBezTo>
                  <a:pt x="51" y="13"/>
                  <a:pt x="52" y="12"/>
                  <a:pt x="52" y="11"/>
                </a:cubicBezTo>
                <a:cubicBezTo>
                  <a:pt x="52" y="10"/>
                  <a:pt x="52" y="10"/>
                  <a:pt x="52" y="10"/>
                </a:cubicBezTo>
                <a:cubicBezTo>
                  <a:pt x="52" y="10"/>
                  <a:pt x="51" y="9"/>
                  <a:pt x="51" y="9"/>
                </a:cubicBezTo>
                <a:cubicBezTo>
                  <a:pt x="51" y="9"/>
                  <a:pt x="51" y="8"/>
                  <a:pt x="51" y="8"/>
                </a:cubicBezTo>
                <a:cubicBezTo>
                  <a:pt x="51" y="7"/>
                  <a:pt x="50" y="7"/>
                  <a:pt x="50" y="6"/>
                </a:cubicBezTo>
                <a:cubicBezTo>
                  <a:pt x="50" y="6"/>
                  <a:pt x="50" y="6"/>
                  <a:pt x="50" y="6"/>
                </a:cubicBezTo>
                <a:cubicBezTo>
                  <a:pt x="50" y="6"/>
                  <a:pt x="50" y="6"/>
                  <a:pt x="50" y="6"/>
                </a:cubicBezTo>
                <a:cubicBezTo>
                  <a:pt x="49" y="4"/>
                  <a:pt x="49" y="4"/>
                  <a:pt x="49" y="3"/>
                </a:cubicBezTo>
                <a:cubicBezTo>
                  <a:pt x="50" y="1"/>
                  <a:pt x="50" y="1"/>
                  <a:pt x="50" y="1"/>
                </a:cubicBezTo>
                <a:cubicBezTo>
                  <a:pt x="50" y="1"/>
                  <a:pt x="50" y="1"/>
                  <a:pt x="50" y="0"/>
                </a:cubicBezTo>
                <a:cubicBezTo>
                  <a:pt x="50" y="0"/>
                  <a:pt x="50" y="0"/>
                  <a:pt x="49" y="1"/>
                </a:cubicBezTo>
                <a:cubicBezTo>
                  <a:pt x="49" y="1"/>
                  <a:pt x="48" y="1"/>
                  <a:pt x="48" y="2"/>
                </a:cubicBezTo>
                <a:cubicBezTo>
                  <a:pt x="48" y="2"/>
                  <a:pt x="48" y="2"/>
                  <a:pt x="48" y="2"/>
                </a:cubicBezTo>
                <a:cubicBezTo>
                  <a:pt x="47" y="2"/>
                  <a:pt x="46" y="2"/>
                  <a:pt x="45" y="2"/>
                </a:cubicBezTo>
                <a:cubicBezTo>
                  <a:pt x="42" y="1"/>
                  <a:pt x="42" y="1"/>
                  <a:pt x="42" y="1"/>
                </a:cubicBezTo>
                <a:cubicBezTo>
                  <a:pt x="42" y="0"/>
                  <a:pt x="42" y="0"/>
                  <a:pt x="42" y="0"/>
                </a:cubicBezTo>
                <a:cubicBezTo>
                  <a:pt x="42" y="0"/>
                  <a:pt x="42" y="0"/>
                  <a:pt x="42" y="0"/>
                </a:cubicBezTo>
                <a:cubicBezTo>
                  <a:pt x="41" y="0"/>
                  <a:pt x="41" y="0"/>
                  <a:pt x="40" y="1"/>
                </a:cubicBezTo>
                <a:cubicBezTo>
                  <a:pt x="40" y="1"/>
                  <a:pt x="40" y="1"/>
                  <a:pt x="40" y="1"/>
                </a:cubicBezTo>
                <a:cubicBezTo>
                  <a:pt x="40" y="1"/>
                  <a:pt x="39" y="1"/>
                  <a:pt x="39" y="1"/>
                </a:cubicBezTo>
                <a:cubicBezTo>
                  <a:pt x="39" y="1"/>
                  <a:pt x="39" y="1"/>
                  <a:pt x="39" y="2"/>
                </a:cubicBezTo>
                <a:cubicBezTo>
                  <a:pt x="39" y="2"/>
                  <a:pt x="40" y="3"/>
                  <a:pt x="40" y="4"/>
                </a:cubicBezTo>
                <a:cubicBezTo>
                  <a:pt x="40" y="4"/>
                  <a:pt x="39" y="5"/>
                  <a:pt x="39" y="5"/>
                </a:cubicBezTo>
                <a:cubicBezTo>
                  <a:pt x="39" y="6"/>
                  <a:pt x="38" y="6"/>
                  <a:pt x="37" y="6"/>
                </a:cubicBezTo>
                <a:cubicBezTo>
                  <a:pt x="37" y="8"/>
                  <a:pt x="37" y="8"/>
                  <a:pt x="37" y="8"/>
                </a:cubicBezTo>
                <a:cubicBezTo>
                  <a:pt x="37" y="6"/>
                  <a:pt x="37" y="6"/>
                  <a:pt x="37" y="6"/>
                </a:cubicBezTo>
                <a:cubicBezTo>
                  <a:pt x="36" y="6"/>
                  <a:pt x="36" y="6"/>
                  <a:pt x="36" y="6"/>
                </a:cubicBezTo>
                <a:cubicBezTo>
                  <a:pt x="36" y="6"/>
                  <a:pt x="36" y="6"/>
                  <a:pt x="36" y="6"/>
                </a:cubicBezTo>
                <a:cubicBezTo>
                  <a:pt x="36" y="6"/>
                  <a:pt x="36" y="6"/>
                  <a:pt x="35" y="6"/>
                </a:cubicBezTo>
                <a:cubicBezTo>
                  <a:pt x="35" y="6"/>
                  <a:pt x="35" y="6"/>
                  <a:pt x="35" y="6"/>
                </a:cubicBezTo>
                <a:cubicBezTo>
                  <a:pt x="35" y="6"/>
                  <a:pt x="35" y="6"/>
                  <a:pt x="35" y="6"/>
                </a:cubicBezTo>
                <a:cubicBezTo>
                  <a:pt x="34" y="5"/>
                  <a:pt x="34" y="5"/>
                  <a:pt x="34" y="5"/>
                </a:cubicBezTo>
                <a:cubicBezTo>
                  <a:pt x="34" y="5"/>
                  <a:pt x="34" y="5"/>
                  <a:pt x="34" y="5"/>
                </a:cubicBezTo>
                <a:cubicBezTo>
                  <a:pt x="34" y="5"/>
                  <a:pt x="33" y="5"/>
                  <a:pt x="33" y="5"/>
                </a:cubicBezTo>
                <a:cubicBezTo>
                  <a:pt x="33" y="5"/>
                  <a:pt x="33" y="5"/>
                  <a:pt x="33" y="5"/>
                </a:cubicBezTo>
                <a:cubicBezTo>
                  <a:pt x="33" y="5"/>
                  <a:pt x="33" y="5"/>
                  <a:pt x="33" y="5"/>
                </a:cubicBezTo>
                <a:cubicBezTo>
                  <a:pt x="33" y="5"/>
                  <a:pt x="33" y="5"/>
                  <a:pt x="32" y="5"/>
                </a:cubicBezTo>
                <a:cubicBezTo>
                  <a:pt x="32" y="5"/>
                  <a:pt x="32" y="5"/>
                  <a:pt x="32" y="5"/>
                </a:cubicBezTo>
                <a:cubicBezTo>
                  <a:pt x="32" y="5"/>
                  <a:pt x="32" y="5"/>
                  <a:pt x="31" y="5"/>
                </a:cubicBezTo>
                <a:cubicBezTo>
                  <a:pt x="31" y="5"/>
                  <a:pt x="31" y="5"/>
                  <a:pt x="31" y="5"/>
                </a:cubicBezTo>
                <a:cubicBezTo>
                  <a:pt x="31" y="5"/>
                  <a:pt x="31" y="5"/>
                  <a:pt x="31" y="5"/>
                </a:cubicBezTo>
                <a:cubicBezTo>
                  <a:pt x="30" y="5"/>
                  <a:pt x="30" y="4"/>
                  <a:pt x="29" y="4"/>
                </a:cubicBezTo>
                <a:cubicBezTo>
                  <a:pt x="29" y="4"/>
                  <a:pt x="29" y="3"/>
                  <a:pt x="29" y="3"/>
                </a:cubicBezTo>
                <a:cubicBezTo>
                  <a:pt x="28" y="3"/>
                  <a:pt x="28" y="3"/>
                  <a:pt x="27" y="3"/>
                </a:cubicBezTo>
                <a:cubicBezTo>
                  <a:pt x="27" y="3"/>
                  <a:pt x="26" y="3"/>
                  <a:pt x="26" y="3"/>
                </a:cubicBezTo>
                <a:cubicBezTo>
                  <a:pt x="26" y="2"/>
                  <a:pt x="26" y="2"/>
                  <a:pt x="26" y="2"/>
                </a:cubicBezTo>
                <a:cubicBezTo>
                  <a:pt x="25" y="2"/>
                  <a:pt x="25" y="2"/>
                  <a:pt x="25" y="2"/>
                </a:cubicBezTo>
                <a:cubicBezTo>
                  <a:pt x="25" y="2"/>
                  <a:pt x="25" y="2"/>
                  <a:pt x="25" y="1"/>
                </a:cubicBezTo>
                <a:cubicBezTo>
                  <a:pt x="25" y="1"/>
                  <a:pt x="25" y="1"/>
                  <a:pt x="25" y="1"/>
                </a:cubicBezTo>
                <a:cubicBezTo>
                  <a:pt x="24" y="1"/>
                  <a:pt x="24" y="2"/>
                  <a:pt x="23" y="2"/>
                </a:cubicBezTo>
                <a:cubicBezTo>
                  <a:pt x="22" y="2"/>
                  <a:pt x="22" y="2"/>
                  <a:pt x="22" y="2"/>
                </a:cubicBezTo>
                <a:cubicBezTo>
                  <a:pt x="21" y="2"/>
                  <a:pt x="20" y="2"/>
                  <a:pt x="19" y="2"/>
                </a:cubicBezTo>
                <a:cubicBezTo>
                  <a:pt x="18" y="2"/>
                  <a:pt x="17" y="2"/>
                  <a:pt x="16" y="2"/>
                </a:cubicBezTo>
                <a:cubicBezTo>
                  <a:pt x="15" y="2"/>
                  <a:pt x="15" y="2"/>
                  <a:pt x="15" y="2"/>
                </a:cubicBezTo>
                <a:cubicBezTo>
                  <a:pt x="14" y="2"/>
                  <a:pt x="13" y="2"/>
                  <a:pt x="11" y="2"/>
                </a:cubicBezTo>
                <a:cubicBezTo>
                  <a:pt x="11" y="2"/>
                  <a:pt x="10" y="2"/>
                  <a:pt x="10" y="2"/>
                </a:cubicBezTo>
                <a:cubicBezTo>
                  <a:pt x="9" y="2"/>
                  <a:pt x="7" y="2"/>
                  <a:pt x="7" y="3"/>
                </a:cubicBezTo>
                <a:cubicBezTo>
                  <a:pt x="6" y="3"/>
                  <a:pt x="6" y="3"/>
                  <a:pt x="6" y="4"/>
                </a:cubicBezTo>
                <a:cubicBezTo>
                  <a:pt x="6" y="4"/>
                  <a:pt x="6" y="5"/>
                  <a:pt x="5" y="5"/>
                </a:cubicBezTo>
                <a:cubicBezTo>
                  <a:pt x="4" y="7"/>
                  <a:pt x="3" y="8"/>
                  <a:pt x="2" y="9"/>
                </a:cubicBezTo>
                <a:cubicBezTo>
                  <a:pt x="1" y="10"/>
                  <a:pt x="1" y="10"/>
                  <a:pt x="1" y="10"/>
                </a:cubicBezTo>
                <a:cubicBezTo>
                  <a:pt x="0" y="11"/>
                  <a:pt x="0" y="11"/>
                  <a:pt x="0" y="11"/>
                </a:cubicBezTo>
                <a:cubicBezTo>
                  <a:pt x="0" y="11"/>
                  <a:pt x="1" y="12"/>
                  <a:pt x="1" y="13"/>
                </a:cubicBezTo>
                <a:cubicBezTo>
                  <a:pt x="2" y="13"/>
                  <a:pt x="2" y="13"/>
                  <a:pt x="2" y="13"/>
                </a:cubicBezTo>
                <a:cubicBezTo>
                  <a:pt x="2" y="14"/>
                  <a:pt x="2" y="15"/>
                  <a:pt x="2" y="16"/>
                </a:cubicBezTo>
                <a:cubicBezTo>
                  <a:pt x="2" y="16"/>
                  <a:pt x="2" y="16"/>
                  <a:pt x="2" y="16"/>
                </a:cubicBezTo>
                <a:cubicBezTo>
                  <a:pt x="2" y="17"/>
                  <a:pt x="2" y="17"/>
                  <a:pt x="2" y="18"/>
                </a:cubicBezTo>
                <a:cubicBezTo>
                  <a:pt x="2" y="18"/>
                  <a:pt x="2" y="18"/>
                  <a:pt x="2" y="18"/>
                </a:cubicBezTo>
                <a:cubicBezTo>
                  <a:pt x="3" y="19"/>
                  <a:pt x="3" y="19"/>
                  <a:pt x="3" y="19"/>
                </a:cubicBezTo>
                <a:cubicBezTo>
                  <a:pt x="4" y="19"/>
                  <a:pt x="4" y="19"/>
                  <a:pt x="5" y="20"/>
                </a:cubicBezTo>
                <a:cubicBezTo>
                  <a:pt x="5" y="20"/>
                  <a:pt x="5" y="20"/>
                  <a:pt x="5" y="20"/>
                </a:cubicBezTo>
                <a:cubicBezTo>
                  <a:pt x="5" y="20"/>
                  <a:pt x="5" y="20"/>
                  <a:pt x="5" y="21"/>
                </a:cubicBezTo>
                <a:cubicBezTo>
                  <a:pt x="5" y="21"/>
                  <a:pt x="5" y="21"/>
                  <a:pt x="5" y="21"/>
                </a:cubicBezTo>
                <a:cubicBezTo>
                  <a:pt x="5" y="21"/>
                  <a:pt x="5" y="21"/>
                  <a:pt x="5" y="21"/>
                </a:cubicBezTo>
                <a:cubicBezTo>
                  <a:pt x="5" y="22"/>
                  <a:pt x="5" y="22"/>
                  <a:pt x="5" y="22"/>
                </a:cubicBezTo>
                <a:cubicBezTo>
                  <a:pt x="5" y="24"/>
                  <a:pt x="5" y="25"/>
                  <a:pt x="6" y="27"/>
                </a:cubicBezTo>
                <a:cubicBezTo>
                  <a:pt x="6" y="28"/>
                  <a:pt x="6" y="28"/>
                  <a:pt x="6" y="28"/>
                </a:cubicBezTo>
                <a:cubicBezTo>
                  <a:pt x="5" y="28"/>
                  <a:pt x="5" y="28"/>
                  <a:pt x="5" y="28"/>
                </a:cubicBezTo>
                <a:cubicBezTo>
                  <a:pt x="6" y="28"/>
                  <a:pt x="7" y="29"/>
                  <a:pt x="6" y="30"/>
                </a:cubicBezTo>
                <a:cubicBezTo>
                  <a:pt x="7" y="29"/>
                  <a:pt x="8" y="32"/>
                  <a:pt x="7" y="33"/>
                </a:cubicBezTo>
                <a:cubicBezTo>
                  <a:pt x="6" y="34"/>
                  <a:pt x="7" y="36"/>
                  <a:pt x="8" y="37"/>
                </a:cubicBezTo>
                <a:cubicBezTo>
                  <a:pt x="8" y="37"/>
                  <a:pt x="10" y="37"/>
                  <a:pt x="10" y="37"/>
                </a:cubicBezTo>
                <a:cubicBezTo>
                  <a:pt x="11" y="36"/>
                  <a:pt x="11" y="35"/>
                  <a:pt x="12" y="34"/>
                </a:cubicBezTo>
                <a:cubicBezTo>
                  <a:pt x="12" y="35"/>
                  <a:pt x="12" y="37"/>
                  <a:pt x="13" y="38"/>
                </a:cubicBezTo>
                <a:cubicBezTo>
                  <a:pt x="13" y="39"/>
                  <a:pt x="12" y="38"/>
                  <a:pt x="12" y="39"/>
                </a:cubicBezTo>
                <a:cubicBezTo>
                  <a:pt x="11" y="39"/>
                  <a:pt x="12" y="40"/>
                  <a:pt x="12" y="40"/>
                </a:cubicBezTo>
                <a:cubicBezTo>
                  <a:pt x="15" y="40"/>
                  <a:pt x="17" y="39"/>
                  <a:pt x="20" y="41"/>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14" name="Freeform 3171">
            <a:extLst>
              <a:ext uri="{FF2B5EF4-FFF2-40B4-BE49-F238E27FC236}">
                <a16:creationId xmlns:a16="http://schemas.microsoft.com/office/drawing/2014/main" id="{506F0266-F67C-4388-B14C-A578C2964EBE}"/>
              </a:ext>
            </a:extLst>
          </p:cNvPr>
          <p:cNvSpPr>
            <a:spLocks/>
          </p:cNvSpPr>
          <p:nvPr/>
        </p:nvSpPr>
        <p:spPr bwMode="auto">
          <a:xfrm>
            <a:off x="4404458" y="3344255"/>
            <a:ext cx="36176" cy="21369"/>
          </a:xfrm>
          <a:custGeom>
            <a:avLst/>
            <a:gdLst>
              <a:gd name="T0" fmla="*/ 10 w 31"/>
              <a:gd name="T1" fmla="*/ 15 h 15"/>
              <a:gd name="T2" fmla="*/ 12 w 31"/>
              <a:gd name="T3" fmla="*/ 14 h 15"/>
              <a:gd name="T4" fmla="*/ 13 w 31"/>
              <a:gd name="T5" fmla="*/ 13 h 15"/>
              <a:gd name="T6" fmla="*/ 16 w 31"/>
              <a:gd name="T7" fmla="*/ 13 h 15"/>
              <a:gd name="T8" fmla="*/ 17 w 31"/>
              <a:gd name="T9" fmla="*/ 14 h 15"/>
              <a:gd name="T10" fmla="*/ 19 w 31"/>
              <a:gd name="T11" fmla="*/ 14 h 15"/>
              <a:gd name="T12" fmla="*/ 20 w 31"/>
              <a:gd name="T13" fmla="*/ 14 h 15"/>
              <a:gd name="T14" fmla="*/ 23 w 31"/>
              <a:gd name="T15" fmla="*/ 14 h 15"/>
              <a:gd name="T16" fmla="*/ 27 w 31"/>
              <a:gd name="T17" fmla="*/ 14 h 15"/>
              <a:gd name="T18" fmla="*/ 28 w 31"/>
              <a:gd name="T19" fmla="*/ 14 h 15"/>
              <a:gd name="T20" fmla="*/ 30 w 31"/>
              <a:gd name="T21" fmla="*/ 13 h 15"/>
              <a:gd name="T22" fmla="*/ 30 w 31"/>
              <a:gd name="T23" fmla="*/ 13 h 15"/>
              <a:gd name="T24" fmla="*/ 31 w 31"/>
              <a:gd name="T25" fmla="*/ 14 h 15"/>
              <a:gd name="T26" fmla="*/ 31 w 31"/>
              <a:gd name="T27" fmla="*/ 12 h 15"/>
              <a:gd name="T28" fmla="*/ 31 w 31"/>
              <a:gd name="T29" fmla="*/ 10 h 15"/>
              <a:gd name="T30" fmla="*/ 29 w 31"/>
              <a:gd name="T31" fmla="*/ 9 h 15"/>
              <a:gd name="T32" fmla="*/ 27 w 31"/>
              <a:gd name="T33" fmla="*/ 8 h 15"/>
              <a:gd name="T34" fmla="*/ 26 w 31"/>
              <a:gd name="T35" fmla="*/ 7 h 15"/>
              <a:gd name="T36" fmla="*/ 26 w 31"/>
              <a:gd name="T37" fmla="*/ 6 h 15"/>
              <a:gd name="T38" fmla="*/ 26 w 31"/>
              <a:gd name="T39" fmla="*/ 5 h 15"/>
              <a:gd name="T40" fmla="*/ 27 w 31"/>
              <a:gd name="T41" fmla="*/ 5 h 15"/>
              <a:gd name="T42" fmla="*/ 27 w 31"/>
              <a:gd name="T43" fmla="*/ 4 h 15"/>
              <a:gd name="T44" fmla="*/ 27 w 31"/>
              <a:gd name="T45" fmla="*/ 4 h 15"/>
              <a:gd name="T46" fmla="*/ 27 w 31"/>
              <a:gd name="T47" fmla="*/ 3 h 15"/>
              <a:gd name="T48" fmla="*/ 24 w 31"/>
              <a:gd name="T49" fmla="*/ 2 h 15"/>
              <a:gd name="T50" fmla="*/ 22 w 31"/>
              <a:gd name="T51" fmla="*/ 3 h 15"/>
              <a:gd name="T52" fmla="*/ 20 w 31"/>
              <a:gd name="T53" fmla="*/ 3 h 15"/>
              <a:gd name="T54" fmla="*/ 19 w 31"/>
              <a:gd name="T55" fmla="*/ 3 h 15"/>
              <a:gd name="T56" fmla="*/ 17 w 31"/>
              <a:gd name="T57" fmla="*/ 2 h 15"/>
              <a:gd name="T58" fmla="*/ 17 w 31"/>
              <a:gd name="T59" fmla="*/ 2 h 15"/>
              <a:gd name="T60" fmla="*/ 15 w 31"/>
              <a:gd name="T61" fmla="*/ 2 h 15"/>
              <a:gd name="T62" fmla="*/ 14 w 31"/>
              <a:gd name="T63" fmla="*/ 0 h 15"/>
              <a:gd name="T64" fmla="*/ 13 w 31"/>
              <a:gd name="T65" fmla="*/ 0 h 15"/>
              <a:gd name="T66" fmla="*/ 12 w 31"/>
              <a:gd name="T67" fmla="*/ 0 h 15"/>
              <a:gd name="T68" fmla="*/ 6 w 31"/>
              <a:gd name="T69" fmla="*/ 3 h 15"/>
              <a:gd name="T70" fmla="*/ 4 w 31"/>
              <a:gd name="T71" fmla="*/ 6 h 15"/>
              <a:gd name="T72" fmla="*/ 1 w 31"/>
              <a:gd name="T73" fmla="*/ 9 h 15"/>
              <a:gd name="T74" fmla="*/ 1 w 31"/>
              <a:gd name="T75" fmla="*/ 10 h 15"/>
              <a:gd name="T76" fmla="*/ 0 w 31"/>
              <a:gd name="T77" fmla="*/ 11 h 15"/>
              <a:gd name="T78" fmla="*/ 1 w 31"/>
              <a:gd name="T79" fmla="*/ 12 h 15"/>
              <a:gd name="T80" fmla="*/ 3 w 31"/>
              <a:gd name="T81" fmla="*/ 13 h 15"/>
              <a:gd name="T82" fmla="*/ 3 w 31"/>
              <a:gd name="T83" fmla="*/ 13 h 15"/>
              <a:gd name="T84" fmla="*/ 4 w 31"/>
              <a:gd name="T85" fmla="*/ 13 h 15"/>
              <a:gd name="T86" fmla="*/ 5 w 31"/>
              <a:gd name="T87" fmla="*/ 13 h 15"/>
              <a:gd name="T88" fmla="*/ 6 w 31"/>
              <a:gd name="T89" fmla="*/ 14 h 15"/>
              <a:gd name="T90" fmla="*/ 8 w 31"/>
              <a:gd name="T91" fmla="*/ 14 h 15"/>
              <a:gd name="T92" fmla="*/ 8 w 31"/>
              <a:gd name="T93"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1" h="15">
                <a:moveTo>
                  <a:pt x="9" y="14"/>
                </a:moveTo>
                <a:cubicBezTo>
                  <a:pt x="9" y="15"/>
                  <a:pt x="9" y="15"/>
                  <a:pt x="10" y="15"/>
                </a:cubicBezTo>
                <a:cubicBezTo>
                  <a:pt x="10" y="15"/>
                  <a:pt x="10" y="15"/>
                  <a:pt x="10" y="15"/>
                </a:cubicBezTo>
                <a:cubicBezTo>
                  <a:pt x="10" y="15"/>
                  <a:pt x="12" y="14"/>
                  <a:pt x="12" y="14"/>
                </a:cubicBezTo>
                <a:cubicBezTo>
                  <a:pt x="13" y="13"/>
                  <a:pt x="13" y="13"/>
                  <a:pt x="13" y="13"/>
                </a:cubicBezTo>
                <a:cubicBezTo>
                  <a:pt x="13" y="13"/>
                  <a:pt x="13" y="13"/>
                  <a:pt x="13" y="13"/>
                </a:cubicBezTo>
                <a:cubicBezTo>
                  <a:pt x="13" y="13"/>
                  <a:pt x="14" y="13"/>
                  <a:pt x="14" y="13"/>
                </a:cubicBezTo>
                <a:cubicBezTo>
                  <a:pt x="15" y="13"/>
                  <a:pt x="16" y="13"/>
                  <a:pt x="16" y="13"/>
                </a:cubicBezTo>
                <a:cubicBezTo>
                  <a:pt x="16" y="13"/>
                  <a:pt x="17" y="13"/>
                  <a:pt x="17" y="13"/>
                </a:cubicBezTo>
                <a:cubicBezTo>
                  <a:pt x="17" y="14"/>
                  <a:pt x="17" y="14"/>
                  <a:pt x="17" y="14"/>
                </a:cubicBezTo>
                <a:cubicBezTo>
                  <a:pt x="18" y="14"/>
                  <a:pt x="18" y="14"/>
                  <a:pt x="19" y="14"/>
                </a:cubicBezTo>
                <a:cubicBezTo>
                  <a:pt x="19" y="14"/>
                  <a:pt x="19" y="14"/>
                  <a:pt x="19" y="14"/>
                </a:cubicBezTo>
                <a:cubicBezTo>
                  <a:pt x="19" y="14"/>
                  <a:pt x="19" y="14"/>
                  <a:pt x="19" y="14"/>
                </a:cubicBezTo>
                <a:cubicBezTo>
                  <a:pt x="19" y="14"/>
                  <a:pt x="20" y="14"/>
                  <a:pt x="20" y="14"/>
                </a:cubicBezTo>
                <a:cubicBezTo>
                  <a:pt x="21" y="14"/>
                  <a:pt x="22" y="14"/>
                  <a:pt x="23" y="14"/>
                </a:cubicBezTo>
                <a:cubicBezTo>
                  <a:pt x="23" y="14"/>
                  <a:pt x="23" y="14"/>
                  <a:pt x="23" y="14"/>
                </a:cubicBezTo>
                <a:cubicBezTo>
                  <a:pt x="24" y="14"/>
                  <a:pt x="25" y="14"/>
                  <a:pt x="25" y="14"/>
                </a:cubicBezTo>
                <a:cubicBezTo>
                  <a:pt x="26" y="14"/>
                  <a:pt x="26" y="14"/>
                  <a:pt x="27" y="14"/>
                </a:cubicBezTo>
                <a:cubicBezTo>
                  <a:pt x="27" y="14"/>
                  <a:pt x="27" y="14"/>
                  <a:pt x="27" y="14"/>
                </a:cubicBezTo>
                <a:cubicBezTo>
                  <a:pt x="27" y="14"/>
                  <a:pt x="28" y="14"/>
                  <a:pt x="28" y="14"/>
                </a:cubicBezTo>
                <a:cubicBezTo>
                  <a:pt x="28" y="13"/>
                  <a:pt x="29" y="13"/>
                  <a:pt x="30" y="13"/>
                </a:cubicBezTo>
                <a:cubicBezTo>
                  <a:pt x="30" y="13"/>
                  <a:pt x="30" y="13"/>
                  <a:pt x="30" y="13"/>
                </a:cubicBezTo>
                <a:cubicBezTo>
                  <a:pt x="30" y="13"/>
                  <a:pt x="30" y="13"/>
                  <a:pt x="30" y="13"/>
                </a:cubicBezTo>
                <a:cubicBezTo>
                  <a:pt x="30" y="13"/>
                  <a:pt x="30" y="13"/>
                  <a:pt x="30" y="13"/>
                </a:cubicBezTo>
                <a:cubicBezTo>
                  <a:pt x="30" y="13"/>
                  <a:pt x="31" y="13"/>
                  <a:pt x="31" y="13"/>
                </a:cubicBezTo>
                <a:cubicBezTo>
                  <a:pt x="31" y="13"/>
                  <a:pt x="31" y="13"/>
                  <a:pt x="31" y="14"/>
                </a:cubicBezTo>
                <a:cubicBezTo>
                  <a:pt x="31" y="13"/>
                  <a:pt x="31" y="13"/>
                  <a:pt x="31" y="13"/>
                </a:cubicBezTo>
                <a:cubicBezTo>
                  <a:pt x="31" y="13"/>
                  <a:pt x="31" y="13"/>
                  <a:pt x="31" y="12"/>
                </a:cubicBezTo>
                <a:cubicBezTo>
                  <a:pt x="30" y="12"/>
                  <a:pt x="30" y="11"/>
                  <a:pt x="30" y="11"/>
                </a:cubicBezTo>
                <a:cubicBezTo>
                  <a:pt x="31" y="10"/>
                  <a:pt x="31" y="10"/>
                  <a:pt x="31" y="10"/>
                </a:cubicBezTo>
                <a:cubicBezTo>
                  <a:pt x="31" y="10"/>
                  <a:pt x="31" y="9"/>
                  <a:pt x="30" y="9"/>
                </a:cubicBezTo>
                <a:cubicBezTo>
                  <a:pt x="30" y="9"/>
                  <a:pt x="29" y="9"/>
                  <a:pt x="29" y="9"/>
                </a:cubicBezTo>
                <a:cubicBezTo>
                  <a:pt x="28" y="9"/>
                  <a:pt x="28" y="9"/>
                  <a:pt x="28" y="8"/>
                </a:cubicBezTo>
                <a:cubicBezTo>
                  <a:pt x="27" y="8"/>
                  <a:pt x="27" y="8"/>
                  <a:pt x="27" y="8"/>
                </a:cubicBezTo>
                <a:cubicBezTo>
                  <a:pt x="27" y="8"/>
                  <a:pt x="27" y="8"/>
                  <a:pt x="27" y="7"/>
                </a:cubicBezTo>
                <a:cubicBezTo>
                  <a:pt x="27" y="7"/>
                  <a:pt x="27" y="7"/>
                  <a:pt x="26" y="7"/>
                </a:cubicBezTo>
                <a:cubicBezTo>
                  <a:pt x="26" y="6"/>
                  <a:pt x="26" y="6"/>
                  <a:pt x="26" y="6"/>
                </a:cubicBezTo>
                <a:cubicBezTo>
                  <a:pt x="26" y="6"/>
                  <a:pt x="26" y="6"/>
                  <a:pt x="26" y="6"/>
                </a:cubicBezTo>
                <a:cubicBezTo>
                  <a:pt x="26" y="6"/>
                  <a:pt x="26" y="5"/>
                  <a:pt x="26" y="5"/>
                </a:cubicBezTo>
                <a:cubicBezTo>
                  <a:pt x="26" y="5"/>
                  <a:pt x="26" y="5"/>
                  <a:pt x="26" y="5"/>
                </a:cubicBezTo>
                <a:cubicBezTo>
                  <a:pt x="27" y="5"/>
                  <a:pt x="27" y="5"/>
                  <a:pt x="27" y="5"/>
                </a:cubicBezTo>
                <a:cubicBezTo>
                  <a:pt x="27" y="5"/>
                  <a:pt x="27" y="5"/>
                  <a:pt x="27" y="5"/>
                </a:cubicBezTo>
                <a:cubicBezTo>
                  <a:pt x="27" y="4"/>
                  <a:pt x="27" y="4"/>
                  <a:pt x="27" y="4"/>
                </a:cubicBezTo>
                <a:cubicBezTo>
                  <a:pt x="27" y="4"/>
                  <a:pt x="27" y="4"/>
                  <a:pt x="27" y="4"/>
                </a:cubicBezTo>
                <a:cubicBezTo>
                  <a:pt x="27" y="4"/>
                  <a:pt x="27" y="4"/>
                  <a:pt x="27" y="4"/>
                </a:cubicBezTo>
                <a:cubicBezTo>
                  <a:pt x="27" y="4"/>
                  <a:pt x="27" y="4"/>
                  <a:pt x="27" y="4"/>
                </a:cubicBezTo>
                <a:cubicBezTo>
                  <a:pt x="27" y="4"/>
                  <a:pt x="27" y="3"/>
                  <a:pt x="27" y="3"/>
                </a:cubicBezTo>
                <a:cubicBezTo>
                  <a:pt x="27" y="3"/>
                  <a:pt x="27" y="3"/>
                  <a:pt x="27" y="3"/>
                </a:cubicBezTo>
                <a:cubicBezTo>
                  <a:pt x="27" y="3"/>
                  <a:pt x="27" y="3"/>
                  <a:pt x="26" y="3"/>
                </a:cubicBezTo>
                <a:cubicBezTo>
                  <a:pt x="25" y="2"/>
                  <a:pt x="24" y="2"/>
                  <a:pt x="24" y="2"/>
                </a:cubicBezTo>
                <a:cubicBezTo>
                  <a:pt x="24" y="2"/>
                  <a:pt x="23" y="2"/>
                  <a:pt x="23" y="3"/>
                </a:cubicBezTo>
                <a:cubicBezTo>
                  <a:pt x="22" y="3"/>
                  <a:pt x="22" y="3"/>
                  <a:pt x="22" y="3"/>
                </a:cubicBezTo>
                <a:cubicBezTo>
                  <a:pt x="22" y="3"/>
                  <a:pt x="22" y="3"/>
                  <a:pt x="21" y="3"/>
                </a:cubicBezTo>
                <a:cubicBezTo>
                  <a:pt x="21" y="3"/>
                  <a:pt x="21" y="3"/>
                  <a:pt x="20" y="3"/>
                </a:cubicBezTo>
                <a:cubicBezTo>
                  <a:pt x="20" y="3"/>
                  <a:pt x="20" y="3"/>
                  <a:pt x="20" y="3"/>
                </a:cubicBezTo>
                <a:cubicBezTo>
                  <a:pt x="19" y="3"/>
                  <a:pt x="19" y="3"/>
                  <a:pt x="19" y="3"/>
                </a:cubicBezTo>
                <a:cubicBezTo>
                  <a:pt x="19" y="3"/>
                  <a:pt x="19" y="3"/>
                  <a:pt x="19" y="3"/>
                </a:cubicBezTo>
                <a:cubicBezTo>
                  <a:pt x="18" y="2"/>
                  <a:pt x="18" y="2"/>
                  <a:pt x="17" y="2"/>
                </a:cubicBezTo>
                <a:cubicBezTo>
                  <a:pt x="17" y="2"/>
                  <a:pt x="17" y="2"/>
                  <a:pt x="17" y="2"/>
                </a:cubicBezTo>
                <a:cubicBezTo>
                  <a:pt x="17" y="2"/>
                  <a:pt x="17" y="2"/>
                  <a:pt x="17" y="2"/>
                </a:cubicBezTo>
                <a:cubicBezTo>
                  <a:pt x="16" y="2"/>
                  <a:pt x="16" y="2"/>
                  <a:pt x="16" y="2"/>
                </a:cubicBezTo>
                <a:cubicBezTo>
                  <a:pt x="15" y="2"/>
                  <a:pt x="15" y="2"/>
                  <a:pt x="15" y="2"/>
                </a:cubicBezTo>
                <a:cubicBezTo>
                  <a:pt x="14" y="1"/>
                  <a:pt x="14" y="1"/>
                  <a:pt x="14" y="0"/>
                </a:cubicBezTo>
                <a:cubicBezTo>
                  <a:pt x="14" y="0"/>
                  <a:pt x="14" y="0"/>
                  <a:pt x="14" y="0"/>
                </a:cubicBezTo>
                <a:cubicBezTo>
                  <a:pt x="14" y="0"/>
                  <a:pt x="13" y="0"/>
                  <a:pt x="13" y="0"/>
                </a:cubicBezTo>
                <a:cubicBezTo>
                  <a:pt x="13" y="0"/>
                  <a:pt x="13" y="0"/>
                  <a:pt x="13" y="0"/>
                </a:cubicBezTo>
                <a:cubicBezTo>
                  <a:pt x="13" y="0"/>
                  <a:pt x="12" y="0"/>
                  <a:pt x="12" y="0"/>
                </a:cubicBezTo>
                <a:cubicBezTo>
                  <a:pt x="12" y="0"/>
                  <a:pt x="12" y="0"/>
                  <a:pt x="12" y="0"/>
                </a:cubicBezTo>
                <a:cubicBezTo>
                  <a:pt x="10" y="0"/>
                  <a:pt x="8" y="1"/>
                  <a:pt x="7" y="2"/>
                </a:cubicBezTo>
                <a:cubicBezTo>
                  <a:pt x="7" y="2"/>
                  <a:pt x="7" y="3"/>
                  <a:pt x="6" y="3"/>
                </a:cubicBezTo>
                <a:cubicBezTo>
                  <a:pt x="6" y="3"/>
                  <a:pt x="6" y="3"/>
                  <a:pt x="6" y="3"/>
                </a:cubicBezTo>
                <a:cubicBezTo>
                  <a:pt x="5" y="4"/>
                  <a:pt x="4" y="5"/>
                  <a:pt x="4" y="6"/>
                </a:cubicBezTo>
                <a:cubicBezTo>
                  <a:pt x="3" y="6"/>
                  <a:pt x="3" y="7"/>
                  <a:pt x="3" y="7"/>
                </a:cubicBezTo>
                <a:cubicBezTo>
                  <a:pt x="2" y="8"/>
                  <a:pt x="2" y="9"/>
                  <a:pt x="1" y="9"/>
                </a:cubicBezTo>
                <a:cubicBezTo>
                  <a:pt x="1" y="10"/>
                  <a:pt x="1" y="10"/>
                  <a:pt x="1" y="10"/>
                </a:cubicBezTo>
                <a:cubicBezTo>
                  <a:pt x="1" y="10"/>
                  <a:pt x="1" y="10"/>
                  <a:pt x="1" y="10"/>
                </a:cubicBezTo>
                <a:cubicBezTo>
                  <a:pt x="1" y="11"/>
                  <a:pt x="1" y="11"/>
                  <a:pt x="1" y="11"/>
                </a:cubicBezTo>
                <a:cubicBezTo>
                  <a:pt x="0" y="11"/>
                  <a:pt x="0" y="11"/>
                  <a:pt x="0" y="11"/>
                </a:cubicBezTo>
                <a:cubicBezTo>
                  <a:pt x="1" y="11"/>
                  <a:pt x="1" y="12"/>
                  <a:pt x="1" y="12"/>
                </a:cubicBezTo>
                <a:cubicBezTo>
                  <a:pt x="1" y="12"/>
                  <a:pt x="1" y="12"/>
                  <a:pt x="1" y="12"/>
                </a:cubicBezTo>
                <a:cubicBezTo>
                  <a:pt x="2" y="13"/>
                  <a:pt x="2" y="13"/>
                  <a:pt x="2" y="13"/>
                </a:cubicBezTo>
                <a:cubicBezTo>
                  <a:pt x="2" y="13"/>
                  <a:pt x="3" y="13"/>
                  <a:pt x="3" y="13"/>
                </a:cubicBezTo>
                <a:cubicBezTo>
                  <a:pt x="3" y="13"/>
                  <a:pt x="3" y="13"/>
                  <a:pt x="3" y="13"/>
                </a:cubicBezTo>
                <a:cubicBezTo>
                  <a:pt x="3" y="13"/>
                  <a:pt x="3" y="13"/>
                  <a:pt x="3" y="13"/>
                </a:cubicBezTo>
                <a:cubicBezTo>
                  <a:pt x="3" y="13"/>
                  <a:pt x="4" y="13"/>
                  <a:pt x="4" y="13"/>
                </a:cubicBezTo>
                <a:cubicBezTo>
                  <a:pt x="4" y="13"/>
                  <a:pt x="4" y="13"/>
                  <a:pt x="4" y="13"/>
                </a:cubicBezTo>
                <a:cubicBezTo>
                  <a:pt x="4" y="13"/>
                  <a:pt x="4" y="13"/>
                  <a:pt x="4" y="13"/>
                </a:cubicBezTo>
                <a:cubicBezTo>
                  <a:pt x="5" y="13"/>
                  <a:pt x="5" y="13"/>
                  <a:pt x="5" y="13"/>
                </a:cubicBezTo>
                <a:cubicBezTo>
                  <a:pt x="5" y="13"/>
                  <a:pt x="5" y="13"/>
                  <a:pt x="5" y="13"/>
                </a:cubicBezTo>
                <a:cubicBezTo>
                  <a:pt x="5" y="13"/>
                  <a:pt x="6" y="13"/>
                  <a:pt x="6" y="14"/>
                </a:cubicBezTo>
                <a:cubicBezTo>
                  <a:pt x="7" y="14"/>
                  <a:pt x="7" y="14"/>
                  <a:pt x="8" y="14"/>
                </a:cubicBezTo>
                <a:cubicBezTo>
                  <a:pt x="8" y="14"/>
                  <a:pt x="8" y="14"/>
                  <a:pt x="8" y="14"/>
                </a:cubicBezTo>
                <a:cubicBezTo>
                  <a:pt x="9" y="12"/>
                  <a:pt x="9" y="12"/>
                  <a:pt x="9" y="12"/>
                </a:cubicBezTo>
                <a:cubicBezTo>
                  <a:pt x="8" y="14"/>
                  <a:pt x="8" y="14"/>
                  <a:pt x="8" y="14"/>
                </a:cubicBezTo>
                <a:lnTo>
                  <a:pt x="9" y="14"/>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15" name="Freeform 3172">
            <a:extLst>
              <a:ext uri="{FF2B5EF4-FFF2-40B4-BE49-F238E27FC236}">
                <a16:creationId xmlns:a16="http://schemas.microsoft.com/office/drawing/2014/main" id="{5282D9F7-8797-49D7-A12A-8CCF5E6E1168}"/>
              </a:ext>
            </a:extLst>
          </p:cNvPr>
          <p:cNvSpPr>
            <a:spLocks/>
          </p:cNvSpPr>
          <p:nvPr/>
        </p:nvSpPr>
        <p:spPr bwMode="auto">
          <a:xfrm>
            <a:off x="4171049" y="3100288"/>
            <a:ext cx="127855" cy="64108"/>
          </a:xfrm>
          <a:custGeom>
            <a:avLst/>
            <a:gdLst>
              <a:gd name="T0" fmla="*/ 87 w 109"/>
              <a:gd name="T1" fmla="*/ 23 h 46"/>
              <a:gd name="T2" fmla="*/ 91 w 109"/>
              <a:gd name="T3" fmla="*/ 21 h 46"/>
              <a:gd name="T4" fmla="*/ 99 w 109"/>
              <a:gd name="T5" fmla="*/ 16 h 46"/>
              <a:gd name="T6" fmla="*/ 109 w 109"/>
              <a:gd name="T7" fmla="*/ 12 h 46"/>
              <a:gd name="T8" fmla="*/ 107 w 109"/>
              <a:gd name="T9" fmla="*/ 10 h 46"/>
              <a:gd name="T10" fmla="*/ 100 w 109"/>
              <a:gd name="T11" fmla="*/ 7 h 46"/>
              <a:gd name="T12" fmla="*/ 98 w 109"/>
              <a:gd name="T13" fmla="*/ 5 h 46"/>
              <a:gd name="T14" fmla="*/ 91 w 109"/>
              <a:gd name="T15" fmla="*/ 4 h 46"/>
              <a:gd name="T16" fmla="*/ 82 w 109"/>
              <a:gd name="T17" fmla="*/ 5 h 46"/>
              <a:gd name="T18" fmla="*/ 71 w 109"/>
              <a:gd name="T19" fmla="*/ 3 h 46"/>
              <a:gd name="T20" fmla="*/ 60 w 109"/>
              <a:gd name="T21" fmla="*/ 4 h 46"/>
              <a:gd name="T22" fmla="*/ 55 w 109"/>
              <a:gd name="T23" fmla="*/ 3 h 46"/>
              <a:gd name="T24" fmla="*/ 49 w 109"/>
              <a:gd name="T25" fmla="*/ 0 h 46"/>
              <a:gd name="T26" fmla="*/ 45 w 109"/>
              <a:gd name="T27" fmla="*/ 1 h 46"/>
              <a:gd name="T28" fmla="*/ 42 w 109"/>
              <a:gd name="T29" fmla="*/ 9 h 46"/>
              <a:gd name="T30" fmla="*/ 28 w 109"/>
              <a:gd name="T31" fmla="*/ 5 h 46"/>
              <a:gd name="T32" fmla="*/ 21 w 109"/>
              <a:gd name="T33" fmla="*/ 5 h 46"/>
              <a:gd name="T34" fmla="*/ 19 w 109"/>
              <a:gd name="T35" fmla="*/ 6 h 46"/>
              <a:gd name="T36" fmla="*/ 17 w 109"/>
              <a:gd name="T37" fmla="*/ 9 h 46"/>
              <a:gd name="T38" fmla="*/ 18 w 109"/>
              <a:gd name="T39" fmla="*/ 13 h 46"/>
              <a:gd name="T40" fmla="*/ 11 w 109"/>
              <a:gd name="T41" fmla="*/ 19 h 46"/>
              <a:gd name="T42" fmla="*/ 15 w 109"/>
              <a:gd name="T43" fmla="*/ 22 h 46"/>
              <a:gd name="T44" fmla="*/ 21 w 109"/>
              <a:gd name="T45" fmla="*/ 18 h 46"/>
              <a:gd name="T46" fmla="*/ 29 w 109"/>
              <a:gd name="T47" fmla="*/ 22 h 46"/>
              <a:gd name="T48" fmla="*/ 32 w 109"/>
              <a:gd name="T49" fmla="*/ 25 h 46"/>
              <a:gd name="T50" fmla="*/ 40 w 109"/>
              <a:gd name="T51" fmla="*/ 26 h 46"/>
              <a:gd name="T52" fmla="*/ 36 w 109"/>
              <a:gd name="T53" fmla="*/ 30 h 46"/>
              <a:gd name="T54" fmla="*/ 33 w 109"/>
              <a:gd name="T55" fmla="*/ 33 h 46"/>
              <a:gd name="T56" fmla="*/ 30 w 109"/>
              <a:gd name="T57" fmla="*/ 34 h 46"/>
              <a:gd name="T58" fmla="*/ 26 w 109"/>
              <a:gd name="T59" fmla="*/ 36 h 46"/>
              <a:gd name="T60" fmla="*/ 20 w 109"/>
              <a:gd name="T61" fmla="*/ 35 h 46"/>
              <a:gd name="T62" fmla="*/ 17 w 109"/>
              <a:gd name="T63" fmla="*/ 36 h 46"/>
              <a:gd name="T64" fmla="*/ 14 w 109"/>
              <a:gd name="T65" fmla="*/ 38 h 46"/>
              <a:gd name="T66" fmla="*/ 13 w 109"/>
              <a:gd name="T67" fmla="*/ 39 h 46"/>
              <a:gd name="T68" fmla="*/ 12 w 109"/>
              <a:gd name="T69" fmla="*/ 40 h 46"/>
              <a:gd name="T70" fmla="*/ 5 w 109"/>
              <a:gd name="T71" fmla="*/ 36 h 46"/>
              <a:gd name="T72" fmla="*/ 1 w 109"/>
              <a:gd name="T73" fmla="*/ 38 h 46"/>
              <a:gd name="T74" fmla="*/ 16 w 109"/>
              <a:gd name="T75" fmla="*/ 43 h 46"/>
              <a:gd name="T76" fmla="*/ 21 w 109"/>
              <a:gd name="T77" fmla="*/ 41 h 46"/>
              <a:gd name="T78" fmla="*/ 25 w 109"/>
              <a:gd name="T79" fmla="*/ 45 h 46"/>
              <a:gd name="T80" fmla="*/ 35 w 109"/>
              <a:gd name="T81" fmla="*/ 44 h 46"/>
              <a:gd name="T82" fmla="*/ 42 w 109"/>
              <a:gd name="T83" fmla="*/ 43 h 46"/>
              <a:gd name="T84" fmla="*/ 45 w 109"/>
              <a:gd name="T85" fmla="*/ 42 h 46"/>
              <a:gd name="T86" fmla="*/ 45 w 109"/>
              <a:gd name="T87" fmla="*/ 38 h 46"/>
              <a:gd name="T88" fmla="*/ 54 w 109"/>
              <a:gd name="T89" fmla="*/ 33 h 46"/>
              <a:gd name="T90" fmla="*/ 56 w 109"/>
              <a:gd name="T91" fmla="*/ 30 h 46"/>
              <a:gd name="T92" fmla="*/ 60 w 109"/>
              <a:gd name="T93" fmla="*/ 30 h 46"/>
              <a:gd name="T94" fmla="*/ 64 w 109"/>
              <a:gd name="T95" fmla="*/ 29 h 46"/>
              <a:gd name="T96" fmla="*/ 66 w 109"/>
              <a:gd name="T97" fmla="*/ 33 h 46"/>
              <a:gd name="T98" fmla="*/ 71 w 109"/>
              <a:gd name="T99" fmla="*/ 32 h 46"/>
              <a:gd name="T100" fmla="*/ 72 w 109"/>
              <a:gd name="T101" fmla="*/ 30 h 46"/>
              <a:gd name="T102" fmla="*/ 77 w 109"/>
              <a:gd name="T103" fmla="*/ 2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9" h="46">
                <a:moveTo>
                  <a:pt x="77" y="24"/>
                </a:moveTo>
                <a:cubicBezTo>
                  <a:pt x="78" y="23"/>
                  <a:pt x="80" y="23"/>
                  <a:pt x="81" y="23"/>
                </a:cubicBezTo>
                <a:cubicBezTo>
                  <a:pt x="82" y="23"/>
                  <a:pt x="82" y="23"/>
                  <a:pt x="83" y="23"/>
                </a:cubicBezTo>
                <a:cubicBezTo>
                  <a:pt x="84" y="23"/>
                  <a:pt x="84" y="23"/>
                  <a:pt x="84" y="23"/>
                </a:cubicBezTo>
                <a:cubicBezTo>
                  <a:pt x="85" y="23"/>
                  <a:pt x="86" y="23"/>
                  <a:pt x="87" y="23"/>
                </a:cubicBezTo>
                <a:cubicBezTo>
                  <a:pt x="90" y="22"/>
                  <a:pt x="90" y="22"/>
                  <a:pt x="90" y="22"/>
                </a:cubicBezTo>
                <a:cubicBezTo>
                  <a:pt x="90" y="22"/>
                  <a:pt x="90" y="22"/>
                  <a:pt x="90" y="22"/>
                </a:cubicBezTo>
                <a:cubicBezTo>
                  <a:pt x="90" y="22"/>
                  <a:pt x="90" y="22"/>
                  <a:pt x="90" y="22"/>
                </a:cubicBezTo>
                <a:cubicBezTo>
                  <a:pt x="91" y="21"/>
                  <a:pt x="91" y="21"/>
                  <a:pt x="91" y="21"/>
                </a:cubicBezTo>
                <a:cubicBezTo>
                  <a:pt x="91" y="21"/>
                  <a:pt x="91" y="21"/>
                  <a:pt x="91" y="21"/>
                </a:cubicBezTo>
                <a:cubicBezTo>
                  <a:pt x="91" y="20"/>
                  <a:pt x="92" y="20"/>
                  <a:pt x="92" y="20"/>
                </a:cubicBezTo>
                <a:cubicBezTo>
                  <a:pt x="93" y="19"/>
                  <a:pt x="93" y="18"/>
                  <a:pt x="94" y="18"/>
                </a:cubicBezTo>
                <a:cubicBezTo>
                  <a:pt x="95" y="18"/>
                  <a:pt x="95" y="18"/>
                  <a:pt x="95" y="18"/>
                </a:cubicBezTo>
                <a:cubicBezTo>
                  <a:pt x="96" y="17"/>
                  <a:pt x="97" y="16"/>
                  <a:pt x="99" y="16"/>
                </a:cubicBezTo>
                <a:cubicBezTo>
                  <a:pt x="99" y="16"/>
                  <a:pt x="99" y="16"/>
                  <a:pt x="99" y="16"/>
                </a:cubicBezTo>
                <a:cubicBezTo>
                  <a:pt x="100" y="16"/>
                  <a:pt x="100" y="15"/>
                  <a:pt x="101" y="15"/>
                </a:cubicBezTo>
                <a:cubicBezTo>
                  <a:pt x="103" y="14"/>
                  <a:pt x="105" y="14"/>
                  <a:pt x="107" y="13"/>
                </a:cubicBezTo>
                <a:cubicBezTo>
                  <a:pt x="109" y="12"/>
                  <a:pt x="109" y="12"/>
                  <a:pt x="109" y="12"/>
                </a:cubicBezTo>
                <a:cubicBezTo>
                  <a:pt x="109" y="12"/>
                  <a:pt x="109" y="12"/>
                  <a:pt x="109" y="12"/>
                </a:cubicBezTo>
                <a:cubicBezTo>
                  <a:pt x="109" y="12"/>
                  <a:pt x="109" y="12"/>
                  <a:pt x="109" y="12"/>
                </a:cubicBezTo>
                <a:cubicBezTo>
                  <a:pt x="109" y="12"/>
                  <a:pt x="109" y="12"/>
                  <a:pt x="109" y="12"/>
                </a:cubicBezTo>
                <a:cubicBezTo>
                  <a:pt x="109" y="12"/>
                  <a:pt x="109" y="12"/>
                  <a:pt x="109" y="12"/>
                </a:cubicBezTo>
                <a:cubicBezTo>
                  <a:pt x="109" y="11"/>
                  <a:pt x="109" y="11"/>
                  <a:pt x="109" y="11"/>
                </a:cubicBezTo>
                <a:cubicBezTo>
                  <a:pt x="109" y="11"/>
                  <a:pt x="109" y="11"/>
                  <a:pt x="108" y="11"/>
                </a:cubicBezTo>
                <a:cubicBezTo>
                  <a:pt x="108" y="10"/>
                  <a:pt x="108" y="10"/>
                  <a:pt x="107" y="10"/>
                </a:cubicBezTo>
                <a:cubicBezTo>
                  <a:pt x="107" y="10"/>
                  <a:pt x="107" y="9"/>
                  <a:pt x="107" y="9"/>
                </a:cubicBezTo>
                <a:cubicBezTo>
                  <a:pt x="106" y="9"/>
                  <a:pt x="106" y="9"/>
                  <a:pt x="106" y="9"/>
                </a:cubicBezTo>
                <a:cubicBezTo>
                  <a:pt x="105" y="9"/>
                  <a:pt x="105" y="9"/>
                  <a:pt x="105" y="9"/>
                </a:cubicBezTo>
                <a:cubicBezTo>
                  <a:pt x="103" y="9"/>
                  <a:pt x="102" y="9"/>
                  <a:pt x="100" y="7"/>
                </a:cubicBezTo>
                <a:cubicBezTo>
                  <a:pt x="100" y="7"/>
                  <a:pt x="100" y="7"/>
                  <a:pt x="100" y="7"/>
                </a:cubicBezTo>
                <a:cubicBezTo>
                  <a:pt x="100" y="6"/>
                  <a:pt x="100" y="6"/>
                  <a:pt x="99" y="5"/>
                </a:cubicBezTo>
                <a:cubicBezTo>
                  <a:pt x="99" y="5"/>
                  <a:pt x="99" y="5"/>
                  <a:pt x="99" y="5"/>
                </a:cubicBezTo>
                <a:cubicBezTo>
                  <a:pt x="99" y="5"/>
                  <a:pt x="99" y="5"/>
                  <a:pt x="99" y="5"/>
                </a:cubicBezTo>
                <a:cubicBezTo>
                  <a:pt x="99" y="5"/>
                  <a:pt x="99" y="5"/>
                  <a:pt x="99" y="5"/>
                </a:cubicBezTo>
                <a:cubicBezTo>
                  <a:pt x="98" y="5"/>
                  <a:pt x="98" y="5"/>
                  <a:pt x="98" y="5"/>
                </a:cubicBezTo>
                <a:cubicBezTo>
                  <a:pt x="97" y="5"/>
                  <a:pt x="96" y="5"/>
                  <a:pt x="95" y="5"/>
                </a:cubicBezTo>
                <a:cubicBezTo>
                  <a:pt x="94" y="4"/>
                  <a:pt x="94" y="4"/>
                  <a:pt x="94" y="4"/>
                </a:cubicBezTo>
                <a:cubicBezTo>
                  <a:pt x="94" y="4"/>
                  <a:pt x="94" y="4"/>
                  <a:pt x="93" y="4"/>
                </a:cubicBezTo>
                <a:cubicBezTo>
                  <a:pt x="93" y="4"/>
                  <a:pt x="93" y="4"/>
                  <a:pt x="92" y="4"/>
                </a:cubicBezTo>
                <a:cubicBezTo>
                  <a:pt x="92" y="4"/>
                  <a:pt x="92" y="4"/>
                  <a:pt x="91" y="4"/>
                </a:cubicBezTo>
                <a:cubicBezTo>
                  <a:pt x="91" y="4"/>
                  <a:pt x="91" y="4"/>
                  <a:pt x="91" y="4"/>
                </a:cubicBezTo>
                <a:cubicBezTo>
                  <a:pt x="89" y="4"/>
                  <a:pt x="86" y="4"/>
                  <a:pt x="84" y="4"/>
                </a:cubicBezTo>
                <a:cubicBezTo>
                  <a:pt x="84" y="4"/>
                  <a:pt x="84" y="4"/>
                  <a:pt x="84" y="4"/>
                </a:cubicBezTo>
                <a:cubicBezTo>
                  <a:pt x="83" y="4"/>
                  <a:pt x="83" y="4"/>
                  <a:pt x="82" y="4"/>
                </a:cubicBezTo>
                <a:cubicBezTo>
                  <a:pt x="82" y="5"/>
                  <a:pt x="82" y="5"/>
                  <a:pt x="82" y="5"/>
                </a:cubicBezTo>
                <a:cubicBezTo>
                  <a:pt x="82" y="4"/>
                  <a:pt x="82" y="4"/>
                  <a:pt x="82" y="4"/>
                </a:cubicBezTo>
                <a:cubicBezTo>
                  <a:pt x="82" y="4"/>
                  <a:pt x="82" y="4"/>
                  <a:pt x="82" y="4"/>
                </a:cubicBezTo>
                <a:cubicBezTo>
                  <a:pt x="79" y="3"/>
                  <a:pt x="77" y="3"/>
                  <a:pt x="74" y="3"/>
                </a:cubicBezTo>
                <a:cubicBezTo>
                  <a:pt x="74" y="3"/>
                  <a:pt x="74" y="3"/>
                  <a:pt x="74" y="3"/>
                </a:cubicBezTo>
                <a:cubicBezTo>
                  <a:pt x="73" y="3"/>
                  <a:pt x="72" y="3"/>
                  <a:pt x="71" y="3"/>
                </a:cubicBezTo>
                <a:cubicBezTo>
                  <a:pt x="71" y="3"/>
                  <a:pt x="71" y="3"/>
                  <a:pt x="71" y="3"/>
                </a:cubicBezTo>
                <a:cubicBezTo>
                  <a:pt x="69" y="3"/>
                  <a:pt x="67" y="3"/>
                  <a:pt x="66" y="3"/>
                </a:cubicBezTo>
                <a:cubicBezTo>
                  <a:pt x="65" y="3"/>
                  <a:pt x="65" y="3"/>
                  <a:pt x="65" y="3"/>
                </a:cubicBezTo>
                <a:cubicBezTo>
                  <a:pt x="65" y="3"/>
                  <a:pt x="65" y="3"/>
                  <a:pt x="64" y="3"/>
                </a:cubicBezTo>
                <a:cubicBezTo>
                  <a:pt x="63" y="4"/>
                  <a:pt x="62" y="4"/>
                  <a:pt x="60" y="4"/>
                </a:cubicBezTo>
                <a:cubicBezTo>
                  <a:pt x="59" y="4"/>
                  <a:pt x="59" y="4"/>
                  <a:pt x="59" y="4"/>
                </a:cubicBezTo>
                <a:cubicBezTo>
                  <a:pt x="59" y="4"/>
                  <a:pt x="59" y="4"/>
                  <a:pt x="58" y="4"/>
                </a:cubicBezTo>
                <a:cubicBezTo>
                  <a:pt x="57" y="4"/>
                  <a:pt x="57" y="4"/>
                  <a:pt x="57" y="4"/>
                </a:cubicBezTo>
                <a:cubicBezTo>
                  <a:pt x="57" y="3"/>
                  <a:pt x="57" y="3"/>
                  <a:pt x="56" y="3"/>
                </a:cubicBezTo>
                <a:cubicBezTo>
                  <a:pt x="55" y="3"/>
                  <a:pt x="55" y="3"/>
                  <a:pt x="55" y="3"/>
                </a:cubicBezTo>
                <a:cubicBezTo>
                  <a:pt x="55" y="3"/>
                  <a:pt x="54" y="2"/>
                  <a:pt x="54" y="2"/>
                </a:cubicBezTo>
                <a:cubicBezTo>
                  <a:pt x="53" y="2"/>
                  <a:pt x="53" y="2"/>
                  <a:pt x="53" y="2"/>
                </a:cubicBezTo>
                <a:cubicBezTo>
                  <a:pt x="53" y="2"/>
                  <a:pt x="53" y="2"/>
                  <a:pt x="53" y="2"/>
                </a:cubicBezTo>
                <a:cubicBezTo>
                  <a:pt x="52" y="1"/>
                  <a:pt x="52" y="1"/>
                  <a:pt x="51" y="1"/>
                </a:cubicBezTo>
                <a:cubicBezTo>
                  <a:pt x="51" y="0"/>
                  <a:pt x="50" y="0"/>
                  <a:pt x="49" y="0"/>
                </a:cubicBezTo>
                <a:cubicBezTo>
                  <a:pt x="49" y="0"/>
                  <a:pt x="48" y="0"/>
                  <a:pt x="48" y="0"/>
                </a:cubicBezTo>
                <a:cubicBezTo>
                  <a:pt x="47" y="0"/>
                  <a:pt x="46" y="0"/>
                  <a:pt x="45" y="1"/>
                </a:cubicBezTo>
                <a:cubicBezTo>
                  <a:pt x="46" y="1"/>
                  <a:pt x="46" y="1"/>
                  <a:pt x="46" y="1"/>
                </a:cubicBezTo>
                <a:cubicBezTo>
                  <a:pt x="45" y="1"/>
                  <a:pt x="45" y="1"/>
                  <a:pt x="45" y="1"/>
                </a:cubicBezTo>
                <a:cubicBezTo>
                  <a:pt x="45" y="1"/>
                  <a:pt x="45" y="1"/>
                  <a:pt x="45" y="1"/>
                </a:cubicBezTo>
                <a:cubicBezTo>
                  <a:pt x="43" y="2"/>
                  <a:pt x="42" y="4"/>
                  <a:pt x="43" y="6"/>
                </a:cubicBezTo>
                <a:cubicBezTo>
                  <a:pt x="43" y="6"/>
                  <a:pt x="43" y="6"/>
                  <a:pt x="43" y="6"/>
                </a:cubicBezTo>
                <a:cubicBezTo>
                  <a:pt x="43" y="7"/>
                  <a:pt x="43" y="7"/>
                  <a:pt x="43" y="8"/>
                </a:cubicBezTo>
                <a:cubicBezTo>
                  <a:pt x="45" y="10"/>
                  <a:pt x="45" y="10"/>
                  <a:pt x="45" y="10"/>
                </a:cubicBezTo>
                <a:cubicBezTo>
                  <a:pt x="42" y="9"/>
                  <a:pt x="42" y="9"/>
                  <a:pt x="42" y="9"/>
                </a:cubicBezTo>
                <a:cubicBezTo>
                  <a:pt x="40" y="9"/>
                  <a:pt x="39" y="9"/>
                  <a:pt x="37" y="8"/>
                </a:cubicBezTo>
                <a:cubicBezTo>
                  <a:pt x="35" y="7"/>
                  <a:pt x="33" y="6"/>
                  <a:pt x="30" y="6"/>
                </a:cubicBezTo>
                <a:cubicBezTo>
                  <a:pt x="30" y="6"/>
                  <a:pt x="29" y="6"/>
                  <a:pt x="29" y="6"/>
                </a:cubicBezTo>
                <a:cubicBezTo>
                  <a:pt x="29" y="6"/>
                  <a:pt x="29" y="6"/>
                  <a:pt x="29" y="6"/>
                </a:cubicBezTo>
                <a:cubicBezTo>
                  <a:pt x="28" y="5"/>
                  <a:pt x="28" y="5"/>
                  <a:pt x="28" y="5"/>
                </a:cubicBezTo>
                <a:cubicBezTo>
                  <a:pt x="28" y="5"/>
                  <a:pt x="28" y="5"/>
                  <a:pt x="28" y="5"/>
                </a:cubicBezTo>
                <a:cubicBezTo>
                  <a:pt x="22" y="5"/>
                  <a:pt x="22" y="5"/>
                  <a:pt x="22" y="5"/>
                </a:cubicBezTo>
                <a:cubicBezTo>
                  <a:pt x="22" y="5"/>
                  <a:pt x="22" y="5"/>
                  <a:pt x="22" y="5"/>
                </a:cubicBezTo>
                <a:cubicBezTo>
                  <a:pt x="22" y="5"/>
                  <a:pt x="22" y="5"/>
                  <a:pt x="22" y="5"/>
                </a:cubicBezTo>
                <a:cubicBezTo>
                  <a:pt x="21" y="5"/>
                  <a:pt x="21" y="5"/>
                  <a:pt x="21" y="5"/>
                </a:cubicBezTo>
                <a:cubicBezTo>
                  <a:pt x="21" y="5"/>
                  <a:pt x="20" y="5"/>
                  <a:pt x="20" y="5"/>
                </a:cubicBezTo>
                <a:cubicBezTo>
                  <a:pt x="20" y="5"/>
                  <a:pt x="20" y="5"/>
                  <a:pt x="20" y="5"/>
                </a:cubicBezTo>
                <a:cubicBezTo>
                  <a:pt x="20" y="6"/>
                  <a:pt x="20" y="6"/>
                  <a:pt x="20" y="6"/>
                </a:cubicBezTo>
                <a:cubicBezTo>
                  <a:pt x="20" y="6"/>
                  <a:pt x="19" y="6"/>
                  <a:pt x="19" y="7"/>
                </a:cubicBezTo>
                <a:cubicBezTo>
                  <a:pt x="19" y="6"/>
                  <a:pt x="19" y="6"/>
                  <a:pt x="19" y="6"/>
                </a:cubicBezTo>
                <a:cubicBezTo>
                  <a:pt x="19" y="7"/>
                  <a:pt x="19" y="7"/>
                  <a:pt x="19" y="7"/>
                </a:cubicBezTo>
                <a:cubicBezTo>
                  <a:pt x="19" y="7"/>
                  <a:pt x="19" y="7"/>
                  <a:pt x="19" y="7"/>
                </a:cubicBezTo>
                <a:cubicBezTo>
                  <a:pt x="18" y="8"/>
                  <a:pt x="18" y="8"/>
                  <a:pt x="18" y="8"/>
                </a:cubicBezTo>
                <a:cubicBezTo>
                  <a:pt x="18" y="8"/>
                  <a:pt x="17" y="9"/>
                  <a:pt x="17" y="9"/>
                </a:cubicBezTo>
                <a:cubicBezTo>
                  <a:pt x="17" y="9"/>
                  <a:pt x="17" y="9"/>
                  <a:pt x="17" y="9"/>
                </a:cubicBezTo>
                <a:cubicBezTo>
                  <a:pt x="17" y="9"/>
                  <a:pt x="17" y="9"/>
                  <a:pt x="17" y="9"/>
                </a:cubicBezTo>
                <a:cubicBezTo>
                  <a:pt x="17" y="9"/>
                  <a:pt x="18" y="9"/>
                  <a:pt x="18" y="10"/>
                </a:cubicBezTo>
                <a:cubicBezTo>
                  <a:pt x="19" y="10"/>
                  <a:pt x="19" y="10"/>
                  <a:pt x="19" y="10"/>
                </a:cubicBezTo>
                <a:cubicBezTo>
                  <a:pt x="22" y="10"/>
                  <a:pt x="22" y="10"/>
                  <a:pt x="22" y="10"/>
                </a:cubicBezTo>
                <a:cubicBezTo>
                  <a:pt x="18" y="13"/>
                  <a:pt x="18" y="13"/>
                  <a:pt x="18" y="13"/>
                </a:cubicBezTo>
                <a:cubicBezTo>
                  <a:pt x="16" y="14"/>
                  <a:pt x="12" y="17"/>
                  <a:pt x="10" y="18"/>
                </a:cubicBezTo>
                <a:cubicBezTo>
                  <a:pt x="10" y="18"/>
                  <a:pt x="10" y="18"/>
                  <a:pt x="10" y="18"/>
                </a:cubicBezTo>
                <a:cubicBezTo>
                  <a:pt x="10" y="18"/>
                  <a:pt x="10" y="18"/>
                  <a:pt x="10" y="19"/>
                </a:cubicBezTo>
                <a:cubicBezTo>
                  <a:pt x="11" y="19"/>
                  <a:pt x="11" y="19"/>
                  <a:pt x="11" y="19"/>
                </a:cubicBezTo>
                <a:cubicBezTo>
                  <a:pt x="11" y="19"/>
                  <a:pt x="11" y="19"/>
                  <a:pt x="11" y="19"/>
                </a:cubicBezTo>
                <a:cubicBezTo>
                  <a:pt x="14" y="18"/>
                  <a:pt x="14" y="18"/>
                  <a:pt x="14" y="18"/>
                </a:cubicBezTo>
                <a:cubicBezTo>
                  <a:pt x="14" y="19"/>
                  <a:pt x="14" y="19"/>
                  <a:pt x="14" y="19"/>
                </a:cubicBezTo>
                <a:cubicBezTo>
                  <a:pt x="14" y="20"/>
                  <a:pt x="14" y="20"/>
                  <a:pt x="14" y="20"/>
                </a:cubicBezTo>
                <a:cubicBezTo>
                  <a:pt x="15" y="21"/>
                  <a:pt x="15" y="21"/>
                  <a:pt x="15" y="21"/>
                </a:cubicBezTo>
                <a:cubicBezTo>
                  <a:pt x="15" y="21"/>
                  <a:pt x="15" y="22"/>
                  <a:pt x="15" y="22"/>
                </a:cubicBezTo>
                <a:cubicBezTo>
                  <a:pt x="16" y="22"/>
                  <a:pt x="18" y="22"/>
                  <a:pt x="19" y="23"/>
                </a:cubicBezTo>
                <a:cubicBezTo>
                  <a:pt x="19" y="22"/>
                  <a:pt x="19" y="22"/>
                  <a:pt x="20" y="21"/>
                </a:cubicBezTo>
                <a:cubicBezTo>
                  <a:pt x="20" y="20"/>
                  <a:pt x="20" y="20"/>
                  <a:pt x="20" y="20"/>
                </a:cubicBezTo>
                <a:cubicBezTo>
                  <a:pt x="21" y="20"/>
                  <a:pt x="21" y="20"/>
                  <a:pt x="21" y="20"/>
                </a:cubicBezTo>
                <a:cubicBezTo>
                  <a:pt x="21" y="18"/>
                  <a:pt x="21" y="18"/>
                  <a:pt x="21" y="18"/>
                </a:cubicBezTo>
                <a:cubicBezTo>
                  <a:pt x="23" y="18"/>
                  <a:pt x="23" y="18"/>
                  <a:pt x="23" y="18"/>
                </a:cubicBezTo>
                <a:cubicBezTo>
                  <a:pt x="25" y="19"/>
                  <a:pt x="26" y="20"/>
                  <a:pt x="27" y="22"/>
                </a:cubicBezTo>
                <a:cubicBezTo>
                  <a:pt x="27" y="22"/>
                  <a:pt x="27" y="22"/>
                  <a:pt x="27" y="22"/>
                </a:cubicBezTo>
                <a:cubicBezTo>
                  <a:pt x="27" y="22"/>
                  <a:pt x="27" y="22"/>
                  <a:pt x="27" y="22"/>
                </a:cubicBezTo>
                <a:cubicBezTo>
                  <a:pt x="27" y="22"/>
                  <a:pt x="28" y="22"/>
                  <a:pt x="29" y="22"/>
                </a:cubicBezTo>
                <a:cubicBezTo>
                  <a:pt x="29" y="23"/>
                  <a:pt x="29" y="23"/>
                  <a:pt x="30" y="24"/>
                </a:cubicBezTo>
                <a:cubicBezTo>
                  <a:pt x="30" y="24"/>
                  <a:pt x="30" y="24"/>
                  <a:pt x="30" y="24"/>
                </a:cubicBezTo>
                <a:cubicBezTo>
                  <a:pt x="31" y="22"/>
                  <a:pt x="31" y="22"/>
                  <a:pt x="31" y="22"/>
                </a:cubicBezTo>
                <a:cubicBezTo>
                  <a:pt x="31" y="24"/>
                  <a:pt x="31" y="24"/>
                  <a:pt x="31" y="24"/>
                </a:cubicBezTo>
                <a:cubicBezTo>
                  <a:pt x="32" y="25"/>
                  <a:pt x="32" y="25"/>
                  <a:pt x="32" y="25"/>
                </a:cubicBezTo>
                <a:cubicBezTo>
                  <a:pt x="32" y="25"/>
                  <a:pt x="32" y="25"/>
                  <a:pt x="33" y="25"/>
                </a:cubicBezTo>
                <a:cubicBezTo>
                  <a:pt x="33" y="25"/>
                  <a:pt x="33" y="26"/>
                  <a:pt x="33" y="26"/>
                </a:cubicBezTo>
                <a:cubicBezTo>
                  <a:pt x="34" y="26"/>
                  <a:pt x="35" y="26"/>
                  <a:pt x="36" y="26"/>
                </a:cubicBezTo>
                <a:cubicBezTo>
                  <a:pt x="37" y="26"/>
                  <a:pt x="38" y="26"/>
                  <a:pt x="38" y="26"/>
                </a:cubicBezTo>
                <a:cubicBezTo>
                  <a:pt x="40" y="26"/>
                  <a:pt x="40" y="26"/>
                  <a:pt x="40" y="26"/>
                </a:cubicBezTo>
                <a:cubicBezTo>
                  <a:pt x="39" y="28"/>
                  <a:pt x="39" y="28"/>
                  <a:pt x="39" y="28"/>
                </a:cubicBezTo>
                <a:cubicBezTo>
                  <a:pt x="39" y="28"/>
                  <a:pt x="39" y="29"/>
                  <a:pt x="38" y="29"/>
                </a:cubicBezTo>
                <a:cubicBezTo>
                  <a:pt x="38" y="29"/>
                  <a:pt x="38" y="29"/>
                  <a:pt x="38" y="29"/>
                </a:cubicBezTo>
                <a:cubicBezTo>
                  <a:pt x="38" y="30"/>
                  <a:pt x="38" y="30"/>
                  <a:pt x="37" y="30"/>
                </a:cubicBezTo>
                <a:cubicBezTo>
                  <a:pt x="37" y="30"/>
                  <a:pt x="37" y="30"/>
                  <a:pt x="36" y="30"/>
                </a:cubicBezTo>
                <a:cubicBezTo>
                  <a:pt x="36" y="30"/>
                  <a:pt x="36" y="30"/>
                  <a:pt x="36" y="30"/>
                </a:cubicBezTo>
                <a:cubicBezTo>
                  <a:pt x="36" y="30"/>
                  <a:pt x="36" y="31"/>
                  <a:pt x="36" y="31"/>
                </a:cubicBezTo>
                <a:cubicBezTo>
                  <a:pt x="35" y="31"/>
                  <a:pt x="35" y="31"/>
                  <a:pt x="35" y="31"/>
                </a:cubicBezTo>
                <a:cubicBezTo>
                  <a:pt x="35" y="31"/>
                  <a:pt x="35" y="31"/>
                  <a:pt x="35" y="31"/>
                </a:cubicBezTo>
                <a:cubicBezTo>
                  <a:pt x="35" y="32"/>
                  <a:pt x="34" y="32"/>
                  <a:pt x="33" y="33"/>
                </a:cubicBezTo>
                <a:cubicBezTo>
                  <a:pt x="33" y="33"/>
                  <a:pt x="33" y="33"/>
                  <a:pt x="33" y="33"/>
                </a:cubicBezTo>
                <a:cubicBezTo>
                  <a:pt x="33" y="33"/>
                  <a:pt x="32" y="33"/>
                  <a:pt x="32" y="33"/>
                </a:cubicBezTo>
                <a:cubicBezTo>
                  <a:pt x="32" y="33"/>
                  <a:pt x="32" y="33"/>
                  <a:pt x="32" y="33"/>
                </a:cubicBezTo>
                <a:cubicBezTo>
                  <a:pt x="32" y="35"/>
                  <a:pt x="32" y="35"/>
                  <a:pt x="32" y="35"/>
                </a:cubicBezTo>
                <a:cubicBezTo>
                  <a:pt x="30" y="34"/>
                  <a:pt x="30" y="34"/>
                  <a:pt x="30" y="34"/>
                </a:cubicBezTo>
                <a:cubicBezTo>
                  <a:pt x="30" y="34"/>
                  <a:pt x="29" y="34"/>
                  <a:pt x="28" y="34"/>
                </a:cubicBezTo>
                <a:cubicBezTo>
                  <a:pt x="28" y="34"/>
                  <a:pt x="28" y="34"/>
                  <a:pt x="28" y="34"/>
                </a:cubicBezTo>
                <a:cubicBezTo>
                  <a:pt x="28" y="34"/>
                  <a:pt x="28" y="34"/>
                  <a:pt x="28" y="34"/>
                </a:cubicBezTo>
                <a:cubicBezTo>
                  <a:pt x="28" y="35"/>
                  <a:pt x="27" y="35"/>
                  <a:pt x="27" y="36"/>
                </a:cubicBezTo>
                <a:cubicBezTo>
                  <a:pt x="26" y="36"/>
                  <a:pt x="26" y="36"/>
                  <a:pt x="26" y="36"/>
                </a:cubicBezTo>
                <a:cubicBezTo>
                  <a:pt x="25" y="37"/>
                  <a:pt x="24" y="37"/>
                  <a:pt x="22" y="36"/>
                </a:cubicBezTo>
                <a:cubicBezTo>
                  <a:pt x="21" y="36"/>
                  <a:pt x="21" y="36"/>
                  <a:pt x="21" y="36"/>
                </a:cubicBezTo>
                <a:cubicBezTo>
                  <a:pt x="20" y="36"/>
                  <a:pt x="20" y="36"/>
                  <a:pt x="20" y="36"/>
                </a:cubicBezTo>
                <a:cubicBezTo>
                  <a:pt x="20" y="36"/>
                  <a:pt x="20" y="35"/>
                  <a:pt x="20" y="35"/>
                </a:cubicBezTo>
                <a:cubicBezTo>
                  <a:pt x="20" y="35"/>
                  <a:pt x="20" y="35"/>
                  <a:pt x="20" y="35"/>
                </a:cubicBezTo>
                <a:cubicBezTo>
                  <a:pt x="20" y="35"/>
                  <a:pt x="19" y="35"/>
                  <a:pt x="19" y="35"/>
                </a:cubicBezTo>
                <a:cubicBezTo>
                  <a:pt x="19" y="35"/>
                  <a:pt x="19" y="35"/>
                  <a:pt x="18" y="35"/>
                </a:cubicBezTo>
                <a:cubicBezTo>
                  <a:pt x="18" y="35"/>
                  <a:pt x="18" y="35"/>
                  <a:pt x="17" y="36"/>
                </a:cubicBezTo>
                <a:cubicBezTo>
                  <a:pt x="17" y="36"/>
                  <a:pt x="17" y="36"/>
                  <a:pt x="17" y="36"/>
                </a:cubicBezTo>
                <a:cubicBezTo>
                  <a:pt x="17" y="36"/>
                  <a:pt x="17" y="36"/>
                  <a:pt x="17" y="36"/>
                </a:cubicBezTo>
                <a:cubicBezTo>
                  <a:pt x="16" y="36"/>
                  <a:pt x="16" y="36"/>
                  <a:pt x="16" y="36"/>
                </a:cubicBezTo>
                <a:cubicBezTo>
                  <a:pt x="15" y="37"/>
                  <a:pt x="15" y="37"/>
                  <a:pt x="15" y="37"/>
                </a:cubicBezTo>
                <a:cubicBezTo>
                  <a:pt x="15" y="37"/>
                  <a:pt x="15" y="37"/>
                  <a:pt x="15" y="37"/>
                </a:cubicBezTo>
                <a:cubicBezTo>
                  <a:pt x="15" y="37"/>
                  <a:pt x="15" y="37"/>
                  <a:pt x="15" y="37"/>
                </a:cubicBezTo>
                <a:cubicBezTo>
                  <a:pt x="15" y="37"/>
                  <a:pt x="14" y="38"/>
                  <a:pt x="14" y="38"/>
                </a:cubicBezTo>
                <a:cubicBezTo>
                  <a:pt x="14" y="38"/>
                  <a:pt x="14" y="38"/>
                  <a:pt x="14" y="38"/>
                </a:cubicBezTo>
                <a:cubicBezTo>
                  <a:pt x="14" y="38"/>
                  <a:pt x="14" y="38"/>
                  <a:pt x="14" y="38"/>
                </a:cubicBezTo>
                <a:cubicBezTo>
                  <a:pt x="14" y="38"/>
                  <a:pt x="13" y="38"/>
                  <a:pt x="13" y="38"/>
                </a:cubicBezTo>
                <a:cubicBezTo>
                  <a:pt x="13" y="39"/>
                  <a:pt x="13" y="39"/>
                  <a:pt x="13" y="39"/>
                </a:cubicBezTo>
                <a:cubicBezTo>
                  <a:pt x="13" y="39"/>
                  <a:pt x="13" y="39"/>
                  <a:pt x="13" y="39"/>
                </a:cubicBezTo>
                <a:cubicBezTo>
                  <a:pt x="12" y="39"/>
                  <a:pt x="12" y="39"/>
                  <a:pt x="12" y="39"/>
                </a:cubicBezTo>
                <a:cubicBezTo>
                  <a:pt x="12" y="39"/>
                  <a:pt x="12" y="39"/>
                  <a:pt x="12" y="39"/>
                </a:cubicBezTo>
                <a:cubicBezTo>
                  <a:pt x="12" y="39"/>
                  <a:pt x="12" y="39"/>
                  <a:pt x="12" y="39"/>
                </a:cubicBezTo>
                <a:cubicBezTo>
                  <a:pt x="12" y="39"/>
                  <a:pt x="12" y="39"/>
                  <a:pt x="12" y="39"/>
                </a:cubicBezTo>
                <a:cubicBezTo>
                  <a:pt x="12" y="39"/>
                  <a:pt x="12" y="39"/>
                  <a:pt x="12" y="40"/>
                </a:cubicBezTo>
                <a:cubicBezTo>
                  <a:pt x="11" y="40"/>
                  <a:pt x="11" y="40"/>
                  <a:pt x="11" y="40"/>
                </a:cubicBezTo>
                <a:cubicBezTo>
                  <a:pt x="10" y="40"/>
                  <a:pt x="10" y="40"/>
                  <a:pt x="10" y="40"/>
                </a:cubicBezTo>
                <a:cubicBezTo>
                  <a:pt x="9" y="39"/>
                  <a:pt x="9" y="39"/>
                  <a:pt x="9" y="39"/>
                </a:cubicBezTo>
                <a:cubicBezTo>
                  <a:pt x="9" y="38"/>
                  <a:pt x="9" y="38"/>
                  <a:pt x="10" y="38"/>
                </a:cubicBezTo>
                <a:cubicBezTo>
                  <a:pt x="8" y="37"/>
                  <a:pt x="6" y="37"/>
                  <a:pt x="5" y="36"/>
                </a:cubicBezTo>
                <a:cubicBezTo>
                  <a:pt x="5" y="36"/>
                  <a:pt x="4" y="37"/>
                  <a:pt x="3" y="37"/>
                </a:cubicBezTo>
                <a:cubicBezTo>
                  <a:pt x="3" y="37"/>
                  <a:pt x="3" y="37"/>
                  <a:pt x="3" y="37"/>
                </a:cubicBezTo>
                <a:cubicBezTo>
                  <a:pt x="3" y="37"/>
                  <a:pt x="2" y="37"/>
                  <a:pt x="2" y="37"/>
                </a:cubicBezTo>
                <a:cubicBezTo>
                  <a:pt x="2" y="37"/>
                  <a:pt x="2" y="37"/>
                  <a:pt x="2" y="37"/>
                </a:cubicBezTo>
                <a:cubicBezTo>
                  <a:pt x="2" y="37"/>
                  <a:pt x="2" y="38"/>
                  <a:pt x="1" y="38"/>
                </a:cubicBezTo>
                <a:cubicBezTo>
                  <a:pt x="1" y="39"/>
                  <a:pt x="1" y="39"/>
                  <a:pt x="1" y="39"/>
                </a:cubicBezTo>
                <a:cubicBezTo>
                  <a:pt x="0" y="40"/>
                  <a:pt x="0" y="40"/>
                  <a:pt x="0" y="40"/>
                </a:cubicBezTo>
                <a:cubicBezTo>
                  <a:pt x="0" y="42"/>
                  <a:pt x="0" y="42"/>
                  <a:pt x="0" y="42"/>
                </a:cubicBezTo>
                <a:cubicBezTo>
                  <a:pt x="4" y="42"/>
                  <a:pt x="7" y="42"/>
                  <a:pt x="11" y="42"/>
                </a:cubicBezTo>
                <a:cubicBezTo>
                  <a:pt x="13" y="42"/>
                  <a:pt x="14" y="43"/>
                  <a:pt x="16" y="43"/>
                </a:cubicBezTo>
                <a:cubicBezTo>
                  <a:pt x="17" y="41"/>
                  <a:pt x="17" y="41"/>
                  <a:pt x="17" y="41"/>
                </a:cubicBezTo>
                <a:cubicBezTo>
                  <a:pt x="17" y="43"/>
                  <a:pt x="17" y="43"/>
                  <a:pt x="17" y="43"/>
                </a:cubicBezTo>
                <a:cubicBezTo>
                  <a:pt x="17" y="43"/>
                  <a:pt x="19" y="43"/>
                  <a:pt x="19" y="42"/>
                </a:cubicBezTo>
                <a:cubicBezTo>
                  <a:pt x="20" y="42"/>
                  <a:pt x="20" y="42"/>
                  <a:pt x="20" y="42"/>
                </a:cubicBezTo>
                <a:cubicBezTo>
                  <a:pt x="20" y="42"/>
                  <a:pt x="21" y="42"/>
                  <a:pt x="21" y="41"/>
                </a:cubicBezTo>
                <a:cubicBezTo>
                  <a:pt x="22" y="41"/>
                  <a:pt x="22" y="41"/>
                  <a:pt x="22" y="41"/>
                </a:cubicBezTo>
                <a:cubicBezTo>
                  <a:pt x="23" y="43"/>
                  <a:pt x="23" y="43"/>
                  <a:pt x="23" y="43"/>
                </a:cubicBezTo>
                <a:cubicBezTo>
                  <a:pt x="23" y="43"/>
                  <a:pt x="23" y="43"/>
                  <a:pt x="23" y="43"/>
                </a:cubicBezTo>
                <a:cubicBezTo>
                  <a:pt x="25" y="43"/>
                  <a:pt x="25" y="45"/>
                  <a:pt x="25" y="45"/>
                </a:cubicBezTo>
                <a:cubicBezTo>
                  <a:pt x="25" y="45"/>
                  <a:pt x="25" y="45"/>
                  <a:pt x="25" y="45"/>
                </a:cubicBezTo>
                <a:cubicBezTo>
                  <a:pt x="26" y="45"/>
                  <a:pt x="26" y="45"/>
                  <a:pt x="26" y="45"/>
                </a:cubicBezTo>
                <a:cubicBezTo>
                  <a:pt x="27" y="45"/>
                  <a:pt x="28" y="45"/>
                  <a:pt x="29" y="46"/>
                </a:cubicBezTo>
                <a:cubicBezTo>
                  <a:pt x="29" y="45"/>
                  <a:pt x="30" y="44"/>
                  <a:pt x="32" y="44"/>
                </a:cubicBezTo>
                <a:cubicBezTo>
                  <a:pt x="33" y="44"/>
                  <a:pt x="33" y="44"/>
                  <a:pt x="33" y="44"/>
                </a:cubicBezTo>
                <a:cubicBezTo>
                  <a:pt x="35" y="44"/>
                  <a:pt x="35" y="44"/>
                  <a:pt x="35" y="44"/>
                </a:cubicBezTo>
                <a:cubicBezTo>
                  <a:pt x="36" y="44"/>
                  <a:pt x="36" y="44"/>
                  <a:pt x="38" y="44"/>
                </a:cubicBezTo>
                <a:cubicBezTo>
                  <a:pt x="38" y="44"/>
                  <a:pt x="38" y="44"/>
                  <a:pt x="39" y="44"/>
                </a:cubicBezTo>
                <a:cubicBezTo>
                  <a:pt x="40" y="44"/>
                  <a:pt x="40" y="44"/>
                  <a:pt x="40" y="44"/>
                </a:cubicBezTo>
                <a:cubicBezTo>
                  <a:pt x="41" y="43"/>
                  <a:pt x="42" y="43"/>
                  <a:pt x="42" y="43"/>
                </a:cubicBezTo>
                <a:cubicBezTo>
                  <a:pt x="42" y="43"/>
                  <a:pt x="42" y="43"/>
                  <a:pt x="42" y="43"/>
                </a:cubicBezTo>
                <a:cubicBezTo>
                  <a:pt x="43" y="43"/>
                  <a:pt x="43" y="43"/>
                  <a:pt x="43" y="43"/>
                </a:cubicBezTo>
                <a:cubicBezTo>
                  <a:pt x="44" y="43"/>
                  <a:pt x="44" y="43"/>
                  <a:pt x="44" y="43"/>
                </a:cubicBezTo>
                <a:cubicBezTo>
                  <a:pt x="44" y="43"/>
                  <a:pt x="44" y="42"/>
                  <a:pt x="44" y="42"/>
                </a:cubicBezTo>
                <a:cubicBezTo>
                  <a:pt x="45" y="42"/>
                  <a:pt x="45" y="42"/>
                  <a:pt x="45" y="42"/>
                </a:cubicBezTo>
                <a:cubicBezTo>
                  <a:pt x="45" y="42"/>
                  <a:pt x="45" y="42"/>
                  <a:pt x="45" y="42"/>
                </a:cubicBezTo>
                <a:cubicBezTo>
                  <a:pt x="45" y="41"/>
                  <a:pt x="45" y="41"/>
                  <a:pt x="45" y="41"/>
                </a:cubicBezTo>
                <a:cubicBezTo>
                  <a:pt x="45" y="40"/>
                  <a:pt x="45" y="40"/>
                  <a:pt x="45" y="40"/>
                </a:cubicBezTo>
                <a:cubicBezTo>
                  <a:pt x="45" y="40"/>
                  <a:pt x="45" y="39"/>
                  <a:pt x="45" y="39"/>
                </a:cubicBezTo>
                <a:cubicBezTo>
                  <a:pt x="45" y="39"/>
                  <a:pt x="45" y="39"/>
                  <a:pt x="45" y="39"/>
                </a:cubicBezTo>
                <a:cubicBezTo>
                  <a:pt x="45" y="39"/>
                  <a:pt x="45" y="38"/>
                  <a:pt x="45" y="38"/>
                </a:cubicBezTo>
                <a:cubicBezTo>
                  <a:pt x="46" y="37"/>
                  <a:pt x="46" y="36"/>
                  <a:pt x="47" y="36"/>
                </a:cubicBezTo>
                <a:cubicBezTo>
                  <a:pt x="50" y="35"/>
                  <a:pt x="50" y="35"/>
                  <a:pt x="50" y="35"/>
                </a:cubicBezTo>
                <a:cubicBezTo>
                  <a:pt x="50" y="34"/>
                  <a:pt x="50" y="34"/>
                  <a:pt x="51" y="34"/>
                </a:cubicBezTo>
                <a:cubicBezTo>
                  <a:pt x="51" y="34"/>
                  <a:pt x="51" y="34"/>
                  <a:pt x="51" y="34"/>
                </a:cubicBezTo>
                <a:cubicBezTo>
                  <a:pt x="52" y="34"/>
                  <a:pt x="54" y="34"/>
                  <a:pt x="54" y="33"/>
                </a:cubicBezTo>
                <a:cubicBezTo>
                  <a:pt x="54" y="33"/>
                  <a:pt x="54" y="33"/>
                  <a:pt x="54" y="33"/>
                </a:cubicBezTo>
                <a:cubicBezTo>
                  <a:pt x="54" y="33"/>
                  <a:pt x="54" y="33"/>
                  <a:pt x="54" y="33"/>
                </a:cubicBezTo>
                <a:cubicBezTo>
                  <a:pt x="54" y="32"/>
                  <a:pt x="54" y="32"/>
                  <a:pt x="54" y="32"/>
                </a:cubicBezTo>
                <a:cubicBezTo>
                  <a:pt x="54" y="30"/>
                  <a:pt x="54" y="30"/>
                  <a:pt x="54" y="30"/>
                </a:cubicBezTo>
                <a:cubicBezTo>
                  <a:pt x="56" y="30"/>
                  <a:pt x="56" y="30"/>
                  <a:pt x="56" y="30"/>
                </a:cubicBezTo>
                <a:cubicBezTo>
                  <a:pt x="56" y="31"/>
                  <a:pt x="56" y="31"/>
                  <a:pt x="57" y="31"/>
                </a:cubicBezTo>
                <a:cubicBezTo>
                  <a:pt x="57" y="31"/>
                  <a:pt x="57" y="31"/>
                  <a:pt x="57" y="31"/>
                </a:cubicBezTo>
                <a:cubicBezTo>
                  <a:pt x="58" y="31"/>
                  <a:pt x="59" y="31"/>
                  <a:pt x="60" y="30"/>
                </a:cubicBezTo>
                <a:cubicBezTo>
                  <a:pt x="60" y="30"/>
                  <a:pt x="60" y="30"/>
                  <a:pt x="60" y="30"/>
                </a:cubicBezTo>
                <a:cubicBezTo>
                  <a:pt x="60" y="30"/>
                  <a:pt x="60" y="30"/>
                  <a:pt x="60" y="30"/>
                </a:cubicBezTo>
                <a:cubicBezTo>
                  <a:pt x="61" y="30"/>
                  <a:pt x="62" y="29"/>
                  <a:pt x="62" y="29"/>
                </a:cubicBezTo>
                <a:cubicBezTo>
                  <a:pt x="63" y="29"/>
                  <a:pt x="63" y="29"/>
                  <a:pt x="63" y="29"/>
                </a:cubicBezTo>
                <a:cubicBezTo>
                  <a:pt x="63" y="29"/>
                  <a:pt x="63" y="29"/>
                  <a:pt x="63" y="29"/>
                </a:cubicBezTo>
                <a:cubicBezTo>
                  <a:pt x="63" y="29"/>
                  <a:pt x="63" y="29"/>
                  <a:pt x="63" y="29"/>
                </a:cubicBezTo>
                <a:cubicBezTo>
                  <a:pt x="64" y="29"/>
                  <a:pt x="64" y="29"/>
                  <a:pt x="64" y="29"/>
                </a:cubicBezTo>
                <a:cubicBezTo>
                  <a:pt x="64" y="30"/>
                  <a:pt x="65" y="30"/>
                  <a:pt x="65" y="31"/>
                </a:cubicBezTo>
                <a:cubicBezTo>
                  <a:pt x="65" y="31"/>
                  <a:pt x="65" y="32"/>
                  <a:pt x="65" y="32"/>
                </a:cubicBezTo>
                <a:cubicBezTo>
                  <a:pt x="65" y="32"/>
                  <a:pt x="65" y="33"/>
                  <a:pt x="65" y="33"/>
                </a:cubicBezTo>
                <a:cubicBezTo>
                  <a:pt x="65" y="33"/>
                  <a:pt x="65" y="33"/>
                  <a:pt x="65" y="33"/>
                </a:cubicBezTo>
                <a:cubicBezTo>
                  <a:pt x="66" y="33"/>
                  <a:pt x="66" y="33"/>
                  <a:pt x="66" y="33"/>
                </a:cubicBezTo>
                <a:cubicBezTo>
                  <a:pt x="66" y="33"/>
                  <a:pt x="66" y="33"/>
                  <a:pt x="66" y="33"/>
                </a:cubicBezTo>
                <a:cubicBezTo>
                  <a:pt x="66" y="33"/>
                  <a:pt x="66" y="32"/>
                  <a:pt x="67" y="32"/>
                </a:cubicBezTo>
                <a:cubicBezTo>
                  <a:pt x="67" y="32"/>
                  <a:pt x="68" y="32"/>
                  <a:pt x="68" y="32"/>
                </a:cubicBezTo>
                <a:cubicBezTo>
                  <a:pt x="68" y="32"/>
                  <a:pt x="69" y="32"/>
                  <a:pt x="70" y="32"/>
                </a:cubicBezTo>
                <a:cubicBezTo>
                  <a:pt x="70" y="32"/>
                  <a:pt x="70" y="32"/>
                  <a:pt x="71" y="32"/>
                </a:cubicBezTo>
                <a:cubicBezTo>
                  <a:pt x="71" y="32"/>
                  <a:pt x="71" y="32"/>
                  <a:pt x="71" y="32"/>
                </a:cubicBezTo>
                <a:cubicBezTo>
                  <a:pt x="71" y="32"/>
                  <a:pt x="71" y="32"/>
                  <a:pt x="71" y="32"/>
                </a:cubicBezTo>
                <a:cubicBezTo>
                  <a:pt x="71" y="32"/>
                  <a:pt x="72" y="31"/>
                  <a:pt x="72" y="31"/>
                </a:cubicBezTo>
                <a:cubicBezTo>
                  <a:pt x="72" y="31"/>
                  <a:pt x="72" y="30"/>
                  <a:pt x="72" y="30"/>
                </a:cubicBezTo>
                <a:cubicBezTo>
                  <a:pt x="72" y="30"/>
                  <a:pt x="72" y="30"/>
                  <a:pt x="72" y="30"/>
                </a:cubicBezTo>
                <a:cubicBezTo>
                  <a:pt x="72" y="29"/>
                  <a:pt x="72" y="29"/>
                  <a:pt x="73" y="28"/>
                </a:cubicBezTo>
                <a:cubicBezTo>
                  <a:pt x="73" y="28"/>
                  <a:pt x="73" y="28"/>
                  <a:pt x="73" y="28"/>
                </a:cubicBezTo>
                <a:cubicBezTo>
                  <a:pt x="73" y="27"/>
                  <a:pt x="74" y="27"/>
                  <a:pt x="74" y="27"/>
                </a:cubicBezTo>
                <a:cubicBezTo>
                  <a:pt x="74" y="27"/>
                  <a:pt x="74" y="26"/>
                  <a:pt x="75" y="26"/>
                </a:cubicBezTo>
                <a:cubicBezTo>
                  <a:pt x="75" y="25"/>
                  <a:pt x="76" y="24"/>
                  <a:pt x="77" y="24"/>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16" name="Freeform 3173">
            <a:extLst>
              <a:ext uri="{FF2B5EF4-FFF2-40B4-BE49-F238E27FC236}">
                <a16:creationId xmlns:a16="http://schemas.microsoft.com/office/drawing/2014/main" id="{E77C728C-AE15-4889-A4DB-506112CD3657}"/>
              </a:ext>
            </a:extLst>
          </p:cNvPr>
          <p:cNvSpPr>
            <a:spLocks/>
          </p:cNvSpPr>
          <p:nvPr/>
        </p:nvSpPr>
        <p:spPr bwMode="auto">
          <a:xfrm>
            <a:off x="4194836" y="310681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17" name="Freeform 3174">
            <a:extLst>
              <a:ext uri="{FF2B5EF4-FFF2-40B4-BE49-F238E27FC236}">
                <a16:creationId xmlns:a16="http://schemas.microsoft.com/office/drawing/2014/main" id="{1ADA15D9-F09D-4FAA-86E4-0F044D518AEA}"/>
              </a:ext>
            </a:extLst>
          </p:cNvPr>
          <p:cNvSpPr>
            <a:spLocks noEditPoints="1"/>
          </p:cNvSpPr>
          <p:nvPr/>
        </p:nvSpPr>
        <p:spPr bwMode="auto">
          <a:xfrm>
            <a:off x="4011974" y="3051019"/>
            <a:ext cx="199215" cy="147212"/>
          </a:xfrm>
          <a:custGeom>
            <a:avLst/>
            <a:gdLst>
              <a:gd name="T0" fmla="*/ 27 w 170"/>
              <a:gd name="T1" fmla="*/ 12 h 105"/>
              <a:gd name="T2" fmla="*/ 22 w 170"/>
              <a:gd name="T3" fmla="*/ 16 h 105"/>
              <a:gd name="T4" fmla="*/ 25 w 170"/>
              <a:gd name="T5" fmla="*/ 5 h 105"/>
              <a:gd name="T6" fmla="*/ 0 w 170"/>
              <a:gd name="T7" fmla="*/ 12 h 105"/>
              <a:gd name="T8" fmla="*/ 2 w 170"/>
              <a:gd name="T9" fmla="*/ 56 h 105"/>
              <a:gd name="T10" fmla="*/ 8 w 170"/>
              <a:gd name="T11" fmla="*/ 53 h 105"/>
              <a:gd name="T12" fmla="*/ 15 w 170"/>
              <a:gd name="T13" fmla="*/ 46 h 105"/>
              <a:gd name="T14" fmla="*/ 22 w 170"/>
              <a:gd name="T15" fmla="*/ 41 h 105"/>
              <a:gd name="T16" fmla="*/ 29 w 170"/>
              <a:gd name="T17" fmla="*/ 40 h 105"/>
              <a:gd name="T18" fmla="*/ 34 w 170"/>
              <a:gd name="T19" fmla="*/ 43 h 105"/>
              <a:gd name="T20" fmla="*/ 43 w 170"/>
              <a:gd name="T21" fmla="*/ 50 h 105"/>
              <a:gd name="T22" fmla="*/ 42 w 170"/>
              <a:gd name="T23" fmla="*/ 55 h 105"/>
              <a:gd name="T24" fmla="*/ 50 w 170"/>
              <a:gd name="T25" fmla="*/ 57 h 105"/>
              <a:gd name="T26" fmla="*/ 62 w 170"/>
              <a:gd name="T27" fmla="*/ 64 h 105"/>
              <a:gd name="T28" fmla="*/ 66 w 170"/>
              <a:gd name="T29" fmla="*/ 70 h 105"/>
              <a:gd name="T30" fmla="*/ 78 w 170"/>
              <a:gd name="T31" fmla="*/ 80 h 105"/>
              <a:gd name="T32" fmla="*/ 95 w 170"/>
              <a:gd name="T33" fmla="*/ 91 h 105"/>
              <a:gd name="T34" fmla="*/ 103 w 170"/>
              <a:gd name="T35" fmla="*/ 93 h 105"/>
              <a:gd name="T36" fmla="*/ 109 w 170"/>
              <a:gd name="T37" fmla="*/ 99 h 105"/>
              <a:gd name="T38" fmla="*/ 114 w 170"/>
              <a:gd name="T39" fmla="*/ 105 h 105"/>
              <a:gd name="T40" fmla="*/ 118 w 170"/>
              <a:gd name="T41" fmla="*/ 104 h 105"/>
              <a:gd name="T42" fmla="*/ 119 w 170"/>
              <a:gd name="T43" fmla="*/ 102 h 105"/>
              <a:gd name="T44" fmla="*/ 123 w 170"/>
              <a:gd name="T45" fmla="*/ 94 h 105"/>
              <a:gd name="T46" fmla="*/ 122 w 170"/>
              <a:gd name="T47" fmla="*/ 86 h 105"/>
              <a:gd name="T48" fmla="*/ 114 w 170"/>
              <a:gd name="T49" fmla="*/ 80 h 105"/>
              <a:gd name="T50" fmla="*/ 124 w 170"/>
              <a:gd name="T51" fmla="*/ 77 h 105"/>
              <a:gd name="T52" fmla="*/ 128 w 170"/>
              <a:gd name="T53" fmla="*/ 73 h 105"/>
              <a:gd name="T54" fmla="*/ 134 w 170"/>
              <a:gd name="T55" fmla="*/ 64 h 105"/>
              <a:gd name="T56" fmla="*/ 136 w 170"/>
              <a:gd name="T57" fmla="*/ 62 h 105"/>
              <a:gd name="T58" fmla="*/ 139 w 170"/>
              <a:gd name="T59" fmla="*/ 64 h 105"/>
              <a:gd name="T60" fmla="*/ 144 w 170"/>
              <a:gd name="T61" fmla="*/ 60 h 105"/>
              <a:gd name="T62" fmla="*/ 148 w 170"/>
              <a:gd name="T63" fmla="*/ 68 h 105"/>
              <a:gd name="T64" fmla="*/ 153 w 170"/>
              <a:gd name="T65" fmla="*/ 68 h 105"/>
              <a:gd name="T66" fmla="*/ 161 w 170"/>
              <a:gd name="T67" fmla="*/ 69 h 105"/>
              <a:gd name="T68" fmla="*/ 164 w 170"/>
              <a:gd name="T69" fmla="*/ 66 h 105"/>
              <a:gd name="T70" fmla="*/ 165 w 170"/>
              <a:gd name="T71" fmla="*/ 66 h 105"/>
              <a:gd name="T72" fmla="*/ 169 w 170"/>
              <a:gd name="T73" fmla="*/ 65 h 105"/>
              <a:gd name="T74" fmla="*/ 168 w 170"/>
              <a:gd name="T75" fmla="*/ 63 h 105"/>
              <a:gd name="T76" fmla="*/ 166 w 170"/>
              <a:gd name="T77" fmla="*/ 62 h 105"/>
              <a:gd name="T78" fmla="*/ 163 w 170"/>
              <a:gd name="T79" fmla="*/ 60 h 105"/>
              <a:gd name="T80" fmla="*/ 158 w 170"/>
              <a:gd name="T81" fmla="*/ 58 h 105"/>
              <a:gd name="T82" fmla="*/ 155 w 170"/>
              <a:gd name="T83" fmla="*/ 60 h 105"/>
              <a:gd name="T84" fmla="*/ 145 w 170"/>
              <a:gd name="T85" fmla="*/ 56 h 105"/>
              <a:gd name="T86" fmla="*/ 144 w 170"/>
              <a:gd name="T87" fmla="*/ 52 h 105"/>
              <a:gd name="T88" fmla="*/ 135 w 170"/>
              <a:gd name="T89" fmla="*/ 57 h 105"/>
              <a:gd name="T90" fmla="*/ 129 w 170"/>
              <a:gd name="T91" fmla="*/ 63 h 105"/>
              <a:gd name="T92" fmla="*/ 127 w 170"/>
              <a:gd name="T93" fmla="*/ 67 h 105"/>
              <a:gd name="T94" fmla="*/ 120 w 170"/>
              <a:gd name="T95" fmla="*/ 63 h 105"/>
              <a:gd name="T96" fmla="*/ 120 w 170"/>
              <a:gd name="T97" fmla="*/ 59 h 105"/>
              <a:gd name="T98" fmla="*/ 107 w 170"/>
              <a:gd name="T99" fmla="*/ 57 h 105"/>
              <a:gd name="T100" fmla="*/ 105 w 170"/>
              <a:gd name="T101" fmla="*/ 50 h 105"/>
              <a:gd name="T102" fmla="*/ 100 w 170"/>
              <a:gd name="T103" fmla="*/ 46 h 105"/>
              <a:gd name="T104" fmla="*/ 98 w 170"/>
              <a:gd name="T105" fmla="*/ 37 h 105"/>
              <a:gd name="T106" fmla="*/ 93 w 170"/>
              <a:gd name="T107" fmla="*/ 31 h 105"/>
              <a:gd name="T108" fmla="*/ 88 w 170"/>
              <a:gd name="T109" fmla="*/ 29 h 105"/>
              <a:gd name="T110" fmla="*/ 66 w 170"/>
              <a:gd name="T111" fmla="*/ 30 h 105"/>
              <a:gd name="T112" fmla="*/ 57 w 170"/>
              <a:gd name="T113" fmla="*/ 29 h 105"/>
              <a:gd name="T114" fmla="*/ 40 w 170"/>
              <a:gd name="T115" fmla="*/ 21 h 105"/>
              <a:gd name="T116" fmla="*/ 34 w 170"/>
              <a:gd name="T117" fmla="*/ 10 h 105"/>
              <a:gd name="T118" fmla="*/ 35 w 170"/>
              <a:gd name="T119" fmla="*/ 8 h 105"/>
              <a:gd name="T120" fmla="*/ 32 w 170"/>
              <a:gd name="T121" fmla="*/ 3 h 105"/>
              <a:gd name="T122" fmla="*/ 27 w 170"/>
              <a:gd name="T123" fmla="*/ 5 h 105"/>
              <a:gd name="T124" fmla="*/ 27 w 170"/>
              <a:gd name="T125" fmla="*/ 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05">
                <a:moveTo>
                  <a:pt x="27" y="6"/>
                </a:moveTo>
                <a:cubicBezTo>
                  <a:pt x="26" y="6"/>
                  <a:pt x="26" y="7"/>
                  <a:pt x="26" y="8"/>
                </a:cubicBezTo>
                <a:cubicBezTo>
                  <a:pt x="27" y="8"/>
                  <a:pt x="27" y="9"/>
                  <a:pt x="27" y="9"/>
                </a:cubicBezTo>
                <a:cubicBezTo>
                  <a:pt x="27" y="10"/>
                  <a:pt x="26" y="10"/>
                  <a:pt x="26" y="11"/>
                </a:cubicBezTo>
                <a:cubicBezTo>
                  <a:pt x="26" y="11"/>
                  <a:pt x="26" y="12"/>
                  <a:pt x="26" y="12"/>
                </a:cubicBezTo>
                <a:cubicBezTo>
                  <a:pt x="27" y="11"/>
                  <a:pt x="28" y="11"/>
                  <a:pt x="27" y="11"/>
                </a:cubicBezTo>
                <a:cubicBezTo>
                  <a:pt x="28" y="12"/>
                  <a:pt x="27" y="12"/>
                  <a:pt x="27" y="12"/>
                </a:cubicBezTo>
                <a:cubicBezTo>
                  <a:pt x="27" y="13"/>
                  <a:pt x="27" y="13"/>
                  <a:pt x="27" y="13"/>
                </a:cubicBezTo>
                <a:cubicBezTo>
                  <a:pt x="27" y="15"/>
                  <a:pt x="28" y="14"/>
                  <a:pt x="28" y="15"/>
                </a:cubicBezTo>
                <a:cubicBezTo>
                  <a:pt x="27" y="15"/>
                  <a:pt x="27" y="15"/>
                  <a:pt x="26" y="15"/>
                </a:cubicBezTo>
                <a:cubicBezTo>
                  <a:pt x="26" y="15"/>
                  <a:pt x="26" y="14"/>
                  <a:pt x="25" y="15"/>
                </a:cubicBezTo>
                <a:cubicBezTo>
                  <a:pt x="25" y="16"/>
                  <a:pt x="26" y="15"/>
                  <a:pt x="26" y="16"/>
                </a:cubicBezTo>
                <a:cubicBezTo>
                  <a:pt x="25" y="19"/>
                  <a:pt x="21" y="20"/>
                  <a:pt x="22" y="17"/>
                </a:cubicBezTo>
                <a:cubicBezTo>
                  <a:pt x="22" y="17"/>
                  <a:pt x="22" y="17"/>
                  <a:pt x="22" y="16"/>
                </a:cubicBezTo>
                <a:cubicBezTo>
                  <a:pt x="22" y="15"/>
                  <a:pt x="22" y="15"/>
                  <a:pt x="22" y="14"/>
                </a:cubicBezTo>
                <a:cubicBezTo>
                  <a:pt x="21" y="13"/>
                  <a:pt x="22" y="13"/>
                  <a:pt x="22" y="11"/>
                </a:cubicBezTo>
                <a:cubicBezTo>
                  <a:pt x="22" y="11"/>
                  <a:pt x="23" y="9"/>
                  <a:pt x="23" y="9"/>
                </a:cubicBezTo>
                <a:cubicBezTo>
                  <a:pt x="23" y="8"/>
                  <a:pt x="23" y="8"/>
                  <a:pt x="24" y="7"/>
                </a:cubicBezTo>
                <a:cubicBezTo>
                  <a:pt x="24" y="7"/>
                  <a:pt x="25" y="7"/>
                  <a:pt x="25" y="6"/>
                </a:cubicBezTo>
                <a:cubicBezTo>
                  <a:pt x="25" y="6"/>
                  <a:pt x="25" y="6"/>
                  <a:pt x="25" y="5"/>
                </a:cubicBezTo>
                <a:cubicBezTo>
                  <a:pt x="25" y="5"/>
                  <a:pt x="25" y="5"/>
                  <a:pt x="25" y="5"/>
                </a:cubicBezTo>
                <a:cubicBezTo>
                  <a:pt x="24" y="6"/>
                  <a:pt x="24" y="6"/>
                  <a:pt x="24" y="6"/>
                </a:cubicBezTo>
                <a:cubicBezTo>
                  <a:pt x="23" y="6"/>
                  <a:pt x="22" y="6"/>
                  <a:pt x="22" y="6"/>
                </a:cubicBezTo>
                <a:cubicBezTo>
                  <a:pt x="21" y="6"/>
                  <a:pt x="21" y="6"/>
                  <a:pt x="21" y="6"/>
                </a:cubicBezTo>
                <a:cubicBezTo>
                  <a:pt x="18" y="7"/>
                  <a:pt x="18" y="7"/>
                  <a:pt x="18" y="7"/>
                </a:cubicBezTo>
                <a:cubicBezTo>
                  <a:pt x="13" y="8"/>
                  <a:pt x="8" y="10"/>
                  <a:pt x="4" y="11"/>
                </a:cubicBezTo>
                <a:cubicBezTo>
                  <a:pt x="3" y="11"/>
                  <a:pt x="3" y="11"/>
                  <a:pt x="2" y="11"/>
                </a:cubicBezTo>
                <a:cubicBezTo>
                  <a:pt x="2" y="11"/>
                  <a:pt x="1" y="12"/>
                  <a:pt x="0" y="12"/>
                </a:cubicBezTo>
                <a:cubicBezTo>
                  <a:pt x="0" y="12"/>
                  <a:pt x="0" y="12"/>
                  <a:pt x="0" y="12"/>
                </a:cubicBezTo>
                <a:cubicBezTo>
                  <a:pt x="0" y="12"/>
                  <a:pt x="0" y="12"/>
                  <a:pt x="0" y="12"/>
                </a:cubicBezTo>
                <a:cubicBezTo>
                  <a:pt x="0" y="19"/>
                  <a:pt x="0" y="26"/>
                  <a:pt x="0" y="33"/>
                </a:cubicBezTo>
                <a:cubicBezTo>
                  <a:pt x="0" y="55"/>
                  <a:pt x="0" y="55"/>
                  <a:pt x="0" y="55"/>
                </a:cubicBezTo>
                <a:cubicBezTo>
                  <a:pt x="3" y="55"/>
                  <a:pt x="3" y="55"/>
                  <a:pt x="3" y="55"/>
                </a:cubicBezTo>
                <a:cubicBezTo>
                  <a:pt x="2" y="56"/>
                  <a:pt x="2" y="56"/>
                  <a:pt x="2" y="56"/>
                </a:cubicBezTo>
                <a:cubicBezTo>
                  <a:pt x="2" y="56"/>
                  <a:pt x="2" y="56"/>
                  <a:pt x="2" y="56"/>
                </a:cubicBezTo>
                <a:cubicBezTo>
                  <a:pt x="3" y="56"/>
                  <a:pt x="4" y="56"/>
                  <a:pt x="4" y="56"/>
                </a:cubicBezTo>
                <a:cubicBezTo>
                  <a:pt x="4" y="56"/>
                  <a:pt x="5" y="56"/>
                  <a:pt x="5" y="56"/>
                </a:cubicBezTo>
                <a:cubicBezTo>
                  <a:pt x="5" y="56"/>
                  <a:pt x="6" y="56"/>
                  <a:pt x="6" y="56"/>
                </a:cubicBezTo>
                <a:cubicBezTo>
                  <a:pt x="7" y="55"/>
                  <a:pt x="7" y="55"/>
                  <a:pt x="7" y="55"/>
                </a:cubicBezTo>
                <a:cubicBezTo>
                  <a:pt x="8" y="55"/>
                  <a:pt x="8" y="55"/>
                  <a:pt x="8" y="55"/>
                </a:cubicBezTo>
                <a:cubicBezTo>
                  <a:pt x="8" y="55"/>
                  <a:pt x="8" y="55"/>
                  <a:pt x="8" y="55"/>
                </a:cubicBezTo>
                <a:cubicBezTo>
                  <a:pt x="8" y="55"/>
                  <a:pt x="8" y="54"/>
                  <a:pt x="8" y="53"/>
                </a:cubicBezTo>
                <a:cubicBezTo>
                  <a:pt x="8" y="53"/>
                  <a:pt x="8" y="52"/>
                  <a:pt x="8" y="51"/>
                </a:cubicBezTo>
                <a:cubicBezTo>
                  <a:pt x="8" y="51"/>
                  <a:pt x="8" y="51"/>
                  <a:pt x="9" y="50"/>
                </a:cubicBezTo>
                <a:cubicBezTo>
                  <a:pt x="9" y="49"/>
                  <a:pt x="9" y="48"/>
                  <a:pt x="10" y="47"/>
                </a:cubicBezTo>
                <a:cubicBezTo>
                  <a:pt x="11" y="47"/>
                  <a:pt x="11" y="47"/>
                  <a:pt x="11" y="47"/>
                </a:cubicBezTo>
                <a:cubicBezTo>
                  <a:pt x="11" y="47"/>
                  <a:pt x="11" y="46"/>
                  <a:pt x="12" y="46"/>
                </a:cubicBezTo>
                <a:cubicBezTo>
                  <a:pt x="12" y="46"/>
                  <a:pt x="13" y="46"/>
                  <a:pt x="14" y="46"/>
                </a:cubicBezTo>
                <a:cubicBezTo>
                  <a:pt x="15" y="46"/>
                  <a:pt x="15" y="46"/>
                  <a:pt x="15" y="46"/>
                </a:cubicBezTo>
                <a:cubicBezTo>
                  <a:pt x="15" y="46"/>
                  <a:pt x="15" y="45"/>
                  <a:pt x="16" y="45"/>
                </a:cubicBezTo>
                <a:cubicBezTo>
                  <a:pt x="17" y="45"/>
                  <a:pt x="17" y="45"/>
                  <a:pt x="17" y="44"/>
                </a:cubicBezTo>
                <a:cubicBezTo>
                  <a:pt x="17" y="44"/>
                  <a:pt x="18" y="44"/>
                  <a:pt x="18" y="44"/>
                </a:cubicBezTo>
                <a:cubicBezTo>
                  <a:pt x="18" y="43"/>
                  <a:pt x="18" y="41"/>
                  <a:pt x="20" y="41"/>
                </a:cubicBezTo>
                <a:cubicBezTo>
                  <a:pt x="20" y="41"/>
                  <a:pt x="21" y="41"/>
                  <a:pt x="21" y="41"/>
                </a:cubicBezTo>
                <a:cubicBezTo>
                  <a:pt x="21" y="41"/>
                  <a:pt x="21" y="41"/>
                  <a:pt x="22" y="41"/>
                </a:cubicBezTo>
                <a:cubicBezTo>
                  <a:pt x="22" y="41"/>
                  <a:pt x="22" y="41"/>
                  <a:pt x="22" y="41"/>
                </a:cubicBezTo>
                <a:cubicBezTo>
                  <a:pt x="22" y="40"/>
                  <a:pt x="23" y="39"/>
                  <a:pt x="24" y="39"/>
                </a:cubicBezTo>
                <a:cubicBezTo>
                  <a:pt x="24" y="38"/>
                  <a:pt x="24" y="38"/>
                  <a:pt x="25" y="38"/>
                </a:cubicBezTo>
                <a:cubicBezTo>
                  <a:pt x="26" y="37"/>
                  <a:pt x="26" y="37"/>
                  <a:pt x="26" y="37"/>
                </a:cubicBezTo>
                <a:cubicBezTo>
                  <a:pt x="27" y="38"/>
                  <a:pt x="27" y="38"/>
                  <a:pt x="27" y="38"/>
                </a:cubicBezTo>
                <a:cubicBezTo>
                  <a:pt x="27" y="38"/>
                  <a:pt x="27" y="38"/>
                  <a:pt x="27" y="38"/>
                </a:cubicBezTo>
                <a:cubicBezTo>
                  <a:pt x="28" y="39"/>
                  <a:pt x="28" y="39"/>
                  <a:pt x="28" y="39"/>
                </a:cubicBezTo>
                <a:cubicBezTo>
                  <a:pt x="28" y="39"/>
                  <a:pt x="29" y="40"/>
                  <a:pt x="29" y="40"/>
                </a:cubicBezTo>
                <a:cubicBezTo>
                  <a:pt x="29" y="41"/>
                  <a:pt x="29" y="41"/>
                  <a:pt x="30" y="41"/>
                </a:cubicBezTo>
                <a:cubicBezTo>
                  <a:pt x="30" y="41"/>
                  <a:pt x="30" y="41"/>
                  <a:pt x="30" y="41"/>
                </a:cubicBezTo>
                <a:cubicBezTo>
                  <a:pt x="31" y="40"/>
                  <a:pt x="32" y="41"/>
                  <a:pt x="32" y="41"/>
                </a:cubicBezTo>
                <a:cubicBezTo>
                  <a:pt x="33" y="43"/>
                  <a:pt x="33" y="43"/>
                  <a:pt x="33" y="43"/>
                </a:cubicBezTo>
                <a:cubicBezTo>
                  <a:pt x="33" y="43"/>
                  <a:pt x="33" y="43"/>
                  <a:pt x="33" y="43"/>
                </a:cubicBezTo>
                <a:cubicBezTo>
                  <a:pt x="33" y="43"/>
                  <a:pt x="33" y="43"/>
                  <a:pt x="33" y="43"/>
                </a:cubicBezTo>
                <a:cubicBezTo>
                  <a:pt x="34" y="43"/>
                  <a:pt x="34" y="43"/>
                  <a:pt x="34" y="43"/>
                </a:cubicBezTo>
                <a:cubicBezTo>
                  <a:pt x="34" y="43"/>
                  <a:pt x="36" y="43"/>
                  <a:pt x="37" y="43"/>
                </a:cubicBezTo>
                <a:cubicBezTo>
                  <a:pt x="37" y="43"/>
                  <a:pt x="37" y="43"/>
                  <a:pt x="37" y="43"/>
                </a:cubicBezTo>
                <a:cubicBezTo>
                  <a:pt x="38" y="44"/>
                  <a:pt x="40" y="44"/>
                  <a:pt x="41" y="45"/>
                </a:cubicBezTo>
                <a:cubicBezTo>
                  <a:pt x="43" y="46"/>
                  <a:pt x="43" y="46"/>
                  <a:pt x="43" y="46"/>
                </a:cubicBezTo>
                <a:cubicBezTo>
                  <a:pt x="41" y="47"/>
                  <a:pt x="41" y="47"/>
                  <a:pt x="41" y="47"/>
                </a:cubicBezTo>
                <a:cubicBezTo>
                  <a:pt x="41" y="47"/>
                  <a:pt x="41" y="48"/>
                  <a:pt x="41" y="48"/>
                </a:cubicBezTo>
                <a:cubicBezTo>
                  <a:pt x="42" y="49"/>
                  <a:pt x="43" y="49"/>
                  <a:pt x="43" y="50"/>
                </a:cubicBezTo>
                <a:cubicBezTo>
                  <a:pt x="45" y="51"/>
                  <a:pt x="45" y="51"/>
                  <a:pt x="45" y="51"/>
                </a:cubicBezTo>
                <a:cubicBezTo>
                  <a:pt x="43" y="52"/>
                  <a:pt x="43" y="52"/>
                  <a:pt x="43" y="52"/>
                </a:cubicBezTo>
                <a:cubicBezTo>
                  <a:pt x="43" y="52"/>
                  <a:pt x="43" y="52"/>
                  <a:pt x="42" y="53"/>
                </a:cubicBezTo>
                <a:cubicBezTo>
                  <a:pt x="42" y="53"/>
                  <a:pt x="43" y="53"/>
                  <a:pt x="42" y="54"/>
                </a:cubicBezTo>
                <a:cubicBezTo>
                  <a:pt x="42" y="54"/>
                  <a:pt x="42" y="54"/>
                  <a:pt x="42" y="54"/>
                </a:cubicBezTo>
                <a:cubicBezTo>
                  <a:pt x="42" y="54"/>
                  <a:pt x="42" y="54"/>
                  <a:pt x="42" y="54"/>
                </a:cubicBezTo>
                <a:cubicBezTo>
                  <a:pt x="42" y="55"/>
                  <a:pt x="42" y="55"/>
                  <a:pt x="42" y="55"/>
                </a:cubicBezTo>
                <a:cubicBezTo>
                  <a:pt x="42" y="55"/>
                  <a:pt x="42" y="55"/>
                  <a:pt x="42" y="55"/>
                </a:cubicBezTo>
                <a:cubicBezTo>
                  <a:pt x="43" y="55"/>
                  <a:pt x="43" y="55"/>
                  <a:pt x="43" y="55"/>
                </a:cubicBezTo>
                <a:cubicBezTo>
                  <a:pt x="43" y="55"/>
                  <a:pt x="43" y="56"/>
                  <a:pt x="43" y="56"/>
                </a:cubicBezTo>
                <a:cubicBezTo>
                  <a:pt x="44" y="56"/>
                  <a:pt x="44" y="56"/>
                  <a:pt x="44" y="56"/>
                </a:cubicBezTo>
                <a:cubicBezTo>
                  <a:pt x="44" y="56"/>
                  <a:pt x="45" y="56"/>
                  <a:pt x="46" y="56"/>
                </a:cubicBezTo>
                <a:cubicBezTo>
                  <a:pt x="46" y="56"/>
                  <a:pt x="46" y="56"/>
                  <a:pt x="47" y="56"/>
                </a:cubicBezTo>
                <a:cubicBezTo>
                  <a:pt x="48" y="56"/>
                  <a:pt x="49" y="57"/>
                  <a:pt x="50" y="57"/>
                </a:cubicBezTo>
                <a:cubicBezTo>
                  <a:pt x="51" y="57"/>
                  <a:pt x="51" y="57"/>
                  <a:pt x="52" y="57"/>
                </a:cubicBezTo>
                <a:cubicBezTo>
                  <a:pt x="52" y="57"/>
                  <a:pt x="52" y="57"/>
                  <a:pt x="52" y="57"/>
                </a:cubicBezTo>
                <a:cubicBezTo>
                  <a:pt x="53" y="57"/>
                  <a:pt x="53" y="57"/>
                  <a:pt x="53" y="57"/>
                </a:cubicBezTo>
                <a:cubicBezTo>
                  <a:pt x="53" y="57"/>
                  <a:pt x="53" y="57"/>
                  <a:pt x="53" y="56"/>
                </a:cubicBezTo>
                <a:cubicBezTo>
                  <a:pt x="54" y="56"/>
                  <a:pt x="54" y="56"/>
                  <a:pt x="54" y="56"/>
                </a:cubicBezTo>
                <a:cubicBezTo>
                  <a:pt x="56" y="55"/>
                  <a:pt x="57" y="56"/>
                  <a:pt x="58" y="57"/>
                </a:cubicBezTo>
                <a:cubicBezTo>
                  <a:pt x="60" y="59"/>
                  <a:pt x="61" y="62"/>
                  <a:pt x="62" y="64"/>
                </a:cubicBezTo>
                <a:cubicBezTo>
                  <a:pt x="62" y="64"/>
                  <a:pt x="62" y="64"/>
                  <a:pt x="62" y="64"/>
                </a:cubicBezTo>
                <a:cubicBezTo>
                  <a:pt x="63" y="65"/>
                  <a:pt x="63" y="65"/>
                  <a:pt x="63" y="66"/>
                </a:cubicBezTo>
                <a:cubicBezTo>
                  <a:pt x="63" y="66"/>
                  <a:pt x="63" y="66"/>
                  <a:pt x="64" y="67"/>
                </a:cubicBezTo>
                <a:cubicBezTo>
                  <a:pt x="64" y="67"/>
                  <a:pt x="65" y="68"/>
                  <a:pt x="65" y="69"/>
                </a:cubicBezTo>
                <a:cubicBezTo>
                  <a:pt x="65" y="69"/>
                  <a:pt x="65" y="69"/>
                  <a:pt x="65" y="69"/>
                </a:cubicBezTo>
                <a:cubicBezTo>
                  <a:pt x="66" y="70"/>
                  <a:pt x="66" y="70"/>
                  <a:pt x="66" y="70"/>
                </a:cubicBezTo>
                <a:cubicBezTo>
                  <a:pt x="66" y="70"/>
                  <a:pt x="66" y="70"/>
                  <a:pt x="66" y="70"/>
                </a:cubicBezTo>
                <a:cubicBezTo>
                  <a:pt x="66" y="71"/>
                  <a:pt x="66" y="72"/>
                  <a:pt x="66" y="72"/>
                </a:cubicBezTo>
                <a:cubicBezTo>
                  <a:pt x="67" y="72"/>
                  <a:pt x="67" y="72"/>
                  <a:pt x="67" y="72"/>
                </a:cubicBezTo>
                <a:cubicBezTo>
                  <a:pt x="67" y="73"/>
                  <a:pt x="68" y="73"/>
                  <a:pt x="68" y="74"/>
                </a:cubicBezTo>
                <a:cubicBezTo>
                  <a:pt x="69" y="74"/>
                  <a:pt x="69" y="74"/>
                  <a:pt x="69" y="74"/>
                </a:cubicBezTo>
                <a:cubicBezTo>
                  <a:pt x="71" y="76"/>
                  <a:pt x="71" y="76"/>
                  <a:pt x="71" y="76"/>
                </a:cubicBezTo>
                <a:cubicBezTo>
                  <a:pt x="72" y="76"/>
                  <a:pt x="72" y="76"/>
                  <a:pt x="73" y="77"/>
                </a:cubicBezTo>
                <a:cubicBezTo>
                  <a:pt x="74" y="78"/>
                  <a:pt x="76" y="79"/>
                  <a:pt x="78" y="80"/>
                </a:cubicBezTo>
                <a:cubicBezTo>
                  <a:pt x="78" y="80"/>
                  <a:pt x="79" y="81"/>
                  <a:pt x="79" y="81"/>
                </a:cubicBezTo>
                <a:cubicBezTo>
                  <a:pt x="80" y="81"/>
                  <a:pt x="80" y="81"/>
                  <a:pt x="80" y="81"/>
                </a:cubicBezTo>
                <a:cubicBezTo>
                  <a:pt x="82" y="82"/>
                  <a:pt x="84" y="83"/>
                  <a:pt x="86" y="85"/>
                </a:cubicBezTo>
                <a:cubicBezTo>
                  <a:pt x="87" y="86"/>
                  <a:pt x="88" y="87"/>
                  <a:pt x="90" y="87"/>
                </a:cubicBezTo>
                <a:cubicBezTo>
                  <a:pt x="91" y="88"/>
                  <a:pt x="91" y="88"/>
                  <a:pt x="91" y="88"/>
                </a:cubicBezTo>
                <a:cubicBezTo>
                  <a:pt x="91" y="88"/>
                  <a:pt x="92" y="89"/>
                  <a:pt x="92" y="89"/>
                </a:cubicBezTo>
                <a:cubicBezTo>
                  <a:pt x="93" y="90"/>
                  <a:pt x="94" y="90"/>
                  <a:pt x="95" y="91"/>
                </a:cubicBezTo>
                <a:cubicBezTo>
                  <a:pt x="95" y="91"/>
                  <a:pt x="95" y="91"/>
                  <a:pt x="95" y="91"/>
                </a:cubicBezTo>
                <a:cubicBezTo>
                  <a:pt x="96" y="91"/>
                  <a:pt x="96" y="91"/>
                  <a:pt x="96" y="91"/>
                </a:cubicBezTo>
                <a:cubicBezTo>
                  <a:pt x="96" y="92"/>
                  <a:pt x="96" y="92"/>
                  <a:pt x="96" y="92"/>
                </a:cubicBezTo>
                <a:cubicBezTo>
                  <a:pt x="97" y="92"/>
                  <a:pt x="98" y="93"/>
                  <a:pt x="98" y="93"/>
                </a:cubicBezTo>
                <a:cubicBezTo>
                  <a:pt x="98" y="93"/>
                  <a:pt x="99" y="93"/>
                  <a:pt x="99" y="92"/>
                </a:cubicBezTo>
                <a:cubicBezTo>
                  <a:pt x="99" y="92"/>
                  <a:pt x="99" y="92"/>
                  <a:pt x="99" y="92"/>
                </a:cubicBezTo>
                <a:cubicBezTo>
                  <a:pt x="101" y="92"/>
                  <a:pt x="102" y="93"/>
                  <a:pt x="103" y="93"/>
                </a:cubicBezTo>
                <a:cubicBezTo>
                  <a:pt x="104" y="94"/>
                  <a:pt x="104" y="94"/>
                  <a:pt x="104" y="94"/>
                </a:cubicBezTo>
                <a:cubicBezTo>
                  <a:pt x="104" y="94"/>
                  <a:pt x="105" y="94"/>
                  <a:pt x="106" y="94"/>
                </a:cubicBezTo>
                <a:cubicBezTo>
                  <a:pt x="108" y="96"/>
                  <a:pt x="108" y="96"/>
                  <a:pt x="108" y="96"/>
                </a:cubicBezTo>
                <a:cubicBezTo>
                  <a:pt x="109" y="96"/>
                  <a:pt x="109" y="97"/>
                  <a:pt x="109" y="97"/>
                </a:cubicBezTo>
                <a:cubicBezTo>
                  <a:pt x="109" y="98"/>
                  <a:pt x="109" y="98"/>
                  <a:pt x="109" y="98"/>
                </a:cubicBezTo>
                <a:cubicBezTo>
                  <a:pt x="109" y="98"/>
                  <a:pt x="109" y="98"/>
                  <a:pt x="109" y="99"/>
                </a:cubicBezTo>
                <a:cubicBezTo>
                  <a:pt x="109" y="99"/>
                  <a:pt x="109" y="99"/>
                  <a:pt x="109" y="99"/>
                </a:cubicBezTo>
                <a:cubicBezTo>
                  <a:pt x="109" y="100"/>
                  <a:pt x="109" y="100"/>
                  <a:pt x="109" y="100"/>
                </a:cubicBezTo>
                <a:cubicBezTo>
                  <a:pt x="108" y="102"/>
                  <a:pt x="108" y="102"/>
                  <a:pt x="108" y="102"/>
                </a:cubicBezTo>
                <a:cubicBezTo>
                  <a:pt x="108" y="102"/>
                  <a:pt x="108" y="103"/>
                  <a:pt x="108" y="103"/>
                </a:cubicBezTo>
                <a:cubicBezTo>
                  <a:pt x="110" y="103"/>
                  <a:pt x="110" y="103"/>
                  <a:pt x="110" y="103"/>
                </a:cubicBezTo>
                <a:cubicBezTo>
                  <a:pt x="110" y="103"/>
                  <a:pt x="111" y="103"/>
                  <a:pt x="111" y="103"/>
                </a:cubicBezTo>
                <a:cubicBezTo>
                  <a:pt x="112" y="103"/>
                  <a:pt x="113" y="103"/>
                  <a:pt x="114" y="104"/>
                </a:cubicBezTo>
                <a:cubicBezTo>
                  <a:pt x="114" y="105"/>
                  <a:pt x="114" y="105"/>
                  <a:pt x="114" y="105"/>
                </a:cubicBezTo>
                <a:cubicBezTo>
                  <a:pt x="114" y="105"/>
                  <a:pt x="114" y="105"/>
                  <a:pt x="114" y="105"/>
                </a:cubicBezTo>
                <a:cubicBezTo>
                  <a:pt x="114" y="105"/>
                  <a:pt x="114" y="105"/>
                  <a:pt x="114" y="105"/>
                </a:cubicBezTo>
                <a:cubicBezTo>
                  <a:pt x="114" y="105"/>
                  <a:pt x="114" y="105"/>
                  <a:pt x="114" y="105"/>
                </a:cubicBezTo>
                <a:cubicBezTo>
                  <a:pt x="115" y="105"/>
                  <a:pt x="115" y="105"/>
                  <a:pt x="115" y="105"/>
                </a:cubicBezTo>
                <a:cubicBezTo>
                  <a:pt x="115" y="105"/>
                  <a:pt x="116" y="105"/>
                  <a:pt x="117" y="105"/>
                </a:cubicBezTo>
                <a:cubicBezTo>
                  <a:pt x="117" y="105"/>
                  <a:pt x="118" y="105"/>
                  <a:pt x="118" y="105"/>
                </a:cubicBezTo>
                <a:cubicBezTo>
                  <a:pt x="118" y="104"/>
                  <a:pt x="118" y="104"/>
                  <a:pt x="118" y="104"/>
                </a:cubicBezTo>
                <a:cubicBezTo>
                  <a:pt x="118" y="104"/>
                  <a:pt x="118" y="104"/>
                  <a:pt x="118" y="104"/>
                </a:cubicBezTo>
                <a:cubicBezTo>
                  <a:pt x="118" y="104"/>
                  <a:pt x="119" y="104"/>
                  <a:pt x="119" y="104"/>
                </a:cubicBezTo>
                <a:cubicBezTo>
                  <a:pt x="119" y="104"/>
                  <a:pt x="119" y="104"/>
                  <a:pt x="119" y="104"/>
                </a:cubicBezTo>
                <a:cubicBezTo>
                  <a:pt x="119" y="104"/>
                  <a:pt x="118" y="103"/>
                  <a:pt x="118" y="103"/>
                </a:cubicBezTo>
                <a:cubicBezTo>
                  <a:pt x="119" y="103"/>
                  <a:pt x="119" y="103"/>
                  <a:pt x="119" y="103"/>
                </a:cubicBezTo>
                <a:cubicBezTo>
                  <a:pt x="119" y="102"/>
                  <a:pt x="119" y="102"/>
                  <a:pt x="119" y="102"/>
                </a:cubicBezTo>
                <a:cubicBezTo>
                  <a:pt x="119" y="102"/>
                  <a:pt x="119" y="102"/>
                  <a:pt x="119" y="102"/>
                </a:cubicBezTo>
                <a:cubicBezTo>
                  <a:pt x="119" y="101"/>
                  <a:pt x="120" y="101"/>
                  <a:pt x="120" y="100"/>
                </a:cubicBezTo>
                <a:cubicBezTo>
                  <a:pt x="121" y="100"/>
                  <a:pt x="121" y="100"/>
                  <a:pt x="121" y="100"/>
                </a:cubicBezTo>
                <a:cubicBezTo>
                  <a:pt x="121" y="99"/>
                  <a:pt x="121" y="99"/>
                  <a:pt x="121" y="99"/>
                </a:cubicBezTo>
                <a:cubicBezTo>
                  <a:pt x="121" y="99"/>
                  <a:pt x="121" y="99"/>
                  <a:pt x="121" y="99"/>
                </a:cubicBezTo>
                <a:cubicBezTo>
                  <a:pt x="124" y="96"/>
                  <a:pt x="124" y="95"/>
                  <a:pt x="124" y="94"/>
                </a:cubicBezTo>
                <a:cubicBezTo>
                  <a:pt x="124" y="94"/>
                  <a:pt x="124" y="94"/>
                  <a:pt x="124" y="94"/>
                </a:cubicBezTo>
                <a:cubicBezTo>
                  <a:pt x="124" y="94"/>
                  <a:pt x="124" y="94"/>
                  <a:pt x="123" y="94"/>
                </a:cubicBezTo>
                <a:cubicBezTo>
                  <a:pt x="123" y="94"/>
                  <a:pt x="123" y="93"/>
                  <a:pt x="123" y="93"/>
                </a:cubicBezTo>
                <a:cubicBezTo>
                  <a:pt x="123" y="93"/>
                  <a:pt x="123" y="93"/>
                  <a:pt x="123" y="93"/>
                </a:cubicBezTo>
                <a:cubicBezTo>
                  <a:pt x="123" y="93"/>
                  <a:pt x="122" y="93"/>
                  <a:pt x="122" y="93"/>
                </a:cubicBezTo>
                <a:cubicBezTo>
                  <a:pt x="122" y="92"/>
                  <a:pt x="122" y="92"/>
                  <a:pt x="122" y="91"/>
                </a:cubicBezTo>
                <a:cubicBezTo>
                  <a:pt x="122" y="91"/>
                  <a:pt x="122" y="90"/>
                  <a:pt x="122" y="90"/>
                </a:cubicBezTo>
                <a:cubicBezTo>
                  <a:pt x="122" y="89"/>
                  <a:pt x="122" y="89"/>
                  <a:pt x="122" y="89"/>
                </a:cubicBezTo>
                <a:cubicBezTo>
                  <a:pt x="122" y="87"/>
                  <a:pt x="122" y="86"/>
                  <a:pt x="122" y="86"/>
                </a:cubicBezTo>
                <a:cubicBezTo>
                  <a:pt x="122" y="86"/>
                  <a:pt x="121" y="86"/>
                  <a:pt x="120" y="86"/>
                </a:cubicBezTo>
                <a:cubicBezTo>
                  <a:pt x="118" y="86"/>
                  <a:pt x="118" y="86"/>
                  <a:pt x="116" y="84"/>
                </a:cubicBezTo>
                <a:cubicBezTo>
                  <a:pt x="116" y="84"/>
                  <a:pt x="116" y="84"/>
                  <a:pt x="116" y="84"/>
                </a:cubicBezTo>
                <a:cubicBezTo>
                  <a:pt x="115" y="84"/>
                  <a:pt x="115" y="84"/>
                  <a:pt x="115" y="84"/>
                </a:cubicBezTo>
                <a:cubicBezTo>
                  <a:pt x="115" y="83"/>
                  <a:pt x="115" y="83"/>
                  <a:pt x="115" y="83"/>
                </a:cubicBezTo>
                <a:cubicBezTo>
                  <a:pt x="114" y="82"/>
                  <a:pt x="114" y="81"/>
                  <a:pt x="114" y="81"/>
                </a:cubicBezTo>
                <a:cubicBezTo>
                  <a:pt x="114" y="80"/>
                  <a:pt x="114" y="80"/>
                  <a:pt x="114" y="80"/>
                </a:cubicBezTo>
                <a:cubicBezTo>
                  <a:pt x="114" y="79"/>
                  <a:pt x="115" y="78"/>
                  <a:pt x="116" y="77"/>
                </a:cubicBezTo>
                <a:cubicBezTo>
                  <a:pt x="116" y="77"/>
                  <a:pt x="116" y="77"/>
                  <a:pt x="116" y="77"/>
                </a:cubicBezTo>
                <a:cubicBezTo>
                  <a:pt x="117" y="77"/>
                  <a:pt x="117" y="76"/>
                  <a:pt x="118" y="76"/>
                </a:cubicBezTo>
                <a:cubicBezTo>
                  <a:pt x="118" y="76"/>
                  <a:pt x="118" y="76"/>
                  <a:pt x="118" y="76"/>
                </a:cubicBezTo>
                <a:cubicBezTo>
                  <a:pt x="118" y="76"/>
                  <a:pt x="119" y="76"/>
                  <a:pt x="119" y="76"/>
                </a:cubicBezTo>
                <a:cubicBezTo>
                  <a:pt x="119" y="76"/>
                  <a:pt x="120" y="76"/>
                  <a:pt x="120" y="76"/>
                </a:cubicBezTo>
                <a:cubicBezTo>
                  <a:pt x="121" y="76"/>
                  <a:pt x="122" y="77"/>
                  <a:pt x="124" y="77"/>
                </a:cubicBezTo>
                <a:cubicBezTo>
                  <a:pt x="124" y="77"/>
                  <a:pt x="125" y="77"/>
                  <a:pt x="125" y="77"/>
                </a:cubicBezTo>
                <a:cubicBezTo>
                  <a:pt x="125" y="77"/>
                  <a:pt x="125" y="77"/>
                  <a:pt x="126" y="77"/>
                </a:cubicBezTo>
                <a:cubicBezTo>
                  <a:pt x="126" y="77"/>
                  <a:pt x="126" y="77"/>
                  <a:pt x="126" y="77"/>
                </a:cubicBezTo>
                <a:cubicBezTo>
                  <a:pt x="126" y="77"/>
                  <a:pt x="126" y="77"/>
                  <a:pt x="126" y="77"/>
                </a:cubicBezTo>
                <a:cubicBezTo>
                  <a:pt x="126" y="77"/>
                  <a:pt x="126" y="76"/>
                  <a:pt x="127" y="75"/>
                </a:cubicBezTo>
                <a:cubicBezTo>
                  <a:pt x="127" y="75"/>
                  <a:pt x="127" y="75"/>
                  <a:pt x="127" y="75"/>
                </a:cubicBezTo>
                <a:cubicBezTo>
                  <a:pt x="127" y="74"/>
                  <a:pt x="127" y="73"/>
                  <a:pt x="128" y="73"/>
                </a:cubicBezTo>
                <a:cubicBezTo>
                  <a:pt x="128" y="73"/>
                  <a:pt x="128" y="72"/>
                  <a:pt x="128" y="72"/>
                </a:cubicBezTo>
                <a:cubicBezTo>
                  <a:pt x="128" y="72"/>
                  <a:pt x="127" y="72"/>
                  <a:pt x="127" y="71"/>
                </a:cubicBezTo>
                <a:cubicBezTo>
                  <a:pt x="126" y="69"/>
                  <a:pt x="126" y="69"/>
                  <a:pt x="126" y="69"/>
                </a:cubicBezTo>
                <a:cubicBezTo>
                  <a:pt x="132" y="69"/>
                  <a:pt x="132" y="69"/>
                  <a:pt x="132" y="69"/>
                </a:cubicBezTo>
                <a:cubicBezTo>
                  <a:pt x="132" y="69"/>
                  <a:pt x="133" y="69"/>
                  <a:pt x="133" y="69"/>
                </a:cubicBezTo>
                <a:cubicBezTo>
                  <a:pt x="133" y="68"/>
                  <a:pt x="132" y="67"/>
                  <a:pt x="133" y="66"/>
                </a:cubicBezTo>
                <a:cubicBezTo>
                  <a:pt x="133" y="65"/>
                  <a:pt x="133" y="64"/>
                  <a:pt x="134" y="64"/>
                </a:cubicBezTo>
                <a:cubicBezTo>
                  <a:pt x="134" y="63"/>
                  <a:pt x="134" y="63"/>
                  <a:pt x="134" y="63"/>
                </a:cubicBezTo>
                <a:cubicBezTo>
                  <a:pt x="134" y="63"/>
                  <a:pt x="134" y="63"/>
                  <a:pt x="134" y="63"/>
                </a:cubicBezTo>
                <a:cubicBezTo>
                  <a:pt x="134" y="62"/>
                  <a:pt x="134" y="62"/>
                  <a:pt x="134" y="62"/>
                </a:cubicBezTo>
                <a:cubicBezTo>
                  <a:pt x="135" y="62"/>
                  <a:pt x="135" y="62"/>
                  <a:pt x="135" y="62"/>
                </a:cubicBezTo>
                <a:cubicBezTo>
                  <a:pt x="135" y="62"/>
                  <a:pt x="135" y="62"/>
                  <a:pt x="135" y="62"/>
                </a:cubicBezTo>
                <a:cubicBezTo>
                  <a:pt x="135" y="62"/>
                  <a:pt x="136" y="62"/>
                  <a:pt x="136" y="62"/>
                </a:cubicBezTo>
                <a:cubicBezTo>
                  <a:pt x="136" y="62"/>
                  <a:pt x="136" y="62"/>
                  <a:pt x="136" y="62"/>
                </a:cubicBezTo>
                <a:cubicBezTo>
                  <a:pt x="136" y="62"/>
                  <a:pt x="136" y="63"/>
                  <a:pt x="137" y="63"/>
                </a:cubicBezTo>
                <a:cubicBezTo>
                  <a:pt x="137" y="63"/>
                  <a:pt x="137" y="63"/>
                  <a:pt x="137" y="63"/>
                </a:cubicBezTo>
                <a:cubicBezTo>
                  <a:pt x="137" y="63"/>
                  <a:pt x="137" y="63"/>
                  <a:pt x="137" y="63"/>
                </a:cubicBezTo>
                <a:cubicBezTo>
                  <a:pt x="138" y="63"/>
                  <a:pt x="138" y="63"/>
                  <a:pt x="138" y="63"/>
                </a:cubicBezTo>
                <a:cubicBezTo>
                  <a:pt x="138" y="63"/>
                  <a:pt x="138" y="63"/>
                  <a:pt x="139" y="63"/>
                </a:cubicBezTo>
                <a:cubicBezTo>
                  <a:pt x="139" y="64"/>
                  <a:pt x="139" y="64"/>
                  <a:pt x="139" y="64"/>
                </a:cubicBezTo>
                <a:cubicBezTo>
                  <a:pt x="139" y="64"/>
                  <a:pt x="139" y="64"/>
                  <a:pt x="139" y="64"/>
                </a:cubicBezTo>
                <a:cubicBezTo>
                  <a:pt x="139" y="63"/>
                  <a:pt x="139" y="63"/>
                  <a:pt x="140" y="63"/>
                </a:cubicBezTo>
                <a:cubicBezTo>
                  <a:pt x="140" y="63"/>
                  <a:pt x="141" y="63"/>
                  <a:pt x="141" y="62"/>
                </a:cubicBezTo>
                <a:cubicBezTo>
                  <a:pt x="141" y="62"/>
                  <a:pt x="141" y="62"/>
                  <a:pt x="141" y="62"/>
                </a:cubicBezTo>
                <a:cubicBezTo>
                  <a:pt x="142" y="62"/>
                  <a:pt x="142" y="62"/>
                  <a:pt x="142" y="62"/>
                </a:cubicBezTo>
                <a:cubicBezTo>
                  <a:pt x="142" y="62"/>
                  <a:pt x="143" y="62"/>
                  <a:pt x="143" y="61"/>
                </a:cubicBezTo>
                <a:cubicBezTo>
                  <a:pt x="144" y="61"/>
                  <a:pt x="144" y="61"/>
                  <a:pt x="144" y="61"/>
                </a:cubicBezTo>
                <a:cubicBezTo>
                  <a:pt x="144" y="61"/>
                  <a:pt x="144" y="61"/>
                  <a:pt x="144" y="60"/>
                </a:cubicBezTo>
                <a:cubicBezTo>
                  <a:pt x="144" y="60"/>
                  <a:pt x="145" y="60"/>
                  <a:pt x="145" y="60"/>
                </a:cubicBezTo>
                <a:cubicBezTo>
                  <a:pt x="145" y="60"/>
                  <a:pt x="145" y="59"/>
                  <a:pt x="146" y="59"/>
                </a:cubicBezTo>
                <a:cubicBezTo>
                  <a:pt x="146" y="59"/>
                  <a:pt x="146" y="59"/>
                  <a:pt x="146" y="59"/>
                </a:cubicBezTo>
                <a:cubicBezTo>
                  <a:pt x="147" y="59"/>
                  <a:pt x="147" y="59"/>
                  <a:pt x="147" y="59"/>
                </a:cubicBezTo>
                <a:cubicBezTo>
                  <a:pt x="152" y="64"/>
                  <a:pt x="152" y="64"/>
                  <a:pt x="152" y="64"/>
                </a:cubicBezTo>
                <a:cubicBezTo>
                  <a:pt x="151" y="65"/>
                  <a:pt x="151" y="65"/>
                  <a:pt x="151" y="65"/>
                </a:cubicBezTo>
                <a:cubicBezTo>
                  <a:pt x="150" y="66"/>
                  <a:pt x="149" y="67"/>
                  <a:pt x="148" y="68"/>
                </a:cubicBezTo>
                <a:cubicBezTo>
                  <a:pt x="148" y="68"/>
                  <a:pt x="149" y="68"/>
                  <a:pt x="149" y="69"/>
                </a:cubicBezTo>
                <a:cubicBezTo>
                  <a:pt x="149" y="69"/>
                  <a:pt x="150" y="69"/>
                  <a:pt x="150" y="69"/>
                </a:cubicBezTo>
                <a:cubicBezTo>
                  <a:pt x="150" y="69"/>
                  <a:pt x="150" y="69"/>
                  <a:pt x="150" y="69"/>
                </a:cubicBezTo>
                <a:cubicBezTo>
                  <a:pt x="151" y="69"/>
                  <a:pt x="151" y="69"/>
                  <a:pt x="151" y="69"/>
                </a:cubicBezTo>
                <a:cubicBezTo>
                  <a:pt x="152" y="68"/>
                  <a:pt x="152" y="68"/>
                  <a:pt x="152" y="68"/>
                </a:cubicBezTo>
                <a:cubicBezTo>
                  <a:pt x="152" y="68"/>
                  <a:pt x="152" y="68"/>
                  <a:pt x="152" y="68"/>
                </a:cubicBezTo>
                <a:cubicBezTo>
                  <a:pt x="152" y="68"/>
                  <a:pt x="152" y="68"/>
                  <a:pt x="153" y="68"/>
                </a:cubicBezTo>
                <a:cubicBezTo>
                  <a:pt x="153" y="68"/>
                  <a:pt x="153" y="68"/>
                  <a:pt x="153" y="68"/>
                </a:cubicBezTo>
                <a:cubicBezTo>
                  <a:pt x="154" y="68"/>
                  <a:pt x="154" y="68"/>
                  <a:pt x="155" y="68"/>
                </a:cubicBezTo>
                <a:cubicBezTo>
                  <a:pt x="156" y="68"/>
                  <a:pt x="156" y="68"/>
                  <a:pt x="156" y="68"/>
                </a:cubicBezTo>
                <a:cubicBezTo>
                  <a:pt x="156" y="68"/>
                  <a:pt x="156" y="68"/>
                  <a:pt x="157" y="68"/>
                </a:cubicBezTo>
                <a:cubicBezTo>
                  <a:pt x="157" y="68"/>
                  <a:pt x="157" y="68"/>
                  <a:pt x="158" y="69"/>
                </a:cubicBezTo>
                <a:cubicBezTo>
                  <a:pt x="158" y="69"/>
                  <a:pt x="158" y="69"/>
                  <a:pt x="159" y="69"/>
                </a:cubicBezTo>
                <a:cubicBezTo>
                  <a:pt x="160" y="70"/>
                  <a:pt x="160" y="69"/>
                  <a:pt x="161" y="69"/>
                </a:cubicBezTo>
                <a:cubicBezTo>
                  <a:pt x="161" y="69"/>
                  <a:pt x="161" y="69"/>
                  <a:pt x="161" y="69"/>
                </a:cubicBezTo>
                <a:cubicBezTo>
                  <a:pt x="161" y="69"/>
                  <a:pt x="161" y="69"/>
                  <a:pt x="161" y="69"/>
                </a:cubicBezTo>
                <a:cubicBezTo>
                  <a:pt x="162" y="69"/>
                  <a:pt x="162" y="69"/>
                  <a:pt x="162" y="68"/>
                </a:cubicBezTo>
                <a:cubicBezTo>
                  <a:pt x="162" y="68"/>
                  <a:pt x="162" y="68"/>
                  <a:pt x="162" y="68"/>
                </a:cubicBezTo>
                <a:cubicBezTo>
                  <a:pt x="162" y="67"/>
                  <a:pt x="162" y="67"/>
                  <a:pt x="163" y="67"/>
                </a:cubicBezTo>
                <a:cubicBezTo>
                  <a:pt x="163" y="66"/>
                  <a:pt x="163" y="66"/>
                  <a:pt x="163" y="66"/>
                </a:cubicBezTo>
                <a:cubicBezTo>
                  <a:pt x="163" y="66"/>
                  <a:pt x="163" y="66"/>
                  <a:pt x="164" y="66"/>
                </a:cubicBezTo>
                <a:cubicBezTo>
                  <a:pt x="164" y="66"/>
                  <a:pt x="164" y="66"/>
                  <a:pt x="164" y="66"/>
                </a:cubicBezTo>
                <a:cubicBezTo>
                  <a:pt x="164" y="67"/>
                  <a:pt x="164" y="67"/>
                  <a:pt x="164" y="67"/>
                </a:cubicBezTo>
                <a:cubicBezTo>
                  <a:pt x="164" y="66"/>
                  <a:pt x="164" y="66"/>
                  <a:pt x="164" y="66"/>
                </a:cubicBezTo>
                <a:cubicBezTo>
                  <a:pt x="164" y="66"/>
                  <a:pt x="164" y="66"/>
                  <a:pt x="164" y="66"/>
                </a:cubicBezTo>
                <a:cubicBezTo>
                  <a:pt x="164" y="66"/>
                  <a:pt x="164" y="66"/>
                  <a:pt x="164" y="66"/>
                </a:cubicBezTo>
                <a:cubicBezTo>
                  <a:pt x="165" y="66"/>
                  <a:pt x="165" y="66"/>
                  <a:pt x="165" y="66"/>
                </a:cubicBezTo>
                <a:cubicBezTo>
                  <a:pt x="165" y="66"/>
                  <a:pt x="165" y="66"/>
                  <a:pt x="165" y="66"/>
                </a:cubicBezTo>
                <a:cubicBezTo>
                  <a:pt x="165" y="66"/>
                  <a:pt x="165" y="66"/>
                  <a:pt x="165" y="66"/>
                </a:cubicBezTo>
                <a:cubicBezTo>
                  <a:pt x="165" y="65"/>
                  <a:pt x="165" y="64"/>
                  <a:pt x="166" y="64"/>
                </a:cubicBezTo>
                <a:cubicBezTo>
                  <a:pt x="166" y="64"/>
                  <a:pt x="166" y="64"/>
                  <a:pt x="166" y="64"/>
                </a:cubicBezTo>
                <a:cubicBezTo>
                  <a:pt x="167" y="64"/>
                  <a:pt x="167" y="64"/>
                  <a:pt x="167" y="64"/>
                </a:cubicBezTo>
                <a:cubicBezTo>
                  <a:pt x="168" y="64"/>
                  <a:pt x="168" y="64"/>
                  <a:pt x="168" y="64"/>
                </a:cubicBezTo>
                <a:cubicBezTo>
                  <a:pt x="168" y="65"/>
                  <a:pt x="168" y="65"/>
                  <a:pt x="168" y="65"/>
                </a:cubicBezTo>
                <a:cubicBezTo>
                  <a:pt x="168" y="65"/>
                  <a:pt x="169" y="65"/>
                  <a:pt x="169" y="65"/>
                </a:cubicBezTo>
                <a:cubicBezTo>
                  <a:pt x="169" y="65"/>
                  <a:pt x="169" y="65"/>
                  <a:pt x="169" y="65"/>
                </a:cubicBezTo>
                <a:cubicBezTo>
                  <a:pt x="169" y="65"/>
                  <a:pt x="169" y="65"/>
                  <a:pt x="169" y="65"/>
                </a:cubicBezTo>
                <a:cubicBezTo>
                  <a:pt x="169" y="64"/>
                  <a:pt x="169" y="64"/>
                  <a:pt x="169" y="64"/>
                </a:cubicBezTo>
                <a:cubicBezTo>
                  <a:pt x="170" y="64"/>
                  <a:pt x="170" y="64"/>
                  <a:pt x="170" y="64"/>
                </a:cubicBezTo>
                <a:cubicBezTo>
                  <a:pt x="170" y="64"/>
                  <a:pt x="170" y="64"/>
                  <a:pt x="170" y="64"/>
                </a:cubicBezTo>
                <a:cubicBezTo>
                  <a:pt x="169" y="63"/>
                  <a:pt x="169" y="63"/>
                  <a:pt x="168" y="63"/>
                </a:cubicBezTo>
                <a:cubicBezTo>
                  <a:pt x="168" y="63"/>
                  <a:pt x="168" y="63"/>
                  <a:pt x="168" y="63"/>
                </a:cubicBezTo>
                <a:cubicBezTo>
                  <a:pt x="168" y="63"/>
                  <a:pt x="168" y="63"/>
                  <a:pt x="168" y="63"/>
                </a:cubicBezTo>
                <a:cubicBezTo>
                  <a:pt x="167" y="62"/>
                  <a:pt x="167" y="62"/>
                  <a:pt x="167" y="62"/>
                </a:cubicBezTo>
                <a:cubicBezTo>
                  <a:pt x="167" y="62"/>
                  <a:pt x="167" y="62"/>
                  <a:pt x="167" y="62"/>
                </a:cubicBezTo>
                <a:cubicBezTo>
                  <a:pt x="166" y="62"/>
                  <a:pt x="166" y="62"/>
                  <a:pt x="166" y="62"/>
                </a:cubicBezTo>
                <a:cubicBezTo>
                  <a:pt x="166" y="63"/>
                  <a:pt x="166" y="63"/>
                  <a:pt x="166" y="63"/>
                </a:cubicBezTo>
                <a:cubicBezTo>
                  <a:pt x="166" y="62"/>
                  <a:pt x="166" y="62"/>
                  <a:pt x="166" y="62"/>
                </a:cubicBezTo>
                <a:cubicBezTo>
                  <a:pt x="166" y="62"/>
                  <a:pt x="166" y="62"/>
                  <a:pt x="166" y="62"/>
                </a:cubicBezTo>
                <a:cubicBezTo>
                  <a:pt x="166" y="62"/>
                  <a:pt x="165" y="62"/>
                  <a:pt x="165" y="62"/>
                </a:cubicBezTo>
                <a:cubicBezTo>
                  <a:pt x="165" y="62"/>
                  <a:pt x="165" y="62"/>
                  <a:pt x="165" y="62"/>
                </a:cubicBezTo>
                <a:cubicBezTo>
                  <a:pt x="163" y="62"/>
                  <a:pt x="163" y="62"/>
                  <a:pt x="163" y="62"/>
                </a:cubicBezTo>
                <a:cubicBezTo>
                  <a:pt x="163" y="61"/>
                  <a:pt x="163" y="61"/>
                  <a:pt x="163" y="61"/>
                </a:cubicBezTo>
                <a:cubicBezTo>
                  <a:pt x="163" y="61"/>
                  <a:pt x="163" y="60"/>
                  <a:pt x="163" y="60"/>
                </a:cubicBezTo>
                <a:cubicBezTo>
                  <a:pt x="163" y="60"/>
                  <a:pt x="163" y="60"/>
                  <a:pt x="163" y="59"/>
                </a:cubicBezTo>
                <a:cubicBezTo>
                  <a:pt x="163" y="59"/>
                  <a:pt x="163" y="60"/>
                  <a:pt x="163" y="60"/>
                </a:cubicBezTo>
                <a:cubicBezTo>
                  <a:pt x="162" y="60"/>
                  <a:pt x="162" y="60"/>
                  <a:pt x="162" y="60"/>
                </a:cubicBezTo>
                <a:cubicBezTo>
                  <a:pt x="162" y="60"/>
                  <a:pt x="162" y="60"/>
                  <a:pt x="162" y="60"/>
                </a:cubicBezTo>
                <a:cubicBezTo>
                  <a:pt x="162" y="59"/>
                  <a:pt x="161" y="59"/>
                  <a:pt x="161" y="59"/>
                </a:cubicBezTo>
                <a:cubicBezTo>
                  <a:pt x="161" y="59"/>
                  <a:pt x="161" y="58"/>
                  <a:pt x="160" y="58"/>
                </a:cubicBezTo>
                <a:cubicBezTo>
                  <a:pt x="160" y="57"/>
                  <a:pt x="160" y="57"/>
                  <a:pt x="160" y="57"/>
                </a:cubicBezTo>
                <a:cubicBezTo>
                  <a:pt x="160" y="58"/>
                  <a:pt x="160" y="58"/>
                  <a:pt x="160" y="58"/>
                </a:cubicBezTo>
                <a:cubicBezTo>
                  <a:pt x="158" y="58"/>
                  <a:pt x="158" y="58"/>
                  <a:pt x="158" y="58"/>
                </a:cubicBezTo>
                <a:cubicBezTo>
                  <a:pt x="158" y="58"/>
                  <a:pt x="158" y="58"/>
                  <a:pt x="158" y="58"/>
                </a:cubicBezTo>
                <a:cubicBezTo>
                  <a:pt x="158" y="58"/>
                  <a:pt x="158" y="58"/>
                  <a:pt x="158" y="58"/>
                </a:cubicBezTo>
                <a:cubicBezTo>
                  <a:pt x="158" y="59"/>
                  <a:pt x="158" y="59"/>
                  <a:pt x="158" y="59"/>
                </a:cubicBezTo>
                <a:cubicBezTo>
                  <a:pt x="158" y="60"/>
                  <a:pt x="158" y="60"/>
                  <a:pt x="158" y="60"/>
                </a:cubicBezTo>
                <a:cubicBezTo>
                  <a:pt x="156" y="60"/>
                  <a:pt x="156" y="60"/>
                  <a:pt x="156" y="60"/>
                </a:cubicBezTo>
                <a:cubicBezTo>
                  <a:pt x="156" y="60"/>
                  <a:pt x="156" y="60"/>
                  <a:pt x="156" y="60"/>
                </a:cubicBezTo>
                <a:cubicBezTo>
                  <a:pt x="156" y="60"/>
                  <a:pt x="155" y="60"/>
                  <a:pt x="155" y="60"/>
                </a:cubicBezTo>
                <a:cubicBezTo>
                  <a:pt x="155" y="60"/>
                  <a:pt x="155" y="60"/>
                  <a:pt x="155" y="60"/>
                </a:cubicBezTo>
                <a:cubicBezTo>
                  <a:pt x="154" y="60"/>
                  <a:pt x="154" y="60"/>
                  <a:pt x="154" y="60"/>
                </a:cubicBezTo>
                <a:cubicBezTo>
                  <a:pt x="153" y="60"/>
                  <a:pt x="151" y="59"/>
                  <a:pt x="150" y="59"/>
                </a:cubicBezTo>
                <a:cubicBezTo>
                  <a:pt x="149" y="58"/>
                  <a:pt x="149" y="58"/>
                  <a:pt x="148" y="57"/>
                </a:cubicBezTo>
                <a:cubicBezTo>
                  <a:pt x="148" y="57"/>
                  <a:pt x="148" y="57"/>
                  <a:pt x="148" y="56"/>
                </a:cubicBezTo>
                <a:cubicBezTo>
                  <a:pt x="148" y="57"/>
                  <a:pt x="148" y="57"/>
                  <a:pt x="148" y="57"/>
                </a:cubicBezTo>
                <a:cubicBezTo>
                  <a:pt x="147" y="57"/>
                  <a:pt x="146" y="57"/>
                  <a:pt x="145" y="56"/>
                </a:cubicBezTo>
                <a:cubicBezTo>
                  <a:pt x="145" y="56"/>
                  <a:pt x="145" y="56"/>
                  <a:pt x="145" y="56"/>
                </a:cubicBezTo>
                <a:cubicBezTo>
                  <a:pt x="145" y="56"/>
                  <a:pt x="145" y="56"/>
                  <a:pt x="145" y="56"/>
                </a:cubicBezTo>
                <a:cubicBezTo>
                  <a:pt x="145" y="56"/>
                  <a:pt x="145" y="56"/>
                  <a:pt x="145" y="56"/>
                </a:cubicBezTo>
                <a:cubicBezTo>
                  <a:pt x="144" y="56"/>
                  <a:pt x="144" y="56"/>
                  <a:pt x="144" y="56"/>
                </a:cubicBezTo>
                <a:cubicBezTo>
                  <a:pt x="143" y="55"/>
                  <a:pt x="143" y="55"/>
                  <a:pt x="143" y="55"/>
                </a:cubicBezTo>
                <a:cubicBezTo>
                  <a:pt x="143" y="55"/>
                  <a:pt x="143" y="55"/>
                  <a:pt x="143" y="55"/>
                </a:cubicBezTo>
                <a:cubicBezTo>
                  <a:pt x="142" y="53"/>
                  <a:pt x="143" y="53"/>
                  <a:pt x="144" y="52"/>
                </a:cubicBezTo>
                <a:cubicBezTo>
                  <a:pt x="145" y="51"/>
                  <a:pt x="146" y="50"/>
                  <a:pt x="148" y="49"/>
                </a:cubicBezTo>
                <a:cubicBezTo>
                  <a:pt x="142" y="52"/>
                  <a:pt x="142" y="52"/>
                  <a:pt x="142" y="52"/>
                </a:cubicBezTo>
                <a:cubicBezTo>
                  <a:pt x="141" y="53"/>
                  <a:pt x="139" y="54"/>
                  <a:pt x="138" y="55"/>
                </a:cubicBezTo>
                <a:cubicBezTo>
                  <a:pt x="138" y="55"/>
                  <a:pt x="138" y="55"/>
                  <a:pt x="138" y="55"/>
                </a:cubicBezTo>
                <a:cubicBezTo>
                  <a:pt x="137" y="56"/>
                  <a:pt x="136" y="56"/>
                  <a:pt x="135" y="57"/>
                </a:cubicBezTo>
                <a:cubicBezTo>
                  <a:pt x="137" y="59"/>
                  <a:pt x="137" y="59"/>
                  <a:pt x="137" y="59"/>
                </a:cubicBezTo>
                <a:cubicBezTo>
                  <a:pt x="135" y="57"/>
                  <a:pt x="135" y="57"/>
                  <a:pt x="135" y="57"/>
                </a:cubicBezTo>
                <a:cubicBezTo>
                  <a:pt x="135" y="57"/>
                  <a:pt x="135" y="57"/>
                  <a:pt x="135" y="57"/>
                </a:cubicBezTo>
                <a:cubicBezTo>
                  <a:pt x="134" y="57"/>
                  <a:pt x="134" y="58"/>
                  <a:pt x="133" y="58"/>
                </a:cubicBezTo>
                <a:cubicBezTo>
                  <a:pt x="133" y="59"/>
                  <a:pt x="133" y="59"/>
                  <a:pt x="132" y="59"/>
                </a:cubicBezTo>
                <a:cubicBezTo>
                  <a:pt x="131" y="60"/>
                  <a:pt x="131" y="60"/>
                  <a:pt x="131" y="60"/>
                </a:cubicBezTo>
                <a:cubicBezTo>
                  <a:pt x="130" y="61"/>
                  <a:pt x="129" y="62"/>
                  <a:pt x="129" y="62"/>
                </a:cubicBezTo>
                <a:cubicBezTo>
                  <a:pt x="129" y="63"/>
                  <a:pt x="129" y="63"/>
                  <a:pt x="129" y="63"/>
                </a:cubicBezTo>
                <a:cubicBezTo>
                  <a:pt x="129" y="63"/>
                  <a:pt x="129" y="63"/>
                  <a:pt x="129" y="63"/>
                </a:cubicBezTo>
                <a:cubicBezTo>
                  <a:pt x="129" y="64"/>
                  <a:pt x="129" y="65"/>
                  <a:pt x="128" y="66"/>
                </a:cubicBezTo>
                <a:cubicBezTo>
                  <a:pt x="128" y="66"/>
                  <a:pt x="128" y="67"/>
                  <a:pt x="128" y="67"/>
                </a:cubicBezTo>
                <a:cubicBezTo>
                  <a:pt x="128" y="67"/>
                  <a:pt x="128" y="67"/>
                  <a:pt x="128" y="67"/>
                </a:cubicBezTo>
                <a:cubicBezTo>
                  <a:pt x="127" y="66"/>
                  <a:pt x="127" y="66"/>
                  <a:pt x="127" y="66"/>
                </a:cubicBezTo>
                <a:cubicBezTo>
                  <a:pt x="127" y="67"/>
                  <a:pt x="127" y="67"/>
                  <a:pt x="127" y="67"/>
                </a:cubicBezTo>
                <a:cubicBezTo>
                  <a:pt x="127" y="67"/>
                  <a:pt x="127" y="67"/>
                  <a:pt x="127" y="67"/>
                </a:cubicBezTo>
                <a:cubicBezTo>
                  <a:pt x="127" y="67"/>
                  <a:pt x="127" y="67"/>
                  <a:pt x="127" y="67"/>
                </a:cubicBezTo>
                <a:cubicBezTo>
                  <a:pt x="127" y="67"/>
                  <a:pt x="127" y="67"/>
                  <a:pt x="127" y="67"/>
                </a:cubicBezTo>
                <a:cubicBezTo>
                  <a:pt x="126" y="66"/>
                  <a:pt x="126" y="66"/>
                  <a:pt x="126" y="66"/>
                </a:cubicBezTo>
                <a:cubicBezTo>
                  <a:pt x="126" y="66"/>
                  <a:pt x="126" y="66"/>
                  <a:pt x="126" y="66"/>
                </a:cubicBezTo>
                <a:cubicBezTo>
                  <a:pt x="126" y="67"/>
                  <a:pt x="126" y="67"/>
                  <a:pt x="126" y="67"/>
                </a:cubicBezTo>
                <a:cubicBezTo>
                  <a:pt x="126" y="67"/>
                  <a:pt x="126" y="66"/>
                  <a:pt x="126" y="66"/>
                </a:cubicBezTo>
                <a:cubicBezTo>
                  <a:pt x="124" y="66"/>
                  <a:pt x="123" y="65"/>
                  <a:pt x="121" y="64"/>
                </a:cubicBezTo>
                <a:cubicBezTo>
                  <a:pt x="120" y="63"/>
                  <a:pt x="120" y="63"/>
                  <a:pt x="120" y="63"/>
                </a:cubicBezTo>
                <a:cubicBezTo>
                  <a:pt x="121" y="62"/>
                  <a:pt x="121" y="62"/>
                  <a:pt x="121" y="62"/>
                </a:cubicBezTo>
                <a:cubicBezTo>
                  <a:pt x="121" y="62"/>
                  <a:pt x="121" y="61"/>
                  <a:pt x="122" y="61"/>
                </a:cubicBezTo>
                <a:cubicBezTo>
                  <a:pt x="121" y="60"/>
                  <a:pt x="121" y="60"/>
                  <a:pt x="121" y="60"/>
                </a:cubicBezTo>
                <a:cubicBezTo>
                  <a:pt x="121" y="60"/>
                  <a:pt x="121" y="60"/>
                  <a:pt x="121" y="60"/>
                </a:cubicBezTo>
                <a:cubicBezTo>
                  <a:pt x="121" y="60"/>
                  <a:pt x="121" y="60"/>
                  <a:pt x="121" y="60"/>
                </a:cubicBezTo>
                <a:cubicBezTo>
                  <a:pt x="121" y="60"/>
                  <a:pt x="121" y="60"/>
                  <a:pt x="121" y="60"/>
                </a:cubicBezTo>
                <a:cubicBezTo>
                  <a:pt x="120" y="60"/>
                  <a:pt x="120" y="60"/>
                  <a:pt x="120" y="59"/>
                </a:cubicBezTo>
                <a:cubicBezTo>
                  <a:pt x="120" y="59"/>
                  <a:pt x="119" y="60"/>
                  <a:pt x="119" y="60"/>
                </a:cubicBezTo>
                <a:cubicBezTo>
                  <a:pt x="118" y="60"/>
                  <a:pt x="118" y="60"/>
                  <a:pt x="118" y="60"/>
                </a:cubicBezTo>
                <a:cubicBezTo>
                  <a:pt x="118" y="60"/>
                  <a:pt x="118" y="60"/>
                  <a:pt x="118" y="60"/>
                </a:cubicBezTo>
                <a:cubicBezTo>
                  <a:pt x="109" y="60"/>
                  <a:pt x="109" y="60"/>
                  <a:pt x="109" y="60"/>
                </a:cubicBezTo>
                <a:cubicBezTo>
                  <a:pt x="109" y="60"/>
                  <a:pt x="109" y="60"/>
                  <a:pt x="109" y="60"/>
                </a:cubicBezTo>
                <a:cubicBezTo>
                  <a:pt x="108" y="60"/>
                  <a:pt x="108" y="59"/>
                  <a:pt x="108" y="59"/>
                </a:cubicBezTo>
                <a:cubicBezTo>
                  <a:pt x="107" y="58"/>
                  <a:pt x="107" y="58"/>
                  <a:pt x="107" y="57"/>
                </a:cubicBezTo>
                <a:cubicBezTo>
                  <a:pt x="107" y="57"/>
                  <a:pt x="107" y="57"/>
                  <a:pt x="107" y="57"/>
                </a:cubicBezTo>
                <a:cubicBezTo>
                  <a:pt x="107" y="56"/>
                  <a:pt x="107" y="56"/>
                  <a:pt x="107" y="56"/>
                </a:cubicBezTo>
                <a:cubicBezTo>
                  <a:pt x="106" y="55"/>
                  <a:pt x="106" y="55"/>
                  <a:pt x="106" y="55"/>
                </a:cubicBezTo>
                <a:cubicBezTo>
                  <a:pt x="106" y="54"/>
                  <a:pt x="106" y="52"/>
                  <a:pt x="105" y="51"/>
                </a:cubicBezTo>
                <a:cubicBezTo>
                  <a:pt x="105" y="51"/>
                  <a:pt x="105" y="50"/>
                  <a:pt x="105" y="50"/>
                </a:cubicBezTo>
                <a:cubicBezTo>
                  <a:pt x="105" y="50"/>
                  <a:pt x="105" y="50"/>
                  <a:pt x="105" y="50"/>
                </a:cubicBezTo>
                <a:cubicBezTo>
                  <a:pt x="105" y="50"/>
                  <a:pt x="105" y="50"/>
                  <a:pt x="105" y="50"/>
                </a:cubicBezTo>
                <a:cubicBezTo>
                  <a:pt x="105" y="50"/>
                  <a:pt x="105" y="50"/>
                  <a:pt x="105" y="50"/>
                </a:cubicBezTo>
                <a:cubicBezTo>
                  <a:pt x="105" y="50"/>
                  <a:pt x="104" y="50"/>
                  <a:pt x="104" y="50"/>
                </a:cubicBezTo>
                <a:cubicBezTo>
                  <a:pt x="104" y="50"/>
                  <a:pt x="103" y="50"/>
                  <a:pt x="103" y="50"/>
                </a:cubicBezTo>
                <a:cubicBezTo>
                  <a:pt x="103" y="50"/>
                  <a:pt x="103" y="50"/>
                  <a:pt x="103" y="50"/>
                </a:cubicBezTo>
                <a:cubicBezTo>
                  <a:pt x="102" y="50"/>
                  <a:pt x="102" y="50"/>
                  <a:pt x="102" y="50"/>
                </a:cubicBezTo>
                <a:cubicBezTo>
                  <a:pt x="101" y="50"/>
                  <a:pt x="101" y="49"/>
                  <a:pt x="100" y="48"/>
                </a:cubicBezTo>
                <a:cubicBezTo>
                  <a:pt x="100" y="48"/>
                  <a:pt x="100" y="47"/>
                  <a:pt x="100" y="46"/>
                </a:cubicBezTo>
                <a:cubicBezTo>
                  <a:pt x="100" y="46"/>
                  <a:pt x="100" y="45"/>
                  <a:pt x="100" y="45"/>
                </a:cubicBezTo>
                <a:cubicBezTo>
                  <a:pt x="100" y="45"/>
                  <a:pt x="100" y="44"/>
                  <a:pt x="100" y="44"/>
                </a:cubicBezTo>
                <a:cubicBezTo>
                  <a:pt x="100" y="43"/>
                  <a:pt x="101" y="43"/>
                  <a:pt x="101" y="42"/>
                </a:cubicBezTo>
                <a:cubicBezTo>
                  <a:pt x="101" y="41"/>
                  <a:pt x="101" y="40"/>
                  <a:pt x="101" y="40"/>
                </a:cubicBezTo>
                <a:cubicBezTo>
                  <a:pt x="101" y="39"/>
                  <a:pt x="101" y="39"/>
                  <a:pt x="101" y="39"/>
                </a:cubicBezTo>
                <a:cubicBezTo>
                  <a:pt x="101" y="39"/>
                  <a:pt x="101" y="38"/>
                  <a:pt x="101" y="38"/>
                </a:cubicBezTo>
                <a:cubicBezTo>
                  <a:pt x="100" y="39"/>
                  <a:pt x="99" y="37"/>
                  <a:pt x="98" y="37"/>
                </a:cubicBezTo>
                <a:cubicBezTo>
                  <a:pt x="98" y="36"/>
                  <a:pt x="98" y="36"/>
                  <a:pt x="98" y="36"/>
                </a:cubicBezTo>
                <a:cubicBezTo>
                  <a:pt x="98" y="36"/>
                  <a:pt x="98" y="36"/>
                  <a:pt x="98" y="36"/>
                </a:cubicBezTo>
                <a:cubicBezTo>
                  <a:pt x="98" y="36"/>
                  <a:pt x="98" y="36"/>
                  <a:pt x="97" y="36"/>
                </a:cubicBezTo>
                <a:cubicBezTo>
                  <a:pt x="97" y="35"/>
                  <a:pt x="97" y="35"/>
                  <a:pt x="97" y="35"/>
                </a:cubicBezTo>
                <a:cubicBezTo>
                  <a:pt x="96" y="34"/>
                  <a:pt x="95" y="33"/>
                  <a:pt x="94" y="32"/>
                </a:cubicBezTo>
                <a:cubicBezTo>
                  <a:pt x="93" y="32"/>
                  <a:pt x="93" y="32"/>
                  <a:pt x="93" y="32"/>
                </a:cubicBezTo>
                <a:cubicBezTo>
                  <a:pt x="93" y="32"/>
                  <a:pt x="93" y="31"/>
                  <a:pt x="93" y="31"/>
                </a:cubicBezTo>
                <a:cubicBezTo>
                  <a:pt x="92" y="30"/>
                  <a:pt x="92" y="30"/>
                  <a:pt x="92" y="30"/>
                </a:cubicBezTo>
                <a:cubicBezTo>
                  <a:pt x="91" y="30"/>
                  <a:pt x="91" y="29"/>
                  <a:pt x="90" y="29"/>
                </a:cubicBezTo>
                <a:cubicBezTo>
                  <a:pt x="90" y="29"/>
                  <a:pt x="90" y="28"/>
                  <a:pt x="90" y="28"/>
                </a:cubicBezTo>
                <a:cubicBezTo>
                  <a:pt x="89" y="29"/>
                  <a:pt x="89" y="29"/>
                  <a:pt x="89" y="29"/>
                </a:cubicBezTo>
                <a:cubicBezTo>
                  <a:pt x="89" y="29"/>
                  <a:pt x="89" y="29"/>
                  <a:pt x="89" y="29"/>
                </a:cubicBezTo>
                <a:cubicBezTo>
                  <a:pt x="90" y="31"/>
                  <a:pt x="90" y="31"/>
                  <a:pt x="90" y="31"/>
                </a:cubicBezTo>
                <a:cubicBezTo>
                  <a:pt x="88" y="29"/>
                  <a:pt x="88" y="29"/>
                  <a:pt x="88" y="29"/>
                </a:cubicBezTo>
                <a:cubicBezTo>
                  <a:pt x="88" y="29"/>
                  <a:pt x="88" y="29"/>
                  <a:pt x="88" y="29"/>
                </a:cubicBezTo>
                <a:cubicBezTo>
                  <a:pt x="87" y="30"/>
                  <a:pt x="86" y="30"/>
                  <a:pt x="85" y="30"/>
                </a:cubicBezTo>
                <a:cubicBezTo>
                  <a:pt x="85" y="30"/>
                  <a:pt x="85" y="30"/>
                  <a:pt x="85" y="30"/>
                </a:cubicBezTo>
                <a:cubicBezTo>
                  <a:pt x="82" y="30"/>
                  <a:pt x="82" y="30"/>
                  <a:pt x="82" y="30"/>
                </a:cubicBezTo>
                <a:cubicBezTo>
                  <a:pt x="81" y="30"/>
                  <a:pt x="80" y="30"/>
                  <a:pt x="79" y="30"/>
                </a:cubicBezTo>
                <a:cubicBezTo>
                  <a:pt x="77" y="30"/>
                  <a:pt x="75" y="29"/>
                  <a:pt x="72" y="29"/>
                </a:cubicBezTo>
                <a:cubicBezTo>
                  <a:pt x="71" y="30"/>
                  <a:pt x="69" y="30"/>
                  <a:pt x="66" y="30"/>
                </a:cubicBezTo>
                <a:cubicBezTo>
                  <a:pt x="65" y="31"/>
                  <a:pt x="63" y="31"/>
                  <a:pt x="62" y="31"/>
                </a:cubicBezTo>
                <a:cubicBezTo>
                  <a:pt x="61" y="31"/>
                  <a:pt x="61" y="31"/>
                  <a:pt x="60" y="31"/>
                </a:cubicBezTo>
                <a:cubicBezTo>
                  <a:pt x="60" y="31"/>
                  <a:pt x="60" y="31"/>
                  <a:pt x="60" y="31"/>
                </a:cubicBezTo>
                <a:cubicBezTo>
                  <a:pt x="60" y="31"/>
                  <a:pt x="59" y="31"/>
                  <a:pt x="59" y="30"/>
                </a:cubicBezTo>
                <a:cubicBezTo>
                  <a:pt x="59" y="30"/>
                  <a:pt x="59" y="30"/>
                  <a:pt x="59" y="30"/>
                </a:cubicBezTo>
                <a:cubicBezTo>
                  <a:pt x="58" y="30"/>
                  <a:pt x="58" y="29"/>
                  <a:pt x="58" y="29"/>
                </a:cubicBezTo>
                <a:cubicBezTo>
                  <a:pt x="57" y="29"/>
                  <a:pt x="57" y="29"/>
                  <a:pt x="57" y="29"/>
                </a:cubicBezTo>
                <a:cubicBezTo>
                  <a:pt x="57" y="29"/>
                  <a:pt x="57" y="28"/>
                  <a:pt x="57" y="28"/>
                </a:cubicBezTo>
                <a:cubicBezTo>
                  <a:pt x="56" y="27"/>
                  <a:pt x="54" y="26"/>
                  <a:pt x="53" y="25"/>
                </a:cubicBezTo>
                <a:cubicBezTo>
                  <a:pt x="53" y="25"/>
                  <a:pt x="51" y="22"/>
                  <a:pt x="50" y="20"/>
                </a:cubicBezTo>
                <a:cubicBezTo>
                  <a:pt x="49" y="19"/>
                  <a:pt x="44" y="16"/>
                  <a:pt x="42" y="15"/>
                </a:cubicBezTo>
                <a:cubicBezTo>
                  <a:pt x="41" y="15"/>
                  <a:pt x="41" y="15"/>
                  <a:pt x="41" y="15"/>
                </a:cubicBezTo>
                <a:cubicBezTo>
                  <a:pt x="41" y="16"/>
                  <a:pt x="41" y="18"/>
                  <a:pt x="41" y="19"/>
                </a:cubicBezTo>
                <a:cubicBezTo>
                  <a:pt x="41" y="20"/>
                  <a:pt x="41" y="20"/>
                  <a:pt x="40" y="21"/>
                </a:cubicBezTo>
                <a:cubicBezTo>
                  <a:pt x="40" y="21"/>
                  <a:pt x="39" y="21"/>
                  <a:pt x="38" y="22"/>
                </a:cubicBezTo>
                <a:cubicBezTo>
                  <a:pt x="38" y="22"/>
                  <a:pt x="39" y="23"/>
                  <a:pt x="39" y="23"/>
                </a:cubicBezTo>
                <a:cubicBezTo>
                  <a:pt x="38" y="24"/>
                  <a:pt x="38" y="23"/>
                  <a:pt x="38" y="22"/>
                </a:cubicBezTo>
                <a:cubicBezTo>
                  <a:pt x="37" y="22"/>
                  <a:pt x="36" y="23"/>
                  <a:pt x="36" y="23"/>
                </a:cubicBezTo>
                <a:cubicBezTo>
                  <a:pt x="34" y="23"/>
                  <a:pt x="35" y="22"/>
                  <a:pt x="34" y="21"/>
                </a:cubicBezTo>
                <a:cubicBezTo>
                  <a:pt x="33" y="20"/>
                  <a:pt x="32" y="18"/>
                  <a:pt x="31" y="16"/>
                </a:cubicBezTo>
                <a:cubicBezTo>
                  <a:pt x="31" y="14"/>
                  <a:pt x="33" y="12"/>
                  <a:pt x="34" y="10"/>
                </a:cubicBezTo>
                <a:cubicBezTo>
                  <a:pt x="34" y="10"/>
                  <a:pt x="34" y="10"/>
                  <a:pt x="34" y="10"/>
                </a:cubicBezTo>
                <a:cubicBezTo>
                  <a:pt x="34" y="9"/>
                  <a:pt x="34" y="9"/>
                  <a:pt x="34" y="9"/>
                </a:cubicBezTo>
                <a:cubicBezTo>
                  <a:pt x="34" y="9"/>
                  <a:pt x="34" y="9"/>
                  <a:pt x="34" y="9"/>
                </a:cubicBezTo>
                <a:cubicBezTo>
                  <a:pt x="36" y="10"/>
                  <a:pt x="38" y="11"/>
                  <a:pt x="40" y="12"/>
                </a:cubicBezTo>
                <a:cubicBezTo>
                  <a:pt x="38" y="11"/>
                  <a:pt x="36" y="10"/>
                  <a:pt x="34" y="9"/>
                </a:cubicBezTo>
                <a:cubicBezTo>
                  <a:pt x="34" y="9"/>
                  <a:pt x="34" y="9"/>
                  <a:pt x="34" y="9"/>
                </a:cubicBezTo>
                <a:cubicBezTo>
                  <a:pt x="35" y="8"/>
                  <a:pt x="35" y="8"/>
                  <a:pt x="35" y="8"/>
                </a:cubicBezTo>
                <a:cubicBezTo>
                  <a:pt x="34" y="8"/>
                  <a:pt x="34" y="8"/>
                  <a:pt x="34" y="8"/>
                </a:cubicBezTo>
                <a:cubicBezTo>
                  <a:pt x="34" y="8"/>
                  <a:pt x="34" y="8"/>
                  <a:pt x="34" y="8"/>
                </a:cubicBezTo>
                <a:cubicBezTo>
                  <a:pt x="34" y="8"/>
                  <a:pt x="34" y="8"/>
                  <a:pt x="34" y="8"/>
                </a:cubicBezTo>
                <a:cubicBezTo>
                  <a:pt x="34" y="7"/>
                  <a:pt x="34" y="6"/>
                  <a:pt x="34" y="6"/>
                </a:cubicBezTo>
                <a:cubicBezTo>
                  <a:pt x="34" y="5"/>
                  <a:pt x="34" y="4"/>
                  <a:pt x="33" y="4"/>
                </a:cubicBezTo>
                <a:cubicBezTo>
                  <a:pt x="33" y="4"/>
                  <a:pt x="33" y="4"/>
                  <a:pt x="33" y="3"/>
                </a:cubicBezTo>
                <a:cubicBezTo>
                  <a:pt x="32" y="3"/>
                  <a:pt x="32" y="3"/>
                  <a:pt x="32" y="3"/>
                </a:cubicBezTo>
                <a:cubicBezTo>
                  <a:pt x="31" y="2"/>
                  <a:pt x="32" y="2"/>
                  <a:pt x="31" y="1"/>
                </a:cubicBezTo>
                <a:cubicBezTo>
                  <a:pt x="30" y="0"/>
                  <a:pt x="31" y="4"/>
                  <a:pt x="30" y="3"/>
                </a:cubicBezTo>
                <a:cubicBezTo>
                  <a:pt x="29" y="2"/>
                  <a:pt x="30" y="2"/>
                  <a:pt x="30" y="2"/>
                </a:cubicBezTo>
                <a:cubicBezTo>
                  <a:pt x="29" y="1"/>
                  <a:pt x="29" y="3"/>
                  <a:pt x="29" y="3"/>
                </a:cubicBezTo>
                <a:cubicBezTo>
                  <a:pt x="29" y="4"/>
                  <a:pt x="29" y="4"/>
                  <a:pt x="28" y="5"/>
                </a:cubicBezTo>
                <a:cubicBezTo>
                  <a:pt x="28" y="5"/>
                  <a:pt x="28" y="5"/>
                  <a:pt x="28"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5"/>
                  <a:pt x="27" y="5"/>
                  <a:pt x="27" y="5"/>
                </a:cubicBezTo>
                <a:cubicBezTo>
                  <a:pt x="27" y="6"/>
                  <a:pt x="27" y="6"/>
                  <a:pt x="27" y="6"/>
                </a:cubicBezTo>
                <a:cubicBezTo>
                  <a:pt x="27" y="6"/>
                  <a:pt x="27" y="6"/>
                  <a:pt x="27" y="6"/>
                </a:cubicBezTo>
                <a:close/>
                <a:moveTo>
                  <a:pt x="33" y="4"/>
                </a:moveTo>
                <a:cubicBezTo>
                  <a:pt x="34" y="5"/>
                  <a:pt x="33" y="5"/>
                  <a:pt x="33" y="6"/>
                </a:cubicBezTo>
                <a:cubicBezTo>
                  <a:pt x="33" y="6"/>
                  <a:pt x="33" y="7"/>
                  <a:pt x="33" y="7"/>
                </a:cubicBezTo>
                <a:cubicBezTo>
                  <a:pt x="33" y="6"/>
                  <a:pt x="33" y="5"/>
                  <a:pt x="33" y="4"/>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18" name="Freeform 3175">
            <a:extLst>
              <a:ext uri="{FF2B5EF4-FFF2-40B4-BE49-F238E27FC236}">
                <a16:creationId xmlns:a16="http://schemas.microsoft.com/office/drawing/2014/main" id="{142A3B25-3B91-467A-A944-CF5819CA340D}"/>
              </a:ext>
            </a:extLst>
          </p:cNvPr>
          <p:cNvSpPr>
            <a:spLocks/>
          </p:cNvSpPr>
          <p:nvPr/>
        </p:nvSpPr>
        <p:spPr bwMode="auto">
          <a:xfrm>
            <a:off x="4392565" y="2937049"/>
            <a:ext cx="381086" cy="186982"/>
          </a:xfrm>
          <a:custGeom>
            <a:avLst/>
            <a:gdLst>
              <a:gd name="T0" fmla="*/ 316 w 325"/>
              <a:gd name="T1" fmla="*/ 58 h 133"/>
              <a:gd name="T2" fmla="*/ 309 w 325"/>
              <a:gd name="T3" fmla="*/ 55 h 133"/>
              <a:gd name="T4" fmla="*/ 301 w 325"/>
              <a:gd name="T5" fmla="*/ 59 h 133"/>
              <a:gd name="T6" fmla="*/ 288 w 325"/>
              <a:gd name="T7" fmla="*/ 58 h 133"/>
              <a:gd name="T8" fmla="*/ 281 w 325"/>
              <a:gd name="T9" fmla="*/ 54 h 133"/>
              <a:gd name="T10" fmla="*/ 290 w 325"/>
              <a:gd name="T11" fmla="*/ 34 h 133"/>
              <a:gd name="T12" fmla="*/ 282 w 325"/>
              <a:gd name="T13" fmla="*/ 30 h 133"/>
              <a:gd name="T14" fmla="*/ 270 w 325"/>
              <a:gd name="T15" fmla="*/ 25 h 133"/>
              <a:gd name="T16" fmla="*/ 261 w 325"/>
              <a:gd name="T17" fmla="*/ 30 h 133"/>
              <a:gd name="T18" fmla="*/ 219 w 325"/>
              <a:gd name="T19" fmla="*/ 38 h 133"/>
              <a:gd name="T20" fmla="*/ 210 w 325"/>
              <a:gd name="T21" fmla="*/ 37 h 133"/>
              <a:gd name="T22" fmla="*/ 201 w 325"/>
              <a:gd name="T23" fmla="*/ 29 h 133"/>
              <a:gd name="T24" fmla="*/ 189 w 325"/>
              <a:gd name="T25" fmla="*/ 24 h 133"/>
              <a:gd name="T26" fmla="*/ 174 w 325"/>
              <a:gd name="T27" fmla="*/ 23 h 133"/>
              <a:gd name="T28" fmla="*/ 151 w 325"/>
              <a:gd name="T29" fmla="*/ 23 h 133"/>
              <a:gd name="T30" fmla="*/ 145 w 325"/>
              <a:gd name="T31" fmla="*/ 15 h 133"/>
              <a:gd name="T32" fmla="*/ 140 w 325"/>
              <a:gd name="T33" fmla="*/ 9 h 133"/>
              <a:gd name="T34" fmla="*/ 128 w 325"/>
              <a:gd name="T35" fmla="*/ 5 h 133"/>
              <a:gd name="T36" fmla="*/ 108 w 325"/>
              <a:gd name="T37" fmla="*/ 4 h 133"/>
              <a:gd name="T38" fmla="*/ 107 w 325"/>
              <a:gd name="T39" fmla="*/ 5 h 133"/>
              <a:gd name="T40" fmla="*/ 103 w 325"/>
              <a:gd name="T41" fmla="*/ 12 h 133"/>
              <a:gd name="T42" fmla="*/ 107 w 325"/>
              <a:gd name="T43" fmla="*/ 23 h 133"/>
              <a:gd name="T44" fmla="*/ 100 w 325"/>
              <a:gd name="T45" fmla="*/ 29 h 133"/>
              <a:gd name="T46" fmla="*/ 88 w 325"/>
              <a:gd name="T47" fmla="*/ 30 h 133"/>
              <a:gd name="T48" fmla="*/ 82 w 325"/>
              <a:gd name="T49" fmla="*/ 28 h 133"/>
              <a:gd name="T50" fmla="*/ 70 w 325"/>
              <a:gd name="T51" fmla="*/ 28 h 133"/>
              <a:gd name="T52" fmla="*/ 63 w 325"/>
              <a:gd name="T53" fmla="*/ 21 h 133"/>
              <a:gd name="T54" fmla="*/ 51 w 325"/>
              <a:gd name="T55" fmla="*/ 18 h 133"/>
              <a:gd name="T56" fmla="*/ 45 w 325"/>
              <a:gd name="T57" fmla="*/ 19 h 133"/>
              <a:gd name="T58" fmla="*/ 34 w 325"/>
              <a:gd name="T59" fmla="*/ 22 h 133"/>
              <a:gd name="T60" fmla="*/ 19 w 325"/>
              <a:gd name="T61" fmla="*/ 31 h 133"/>
              <a:gd name="T62" fmla="*/ 4 w 325"/>
              <a:gd name="T63" fmla="*/ 35 h 133"/>
              <a:gd name="T64" fmla="*/ 4 w 325"/>
              <a:gd name="T65" fmla="*/ 37 h 133"/>
              <a:gd name="T66" fmla="*/ 0 w 325"/>
              <a:gd name="T67" fmla="*/ 42 h 133"/>
              <a:gd name="T68" fmla="*/ 3 w 325"/>
              <a:gd name="T69" fmla="*/ 46 h 133"/>
              <a:gd name="T70" fmla="*/ 12 w 325"/>
              <a:gd name="T71" fmla="*/ 52 h 133"/>
              <a:gd name="T72" fmla="*/ 25 w 325"/>
              <a:gd name="T73" fmla="*/ 56 h 133"/>
              <a:gd name="T74" fmla="*/ 33 w 325"/>
              <a:gd name="T75" fmla="*/ 73 h 133"/>
              <a:gd name="T76" fmla="*/ 31 w 325"/>
              <a:gd name="T77" fmla="*/ 82 h 133"/>
              <a:gd name="T78" fmla="*/ 36 w 325"/>
              <a:gd name="T79" fmla="*/ 89 h 133"/>
              <a:gd name="T80" fmla="*/ 72 w 325"/>
              <a:gd name="T81" fmla="*/ 100 h 133"/>
              <a:gd name="T82" fmla="*/ 78 w 325"/>
              <a:gd name="T83" fmla="*/ 104 h 133"/>
              <a:gd name="T84" fmla="*/ 86 w 325"/>
              <a:gd name="T85" fmla="*/ 117 h 133"/>
              <a:gd name="T86" fmla="*/ 92 w 325"/>
              <a:gd name="T87" fmla="*/ 119 h 133"/>
              <a:gd name="T88" fmla="*/ 119 w 325"/>
              <a:gd name="T89" fmla="*/ 121 h 133"/>
              <a:gd name="T90" fmla="*/ 140 w 325"/>
              <a:gd name="T91" fmla="*/ 122 h 133"/>
              <a:gd name="T92" fmla="*/ 153 w 325"/>
              <a:gd name="T93" fmla="*/ 128 h 133"/>
              <a:gd name="T94" fmla="*/ 170 w 325"/>
              <a:gd name="T95" fmla="*/ 131 h 133"/>
              <a:gd name="T96" fmla="*/ 171 w 325"/>
              <a:gd name="T97" fmla="*/ 133 h 133"/>
              <a:gd name="T98" fmla="*/ 185 w 325"/>
              <a:gd name="T99" fmla="*/ 127 h 133"/>
              <a:gd name="T100" fmla="*/ 202 w 325"/>
              <a:gd name="T101" fmla="*/ 123 h 133"/>
              <a:gd name="T102" fmla="*/ 217 w 325"/>
              <a:gd name="T103" fmla="*/ 123 h 133"/>
              <a:gd name="T104" fmla="*/ 231 w 325"/>
              <a:gd name="T105" fmla="*/ 116 h 133"/>
              <a:gd name="T106" fmla="*/ 244 w 325"/>
              <a:gd name="T107" fmla="*/ 107 h 133"/>
              <a:gd name="T108" fmla="*/ 240 w 325"/>
              <a:gd name="T109" fmla="*/ 98 h 133"/>
              <a:gd name="T110" fmla="*/ 256 w 325"/>
              <a:gd name="T111" fmla="*/ 92 h 133"/>
              <a:gd name="T112" fmla="*/ 264 w 325"/>
              <a:gd name="T113" fmla="*/ 93 h 133"/>
              <a:gd name="T114" fmla="*/ 271 w 325"/>
              <a:gd name="T115" fmla="*/ 87 h 133"/>
              <a:gd name="T116" fmla="*/ 276 w 325"/>
              <a:gd name="T117" fmla="*/ 85 h 133"/>
              <a:gd name="T118" fmla="*/ 287 w 325"/>
              <a:gd name="T119" fmla="*/ 83 h 133"/>
              <a:gd name="T120" fmla="*/ 299 w 325"/>
              <a:gd name="T121" fmla="*/ 73 h 133"/>
              <a:gd name="T122" fmla="*/ 320 w 325"/>
              <a:gd name="T123" fmla="*/ 6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5" h="133">
                <a:moveTo>
                  <a:pt x="323" y="65"/>
                </a:moveTo>
                <a:cubicBezTo>
                  <a:pt x="323" y="64"/>
                  <a:pt x="323" y="64"/>
                  <a:pt x="323" y="64"/>
                </a:cubicBezTo>
                <a:cubicBezTo>
                  <a:pt x="322" y="64"/>
                  <a:pt x="321" y="63"/>
                  <a:pt x="321" y="63"/>
                </a:cubicBezTo>
                <a:cubicBezTo>
                  <a:pt x="321" y="62"/>
                  <a:pt x="320" y="62"/>
                  <a:pt x="320" y="61"/>
                </a:cubicBezTo>
                <a:cubicBezTo>
                  <a:pt x="319" y="61"/>
                  <a:pt x="319" y="61"/>
                  <a:pt x="318" y="60"/>
                </a:cubicBezTo>
                <a:cubicBezTo>
                  <a:pt x="318" y="60"/>
                  <a:pt x="318" y="59"/>
                  <a:pt x="317" y="59"/>
                </a:cubicBezTo>
                <a:cubicBezTo>
                  <a:pt x="317" y="59"/>
                  <a:pt x="317" y="59"/>
                  <a:pt x="316" y="58"/>
                </a:cubicBezTo>
                <a:cubicBezTo>
                  <a:pt x="315" y="58"/>
                  <a:pt x="314" y="57"/>
                  <a:pt x="314" y="57"/>
                </a:cubicBezTo>
                <a:cubicBezTo>
                  <a:pt x="313" y="57"/>
                  <a:pt x="313" y="56"/>
                  <a:pt x="313" y="56"/>
                </a:cubicBezTo>
                <a:cubicBezTo>
                  <a:pt x="313" y="56"/>
                  <a:pt x="313" y="56"/>
                  <a:pt x="313" y="56"/>
                </a:cubicBezTo>
                <a:cubicBezTo>
                  <a:pt x="313" y="56"/>
                  <a:pt x="313" y="56"/>
                  <a:pt x="313" y="55"/>
                </a:cubicBezTo>
                <a:cubicBezTo>
                  <a:pt x="313" y="55"/>
                  <a:pt x="312" y="55"/>
                  <a:pt x="312" y="55"/>
                </a:cubicBezTo>
                <a:cubicBezTo>
                  <a:pt x="312" y="55"/>
                  <a:pt x="312" y="55"/>
                  <a:pt x="312" y="55"/>
                </a:cubicBezTo>
                <a:cubicBezTo>
                  <a:pt x="311" y="55"/>
                  <a:pt x="310" y="55"/>
                  <a:pt x="309" y="55"/>
                </a:cubicBezTo>
                <a:cubicBezTo>
                  <a:pt x="309" y="56"/>
                  <a:pt x="308" y="56"/>
                  <a:pt x="307" y="56"/>
                </a:cubicBezTo>
                <a:cubicBezTo>
                  <a:pt x="307" y="56"/>
                  <a:pt x="306" y="56"/>
                  <a:pt x="306" y="56"/>
                </a:cubicBezTo>
                <a:cubicBezTo>
                  <a:pt x="304" y="56"/>
                  <a:pt x="304" y="57"/>
                  <a:pt x="303" y="58"/>
                </a:cubicBezTo>
                <a:cubicBezTo>
                  <a:pt x="303" y="58"/>
                  <a:pt x="303" y="58"/>
                  <a:pt x="303" y="58"/>
                </a:cubicBezTo>
                <a:cubicBezTo>
                  <a:pt x="302" y="58"/>
                  <a:pt x="302" y="59"/>
                  <a:pt x="301" y="59"/>
                </a:cubicBezTo>
                <a:cubicBezTo>
                  <a:pt x="301" y="59"/>
                  <a:pt x="301" y="59"/>
                  <a:pt x="301" y="59"/>
                </a:cubicBezTo>
                <a:cubicBezTo>
                  <a:pt x="301" y="59"/>
                  <a:pt x="301" y="59"/>
                  <a:pt x="301" y="59"/>
                </a:cubicBezTo>
                <a:cubicBezTo>
                  <a:pt x="300" y="59"/>
                  <a:pt x="299" y="59"/>
                  <a:pt x="297" y="58"/>
                </a:cubicBezTo>
                <a:cubicBezTo>
                  <a:pt x="297" y="57"/>
                  <a:pt x="297" y="57"/>
                  <a:pt x="297" y="57"/>
                </a:cubicBezTo>
                <a:cubicBezTo>
                  <a:pt x="296" y="57"/>
                  <a:pt x="296" y="57"/>
                  <a:pt x="296" y="57"/>
                </a:cubicBezTo>
                <a:cubicBezTo>
                  <a:pt x="295" y="57"/>
                  <a:pt x="295" y="57"/>
                  <a:pt x="295" y="57"/>
                </a:cubicBezTo>
                <a:cubicBezTo>
                  <a:pt x="291" y="57"/>
                  <a:pt x="291" y="57"/>
                  <a:pt x="291" y="57"/>
                </a:cubicBezTo>
                <a:cubicBezTo>
                  <a:pt x="290" y="57"/>
                  <a:pt x="289" y="58"/>
                  <a:pt x="288" y="58"/>
                </a:cubicBezTo>
                <a:cubicBezTo>
                  <a:pt x="288" y="58"/>
                  <a:pt x="288" y="58"/>
                  <a:pt x="288" y="58"/>
                </a:cubicBezTo>
                <a:cubicBezTo>
                  <a:pt x="288" y="58"/>
                  <a:pt x="287" y="59"/>
                  <a:pt x="287" y="59"/>
                </a:cubicBezTo>
                <a:cubicBezTo>
                  <a:pt x="287" y="59"/>
                  <a:pt x="287" y="59"/>
                  <a:pt x="287" y="59"/>
                </a:cubicBezTo>
                <a:cubicBezTo>
                  <a:pt x="285" y="59"/>
                  <a:pt x="284" y="58"/>
                  <a:pt x="283" y="57"/>
                </a:cubicBezTo>
                <a:cubicBezTo>
                  <a:pt x="282" y="56"/>
                  <a:pt x="282" y="56"/>
                  <a:pt x="282" y="55"/>
                </a:cubicBezTo>
                <a:cubicBezTo>
                  <a:pt x="281" y="55"/>
                  <a:pt x="281" y="55"/>
                  <a:pt x="281" y="54"/>
                </a:cubicBezTo>
                <a:cubicBezTo>
                  <a:pt x="281" y="54"/>
                  <a:pt x="281" y="54"/>
                  <a:pt x="281" y="54"/>
                </a:cubicBezTo>
                <a:cubicBezTo>
                  <a:pt x="281" y="54"/>
                  <a:pt x="281" y="54"/>
                  <a:pt x="281" y="54"/>
                </a:cubicBezTo>
                <a:cubicBezTo>
                  <a:pt x="281" y="54"/>
                  <a:pt x="281" y="53"/>
                  <a:pt x="281" y="53"/>
                </a:cubicBezTo>
                <a:cubicBezTo>
                  <a:pt x="281" y="51"/>
                  <a:pt x="282" y="50"/>
                  <a:pt x="283" y="50"/>
                </a:cubicBezTo>
                <a:cubicBezTo>
                  <a:pt x="283" y="50"/>
                  <a:pt x="283" y="50"/>
                  <a:pt x="284" y="50"/>
                </a:cubicBezTo>
                <a:cubicBezTo>
                  <a:pt x="284" y="50"/>
                  <a:pt x="284" y="49"/>
                  <a:pt x="284" y="49"/>
                </a:cubicBezTo>
                <a:cubicBezTo>
                  <a:pt x="284" y="48"/>
                  <a:pt x="283" y="47"/>
                  <a:pt x="284" y="47"/>
                </a:cubicBezTo>
                <a:cubicBezTo>
                  <a:pt x="288" y="39"/>
                  <a:pt x="288" y="39"/>
                  <a:pt x="288" y="39"/>
                </a:cubicBezTo>
                <a:cubicBezTo>
                  <a:pt x="288" y="37"/>
                  <a:pt x="289" y="36"/>
                  <a:pt x="290" y="34"/>
                </a:cubicBezTo>
                <a:cubicBezTo>
                  <a:pt x="292" y="30"/>
                  <a:pt x="292" y="30"/>
                  <a:pt x="292" y="30"/>
                </a:cubicBezTo>
                <a:cubicBezTo>
                  <a:pt x="292" y="30"/>
                  <a:pt x="292" y="30"/>
                  <a:pt x="292" y="30"/>
                </a:cubicBezTo>
                <a:cubicBezTo>
                  <a:pt x="292" y="30"/>
                  <a:pt x="292" y="30"/>
                  <a:pt x="292" y="30"/>
                </a:cubicBezTo>
                <a:cubicBezTo>
                  <a:pt x="290" y="28"/>
                  <a:pt x="289" y="28"/>
                  <a:pt x="289" y="28"/>
                </a:cubicBezTo>
                <a:cubicBezTo>
                  <a:pt x="289" y="28"/>
                  <a:pt x="289" y="28"/>
                  <a:pt x="289" y="28"/>
                </a:cubicBezTo>
                <a:cubicBezTo>
                  <a:pt x="283" y="30"/>
                  <a:pt x="283" y="30"/>
                  <a:pt x="283" y="30"/>
                </a:cubicBezTo>
                <a:cubicBezTo>
                  <a:pt x="283" y="30"/>
                  <a:pt x="282" y="30"/>
                  <a:pt x="282" y="30"/>
                </a:cubicBezTo>
                <a:cubicBezTo>
                  <a:pt x="282" y="30"/>
                  <a:pt x="282" y="30"/>
                  <a:pt x="282" y="30"/>
                </a:cubicBezTo>
                <a:cubicBezTo>
                  <a:pt x="282" y="30"/>
                  <a:pt x="282" y="30"/>
                  <a:pt x="282" y="30"/>
                </a:cubicBezTo>
                <a:cubicBezTo>
                  <a:pt x="282" y="30"/>
                  <a:pt x="282" y="30"/>
                  <a:pt x="281" y="30"/>
                </a:cubicBezTo>
                <a:cubicBezTo>
                  <a:pt x="281" y="30"/>
                  <a:pt x="281" y="29"/>
                  <a:pt x="280" y="29"/>
                </a:cubicBezTo>
                <a:cubicBezTo>
                  <a:pt x="274" y="25"/>
                  <a:pt x="274" y="25"/>
                  <a:pt x="274" y="25"/>
                </a:cubicBezTo>
                <a:cubicBezTo>
                  <a:pt x="273" y="25"/>
                  <a:pt x="273" y="25"/>
                  <a:pt x="273" y="25"/>
                </a:cubicBezTo>
                <a:cubicBezTo>
                  <a:pt x="272" y="25"/>
                  <a:pt x="271" y="25"/>
                  <a:pt x="270" y="25"/>
                </a:cubicBezTo>
                <a:cubicBezTo>
                  <a:pt x="269" y="25"/>
                  <a:pt x="269" y="25"/>
                  <a:pt x="268" y="25"/>
                </a:cubicBezTo>
                <a:cubicBezTo>
                  <a:pt x="268" y="25"/>
                  <a:pt x="268" y="25"/>
                  <a:pt x="268" y="25"/>
                </a:cubicBezTo>
                <a:cubicBezTo>
                  <a:pt x="267" y="25"/>
                  <a:pt x="266" y="26"/>
                  <a:pt x="266" y="27"/>
                </a:cubicBezTo>
                <a:cubicBezTo>
                  <a:pt x="265" y="27"/>
                  <a:pt x="265" y="27"/>
                  <a:pt x="265" y="27"/>
                </a:cubicBezTo>
                <a:cubicBezTo>
                  <a:pt x="265" y="27"/>
                  <a:pt x="264" y="27"/>
                  <a:pt x="264" y="27"/>
                </a:cubicBezTo>
                <a:cubicBezTo>
                  <a:pt x="263" y="28"/>
                  <a:pt x="263" y="28"/>
                  <a:pt x="263" y="28"/>
                </a:cubicBezTo>
                <a:cubicBezTo>
                  <a:pt x="261" y="30"/>
                  <a:pt x="261" y="30"/>
                  <a:pt x="261" y="30"/>
                </a:cubicBezTo>
                <a:cubicBezTo>
                  <a:pt x="256" y="34"/>
                  <a:pt x="256" y="34"/>
                  <a:pt x="256" y="34"/>
                </a:cubicBezTo>
                <a:cubicBezTo>
                  <a:pt x="255" y="35"/>
                  <a:pt x="255" y="35"/>
                  <a:pt x="255" y="35"/>
                </a:cubicBezTo>
                <a:cubicBezTo>
                  <a:pt x="247" y="36"/>
                  <a:pt x="247" y="36"/>
                  <a:pt x="247" y="36"/>
                </a:cubicBezTo>
                <a:cubicBezTo>
                  <a:pt x="235" y="39"/>
                  <a:pt x="235" y="39"/>
                  <a:pt x="235" y="39"/>
                </a:cubicBezTo>
                <a:cubicBezTo>
                  <a:pt x="235" y="40"/>
                  <a:pt x="234" y="40"/>
                  <a:pt x="233" y="40"/>
                </a:cubicBezTo>
                <a:cubicBezTo>
                  <a:pt x="228" y="39"/>
                  <a:pt x="228" y="39"/>
                  <a:pt x="228" y="39"/>
                </a:cubicBezTo>
                <a:cubicBezTo>
                  <a:pt x="219" y="38"/>
                  <a:pt x="219" y="38"/>
                  <a:pt x="219" y="38"/>
                </a:cubicBezTo>
                <a:cubicBezTo>
                  <a:pt x="219" y="38"/>
                  <a:pt x="219" y="37"/>
                  <a:pt x="218" y="37"/>
                </a:cubicBezTo>
                <a:cubicBezTo>
                  <a:pt x="217" y="37"/>
                  <a:pt x="217" y="37"/>
                  <a:pt x="217" y="37"/>
                </a:cubicBezTo>
                <a:cubicBezTo>
                  <a:pt x="211" y="37"/>
                  <a:pt x="211" y="37"/>
                  <a:pt x="211" y="37"/>
                </a:cubicBezTo>
                <a:cubicBezTo>
                  <a:pt x="211" y="37"/>
                  <a:pt x="211" y="37"/>
                  <a:pt x="211" y="37"/>
                </a:cubicBezTo>
                <a:cubicBezTo>
                  <a:pt x="211" y="37"/>
                  <a:pt x="211" y="37"/>
                  <a:pt x="211" y="37"/>
                </a:cubicBezTo>
                <a:cubicBezTo>
                  <a:pt x="210" y="37"/>
                  <a:pt x="210" y="37"/>
                  <a:pt x="210" y="37"/>
                </a:cubicBezTo>
                <a:cubicBezTo>
                  <a:pt x="210" y="37"/>
                  <a:pt x="210" y="37"/>
                  <a:pt x="210" y="37"/>
                </a:cubicBezTo>
                <a:cubicBezTo>
                  <a:pt x="205" y="34"/>
                  <a:pt x="205" y="34"/>
                  <a:pt x="205" y="34"/>
                </a:cubicBezTo>
                <a:cubicBezTo>
                  <a:pt x="205" y="33"/>
                  <a:pt x="204" y="33"/>
                  <a:pt x="204" y="33"/>
                </a:cubicBezTo>
                <a:cubicBezTo>
                  <a:pt x="204" y="33"/>
                  <a:pt x="204" y="33"/>
                  <a:pt x="204" y="33"/>
                </a:cubicBezTo>
                <a:cubicBezTo>
                  <a:pt x="204" y="29"/>
                  <a:pt x="204" y="29"/>
                  <a:pt x="204" y="29"/>
                </a:cubicBezTo>
                <a:cubicBezTo>
                  <a:pt x="204" y="29"/>
                  <a:pt x="203" y="29"/>
                  <a:pt x="203" y="29"/>
                </a:cubicBezTo>
                <a:cubicBezTo>
                  <a:pt x="203" y="29"/>
                  <a:pt x="203" y="29"/>
                  <a:pt x="203" y="29"/>
                </a:cubicBezTo>
                <a:cubicBezTo>
                  <a:pt x="202" y="29"/>
                  <a:pt x="201" y="29"/>
                  <a:pt x="201" y="29"/>
                </a:cubicBezTo>
                <a:cubicBezTo>
                  <a:pt x="200" y="29"/>
                  <a:pt x="200" y="29"/>
                  <a:pt x="200" y="29"/>
                </a:cubicBezTo>
                <a:cubicBezTo>
                  <a:pt x="198" y="28"/>
                  <a:pt x="196" y="27"/>
                  <a:pt x="195" y="26"/>
                </a:cubicBezTo>
                <a:cubicBezTo>
                  <a:pt x="194" y="25"/>
                  <a:pt x="193" y="25"/>
                  <a:pt x="192" y="24"/>
                </a:cubicBezTo>
                <a:cubicBezTo>
                  <a:pt x="192" y="24"/>
                  <a:pt x="192" y="24"/>
                  <a:pt x="191" y="24"/>
                </a:cubicBezTo>
                <a:cubicBezTo>
                  <a:pt x="191" y="24"/>
                  <a:pt x="191" y="24"/>
                  <a:pt x="190" y="24"/>
                </a:cubicBezTo>
                <a:cubicBezTo>
                  <a:pt x="190" y="24"/>
                  <a:pt x="190" y="24"/>
                  <a:pt x="190" y="24"/>
                </a:cubicBezTo>
                <a:cubicBezTo>
                  <a:pt x="189" y="24"/>
                  <a:pt x="189" y="24"/>
                  <a:pt x="189" y="24"/>
                </a:cubicBezTo>
                <a:cubicBezTo>
                  <a:pt x="186" y="24"/>
                  <a:pt x="186" y="24"/>
                  <a:pt x="186" y="24"/>
                </a:cubicBezTo>
                <a:cubicBezTo>
                  <a:pt x="186" y="24"/>
                  <a:pt x="185" y="24"/>
                  <a:pt x="185" y="23"/>
                </a:cubicBezTo>
                <a:cubicBezTo>
                  <a:pt x="184" y="23"/>
                  <a:pt x="184" y="23"/>
                  <a:pt x="184" y="23"/>
                </a:cubicBezTo>
                <a:cubicBezTo>
                  <a:pt x="184" y="23"/>
                  <a:pt x="182" y="23"/>
                  <a:pt x="181" y="23"/>
                </a:cubicBezTo>
                <a:cubicBezTo>
                  <a:pt x="180" y="22"/>
                  <a:pt x="179" y="22"/>
                  <a:pt x="178" y="22"/>
                </a:cubicBezTo>
                <a:cubicBezTo>
                  <a:pt x="177" y="22"/>
                  <a:pt x="176" y="22"/>
                  <a:pt x="174" y="23"/>
                </a:cubicBezTo>
                <a:cubicBezTo>
                  <a:pt x="174" y="23"/>
                  <a:pt x="174" y="23"/>
                  <a:pt x="174" y="23"/>
                </a:cubicBezTo>
                <a:cubicBezTo>
                  <a:pt x="172" y="23"/>
                  <a:pt x="171" y="24"/>
                  <a:pt x="169" y="24"/>
                </a:cubicBezTo>
                <a:cubicBezTo>
                  <a:pt x="169" y="24"/>
                  <a:pt x="169" y="25"/>
                  <a:pt x="169" y="25"/>
                </a:cubicBezTo>
                <a:cubicBezTo>
                  <a:pt x="168" y="25"/>
                  <a:pt x="168" y="25"/>
                  <a:pt x="168" y="25"/>
                </a:cubicBezTo>
                <a:cubicBezTo>
                  <a:pt x="168" y="25"/>
                  <a:pt x="168" y="25"/>
                  <a:pt x="168" y="25"/>
                </a:cubicBezTo>
                <a:cubicBezTo>
                  <a:pt x="167" y="25"/>
                  <a:pt x="167" y="25"/>
                  <a:pt x="167" y="25"/>
                </a:cubicBezTo>
                <a:cubicBezTo>
                  <a:pt x="166" y="26"/>
                  <a:pt x="165" y="27"/>
                  <a:pt x="163" y="26"/>
                </a:cubicBezTo>
                <a:cubicBezTo>
                  <a:pt x="151" y="23"/>
                  <a:pt x="151" y="23"/>
                  <a:pt x="151" y="23"/>
                </a:cubicBezTo>
                <a:cubicBezTo>
                  <a:pt x="150" y="23"/>
                  <a:pt x="149" y="23"/>
                  <a:pt x="148" y="22"/>
                </a:cubicBezTo>
                <a:cubicBezTo>
                  <a:pt x="147" y="21"/>
                  <a:pt x="147" y="21"/>
                  <a:pt x="147" y="21"/>
                </a:cubicBezTo>
                <a:cubicBezTo>
                  <a:pt x="146" y="20"/>
                  <a:pt x="146" y="20"/>
                  <a:pt x="146" y="20"/>
                </a:cubicBezTo>
                <a:cubicBezTo>
                  <a:pt x="146" y="19"/>
                  <a:pt x="145" y="19"/>
                  <a:pt x="145" y="18"/>
                </a:cubicBezTo>
                <a:cubicBezTo>
                  <a:pt x="145" y="18"/>
                  <a:pt x="145" y="17"/>
                  <a:pt x="145" y="17"/>
                </a:cubicBezTo>
                <a:cubicBezTo>
                  <a:pt x="145" y="16"/>
                  <a:pt x="145" y="16"/>
                  <a:pt x="145" y="16"/>
                </a:cubicBezTo>
                <a:cubicBezTo>
                  <a:pt x="145" y="15"/>
                  <a:pt x="145" y="15"/>
                  <a:pt x="145" y="15"/>
                </a:cubicBezTo>
                <a:cubicBezTo>
                  <a:pt x="145" y="15"/>
                  <a:pt x="145" y="15"/>
                  <a:pt x="145" y="14"/>
                </a:cubicBezTo>
                <a:cubicBezTo>
                  <a:pt x="145" y="14"/>
                  <a:pt x="144" y="13"/>
                  <a:pt x="144" y="13"/>
                </a:cubicBezTo>
                <a:cubicBezTo>
                  <a:pt x="144" y="12"/>
                  <a:pt x="144" y="12"/>
                  <a:pt x="144" y="11"/>
                </a:cubicBezTo>
                <a:cubicBezTo>
                  <a:pt x="144" y="11"/>
                  <a:pt x="144" y="10"/>
                  <a:pt x="144" y="10"/>
                </a:cubicBezTo>
                <a:cubicBezTo>
                  <a:pt x="144" y="10"/>
                  <a:pt x="143" y="10"/>
                  <a:pt x="143" y="10"/>
                </a:cubicBezTo>
                <a:cubicBezTo>
                  <a:pt x="142" y="10"/>
                  <a:pt x="142" y="10"/>
                  <a:pt x="142" y="10"/>
                </a:cubicBezTo>
                <a:cubicBezTo>
                  <a:pt x="141" y="9"/>
                  <a:pt x="140" y="9"/>
                  <a:pt x="140" y="9"/>
                </a:cubicBezTo>
                <a:cubicBezTo>
                  <a:pt x="137" y="8"/>
                  <a:pt x="137" y="8"/>
                  <a:pt x="137" y="8"/>
                </a:cubicBezTo>
                <a:cubicBezTo>
                  <a:pt x="136" y="8"/>
                  <a:pt x="134" y="7"/>
                  <a:pt x="133" y="7"/>
                </a:cubicBezTo>
                <a:cubicBezTo>
                  <a:pt x="132" y="6"/>
                  <a:pt x="131" y="6"/>
                  <a:pt x="130" y="6"/>
                </a:cubicBezTo>
                <a:cubicBezTo>
                  <a:pt x="129" y="6"/>
                  <a:pt x="129" y="6"/>
                  <a:pt x="129" y="5"/>
                </a:cubicBezTo>
                <a:cubicBezTo>
                  <a:pt x="128" y="5"/>
                  <a:pt x="128" y="5"/>
                  <a:pt x="128" y="5"/>
                </a:cubicBezTo>
                <a:cubicBezTo>
                  <a:pt x="128" y="5"/>
                  <a:pt x="128" y="5"/>
                  <a:pt x="128" y="5"/>
                </a:cubicBezTo>
                <a:cubicBezTo>
                  <a:pt x="128" y="5"/>
                  <a:pt x="128" y="5"/>
                  <a:pt x="128" y="5"/>
                </a:cubicBezTo>
                <a:cubicBezTo>
                  <a:pt x="128" y="5"/>
                  <a:pt x="128" y="5"/>
                  <a:pt x="128" y="5"/>
                </a:cubicBezTo>
                <a:cubicBezTo>
                  <a:pt x="124" y="5"/>
                  <a:pt x="122" y="5"/>
                  <a:pt x="119" y="3"/>
                </a:cubicBezTo>
                <a:cubicBezTo>
                  <a:pt x="113" y="0"/>
                  <a:pt x="113" y="0"/>
                  <a:pt x="113" y="0"/>
                </a:cubicBezTo>
                <a:cubicBezTo>
                  <a:pt x="113" y="0"/>
                  <a:pt x="113" y="0"/>
                  <a:pt x="113" y="0"/>
                </a:cubicBezTo>
                <a:cubicBezTo>
                  <a:pt x="113" y="0"/>
                  <a:pt x="113" y="0"/>
                  <a:pt x="113" y="0"/>
                </a:cubicBezTo>
                <a:cubicBezTo>
                  <a:pt x="111" y="2"/>
                  <a:pt x="111" y="2"/>
                  <a:pt x="111" y="2"/>
                </a:cubicBezTo>
                <a:cubicBezTo>
                  <a:pt x="110" y="2"/>
                  <a:pt x="109" y="3"/>
                  <a:pt x="108" y="4"/>
                </a:cubicBezTo>
                <a:cubicBezTo>
                  <a:pt x="108" y="4"/>
                  <a:pt x="108" y="4"/>
                  <a:pt x="108" y="4"/>
                </a:cubicBezTo>
                <a:cubicBezTo>
                  <a:pt x="108" y="4"/>
                  <a:pt x="108" y="5"/>
                  <a:pt x="108" y="5"/>
                </a:cubicBezTo>
                <a:cubicBezTo>
                  <a:pt x="108" y="5"/>
                  <a:pt x="108" y="5"/>
                  <a:pt x="108" y="5"/>
                </a:cubicBezTo>
                <a:cubicBezTo>
                  <a:pt x="107" y="5"/>
                  <a:pt x="107" y="5"/>
                  <a:pt x="107" y="5"/>
                </a:cubicBezTo>
                <a:cubicBezTo>
                  <a:pt x="107" y="5"/>
                  <a:pt x="107" y="5"/>
                  <a:pt x="107" y="5"/>
                </a:cubicBezTo>
                <a:cubicBezTo>
                  <a:pt x="107" y="5"/>
                  <a:pt x="107" y="5"/>
                  <a:pt x="107" y="5"/>
                </a:cubicBezTo>
                <a:cubicBezTo>
                  <a:pt x="107" y="5"/>
                  <a:pt x="107" y="5"/>
                  <a:pt x="107" y="5"/>
                </a:cubicBezTo>
                <a:cubicBezTo>
                  <a:pt x="107" y="6"/>
                  <a:pt x="107" y="6"/>
                  <a:pt x="107" y="6"/>
                </a:cubicBezTo>
                <a:cubicBezTo>
                  <a:pt x="107" y="7"/>
                  <a:pt x="106" y="8"/>
                  <a:pt x="104" y="9"/>
                </a:cubicBezTo>
                <a:cubicBezTo>
                  <a:pt x="104" y="9"/>
                  <a:pt x="104" y="9"/>
                  <a:pt x="104" y="9"/>
                </a:cubicBezTo>
                <a:cubicBezTo>
                  <a:pt x="104" y="9"/>
                  <a:pt x="104" y="10"/>
                  <a:pt x="104" y="11"/>
                </a:cubicBezTo>
                <a:cubicBezTo>
                  <a:pt x="104" y="11"/>
                  <a:pt x="104" y="11"/>
                  <a:pt x="104" y="11"/>
                </a:cubicBezTo>
                <a:cubicBezTo>
                  <a:pt x="104" y="11"/>
                  <a:pt x="103" y="11"/>
                  <a:pt x="103" y="12"/>
                </a:cubicBezTo>
                <a:cubicBezTo>
                  <a:pt x="103" y="12"/>
                  <a:pt x="103" y="12"/>
                  <a:pt x="103" y="12"/>
                </a:cubicBezTo>
                <a:cubicBezTo>
                  <a:pt x="103" y="13"/>
                  <a:pt x="103" y="13"/>
                  <a:pt x="103" y="13"/>
                </a:cubicBezTo>
                <a:cubicBezTo>
                  <a:pt x="103" y="13"/>
                  <a:pt x="103" y="13"/>
                  <a:pt x="103" y="13"/>
                </a:cubicBezTo>
                <a:cubicBezTo>
                  <a:pt x="103" y="14"/>
                  <a:pt x="103" y="15"/>
                  <a:pt x="104" y="16"/>
                </a:cubicBezTo>
                <a:cubicBezTo>
                  <a:pt x="104" y="17"/>
                  <a:pt x="104" y="18"/>
                  <a:pt x="105" y="18"/>
                </a:cubicBezTo>
                <a:cubicBezTo>
                  <a:pt x="105" y="18"/>
                  <a:pt x="105" y="18"/>
                  <a:pt x="106" y="19"/>
                </a:cubicBezTo>
                <a:cubicBezTo>
                  <a:pt x="107" y="19"/>
                  <a:pt x="108" y="20"/>
                  <a:pt x="107" y="22"/>
                </a:cubicBezTo>
                <a:cubicBezTo>
                  <a:pt x="107" y="22"/>
                  <a:pt x="107" y="23"/>
                  <a:pt x="107" y="23"/>
                </a:cubicBezTo>
                <a:cubicBezTo>
                  <a:pt x="106" y="26"/>
                  <a:pt x="106" y="26"/>
                  <a:pt x="106" y="26"/>
                </a:cubicBezTo>
                <a:cubicBezTo>
                  <a:pt x="106" y="26"/>
                  <a:pt x="106" y="26"/>
                  <a:pt x="106" y="26"/>
                </a:cubicBezTo>
                <a:cubicBezTo>
                  <a:pt x="105" y="28"/>
                  <a:pt x="103" y="28"/>
                  <a:pt x="102" y="29"/>
                </a:cubicBezTo>
                <a:cubicBezTo>
                  <a:pt x="101" y="29"/>
                  <a:pt x="101" y="29"/>
                  <a:pt x="101" y="29"/>
                </a:cubicBezTo>
                <a:cubicBezTo>
                  <a:pt x="101" y="29"/>
                  <a:pt x="100" y="29"/>
                  <a:pt x="100" y="29"/>
                </a:cubicBezTo>
                <a:cubicBezTo>
                  <a:pt x="100" y="29"/>
                  <a:pt x="100" y="29"/>
                  <a:pt x="100" y="29"/>
                </a:cubicBezTo>
                <a:cubicBezTo>
                  <a:pt x="100" y="29"/>
                  <a:pt x="100" y="29"/>
                  <a:pt x="100" y="29"/>
                </a:cubicBezTo>
                <a:cubicBezTo>
                  <a:pt x="100" y="29"/>
                  <a:pt x="100" y="29"/>
                  <a:pt x="100" y="29"/>
                </a:cubicBezTo>
                <a:cubicBezTo>
                  <a:pt x="100" y="30"/>
                  <a:pt x="99" y="30"/>
                  <a:pt x="99" y="30"/>
                </a:cubicBezTo>
                <a:cubicBezTo>
                  <a:pt x="99" y="30"/>
                  <a:pt x="98" y="31"/>
                  <a:pt x="97" y="32"/>
                </a:cubicBezTo>
                <a:cubicBezTo>
                  <a:pt x="96" y="32"/>
                  <a:pt x="95" y="32"/>
                  <a:pt x="94" y="31"/>
                </a:cubicBezTo>
                <a:cubicBezTo>
                  <a:pt x="93" y="31"/>
                  <a:pt x="93" y="31"/>
                  <a:pt x="92" y="31"/>
                </a:cubicBezTo>
                <a:cubicBezTo>
                  <a:pt x="92" y="31"/>
                  <a:pt x="91" y="30"/>
                  <a:pt x="90" y="30"/>
                </a:cubicBezTo>
                <a:cubicBezTo>
                  <a:pt x="88" y="30"/>
                  <a:pt x="88" y="30"/>
                  <a:pt x="88" y="30"/>
                </a:cubicBezTo>
                <a:cubicBezTo>
                  <a:pt x="88" y="30"/>
                  <a:pt x="88" y="30"/>
                  <a:pt x="88" y="30"/>
                </a:cubicBezTo>
                <a:cubicBezTo>
                  <a:pt x="87" y="30"/>
                  <a:pt x="87" y="30"/>
                  <a:pt x="87" y="30"/>
                </a:cubicBezTo>
                <a:cubicBezTo>
                  <a:pt x="87" y="29"/>
                  <a:pt x="86" y="29"/>
                  <a:pt x="86" y="29"/>
                </a:cubicBezTo>
                <a:cubicBezTo>
                  <a:pt x="85" y="29"/>
                  <a:pt x="85" y="29"/>
                  <a:pt x="85" y="29"/>
                </a:cubicBezTo>
                <a:cubicBezTo>
                  <a:pt x="85" y="29"/>
                  <a:pt x="84" y="29"/>
                  <a:pt x="83" y="29"/>
                </a:cubicBezTo>
                <a:cubicBezTo>
                  <a:pt x="83" y="28"/>
                  <a:pt x="83" y="28"/>
                  <a:pt x="82" y="28"/>
                </a:cubicBezTo>
                <a:cubicBezTo>
                  <a:pt x="82" y="28"/>
                  <a:pt x="82" y="28"/>
                  <a:pt x="82" y="28"/>
                </a:cubicBezTo>
                <a:cubicBezTo>
                  <a:pt x="81" y="28"/>
                  <a:pt x="80" y="29"/>
                  <a:pt x="79" y="29"/>
                </a:cubicBezTo>
                <a:cubicBezTo>
                  <a:pt x="79" y="29"/>
                  <a:pt x="79" y="29"/>
                  <a:pt x="79" y="29"/>
                </a:cubicBezTo>
                <a:cubicBezTo>
                  <a:pt x="78" y="29"/>
                  <a:pt x="78" y="29"/>
                  <a:pt x="78" y="29"/>
                </a:cubicBezTo>
                <a:cubicBezTo>
                  <a:pt x="78" y="30"/>
                  <a:pt x="77" y="30"/>
                  <a:pt x="77" y="30"/>
                </a:cubicBezTo>
                <a:cubicBezTo>
                  <a:pt x="77" y="30"/>
                  <a:pt x="77" y="30"/>
                  <a:pt x="76" y="30"/>
                </a:cubicBezTo>
                <a:cubicBezTo>
                  <a:pt x="76" y="30"/>
                  <a:pt x="76" y="30"/>
                  <a:pt x="76" y="29"/>
                </a:cubicBezTo>
                <a:cubicBezTo>
                  <a:pt x="70" y="28"/>
                  <a:pt x="70" y="28"/>
                  <a:pt x="70" y="28"/>
                </a:cubicBezTo>
                <a:cubicBezTo>
                  <a:pt x="68" y="28"/>
                  <a:pt x="67" y="28"/>
                  <a:pt x="66" y="26"/>
                </a:cubicBezTo>
                <a:cubicBezTo>
                  <a:pt x="66" y="25"/>
                  <a:pt x="66" y="25"/>
                  <a:pt x="66" y="25"/>
                </a:cubicBezTo>
                <a:cubicBezTo>
                  <a:pt x="66" y="25"/>
                  <a:pt x="65" y="24"/>
                  <a:pt x="65" y="24"/>
                </a:cubicBezTo>
                <a:cubicBezTo>
                  <a:pt x="65" y="23"/>
                  <a:pt x="65" y="23"/>
                  <a:pt x="65" y="23"/>
                </a:cubicBezTo>
                <a:cubicBezTo>
                  <a:pt x="65" y="22"/>
                  <a:pt x="65" y="22"/>
                  <a:pt x="64" y="21"/>
                </a:cubicBezTo>
                <a:cubicBezTo>
                  <a:pt x="64" y="21"/>
                  <a:pt x="64" y="21"/>
                  <a:pt x="64" y="21"/>
                </a:cubicBezTo>
                <a:cubicBezTo>
                  <a:pt x="64" y="21"/>
                  <a:pt x="64" y="21"/>
                  <a:pt x="63" y="21"/>
                </a:cubicBezTo>
                <a:cubicBezTo>
                  <a:pt x="59" y="20"/>
                  <a:pt x="59" y="20"/>
                  <a:pt x="59" y="20"/>
                </a:cubicBezTo>
                <a:cubicBezTo>
                  <a:pt x="58" y="20"/>
                  <a:pt x="57" y="20"/>
                  <a:pt x="55" y="20"/>
                </a:cubicBezTo>
                <a:cubicBezTo>
                  <a:pt x="55" y="20"/>
                  <a:pt x="55" y="20"/>
                  <a:pt x="55" y="20"/>
                </a:cubicBezTo>
                <a:cubicBezTo>
                  <a:pt x="54" y="20"/>
                  <a:pt x="54" y="19"/>
                  <a:pt x="53" y="19"/>
                </a:cubicBezTo>
                <a:cubicBezTo>
                  <a:pt x="53" y="19"/>
                  <a:pt x="52" y="19"/>
                  <a:pt x="52" y="18"/>
                </a:cubicBezTo>
                <a:cubicBezTo>
                  <a:pt x="52" y="18"/>
                  <a:pt x="51" y="18"/>
                  <a:pt x="51" y="18"/>
                </a:cubicBezTo>
                <a:cubicBezTo>
                  <a:pt x="51" y="18"/>
                  <a:pt x="51" y="18"/>
                  <a:pt x="51" y="18"/>
                </a:cubicBezTo>
                <a:cubicBezTo>
                  <a:pt x="50" y="18"/>
                  <a:pt x="50" y="18"/>
                  <a:pt x="50" y="18"/>
                </a:cubicBezTo>
                <a:cubicBezTo>
                  <a:pt x="49" y="18"/>
                  <a:pt x="49" y="18"/>
                  <a:pt x="48" y="18"/>
                </a:cubicBezTo>
                <a:cubicBezTo>
                  <a:pt x="48" y="18"/>
                  <a:pt x="48" y="18"/>
                  <a:pt x="48" y="18"/>
                </a:cubicBezTo>
                <a:cubicBezTo>
                  <a:pt x="47" y="18"/>
                  <a:pt x="47" y="18"/>
                  <a:pt x="47" y="18"/>
                </a:cubicBezTo>
                <a:cubicBezTo>
                  <a:pt x="47" y="17"/>
                  <a:pt x="46" y="17"/>
                  <a:pt x="46" y="17"/>
                </a:cubicBezTo>
                <a:cubicBezTo>
                  <a:pt x="46" y="17"/>
                  <a:pt x="46" y="17"/>
                  <a:pt x="46" y="17"/>
                </a:cubicBezTo>
                <a:cubicBezTo>
                  <a:pt x="46" y="18"/>
                  <a:pt x="45" y="18"/>
                  <a:pt x="45" y="19"/>
                </a:cubicBezTo>
                <a:cubicBezTo>
                  <a:pt x="45" y="19"/>
                  <a:pt x="44" y="19"/>
                  <a:pt x="44" y="19"/>
                </a:cubicBezTo>
                <a:cubicBezTo>
                  <a:pt x="44" y="19"/>
                  <a:pt x="43" y="19"/>
                  <a:pt x="43" y="19"/>
                </a:cubicBezTo>
                <a:cubicBezTo>
                  <a:pt x="43" y="19"/>
                  <a:pt x="42" y="19"/>
                  <a:pt x="42" y="19"/>
                </a:cubicBezTo>
                <a:cubicBezTo>
                  <a:pt x="41" y="19"/>
                  <a:pt x="41" y="19"/>
                  <a:pt x="41" y="19"/>
                </a:cubicBezTo>
                <a:cubicBezTo>
                  <a:pt x="40" y="19"/>
                  <a:pt x="39" y="19"/>
                  <a:pt x="39" y="20"/>
                </a:cubicBezTo>
                <a:cubicBezTo>
                  <a:pt x="37" y="20"/>
                  <a:pt x="37" y="20"/>
                  <a:pt x="37" y="20"/>
                </a:cubicBezTo>
                <a:cubicBezTo>
                  <a:pt x="36" y="21"/>
                  <a:pt x="35" y="21"/>
                  <a:pt x="34" y="22"/>
                </a:cubicBezTo>
                <a:cubicBezTo>
                  <a:pt x="31" y="24"/>
                  <a:pt x="31" y="24"/>
                  <a:pt x="31" y="24"/>
                </a:cubicBezTo>
                <a:cubicBezTo>
                  <a:pt x="29" y="24"/>
                  <a:pt x="27" y="25"/>
                  <a:pt x="25" y="26"/>
                </a:cubicBezTo>
                <a:cubicBezTo>
                  <a:pt x="25" y="27"/>
                  <a:pt x="25" y="27"/>
                  <a:pt x="25" y="27"/>
                </a:cubicBezTo>
                <a:cubicBezTo>
                  <a:pt x="23" y="28"/>
                  <a:pt x="23" y="28"/>
                  <a:pt x="23" y="28"/>
                </a:cubicBezTo>
                <a:cubicBezTo>
                  <a:pt x="23" y="28"/>
                  <a:pt x="23" y="28"/>
                  <a:pt x="22" y="28"/>
                </a:cubicBezTo>
                <a:cubicBezTo>
                  <a:pt x="19" y="30"/>
                  <a:pt x="19" y="30"/>
                  <a:pt x="19" y="30"/>
                </a:cubicBezTo>
                <a:cubicBezTo>
                  <a:pt x="19" y="30"/>
                  <a:pt x="20" y="31"/>
                  <a:pt x="19" y="31"/>
                </a:cubicBezTo>
                <a:cubicBezTo>
                  <a:pt x="19" y="32"/>
                  <a:pt x="18" y="32"/>
                  <a:pt x="18" y="33"/>
                </a:cubicBezTo>
                <a:cubicBezTo>
                  <a:pt x="15" y="34"/>
                  <a:pt x="13" y="35"/>
                  <a:pt x="11" y="35"/>
                </a:cubicBezTo>
                <a:cubicBezTo>
                  <a:pt x="8" y="35"/>
                  <a:pt x="8" y="35"/>
                  <a:pt x="8" y="35"/>
                </a:cubicBezTo>
                <a:cubicBezTo>
                  <a:pt x="8" y="35"/>
                  <a:pt x="8" y="35"/>
                  <a:pt x="7" y="35"/>
                </a:cubicBezTo>
                <a:cubicBezTo>
                  <a:pt x="7" y="35"/>
                  <a:pt x="6" y="36"/>
                  <a:pt x="6" y="36"/>
                </a:cubicBezTo>
                <a:cubicBezTo>
                  <a:pt x="5" y="36"/>
                  <a:pt x="5" y="36"/>
                  <a:pt x="5" y="35"/>
                </a:cubicBezTo>
                <a:cubicBezTo>
                  <a:pt x="4" y="35"/>
                  <a:pt x="4" y="35"/>
                  <a:pt x="4" y="35"/>
                </a:cubicBezTo>
                <a:cubicBezTo>
                  <a:pt x="4" y="36"/>
                  <a:pt x="4" y="36"/>
                  <a:pt x="4" y="36"/>
                </a:cubicBezTo>
                <a:cubicBezTo>
                  <a:pt x="4" y="36"/>
                  <a:pt x="4" y="36"/>
                  <a:pt x="4" y="36"/>
                </a:cubicBezTo>
                <a:cubicBezTo>
                  <a:pt x="4" y="36"/>
                  <a:pt x="4" y="36"/>
                  <a:pt x="4" y="36"/>
                </a:cubicBezTo>
                <a:cubicBezTo>
                  <a:pt x="4" y="36"/>
                  <a:pt x="4" y="36"/>
                  <a:pt x="4" y="36"/>
                </a:cubicBezTo>
                <a:cubicBezTo>
                  <a:pt x="4" y="38"/>
                  <a:pt x="4" y="38"/>
                  <a:pt x="4" y="38"/>
                </a:cubicBezTo>
                <a:cubicBezTo>
                  <a:pt x="4" y="37"/>
                  <a:pt x="4" y="37"/>
                  <a:pt x="4" y="37"/>
                </a:cubicBezTo>
                <a:cubicBezTo>
                  <a:pt x="4" y="37"/>
                  <a:pt x="4" y="37"/>
                  <a:pt x="4" y="37"/>
                </a:cubicBezTo>
                <a:cubicBezTo>
                  <a:pt x="3" y="38"/>
                  <a:pt x="3" y="38"/>
                  <a:pt x="3" y="38"/>
                </a:cubicBezTo>
                <a:cubicBezTo>
                  <a:pt x="2" y="38"/>
                  <a:pt x="2" y="38"/>
                  <a:pt x="2" y="38"/>
                </a:cubicBezTo>
                <a:cubicBezTo>
                  <a:pt x="1" y="39"/>
                  <a:pt x="1" y="39"/>
                  <a:pt x="1" y="39"/>
                </a:cubicBezTo>
                <a:cubicBezTo>
                  <a:pt x="1" y="40"/>
                  <a:pt x="1" y="40"/>
                  <a:pt x="1" y="40"/>
                </a:cubicBezTo>
                <a:cubicBezTo>
                  <a:pt x="1" y="40"/>
                  <a:pt x="1" y="40"/>
                  <a:pt x="1" y="40"/>
                </a:cubicBezTo>
                <a:cubicBezTo>
                  <a:pt x="0" y="40"/>
                  <a:pt x="0" y="41"/>
                  <a:pt x="0" y="41"/>
                </a:cubicBezTo>
                <a:cubicBezTo>
                  <a:pt x="0" y="41"/>
                  <a:pt x="0" y="42"/>
                  <a:pt x="0" y="42"/>
                </a:cubicBezTo>
                <a:cubicBezTo>
                  <a:pt x="0" y="42"/>
                  <a:pt x="0" y="42"/>
                  <a:pt x="0" y="42"/>
                </a:cubicBezTo>
                <a:cubicBezTo>
                  <a:pt x="0" y="42"/>
                  <a:pt x="0" y="42"/>
                  <a:pt x="1" y="42"/>
                </a:cubicBezTo>
                <a:cubicBezTo>
                  <a:pt x="1" y="43"/>
                  <a:pt x="3" y="43"/>
                  <a:pt x="3" y="45"/>
                </a:cubicBezTo>
                <a:cubicBezTo>
                  <a:pt x="3" y="45"/>
                  <a:pt x="3" y="45"/>
                  <a:pt x="3" y="46"/>
                </a:cubicBezTo>
                <a:cubicBezTo>
                  <a:pt x="3" y="46"/>
                  <a:pt x="3" y="46"/>
                  <a:pt x="3" y="46"/>
                </a:cubicBezTo>
                <a:cubicBezTo>
                  <a:pt x="3" y="46"/>
                  <a:pt x="3" y="46"/>
                  <a:pt x="3" y="46"/>
                </a:cubicBezTo>
                <a:cubicBezTo>
                  <a:pt x="3" y="46"/>
                  <a:pt x="3" y="46"/>
                  <a:pt x="3" y="46"/>
                </a:cubicBezTo>
                <a:cubicBezTo>
                  <a:pt x="3" y="46"/>
                  <a:pt x="3" y="46"/>
                  <a:pt x="3" y="46"/>
                </a:cubicBezTo>
                <a:cubicBezTo>
                  <a:pt x="4" y="46"/>
                  <a:pt x="4" y="46"/>
                  <a:pt x="5" y="46"/>
                </a:cubicBezTo>
                <a:cubicBezTo>
                  <a:pt x="6" y="47"/>
                  <a:pt x="7" y="48"/>
                  <a:pt x="8" y="49"/>
                </a:cubicBezTo>
                <a:cubicBezTo>
                  <a:pt x="9" y="50"/>
                  <a:pt x="10" y="51"/>
                  <a:pt x="11" y="52"/>
                </a:cubicBezTo>
                <a:cubicBezTo>
                  <a:pt x="11" y="52"/>
                  <a:pt x="11" y="52"/>
                  <a:pt x="11" y="52"/>
                </a:cubicBezTo>
                <a:cubicBezTo>
                  <a:pt x="11" y="52"/>
                  <a:pt x="12" y="52"/>
                  <a:pt x="12" y="52"/>
                </a:cubicBezTo>
                <a:cubicBezTo>
                  <a:pt x="12" y="52"/>
                  <a:pt x="12" y="52"/>
                  <a:pt x="12" y="52"/>
                </a:cubicBezTo>
                <a:cubicBezTo>
                  <a:pt x="12" y="52"/>
                  <a:pt x="13" y="52"/>
                  <a:pt x="13" y="52"/>
                </a:cubicBezTo>
                <a:cubicBezTo>
                  <a:pt x="13" y="52"/>
                  <a:pt x="14" y="52"/>
                  <a:pt x="14" y="52"/>
                </a:cubicBezTo>
                <a:cubicBezTo>
                  <a:pt x="16" y="52"/>
                  <a:pt x="17" y="52"/>
                  <a:pt x="18" y="53"/>
                </a:cubicBezTo>
                <a:cubicBezTo>
                  <a:pt x="18" y="53"/>
                  <a:pt x="18" y="53"/>
                  <a:pt x="18" y="53"/>
                </a:cubicBezTo>
                <a:cubicBezTo>
                  <a:pt x="19" y="54"/>
                  <a:pt x="20" y="55"/>
                  <a:pt x="21" y="55"/>
                </a:cubicBezTo>
                <a:cubicBezTo>
                  <a:pt x="21" y="54"/>
                  <a:pt x="21" y="54"/>
                  <a:pt x="21" y="54"/>
                </a:cubicBezTo>
                <a:cubicBezTo>
                  <a:pt x="23" y="54"/>
                  <a:pt x="24" y="56"/>
                  <a:pt x="25" y="56"/>
                </a:cubicBezTo>
                <a:cubicBezTo>
                  <a:pt x="25" y="57"/>
                  <a:pt x="25" y="57"/>
                  <a:pt x="25" y="57"/>
                </a:cubicBezTo>
                <a:cubicBezTo>
                  <a:pt x="25" y="57"/>
                  <a:pt x="25" y="57"/>
                  <a:pt x="25" y="57"/>
                </a:cubicBezTo>
                <a:cubicBezTo>
                  <a:pt x="26" y="58"/>
                  <a:pt x="27" y="59"/>
                  <a:pt x="27" y="60"/>
                </a:cubicBezTo>
                <a:cubicBezTo>
                  <a:pt x="27" y="61"/>
                  <a:pt x="27" y="61"/>
                  <a:pt x="27" y="61"/>
                </a:cubicBezTo>
                <a:cubicBezTo>
                  <a:pt x="28" y="62"/>
                  <a:pt x="28" y="63"/>
                  <a:pt x="29" y="63"/>
                </a:cubicBezTo>
                <a:cubicBezTo>
                  <a:pt x="33" y="69"/>
                  <a:pt x="33" y="69"/>
                  <a:pt x="33" y="69"/>
                </a:cubicBezTo>
                <a:cubicBezTo>
                  <a:pt x="33" y="71"/>
                  <a:pt x="33" y="72"/>
                  <a:pt x="33" y="73"/>
                </a:cubicBezTo>
                <a:cubicBezTo>
                  <a:pt x="33" y="73"/>
                  <a:pt x="33" y="73"/>
                  <a:pt x="33" y="73"/>
                </a:cubicBezTo>
                <a:cubicBezTo>
                  <a:pt x="33" y="75"/>
                  <a:pt x="33" y="76"/>
                  <a:pt x="33" y="78"/>
                </a:cubicBezTo>
                <a:cubicBezTo>
                  <a:pt x="33" y="78"/>
                  <a:pt x="33" y="78"/>
                  <a:pt x="33" y="78"/>
                </a:cubicBezTo>
                <a:cubicBezTo>
                  <a:pt x="33" y="78"/>
                  <a:pt x="33" y="78"/>
                  <a:pt x="33" y="79"/>
                </a:cubicBezTo>
                <a:cubicBezTo>
                  <a:pt x="33" y="79"/>
                  <a:pt x="33" y="79"/>
                  <a:pt x="33" y="80"/>
                </a:cubicBezTo>
                <a:cubicBezTo>
                  <a:pt x="33" y="80"/>
                  <a:pt x="33" y="80"/>
                  <a:pt x="32" y="81"/>
                </a:cubicBezTo>
                <a:cubicBezTo>
                  <a:pt x="32" y="81"/>
                  <a:pt x="32" y="82"/>
                  <a:pt x="31" y="82"/>
                </a:cubicBezTo>
                <a:cubicBezTo>
                  <a:pt x="31" y="83"/>
                  <a:pt x="31" y="83"/>
                  <a:pt x="31" y="83"/>
                </a:cubicBezTo>
                <a:cubicBezTo>
                  <a:pt x="31" y="84"/>
                  <a:pt x="31" y="84"/>
                  <a:pt x="30" y="84"/>
                </a:cubicBezTo>
                <a:cubicBezTo>
                  <a:pt x="30" y="85"/>
                  <a:pt x="29" y="86"/>
                  <a:pt x="30" y="86"/>
                </a:cubicBezTo>
                <a:cubicBezTo>
                  <a:pt x="30" y="87"/>
                  <a:pt x="31" y="88"/>
                  <a:pt x="31" y="88"/>
                </a:cubicBezTo>
                <a:cubicBezTo>
                  <a:pt x="31" y="88"/>
                  <a:pt x="31" y="88"/>
                  <a:pt x="31" y="89"/>
                </a:cubicBezTo>
                <a:cubicBezTo>
                  <a:pt x="32" y="89"/>
                  <a:pt x="32" y="89"/>
                  <a:pt x="32" y="89"/>
                </a:cubicBezTo>
                <a:cubicBezTo>
                  <a:pt x="33" y="89"/>
                  <a:pt x="34" y="89"/>
                  <a:pt x="36" y="89"/>
                </a:cubicBezTo>
                <a:cubicBezTo>
                  <a:pt x="38" y="89"/>
                  <a:pt x="40" y="90"/>
                  <a:pt x="42" y="90"/>
                </a:cubicBezTo>
                <a:cubicBezTo>
                  <a:pt x="46" y="90"/>
                  <a:pt x="50" y="90"/>
                  <a:pt x="54" y="91"/>
                </a:cubicBezTo>
                <a:cubicBezTo>
                  <a:pt x="55" y="91"/>
                  <a:pt x="55" y="91"/>
                  <a:pt x="55" y="91"/>
                </a:cubicBezTo>
                <a:cubicBezTo>
                  <a:pt x="56" y="91"/>
                  <a:pt x="57" y="91"/>
                  <a:pt x="59" y="92"/>
                </a:cubicBezTo>
                <a:cubicBezTo>
                  <a:pt x="66" y="96"/>
                  <a:pt x="66" y="96"/>
                  <a:pt x="66" y="96"/>
                </a:cubicBezTo>
                <a:cubicBezTo>
                  <a:pt x="66" y="96"/>
                  <a:pt x="67" y="97"/>
                  <a:pt x="67" y="97"/>
                </a:cubicBezTo>
                <a:cubicBezTo>
                  <a:pt x="69" y="98"/>
                  <a:pt x="70" y="99"/>
                  <a:pt x="72" y="100"/>
                </a:cubicBezTo>
                <a:cubicBezTo>
                  <a:pt x="73" y="100"/>
                  <a:pt x="74" y="100"/>
                  <a:pt x="75" y="100"/>
                </a:cubicBezTo>
                <a:cubicBezTo>
                  <a:pt x="78" y="100"/>
                  <a:pt x="78" y="100"/>
                  <a:pt x="78" y="100"/>
                </a:cubicBezTo>
                <a:cubicBezTo>
                  <a:pt x="78" y="101"/>
                  <a:pt x="78" y="101"/>
                  <a:pt x="78" y="101"/>
                </a:cubicBezTo>
                <a:cubicBezTo>
                  <a:pt x="78" y="102"/>
                  <a:pt x="77" y="102"/>
                  <a:pt x="77" y="102"/>
                </a:cubicBezTo>
                <a:cubicBezTo>
                  <a:pt x="77" y="103"/>
                  <a:pt x="77" y="103"/>
                  <a:pt x="77" y="103"/>
                </a:cubicBezTo>
                <a:cubicBezTo>
                  <a:pt x="78" y="102"/>
                  <a:pt x="78" y="102"/>
                  <a:pt x="78" y="102"/>
                </a:cubicBezTo>
                <a:cubicBezTo>
                  <a:pt x="78" y="104"/>
                  <a:pt x="78" y="104"/>
                  <a:pt x="78" y="104"/>
                </a:cubicBezTo>
                <a:cubicBezTo>
                  <a:pt x="78" y="104"/>
                  <a:pt x="78" y="104"/>
                  <a:pt x="78" y="104"/>
                </a:cubicBezTo>
                <a:cubicBezTo>
                  <a:pt x="78" y="104"/>
                  <a:pt x="79" y="105"/>
                  <a:pt x="79" y="105"/>
                </a:cubicBezTo>
                <a:cubicBezTo>
                  <a:pt x="80" y="106"/>
                  <a:pt x="80" y="106"/>
                  <a:pt x="80" y="106"/>
                </a:cubicBezTo>
                <a:cubicBezTo>
                  <a:pt x="80" y="107"/>
                  <a:pt x="80" y="107"/>
                  <a:pt x="80" y="107"/>
                </a:cubicBezTo>
                <a:cubicBezTo>
                  <a:pt x="82" y="112"/>
                  <a:pt x="82" y="112"/>
                  <a:pt x="82" y="112"/>
                </a:cubicBezTo>
                <a:cubicBezTo>
                  <a:pt x="83" y="114"/>
                  <a:pt x="84" y="115"/>
                  <a:pt x="85" y="116"/>
                </a:cubicBezTo>
                <a:cubicBezTo>
                  <a:pt x="85" y="116"/>
                  <a:pt x="86" y="117"/>
                  <a:pt x="86" y="117"/>
                </a:cubicBezTo>
                <a:cubicBezTo>
                  <a:pt x="86" y="117"/>
                  <a:pt x="86" y="117"/>
                  <a:pt x="86" y="117"/>
                </a:cubicBezTo>
                <a:cubicBezTo>
                  <a:pt x="86" y="117"/>
                  <a:pt x="86" y="117"/>
                  <a:pt x="86" y="117"/>
                </a:cubicBezTo>
                <a:cubicBezTo>
                  <a:pt x="86" y="118"/>
                  <a:pt x="87" y="118"/>
                  <a:pt x="87" y="118"/>
                </a:cubicBezTo>
                <a:cubicBezTo>
                  <a:pt x="87" y="118"/>
                  <a:pt x="87" y="119"/>
                  <a:pt x="87" y="119"/>
                </a:cubicBezTo>
                <a:cubicBezTo>
                  <a:pt x="87" y="119"/>
                  <a:pt x="87" y="119"/>
                  <a:pt x="87" y="119"/>
                </a:cubicBezTo>
                <a:cubicBezTo>
                  <a:pt x="89" y="119"/>
                  <a:pt x="89" y="119"/>
                  <a:pt x="89" y="119"/>
                </a:cubicBezTo>
                <a:cubicBezTo>
                  <a:pt x="90" y="119"/>
                  <a:pt x="91" y="119"/>
                  <a:pt x="92" y="119"/>
                </a:cubicBezTo>
                <a:cubicBezTo>
                  <a:pt x="95" y="118"/>
                  <a:pt x="97" y="119"/>
                  <a:pt x="99" y="119"/>
                </a:cubicBezTo>
                <a:cubicBezTo>
                  <a:pt x="101" y="120"/>
                  <a:pt x="101" y="120"/>
                  <a:pt x="101" y="120"/>
                </a:cubicBezTo>
                <a:cubicBezTo>
                  <a:pt x="102" y="120"/>
                  <a:pt x="102" y="120"/>
                  <a:pt x="103" y="120"/>
                </a:cubicBezTo>
                <a:cubicBezTo>
                  <a:pt x="104" y="120"/>
                  <a:pt x="104" y="120"/>
                  <a:pt x="104" y="120"/>
                </a:cubicBezTo>
                <a:cubicBezTo>
                  <a:pt x="105" y="120"/>
                  <a:pt x="105" y="120"/>
                  <a:pt x="106" y="120"/>
                </a:cubicBezTo>
                <a:cubicBezTo>
                  <a:pt x="110" y="121"/>
                  <a:pt x="114" y="121"/>
                  <a:pt x="119" y="121"/>
                </a:cubicBezTo>
                <a:cubicBezTo>
                  <a:pt x="119" y="121"/>
                  <a:pt x="119" y="121"/>
                  <a:pt x="119" y="121"/>
                </a:cubicBezTo>
                <a:cubicBezTo>
                  <a:pt x="119" y="121"/>
                  <a:pt x="119" y="121"/>
                  <a:pt x="119" y="121"/>
                </a:cubicBezTo>
                <a:cubicBezTo>
                  <a:pt x="120" y="121"/>
                  <a:pt x="120" y="121"/>
                  <a:pt x="121" y="120"/>
                </a:cubicBezTo>
                <a:cubicBezTo>
                  <a:pt x="121" y="120"/>
                  <a:pt x="123" y="120"/>
                  <a:pt x="124" y="120"/>
                </a:cubicBezTo>
                <a:cubicBezTo>
                  <a:pt x="124" y="120"/>
                  <a:pt x="124" y="120"/>
                  <a:pt x="124" y="120"/>
                </a:cubicBezTo>
                <a:cubicBezTo>
                  <a:pt x="124" y="120"/>
                  <a:pt x="124" y="120"/>
                  <a:pt x="125" y="120"/>
                </a:cubicBezTo>
                <a:cubicBezTo>
                  <a:pt x="139" y="122"/>
                  <a:pt x="139" y="122"/>
                  <a:pt x="139" y="122"/>
                </a:cubicBezTo>
                <a:cubicBezTo>
                  <a:pt x="139" y="122"/>
                  <a:pt x="139" y="122"/>
                  <a:pt x="140" y="122"/>
                </a:cubicBezTo>
                <a:cubicBezTo>
                  <a:pt x="140" y="122"/>
                  <a:pt x="141" y="123"/>
                  <a:pt x="142" y="123"/>
                </a:cubicBezTo>
                <a:cubicBezTo>
                  <a:pt x="143" y="123"/>
                  <a:pt x="143" y="124"/>
                  <a:pt x="143" y="124"/>
                </a:cubicBezTo>
                <a:cubicBezTo>
                  <a:pt x="143" y="124"/>
                  <a:pt x="144" y="125"/>
                  <a:pt x="144" y="125"/>
                </a:cubicBezTo>
                <a:cubicBezTo>
                  <a:pt x="144" y="125"/>
                  <a:pt x="144" y="125"/>
                  <a:pt x="144" y="125"/>
                </a:cubicBezTo>
                <a:cubicBezTo>
                  <a:pt x="144" y="126"/>
                  <a:pt x="144" y="126"/>
                  <a:pt x="144" y="126"/>
                </a:cubicBezTo>
                <a:cubicBezTo>
                  <a:pt x="149" y="127"/>
                  <a:pt x="149" y="127"/>
                  <a:pt x="149" y="127"/>
                </a:cubicBezTo>
                <a:cubicBezTo>
                  <a:pt x="151" y="127"/>
                  <a:pt x="152" y="128"/>
                  <a:pt x="153" y="128"/>
                </a:cubicBezTo>
                <a:cubicBezTo>
                  <a:pt x="155" y="128"/>
                  <a:pt x="156" y="129"/>
                  <a:pt x="158" y="129"/>
                </a:cubicBezTo>
                <a:cubicBezTo>
                  <a:pt x="159" y="130"/>
                  <a:pt x="160" y="130"/>
                  <a:pt x="161" y="130"/>
                </a:cubicBezTo>
                <a:cubicBezTo>
                  <a:pt x="162" y="131"/>
                  <a:pt x="163" y="131"/>
                  <a:pt x="164" y="131"/>
                </a:cubicBezTo>
                <a:cubicBezTo>
                  <a:pt x="164" y="131"/>
                  <a:pt x="164" y="130"/>
                  <a:pt x="164" y="130"/>
                </a:cubicBezTo>
                <a:cubicBezTo>
                  <a:pt x="165" y="130"/>
                  <a:pt x="165" y="130"/>
                  <a:pt x="165" y="130"/>
                </a:cubicBezTo>
                <a:cubicBezTo>
                  <a:pt x="165" y="130"/>
                  <a:pt x="166" y="130"/>
                  <a:pt x="167" y="130"/>
                </a:cubicBezTo>
                <a:cubicBezTo>
                  <a:pt x="169" y="130"/>
                  <a:pt x="169" y="131"/>
                  <a:pt x="170" y="131"/>
                </a:cubicBezTo>
                <a:cubicBezTo>
                  <a:pt x="170" y="131"/>
                  <a:pt x="170" y="131"/>
                  <a:pt x="170" y="131"/>
                </a:cubicBezTo>
                <a:cubicBezTo>
                  <a:pt x="170" y="131"/>
                  <a:pt x="170" y="131"/>
                  <a:pt x="170" y="131"/>
                </a:cubicBezTo>
                <a:cubicBezTo>
                  <a:pt x="170" y="132"/>
                  <a:pt x="170" y="132"/>
                  <a:pt x="170" y="132"/>
                </a:cubicBezTo>
                <a:cubicBezTo>
                  <a:pt x="170" y="132"/>
                  <a:pt x="170" y="132"/>
                  <a:pt x="170" y="132"/>
                </a:cubicBezTo>
                <a:cubicBezTo>
                  <a:pt x="171" y="132"/>
                  <a:pt x="171" y="132"/>
                  <a:pt x="171" y="132"/>
                </a:cubicBezTo>
                <a:cubicBezTo>
                  <a:pt x="171" y="132"/>
                  <a:pt x="171" y="132"/>
                  <a:pt x="171" y="132"/>
                </a:cubicBezTo>
                <a:cubicBezTo>
                  <a:pt x="171" y="133"/>
                  <a:pt x="171" y="133"/>
                  <a:pt x="171" y="133"/>
                </a:cubicBezTo>
                <a:cubicBezTo>
                  <a:pt x="172" y="133"/>
                  <a:pt x="173" y="133"/>
                  <a:pt x="174" y="133"/>
                </a:cubicBezTo>
                <a:cubicBezTo>
                  <a:pt x="174" y="133"/>
                  <a:pt x="174" y="133"/>
                  <a:pt x="174" y="133"/>
                </a:cubicBezTo>
                <a:cubicBezTo>
                  <a:pt x="174" y="133"/>
                  <a:pt x="174" y="133"/>
                  <a:pt x="174" y="133"/>
                </a:cubicBezTo>
                <a:cubicBezTo>
                  <a:pt x="175" y="132"/>
                  <a:pt x="176" y="132"/>
                  <a:pt x="177" y="131"/>
                </a:cubicBezTo>
                <a:cubicBezTo>
                  <a:pt x="178" y="130"/>
                  <a:pt x="180" y="130"/>
                  <a:pt x="182" y="129"/>
                </a:cubicBezTo>
                <a:cubicBezTo>
                  <a:pt x="182" y="129"/>
                  <a:pt x="183" y="128"/>
                  <a:pt x="184" y="128"/>
                </a:cubicBezTo>
                <a:cubicBezTo>
                  <a:pt x="185" y="127"/>
                  <a:pt x="185" y="127"/>
                  <a:pt x="185" y="127"/>
                </a:cubicBezTo>
                <a:cubicBezTo>
                  <a:pt x="187" y="127"/>
                  <a:pt x="189" y="126"/>
                  <a:pt x="190" y="125"/>
                </a:cubicBezTo>
                <a:cubicBezTo>
                  <a:pt x="190" y="124"/>
                  <a:pt x="190" y="124"/>
                  <a:pt x="190" y="124"/>
                </a:cubicBezTo>
                <a:cubicBezTo>
                  <a:pt x="191" y="125"/>
                  <a:pt x="191" y="125"/>
                  <a:pt x="191" y="125"/>
                </a:cubicBezTo>
                <a:cubicBezTo>
                  <a:pt x="191" y="125"/>
                  <a:pt x="191" y="125"/>
                  <a:pt x="191" y="125"/>
                </a:cubicBezTo>
                <a:cubicBezTo>
                  <a:pt x="192" y="125"/>
                  <a:pt x="192" y="125"/>
                  <a:pt x="192" y="125"/>
                </a:cubicBezTo>
                <a:cubicBezTo>
                  <a:pt x="194" y="124"/>
                  <a:pt x="197" y="124"/>
                  <a:pt x="199" y="124"/>
                </a:cubicBezTo>
                <a:cubicBezTo>
                  <a:pt x="200" y="124"/>
                  <a:pt x="201" y="123"/>
                  <a:pt x="202" y="123"/>
                </a:cubicBezTo>
                <a:cubicBezTo>
                  <a:pt x="205" y="123"/>
                  <a:pt x="205" y="123"/>
                  <a:pt x="205" y="123"/>
                </a:cubicBezTo>
                <a:cubicBezTo>
                  <a:pt x="206" y="123"/>
                  <a:pt x="208" y="123"/>
                  <a:pt x="209" y="123"/>
                </a:cubicBezTo>
                <a:cubicBezTo>
                  <a:pt x="212" y="123"/>
                  <a:pt x="212" y="123"/>
                  <a:pt x="212" y="123"/>
                </a:cubicBezTo>
                <a:cubicBezTo>
                  <a:pt x="212" y="123"/>
                  <a:pt x="212" y="123"/>
                  <a:pt x="213" y="123"/>
                </a:cubicBezTo>
                <a:cubicBezTo>
                  <a:pt x="213" y="123"/>
                  <a:pt x="213" y="123"/>
                  <a:pt x="213" y="123"/>
                </a:cubicBezTo>
                <a:cubicBezTo>
                  <a:pt x="214" y="123"/>
                  <a:pt x="214" y="123"/>
                  <a:pt x="215" y="123"/>
                </a:cubicBezTo>
                <a:cubicBezTo>
                  <a:pt x="216" y="123"/>
                  <a:pt x="216" y="123"/>
                  <a:pt x="217" y="123"/>
                </a:cubicBezTo>
                <a:cubicBezTo>
                  <a:pt x="218" y="123"/>
                  <a:pt x="219" y="123"/>
                  <a:pt x="220" y="122"/>
                </a:cubicBezTo>
                <a:cubicBezTo>
                  <a:pt x="221" y="122"/>
                  <a:pt x="222" y="122"/>
                  <a:pt x="223" y="121"/>
                </a:cubicBezTo>
                <a:cubicBezTo>
                  <a:pt x="224" y="121"/>
                  <a:pt x="224" y="121"/>
                  <a:pt x="224" y="121"/>
                </a:cubicBezTo>
                <a:cubicBezTo>
                  <a:pt x="226" y="120"/>
                  <a:pt x="226" y="120"/>
                  <a:pt x="226" y="120"/>
                </a:cubicBezTo>
                <a:cubicBezTo>
                  <a:pt x="227" y="120"/>
                  <a:pt x="228" y="119"/>
                  <a:pt x="229" y="119"/>
                </a:cubicBezTo>
                <a:cubicBezTo>
                  <a:pt x="229" y="119"/>
                  <a:pt x="230" y="118"/>
                  <a:pt x="230" y="118"/>
                </a:cubicBezTo>
                <a:cubicBezTo>
                  <a:pt x="231" y="117"/>
                  <a:pt x="231" y="117"/>
                  <a:pt x="231" y="116"/>
                </a:cubicBezTo>
                <a:cubicBezTo>
                  <a:pt x="232" y="116"/>
                  <a:pt x="232" y="116"/>
                  <a:pt x="232" y="116"/>
                </a:cubicBezTo>
                <a:cubicBezTo>
                  <a:pt x="232" y="115"/>
                  <a:pt x="233" y="113"/>
                  <a:pt x="235" y="112"/>
                </a:cubicBezTo>
                <a:cubicBezTo>
                  <a:pt x="236" y="111"/>
                  <a:pt x="237" y="111"/>
                  <a:pt x="239" y="110"/>
                </a:cubicBezTo>
                <a:cubicBezTo>
                  <a:pt x="239" y="110"/>
                  <a:pt x="239" y="110"/>
                  <a:pt x="239" y="110"/>
                </a:cubicBezTo>
                <a:cubicBezTo>
                  <a:pt x="241" y="109"/>
                  <a:pt x="242" y="108"/>
                  <a:pt x="244" y="107"/>
                </a:cubicBezTo>
                <a:cubicBezTo>
                  <a:pt x="244" y="107"/>
                  <a:pt x="244" y="107"/>
                  <a:pt x="244" y="107"/>
                </a:cubicBezTo>
                <a:cubicBezTo>
                  <a:pt x="244" y="107"/>
                  <a:pt x="244" y="107"/>
                  <a:pt x="244" y="107"/>
                </a:cubicBezTo>
                <a:cubicBezTo>
                  <a:pt x="244" y="107"/>
                  <a:pt x="244" y="107"/>
                  <a:pt x="244" y="107"/>
                </a:cubicBezTo>
                <a:cubicBezTo>
                  <a:pt x="244" y="106"/>
                  <a:pt x="243" y="106"/>
                  <a:pt x="243" y="106"/>
                </a:cubicBezTo>
                <a:cubicBezTo>
                  <a:pt x="242" y="106"/>
                  <a:pt x="242" y="105"/>
                  <a:pt x="242" y="105"/>
                </a:cubicBezTo>
                <a:cubicBezTo>
                  <a:pt x="241" y="105"/>
                  <a:pt x="241" y="104"/>
                  <a:pt x="241" y="103"/>
                </a:cubicBezTo>
                <a:cubicBezTo>
                  <a:pt x="240" y="103"/>
                  <a:pt x="239" y="102"/>
                  <a:pt x="239" y="101"/>
                </a:cubicBezTo>
                <a:cubicBezTo>
                  <a:pt x="239" y="99"/>
                  <a:pt x="239" y="99"/>
                  <a:pt x="239" y="98"/>
                </a:cubicBezTo>
                <a:cubicBezTo>
                  <a:pt x="240" y="98"/>
                  <a:pt x="240" y="98"/>
                  <a:pt x="240" y="98"/>
                </a:cubicBezTo>
                <a:cubicBezTo>
                  <a:pt x="240" y="97"/>
                  <a:pt x="241" y="95"/>
                  <a:pt x="241" y="94"/>
                </a:cubicBezTo>
                <a:cubicBezTo>
                  <a:pt x="242" y="93"/>
                  <a:pt x="242" y="92"/>
                  <a:pt x="244" y="91"/>
                </a:cubicBezTo>
                <a:cubicBezTo>
                  <a:pt x="244" y="91"/>
                  <a:pt x="244" y="90"/>
                  <a:pt x="245" y="90"/>
                </a:cubicBezTo>
                <a:cubicBezTo>
                  <a:pt x="245" y="90"/>
                  <a:pt x="246" y="90"/>
                  <a:pt x="247" y="90"/>
                </a:cubicBezTo>
                <a:cubicBezTo>
                  <a:pt x="247" y="90"/>
                  <a:pt x="248" y="90"/>
                  <a:pt x="248" y="90"/>
                </a:cubicBezTo>
                <a:cubicBezTo>
                  <a:pt x="249" y="90"/>
                  <a:pt x="250" y="90"/>
                  <a:pt x="251" y="90"/>
                </a:cubicBezTo>
                <a:cubicBezTo>
                  <a:pt x="253" y="91"/>
                  <a:pt x="255" y="92"/>
                  <a:pt x="256" y="92"/>
                </a:cubicBezTo>
                <a:cubicBezTo>
                  <a:pt x="257" y="93"/>
                  <a:pt x="257" y="93"/>
                  <a:pt x="258" y="93"/>
                </a:cubicBezTo>
                <a:cubicBezTo>
                  <a:pt x="259" y="93"/>
                  <a:pt x="259" y="94"/>
                  <a:pt x="260" y="94"/>
                </a:cubicBezTo>
                <a:cubicBezTo>
                  <a:pt x="260" y="94"/>
                  <a:pt x="260" y="94"/>
                  <a:pt x="261" y="94"/>
                </a:cubicBezTo>
                <a:cubicBezTo>
                  <a:pt x="261" y="94"/>
                  <a:pt x="261" y="94"/>
                  <a:pt x="261" y="94"/>
                </a:cubicBezTo>
                <a:cubicBezTo>
                  <a:pt x="261" y="94"/>
                  <a:pt x="261" y="94"/>
                  <a:pt x="262" y="94"/>
                </a:cubicBezTo>
                <a:cubicBezTo>
                  <a:pt x="262" y="94"/>
                  <a:pt x="263" y="94"/>
                  <a:pt x="264" y="93"/>
                </a:cubicBezTo>
                <a:cubicBezTo>
                  <a:pt x="264" y="93"/>
                  <a:pt x="264" y="93"/>
                  <a:pt x="264" y="93"/>
                </a:cubicBezTo>
                <a:cubicBezTo>
                  <a:pt x="264" y="93"/>
                  <a:pt x="265" y="92"/>
                  <a:pt x="265" y="92"/>
                </a:cubicBezTo>
                <a:cubicBezTo>
                  <a:pt x="267" y="91"/>
                  <a:pt x="269" y="89"/>
                  <a:pt x="270" y="88"/>
                </a:cubicBezTo>
                <a:cubicBezTo>
                  <a:pt x="269" y="87"/>
                  <a:pt x="269" y="87"/>
                  <a:pt x="269" y="87"/>
                </a:cubicBezTo>
                <a:cubicBezTo>
                  <a:pt x="271" y="88"/>
                  <a:pt x="271" y="88"/>
                  <a:pt x="271" y="88"/>
                </a:cubicBezTo>
                <a:cubicBezTo>
                  <a:pt x="271" y="87"/>
                  <a:pt x="271" y="87"/>
                  <a:pt x="271" y="87"/>
                </a:cubicBezTo>
                <a:cubicBezTo>
                  <a:pt x="271" y="87"/>
                  <a:pt x="271" y="87"/>
                  <a:pt x="271" y="87"/>
                </a:cubicBezTo>
                <a:cubicBezTo>
                  <a:pt x="271" y="87"/>
                  <a:pt x="271" y="87"/>
                  <a:pt x="271" y="87"/>
                </a:cubicBezTo>
                <a:cubicBezTo>
                  <a:pt x="271" y="87"/>
                  <a:pt x="271" y="87"/>
                  <a:pt x="271" y="87"/>
                </a:cubicBezTo>
                <a:cubicBezTo>
                  <a:pt x="271" y="87"/>
                  <a:pt x="272" y="86"/>
                  <a:pt x="272" y="86"/>
                </a:cubicBezTo>
                <a:cubicBezTo>
                  <a:pt x="272" y="86"/>
                  <a:pt x="272" y="86"/>
                  <a:pt x="272" y="86"/>
                </a:cubicBezTo>
                <a:cubicBezTo>
                  <a:pt x="273" y="85"/>
                  <a:pt x="274" y="85"/>
                  <a:pt x="275" y="85"/>
                </a:cubicBezTo>
                <a:cubicBezTo>
                  <a:pt x="275" y="85"/>
                  <a:pt x="275" y="85"/>
                  <a:pt x="276" y="85"/>
                </a:cubicBezTo>
                <a:cubicBezTo>
                  <a:pt x="276" y="85"/>
                  <a:pt x="276" y="85"/>
                  <a:pt x="276" y="85"/>
                </a:cubicBezTo>
                <a:cubicBezTo>
                  <a:pt x="276" y="85"/>
                  <a:pt x="276" y="85"/>
                  <a:pt x="276" y="85"/>
                </a:cubicBezTo>
                <a:cubicBezTo>
                  <a:pt x="283" y="85"/>
                  <a:pt x="283" y="85"/>
                  <a:pt x="283" y="85"/>
                </a:cubicBezTo>
                <a:cubicBezTo>
                  <a:pt x="283" y="85"/>
                  <a:pt x="283" y="85"/>
                  <a:pt x="283" y="85"/>
                </a:cubicBezTo>
                <a:cubicBezTo>
                  <a:pt x="284" y="85"/>
                  <a:pt x="284" y="85"/>
                  <a:pt x="284" y="85"/>
                </a:cubicBezTo>
                <a:cubicBezTo>
                  <a:pt x="284" y="84"/>
                  <a:pt x="284" y="84"/>
                  <a:pt x="285" y="84"/>
                </a:cubicBezTo>
                <a:cubicBezTo>
                  <a:pt x="285" y="84"/>
                  <a:pt x="286" y="83"/>
                  <a:pt x="286" y="83"/>
                </a:cubicBezTo>
                <a:cubicBezTo>
                  <a:pt x="286" y="83"/>
                  <a:pt x="286" y="83"/>
                  <a:pt x="287" y="83"/>
                </a:cubicBezTo>
                <a:cubicBezTo>
                  <a:pt x="287" y="83"/>
                  <a:pt x="287" y="83"/>
                  <a:pt x="287" y="83"/>
                </a:cubicBezTo>
                <a:cubicBezTo>
                  <a:pt x="287" y="83"/>
                  <a:pt x="288" y="82"/>
                  <a:pt x="288" y="82"/>
                </a:cubicBezTo>
                <a:cubicBezTo>
                  <a:pt x="288" y="82"/>
                  <a:pt x="288" y="82"/>
                  <a:pt x="288" y="82"/>
                </a:cubicBezTo>
                <a:cubicBezTo>
                  <a:pt x="288" y="82"/>
                  <a:pt x="288" y="81"/>
                  <a:pt x="288" y="81"/>
                </a:cubicBezTo>
                <a:cubicBezTo>
                  <a:pt x="288" y="81"/>
                  <a:pt x="288" y="81"/>
                  <a:pt x="288" y="81"/>
                </a:cubicBezTo>
                <a:cubicBezTo>
                  <a:pt x="288" y="78"/>
                  <a:pt x="291" y="76"/>
                  <a:pt x="291" y="75"/>
                </a:cubicBezTo>
                <a:cubicBezTo>
                  <a:pt x="293" y="74"/>
                  <a:pt x="295" y="73"/>
                  <a:pt x="297" y="73"/>
                </a:cubicBezTo>
                <a:cubicBezTo>
                  <a:pt x="298" y="73"/>
                  <a:pt x="299" y="73"/>
                  <a:pt x="299" y="73"/>
                </a:cubicBezTo>
                <a:cubicBezTo>
                  <a:pt x="300" y="73"/>
                  <a:pt x="300" y="73"/>
                  <a:pt x="300" y="73"/>
                </a:cubicBezTo>
                <a:cubicBezTo>
                  <a:pt x="301" y="73"/>
                  <a:pt x="301" y="73"/>
                  <a:pt x="301" y="73"/>
                </a:cubicBezTo>
                <a:cubicBezTo>
                  <a:pt x="304" y="72"/>
                  <a:pt x="308" y="71"/>
                  <a:pt x="311" y="70"/>
                </a:cubicBezTo>
                <a:cubicBezTo>
                  <a:pt x="312" y="69"/>
                  <a:pt x="313" y="69"/>
                  <a:pt x="315" y="69"/>
                </a:cubicBezTo>
                <a:cubicBezTo>
                  <a:pt x="316" y="69"/>
                  <a:pt x="317" y="69"/>
                  <a:pt x="318" y="69"/>
                </a:cubicBezTo>
                <a:cubicBezTo>
                  <a:pt x="318" y="69"/>
                  <a:pt x="318" y="69"/>
                  <a:pt x="318" y="69"/>
                </a:cubicBezTo>
                <a:cubicBezTo>
                  <a:pt x="319" y="69"/>
                  <a:pt x="320" y="69"/>
                  <a:pt x="320" y="69"/>
                </a:cubicBezTo>
                <a:cubicBezTo>
                  <a:pt x="325" y="70"/>
                  <a:pt x="325" y="70"/>
                  <a:pt x="325" y="70"/>
                </a:cubicBezTo>
                <a:cubicBezTo>
                  <a:pt x="325" y="68"/>
                  <a:pt x="325" y="67"/>
                  <a:pt x="324" y="66"/>
                </a:cubicBezTo>
                <a:cubicBezTo>
                  <a:pt x="324" y="65"/>
                  <a:pt x="323" y="65"/>
                  <a:pt x="323" y="65"/>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19" name="Freeform 3176">
            <a:extLst>
              <a:ext uri="{FF2B5EF4-FFF2-40B4-BE49-F238E27FC236}">
                <a16:creationId xmlns:a16="http://schemas.microsoft.com/office/drawing/2014/main" id="{BDDD6301-740C-4CD3-92D0-79E3E800EB81}"/>
              </a:ext>
            </a:extLst>
          </p:cNvPr>
          <p:cNvSpPr>
            <a:spLocks/>
          </p:cNvSpPr>
          <p:nvPr/>
        </p:nvSpPr>
        <p:spPr bwMode="auto">
          <a:xfrm>
            <a:off x="4828658" y="3102662"/>
            <a:ext cx="73839" cy="88446"/>
          </a:xfrm>
          <a:custGeom>
            <a:avLst/>
            <a:gdLst>
              <a:gd name="T0" fmla="*/ 62 w 63"/>
              <a:gd name="T1" fmla="*/ 6 h 63"/>
              <a:gd name="T2" fmla="*/ 58 w 63"/>
              <a:gd name="T3" fmla="*/ 3 h 63"/>
              <a:gd name="T4" fmla="*/ 59 w 63"/>
              <a:gd name="T5" fmla="*/ 2 h 63"/>
              <a:gd name="T6" fmla="*/ 58 w 63"/>
              <a:gd name="T7" fmla="*/ 0 h 63"/>
              <a:gd name="T8" fmla="*/ 57 w 63"/>
              <a:gd name="T9" fmla="*/ 0 h 63"/>
              <a:gd name="T10" fmla="*/ 57 w 63"/>
              <a:gd name="T11" fmla="*/ 4 h 63"/>
              <a:gd name="T12" fmla="*/ 55 w 63"/>
              <a:gd name="T13" fmla="*/ 6 h 63"/>
              <a:gd name="T14" fmla="*/ 51 w 63"/>
              <a:gd name="T15" fmla="*/ 8 h 63"/>
              <a:gd name="T16" fmla="*/ 48 w 63"/>
              <a:gd name="T17" fmla="*/ 11 h 63"/>
              <a:gd name="T18" fmla="*/ 43 w 63"/>
              <a:gd name="T19" fmla="*/ 12 h 63"/>
              <a:gd name="T20" fmla="*/ 40 w 63"/>
              <a:gd name="T21" fmla="*/ 15 h 63"/>
              <a:gd name="T22" fmla="*/ 41 w 63"/>
              <a:gd name="T23" fmla="*/ 17 h 63"/>
              <a:gd name="T24" fmla="*/ 38 w 63"/>
              <a:gd name="T25" fmla="*/ 20 h 63"/>
              <a:gd name="T26" fmla="*/ 35 w 63"/>
              <a:gd name="T27" fmla="*/ 20 h 63"/>
              <a:gd name="T28" fmla="*/ 29 w 63"/>
              <a:gd name="T29" fmla="*/ 19 h 63"/>
              <a:gd name="T30" fmla="*/ 26 w 63"/>
              <a:gd name="T31" fmla="*/ 15 h 63"/>
              <a:gd name="T32" fmla="*/ 26 w 63"/>
              <a:gd name="T33" fmla="*/ 15 h 63"/>
              <a:gd name="T34" fmla="*/ 25 w 63"/>
              <a:gd name="T35" fmla="*/ 16 h 63"/>
              <a:gd name="T36" fmla="*/ 20 w 63"/>
              <a:gd name="T37" fmla="*/ 24 h 63"/>
              <a:gd name="T38" fmla="*/ 17 w 63"/>
              <a:gd name="T39" fmla="*/ 26 h 63"/>
              <a:gd name="T40" fmla="*/ 15 w 63"/>
              <a:gd name="T41" fmla="*/ 27 h 63"/>
              <a:gd name="T42" fmla="*/ 13 w 63"/>
              <a:gd name="T43" fmla="*/ 27 h 63"/>
              <a:gd name="T44" fmla="*/ 2 w 63"/>
              <a:gd name="T45" fmla="*/ 35 h 63"/>
              <a:gd name="T46" fmla="*/ 1 w 63"/>
              <a:gd name="T47" fmla="*/ 37 h 63"/>
              <a:gd name="T48" fmla="*/ 0 w 63"/>
              <a:gd name="T49" fmla="*/ 36 h 63"/>
              <a:gd name="T50" fmla="*/ 3 w 63"/>
              <a:gd name="T51" fmla="*/ 40 h 63"/>
              <a:gd name="T52" fmla="*/ 7 w 63"/>
              <a:gd name="T53" fmla="*/ 40 h 63"/>
              <a:gd name="T54" fmla="*/ 10 w 63"/>
              <a:gd name="T55" fmla="*/ 46 h 63"/>
              <a:gd name="T56" fmla="*/ 13 w 63"/>
              <a:gd name="T57" fmla="*/ 52 h 63"/>
              <a:gd name="T58" fmla="*/ 9 w 63"/>
              <a:gd name="T59" fmla="*/ 52 h 63"/>
              <a:gd name="T60" fmla="*/ 6 w 63"/>
              <a:gd name="T61" fmla="*/ 55 h 63"/>
              <a:gd name="T62" fmla="*/ 3 w 63"/>
              <a:gd name="T63" fmla="*/ 58 h 63"/>
              <a:gd name="T64" fmla="*/ 7 w 63"/>
              <a:gd name="T65" fmla="*/ 61 h 63"/>
              <a:gd name="T66" fmla="*/ 9 w 63"/>
              <a:gd name="T67" fmla="*/ 62 h 63"/>
              <a:gd name="T68" fmla="*/ 11 w 63"/>
              <a:gd name="T69" fmla="*/ 62 h 63"/>
              <a:gd name="T70" fmla="*/ 10 w 63"/>
              <a:gd name="T71" fmla="*/ 63 h 63"/>
              <a:gd name="T72" fmla="*/ 14 w 63"/>
              <a:gd name="T73" fmla="*/ 60 h 63"/>
              <a:gd name="T74" fmla="*/ 17 w 63"/>
              <a:gd name="T75" fmla="*/ 62 h 63"/>
              <a:gd name="T76" fmla="*/ 23 w 63"/>
              <a:gd name="T77" fmla="*/ 61 h 63"/>
              <a:gd name="T78" fmla="*/ 23 w 63"/>
              <a:gd name="T79" fmla="*/ 61 h 63"/>
              <a:gd name="T80" fmla="*/ 25 w 63"/>
              <a:gd name="T81" fmla="*/ 58 h 63"/>
              <a:gd name="T82" fmla="*/ 27 w 63"/>
              <a:gd name="T83" fmla="*/ 56 h 63"/>
              <a:gd name="T84" fmla="*/ 31 w 63"/>
              <a:gd name="T85" fmla="*/ 55 h 63"/>
              <a:gd name="T86" fmla="*/ 38 w 63"/>
              <a:gd name="T87" fmla="*/ 55 h 63"/>
              <a:gd name="T88" fmla="*/ 39 w 63"/>
              <a:gd name="T89" fmla="*/ 54 h 63"/>
              <a:gd name="T90" fmla="*/ 40 w 63"/>
              <a:gd name="T91" fmla="*/ 52 h 63"/>
              <a:gd name="T92" fmla="*/ 40 w 63"/>
              <a:gd name="T93" fmla="*/ 51 h 63"/>
              <a:gd name="T94" fmla="*/ 38 w 63"/>
              <a:gd name="T95" fmla="*/ 49 h 63"/>
              <a:gd name="T96" fmla="*/ 32 w 63"/>
              <a:gd name="T97" fmla="*/ 45 h 63"/>
              <a:gd name="T98" fmla="*/ 33 w 63"/>
              <a:gd name="T99" fmla="*/ 44 h 63"/>
              <a:gd name="T100" fmla="*/ 33 w 63"/>
              <a:gd name="T101" fmla="*/ 41 h 63"/>
              <a:gd name="T102" fmla="*/ 40 w 63"/>
              <a:gd name="T103" fmla="*/ 35 h 63"/>
              <a:gd name="T104" fmla="*/ 55 w 63"/>
              <a:gd name="T105" fmla="*/ 25 h 63"/>
              <a:gd name="T106" fmla="*/ 55 w 63"/>
              <a:gd name="T107" fmla="*/ 21 h 63"/>
              <a:gd name="T108" fmla="*/ 55 w 63"/>
              <a:gd name="T109" fmla="*/ 19 h 63"/>
              <a:gd name="T110" fmla="*/ 62 w 63"/>
              <a:gd name="T111" fmla="*/ 8 h 63"/>
              <a:gd name="T112" fmla="*/ 62 w 63"/>
              <a:gd name="T113"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 h="63">
                <a:moveTo>
                  <a:pt x="62" y="6"/>
                </a:moveTo>
                <a:cubicBezTo>
                  <a:pt x="62" y="6"/>
                  <a:pt x="62" y="6"/>
                  <a:pt x="62" y="6"/>
                </a:cubicBezTo>
                <a:cubicBezTo>
                  <a:pt x="61" y="6"/>
                  <a:pt x="60" y="5"/>
                  <a:pt x="60" y="4"/>
                </a:cubicBezTo>
                <a:cubicBezTo>
                  <a:pt x="58" y="3"/>
                  <a:pt x="58" y="3"/>
                  <a:pt x="58" y="3"/>
                </a:cubicBezTo>
                <a:cubicBezTo>
                  <a:pt x="59" y="3"/>
                  <a:pt x="59" y="3"/>
                  <a:pt x="59" y="3"/>
                </a:cubicBezTo>
                <a:cubicBezTo>
                  <a:pt x="59" y="3"/>
                  <a:pt x="59" y="2"/>
                  <a:pt x="59" y="2"/>
                </a:cubicBezTo>
                <a:cubicBezTo>
                  <a:pt x="59" y="1"/>
                  <a:pt x="59" y="1"/>
                  <a:pt x="59" y="1"/>
                </a:cubicBezTo>
                <a:cubicBezTo>
                  <a:pt x="59" y="1"/>
                  <a:pt x="58" y="1"/>
                  <a:pt x="58" y="0"/>
                </a:cubicBezTo>
                <a:cubicBezTo>
                  <a:pt x="58" y="0"/>
                  <a:pt x="57" y="0"/>
                  <a:pt x="57" y="0"/>
                </a:cubicBezTo>
                <a:cubicBezTo>
                  <a:pt x="57" y="0"/>
                  <a:pt x="57" y="0"/>
                  <a:pt x="57" y="0"/>
                </a:cubicBezTo>
                <a:cubicBezTo>
                  <a:pt x="57" y="1"/>
                  <a:pt x="57" y="1"/>
                  <a:pt x="57" y="3"/>
                </a:cubicBezTo>
                <a:cubicBezTo>
                  <a:pt x="57" y="3"/>
                  <a:pt x="57" y="3"/>
                  <a:pt x="57" y="4"/>
                </a:cubicBezTo>
                <a:cubicBezTo>
                  <a:pt x="57" y="4"/>
                  <a:pt x="56" y="4"/>
                  <a:pt x="56" y="5"/>
                </a:cubicBezTo>
                <a:cubicBezTo>
                  <a:pt x="56" y="5"/>
                  <a:pt x="56" y="6"/>
                  <a:pt x="55" y="6"/>
                </a:cubicBezTo>
                <a:cubicBezTo>
                  <a:pt x="55" y="6"/>
                  <a:pt x="54" y="7"/>
                  <a:pt x="53" y="7"/>
                </a:cubicBezTo>
                <a:cubicBezTo>
                  <a:pt x="52" y="7"/>
                  <a:pt x="51" y="7"/>
                  <a:pt x="51" y="8"/>
                </a:cubicBezTo>
                <a:cubicBezTo>
                  <a:pt x="51" y="8"/>
                  <a:pt x="51" y="8"/>
                  <a:pt x="51" y="8"/>
                </a:cubicBezTo>
                <a:cubicBezTo>
                  <a:pt x="51" y="9"/>
                  <a:pt x="49" y="11"/>
                  <a:pt x="48" y="11"/>
                </a:cubicBezTo>
                <a:cubicBezTo>
                  <a:pt x="47" y="12"/>
                  <a:pt x="46" y="12"/>
                  <a:pt x="44" y="12"/>
                </a:cubicBezTo>
                <a:cubicBezTo>
                  <a:pt x="44" y="12"/>
                  <a:pt x="43" y="12"/>
                  <a:pt x="43" y="12"/>
                </a:cubicBezTo>
                <a:cubicBezTo>
                  <a:pt x="39" y="13"/>
                  <a:pt x="39" y="13"/>
                  <a:pt x="39" y="13"/>
                </a:cubicBezTo>
                <a:cubicBezTo>
                  <a:pt x="40" y="13"/>
                  <a:pt x="40" y="14"/>
                  <a:pt x="40" y="15"/>
                </a:cubicBezTo>
                <a:cubicBezTo>
                  <a:pt x="40" y="15"/>
                  <a:pt x="40" y="15"/>
                  <a:pt x="40" y="15"/>
                </a:cubicBezTo>
                <a:cubicBezTo>
                  <a:pt x="41" y="15"/>
                  <a:pt x="42" y="16"/>
                  <a:pt x="41" y="17"/>
                </a:cubicBezTo>
                <a:cubicBezTo>
                  <a:pt x="41" y="18"/>
                  <a:pt x="41" y="19"/>
                  <a:pt x="40" y="20"/>
                </a:cubicBezTo>
                <a:cubicBezTo>
                  <a:pt x="40" y="20"/>
                  <a:pt x="39" y="20"/>
                  <a:pt x="38" y="20"/>
                </a:cubicBezTo>
                <a:cubicBezTo>
                  <a:pt x="37" y="20"/>
                  <a:pt x="36" y="20"/>
                  <a:pt x="35" y="20"/>
                </a:cubicBezTo>
                <a:cubicBezTo>
                  <a:pt x="35" y="20"/>
                  <a:pt x="35" y="20"/>
                  <a:pt x="35" y="20"/>
                </a:cubicBezTo>
                <a:cubicBezTo>
                  <a:pt x="33" y="20"/>
                  <a:pt x="30" y="20"/>
                  <a:pt x="29" y="19"/>
                </a:cubicBezTo>
                <a:cubicBezTo>
                  <a:pt x="29" y="19"/>
                  <a:pt x="29" y="19"/>
                  <a:pt x="29" y="19"/>
                </a:cubicBezTo>
                <a:cubicBezTo>
                  <a:pt x="28" y="18"/>
                  <a:pt x="28" y="17"/>
                  <a:pt x="27" y="17"/>
                </a:cubicBezTo>
                <a:cubicBezTo>
                  <a:pt x="27" y="16"/>
                  <a:pt x="26" y="16"/>
                  <a:pt x="26" y="15"/>
                </a:cubicBezTo>
                <a:cubicBezTo>
                  <a:pt x="26" y="15"/>
                  <a:pt x="26" y="15"/>
                  <a:pt x="26" y="15"/>
                </a:cubicBezTo>
                <a:cubicBezTo>
                  <a:pt x="26" y="15"/>
                  <a:pt x="26" y="15"/>
                  <a:pt x="26" y="15"/>
                </a:cubicBezTo>
                <a:cubicBezTo>
                  <a:pt x="25" y="16"/>
                  <a:pt x="25" y="16"/>
                  <a:pt x="25" y="16"/>
                </a:cubicBezTo>
                <a:cubicBezTo>
                  <a:pt x="25" y="16"/>
                  <a:pt x="25" y="16"/>
                  <a:pt x="25" y="16"/>
                </a:cubicBezTo>
                <a:cubicBezTo>
                  <a:pt x="25" y="16"/>
                  <a:pt x="25" y="16"/>
                  <a:pt x="24" y="17"/>
                </a:cubicBezTo>
                <a:cubicBezTo>
                  <a:pt x="23" y="19"/>
                  <a:pt x="21" y="22"/>
                  <a:pt x="20" y="24"/>
                </a:cubicBezTo>
                <a:cubicBezTo>
                  <a:pt x="19" y="24"/>
                  <a:pt x="19" y="24"/>
                  <a:pt x="19" y="24"/>
                </a:cubicBezTo>
                <a:cubicBezTo>
                  <a:pt x="18" y="25"/>
                  <a:pt x="18" y="26"/>
                  <a:pt x="17" y="26"/>
                </a:cubicBezTo>
                <a:cubicBezTo>
                  <a:pt x="17" y="26"/>
                  <a:pt x="17" y="26"/>
                  <a:pt x="17" y="26"/>
                </a:cubicBezTo>
                <a:cubicBezTo>
                  <a:pt x="16" y="26"/>
                  <a:pt x="16" y="27"/>
                  <a:pt x="15" y="27"/>
                </a:cubicBezTo>
                <a:cubicBezTo>
                  <a:pt x="15" y="27"/>
                  <a:pt x="14" y="27"/>
                  <a:pt x="14" y="27"/>
                </a:cubicBezTo>
                <a:cubicBezTo>
                  <a:pt x="13" y="27"/>
                  <a:pt x="13" y="27"/>
                  <a:pt x="13" y="27"/>
                </a:cubicBezTo>
                <a:cubicBezTo>
                  <a:pt x="12" y="28"/>
                  <a:pt x="12" y="29"/>
                  <a:pt x="11" y="29"/>
                </a:cubicBezTo>
                <a:cubicBezTo>
                  <a:pt x="8" y="31"/>
                  <a:pt x="5" y="33"/>
                  <a:pt x="2" y="35"/>
                </a:cubicBezTo>
                <a:cubicBezTo>
                  <a:pt x="1" y="35"/>
                  <a:pt x="1" y="36"/>
                  <a:pt x="1" y="36"/>
                </a:cubicBezTo>
                <a:cubicBezTo>
                  <a:pt x="1" y="37"/>
                  <a:pt x="1" y="37"/>
                  <a:pt x="1" y="37"/>
                </a:cubicBezTo>
                <a:cubicBezTo>
                  <a:pt x="0" y="36"/>
                  <a:pt x="0" y="36"/>
                  <a:pt x="0" y="36"/>
                </a:cubicBezTo>
                <a:cubicBezTo>
                  <a:pt x="0" y="36"/>
                  <a:pt x="0" y="36"/>
                  <a:pt x="0" y="36"/>
                </a:cubicBezTo>
                <a:cubicBezTo>
                  <a:pt x="0" y="37"/>
                  <a:pt x="0" y="37"/>
                  <a:pt x="0" y="37"/>
                </a:cubicBezTo>
                <a:cubicBezTo>
                  <a:pt x="0" y="38"/>
                  <a:pt x="4" y="39"/>
                  <a:pt x="3" y="40"/>
                </a:cubicBezTo>
                <a:cubicBezTo>
                  <a:pt x="3" y="40"/>
                  <a:pt x="4" y="39"/>
                  <a:pt x="4" y="39"/>
                </a:cubicBezTo>
                <a:cubicBezTo>
                  <a:pt x="5" y="39"/>
                  <a:pt x="6" y="40"/>
                  <a:pt x="7" y="40"/>
                </a:cubicBezTo>
                <a:cubicBezTo>
                  <a:pt x="9" y="41"/>
                  <a:pt x="10" y="41"/>
                  <a:pt x="11" y="41"/>
                </a:cubicBezTo>
                <a:cubicBezTo>
                  <a:pt x="11" y="42"/>
                  <a:pt x="10" y="44"/>
                  <a:pt x="10" y="46"/>
                </a:cubicBezTo>
                <a:cubicBezTo>
                  <a:pt x="9" y="47"/>
                  <a:pt x="8" y="48"/>
                  <a:pt x="8" y="49"/>
                </a:cubicBezTo>
                <a:cubicBezTo>
                  <a:pt x="8" y="51"/>
                  <a:pt x="12" y="50"/>
                  <a:pt x="13" y="52"/>
                </a:cubicBezTo>
                <a:cubicBezTo>
                  <a:pt x="12" y="52"/>
                  <a:pt x="12" y="51"/>
                  <a:pt x="11" y="51"/>
                </a:cubicBezTo>
                <a:cubicBezTo>
                  <a:pt x="10" y="51"/>
                  <a:pt x="9" y="52"/>
                  <a:pt x="9" y="52"/>
                </a:cubicBezTo>
                <a:cubicBezTo>
                  <a:pt x="8" y="52"/>
                  <a:pt x="8" y="52"/>
                  <a:pt x="8" y="52"/>
                </a:cubicBezTo>
                <a:cubicBezTo>
                  <a:pt x="7" y="53"/>
                  <a:pt x="7" y="55"/>
                  <a:pt x="6" y="55"/>
                </a:cubicBezTo>
                <a:cubicBezTo>
                  <a:pt x="6" y="56"/>
                  <a:pt x="5" y="57"/>
                  <a:pt x="6" y="57"/>
                </a:cubicBezTo>
                <a:cubicBezTo>
                  <a:pt x="5" y="57"/>
                  <a:pt x="4" y="58"/>
                  <a:pt x="3" y="58"/>
                </a:cubicBezTo>
                <a:cubicBezTo>
                  <a:pt x="5" y="59"/>
                  <a:pt x="7" y="59"/>
                  <a:pt x="8" y="60"/>
                </a:cubicBezTo>
                <a:cubicBezTo>
                  <a:pt x="7" y="60"/>
                  <a:pt x="6" y="60"/>
                  <a:pt x="7" y="61"/>
                </a:cubicBezTo>
                <a:cubicBezTo>
                  <a:pt x="7" y="61"/>
                  <a:pt x="9" y="61"/>
                  <a:pt x="9" y="62"/>
                </a:cubicBezTo>
                <a:cubicBezTo>
                  <a:pt x="9" y="62"/>
                  <a:pt x="9" y="62"/>
                  <a:pt x="9" y="62"/>
                </a:cubicBezTo>
                <a:cubicBezTo>
                  <a:pt x="10" y="62"/>
                  <a:pt x="11" y="60"/>
                  <a:pt x="12" y="62"/>
                </a:cubicBezTo>
                <a:cubicBezTo>
                  <a:pt x="12" y="62"/>
                  <a:pt x="11" y="62"/>
                  <a:pt x="11" y="62"/>
                </a:cubicBezTo>
                <a:cubicBezTo>
                  <a:pt x="11" y="62"/>
                  <a:pt x="11" y="62"/>
                  <a:pt x="11" y="62"/>
                </a:cubicBezTo>
                <a:cubicBezTo>
                  <a:pt x="10" y="62"/>
                  <a:pt x="10" y="63"/>
                  <a:pt x="10" y="63"/>
                </a:cubicBezTo>
                <a:cubicBezTo>
                  <a:pt x="11" y="63"/>
                  <a:pt x="12" y="62"/>
                  <a:pt x="13" y="61"/>
                </a:cubicBezTo>
                <a:cubicBezTo>
                  <a:pt x="13" y="61"/>
                  <a:pt x="13" y="60"/>
                  <a:pt x="14" y="60"/>
                </a:cubicBezTo>
                <a:cubicBezTo>
                  <a:pt x="14" y="60"/>
                  <a:pt x="13" y="60"/>
                  <a:pt x="13" y="59"/>
                </a:cubicBezTo>
                <a:cubicBezTo>
                  <a:pt x="14" y="60"/>
                  <a:pt x="15" y="61"/>
                  <a:pt x="17" y="62"/>
                </a:cubicBezTo>
                <a:cubicBezTo>
                  <a:pt x="18" y="62"/>
                  <a:pt x="18" y="63"/>
                  <a:pt x="19" y="62"/>
                </a:cubicBezTo>
                <a:cubicBezTo>
                  <a:pt x="21" y="61"/>
                  <a:pt x="21" y="61"/>
                  <a:pt x="23" y="61"/>
                </a:cubicBezTo>
                <a:cubicBezTo>
                  <a:pt x="22" y="61"/>
                  <a:pt x="22" y="61"/>
                  <a:pt x="22" y="61"/>
                </a:cubicBezTo>
                <a:cubicBezTo>
                  <a:pt x="23" y="61"/>
                  <a:pt x="23" y="61"/>
                  <a:pt x="23" y="61"/>
                </a:cubicBezTo>
                <a:cubicBezTo>
                  <a:pt x="23" y="60"/>
                  <a:pt x="24" y="59"/>
                  <a:pt x="24" y="59"/>
                </a:cubicBezTo>
                <a:cubicBezTo>
                  <a:pt x="25" y="58"/>
                  <a:pt x="25" y="58"/>
                  <a:pt x="25" y="58"/>
                </a:cubicBezTo>
                <a:cubicBezTo>
                  <a:pt x="25" y="58"/>
                  <a:pt x="25" y="58"/>
                  <a:pt x="25" y="58"/>
                </a:cubicBezTo>
                <a:cubicBezTo>
                  <a:pt x="26" y="57"/>
                  <a:pt x="26" y="56"/>
                  <a:pt x="27" y="56"/>
                </a:cubicBezTo>
                <a:cubicBezTo>
                  <a:pt x="28" y="55"/>
                  <a:pt x="29" y="55"/>
                  <a:pt x="30" y="55"/>
                </a:cubicBezTo>
                <a:cubicBezTo>
                  <a:pt x="30" y="55"/>
                  <a:pt x="31" y="55"/>
                  <a:pt x="31" y="55"/>
                </a:cubicBezTo>
                <a:cubicBezTo>
                  <a:pt x="37" y="55"/>
                  <a:pt x="37" y="55"/>
                  <a:pt x="37" y="55"/>
                </a:cubicBezTo>
                <a:cubicBezTo>
                  <a:pt x="37" y="55"/>
                  <a:pt x="37" y="55"/>
                  <a:pt x="38" y="55"/>
                </a:cubicBezTo>
                <a:cubicBezTo>
                  <a:pt x="38" y="55"/>
                  <a:pt x="38" y="54"/>
                  <a:pt x="38" y="54"/>
                </a:cubicBezTo>
                <a:cubicBezTo>
                  <a:pt x="38" y="54"/>
                  <a:pt x="38" y="54"/>
                  <a:pt x="39" y="54"/>
                </a:cubicBezTo>
                <a:cubicBezTo>
                  <a:pt x="40" y="52"/>
                  <a:pt x="40" y="52"/>
                  <a:pt x="40" y="52"/>
                </a:cubicBezTo>
                <a:cubicBezTo>
                  <a:pt x="40" y="52"/>
                  <a:pt x="40" y="52"/>
                  <a:pt x="40" y="52"/>
                </a:cubicBezTo>
                <a:cubicBezTo>
                  <a:pt x="40" y="51"/>
                  <a:pt x="40" y="51"/>
                  <a:pt x="40" y="51"/>
                </a:cubicBezTo>
                <a:cubicBezTo>
                  <a:pt x="40" y="51"/>
                  <a:pt x="40" y="51"/>
                  <a:pt x="40" y="51"/>
                </a:cubicBezTo>
                <a:cubicBezTo>
                  <a:pt x="40" y="51"/>
                  <a:pt x="40" y="51"/>
                  <a:pt x="40" y="51"/>
                </a:cubicBezTo>
                <a:cubicBezTo>
                  <a:pt x="39" y="50"/>
                  <a:pt x="38" y="49"/>
                  <a:pt x="38" y="49"/>
                </a:cubicBezTo>
                <a:cubicBezTo>
                  <a:pt x="37" y="48"/>
                  <a:pt x="36" y="47"/>
                  <a:pt x="35" y="46"/>
                </a:cubicBezTo>
                <a:cubicBezTo>
                  <a:pt x="34" y="46"/>
                  <a:pt x="33" y="46"/>
                  <a:pt x="32" y="45"/>
                </a:cubicBezTo>
                <a:cubicBezTo>
                  <a:pt x="30" y="45"/>
                  <a:pt x="31" y="44"/>
                  <a:pt x="32" y="43"/>
                </a:cubicBezTo>
                <a:cubicBezTo>
                  <a:pt x="32" y="43"/>
                  <a:pt x="32" y="44"/>
                  <a:pt x="33" y="44"/>
                </a:cubicBezTo>
                <a:cubicBezTo>
                  <a:pt x="33" y="43"/>
                  <a:pt x="32" y="43"/>
                  <a:pt x="32" y="42"/>
                </a:cubicBezTo>
                <a:cubicBezTo>
                  <a:pt x="33" y="42"/>
                  <a:pt x="33" y="41"/>
                  <a:pt x="33" y="41"/>
                </a:cubicBezTo>
                <a:cubicBezTo>
                  <a:pt x="33" y="40"/>
                  <a:pt x="32" y="40"/>
                  <a:pt x="32" y="39"/>
                </a:cubicBezTo>
                <a:cubicBezTo>
                  <a:pt x="32" y="37"/>
                  <a:pt x="39" y="36"/>
                  <a:pt x="40" y="35"/>
                </a:cubicBezTo>
                <a:cubicBezTo>
                  <a:pt x="44" y="34"/>
                  <a:pt x="46" y="31"/>
                  <a:pt x="49" y="29"/>
                </a:cubicBezTo>
                <a:cubicBezTo>
                  <a:pt x="51" y="28"/>
                  <a:pt x="55" y="26"/>
                  <a:pt x="55" y="25"/>
                </a:cubicBezTo>
                <a:cubicBezTo>
                  <a:pt x="55" y="24"/>
                  <a:pt x="55" y="24"/>
                  <a:pt x="55" y="23"/>
                </a:cubicBezTo>
                <a:cubicBezTo>
                  <a:pt x="55" y="23"/>
                  <a:pt x="55" y="22"/>
                  <a:pt x="55" y="21"/>
                </a:cubicBezTo>
                <a:cubicBezTo>
                  <a:pt x="55" y="21"/>
                  <a:pt x="55" y="20"/>
                  <a:pt x="56" y="20"/>
                </a:cubicBezTo>
                <a:cubicBezTo>
                  <a:pt x="56" y="19"/>
                  <a:pt x="55" y="19"/>
                  <a:pt x="55" y="19"/>
                </a:cubicBezTo>
                <a:cubicBezTo>
                  <a:pt x="56" y="15"/>
                  <a:pt x="57" y="12"/>
                  <a:pt x="60" y="9"/>
                </a:cubicBezTo>
                <a:cubicBezTo>
                  <a:pt x="61" y="9"/>
                  <a:pt x="62" y="8"/>
                  <a:pt x="62" y="8"/>
                </a:cubicBezTo>
                <a:cubicBezTo>
                  <a:pt x="62" y="8"/>
                  <a:pt x="63" y="8"/>
                  <a:pt x="63" y="8"/>
                </a:cubicBezTo>
                <a:cubicBezTo>
                  <a:pt x="63" y="7"/>
                  <a:pt x="62" y="7"/>
                  <a:pt x="62" y="6"/>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20" name="Freeform 3177">
            <a:extLst>
              <a:ext uri="{FF2B5EF4-FFF2-40B4-BE49-F238E27FC236}">
                <a16:creationId xmlns:a16="http://schemas.microsoft.com/office/drawing/2014/main" id="{F922A4EE-00CA-4580-9D2D-C0C1EBA4CD89}"/>
              </a:ext>
            </a:extLst>
          </p:cNvPr>
          <p:cNvSpPr>
            <a:spLocks/>
          </p:cNvSpPr>
          <p:nvPr/>
        </p:nvSpPr>
        <p:spPr bwMode="auto">
          <a:xfrm>
            <a:off x="4849471" y="3178642"/>
            <a:ext cx="41132" cy="68857"/>
          </a:xfrm>
          <a:custGeom>
            <a:avLst/>
            <a:gdLst>
              <a:gd name="T0" fmla="*/ 33 w 35"/>
              <a:gd name="T1" fmla="*/ 16 h 49"/>
              <a:gd name="T2" fmla="*/ 29 w 35"/>
              <a:gd name="T3" fmla="*/ 8 h 49"/>
              <a:gd name="T4" fmla="*/ 24 w 35"/>
              <a:gd name="T5" fmla="*/ 0 h 49"/>
              <a:gd name="T6" fmla="*/ 22 w 35"/>
              <a:gd name="T7" fmla="*/ 2 h 49"/>
              <a:gd name="T8" fmla="*/ 21 w 35"/>
              <a:gd name="T9" fmla="*/ 3 h 49"/>
              <a:gd name="T10" fmla="*/ 13 w 35"/>
              <a:gd name="T11" fmla="*/ 4 h 49"/>
              <a:gd name="T12" fmla="*/ 10 w 35"/>
              <a:gd name="T13" fmla="*/ 4 h 49"/>
              <a:gd name="T14" fmla="*/ 9 w 35"/>
              <a:gd name="T15" fmla="*/ 5 h 49"/>
              <a:gd name="T16" fmla="*/ 8 w 35"/>
              <a:gd name="T17" fmla="*/ 6 h 49"/>
              <a:gd name="T18" fmla="*/ 7 w 35"/>
              <a:gd name="T19" fmla="*/ 8 h 49"/>
              <a:gd name="T20" fmla="*/ 6 w 35"/>
              <a:gd name="T21" fmla="*/ 9 h 49"/>
              <a:gd name="T22" fmla="*/ 5 w 35"/>
              <a:gd name="T23" fmla="*/ 9 h 49"/>
              <a:gd name="T24" fmla="*/ 5 w 35"/>
              <a:gd name="T25" fmla="*/ 9 h 49"/>
              <a:gd name="T26" fmla="*/ 5 w 35"/>
              <a:gd name="T27" fmla="*/ 11 h 49"/>
              <a:gd name="T28" fmla="*/ 8 w 35"/>
              <a:gd name="T29" fmla="*/ 14 h 49"/>
              <a:gd name="T30" fmla="*/ 8 w 35"/>
              <a:gd name="T31" fmla="*/ 16 h 49"/>
              <a:gd name="T32" fmla="*/ 8 w 35"/>
              <a:gd name="T33" fmla="*/ 17 h 49"/>
              <a:gd name="T34" fmla="*/ 7 w 35"/>
              <a:gd name="T35" fmla="*/ 20 h 49"/>
              <a:gd name="T36" fmla="*/ 6 w 35"/>
              <a:gd name="T37" fmla="*/ 18 h 49"/>
              <a:gd name="T38" fmla="*/ 5 w 35"/>
              <a:gd name="T39" fmla="*/ 18 h 49"/>
              <a:gd name="T40" fmla="*/ 4 w 35"/>
              <a:gd name="T41" fmla="*/ 19 h 49"/>
              <a:gd name="T42" fmla="*/ 2 w 35"/>
              <a:gd name="T43" fmla="*/ 20 h 49"/>
              <a:gd name="T44" fmla="*/ 1 w 35"/>
              <a:gd name="T45" fmla="*/ 20 h 49"/>
              <a:gd name="T46" fmla="*/ 0 w 35"/>
              <a:gd name="T47" fmla="*/ 20 h 49"/>
              <a:gd name="T48" fmla="*/ 4 w 35"/>
              <a:gd name="T49" fmla="*/ 22 h 49"/>
              <a:gd name="T50" fmla="*/ 4 w 35"/>
              <a:gd name="T51" fmla="*/ 28 h 49"/>
              <a:gd name="T52" fmla="*/ 5 w 35"/>
              <a:gd name="T53" fmla="*/ 30 h 49"/>
              <a:gd name="T54" fmla="*/ 7 w 35"/>
              <a:gd name="T55" fmla="*/ 32 h 49"/>
              <a:gd name="T56" fmla="*/ 6 w 35"/>
              <a:gd name="T57" fmla="*/ 34 h 49"/>
              <a:gd name="T58" fmla="*/ 3 w 35"/>
              <a:gd name="T59" fmla="*/ 41 h 49"/>
              <a:gd name="T60" fmla="*/ 2 w 35"/>
              <a:gd name="T61" fmla="*/ 42 h 49"/>
              <a:gd name="T62" fmla="*/ 5 w 35"/>
              <a:gd name="T63" fmla="*/ 43 h 49"/>
              <a:gd name="T64" fmla="*/ 3 w 35"/>
              <a:gd name="T65" fmla="*/ 44 h 49"/>
              <a:gd name="T66" fmla="*/ 4 w 35"/>
              <a:gd name="T67" fmla="*/ 45 h 49"/>
              <a:gd name="T68" fmla="*/ 2 w 35"/>
              <a:gd name="T69" fmla="*/ 45 h 49"/>
              <a:gd name="T70" fmla="*/ 4 w 35"/>
              <a:gd name="T71" fmla="*/ 49 h 49"/>
              <a:gd name="T72" fmla="*/ 13 w 35"/>
              <a:gd name="T73" fmla="*/ 44 h 49"/>
              <a:gd name="T74" fmla="*/ 13 w 35"/>
              <a:gd name="T75" fmla="*/ 47 h 49"/>
              <a:gd name="T76" fmla="*/ 14 w 35"/>
              <a:gd name="T77" fmla="*/ 45 h 49"/>
              <a:gd name="T78" fmla="*/ 16 w 35"/>
              <a:gd name="T79" fmla="*/ 45 h 49"/>
              <a:gd name="T80" fmla="*/ 17 w 35"/>
              <a:gd name="T81" fmla="*/ 41 h 49"/>
              <a:gd name="T82" fmla="*/ 22 w 35"/>
              <a:gd name="T83" fmla="*/ 42 h 49"/>
              <a:gd name="T84" fmla="*/ 24 w 35"/>
              <a:gd name="T85" fmla="*/ 41 h 49"/>
              <a:gd name="T86" fmla="*/ 26 w 35"/>
              <a:gd name="T87" fmla="*/ 38 h 49"/>
              <a:gd name="T88" fmla="*/ 30 w 35"/>
              <a:gd name="T89" fmla="*/ 40 h 49"/>
              <a:gd name="T90" fmla="*/ 35 w 35"/>
              <a:gd name="T91" fmla="*/ 2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 h="49">
                <a:moveTo>
                  <a:pt x="33" y="29"/>
                </a:moveTo>
                <a:cubicBezTo>
                  <a:pt x="34" y="25"/>
                  <a:pt x="33" y="20"/>
                  <a:pt x="33" y="16"/>
                </a:cubicBezTo>
                <a:cubicBezTo>
                  <a:pt x="33" y="15"/>
                  <a:pt x="32" y="14"/>
                  <a:pt x="32" y="14"/>
                </a:cubicBezTo>
                <a:cubicBezTo>
                  <a:pt x="31" y="12"/>
                  <a:pt x="30" y="10"/>
                  <a:pt x="29" y="8"/>
                </a:cubicBezTo>
                <a:cubicBezTo>
                  <a:pt x="27" y="5"/>
                  <a:pt x="25" y="2"/>
                  <a:pt x="24" y="0"/>
                </a:cubicBezTo>
                <a:cubicBezTo>
                  <a:pt x="24" y="0"/>
                  <a:pt x="24" y="0"/>
                  <a:pt x="24" y="0"/>
                </a:cubicBezTo>
                <a:cubicBezTo>
                  <a:pt x="23" y="0"/>
                  <a:pt x="23" y="0"/>
                  <a:pt x="23" y="1"/>
                </a:cubicBezTo>
                <a:cubicBezTo>
                  <a:pt x="22" y="2"/>
                  <a:pt x="22" y="2"/>
                  <a:pt x="22" y="2"/>
                </a:cubicBezTo>
                <a:cubicBezTo>
                  <a:pt x="22" y="2"/>
                  <a:pt x="22" y="2"/>
                  <a:pt x="22" y="2"/>
                </a:cubicBezTo>
                <a:cubicBezTo>
                  <a:pt x="22" y="2"/>
                  <a:pt x="21" y="3"/>
                  <a:pt x="21" y="3"/>
                </a:cubicBezTo>
                <a:cubicBezTo>
                  <a:pt x="20" y="3"/>
                  <a:pt x="20" y="3"/>
                  <a:pt x="20" y="3"/>
                </a:cubicBezTo>
                <a:cubicBezTo>
                  <a:pt x="13" y="4"/>
                  <a:pt x="13" y="4"/>
                  <a:pt x="13" y="4"/>
                </a:cubicBezTo>
                <a:cubicBezTo>
                  <a:pt x="13" y="4"/>
                  <a:pt x="12" y="4"/>
                  <a:pt x="12" y="4"/>
                </a:cubicBezTo>
                <a:cubicBezTo>
                  <a:pt x="11" y="4"/>
                  <a:pt x="10" y="4"/>
                  <a:pt x="10" y="4"/>
                </a:cubicBezTo>
                <a:cubicBezTo>
                  <a:pt x="10" y="4"/>
                  <a:pt x="10" y="4"/>
                  <a:pt x="9" y="5"/>
                </a:cubicBezTo>
                <a:cubicBezTo>
                  <a:pt x="9" y="5"/>
                  <a:pt x="9" y="5"/>
                  <a:pt x="9" y="5"/>
                </a:cubicBezTo>
                <a:cubicBezTo>
                  <a:pt x="9" y="6"/>
                  <a:pt x="9" y="6"/>
                  <a:pt x="8" y="6"/>
                </a:cubicBezTo>
                <a:cubicBezTo>
                  <a:pt x="8" y="6"/>
                  <a:pt x="8" y="6"/>
                  <a:pt x="8" y="6"/>
                </a:cubicBezTo>
                <a:cubicBezTo>
                  <a:pt x="8" y="7"/>
                  <a:pt x="7" y="7"/>
                  <a:pt x="7" y="8"/>
                </a:cubicBezTo>
                <a:cubicBezTo>
                  <a:pt x="7" y="8"/>
                  <a:pt x="7" y="8"/>
                  <a:pt x="7" y="8"/>
                </a:cubicBezTo>
                <a:cubicBezTo>
                  <a:pt x="7" y="8"/>
                  <a:pt x="7" y="8"/>
                  <a:pt x="7" y="8"/>
                </a:cubicBezTo>
                <a:cubicBezTo>
                  <a:pt x="7" y="9"/>
                  <a:pt x="6" y="9"/>
                  <a:pt x="6" y="9"/>
                </a:cubicBezTo>
                <a:cubicBezTo>
                  <a:pt x="6" y="9"/>
                  <a:pt x="6" y="10"/>
                  <a:pt x="6" y="10"/>
                </a:cubicBezTo>
                <a:cubicBezTo>
                  <a:pt x="6" y="10"/>
                  <a:pt x="6" y="9"/>
                  <a:pt x="5" y="9"/>
                </a:cubicBezTo>
                <a:cubicBezTo>
                  <a:pt x="5" y="9"/>
                  <a:pt x="5" y="9"/>
                  <a:pt x="5" y="9"/>
                </a:cubicBezTo>
                <a:cubicBezTo>
                  <a:pt x="5" y="9"/>
                  <a:pt x="5" y="9"/>
                  <a:pt x="5" y="9"/>
                </a:cubicBezTo>
                <a:cubicBezTo>
                  <a:pt x="5" y="9"/>
                  <a:pt x="4" y="9"/>
                  <a:pt x="4" y="9"/>
                </a:cubicBezTo>
                <a:cubicBezTo>
                  <a:pt x="4" y="10"/>
                  <a:pt x="5" y="10"/>
                  <a:pt x="5" y="11"/>
                </a:cubicBezTo>
                <a:cubicBezTo>
                  <a:pt x="6" y="11"/>
                  <a:pt x="6" y="12"/>
                  <a:pt x="6" y="13"/>
                </a:cubicBezTo>
                <a:cubicBezTo>
                  <a:pt x="7" y="13"/>
                  <a:pt x="7" y="14"/>
                  <a:pt x="8" y="14"/>
                </a:cubicBezTo>
                <a:cubicBezTo>
                  <a:pt x="7" y="14"/>
                  <a:pt x="6" y="15"/>
                  <a:pt x="6" y="16"/>
                </a:cubicBezTo>
                <a:cubicBezTo>
                  <a:pt x="6" y="16"/>
                  <a:pt x="7" y="15"/>
                  <a:pt x="8" y="16"/>
                </a:cubicBezTo>
                <a:cubicBezTo>
                  <a:pt x="7" y="16"/>
                  <a:pt x="7" y="16"/>
                  <a:pt x="7" y="17"/>
                </a:cubicBezTo>
                <a:cubicBezTo>
                  <a:pt x="7" y="17"/>
                  <a:pt x="7" y="17"/>
                  <a:pt x="8" y="17"/>
                </a:cubicBezTo>
                <a:cubicBezTo>
                  <a:pt x="7" y="18"/>
                  <a:pt x="8" y="18"/>
                  <a:pt x="9" y="18"/>
                </a:cubicBezTo>
                <a:cubicBezTo>
                  <a:pt x="8" y="19"/>
                  <a:pt x="8" y="19"/>
                  <a:pt x="7" y="20"/>
                </a:cubicBezTo>
                <a:cubicBezTo>
                  <a:pt x="7" y="20"/>
                  <a:pt x="8" y="18"/>
                  <a:pt x="7" y="19"/>
                </a:cubicBezTo>
                <a:cubicBezTo>
                  <a:pt x="7" y="18"/>
                  <a:pt x="7" y="18"/>
                  <a:pt x="6" y="18"/>
                </a:cubicBezTo>
                <a:cubicBezTo>
                  <a:pt x="6" y="18"/>
                  <a:pt x="6" y="18"/>
                  <a:pt x="6" y="18"/>
                </a:cubicBezTo>
                <a:cubicBezTo>
                  <a:pt x="6" y="18"/>
                  <a:pt x="5" y="18"/>
                  <a:pt x="5" y="18"/>
                </a:cubicBezTo>
                <a:cubicBezTo>
                  <a:pt x="5" y="18"/>
                  <a:pt x="5" y="17"/>
                  <a:pt x="5" y="17"/>
                </a:cubicBezTo>
                <a:cubicBezTo>
                  <a:pt x="4" y="16"/>
                  <a:pt x="4" y="18"/>
                  <a:pt x="4" y="19"/>
                </a:cubicBezTo>
                <a:cubicBezTo>
                  <a:pt x="4" y="19"/>
                  <a:pt x="3" y="17"/>
                  <a:pt x="3" y="17"/>
                </a:cubicBezTo>
                <a:cubicBezTo>
                  <a:pt x="2" y="17"/>
                  <a:pt x="2" y="19"/>
                  <a:pt x="2" y="20"/>
                </a:cubicBezTo>
                <a:cubicBezTo>
                  <a:pt x="2" y="19"/>
                  <a:pt x="2" y="19"/>
                  <a:pt x="2" y="18"/>
                </a:cubicBezTo>
                <a:cubicBezTo>
                  <a:pt x="1" y="20"/>
                  <a:pt x="1" y="18"/>
                  <a:pt x="1" y="20"/>
                </a:cubicBezTo>
                <a:cubicBezTo>
                  <a:pt x="1" y="20"/>
                  <a:pt x="1" y="19"/>
                  <a:pt x="1" y="19"/>
                </a:cubicBezTo>
                <a:cubicBezTo>
                  <a:pt x="0" y="20"/>
                  <a:pt x="0" y="20"/>
                  <a:pt x="0" y="20"/>
                </a:cubicBezTo>
                <a:cubicBezTo>
                  <a:pt x="1" y="21"/>
                  <a:pt x="3" y="20"/>
                  <a:pt x="3" y="21"/>
                </a:cubicBezTo>
                <a:cubicBezTo>
                  <a:pt x="4" y="20"/>
                  <a:pt x="4" y="21"/>
                  <a:pt x="4" y="22"/>
                </a:cubicBezTo>
                <a:cubicBezTo>
                  <a:pt x="4" y="23"/>
                  <a:pt x="4" y="23"/>
                  <a:pt x="4" y="24"/>
                </a:cubicBezTo>
                <a:cubicBezTo>
                  <a:pt x="4" y="25"/>
                  <a:pt x="5" y="27"/>
                  <a:pt x="4" y="28"/>
                </a:cubicBezTo>
                <a:cubicBezTo>
                  <a:pt x="5" y="28"/>
                  <a:pt x="6" y="28"/>
                  <a:pt x="8" y="28"/>
                </a:cubicBezTo>
                <a:cubicBezTo>
                  <a:pt x="7" y="29"/>
                  <a:pt x="5" y="30"/>
                  <a:pt x="5" y="30"/>
                </a:cubicBezTo>
                <a:cubicBezTo>
                  <a:pt x="5" y="31"/>
                  <a:pt x="5" y="30"/>
                  <a:pt x="5" y="30"/>
                </a:cubicBezTo>
                <a:cubicBezTo>
                  <a:pt x="5" y="30"/>
                  <a:pt x="7" y="32"/>
                  <a:pt x="7" y="32"/>
                </a:cubicBezTo>
                <a:cubicBezTo>
                  <a:pt x="6" y="32"/>
                  <a:pt x="3" y="33"/>
                  <a:pt x="4" y="34"/>
                </a:cubicBezTo>
                <a:cubicBezTo>
                  <a:pt x="4" y="34"/>
                  <a:pt x="5" y="34"/>
                  <a:pt x="6" y="34"/>
                </a:cubicBezTo>
                <a:cubicBezTo>
                  <a:pt x="4" y="35"/>
                  <a:pt x="3" y="36"/>
                  <a:pt x="2" y="38"/>
                </a:cubicBezTo>
                <a:cubicBezTo>
                  <a:pt x="2" y="39"/>
                  <a:pt x="3" y="40"/>
                  <a:pt x="3" y="41"/>
                </a:cubicBezTo>
                <a:cubicBezTo>
                  <a:pt x="3" y="40"/>
                  <a:pt x="2" y="40"/>
                  <a:pt x="1" y="40"/>
                </a:cubicBezTo>
                <a:cubicBezTo>
                  <a:pt x="2" y="40"/>
                  <a:pt x="2" y="41"/>
                  <a:pt x="2" y="42"/>
                </a:cubicBezTo>
                <a:cubicBezTo>
                  <a:pt x="3" y="43"/>
                  <a:pt x="3" y="43"/>
                  <a:pt x="3" y="43"/>
                </a:cubicBezTo>
                <a:cubicBezTo>
                  <a:pt x="4" y="43"/>
                  <a:pt x="5" y="42"/>
                  <a:pt x="5" y="43"/>
                </a:cubicBezTo>
                <a:cubicBezTo>
                  <a:pt x="5" y="43"/>
                  <a:pt x="4" y="43"/>
                  <a:pt x="4" y="43"/>
                </a:cubicBezTo>
                <a:cubicBezTo>
                  <a:pt x="4" y="44"/>
                  <a:pt x="3" y="44"/>
                  <a:pt x="3" y="44"/>
                </a:cubicBezTo>
                <a:cubicBezTo>
                  <a:pt x="4" y="44"/>
                  <a:pt x="5" y="44"/>
                  <a:pt x="5" y="45"/>
                </a:cubicBezTo>
                <a:cubicBezTo>
                  <a:pt x="5" y="45"/>
                  <a:pt x="5" y="45"/>
                  <a:pt x="4" y="45"/>
                </a:cubicBezTo>
                <a:cubicBezTo>
                  <a:pt x="4" y="45"/>
                  <a:pt x="3" y="46"/>
                  <a:pt x="4" y="46"/>
                </a:cubicBezTo>
                <a:cubicBezTo>
                  <a:pt x="3" y="46"/>
                  <a:pt x="2" y="45"/>
                  <a:pt x="2" y="45"/>
                </a:cubicBezTo>
                <a:cubicBezTo>
                  <a:pt x="2" y="46"/>
                  <a:pt x="2" y="45"/>
                  <a:pt x="3" y="46"/>
                </a:cubicBezTo>
                <a:cubicBezTo>
                  <a:pt x="3" y="47"/>
                  <a:pt x="4" y="48"/>
                  <a:pt x="4" y="49"/>
                </a:cubicBezTo>
                <a:cubicBezTo>
                  <a:pt x="6" y="47"/>
                  <a:pt x="6" y="46"/>
                  <a:pt x="9" y="45"/>
                </a:cubicBezTo>
                <a:cubicBezTo>
                  <a:pt x="9" y="45"/>
                  <a:pt x="12" y="43"/>
                  <a:pt x="13" y="44"/>
                </a:cubicBezTo>
                <a:cubicBezTo>
                  <a:pt x="13" y="44"/>
                  <a:pt x="10" y="45"/>
                  <a:pt x="10" y="46"/>
                </a:cubicBezTo>
                <a:cubicBezTo>
                  <a:pt x="10" y="46"/>
                  <a:pt x="13" y="47"/>
                  <a:pt x="13" y="47"/>
                </a:cubicBezTo>
                <a:cubicBezTo>
                  <a:pt x="13" y="47"/>
                  <a:pt x="14" y="45"/>
                  <a:pt x="14" y="45"/>
                </a:cubicBezTo>
                <a:cubicBezTo>
                  <a:pt x="14" y="45"/>
                  <a:pt x="14" y="45"/>
                  <a:pt x="14" y="45"/>
                </a:cubicBezTo>
                <a:cubicBezTo>
                  <a:pt x="13" y="44"/>
                  <a:pt x="14" y="43"/>
                  <a:pt x="14" y="42"/>
                </a:cubicBezTo>
                <a:cubicBezTo>
                  <a:pt x="14" y="43"/>
                  <a:pt x="15" y="45"/>
                  <a:pt x="16" y="45"/>
                </a:cubicBezTo>
                <a:cubicBezTo>
                  <a:pt x="16" y="44"/>
                  <a:pt x="17" y="44"/>
                  <a:pt x="17" y="43"/>
                </a:cubicBezTo>
                <a:cubicBezTo>
                  <a:pt x="17" y="43"/>
                  <a:pt x="17" y="42"/>
                  <a:pt x="17" y="41"/>
                </a:cubicBezTo>
                <a:cubicBezTo>
                  <a:pt x="17" y="41"/>
                  <a:pt x="19" y="40"/>
                  <a:pt x="20" y="40"/>
                </a:cubicBezTo>
                <a:cubicBezTo>
                  <a:pt x="20" y="41"/>
                  <a:pt x="21" y="41"/>
                  <a:pt x="22" y="42"/>
                </a:cubicBezTo>
                <a:cubicBezTo>
                  <a:pt x="23" y="42"/>
                  <a:pt x="24" y="43"/>
                  <a:pt x="24" y="42"/>
                </a:cubicBezTo>
                <a:cubicBezTo>
                  <a:pt x="24" y="42"/>
                  <a:pt x="24" y="41"/>
                  <a:pt x="24" y="41"/>
                </a:cubicBezTo>
                <a:cubicBezTo>
                  <a:pt x="24" y="41"/>
                  <a:pt x="25" y="40"/>
                  <a:pt x="26" y="40"/>
                </a:cubicBezTo>
                <a:cubicBezTo>
                  <a:pt x="26" y="40"/>
                  <a:pt x="25" y="39"/>
                  <a:pt x="26" y="38"/>
                </a:cubicBezTo>
                <a:cubicBezTo>
                  <a:pt x="26" y="39"/>
                  <a:pt x="28" y="39"/>
                  <a:pt x="29" y="39"/>
                </a:cubicBezTo>
                <a:cubicBezTo>
                  <a:pt x="30" y="39"/>
                  <a:pt x="29" y="40"/>
                  <a:pt x="30" y="40"/>
                </a:cubicBezTo>
                <a:cubicBezTo>
                  <a:pt x="30" y="40"/>
                  <a:pt x="32" y="39"/>
                  <a:pt x="32" y="38"/>
                </a:cubicBezTo>
                <a:cubicBezTo>
                  <a:pt x="34" y="35"/>
                  <a:pt x="35" y="32"/>
                  <a:pt x="35" y="28"/>
                </a:cubicBezTo>
                <a:cubicBezTo>
                  <a:pt x="35" y="28"/>
                  <a:pt x="34" y="29"/>
                  <a:pt x="33" y="29"/>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21" name="Freeform 3178">
            <a:extLst>
              <a:ext uri="{FF2B5EF4-FFF2-40B4-BE49-F238E27FC236}">
                <a16:creationId xmlns:a16="http://schemas.microsoft.com/office/drawing/2014/main" id="{FFF42B7D-E3BF-456B-B863-5338103B68D4}"/>
              </a:ext>
            </a:extLst>
          </p:cNvPr>
          <p:cNvSpPr>
            <a:spLocks/>
          </p:cNvSpPr>
          <p:nvPr/>
        </p:nvSpPr>
        <p:spPr bwMode="auto">
          <a:xfrm>
            <a:off x="4836587" y="3879678"/>
            <a:ext cx="27256" cy="15433"/>
          </a:xfrm>
          <a:custGeom>
            <a:avLst/>
            <a:gdLst>
              <a:gd name="T0" fmla="*/ 22 w 23"/>
              <a:gd name="T1" fmla="*/ 0 h 11"/>
              <a:gd name="T2" fmla="*/ 7 w 23"/>
              <a:gd name="T3" fmla="*/ 2 h 11"/>
              <a:gd name="T4" fmla="*/ 3 w 23"/>
              <a:gd name="T5" fmla="*/ 2 h 11"/>
              <a:gd name="T6" fmla="*/ 0 w 23"/>
              <a:gd name="T7" fmla="*/ 5 h 11"/>
              <a:gd name="T8" fmla="*/ 0 w 23"/>
              <a:gd name="T9" fmla="*/ 5 h 11"/>
              <a:gd name="T10" fmla="*/ 0 w 23"/>
              <a:gd name="T11" fmla="*/ 5 h 11"/>
              <a:gd name="T12" fmla="*/ 1 w 23"/>
              <a:gd name="T13" fmla="*/ 5 h 11"/>
              <a:gd name="T14" fmla="*/ 2 w 23"/>
              <a:gd name="T15" fmla="*/ 6 h 11"/>
              <a:gd name="T16" fmla="*/ 2 w 23"/>
              <a:gd name="T17" fmla="*/ 6 h 11"/>
              <a:gd name="T18" fmla="*/ 2 w 23"/>
              <a:gd name="T19" fmla="*/ 6 h 11"/>
              <a:gd name="T20" fmla="*/ 2 w 23"/>
              <a:gd name="T21" fmla="*/ 6 h 11"/>
              <a:gd name="T22" fmla="*/ 2 w 23"/>
              <a:gd name="T23" fmla="*/ 7 h 11"/>
              <a:gd name="T24" fmla="*/ 3 w 23"/>
              <a:gd name="T25" fmla="*/ 8 h 11"/>
              <a:gd name="T26" fmla="*/ 2 w 23"/>
              <a:gd name="T27" fmla="*/ 8 h 11"/>
              <a:gd name="T28" fmla="*/ 2 w 23"/>
              <a:gd name="T29" fmla="*/ 9 h 11"/>
              <a:gd name="T30" fmla="*/ 2 w 23"/>
              <a:gd name="T31" fmla="*/ 9 h 11"/>
              <a:gd name="T32" fmla="*/ 2 w 23"/>
              <a:gd name="T33" fmla="*/ 10 h 11"/>
              <a:gd name="T34" fmla="*/ 2 w 23"/>
              <a:gd name="T35" fmla="*/ 11 h 11"/>
              <a:gd name="T36" fmla="*/ 14 w 23"/>
              <a:gd name="T37" fmla="*/ 6 h 11"/>
              <a:gd name="T38" fmla="*/ 20 w 23"/>
              <a:gd name="T39" fmla="*/ 3 h 11"/>
              <a:gd name="T40" fmla="*/ 23 w 23"/>
              <a:gd name="T41" fmla="*/ 1 h 11"/>
              <a:gd name="T42" fmla="*/ 22 w 23"/>
              <a:gd name="T4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11">
                <a:moveTo>
                  <a:pt x="22" y="0"/>
                </a:moveTo>
                <a:cubicBezTo>
                  <a:pt x="17" y="0"/>
                  <a:pt x="12" y="1"/>
                  <a:pt x="7" y="2"/>
                </a:cubicBezTo>
                <a:cubicBezTo>
                  <a:pt x="6" y="2"/>
                  <a:pt x="4" y="2"/>
                  <a:pt x="3" y="2"/>
                </a:cubicBezTo>
                <a:cubicBezTo>
                  <a:pt x="1" y="3"/>
                  <a:pt x="0" y="4"/>
                  <a:pt x="0" y="5"/>
                </a:cubicBezTo>
                <a:cubicBezTo>
                  <a:pt x="0" y="5"/>
                  <a:pt x="0" y="5"/>
                  <a:pt x="0" y="5"/>
                </a:cubicBezTo>
                <a:cubicBezTo>
                  <a:pt x="0" y="5"/>
                  <a:pt x="0" y="5"/>
                  <a:pt x="0" y="5"/>
                </a:cubicBezTo>
                <a:cubicBezTo>
                  <a:pt x="1" y="5"/>
                  <a:pt x="1" y="5"/>
                  <a:pt x="1" y="5"/>
                </a:cubicBezTo>
                <a:cubicBezTo>
                  <a:pt x="2" y="6"/>
                  <a:pt x="2" y="6"/>
                  <a:pt x="2" y="6"/>
                </a:cubicBezTo>
                <a:cubicBezTo>
                  <a:pt x="2" y="6"/>
                  <a:pt x="2" y="6"/>
                  <a:pt x="2" y="6"/>
                </a:cubicBezTo>
                <a:cubicBezTo>
                  <a:pt x="2" y="6"/>
                  <a:pt x="2" y="6"/>
                  <a:pt x="2" y="6"/>
                </a:cubicBezTo>
                <a:cubicBezTo>
                  <a:pt x="2" y="6"/>
                  <a:pt x="2" y="6"/>
                  <a:pt x="2" y="6"/>
                </a:cubicBezTo>
                <a:cubicBezTo>
                  <a:pt x="2" y="7"/>
                  <a:pt x="2" y="7"/>
                  <a:pt x="2" y="7"/>
                </a:cubicBezTo>
                <a:cubicBezTo>
                  <a:pt x="3" y="7"/>
                  <a:pt x="3" y="7"/>
                  <a:pt x="3" y="8"/>
                </a:cubicBezTo>
                <a:cubicBezTo>
                  <a:pt x="2" y="8"/>
                  <a:pt x="2" y="8"/>
                  <a:pt x="2" y="8"/>
                </a:cubicBezTo>
                <a:cubicBezTo>
                  <a:pt x="2" y="8"/>
                  <a:pt x="2" y="8"/>
                  <a:pt x="2" y="9"/>
                </a:cubicBezTo>
                <a:cubicBezTo>
                  <a:pt x="2" y="9"/>
                  <a:pt x="2" y="9"/>
                  <a:pt x="2" y="9"/>
                </a:cubicBezTo>
                <a:cubicBezTo>
                  <a:pt x="2" y="9"/>
                  <a:pt x="2" y="10"/>
                  <a:pt x="2" y="10"/>
                </a:cubicBezTo>
                <a:cubicBezTo>
                  <a:pt x="2" y="11"/>
                  <a:pt x="2" y="11"/>
                  <a:pt x="2" y="11"/>
                </a:cubicBezTo>
                <a:cubicBezTo>
                  <a:pt x="6" y="9"/>
                  <a:pt x="10" y="7"/>
                  <a:pt x="14" y="6"/>
                </a:cubicBezTo>
                <a:cubicBezTo>
                  <a:pt x="16" y="6"/>
                  <a:pt x="18" y="4"/>
                  <a:pt x="20" y="3"/>
                </a:cubicBezTo>
                <a:cubicBezTo>
                  <a:pt x="21" y="3"/>
                  <a:pt x="22" y="2"/>
                  <a:pt x="23" y="1"/>
                </a:cubicBezTo>
                <a:cubicBezTo>
                  <a:pt x="23" y="0"/>
                  <a:pt x="23" y="1"/>
                  <a:pt x="22" y="0"/>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22" name="Freeform 3179">
            <a:extLst>
              <a:ext uri="{FF2B5EF4-FFF2-40B4-BE49-F238E27FC236}">
                <a16:creationId xmlns:a16="http://schemas.microsoft.com/office/drawing/2014/main" id="{35ABB24D-E8CC-4419-944D-16519B04D01B}"/>
              </a:ext>
            </a:extLst>
          </p:cNvPr>
          <p:cNvSpPr>
            <a:spLocks/>
          </p:cNvSpPr>
          <p:nvPr/>
        </p:nvSpPr>
        <p:spPr bwMode="auto">
          <a:xfrm>
            <a:off x="4818251" y="3887988"/>
            <a:ext cx="18336" cy="20776"/>
          </a:xfrm>
          <a:custGeom>
            <a:avLst/>
            <a:gdLst>
              <a:gd name="T0" fmla="*/ 15 w 16"/>
              <a:gd name="T1" fmla="*/ 6 h 15"/>
              <a:gd name="T2" fmla="*/ 15 w 16"/>
              <a:gd name="T3" fmla="*/ 5 h 15"/>
              <a:gd name="T4" fmla="*/ 15 w 16"/>
              <a:gd name="T5" fmla="*/ 5 h 15"/>
              <a:gd name="T6" fmla="*/ 16 w 16"/>
              <a:gd name="T7" fmla="*/ 4 h 15"/>
              <a:gd name="T8" fmla="*/ 16 w 16"/>
              <a:gd name="T9" fmla="*/ 2 h 15"/>
              <a:gd name="T10" fmla="*/ 16 w 16"/>
              <a:gd name="T11" fmla="*/ 2 h 15"/>
              <a:gd name="T12" fmla="*/ 16 w 16"/>
              <a:gd name="T13" fmla="*/ 2 h 15"/>
              <a:gd name="T14" fmla="*/ 16 w 16"/>
              <a:gd name="T15" fmla="*/ 1 h 15"/>
              <a:gd name="T16" fmla="*/ 16 w 16"/>
              <a:gd name="T17" fmla="*/ 1 h 15"/>
              <a:gd name="T18" fmla="*/ 16 w 16"/>
              <a:gd name="T19" fmla="*/ 1 h 15"/>
              <a:gd name="T20" fmla="*/ 15 w 16"/>
              <a:gd name="T21" fmla="*/ 1 h 15"/>
              <a:gd name="T22" fmla="*/ 15 w 16"/>
              <a:gd name="T23" fmla="*/ 1 h 15"/>
              <a:gd name="T24" fmla="*/ 14 w 16"/>
              <a:gd name="T25" fmla="*/ 1 h 15"/>
              <a:gd name="T26" fmla="*/ 15 w 16"/>
              <a:gd name="T27" fmla="*/ 0 h 15"/>
              <a:gd name="T28" fmla="*/ 12 w 16"/>
              <a:gd name="T29" fmla="*/ 2 h 15"/>
              <a:gd name="T30" fmla="*/ 12 w 16"/>
              <a:gd name="T31" fmla="*/ 2 h 15"/>
              <a:gd name="T32" fmla="*/ 12 w 16"/>
              <a:gd name="T33" fmla="*/ 2 h 15"/>
              <a:gd name="T34" fmla="*/ 11 w 16"/>
              <a:gd name="T35" fmla="*/ 5 h 15"/>
              <a:gd name="T36" fmla="*/ 10 w 16"/>
              <a:gd name="T37" fmla="*/ 6 h 15"/>
              <a:gd name="T38" fmla="*/ 9 w 16"/>
              <a:gd name="T39" fmla="*/ 7 h 15"/>
              <a:gd name="T40" fmla="*/ 3 w 16"/>
              <a:gd name="T41" fmla="*/ 6 h 15"/>
              <a:gd name="T42" fmla="*/ 3 w 16"/>
              <a:gd name="T43" fmla="*/ 6 h 15"/>
              <a:gd name="T44" fmla="*/ 2 w 16"/>
              <a:gd name="T45" fmla="*/ 7 h 15"/>
              <a:gd name="T46" fmla="*/ 2 w 16"/>
              <a:gd name="T47" fmla="*/ 10 h 15"/>
              <a:gd name="T48" fmla="*/ 3 w 16"/>
              <a:gd name="T49" fmla="*/ 11 h 15"/>
              <a:gd name="T50" fmla="*/ 3 w 16"/>
              <a:gd name="T51" fmla="*/ 12 h 15"/>
              <a:gd name="T52" fmla="*/ 0 w 16"/>
              <a:gd name="T53" fmla="*/ 15 h 15"/>
              <a:gd name="T54" fmla="*/ 6 w 16"/>
              <a:gd name="T55" fmla="*/ 13 h 15"/>
              <a:gd name="T56" fmla="*/ 10 w 16"/>
              <a:gd name="T57" fmla="*/ 12 h 15"/>
              <a:gd name="T58" fmla="*/ 16 w 16"/>
              <a:gd name="T59" fmla="*/ 6 h 15"/>
              <a:gd name="T60" fmla="*/ 15 w 16"/>
              <a:gd name="T61"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 h="15">
                <a:moveTo>
                  <a:pt x="15" y="6"/>
                </a:moveTo>
                <a:cubicBezTo>
                  <a:pt x="15" y="5"/>
                  <a:pt x="15" y="5"/>
                  <a:pt x="15" y="5"/>
                </a:cubicBezTo>
                <a:cubicBezTo>
                  <a:pt x="15" y="5"/>
                  <a:pt x="15" y="5"/>
                  <a:pt x="15" y="5"/>
                </a:cubicBezTo>
                <a:cubicBezTo>
                  <a:pt x="16" y="4"/>
                  <a:pt x="16" y="4"/>
                  <a:pt x="16" y="4"/>
                </a:cubicBezTo>
                <a:cubicBezTo>
                  <a:pt x="16" y="3"/>
                  <a:pt x="16" y="3"/>
                  <a:pt x="16" y="2"/>
                </a:cubicBezTo>
                <a:cubicBezTo>
                  <a:pt x="16" y="2"/>
                  <a:pt x="16" y="2"/>
                  <a:pt x="16" y="2"/>
                </a:cubicBezTo>
                <a:cubicBezTo>
                  <a:pt x="16" y="2"/>
                  <a:pt x="16" y="2"/>
                  <a:pt x="16" y="2"/>
                </a:cubicBezTo>
                <a:cubicBezTo>
                  <a:pt x="16" y="1"/>
                  <a:pt x="16" y="1"/>
                  <a:pt x="16" y="1"/>
                </a:cubicBezTo>
                <a:cubicBezTo>
                  <a:pt x="16" y="1"/>
                  <a:pt x="16" y="1"/>
                  <a:pt x="16" y="1"/>
                </a:cubicBezTo>
                <a:cubicBezTo>
                  <a:pt x="16" y="1"/>
                  <a:pt x="16" y="1"/>
                  <a:pt x="16" y="1"/>
                </a:cubicBezTo>
                <a:cubicBezTo>
                  <a:pt x="15" y="1"/>
                  <a:pt x="15" y="1"/>
                  <a:pt x="15" y="1"/>
                </a:cubicBezTo>
                <a:cubicBezTo>
                  <a:pt x="15" y="1"/>
                  <a:pt x="15" y="1"/>
                  <a:pt x="15" y="1"/>
                </a:cubicBezTo>
                <a:cubicBezTo>
                  <a:pt x="14" y="1"/>
                  <a:pt x="14" y="1"/>
                  <a:pt x="14" y="1"/>
                </a:cubicBezTo>
                <a:cubicBezTo>
                  <a:pt x="15" y="0"/>
                  <a:pt x="15" y="0"/>
                  <a:pt x="15" y="0"/>
                </a:cubicBezTo>
                <a:cubicBezTo>
                  <a:pt x="14" y="1"/>
                  <a:pt x="13" y="1"/>
                  <a:pt x="12" y="2"/>
                </a:cubicBezTo>
                <a:cubicBezTo>
                  <a:pt x="12" y="2"/>
                  <a:pt x="12" y="2"/>
                  <a:pt x="12" y="2"/>
                </a:cubicBezTo>
                <a:cubicBezTo>
                  <a:pt x="12" y="2"/>
                  <a:pt x="12" y="2"/>
                  <a:pt x="12" y="2"/>
                </a:cubicBezTo>
                <a:cubicBezTo>
                  <a:pt x="12" y="2"/>
                  <a:pt x="11" y="4"/>
                  <a:pt x="11" y="5"/>
                </a:cubicBezTo>
                <a:cubicBezTo>
                  <a:pt x="11" y="5"/>
                  <a:pt x="10" y="6"/>
                  <a:pt x="10" y="6"/>
                </a:cubicBezTo>
                <a:cubicBezTo>
                  <a:pt x="9" y="7"/>
                  <a:pt x="9" y="7"/>
                  <a:pt x="9" y="7"/>
                </a:cubicBezTo>
                <a:cubicBezTo>
                  <a:pt x="3" y="6"/>
                  <a:pt x="3" y="6"/>
                  <a:pt x="3" y="6"/>
                </a:cubicBezTo>
                <a:cubicBezTo>
                  <a:pt x="3" y="6"/>
                  <a:pt x="3" y="6"/>
                  <a:pt x="3" y="6"/>
                </a:cubicBezTo>
                <a:cubicBezTo>
                  <a:pt x="3" y="6"/>
                  <a:pt x="2" y="7"/>
                  <a:pt x="2" y="7"/>
                </a:cubicBezTo>
                <a:cubicBezTo>
                  <a:pt x="2" y="8"/>
                  <a:pt x="2" y="9"/>
                  <a:pt x="2" y="10"/>
                </a:cubicBezTo>
                <a:cubicBezTo>
                  <a:pt x="2" y="10"/>
                  <a:pt x="2" y="11"/>
                  <a:pt x="3" y="11"/>
                </a:cubicBezTo>
                <a:cubicBezTo>
                  <a:pt x="3" y="12"/>
                  <a:pt x="3" y="11"/>
                  <a:pt x="3" y="12"/>
                </a:cubicBezTo>
                <a:cubicBezTo>
                  <a:pt x="2" y="13"/>
                  <a:pt x="1" y="14"/>
                  <a:pt x="0" y="15"/>
                </a:cubicBezTo>
                <a:cubicBezTo>
                  <a:pt x="2" y="14"/>
                  <a:pt x="4" y="14"/>
                  <a:pt x="6" y="13"/>
                </a:cubicBezTo>
                <a:cubicBezTo>
                  <a:pt x="7" y="13"/>
                  <a:pt x="9" y="13"/>
                  <a:pt x="10" y="12"/>
                </a:cubicBezTo>
                <a:cubicBezTo>
                  <a:pt x="12" y="11"/>
                  <a:pt x="15" y="8"/>
                  <a:pt x="16" y="6"/>
                </a:cubicBezTo>
                <a:lnTo>
                  <a:pt x="15" y="6"/>
                </a:ln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23" name="Freeform 3180">
            <a:extLst>
              <a:ext uri="{FF2B5EF4-FFF2-40B4-BE49-F238E27FC236}">
                <a16:creationId xmlns:a16="http://schemas.microsoft.com/office/drawing/2014/main" id="{5B0D52B5-7A05-48DF-8F01-D857984CC79D}"/>
              </a:ext>
            </a:extLst>
          </p:cNvPr>
          <p:cNvSpPr>
            <a:spLocks/>
          </p:cNvSpPr>
          <p:nvPr/>
        </p:nvSpPr>
        <p:spPr bwMode="auto">
          <a:xfrm>
            <a:off x="3964896" y="3395305"/>
            <a:ext cx="91679" cy="121687"/>
          </a:xfrm>
          <a:custGeom>
            <a:avLst/>
            <a:gdLst>
              <a:gd name="T0" fmla="*/ 74 w 78"/>
              <a:gd name="T1" fmla="*/ 24 h 87"/>
              <a:gd name="T2" fmla="*/ 70 w 78"/>
              <a:gd name="T3" fmla="*/ 20 h 87"/>
              <a:gd name="T4" fmla="*/ 65 w 78"/>
              <a:gd name="T5" fmla="*/ 13 h 87"/>
              <a:gd name="T6" fmla="*/ 61 w 78"/>
              <a:gd name="T7" fmla="*/ 13 h 87"/>
              <a:gd name="T8" fmla="*/ 49 w 78"/>
              <a:gd name="T9" fmla="*/ 9 h 87"/>
              <a:gd name="T10" fmla="*/ 45 w 78"/>
              <a:gd name="T11" fmla="*/ 4 h 87"/>
              <a:gd name="T12" fmla="*/ 43 w 78"/>
              <a:gd name="T13" fmla="*/ 1 h 87"/>
              <a:gd name="T14" fmla="*/ 42 w 78"/>
              <a:gd name="T15" fmla="*/ 2 h 87"/>
              <a:gd name="T16" fmla="*/ 39 w 78"/>
              <a:gd name="T17" fmla="*/ 4 h 87"/>
              <a:gd name="T18" fmla="*/ 38 w 78"/>
              <a:gd name="T19" fmla="*/ 3 h 87"/>
              <a:gd name="T20" fmla="*/ 38 w 78"/>
              <a:gd name="T21" fmla="*/ 6 h 87"/>
              <a:gd name="T22" fmla="*/ 40 w 78"/>
              <a:gd name="T23" fmla="*/ 8 h 87"/>
              <a:gd name="T24" fmla="*/ 39 w 78"/>
              <a:gd name="T25" fmla="*/ 10 h 87"/>
              <a:gd name="T26" fmla="*/ 36 w 78"/>
              <a:gd name="T27" fmla="*/ 10 h 87"/>
              <a:gd name="T28" fmla="*/ 36 w 78"/>
              <a:gd name="T29" fmla="*/ 10 h 87"/>
              <a:gd name="T30" fmla="*/ 34 w 78"/>
              <a:gd name="T31" fmla="*/ 12 h 87"/>
              <a:gd name="T32" fmla="*/ 34 w 78"/>
              <a:gd name="T33" fmla="*/ 14 h 87"/>
              <a:gd name="T34" fmla="*/ 33 w 78"/>
              <a:gd name="T35" fmla="*/ 21 h 87"/>
              <a:gd name="T36" fmla="*/ 32 w 78"/>
              <a:gd name="T37" fmla="*/ 22 h 87"/>
              <a:gd name="T38" fmla="*/ 33 w 78"/>
              <a:gd name="T39" fmla="*/ 25 h 87"/>
              <a:gd name="T40" fmla="*/ 34 w 78"/>
              <a:gd name="T41" fmla="*/ 27 h 87"/>
              <a:gd name="T42" fmla="*/ 35 w 78"/>
              <a:gd name="T43" fmla="*/ 29 h 87"/>
              <a:gd name="T44" fmla="*/ 36 w 78"/>
              <a:gd name="T45" fmla="*/ 32 h 87"/>
              <a:gd name="T46" fmla="*/ 35 w 78"/>
              <a:gd name="T47" fmla="*/ 38 h 87"/>
              <a:gd name="T48" fmla="*/ 32 w 78"/>
              <a:gd name="T49" fmla="*/ 46 h 87"/>
              <a:gd name="T50" fmla="*/ 32 w 78"/>
              <a:gd name="T51" fmla="*/ 47 h 87"/>
              <a:gd name="T52" fmla="*/ 32 w 78"/>
              <a:gd name="T53" fmla="*/ 48 h 87"/>
              <a:gd name="T54" fmla="*/ 31 w 78"/>
              <a:gd name="T55" fmla="*/ 49 h 87"/>
              <a:gd name="T56" fmla="*/ 30 w 78"/>
              <a:gd name="T57" fmla="*/ 52 h 87"/>
              <a:gd name="T58" fmla="*/ 30 w 78"/>
              <a:gd name="T59" fmla="*/ 55 h 87"/>
              <a:gd name="T60" fmla="*/ 27 w 78"/>
              <a:gd name="T61" fmla="*/ 54 h 87"/>
              <a:gd name="T62" fmla="*/ 1 w 78"/>
              <a:gd name="T63" fmla="*/ 63 h 87"/>
              <a:gd name="T64" fmla="*/ 3 w 78"/>
              <a:gd name="T65" fmla="*/ 71 h 87"/>
              <a:gd name="T66" fmla="*/ 15 w 78"/>
              <a:gd name="T67" fmla="*/ 86 h 87"/>
              <a:gd name="T68" fmla="*/ 29 w 78"/>
              <a:gd name="T69" fmla="*/ 84 h 87"/>
              <a:gd name="T70" fmla="*/ 34 w 78"/>
              <a:gd name="T71" fmla="*/ 75 h 87"/>
              <a:gd name="T72" fmla="*/ 40 w 78"/>
              <a:gd name="T73" fmla="*/ 74 h 87"/>
              <a:gd name="T74" fmla="*/ 45 w 78"/>
              <a:gd name="T75" fmla="*/ 71 h 87"/>
              <a:gd name="T76" fmla="*/ 47 w 78"/>
              <a:gd name="T77" fmla="*/ 66 h 87"/>
              <a:gd name="T78" fmla="*/ 58 w 78"/>
              <a:gd name="T79" fmla="*/ 63 h 87"/>
              <a:gd name="T80" fmla="*/ 57 w 78"/>
              <a:gd name="T81" fmla="*/ 60 h 87"/>
              <a:gd name="T82" fmla="*/ 56 w 78"/>
              <a:gd name="T83" fmla="*/ 56 h 87"/>
              <a:gd name="T84" fmla="*/ 61 w 78"/>
              <a:gd name="T85" fmla="*/ 46 h 87"/>
              <a:gd name="T86" fmla="*/ 63 w 78"/>
              <a:gd name="T87" fmla="*/ 48 h 87"/>
              <a:gd name="T88" fmla="*/ 67 w 78"/>
              <a:gd name="T89" fmla="*/ 44 h 87"/>
              <a:gd name="T90" fmla="*/ 74 w 78"/>
              <a:gd name="T91" fmla="*/ 36 h 87"/>
              <a:gd name="T92" fmla="*/ 78 w 78"/>
              <a:gd name="T93" fmla="*/ 2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8" h="87">
                <a:moveTo>
                  <a:pt x="76" y="25"/>
                </a:moveTo>
                <a:cubicBezTo>
                  <a:pt x="75" y="25"/>
                  <a:pt x="75" y="25"/>
                  <a:pt x="74" y="24"/>
                </a:cubicBezTo>
                <a:cubicBezTo>
                  <a:pt x="73" y="23"/>
                  <a:pt x="73" y="23"/>
                  <a:pt x="72" y="22"/>
                </a:cubicBezTo>
                <a:cubicBezTo>
                  <a:pt x="72" y="21"/>
                  <a:pt x="71" y="20"/>
                  <a:pt x="70" y="20"/>
                </a:cubicBezTo>
                <a:cubicBezTo>
                  <a:pt x="69" y="18"/>
                  <a:pt x="68" y="17"/>
                  <a:pt x="67" y="16"/>
                </a:cubicBezTo>
                <a:cubicBezTo>
                  <a:pt x="67" y="15"/>
                  <a:pt x="66" y="14"/>
                  <a:pt x="65" y="13"/>
                </a:cubicBezTo>
                <a:cubicBezTo>
                  <a:pt x="65" y="13"/>
                  <a:pt x="64" y="14"/>
                  <a:pt x="64" y="14"/>
                </a:cubicBezTo>
                <a:cubicBezTo>
                  <a:pt x="63" y="14"/>
                  <a:pt x="62" y="13"/>
                  <a:pt x="61" y="13"/>
                </a:cubicBezTo>
                <a:cubicBezTo>
                  <a:pt x="60" y="12"/>
                  <a:pt x="59" y="13"/>
                  <a:pt x="57" y="12"/>
                </a:cubicBezTo>
                <a:cubicBezTo>
                  <a:pt x="55" y="11"/>
                  <a:pt x="52" y="11"/>
                  <a:pt x="49" y="9"/>
                </a:cubicBezTo>
                <a:cubicBezTo>
                  <a:pt x="48" y="8"/>
                  <a:pt x="48" y="8"/>
                  <a:pt x="47" y="7"/>
                </a:cubicBezTo>
                <a:cubicBezTo>
                  <a:pt x="47" y="6"/>
                  <a:pt x="46" y="5"/>
                  <a:pt x="45" y="4"/>
                </a:cubicBezTo>
                <a:cubicBezTo>
                  <a:pt x="45" y="3"/>
                  <a:pt x="44" y="3"/>
                  <a:pt x="44" y="2"/>
                </a:cubicBezTo>
                <a:cubicBezTo>
                  <a:pt x="44" y="2"/>
                  <a:pt x="44" y="1"/>
                  <a:pt x="43" y="1"/>
                </a:cubicBezTo>
                <a:cubicBezTo>
                  <a:pt x="43" y="1"/>
                  <a:pt x="43" y="0"/>
                  <a:pt x="43" y="0"/>
                </a:cubicBezTo>
                <a:cubicBezTo>
                  <a:pt x="43" y="1"/>
                  <a:pt x="42" y="1"/>
                  <a:pt x="42" y="2"/>
                </a:cubicBezTo>
                <a:cubicBezTo>
                  <a:pt x="42" y="2"/>
                  <a:pt x="41" y="2"/>
                  <a:pt x="41" y="2"/>
                </a:cubicBezTo>
                <a:cubicBezTo>
                  <a:pt x="39" y="4"/>
                  <a:pt x="39" y="4"/>
                  <a:pt x="39" y="4"/>
                </a:cubicBezTo>
                <a:cubicBezTo>
                  <a:pt x="39" y="3"/>
                  <a:pt x="39" y="3"/>
                  <a:pt x="39" y="3"/>
                </a:cubicBezTo>
                <a:cubicBezTo>
                  <a:pt x="38" y="3"/>
                  <a:pt x="38" y="3"/>
                  <a:pt x="38" y="3"/>
                </a:cubicBezTo>
                <a:cubicBezTo>
                  <a:pt x="38" y="4"/>
                  <a:pt x="38" y="5"/>
                  <a:pt x="38" y="6"/>
                </a:cubicBezTo>
                <a:cubicBezTo>
                  <a:pt x="38" y="6"/>
                  <a:pt x="38" y="6"/>
                  <a:pt x="38" y="6"/>
                </a:cubicBezTo>
                <a:cubicBezTo>
                  <a:pt x="38" y="7"/>
                  <a:pt x="38" y="7"/>
                  <a:pt x="38" y="7"/>
                </a:cubicBezTo>
                <a:cubicBezTo>
                  <a:pt x="39" y="7"/>
                  <a:pt x="40" y="8"/>
                  <a:pt x="40" y="8"/>
                </a:cubicBezTo>
                <a:cubicBezTo>
                  <a:pt x="41" y="10"/>
                  <a:pt x="41" y="10"/>
                  <a:pt x="41" y="10"/>
                </a:cubicBezTo>
                <a:cubicBezTo>
                  <a:pt x="39" y="10"/>
                  <a:pt x="39" y="10"/>
                  <a:pt x="39" y="10"/>
                </a:cubicBezTo>
                <a:cubicBezTo>
                  <a:pt x="38" y="10"/>
                  <a:pt x="37" y="10"/>
                  <a:pt x="37" y="10"/>
                </a:cubicBezTo>
                <a:cubicBezTo>
                  <a:pt x="36" y="10"/>
                  <a:pt x="36" y="10"/>
                  <a:pt x="36" y="10"/>
                </a:cubicBezTo>
                <a:cubicBezTo>
                  <a:pt x="36" y="12"/>
                  <a:pt x="36" y="12"/>
                  <a:pt x="36" y="12"/>
                </a:cubicBezTo>
                <a:cubicBezTo>
                  <a:pt x="36" y="10"/>
                  <a:pt x="36" y="10"/>
                  <a:pt x="36" y="10"/>
                </a:cubicBezTo>
                <a:cubicBezTo>
                  <a:pt x="35" y="10"/>
                  <a:pt x="35" y="10"/>
                  <a:pt x="35" y="10"/>
                </a:cubicBezTo>
                <a:cubicBezTo>
                  <a:pt x="35" y="11"/>
                  <a:pt x="34" y="11"/>
                  <a:pt x="34" y="12"/>
                </a:cubicBezTo>
                <a:cubicBezTo>
                  <a:pt x="34" y="13"/>
                  <a:pt x="34" y="13"/>
                  <a:pt x="34" y="13"/>
                </a:cubicBezTo>
                <a:cubicBezTo>
                  <a:pt x="34" y="13"/>
                  <a:pt x="34" y="14"/>
                  <a:pt x="34" y="14"/>
                </a:cubicBezTo>
                <a:cubicBezTo>
                  <a:pt x="34" y="15"/>
                  <a:pt x="34" y="17"/>
                  <a:pt x="33" y="18"/>
                </a:cubicBezTo>
                <a:cubicBezTo>
                  <a:pt x="33" y="21"/>
                  <a:pt x="33" y="21"/>
                  <a:pt x="33" y="21"/>
                </a:cubicBezTo>
                <a:cubicBezTo>
                  <a:pt x="33" y="21"/>
                  <a:pt x="32" y="21"/>
                  <a:pt x="32" y="22"/>
                </a:cubicBezTo>
                <a:cubicBezTo>
                  <a:pt x="32" y="22"/>
                  <a:pt x="32" y="22"/>
                  <a:pt x="32" y="22"/>
                </a:cubicBezTo>
                <a:cubicBezTo>
                  <a:pt x="32" y="22"/>
                  <a:pt x="32" y="23"/>
                  <a:pt x="32" y="23"/>
                </a:cubicBezTo>
                <a:cubicBezTo>
                  <a:pt x="32" y="24"/>
                  <a:pt x="33" y="24"/>
                  <a:pt x="33" y="25"/>
                </a:cubicBezTo>
                <a:cubicBezTo>
                  <a:pt x="33" y="25"/>
                  <a:pt x="33" y="25"/>
                  <a:pt x="33" y="25"/>
                </a:cubicBezTo>
                <a:cubicBezTo>
                  <a:pt x="33" y="26"/>
                  <a:pt x="34" y="26"/>
                  <a:pt x="34" y="27"/>
                </a:cubicBezTo>
                <a:cubicBezTo>
                  <a:pt x="34" y="27"/>
                  <a:pt x="34" y="27"/>
                  <a:pt x="34" y="27"/>
                </a:cubicBezTo>
                <a:cubicBezTo>
                  <a:pt x="35" y="28"/>
                  <a:pt x="35" y="29"/>
                  <a:pt x="35" y="29"/>
                </a:cubicBezTo>
                <a:cubicBezTo>
                  <a:pt x="35" y="29"/>
                  <a:pt x="35" y="29"/>
                  <a:pt x="35" y="29"/>
                </a:cubicBezTo>
                <a:cubicBezTo>
                  <a:pt x="36" y="30"/>
                  <a:pt x="36" y="31"/>
                  <a:pt x="36" y="32"/>
                </a:cubicBezTo>
                <a:cubicBezTo>
                  <a:pt x="36" y="33"/>
                  <a:pt x="36" y="33"/>
                  <a:pt x="36" y="34"/>
                </a:cubicBezTo>
                <a:cubicBezTo>
                  <a:pt x="35" y="35"/>
                  <a:pt x="35" y="37"/>
                  <a:pt x="35" y="38"/>
                </a:cubicBezTo>
                <a:cubicBezTo>
                  <a:pt x="33" y="42"/>
                  <a:pt x="33" y="42"/>
                  <a:pt x="33" y="42"/>
                </a:cubicBezTo>
                <a:cubicBezTo>
                  <a:pt x="33" y="43"/>
                  <a:pt x="33" y="44"/>
                  <a:pt x="32" y="46"/>
                </a:cubicBezTo>
                <a:cubicBezTo>
                  <a:pt x="32" y="46"/>
                  <a:pt x="32" y="46"/>
                  <a:pt x="32" y="46"/>
                </a:cubicBezTo>
                <a:cubicBezTo>
                  <a:pt x="32" y="46"/>
                  <a:pt x="32" y="46"/>
                  <a:pt x="32" y="47"/>
                </a:cubicBezTo>
                <a:cubicBezTo>
                  <a:pt x="32" y="47"/>
                  <a:pt x="32" y="47"/>
                  <a:pt x="32" y="47"/>
                </a:cubicBezTo>
                <a:cubicBezTo>
                  <a:pt x="32" y="48"/>
                  <a:pt x="32" y="48"/>
                  <a:pt x="32" y="48"/>
                </a:cubicBezTo>
                <a:cubicBezTo>
                  <a:pt x="31" y="48"/>
                  <a:pt x="31" y="48"/>
                  <a:pt x="31" y="49"/>
                </a:cubicBezTo>
                <a:cubicBezTo>
                  <a:pt x="31" y="49"/>
                  <a:pt x="31" y="49"/>
                  <a:pt x="31" y="49"/>
                </a:cubicBezTo>
                <a:cubicBezTo>
                  <a:pt x="31" y="50"/>
                  <a:pt x="31" y="50"/>
                  <a:pt x="31" y="50"/>
                </a:cubicBezTo>
                <a:cubicBezTo>
                  <a:pt x="31" y="50"/>
                  <a:pt x="30" y="51"/>
                  <a:pt x="30" y="52"/>
                </a:cubicBezTo>
                <a:cubicBezTo>
                  <a:pt x="30" y="53"/>
                  <a:pt x="30" y="53"/>
                  <a:pt x="29" y="53"/>
                </a:cubicBezTo>
                <a:cubicBezTo>
                  <a:pt x="30" y="55"/>
                  <a:pt x="30" y="55"/>
                  <a:pt x="30" y="55"/>
                </a:cubicBezTo>
                <a:cubicBezTo>
                  <a:pt x="29" y="54"/>
                  <a:pt x="29" y="54"/>
                  <a:pt x="29" y="54"/>
                </a:cubicBezTo>
                <a:cubicBezTo>
                  <a:pt x="27" y="54"/>
                  <a:pt x="27" y="54"/>
                  <a:pt x="27" y="54"/>
                </a:cubicBezTo>
                <a:cubicBezTo>
                  <a:pt x="24" y="55"/>
                  <a:pt x="21" y="56"/>
                  <a:pt x="17" y="58"/>
                </a:cubicBezTo>
                <a:cubicBezTo>
                  <a:pt x="1" y="63"/>
                  <a:pt x="1" y="63"/>
                  <a:pt x="1" y="63"/>
                </a:cubicBezTo>
                <a:cubicBezTo>
                  <a:pt x="1" y="63"/>
                  <a:pt x="0" y="64"/>
                  <a:pt x="0" y="64"/>
                </a:cubicBezTo>
                <a:cubicBezTo>
                  <a:pt x="3" y="71"/>
                  <a:pt x="3" y="71"/>
                  <a:pt x="3" y="71"/>
                </a:cubicBezTo>
                <a:cubicBezTo>
                  <a:pt x="6" y="76"/>
                  <a:pt x="8" y="82"/>
                  <a:pt x="11" y="87"/>
                </a:cubicBezTo>
                <a:cubicBezTo>
                  <a:pt x="12" y="87"/>
                  <a:pt x="14" y="86"/>
                  <a:pt x="15" y="86"/>
                </a:cubicBezTo>
                <a:cubicBezTo>
                  <a:pt x="18" y="85"/>
                  <a:pt x="20" y="84"/>
                  <a:pt x="22" y="84"/>
                </a:cubicBezTo>
                <a:cubicBezTo>
                  <a:pt x="24" y="84"/>
                  <a:pt x="27" y="85"/>
                  <a:pt x="29" y="84"/>
                </a:cubicBezTo>
                <a:cubicBezTo>
                  <a:pt x="29" y="84"/>
                  <a:pt x="29" y="84"/>
                  <a:pt x="29" y="84"/>
                </a:cubicBezTo>
                <a:cubicBezTo>
                  <a:pt x="32" y="82"/>
                  <a:pt x="30" y="76"/>
                  <a:pt x="34" y="75"/>
                </a:cubicBezTo>
                <a:cubicBezTo>
                  <a:pt x="35" y="75"/>
                  <a:pt x="36" y="75"/>
                  <a:pt x="37" y="75"/>
                </a:cubicBezTo>
                <a:cubicBezTo>
                  <a:pt x="38" y="75"/>
                  <a:pt x="39" y="75"/>
                  <a:pt x="40" y="74"/>
                </a:cubicBezTo>
                <a:cubicBezTo>
                  <a:pt x="41" y="74"/>
                  <a:pt x="43" y="73"/>
                  <a:pt x="44" y="72"/>
                </a:cubicBezTo>
                <a:cubicBezTo>
                  <a:pt x="45" y="72"/>
                  <a:pt x="44" y="72"/>
                  <a:pt x="45" y="71"/>
                </a:cubicBezTo>
                <a:cubicBezTo>
                  <a:pt x="45" y="71"/>
                  <a:pt x="45" y="70"/>
                  <a:pt x="45" y="70"/>
                </a:cubicBezTo>
                <a:cubicBezTo>
                  <a:pt x="46" y="68"/>
                  <a:pt x="47" y="67"/>
                  <a:pt x="47" y="66"/>
                </a:cubicBezTo>
                <a:cubicBezTo>
                  <a:pt x="47" y="65"/>
                  <a:pt x="50" y="65"/>
                  <a:pt x="50" y="65"/>
                </a:cubicBezTo>
                <a:cubicBezTo>
                  <a:pt x="52" y="64"/>
                  <a:pt x="57" y="64"/>
                  <a:pt x="58" y="63"/>
                </a:cubicBezTo>
                <a:cubicBezTo>
                  <a:pt x="58" y="63"/>
                  <a:pt x="57" y="61"/>
                  <a:pt x="57" y="61"/>
                </a:cubicBezTo>
                <a:cubicBezTo>
                  <a:pt x="57" y="61"/>
                  <a:pt x="57" y="61"/>
                  <a:pt x="57" y="60"/>
                </a:cubicBezTo>
                <a:cubicBezTo>
                  <a:pt x="57" y="60"/>
                  <a:pt x="57" y="59"/>
                  <a:pt x="57" y="59"/>
                </a:cubicBezTo>
                <a:cubicBezTo>
                  <a:pt x="57" y="58"/>
                  <a:pt x="56" y="57"/>
                  <a:pt x="56" y="56"/>
                </a:cubicBezTo>
                <a:cubicBezTo>
                  <a:pt x="56" y="55"/>
                  <a:pt x="57" y="54"/>
                  <a:pt x="57" y="52"/>
                </a:cubicBezTo>
                <a:cubicBezTo>
                  <a:pt x="58" y="51"/>
                  <a:pt x="59" y="46"/>
                  <a:pt x="61" y="46"/>
                </a:cubicBezTo>
                <a:cubicBezTo>
                  <a:pt x="62" y="46"/>
                  <a:pt x="62" y="46"/>
                  <a:pt x="62" y="47"/>
                </a:cubicBezTo>
                <a:cubicBezTo>
                  <a:pt x="61" y="48"/>
                  <a:pt x="62" y="48"/>
                  <a:pt x="63" y="48"/>
                </a:cubicBezTo>
                <a:cubicBezTo>
                  <a:pt x="65" y="48"/>
                  <a:pt x="64" y="48"/>
                  <a:pt x="65" y="47"/>
                </a:cubicBezTo>
                <a:cubicBezTo>
                  <a:pt x="65" y="46"/>
                  <a:pt x="66" y="45"/>
                  <a:pt x="67" y="44"/>
                </a:cubicBezTo>
                <a:cubicBezTo>
                  <a:pt x="68" y="42"/>
                  <a:pt x="68" y="41"/>
                  <a:pt x="70" y="39"/>
                </a:cubicBezTo>
                <a:cubicBezTo>
                  <a:pt x="72" y="38"/>
                  <a:pt x="73" y="37"/>
                  <a:pt x="74" y="36"/>
                </a:cubicBezTo>
                <a:cubicBezTo>
                  <a:pt x="75" y="34"/>
                  <a:pt x="76" y="32"/>
                  <a:pt x="76" y="31"/>
                </a:cubicBezTo>
                <a:cubicBezTo>
                  <a:pt x="77" y="30"/>
                  <a:pt x="78" y="29"/>
                  <a:pt x="78" y="27"/>
                </a:cubicBezTo>
                <a:cubicBezTo>
                  <a:pt x="78" y="25"/>
                  <a:pt x="78" y="25"/>
                  <a:pt x="76" y="25"/>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24" name="Freeform 3181">
            <a:extLst>
              <a:ext uri="{FF2B5EF4-FFF2-40B4-BE49-F238E27FC236}">
                <a16:creationId xmlns:a16="http://schemas.microsoft.com/office/drawing/2014/main" id="{CF638B38-58BF-4B4D-ADD2-4A45456120F6}"/>
              </a:ext>
            </a:extLst>
          </p:cNvPr>
          <p:cNvSpPr>
            <a:spLocks/>
          </p:cNvSpPr>
          <p:nvPr/>
        </p:nvSpPr>
        <p:spPr bwMode="auto">
          <a:xfrm>
            <a:off x="3850421" y="3484937"/>
            <a:ext cx="123890" cy="92601"/>
          </a:xfrm>
          <a:custGeom>
            <a:avLst/>
            <a:gdLst>
              <a:gd name="T0" fmla="*/ 95 w 106"/>
              <a:gd name="T1" fmla="*/ 0 h 66"/>
              <a:gd name="T2" fmla="*/ 78 w 106"/>
              <a:gd name="T3" fmla="*/ 3 h 66"/>
              <a:gd name="T4" fmla="*/ 65 w 106"/>
              <a:gd name="T5" fmla="*/ 5 h 66"/>
              <a:gd name="T6" fmla="*/ 58 w 106"/>
              <a:gd name="T7" fmla="*/ 9 h 66"/>
              <a:gd name="T8" fmla="*/ 51 w 106"/>
              <a:gd name="T9" fmla="*/ 19 h 66"/>
              <a:gd name="T10" fmla="*/ 47 w 106"/>
              <a:gd name="T11" fmla="*/ 21 h 66"/>
              <a:gd name="T12" fmla="*/ 46 w 106"/>
              <a:gd name="T13" fmla="*/ 22 h 66"/>
              <a:gd name="T14" fmla="*/ 45 w 106"/>
              <a:gd name="T15" fmla="*/ 22 h 66"/>
              <a:gd name="T16" fmla="*/ 43 w 106"/>
              <a:gd name="T17" fmla="*/ 20 h 66"/>
              <a:gd name="T18" fmla="*/ 41 w 106"/>
              <a:gd name="T19" fmla="*/ 18 h 66"/>
              <a:gd name="T20" fmla="*/ 36 w 106"/>
              <a:gd name="T21" fmla="*/ 18 h 66"/>
              <a:gd name="T22" fmla="*/ 24 w 106"/>
              <a:gd name="T23" fmla="*/ 17 h 66"/>
              <a:gd name="T24" fmla="*/ 19 w 106"/>
              <a:gd name="T25" fmla="*/ 17 h 66"/>
              <a:gd name="T26" fmla="*/ 17 w 106"/>
              <a:gd name="T27" fmla="*/ 18 h 66"/>
              <a:gd name="T28" fmla="*/ 15 w 106"/>
              <a:gd name="T29" fmla="*/ 18 h 66"/>
              <a:gd name="T30" fmla="*/ 12 w 106"/>
              <a:gd name="T31" fmla="*/ 18 h 66"/>
              <a:gd name="T32" fmla="*/ 10 w 106"/>
              <a:gd name="T33" fmla="*/ 16 h 66"/>
              <a:gd name="T34" fmla="*/ 8 w 106"/>
              <a:gd name="T35" fmla="*/ 16 h 66"/>
              <a:gd name="T36" fmla="*/ 7 w 106"/>
              <a:gd name="T37" fmla="*/ 18 h 66"/>
              <a:gd name="T38" fmla="*/ 7 w 106"/>
              <a:gd name="T39" fmla="*/ 20 h 66"/>
              <a:gd name="T40" fmla="*/ 7 w 106"/>
              <a:gd name="T41" fmla="*/ 20 h 66"/>
              <a:gd name="T42" fmla="*/ 7 w 106"/>
              <a:gd name="T43" fmla="*/ 21 h 66"/>
              <a:gd name="T44" fmla="*/ 7 w 106"/>
              <a:gd name="T45" fmla="*/ 25 h 66"/>
              <a:gd name="T46" fmla="*/ 6 w 106"/>
              <a:gd name="T47" fmla="*/ 25 h 66"/>
              <a:gd name="T48" fmla="*/ 3 w 106"/>
              <a:gd name="T49" fmla="*/ 27 h 66"/>
              <a:gd name="T50" fmla="*/ 2 w 106"/>
              <a:gd name="T51" fmla="*/ 28 h 66"/>
              <a:gd name="T52" fmla="*/ 2 w 106"/>
              <a:gd name="T53" fmla="*/ 33 h 66"/>
              <a:gd name="T54" fmla="*/ 2 w 106"/>
              <a:gd name="T55" fmla="*/ 39 h 66"/>
              <a:gd name="T56" fmla="*/ 1 w 106"/>
              <a:gd name="T57" fmla="*/ 39 h 66"/>
              <a:gd name="T58" fmla="*/ 3 w 106"/>
              <a:gd name="T59" fmla="*/ 44 h 66"/>
              <a:gd name="T60" fmla="*/ 6 w 106"/>
              <a:gd name="T61" fmla="*/ 53 h 66"/>
              <a:gd name="T62" fmla="*/ 7 w 106"/>
              <a:gd name="T63" fmla="*/ 59 h 66"/>
              <a:gd name="T64" fmla="*/ 18 w 106"/>
              <a:gd name="T65" fmla="*/ 65 h 66"/>
              <a:gd name="T66" fmla="*/ 25 w 106"/>
              <a:gd name="T67" fmla="*/ 64 h 66"/>
              <a:gd name="T68" fmla="*/ 34 w 106"/>
              <a:gd name="T69" fmla="*/ 58 h 66"/>
              <a:gd name="T70" fmla="*/ 53 w 106"/>
              <a:gd name="T71" fmla="*/ 52 h 66"/>
              <a:gd name="T72" fmla="*/ 62 w 106"/>
              <a:gd name="T73" fmla="*/ 51 h 66"/>
              <a:gd name="T74" fmla="*/ 70 w 106"/>
              <a:gd name="T75" fmla="*/ 45 h 66"/>
              <a:gd name="T76" fmla="*/ 82 w 106"/>
              <a:gd name="T77" fmla="*/ 41 h 66"/>
              <a:gd name="T78" fmla="*/ 95 w 106"/>
              <a:gd name="T79" fmla="*/ 36 h 66"/>
              <a:gd name="T80" fmla="*/ 98 w 106"/>
              <a:gd name="T81" fmla="*/ 33 h 66"/>
              <a:gd name="T82" fmla="*/ 98 w 106"/>
              <a:gd name="T83" fmla="*/ 32 h 66"/>
              <a:gd name="T84" fmla="*/ 103 w 106"/>
              <a:gd name="T85" fmla="*/ 25 h 66"/>
              <a:gd name="T86" fmla="*/ 98 w 106"/>
              <a:gd name="T87" fmla="*/ 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6" h="66">
                <a:moveTo>
                  <a:pt x="98" y="7"/>
                </a:moveTo>
                <a:cubicBezTo>
                  <a:pt x="95" y="0"/>
                  <a:pt x="95" y="0"/>
                  <a:pt x="95" y="0"/>
                </a:cubicBezTo>
                <a:cubicBezTo>
                  <a:pt x="94" y="1"/>
                  <a:pt x="92" y="1"/>
                  <a:pt x="91" y="1"/>
                </a:cubicBezTo>
                <a:cubicBezTo>
                  <a:pt x="86" y="2"/>
                  <a:pt x="82" y="3"/>
                  <a:pt x="78" y="3"/>
                </a:cubicBezTo>
                <a:cubicBezTo>
                  <a:pt x="76" y="3"/>
                  <a:pt x="76" y="3"/>
                  <a:pt x="76" y="3"/>
                </a:cubicBezTo>
                <a:cubicBezTo>
                  <a:pt x="72" y="3"/>
                  <a:pt x="68" y="4"/>
                  <a:pt x="65" y="5"/>
                </a:cubicBezTo>
                <a:cubicBezTo>
                  <a:pt x="64" y="6"/>
                  <a:pt x="64" y="6"/>
                  <a:pt x="63" y="6"/>
                </a:cubicBezTo>
                <a:cubicBezTo>
                  <a:pt x="61" y="7"/>
                  <a:pt x="59" y="8"/>
                  <a:pt x="58" y="9"/>
                </a:cubicBezTo>
                <a:cubicBezTo>
                  <a:pt x="58" y="9"/>
                  <a:pt x="58" y="9"/>
                  <a:pt x="58" y="9"/>
                </a:cubicBezTo>
                <a:cubicBezTo>
                  <a:pt x="51" y="19"/>
                  <a:pt x="51" y="19"/>
                  <a:pt x="51" y="19"/>
                </a:cubicBezTo>
                <a:cubicBezTo>
                  <a:pt x="51" y="19"/>
                  <a:pt x="50" y="20"/>
                  <a:pt x="49" y="21"/>
                </a:cubicBezTo>
                <a:cubicBezTo>
                  <a:pt x="48" y="21"/>
                  <a:pt x="47" y="21"/>
                  <a:pt x="47" y="21"/>
                </a:cubicBezTo>
                <a:cubicBezTo>
                  <a:pt x="47" y="21"/>
                  <a:pt x="47" y="21"/>
                  <a:pt x="47" y="21"/>
                </a:cubicBezTo>
                <a:cubicBezTo>
                  <a:pt x="46" y="21"/>
                  <a:pt x="46" y="22"/>
                  <a:pt x="46" y="22"/>
                </a:cubicBezTo>
                <a:cubicBezTo>
                  <a:pt x="46" y="22"/>
                  <a:pt x="46" y="22"/>
                  <a:pt x="46" y="22"/>
                </a:cubicBezTo>
                <a:cubicBezTo>
                  <a:pt x="45" y="22"/>
                  <a:pt x="45" y="22"/>
                  <a:pt x="45" y="22"/>
                </a:cubicBezTo>
                <a:cubicBezTo>
                  <a:pt x="45" y="22"/>
                  <a:pt x="44" y="21"/>
                  <a:pt x="43" y="20"/>
                </a:cubicBezTo>
                <a:cubicBezTo>
                  <a:pt x="43" y="20"/>
                  <a:pt x="43" y="20"/>
                  <a:pt x="43" y="20"/>
                </a:cubicBezTo>
                <a:cubicBezTo>
                  <a:pt x="42" y="19"/>
                  <a:pt x="42" y="18"/>
                  <a:pt x="42" y="18"/>
                </a:cubicBezTo>
                <a:cubicBezTo>
                  <a:pt x="42" y="18"/>
                  <a:pt x="42" y="18"/>
                  <a:pt x="41" y="18"/>
                </a:cubicBezTo>
                <a:cubicBezTo>
                  <a:pt x="41" y="18"/>
                  <a:pt x="41" y="18"/>
                  <a:pt x="41" y="18"/>
                </a:cubicBezTo>
                <a:cubicBezTo>
                  <a:pt x="39" y="18"/>
                  <a:pt x="38" y="18"/>
                  <a:pt x="36" y="18"/>
                </a:cubicBezTo>
                <a:cubicBezTo>
                  <a:pt x="35" y="18"/>
                  <a:pt x="35" y="18"/>
                  <a:pt x="35" y="18"/>
                </a:cubicBezTo>
                <a:cubicBezTo>
                  <a:pt x="32" y="17"/>
                  <a:pt x="28" y="17"/>
                  <a:pt x="24" y="17"/>
                </a:cubicBezTo>
                <a:cubicBezTo>
                  <a:pt x="23" y="17"/>
                  <a:pt x="21" y="17"/>
                  <a:pt x="20" y="17"/>
                </a:cubicBezTo>
                <a:cubicBezTo>
                  <a:pt x="19" y="17"/>
                  <a:pt x="19" y="17"/>
                  <a:pt x="19" y="17"/>
                </a:cubicBezTo>
                <a:cubicBezTo>
                  <a:pt x="19" y="18"/>
                  <a:pt x="18" y="18"/>
                  <a:pt x="18" y="18"/>
                </a:cubicBezTo>
                <a:cubicBezTo>
                  <a:pt x="18" y="18"/>
                  <a:pt x="17" y="18"/>
                  <a:pt x="17" y="18"/>
                </a:cubicBezTo>
                <a:cubicBezTo>
                  <a:pt x="16" y="18"/>
                  <a:pt x="16" y="18"/>
                  <a:pt x="16" y="18"/>
                </a:cubicBezTo>
                <a:cubicBezTo>
                  <a:pt x="16" y="18"/>
                  <a:pt x="15" y="18"/>
                  <a:pt x="15" y="18"/>
                </a:cubicBezTo>
                <a:cubicBezTo>
                  <a:pt x="14" y="18"/>
                  <a:pt x="13" y="18"/>
                  <a:pt x="13" y="18"/>
                </a:cubicBezTo>
                <a:cubicBezTo>
                  <a:pt x="12" y="18"/>
                  <a:pt x="12" y="18"/>
                  <a:pt x="12" y="18"/>
                </a:cubicBezTo>
                <a:cubicBezTo>
                  <a:pt x="11" y="17"/>
                  <a:pt x="11" y="17"/>
                  <a:pt x="10" y="16"/>
                </a:cubicBezTo>
                <a:cubicBezTo>
                  <a:pt x="10" y="16"/>
                  <a:pt x="10" y="16"/>
                  <a:pt x="10" y="16"/>
                </a:cubicBezTo>
                <a:cubicBezTo>
                  <a:pt x="10" y="16"/>
                  <a:pt x="9" y="16"/>
                  <a:pt x="9" y="16"/>
                </a:cubicBezTo>
                <a:cubicBezTo>
                  <a:pt x="8" y="16"/>
                  <a:pt x="8" y="16"/>
                  <a:pt x="8" y="16"/>
                </a:cubicBezTo>
                <a:cubicBezTo>
                  <a:pt x="8" y="16"/>
                  <a:pt x="8" y="16"/>
                  <a:pt x="8" y="16"/>
                </a:cubicBezTo>
                <a:cubicBezTo>
                  <a:pt x="8" y="17"/>
                  <a:pt x="8" y="17"/>
                  <a:pt x="7" y="18"/>
                </a:cubicBezTo>
                <a:cubicBezTo>
                  <a:pt x="7" y="19"/>
                  <a:pt x="7" y="19"/>
                  <a:pt x="7" y="20"/>
                </a:cubicBezTo>
                <a:cubicBezTo>
                  <a:pt x="7" y="20"/>
                  <a:pt x="7" y="20"/>
                  <a:pt x="7" y="20"/>
                </a:cubicBezTo>
                <a:cubicBezTo>
                  <a:pt x="7" y="20"/>
                  <a:pt x="7" y="20"/>
                  <a:pt x="7" y="20"/>
                </a:cubicBezTo>
                <a:cubicBezTo>
                  <a:pt x="7" y="20"/>
                  <a:pt x="7" y="20"/>
                  <a:pt x="7" y="20"/>
                </a:cubicBezTo>
                <a:cubicBezTo>
                  <a:pt x="7" y="21"/>
                  <a:pt x="7" y="21"/>
                  <a:pt x="7" y="21"/>
                </a:cubicBezTo>
                <a:cubicBezTo>
                  <a:pt x="7" y="21"/>
                  <a:pt x="7" y="21"/>
                  <a:pt x="7" y="21"/>
                </a:cubicBezTo>
                <a:cubicBezTo>
                  <a:pt x="7" y="22"/>
                  <a:pt x="7" y="22"/>
                  <a:pt x="7" y="22"/>
                </a:cubicBezTo>
                <a:cubicBezTo>
                  <a:pt x="7" y="23"/>
                  <a:pt x="8" y="24"/>
                  <a:pt x="7" y="25"/>
                </a:cubicBezTo>
                <a:cubicBezTo>
                  <a:pt x="6" y="25"/>
                  <a:pt x="6" y="25"/>
                  <a:pt x="6" y="25"/>
                </a:cubicBezTo>
                <a:cubicBezTo>
                  <a:pt x="6" y="25"/>
                  <a:pt x="6" y="25"/>
                  <a:pt x="6" y="25"/>
                </a:cubicBezTo>
                <a:cubicBezTo>
                  <a:pt x="4" y="26"/>
                  <a:pt x="4" y="27"/>
                  <a:pt x="3" y="27"/>
                </a:cubicBezTo>
                <a:cubicBezTo>
                  <a:pt x="3" y="27"/>
                  <a:pt x="3" y="27"/>
                  <a:pt x="3" y="27"/>
                </a:cubicBezTo>
                <a:cubicBezTo>
                  <a:pt x="2" y="28"/>
                  <a:pt x="2" y="28"/>
                  <a:pt x="2" y="28"/>
                </a:cubicBezTo>
                <a:cubicBezTo>
                  <a:pt x="2" y="28"/>
                  <a:pt x="2" y="28"/>
                  <a:pt x="2" y="28"/>
                </a:cubicBezTo>
                <a:cubicBezTo>
                  <a:pt x="2" y="29"/>
                  <a:pt x="2" y="30"/>
                  <a:pt x="2" y="31"/>
                </a:cubicBezTo>
                <a:cubicBezTo>
                  <a:pt x="2" y="32"/>
                  <a:pt x="2" y="32"/>
                  <a:pt x="2" y="33"/>
                </a:cubicBezTo>
                <a:cubicBezTo>
                  <a:pt x="2" y="34"/>
                  <a:pt x="2" y="35"/>
                  <a:pt x="2" y="36"/>
                </a:cubicBezTo>
                <a:cubicBezTo>
                  <a:pt x="2" y="37"/>
                  <a:pt x="2" y="38"/>
                  <a:pt x="2" y="39"/>
                </a:cubicBezTo>
                <a:cubicBezTo>
                  <a:pt x="2" y="39"/>
                  <a:pt x="2" y="38"/>
                  <a:pt x="2" y="38"/>
                </a:cubicBezTo>
                <a:cubicBezTo>
                  <a:pt x="0" y="38"/>
                  <a:pt x="0" y="39"/>
                  <a:pt x="1" y="39"/>
                </a:cubicBezTo>
                <a:cubicBezTo>
                  <a:pt x="1" y="39"/>
                  <a:pt x="2" y="39"/>
                  <a:pt x="2" y="39"/>
                </a:cubicBezTo>
                <a:cubicBezTo>
                  <a:pt x="3" y="40"/>
                  <a:pt x="3" y="43"/>
                  <a:pt x="3" y="44"/>
                </a:cubicBezTo>
                <a:cubicBezTo>
                  <a:pt x="3" y="45"/>
                  <a:pt x="4" y="46"/>
                  <a:pt x="4" y="47"/>
                </a:cubicBezTo>
                <a:cubicBezTo>
                  <a:pt x="5" y="50"/>
                  <a:pt x="5" y="51"/>
                  <a:pt x="6" y="53"/>
                </a:cubicBezTo>
                <a:cubicBezTo>
                  <a:pt x="7" y="55"/>
                  <a:pt x="7" y="56"/>
                  <a:pt x="7" y="58"/>
                </a:cubicBezTo>
                <a:cubicBezTo>
                  <a:pt x="7" y="58"/>
                  <a:pt x="6" y="59"/>
                  <a:pt x="7" y="59"/>
                </a:cubicBezTo>
                <a:cubicBezTo>
                  <a:pt x="7" y="61"/>
                  <a:pt x="8" y="63"/>
                  <a:pt x="9" y="65"/>
                </a:cubicBezTo>
                <a:cubicBezTo>
                  <a:pt x="9" y="66"/>
                  <a:pt x="17" y="65"/>
                  <a:pt x="18" y="65"/>
                </a:cubicBezTo>
                <a:cubicBezTo>
                  <a:pt x="19" y="65"/>
                  <a:pt x="21" y="64"/>
                  <a:pt x="22" y="64"/>
                </a:cubicBezTo>
                <a:cubicBezTo>
                  <a:pt x="23" y="64"/>
                  <a:pt x="24" y="64"/>
                  <a:pt x="25" y="64"/>
                </a:cubicBezTo>
                <a:cubicBezTo>
                  <a:pt x="25" y="62"/>
                  <a:pt x="29" y="61"/>
                  <a:pt x="30" y="59"/>
                </a:cubicBezTo>
                <a:cubicBezTo>
                  <a:pt x="31" y="58"/>
                  <a:pt x="32" y="58"/>
                  <a:pt x="34" y="58"/>
                </a:cubicBezTo>
                <a:cubicBezTo>
                  <a:pt x="38" y="57"/>
                  <a:pt x="42" y="56"/>
                  <a:pt x="46" y="56"/>
                </a:cubicBezTo>
                <a:cubicBezTo>
                  <a:pt x="49" y="55"/>
                  <a:pt x="51" y="54"/>
                  <a:pt x="53" y="52"/>
                </a:cubicBezTo>
                <a:cubicBezTo>
                  <a:pt x="55" y="51"/>
                  <a:pt x="56" y="51"/>
                  <a:pt x="58" y="51"/>
                </a:cubicBezTo>
                <a:cubicBezTo>
                  <a:pt x="59" y="51"/>
                  <a:pt x="62" y="51"/>
                  <a:pt x="62" y="51"/>
                </a:cubicBezTo>
                <a:cubicBezTo>
                  <a:pt x="63" y="50"/>
                  <a:pt x="64" y="49"/>
                  <a:pt x="65" y="47"/>
                </a:cubicBezTo>
                <a:cubicBezTo>
                  <a:pt x="67" y="46"/>
                  <a:pt x="68" y="45"/>
                  <a:pt x="70" y="45"/>
                </a:cubicBezTo>
                <a:cubicBezTo>
                  <a:pt x="71" y="44"/>
                  <a:pt x="72" y="44"/>
                  <a:pt x="74" y="43"/>
                </a:cubicBezTo>
                <a:cubicBezTo>
                  <a:pt x="77" y="42"/>
                  <a:pt x="79" y="42"/>
                  <a:pt x="82" y="41"/>
                </a:cubicBezTo>
                <a:cubicBezTo>
                  <a:pt x="85" y="40"/>
                  <a:pt x="87" y="40"/>
                  <a:pt x="89" y="39"/>
                </a:cubicBezTo>
                <a:cubicBezTo>
                  <a:pt x="91" y="38"/>
                  <a:pt x="93" y="37"/>
                  <a:pt x="95" y="36"/>
                </a:cubicBezTo>
                <a:cubicBezTo>
                  <a:pt x="96" y="36"/>
                  <a:pt x="98" y="35"/>
                  <a:pt x="98" y="35"/>
                </a:cubicBezTo>
                <a:cubicBezTo>
                  <a:pt x="99" y="34"/>
                  <a:pt x="98" y="34"/>
                  <a:pt x="98" y="33"/>
                </a:cubicBezTo>
                <a:cubicBezTo>
                  <a:pt x="98" y="33"/>
                  <a:pt x="98" y="33"/>
                  <a:pt x="98" y="32"/>
                </a:cubicBezTo>
                <a:cubicBezTo>
                  <a:pt x="98" y="32"/>
                  <a:pt x="98" y="32"/>
                  <a:pt x="98" y="32"/>
                </a:cubicBezTo>
                <a:cubicBezTo>
                  <a:pt x="98" y="30"/>
                  <a:pt x="99" y="29"/>
                  <a:pt x="100" y="28"/>
                </a:cubicBezTo>
                <a:cubicBezTo>
                  <a:pt x="101" y="26"/>
                  <a:pt x="101" y="26"/>
                  <a:pt x="103" y="25"/>
                </a:cubicBezTo>
                <a:cubicBezTo>
                  <a:pt x="104" y="25"/>
                  <a:pt x="105" y="25"/>
                  <a:pt x="106" y="24"/>
                </a:cubicBezTo>
                <a:cubicBezTo>
                  <a:pt x="104" y="19"/>
                  <a:pt x="101" y="13"/>
                  <a:pt x="98" y="7"/>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25" name="Freeform 3182">
            <a:extLst>
              <a:ext uri="{FF2B5EF4-FFF2-40B4-BE49-F238E27FC236}">
                <a16:creationId xmlns:a16="http://schemas.microsoft.com/office/drawing/2014/main" id="{5682B89B-9A65-495B-A3D9-505696DE9CC2}"/>
              </a:ext>
            </a:extLst>
          </p:cNvPr>
          <p:cNvSpPr>
            <a:spLocks/>
          </p:cNvSpPr>
          <p:nvPr/>
        </p:nvSpPr>
        <p:spPr bwMode="auto">
          <a:xfrm>
            <a:off x="3960436" y="3378090"/>
            <a:ext cx="55007" cy="48081"/>
          </a:xfrm>
          <a:custGeom>
            <a:avLst/>
            <a:gdLst>
              <a:gd name="T0" fmla="*/ 46 w 47"/>
              <a:gd name="T1" fmla="*/ 5 h 34"/>
              <a:gd name="T2" fmla="*/ 45 w 47"/>
              <a:gd name="T3" fmla="*/ 5 h 34"/>
              <a:gd name="T4" fmla="*/ 44 w 47"/>
              <a:gd name="T5" fmla="*/ 5 h 34"/>
              <a:gd name="T6" fmla="*/ 43 w 47"/>
              <a:gd name="T7" fmla="*/ 0 h 34"/>
              <a:gd name="T8" fmla="*/ 43 w 47"/>
              <a:gd name="T9" fmla="*/ 0 h 34"/>
              <a:gd name="T10" fmla="*/ 40 w 47"/>
              <a:gd name="T11" fmla="*/ 3 h 34"/>
              <a:gd name="T12" fmla="*/ 38 w 47"/>
              <a:gd name="T13" fmla="*/ 6 h 34"/>
              <a:gd name="T14" fmla="*/ 31 w 47"/>
              <a:gd name="T15" fmla="*/ 12 h 34"/>
              <a:gd name="T16" fmla="*/ 28 w 47"/>
              <a:gd name="T17" fmla="*/ 15 h 34"/>
              <a:gd name="T18" fmla="*/ 26 w 47"/>
              <a:gd name="T19" fmla="*/ 19 h 34"/>
              <a:gd name="T20" fmla="*/ 23 w 47"/>
              <a:gd name="T21" fmla="*/ 18 h 34"/>
              <a:gd name="T22" fmla="*/ 20 w 47"/>
              <a:gd name="T23" fmla="*/ 21 h 34"/>
              <a:gd name="T24" fmla="*/ 17 w 47"/>
              <a:gd name="T25" fmla="*/ 21 h 34"/>
              <a:gd name="T26" fmla="*/ 10 w 47"/>
              <a:gd name="T27" fmla="*/ 21 h 34"/>
              <a:gd name="T28" fmla="*/ 0 w 47"/>
              <a:gd name="T29" fmla="*/ 22 h 34"/>
              <a:gd name="T30" fmla="*/ 2 w 47"/>
              <a:gd name="T31" fmla="*/ 23 h 34"/>
              <a:gd name="T32" fmla="*/ 2 w 47"/>
              <a:gd name="T33" fmla="*/ 24 h 34"/>
              <a:gd name="T34" fmla="*/ 4 w 47"/>
              <a:gd name="T35" fmla="*/ 25 h 34"/>
              <a:gd name="T36" fmla="*/ 5 w 47"/>
              <a:gd name="T37" fmla="*/ 27 h 34"/>
              <a:gd name="T38" fmla="*/ 9 w 47"/>
              <a:gd name="T39" fmla="*/ 32 h 34"/>
              <a:gd name="T40" fmla="*/ 34 w 47"/>
              <a:gd name="T41" fmla="*/ 34 h 34"/>
              <a:gd name="T42" fmla="*/ 34 w 47"/>
              <a:gd name="T43" fmla="*/ 33 h 34"/>
              <a:gd name="T44" fmla="*/ 34 w 47"/>
              <a:gd name="T45" fmla="*/ 32 h 34"/>
              <a:gd name="T46" fmla="*/ 35 w 47"/>
              <a:gd name="T47" fmla="*/ 30 h 34"/>
              <a:gd name="T48" fmla="*/ 36 w 47"/>
              <a:gd name="T49" fmla="*/ 25 h 34"/>
              <a:gd name="T50" fmla="*/ 36 w 47"/>
              <a:gd name="T51" fmla="*/ 24 h 34"/>
              <a:gd name="T52" fmla="*/ 36 w 47"/>
              <a:gd name="T53" fmla="*/ 24 h 34"/>
              <a:gd name="T54" fmla="*/ 36 w 47"/>
              <a:gd name="T55" fmla="*/ 24 h 34"/>
              <a:gd name="T56" fmla="*/ 38 w 47"/>
              <a:gd name="T57" fmla="*/ 20 h 34"/>
              <a:gd name="T58" fmla="*/ 39 w 47"/>
              <a:gd name="T59" fmla="*/ 20 h 34"/>
              <a:gd name="T60" fmla="*/ 39 w 47"/>
              <a:gd name="T61" fmla="*/ 20 h 34"/>
              <a:gd name="T62" fmla="*/ 40 w 47"/>
              <a:gd name="T63" fmla="*/ 20 h 34"/>
              <a:gd name="T64" fmla="*/ 40 w 47"/>
              <a:gd name="T65" fmla="*/ 20 h 34"/>
              <a:gd name="T66" fmla="*/ 40 w 47"/>
              <a:gd name="T67" fmla="*/ 20 h 34"/>
              <a:gd name="T68" fmla="*/ 39 w 47"/>
              <a:gd name="T69" fmla="*/ 19 h 34"/>
              <a:gd name="T70" fmla="*/ 40 w 47"/>
              <a:gd name="T71" fmla="*/ 13 h 34"/>
              <a:gd name="T72" fmla="*/ 41 w 47"/>
              <a:gd name="T73" fmla="*/ 12 h 34"/>
              <a:gd name="T74" fmla="*/ 44 w 47"/>
              <a:gd name="T75" fmla="*/ 12 h 34"/>
              <a:gd name="T76" fmla="*/ 45 w 47"/>
              <a:gd name="T77" fmla="*/ 11 h 34"/>
              <a:gd name="T78" fmla="*/ 46 w 47"/>
              <a:gd name="T79" fmla="*/ 10 h 34"/>
              <a:gd name="T80" fmla="*/ 46 w 47"/>
              <a:gd name="T81" fmla="*/ 10 h 34"/>
              <a:gd name="T82" fmla="*/ 46 w 47"/>
              <a:gd name="T83" fmla="*/ 10 h 34"/>
              <a:gd name="T84" fmla="*/ 46 w 47"/>
              <a:gd name="T85" fmla="*/ 9 h 34"/>
              <a:gd name="T86" fmla="*/ 47 w 47"/>
              <a:gd name="T87" fmla="*/ 9 h 34"/>
              <a:gd name="T88" fmla="*/ 47 w 47"/>
              <a:gd name="T89" fmla="*/ 7 h 34"/>
              <a:gd name="T90" fmla="*/ 46 w 47"/>
              <a:gd name="T91"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7" h="34">
                <a:moveTo>
                  <a:pt x="46" y="5"/>
                </a:moveTo>
                <a:cubicBezTo>
                  <a:pt x="46" y="5"/>
                  <a:pt x="45" y="5"/>
                  <a:pt x="45" y="5"/>
                </a:cubicBezTo>
                <a:cubicBezTo>
                  <a:pt x="45" y="5"/>
                  <a:pt x="44" y="5"/>
                  <a:pt x="44" y="5"/>
                </a:cubicBezTo>
                <a:cubicBezTo>
                  <a:pt x="43" y="4"/>
                  <a:pt x="43" y="2"/>
                  <a:pt x="43" y="0"/>
                </a:cubicBezTo>
                <a:cubicBezTo>
                  <a:pt x="43" y="0"/>
                  <a:pt x="43" y="0"/>
                  <a:pt x="43" y="0"/>
                </a:cubicBezTo>
                <a:cubicBezTo>
                  <a:pt x="42" y="1"/>
                  <a:pt x="41" y="2"/>
                  <a:pt x="40" y="3"/>
                </a:cubicBezTo>
                <a:cubicBezTo>
                  <a:pt x="40" y="4"/>
                  <a:pt x="38" y="5"/>
                  <a:pt x="38" y="6"/>
                </a:cubicBezTo>
                <a:cubicBezTo>
                  <a:pt x="35" y="8"/>
                  <a:pt x="33" y="11"/>
                  <a:pt x="31" y="12"/>
                </a:cubicBezTo>
                <a:cubicBezTo>
                  <a:pt x="29" y="13"/>
                  <a:pt x="29" y="14"/>
                  <a:pt x="28" y="15"/>
                </a:cubicBezTo>
                <a:cubicBezTo>
                  <a:pt x="28" y="16"/>
                  <a:pt x="27" y="18"/>
                  <a:pt x="26" y="19"/>
                </a:cubicBezTo>
                <a:cubicBezTo>
                  <a:pt x="25" y="20"/>
                  <a:pt x="24" y="19"/>
                  <a:pt x="23" y="18"/>
                </a:cubicBezTo>
                <a:cubicBezTo>
                  <a:pt x="25" y="20"/>
                  <a:pt x="21" y="21"/>
                  <a:pt x="20" y="21"/>
                </a:cubicBezTo>
                <a:cubicBezTo>
                  <a:pt x="19" y="21"/>
                  <a:pt x="18" y="21"/>
                  <a:pt x="17" y="21"/>
                </a:cubicBezTo>
                <a:cubicBezTo>
                  <a:pt x="15" y="20"/>
                  <a:pt x="12" y="20"/>
                  <a:pt x="10" y="21"/>
                </a:cubicBezTo>
                <a:cubicBezTo>
                  <a:pt x="8" y="21"/>
                  <a:pt x="2" y="23"/>
                  <a:pt x="0" y="22"/>
                </a:cubicBezTo>
                <a:cubicBezTo>
                  <a:pt x="1" y="22"/>
                  <a:pt x="1" y="23"/>
                  <a:pt x="2" y="23"/>
                </a:cubicBezTo>
                <a:cubicBezTo>
                  <a:pt x="2" y="24"/>
                  <a:pt x="2" y="24"/>
                  <a:pt x="2" y="24"/>
                </a:cubicBezTo>
                <a:cubicBezTo>
                  <a:pt x="2" y="24"/>
                  <a:pt x="4" y="25"/>
                  <a:pt x="4" y="25"/>
                </a:cubicBezTo>
                <a:cubicBezTo>
                  <a:pt x="5" y="27"/>
                  <a:pt x="5" y="27"/>
                  <a:pt x="5" y="27"/>
                </a:cubicBezTo>
                <a:cubicBezTo>
                  <a:pt x="6" y="29"/>
                  <a:pt x="7" y="30"/>
                  <a:pt x="9" y="32"/>
                </a:cubicBezTo>
                <a:cubicBezTo>
                  <a:pt x="34" y="34"/>
                  <a:pt x="34" y="34"/>
                  <a:pt x="34" y="34"/>
                </a:cubicBezTo>
                <a:cubicBezTo>
                  <a:pt x="34" y="34"/>
                  <a:pt x="34" y="33"/>
                  <a:pt x="34" y="33"/>
                </a:cubicBezTo>
                <a:cubicBezTo>
                  <a:pt x="34" y="33"/>
                  <a:pt x="34" y="33"/>
                  <a:pt x="34" y="32"/>
                </a:cubicBezTo>
                <a:cubicBezTo>
                  <a:pt x="35" y="30"/>
                  <a:pt x="35" y="30"/>
                  <a:pt x="35" y="30"/>
                </a:cubicBezTo>
                <a:cubicBezTo>
                  <a:pt x="35" y="28"/>
                  <a:pt x="35" y="27"/>
                  <a:pt x="36" y="25"/>
                </a:cubicBezTo>
                <a:cubicBezTo>
                  <a:pt x="36" y="25"/>
                  <a:pt x="36" y="25"/>
                  <a:pt x="36" y="24"/>
                </a:cubicBezTo>
                <a:cubicBezTo>
                  <a:pt x="36" y="24"/>
                  <a:pt x="36" y="24"/>
                  <a:pt x="36" y="24"/>
                </a:cubicBezTo>
                <a:cubicBezTo>
                  <a:pt x="36" y="24"/>
                  <a:pt x="36" y="24"/>
                  <a:pt x="36" y="24"/>
                </a:cubicBezTo>
                <a:cubicBezTo>
                  <a:pt x="36" y="22"/>
                  <a:pt x="37" y="21"/>
                  <a:pt x="38" y="20"/>
                </a:cubicBezTo>
                <a:cubicBezTo>
                  <a:pt x="39" y="20"/>
                  <a:pt x="39" y="20"/>
                  <a:pt x="39" y="20"/>
                </a:cubicBezTo>
                <a:cubicBezTo>
                  <a:pt x="39" y="20"/>
                  <a:pt x="39" y="20"/>
                  <a:pt x="39" y="20"/>
                </a:cubicBezTo>
                <a:cubicBezTo>
                  <a:pt x="39" y="20"/>
                  <a:pt x="40" y="20"/>
                  <a:pt x="40" y="20"/>
                </a:cubicBezTo>
                <a:cubicBezTo>
                  <a:pt x="40" y="20"/>
                  <a:pt x="40" y="20"/>
                  <a:pt x="40" y="20"/>
                </a:cubicBezTo>
                <a:cubicBezTo>
                  <a:pt x="40" y="20"/>
                  <a:pt x="40" y="20"/>
                  <a:pt x="40" y="20"/>
                </a:cubicBezTo>
                <a:cubicBezTo>
                  <a:pt x="40" y="20"/>
                  <a:pt x="39" y="19"/>
                  <a:pt x="39" y="19"/>
                </a:cubicBezTo>
                <a:cubicBezTo>
                  <a:pt x="39" y="17"/>
                  <a:pt x="40" y="15"/>
                  <a:pt x="40" y="13"/>
                </a:cubicBezTo>
                <a:cubicBezTo>
                  <a:pt x="41" y="12"/>
                  <a:pt x="41" y="12"/>
                  <a:pt x="41" y="12"/>
                </a:cubicBezTo>
                <a:cubicBezTo>
                  <a:pt x="44" y="12"/>
                  <a:pt x="44" y="12"/>
                  <a:pt x="44" y="12"/>
                </a:cubicBezTo>
                <a:cubicBezTo>
                  <a:pt x="44" y="12"/>
                  <a:pt x="45" y="11"/>
                  <a:pt x="45" y="11"/>
                </a:cubicBezTo>
                <a:cubicBezTo>
                  <a:pt x="45" y="11"/>
                  <a:pt x="45" y="11"/>
                  <a:pt x="46" y="10"/>
                </a:cubicBezTo>
                <a:cubicBezTo>
                  <a:pt x="46" y="10"/>
                  <a:pt x="46" y="10"/>
                  <a:pt x="46" y="10"/>
                </a:cubicBezTo>
                <a:cubicBezTo>
                  <a:pt x="46" y="10"/>
                  <a:pt x="46" y="10"/>
                  <a:pt x="46" y="10"/>
                </a:cubicBezTo>
                <a:cubicBezTo>
                  <a:pt x="46" y="9"/>
                  <a:pt x="46" y="9"/>
                  <a:pt x="46" y="9"/>
                </a:cubicBezTo>
                <a:cubicBezTo>
                  <a:pt x="47" y="9"/>
                  <a:pt x="47" y="9"/>
                  <a:pt x="47" y="9"/>
                </a:cubicBezTo>
                <a:cubicBezTo>
                  <a:pt x="47" y="8"/>
                  <a:pt x="47" y="7"/>
                  <a:pt x="47" y="7"/>
                </a:cubicBezTo>
                <a:cubicBezTo>
                  <a:pt x="47" y="6"/>
                  <a:pt x="46" y="6"/>
                  <a:pt x="46" y="5"/>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26" name="Freeform 3183">
            <a:extLst>
              <a:ext uri="{FF2B5EF4-FFF2-40B4-BE49-F238E27FC236}">
                <a16:creationId xmlns:a16="http://schemas.microsoft.com/office/drawing/2014/main" id="{00EB6707-4F79-4D87-848A-E196B71E6CCE}"/>
              </a:ext>
            </a:extLst>
          </p:cNvPr>
          <p:cNvSpPr>
            <a:spLocks/>
          </p:cNvSpPr>
          <p:nvPr/>
        </p:nvSpPr>
        <p:spPr bwMode="auto">
          <a:xfrm>
            <a:off x="3752796" y="3284302"/>
            <a:ext cx="250754" cy="235657"/>
          </a:xfrm>
          <a:custGeom>
            <a:avLst/>
            <a:gdLst>
              <a:gd name="T0" fmla="*/ 87 w 214"/>
              <a:gd name="T1" fmla="*/ 164 h 168"/>
              <a:gd name="T2" fmla="*/ 91 w 214"/>
              <a:gd name="T3" fmla="*/ 157 h 168"/>
              <a:gd name="T4" fmla="*/ 96 w 214"/>
              <a:gd name="T5" fmla="*/ 158 h 168"/>
              <a:gd name="T6" fmla="*/ 99 w 214"/>
              <a:gd name="T7" fmla="*/ 158 h 168"/>
              <a:gd name="T8" fmla="*/ 107 w 214"/>
              <a:gd name="T9" fmla="*/ 157 h 168"/>
              <a:gd name="T10" fmla="*/ 125 w 214"/>
              <a:gd name="T11" fmla="*/ 159 h 168"/>
              <a:gd name="T12" fmla="*/ 128 w 214"/>
              <a:gd name="T13" fmla="*/ 162 h 168"/>
              <a:gd name="T14" fmla="*/ 131 w 214"/>
              <a:gd name="T15" fmla="*/ 162 h 168"/>
              <a:gd name="T16" fmla="*/ 145 w 214"/>
              <a:gd name="T17" fmla="*/ 147 h 168"/>
              <a:gd name="T18" fmla="*/ 160 w 214"/>
              <a:gd name="T19" fmla="*/ 144 h 168"/>
              <a:gd name="T20" fmla="*/ 181 w 214"/>
              <a:gd name="T21" fmla="*/ 140 h 168"/>
              <a:gd name="T22" fmla="*/ 209 w 214"/>
              <a:gd name="T23" fmla="*/ 130 h 168"/>
              <a:gd name="T24" fmla="*/ 210 w 214"/>
              <a:gd name="T25" fmla="*/ 125 h 168"/>
              <a:gd name="T26" fmla="*/ 214 w 214"/>
              <a:gd name="T27" fmla="*/ 113 h 168"/>
              <a:gd name="T28" fmla="*/ 214 w 214"/>
              <a:gd name="T29" fmla="*/ 109 h 168"/>
              <a:gd name="T30" fmla="*/ 212 w 214"/>
              <a:gd name="T31" fmla="*/ 105 h 168"/>
              <a:gd name="T32" fmla="*/ 184 w 214"/>
              <a:gd name="T33" fmla="*/ 100 h 168"/>
              <a:gd name="T34" fmla="*/ 174 w 214"/>
              <a:gd name="T35" fmla="*/ 87 h 168"/>
              <a:gd name="T36" fmla="*/ 173 w 214"/>
              <a:gd name="T37" fmla="*/ 83 h 168"/>
              <a:gd name="T38" fmla="*/ 172 w 214"/>
              <a:gd name="T39" fmla="*/ 82 h 168"/>
              <a:gd name="T40" fmla="*/ 169 w 214"/>
              <a:gd name="T41" fmla="*/ 82 h 168"/>
              <a:gd name="T42" fmla="*/ 168 w 214"/>
              <a:gd name="T43" fmla="*/ 82 h 168"/>
              <a:gd name="T44" fmla="*/ 163 w 214"/>
              <a:gd name="T45" fmla="*/ 73 h 168"/>
              <a:gd name="T46" fmla="*/ 161 w 214"/>
              <a:gd name="T47" fmla="*/ 62 h 168"/>
              <a:gd name="T48" fmla="*/ 156 w 214"/>
              <a:gd name="T49" fmla="*/ 57 h 168"/>
              <a:gd name="T50" fmla="*/ 151 w 214"/>
              <a:gd name="T51" fmla="*/ 50 h 168"/>
              <a:gd name="T52" fmla="*/ 145 w 214"/>
              <a:gd name="T53" fmla="*/ 45 h 168"/>
              <a:gd name="T54" fmla="*/ 142 w 214"/>
              <a:gd name="T55" fmla="*/ 40 h 168"/>
              <a:gd name="T56" fmla="*/ 138 w 214"/>
              <a:gd name="T57" fmla="*/ 40 h 168"/>
              <a:gd name="T58" fmla="*/ 133 w 214"/>
              <a:gd name="T59" fmla="*/ 37 h 168"/>
              <a:gd name="T60" fmla="*/ 132 w 214"/>
              <a:gd name="T61" fmla="*/ 36 h 168"/>
              <a:gd name="T62" fmla="*/ 124 w 214"/>
              <a:gd name="T63" fmla="*/ 34 h 168"/>
              <a:gd name="T64" fmla="*/ 122 w 214"/>
              <a:gd name="T65" fmla="*/ 34 h 168"/>
              <a:gd name="T66" fmla="*/ 106 w 214"/>
              <a:gd name="T67" fmla="*/ 33 h 168"/>
              <a:gd name="T68" fmla="*/ 88 w 214"/>
              <a:gd name="T69" fmla="*/ 20 h 168"/>
              <a:gd name="T70" fmla="*/ 72 w 214"/>
              <a:gd name="T71" fmla="*/ 9 h 168"/>
              <a:gd name="T72" fmla="*/ 48 w 214"/>
              <a:gd name="T73" fmla="*/ 0 h 168"/>
              <a:gd name="T74" fmla="*/ 40 w 214"/>
              <a:gd name="T75" fmla="*/ 3 h 168"/>
              <a:gd name="T76" fmla="*/ 35 w 214"/>
              <a:gd name="T77" fmla="*/ 14 h 168"/>
              <a:gd name="T78" fmla="*/ 37 w 214"/>
              <a:gd name="T79" fmla="*/ 17 h 168"/>
              <a:gd name="T80" fmla="*/ 28 w 214"/>
              <a:gd name="T81" fmla="*/ 24 h 168"/>
              <a:gd name="T82" fmla="*/ 25 w 214"/>
              <a:gd name="T83" fmla="*/ 25 h 168"/>
              <a:gd name="T84" fmla="*/ 17 w 214"/>
              <a:gd name="T85" fmla="*/ 33 h 168"/>
              <a:gd name="T86" fmla="*/ 6 w 214"/>
              <a:gd name="T87" fmla="*/ 31 h 168"/>
              <a:gd name="T88" fmla="*/ 5 w 214"/>
              <a:gd name="T89" fmla="*/ 32 h 168"/>
              <a:gd name="T90" fmla="*/ 4 w 214"/>
              <a:gd name="T91" fmla="*/ 44 h 168"/>
              <a:gd name="T92" fmla="*/ 22 w 214"/>
              <a:gd name="T93" fmla="*/ 66 h 168"/>
              <a:gd name="T94" fmla="*/ 29 w 214"/>
              <a:gd name="T95" fmla="*/ 81 h 168"/>
              <a:gd name="T96" fmla="*/ 41 w 214"/>
              <a:gd name="T97" fmla="*/ 92 h 168"/>
              <a:gd name="T98" fmla="*/ 47 w 214"/>
              <a:gd name="T99" fmla="*/ 107 h 168"/>
              <a:gd name="T100" fmla="*/ 56 w 214"/>
              <a:gd name="T101" fmla="*/ 129 h 168"/>
              <a:gd name="T102" fmla="*/ 62 w 214"/>
              <a:gd name="T103" fmla="*/ 132 h 168"/>
              <a:gd name="T104" fmla="*/ 81 w 214"/>
              <a:gd name="T105" fmla="*/ 16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4" h="168">
                <a:moveTo>
                  <a:pt x="87" y="166"/>
                </a:moveTo>
                <a:cubicBezTo>
                  <a:pt x="87" y="166"/>
                  <a:pt x="88" y="166"/>
                  <a:pt x="88" y="166"/>
                </a:cubicBezTo>
                <a:cubicBezTo>
                  <a:pt x="88" y="166"/>
                  <a:pt x="88" y="166"/>
                  <a:pt x="88" y="165"/>
                </a:cubicBezTo>
                <a:cubicBezTo>
                  <a:pt x="87" y="165"/>
                  <a:pt x="87" y="164"/>
                  <a:pt x="87" y="164"/>
                </a:cubicBezTo>
                <a:cubicBezTo>
                  <a:pt x="87" y="164"/>
                  <a:pt x="87" y="163"/>
                  <a:pt x="87" y="163"/>
                </a:cubicBezTo>
                <a:cubicBezTo>
                  <a:pt x="87" y="163"/>
                  <a:pt x="87" y="162"/>
                  <a:pt x="87" y="162"/>
                </a:cubicBezTo>
                <a:cubicBezTo>
                  <a:pt x="87" y="161"/>
                  <a:pt x="88" y="161"/>
                  <a:pt x="88" y="161"/>
                </a:cubicBezTo>
                <a:cubicBezTo>
                  <a:pt x="89" y="157"/>
                  <a:pt x="90" y="157"/>
                  <a:pt x="91" y="157"/>
                </a:cubicBezTo>
                <a:cubicBezTo>
                  <a:pt x="91" y="157"/>
                  <a:pt x="91" y="157"/>
                  <a:pt x="91" y="157"/>
                </a:cubicBezTo>
                <a:cubicBezTo>
                  <a:pt x="92" y="157"/>
                  <a:pt x="93" y="157"/>
                  <a:pt x="94" y="157"/>
                </a:cubicBezTo>
                <a:cubicBezTo>
                  <a:pt x="94" y="157"/>
                  <a:pt x="95" y="158"/>
                  <a:pt x="95" y="158"/>
                </a:cubicBezTo>
                <a:cubicBezTo>
                  <a:pt x="95" y="158"/>
                  <a:pt x="96" y="158"/>
                  <a:pt x="96" y="158"/>
                </a:cubicBezTo>
                <a:cubicBezTo>
                  <a:pt x="96" y="158"/>
                  <a:pt x="96" y="158"/>
                  <a:pt x="96" y="158"/>
                </a:cubicBezTo>
                <a:cubicBezTo>
                  <a:pt x="96" y="158"/>
                  <a:pt x="96" y="158"/>
                  <a:pt x="97" y="158"/>
                </a:cubicBezTo>
                <a:cubicBezTo>
                  <a:pt x="97" y="159"/>
                  <a:pt x="97" y="159"/>
                  <a:pt x="98" y="159"/>
                </a:cubicBezTo>
                <a:cubicBezTo>
                  <a:pt x="98" y="159"/>
                  <a:pt x="98" y="158"/>
                  <a:pt x="99" y="158"/>
                </a:cubicBezTo>
                <a:cubicBezTo>
                  <a:pt x="99" y="158"/>
                  <a:pt x="99" y="158"/>
                  <a:pt x="99" y="158"/>
                </a:cubicBezTo>
                <a:cubicBezTo>
                  <a:pt x="100" y="158"/>
                  <a:pt x="100" y="158"/>
                  <a:pt x="100" y="158"/>
                </a:cubicBezTo>
                <a:cubicBezTo>
                  <a:pt x="101" y="158"/>
                  <a:pt x="102" y="158"/>
                  <a:pt x="102" y="158"/>
                </a:cubicBezTo>
                <a:cubicBezTo>
                  <a:pt x="104" y="158"/>
                  <a:pt x="106" y="157"/>
                  <a:pt x="107" y="157"/>
                </a:cubicBezTo>
                <a:cubicBezTo>
                  <a:pt x="111" y="157"/>
                  <a:pt x="115" y="158"/>
                  <a:pt x="119" y="158"/>
                </a:cubicBezTo>
                <a:cubicBezTo>
                  <a:pt x="121" y="158"/>
                  <a:pt x="123" y="159"/>
                  <a:pt x="124" y="159"/>
                </a:cubicBezTo>
                <a:cubicBezTo>
                  <a:pt x="125" y="159"/>
                  <a:pt x="125" y="159"/>
                  <a:pt x="125" y="159"/>
                </a:cubicBezTo>
                <a:cubicBezTo>
                  <a:pt x="125" y="159"/>
                  <a:pt x="125" y="159"/>
                  <a:pt x="125" y="159"/>
                </a:cubicBezTo>
                <a:cubicBezTo>
                  <a:pt x="125" y="159"/>
                  <a:pt x="125" y="159"/>
                  <a:pt x="125" y="159"/>
                </a:cubicBezTo>
                <a:cubicBezTo>
                  <a:pt x="127" y="159"/>
                  <a:pt x="127" y="160"/>
                  <a:pt x="128" y="161"/>
                </a:cubicBezTo>
                <a:cubicBezTo>
                  <a:pt x="128" y="161"/>
                  <a:pt x="128" y="161"/>
                  <a:pt x="128" y="161"/>
                </a:cubicBezTo>
                <a:cubicBezTo>
                  <a:pt x="128" y="162"/>
                  <a:pt x="128" y="162"/>
                  <a:pt x="128" y="162"/>
                </a:cubicBezTo>
                <a:cubicBezTo>
                  <a:pt x="128" y="162"/>
                  <a:pt x="128" y="162"/>
                  <a:pt x="129" y="162"/>
                </a:cubicBezTo>
                <a:cubicBezTo>
                  <a:pt x="129" y="162"/>
                  <a:pt x="129" y="162"/>
                  <a:pt x="129" y="162"/>
                </a:cubicBezTo>
                <a:cubicBezTo>
                  <a:pt x="129" y="162"/>
                  <a:pt x="129" y="162"/>
                  <a:pt x="129" y="162"/>
                </a:cubicBezTo>
                <a:cubicBezTo>
                  <a:pt x="130" y="162"/>
                  <a:pt x="130" y="162"/>
                  <a:pt x="131" y="162"/>
                </a:cubicBezTo>
                <a:cubicBezTo>
                  <a:pt x="131" y="161"/>
                  <a:pt x="132" y="161"/>
                  <a:pt x="132" y="160"/>
                </a:cubicBezTo>
                <a:cubicBezTo>
                  <a:pt x="139" y="150"/>
                  <a:pt x="139" y="150"/>
                  <a:pt x="139" y="150"/>
                </a:cubicBezTo>
                <a:cubicBezTo>
                  <a:pt x="139" y="150"/>
                  <a:pt x="139" y="150"/>
                  <a:pt x="140" y="150"/>
                </a:cubicBezTo>
                <a:cubicBezTo>
                  <a:pt x="141" y="149"/>
                  <a:pt x="143" y="148"/>
                  <a:pt x="145" y="147"/>
                </a:cubicBezTo>
                <a:cubicBezTo>
                  <a:pt x="145" y="147"/>
                  <a:pt x="145" y="147"/>
                  <a:pt x="145" y="147"/>
                </a:cubicBezTo>
                <a:cubicBezTo>
                  <a:pt x="146" y="147"/>
                  <a:pt x="146" y="146"/>
                  <a:pt x="147" y="146"/>
                </a:cubicBezTo>
                <a:cubicBezTo>
                  <a:pt x="150" y="144"/>
                  <a:pt x="155" y="144"/>
                  <a:pt x="159" y="144"/>
                </a:cubicBezTo>
                <a:cubicBezTo>
                  <a:pt x="160" y="144"/>
                  <a:pt x="160" y="144"/>
                  <a:pt x="160" y="144"/>
                </a:cubicBezTo>
                <a:cubicBezTo>
                  <a:pt x="164" y="143"/>
                  <a:pt x="169" y="143"/>
                  <a:pt x="173" y="142"/>
                </a:cubicBezTo>
                <a:cubicBezTo>
                  <a:pt x="175" y="141"/>
                  <a:pt x="177" y="141"/>
                  <a:pt x="179" y="141"/>
                </a:cubicBezTo>
                <a:cubicBezTo>
                  <a:pt x="179" y="140"/>
                  <a:pt x="179" y="140"/>
                  <a:pt x="179" y="140"/>
                </a:cubicBezTo>
                <a:cubicBezTo>
                  <a:pt x="180" y="140"/>
                  <a:pt x="181" y="140"/>
                  <a:pt x="181" y="140"/>
                </a:cubicBezTo>
                <a:cubicBezTo>
                  <a:pt x="197" y="135"/>
                  <a:pt x="197" y="135"/>
                  <a:pt x="197" y="135"/>
                </a:cubicBezTo>
                <a:cubicBezTo>
                  <a:pt x="200" y="133"/>
                  <a:pt x="204" y="132"/>
                  <a:pt x="207" y="131"/>
                </a:cubicBezTo>
                <a:cubicBezTo>
                  <a:pt x="209" y="130"/>
                  <a:pt x="209" y="130"/>
                  <a:pt x="209" y="130"/>
                </a:cubicBezTo>
                <a:cubicBezTo>
                  <a:pt x="209" y="130"/>
                  <a:pt x="209" y="130"/>
                  <a:pt x="209" y="130"/>
                </a:cubicBezTo>
                <a:cubicBezTo>
                  <a:pt x="209" y="130"/>
                  <a:pt x="209" y="129"/>
                  <a:pt x="209" y="128"/>
                </a:cubicBezTo>
                <a:cubicBezTo>
                  <a:pt x="209" y="128"/>
                  <a:pt x="209" y="128"/>
                  <a:pt x="209" y="128"/>
                </a:cubicBezTo>
                <a:cubicBezTo>
                  <a:pt x="210" y="127"/>
                  <a:pt x="210" y="127"/>
                  <a:pt x="210" y="127"/>
                </a:cubicBezTo>
                <a:cubicBezTo>
                  <a:pt x="210" y="126"/>
                  <a:pt x="210" y="126"/>
                  <a:pt x="210" y="125"/>
                </a:cubicBezTo>
                <a:cubicBezTo>
                  <a:pt x="210" y="125"/>
                  <a:pt x="210" y="125"/>
                  <a:pt x="211" y="124"/>
                </a:cubicBezTo>
                <a:cubicBezTo>
                  <a:pt x="211" y="124"/>
                  <a:pt x="211" y="123"/>
                  <a:pt x="211" y="122"/>
                </a:cubicBezTo>
                <a:cubicBezTo>
                  <a:pt x="213" y="116"/>
                  <a:pt x="213" y="116"/>
                  <a:pt x="213" y="116"/>
                </a:cubicBezTo>
                <a:cubicBezTo>
                  <a:pt x="214" y="115"/>
                  <a:pt x="214" y="114"/>
                  <a:pt x="214" y="113"/>
                </a:cubicBezTo>
                <a:cubicBezTo>
                  <a:pt x="214" y="112"/>
                  <a:pt x="214" y="112"/>
                  <a:pt x="214" y="111"/>
                </a:cubicBezTo>
                <a:cubicBezTo>
                  <a:pt x="214" y="110"/>
                  <a:pt x="214" y="110"/>
                  <a:pt x="214" y="109"/>
                </a:cubicBezTo>
                <a:cubicBezTo>
                  <a:pt x="214" y="109"/>
                  <a:pt x="214" y="109"/>
                  <a:pt x="214" y="109"/>
                </a:cubicBezTo>
                <a:cubicBezTo>
                  <a:pt x="214" y="109"/>
                  <a:pt x="214" y="109"/>
                  <a:pt x="214" y="109"/>
                </a:cubicBezTo>
                <a:cubicBezTo>
                  <a:pt x="214" y="109"/>
                  <a:pt x="213" y="108"/>
                  <a:pt x="213" y="108"/>
                </a:cubicBezTo>
                <a:cubicBezTo>
                  <a:pt x="213" y="107"/>
                  <a:pt x="213" y="107"/>
                  <a:pt x="213" y="107"/>
                </a:cubicBezTo>
                <a:cubicBezTo>
                  <a:pt x="213" y="106"/>
                  <a:pt x="212" y="106"/>
                  <a:pt x="212" y="105"/>
                </a:cubicBezTo>
                <a:cubicBezTo>
                  <a:pt x="212" y="105"/>
                  <a:pt x="212" y="105"/>
                  <a:pt x="212" y="105"/>
                </a:cubicBezTo>
                <a:cubicBezTo>
                  <a:pt x="212" y="105"/>
                  <a:pt x="211" y="104"/>
                  <a:pt x="211" y="104"/>
                </a:cubicBezTo>
                <a:cubicBezTo>
                  <a:pt x="211" y="104"/>
                  <a:pt x="211" y="104"/>
                  <a:pt x="211" y="104"/>
                </a:cubicBezTo>
                <a:cubicBezTo>
                  <a:pt x="185" y="101"/>
                  <a:pt x="185" y="101"/>
                  <a:pt x="185" y="101"/>
                </a:cubicBezTo>
                <a:cubicBezTo>
                  <a:pt x="184" y="101"/>
                  <a:pt x="184" y="101"/>
                  <a:pt x="184" y="100"/>
                </a:cubicBezTo>
                <a:cubicBezTo>
                  <a:pt x="182" y="99"/>
                  <a:pt x="181" y="97"/>
                  <a:pt x="180" y="95"/>
                </a:cubicBezTo>
                <a:cubicBezTo>
                  <a:pt x="177" y="92"/>
                  <a:pt x="177" y="92"/>
                  <a:pt x="177" y="92"/>
                </a:cubicBezTo>
                <a:cubicBezTo>
                  <a:pt x="177" y="92"/>
                  <a:pt x="177" y="92"/>
                  <a:pt x="177" y="92"/>
                </a:cubicBezTo>
                <a:cubicBezTo>
                  <a:pt x="175" y="90"/>
                  <a:pt x="174" y="89"/>
                  <a:pt x="174" y="87"/>
                </a:cubicBezTo>
                <a:cubicBezTo>
                  <a:pt x="173" y="86"/>
                  <a:pt x="173" y="86"/>
                  <a:pt x="173" y="86"/>
                </a:cubicBezTo>
                <a:cubicBezTo>
                  <a:pt x="173" y="85"/>
                  <a:pt x="172" y="85"/>
                  <a:pt x="172" y="85"/>
                </a:cubicBezTo>
                <a:cubicBezTo>
                  <a:pt x="172" y="85"/>
                  <a:pt x="172" y="84"/>
                  <a:pt x="172" y="84"/>
                </a:cubicBezTo>
                <a:cubicBezTo>
                  <a:pt x="172" y="83"/>
                  <a:pt x="173" y="83"/>
                  <a:pt x="173" y="83"/>
                </a:cubicBezTo>
                <a:cubicBezTo>
                  <a:pt x="173" y="83"/>
                  <a:pt x="174" y="82"/>
                  <a:pt x="174" y="82"/>
                </a:cubicBezTo>
                <a:cubicBezTo>
                  <a:pt x="173" y="82"/>
                  <a:pt x="173" y="82"/>
                  <a:pt x="173" y="82"/>
                </a:cubicBezTo>
                <a:cubicBezTo>
                  <a:pt x="173" y="82"/>
                  <a:pt x="173" y="82"/>
                  <a:pt x="173" y="82"/>
                </a:cubicBezTo>
                <a:cubicBezTo>
                  <a:pt x="173" y="82"/>
                  <a:pt x="172" y="82"/>
                  <a:pt x="172" y="82"/>
                </a:cubicBezTo>
                <a:cubicBezTo>
                  <a:pt x="172" y="82"/>
                  <a:pt x="172" y="82"/>
                  <a:pt x="172" y="82"/>
                </a:cubicBezTo>
                <a:cubicBezTo>
                  <a:pt x="171" y="82"/>
                  <a:pt x="171" y="82"/>
                  <a:pt x="170" y="82"/>
                </a:cubicBezTo>
                <a:cubicBezTo>
                  <a:pt x="170" y="82"/>
                  <a:pt x="170" y="82"/>
                  <a:pt x="169" y="82"/>
                </a:cubicBezTo>
                <a:cubicBezTo>
                  <a:pt x="169" y="82"/>
                  <a:pt x="169" y="82"/>
                  <a:pt x="169" y="82"/>
                </a:cubicBezTo>
                <a:cubicBezTo>
                  <a:pt x="169" y="82"/>
                  <a:pt x="169" y="82"/>
                  <a:pt x="169" y="82"/>
                </a:cubicBezTo>
                <a:cubicBezTo>
                  <a:pt x="169" y="82"/>
                  <a:pt x="169" y="82"/>
                  <a:pt x="169" y="82"/>
                </a:cubicBezTo>
                <a:cubicBezTo>
                  <a:pt x="169" y="82"/>
                  <a:pt x="169" y="82"/>
                  <a:pt x="169" y="82"/>
                </a:cubicBezTo>
                <a:cubicBezTo>
                  <a:pt x="169" y="82"/>
                  <a:pt x="168" y="82"/>
                  <a:pt x="168" y="82"/>
                </a:cubicBezTo>
                <a:cubicBezTo>
                  <a:pt x="168" y="82"/>
                  <a:pt x="167" y="81"/>
                  <a:pt x="167" y="80"/>
                </a:cubicBezTo>
                <a:cubicBezTo>
                  <a:pt x="167" y="80"/>
                  <a:pt x="167" y="80"/>
                  <a:pt x="167" y="80"/>
                </a:cubicBezTo>
                <a:cubicBezTo>
                  <a:pt x="167" y="80"/>
                  <a:pt x="167" y="80"/>
                  <a:pt x="167" y="80"/>
                </a:cubicBezTo>
                <a:cubicBezTo>
                  <a:pt x="165" y="78"/>
                  <a:pt x="164" y="75"/>
                  <a:pt x="163" y="73"/>
                </a:cubicBezTo>
                <a:cubicBezTo>
                  <a:pt x="161" y="71"/>
                  <a:pt x="159" y="69"/>
                  <a:pt x="159" y="67"/>
                </a:cubicBezTo>
                <a:cubicBezTo>
                  <a:pt x="158" y="66"/>
                  <a:pt x="158" y="65"/>
                  <a:pt x="159" y="65"/>
                </a:cubicBezTo>
                <a:cubicBezTo>
                  <a:pt x="159" y="64"/>
                  <a:pt x="160" y="66"/>
                  <a:pt x="160" y="66"/>
                </a:cubicBezTo>
                <a:cubicBezTo>
                  <a:pt x="160" y="65"/>
                  <a:pt x="161" y="63"/>
                  <a:pt x="161" y="62"/>
                </a:cubicBezTo>
                <a:cubicBezTo>
                  <a:pt x="160" y="61"/>
                  <a:pt x="158" y="61"/>
                  <a:pt x="159" y="59"/>
                </a:cubicBezTo>
                <a:cubicBezTo>
                  <a:pt x="159" y="59"/>
                  <a:pt x="159" y="60"/>
                  <a:pt x="160" y="59"/>
                </a:cubicBezTo>
                <a:cubicBezTo>
                  <a:pt x="159" y="59"/>
                  <a:pt x="159" y="58"/>
                  <a:pt x="158" y="57"/>
                </a:cubicBezTo>
                <a:cubicBezTo>
                  <a:pt x="157" y="57"/>
                  <a:pt x="157" y="57"/>
                  <a:pt x="156" y="57"/>
                </a:cubicBezTo>
                <a:cubicBezTo>
                  <a:pt x="155" y="56"/>
                  <a:pt x="155" y="54"/>
                  <a:pt x="154" y="54"/>
                </a:cubicBezTo>
                <a:cubicBezTo>
                  <a:pt x="154" y="54"/>
                  <a:pt x="154" y="54"/>
                  <a:pt x="154" y="54"/>
                </a:cubicBezTo>
                <a:cubicBezTo>
                  <a:pt x="152" y="54"/>
                  <a:pt x="151" y="52"/>
                  <a:pt x="150" y="51"/>
                </a:cubicBezTo>
                <a:cubicBezTo>
                  <a:pt x="150" y="51"/>
                  <a:pt x="151" y="51"/>
                  <a:pt x="151" y="50"/>
                </a:cubicBezTo>
                <a:cubicBezTo>
                  <a:pt x="151" y="49"/>
                  <a:pt x="150" y="50"/>
                  <a:pt x="149" y="50"/>
                </a:cubicBezTo>
                <a:cubicBezTo>
                  <a:pt x="149" y="50"/>
                  <a:pt x="149" y="49"/>
                  <a:pt x="148" y="49"/>
                </a:cubicBezTo>
                <a:cubicBezTo>
                  <a:pt x="147" y="49"/>
                  <a:pt x="147" y="49"/>
                  <a:pt x="146" y="48"/>
                </a:cubicBezTo>
                <a:cubicBezTo>
                  <a:pt x="146" y="47"/>
                  <a:pt x="146" y="46"/>
                  <a:pt x="145" y="45"/>
                </a:cubicBezTo>
                <a:cubicBezTo>
                  <a:pt x="144" y="43"/>
                  <a:pt x="144" y="42"/>
                  <a:pt x="143" y="40"/>
                </a:cubicBezTo>
                <a:cubicBezTo>
                  <a:pt x="143" y="40"/>
                  <a:pt x="143" y="40"/>
                  <a:pt x="143" y="40"/>
                </a:cubicBezTo>
                <a:cubicBezTo>
                  <a:pt x="142" y="40"/>
                  <a:pt x="142" y="40"/>
                  <a:pt x="142" y="40"/>
                </a:cubicBezTo>
                <a:cubicBezTo>
                  <a:pt x="142" y="40"/>
                  <a:pt x="142" y="40"/>
                  <a:pt x="142" y="40"/>
                </a:cubicBezTo>
                <a:cubicBezTo>
                  <a:pt x="142" y="40"/>
                  <a:pt x="142" y="40"/>
                  <a:pt x="142" y="40"/>
                </a:cubicBezTo>
                <a:cubicBezTo>
                  <a:pt x="141" y="40"/>
                  <a:pt x="141" y="40"/>
                  <a:pt x="141" y="40"/>
                </a:cubicBezTo>
                <a:cubicBezTo>
                  <a:pt x="140" y="40"/>
                  <a:pt x="140" y="40"/>
                  <a:pt x="140" y="40"/>
                </a:cubicBezTo>
                <a:cubicBezTo>
                  <a:pt x="140" y="40"/>
                  <a:pt x="139" y="40"/>
                  <a:pt x="138" y="40"/>
                </a:cubicBezTo>
                <a:cubicBezTo>
                  <a:pt x="137" y="40"/>
                  <a:pt x="136" y="40"/>
                  <a:pt x="135" y="40"/>
                </a:cubicBezTo>
                <a:cubicBezTo>
                  <a:pt x="134" y="39"/>
                  <a:pt x="133" y="39"/>
                  <a:pt x="133" y="38"/>
                </a:cubicBezTo>
                <a:cubicBezTo>
                  <a:pt x="133" y="38"/>
                  <a:pt x="133" y="38"/>
                  <a:pt x="133" y="37"/>
                </a:cubicBezTo>
                <a:cubicBezTo>
                  <a:pt x="133" y="37"/>
                  <a:pt x="133" y="37"/>
                  <a:pt x="133" y="37"/>
                </a:cubicBezTo>
                <a:cubicBezTo>
                  <a:pt x="133" y="37"/>
                  <a:pt x="133" y="37"/>
                  <a:pt x="133" y="37"/>
                </a:cubicBezTo>
                <a:cubicBezTo>
                  <a:pt x="133" y="37"/>
                  <a:pt x="133" y="37"/>
                  <a:pt x="133" y="37"/>
                </a:cubicBezTo>
                <a:cubicBezTo>
                  <a:pt x="133" y="37"/>
                  <a:pt x="133" y="37"/>
                  <a:pt x="133" y="37"/>
                </a:cubicBezTo>
                <a:cubicBezTo>
                  <a:pt x="133" y="37"/>
                  <a:pt x="132" y="37"/>
                  <a:pt x="132" y="36"/>
                </a:cubicBezTo>
                <a:cubicBezTo>
                  <a:pt x="132" y="36"/>
                  <a:pt x="132" y="36"/>
                  <a:pt x="132" y="36"/>
                </a:cubicBezTo>
                <a:cubicBezTo>
                  <a:pt x="132" y="36"/>
                  <a:pt x="132" y="36"/>
                  <a:pt x="132" y="36"/>
                </a:cubicBezTo>
                <a:cubicBezTo>
                  <a:pt x="132" y="36"/>
                  <a:pt x="132" y="36"/>
                  <a:pt x="132" y="36"/>
                </a:cubicBezTo>
                <a:cubicBezTo>
                  <a:pt x="124" y="34"/>
                  <a:pt x="124" y="34"/>
                  <a:pt x="124" y="34"/>
                </a:cubicBezTo>
                <a:cubicBezTo>
                  <a:pt x="124" y="34"/>
                  <a:pt x="124" y="34"/>
                  <a:pt x="124" y="34"/>
                </a:cubicBezTo>
                <a:cubicBezTo>
                  <a:pt x="123" y="34"/>
                  <a:pt x="123" y="34"/>
                  <a:pt x="123" y="34"/>
                </a:cubicBezTo>
                <a:cubicBezTo>
                  <a:pt x="123" y="34"/>
                  <a:pt x="123" y="34"/>
                  <a:pt x="123" y="34"/>
                </a:cubicBezTo>
                <a:cubicBezTo>
                  <a:pt x="123" y="34"/>
                  <a:pt x="122" y="34"/>
                  <a:pt x="122" y="34"/>
                </a:cubicBezTo>
                <a:cubicBezTo>
                  <a:pt x="122" y="34"/>
                  <a:pt x="121" y="34"/>
                  <a:pt x="121" y="34"/>
                </a:cubicBezTo>
                <a:cubicBezTo>
                  <a:pt x="120" y="34"/>
                  <a:pt x="120" y="34"/>
                  <a:pt x="120" y="34"/>
                </a:cubicBezTo>
                <a:cubicBezTo>
                  <a:pt x="120" y="34"/>
                  <a:pt x="120" y="34"/>
                  <a:pt x="120" y="34"/>
                </a:cubicBezTo>
                <a:cubicBezTo>
                  <a:pt x="106" y="33"/>
                  <a:pt x="106" y="33"/>
                  <a:pt x="106" y="33"/>
                </a:cubicBezTo>
                <a:cubicBezTo>
                  <a:pt x="105" y="33"/>
                  <a:pt x="104" y="33"/>
                  <a:pt x="103" y="32"/>
                </a:cubicBezTo>
                <a:cubicBezTo>
                  <a:pt x="102" y="31"/>
                  <a:pt x="100" y="30"/>
                  <a:pt x="99" y="28"/>
                </a:cubicBezTo>
                <a:cubicBezTo>
                  <a:pt x="97" y="27"/>
                  <a:pt x="96" y="26"/>
                  <a:pt x="95" y="25"/>
                </a:cubicBezTo>
                <a:cubicBezTo>
                  <a:pt x="88" y="20"/>
                  <a:pt x="88" y="20"/>
                  <a:pt x="88" y="20"/>
                </a:cubicBezTo>
                <a:cubicBezTo>
                  <a:pt x="87" y="19"/>
                  <a:pt x="85" y="18"/>
                  <a:pt x="84" y="17"/>
                </a:cubicBezTo>
                <a:cubicBezTo>
                  <a:pt x="82" y="15"/>
                  <a:pt x="79" y="13"/>
                  <a:pt x="77" y="11"/>
                </a:cubicBezTo>
                <a:cubicBezTo>
                  <a:pt x="75" y="10"/>
                  <a:pt x="75" y="10"/>
                  <a:pt x="75" y="10"/>
                </a:cubicBezTo>
                <a:cubicBezTo>
                  <a:pt x="74" y="10"/>
                  <a:pt x="73" y="9"/>
                  <a:pt x="72" y="9"/>
                </a:cubicBezTo>
                <a:cubicBezTo>
                  <a:pt x="69" y="7"/>
                  <a:pt x="66" y="6"/>
                  <a:pt x="63" y="4"/>
                </a:cubicBezTo>
                <a:cubicBezTo>
                  <a:pt x="63" y="4"/>
                  <a:pt x="63" y="3"/>
                  <a:pt x="63" y="3"/>
                </a:cubicBezTo>
                <a:cubicBezTo>
                  <a:pt x="62" y="3"/>
                  <a:pt x="61" y="2"/>
                  <a:pt x="60" y="2"/>
                </a:cubicBezTo>
                <a:cubicBezTo>
                  <a:pt x="48" y="0"/>
                  <a:pt x="48" y="0"/>
                  <a:pt x="48" y="0"/>
                </a:cubicBezTo>
                <a:cubicBezTo>
                  <a:pt x="47" y="0"/>
                  <a:pt x="47" y="0"/>
                  <a:pt x="47" y="0"/>
                </a:cubicBezTo>
                <a:cubicBezTo>
                  <a:pt x="46" y="1"/>
                  <a:pt x="44" y="1"/>
                  <a:pt x="42" y="2"/>
                </a:cubicBezTo>
                <a:cubicBezTo>
                  <a:pt x="42" y="2"/>
                  <a:pt x="42" y="2"/>
                  <a:pt x="42" y="2"/>
                </a:cubicBezTo>
                <a:cubicBezTo>
                  <a:pt x="41" y="2"/>
                  <a:pt x="40" y="3"/>
                  <a:pt x="40" y="3"/>
                </a:cubicBezTo>
                <a:cubicBezTo>
                  <a:pt x="36" y="4"/>
                  <a:pt x="33" y="5"/>
                  <a:pt x="29" y="6"/>
                </a:cubicBezTo>
                <a:cubicBezTo>
                  <a:pt x="28" y="6"/>
                  <a:pt x="28" y="6"/>
                  <a:pt x="28" y="6"/>
                </a:cubicBezTo>
                <a:cubicBezTo>
                  <a:pt x="30" y="9"/>
                  <a:pt x="32" y="11"/>
                  <a:pt x="35" y="13"/>
                </a:cubicBezTo>
                <a:cubicBezTo>
                  <a:pt x="35" y="13"/>
                  <a:pt x="35" y="14"/>
                  <a:pt x="35" y="14"/>
                </a:cubicBezTo>
                <a:cubicBezTo>
                  <a:pt x="35" y="14"/>
                  <a:pt x="35" y="14"/>
                  <a:pt x="35" y="14"/>
                </a:cubicBezTo>
                <a:cubicBezTo>
                  <a:pt x="36" y="14"/>
                  <a:pt x="36" y="15"/>
                  <a:pt x="36" y="15"/>
                </a:cubicBezTo>
                <a:cubicBezTo>
                  <a:pt x="36" y="15"/>
                  <a:pt x="36" y="15"/>
                  <a:pt x="36" y="15"/>
                </a:cubicBezTo>
                <a:cubicBezTo>
                  <a:pt x="37" y="16"/>
                  <a:pt x="37" y="16"/>
                  <a:pt x="37" y="17"/>
                </a:cubicBezTo>
                <a:cubicBezTo>
                  <a:pt x="37" y="17"/>
                  <a:pt x="37" y="18"/>
                  <a:pt x="33" y="22"/>
                </a:cubicBezTo>
                <a:cubicBezTo>
                  <a:pt x="32" y="23"/>
                  <a:pt x="32" y="23"/>
                  <a:pt x="32" y="24"/>
                </a:cubicBezTo>
                <a:cubicBezTo>
                  <a:pt x="31" y="24"/>
                  <a:pt x="30" y="24"/>
                  <a:pt x="28" y="24"/>
                </a:cubicBezTo>
                <a:cubicBezTo>
                  <a:pt x="28" y="24"/>
                  <a:pt x="28" y="24"/>
                  <a:pt x="28" y="24"/>
                </a:cubicBezTo>
                <a:cubicBezTo>
                  <a:pt x="28" y="24"/>
                  <a:pt x="27" y="25"/>
                  <a:pt x="27" y="25"/>
                </a:cubicBezTo>
                <a:cubicBezTo>
                  <a:pt x="27" y="25"/>
                  <a:pt x="27" y="25"/>
                  <a:pt x="26" y="25"/>
                </a:cubicBezTo>
                <a:cubicBezTo>
                  <a:pt x="26" y="25"/>
                  <a:pt x="26" y="25"/>
                  <a:pt x="26" y="25"/>
                </a:cubicBezTo>
                <a:cubicBezTo>
                  <a:pt x="25" y="25"/>
                  <a:pt x="25" y="25"/>
                  <a:pt x="25" y="25"/>
                </a:cubicBezTo>
                <a:cubicBezTo>
                  <a:pt x="23" y="25"/>
                  <a:pt x="23" y="26"/>
                  <a:pt x="22" y="27"/>
                </a:cubicBezTo>
                <a:cubicBezTo>
                  <a:pt x="21" y="28"/>
                  <a:pt x="21" y="28"/>
                  <a:pt x="21" y="29"/>
                </a:cubicBezTo>
                <a:cubicBezTo>
                  <a:pt x="19" y="30"/>
                  <a:pt x="19" y="30"/>
                  <a:pt x="19" y="30"/>
                </a:cubicBezTo>
                <a:cubicBezTo>
                  <a:pt x="18" y="32"/>
                  <a:pt x="18" y="32"/>
                  <a:pt x="17" y="33"/>
                </a:cubicBezTo>
                <a:cubicBezTo>
                  <a:pt x="17" y="33"/>
                  <a:pt x="16" y="33"/>
                  <a:pt x="13" y="32"/>
                </a:cubicBezTo>
                <a:cubicBezTo>
                  <a:pt x="13" y="32"/>
                  <a:pt x="13" y="32"/>
                  <a:pt x="13" y="32"/>
                </a:cubicBezTo>
                <a:cubicBezTo>
                  <a:pt x="13" y="32"/>
                  <a:pt x="13" y="32"/>
                  <a:pt x="13" y="32"/>
                </a:cubicBezTo>
                <a:cubicBezTo>
                  <a:pt x="6" y="31"/>
                  <a:pt x="6" y="31"/>
                  <a:pt x="6" y="31"/>
                </a:cubicBezTo>
                <a:cubicBezTo>
                  <a:pt x="6" y="31"/>
                  <a:pt x="6" y="31"/>
                  <a:pt x="6" y="31"/>
                </a:cubicBezTo>
                <a:cubicBezTo>
                  <a:pt x="6" y="31"/>
                  <a:pt x="5" y="31"/>
                  <a:pt x="5" y="31"/>
                </a:cubicBezTo>
                <a:cubicBezTo>
                  <a:pt x="5" y="32"/>
                  <a:pt x="5" y="32"/>
                  <a:pt x="5" y="32"/>
                </a:cubicBezTo>
                <a:cubicBezTo>
                  <a:pt x="5" y="32"/>
                  <a:pt x="5" y="32"/>
                  <a:pt x="5" y="32"/>
                </a:cubicBezTo>
                <a:cubicBezTo>
                  <a:pt x="4" y="34"/>
                  <a:pt x="3" y="37"/>
                  <a:pt x="2" y="40"/>
                </a:cubicBezTo>
                <a:cubicBezTo>
                  <a:pt x="2" y="40"/>
                  <a:pt x="0" y="44"/>
                  <a:pt x="2" y="45"/>
                </a:cubicBezTo>
                <a:cubicBezTo>
                  <a:pt x="2" y="45"/>
                  <a:pt x="2" y="44"/>
                  <a:pt x="2" y="44"/>
                </a:cubicBezTo>
                <a:cubicBezTo>
                  <a:pt x="3" y="43"/>
                  <a:pt x="3" y="44"/>
                  <a:pt x="4" y="44"/>
                </a:cubicBezTo>
                <a:cubicBezTo>
                  <a:pt x="4" y="44"/>
                  <a:pt x="5" y="44"/>
                  <a:pt x="5" y="44"/>
                </a:cubicBezTo>
                <a:cubicBezTo>
                  <a:pt x="6" y="44"/>
                  <a:pt x="7" y="44"/>
                  <a:pt x="8" y="45"/>
                </a:cubicBezTo>
                <a:cubicBezTo>
                  <a:pt x="10" y="48"/>
                  <a:pt x="12" y="52"/>
                  <a:pt x="15" y="56"/>
                </a:cubicBezTo>
                <a:cubicBezTo>
                  <a:pt x="17" y="59"/>
                  <a:pt x="19" y="64"/>
                  <a:pt x="22" y="66"/>
                </a:cubicBezTo>
                <a:cubicBezTo>
                  <a:pt x="23" y="67"/>
                  <a:pt x="23" y="67"/>
                  <a:pt x="23" y="68"/>
                </a:cubicBezTo>
                <a:cubicBezTo>
                  <a:pt x="23" y="69"/>
                  <a:pt x="23" y="70"/>
                  <a:pt x="24" y="71"/>
                </a:cubicBezTo>
                <a:cubicBezTo>
                  <a:pt x="26" y="73"/>
                  <a:pt x="28" y="75"/>
                  <a:pt x="28" y="77"/>
                </a:cubicBezTo>
                <a:cubicBezTo>
                  <a:pt x="29" y="78"/>
                  <a:pt x="29" y="79"/>
                  <a:pt x="29" y="81"/>
                </a:cubicBezTo>
                <a:cubicBezTo>
                  <a:pt x="30" y="82"/>
                  <a:pt x="30" y="83"/>
                  <a:pt x="31" y="85"/>
                </a:cubicBezTo>
                <a:cubicBezTo>
                  <a:pt x="32" y="86"/>
                  <a:pt x="33" y="86"/>
                  <a:pt x="35" y="86"/>
                </a:cubicBezTo>
                <a:cubicBezTo>
                  <a:pt x="36" y="86"/>
                  <a:pt x="38" y="89"/>
                  <a:pt x="39" y="90"/>
                </a:cubicBezTo>
                <a:cubicBezTo>
                  <a:pt x="40" y="90"/>
                  <a:pt x="40" y="91"/>
                  <a:pt x="41" y="92"/>
                </a:cubicBezTo>
                <a:cubicBezTo>
                  <a:pt x="42" y="94"/>
                  <a:pt x="43" y="96"/>
                  <a:pt x="44" y="98"/>
                </a:cubicBezTo>
                <a:cubicBezTo>
                  <a:pt x="45" y="100"/>
                  <a:pt x="46" y="102"/>
                  <a:pt x="47" y="104"/>
                </a:cubicBezTo>
                <a:cubicBezTo>
                  <a:pt x="47" y="105"/>
                  <a:pt x="48" y="105"/>
                  <a:pt x="48" y="106"/>
                </a:cubicBezTo>
                <a:cubicBezTo>
                  <a:pt x="48" y="106"/>
                  <a:pt x="47" y="107"/>
                  <a:pt x="47" y="107"/>
                </a:cubicBezTo>
                <a:cubicBezTo>
                  <a:pt x="46" y="109"/>
                  <a:pt x="47" y="110"/>
                  <a:pt x="47" y="112"/>
                </a:cubicBezTo>
                <a:cubicBezTo>
                  <a:pt x="47" y="115"/>
                  <a:pt x="47" y="118"/>
                  <a:pt x="49" y="120"/>
                </a:cubicBezTo>
                <a:cubicBezTo>
                  <a:pt x="49" y="121"/>
                  <a:pt x="50" y="122"/>
                  <a:pt x="51" y="123"/>
                </a:cubicBezTo>
                <a:cubicBezTo>
                  <a:pt x="52" y="125"/>
                  <a:pt x="53" y="127"/>
                  <a:pt x="56" y="129"/>
                </a:cubicBezTo>
                <a:cubicBezTo>
                  <a:pt x="56" y="128"/>
                  <a:pt x="55" y="128"/>
                  <a:pt x="55" y="128"/>
                </a:cubicBezTo>
                <a:cubicBezTo>
                  <a:pt x="56" y="129"/>
                  <a:pt x="57" y="128"/>
                  <a:pt x="57" y="129"/>
                </a:cubicBezTo>
                <a:cubicBezTo>
                  <a:pt x="58" y="129"/>
                  <a:pt x="59" y="130"/>
                  <a:pt x="60" y="131"/>
                </a:cubicBezTo>
                <a:cubicBezTo>
                  <a:pt x="61" y="131"/>
                  <a:pt x="61" y="132"/>
                  <a:pt x="62" y="132"/>
                </a:cubicBezTo>
                <a:cubicBezTo>
                  <a:pt x="64" y="136"/>
                  <a:pt x="66" y="139"/>
                  <a:pt x="68" y="143"/>
                </a:cubicBezTo>
                <a:cubicBezTo>
                  <a:pt x="69" y="145"/>
                  <a:pt x="71" y="148"/>
                  <a:pt x="73" y="151"/>
                </a:cubicBezTo>
                <a:cubicBezTo>
                  <a:pt x="74" y="153"/>
                  <a:pt x="77" y="155"/>
                  <a:pt x="79" y="157"/>
                </a:cubicBezTo>
                <a:cubicBezTo>
                  <a:pt x="81" y="159"/>
                  <a:pt x="80" y="160"/>
                  <a:pt x="81" y="163"/>
                </a:cubicBezTo>
                <a:cubicBezTo>
                  <a:pt x="81" y="163"/>
                  <a:pt x="81" y="163"/>
                  <a:pt x="81" y="163"/>
                </a:cubicBezTo>
                <a:cubicBezTo>
                  <a:pt x="83" y="163"/>
                  <a:pt x="84" y="166"/>
                  <a:pt x="85" y="168"/>
                </a:cubicBezTo>
                <a:cubicBezTo>
                  <a:pt x="85" y="168"/>
                  <a:pt x="86" y="167"/>
                  <a:pt x="87" y="166"/>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27" name="Freeform 3184">
            <a:extLst>
              <a:ext uri="{FF2B5EF4-FFF2-40B4-BE49-F238E27FC236}">
                <a16:creationId xmlns:a16="http://schemas.microsoft.com/office/drawing/2014/main" id="{C82BC587-59CC-4033-A776-FFE417CC591F}"/>
              </a:ext>
            </a:extLst>
          </p:cNvPr>
          <p:cNvSpPr>
            <a:spLocks/>
          </p:cNvSpPr>
          <p:nvPr/>
        </p:nvSpPr>
        <p:spPr bwMode="auto">
          <a:xfrm>
            <a:off x="3245838" y="2874128"/>
            <a:ext cx="29238" cy="23744"/>
          </a:xfrm>
          <a:custGeom>
            <a:avLst/>
            <a:gdLst>
              <a:gd name="T0" fmla="*/ 24 w 25"/>
              <a:gd name="T1" fmla="*/ 9 h 17"/>
              <a:gd name="T2" fmla="*/ 23 w 25"/>
              <a:gd name="T3" fmla="*/ 8 h 17"/>
              <a:gd name="T4" fmla="*/ 21 w 25"/>
              <a:gd name="T5" fmla="*/ 9 h 17"/>
              <a:gd name="T6" fmla="*/ 23 w 25"/>
              <a:gd name="T7" fmla="*/ 6 h 17"/>
              <a:gd name="T8" fmla="*/ 20 w 25"/>
              <a:gd name="T9" fmla="*/ 2 h 17"/>
              <a:gd name="T10" fmla="*/ 14 w 25"/>
              <a:gd name="T11" fmla="*/ 0 h 17"/>
              <a:gd name="T12" fmla="*/ 9 w 25"/>
              <a:gd name="T13" fmla="*/ 2 h 17"/>
              <a:gd name="T14" fmla="*/ 7 w 25"/>
              <a:gd name="T15" fmla="*/ 3 h 17"/>
              <a:gd name="T16" fmla="*/ 8 w 25"/>
              <a:gd name="T17" fmla="*/ 3 h 17"/>
              <a:gd name="T18" fmla="*/ 8 w 25"/>
              <a:gd name="T19" fmla="*/ 3 h 17"/>
              <a:gd name="T20" fmla="*/ 7 w 25"/>
              <a:gd name="T21" fmla="*/ 4 h 17"/>
              <a:gd name="T22" fmla="*/ 7 w 25"/>
              <a:gd name="T23" fmla="*/ 4 h 17"/>
              <a:gd name="T24" fmla="*/ 7 w 25"/>
              <a:gd name="T25" fmla="*/ 4 h 17"/>
              <a:gd name="T26" fmla="*/ 5 w 25"/>
              <a:gd name="T27" fmla="*/ 7 h 17"/>
              <a:gd name="T28" fmla="*/ 3 w 25"/>
              <a:gd name="T29" fmla="*/ 9 h 17"/>
              <a:gd name="T30" fmla="*/ 5 w 25"/>
              <a:gd name="T31" fmla="*/ 9 h 17"/>
              <a:gd name="T32" fmla="*/ 0 w 25"/>
              <a:gd name="T33" fmla="*/ 12 h 17"/>
              <a:gd name="T34" fmla="*/ 1 w 25"/>
              <a:gd name="T35" fmla="*/ 13 h 17"/>
              <a:gd name="T36" fmla="*/ 5 w 25"/>
              <a:gd name="T37" fmla="*/ 14 h 17"/>
              <a:gd name="T38" fmla="*/ 6 w 25"/>
              <a:gd name="T39" fmla="*/ 13 h 17"/>
              <a:gd name="T40" fmla="*/ 8 w 25"/>
              <a:gd name="T41" fmla="*/ 12 h 17"/>
              <a:gd name="T42" fmla="*/ 9 w 25"/>
              <a:gd name="T43" fmla="*/ 12 h 17"/>
              <a:gd name="T44" fmla="*/ 10 w 25"/>
              <a:gd name="T45" fmla="*/ 12 h 17"/>
              <a:gd name="T46" fmla="*/ 14 w 25"/>
              <a:gd name="T47" fmla="*/ 15 h 17"/>
              <a:gd name="T48" fmla="*/ 14 w 25"/>
              <a:gd name="T49" fmla="*/ 15 h 17"/>
              <a:gd name="T50" fmla="*/ 14 w 25"/>
              <a:gd name="T51" fmla="*/ 16 h 17"/>
              <a:gd name="T52" fmla="*/ 15 w 25"/>
              <a:gd name="T53" fmla="*/ 15 h 17"/>
              <a:gd name="T54" fmla="*/ 17 w 25"/>
              <a:gd name="T55" fmla="*/ 15 h 17"/>
              <a:gd name="T56" fmla="*/ 18 w 25"/>
              <a:gd name="T57" fmla="*/ 15 h 17"/>
              <a:gd name="T58" fmla="*/ 17 w 25"/>
              <a:gd name="T59" fmla="*/ 17 h 17"/>
              <a:gd name="T60" fmla="*/ 19 w 25"/>
              <a:gd name="T61" fmla="*/ 17 h 17"/>
              <a:gd name="T62" fmla="*/ 22 w 25"/>
              <a:gd name="T63" fmla="*/ 14 h 17"/>
              <a:gd name="T64" fmla="*/ 23 w 25"/>
              <a:gd name="T65" fmla="*/ 14 h 17"/>
              <a:gd name="T66" fmla="*/ 23 w 25"/>
              <a:gd name="T67" fmla="*/ 13 h 17"/>
              <a:gd name="T68" fmla="*/ 23 w 25"/>
              <a:gd name="T69" fmla="*/ 11 h 17"/>
              <a:gd name="T70" fmla="*/ 25 w 25"/>
              <a:gd name="T71" fmla="*/ 13 h 17"/>
              <a:gd name="T72" fmla="*/ 24 w 25"/>
              <a:gd name="T73" fmla="*/ 9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 h="17">
                <a:moveTo>
                  <a:pt x="24" y="9"/>
                </a:moveTo>
                <a:cubicBezTo>
                  <a:pt x="24" y="8"/>
                  <a:pt x="24" y="8"/>
                  <a:pt x="23" y="8"/>
                </a:cubicBezTo>
                <a:cubicBezTo>
                  <a:pt x="23" y="8"/>
                  <a:pt x="21" y="9"/>
                  <a:pt x="21" y="9"/>
                </a:cubicBezTo>
                <a:cubicBezTo>
                  <a:pt x="19" y="8"/>
                  <a:pt x="24" y="7"/>
                  <a:pt x="23" y="6"/>
                </a:cubicBezTo>
                <a:cubicBezTo>
                  <a:pt x="22" y="5"/>
                  <a:pt x="20" y="4"/>
                  <a:pt x="20" y="2"/>
                </a:cubicBezTo>
                <a:cubicBezTo>
                  <a:pt x="19" y="0"/>
                  <a:pt x="17" y="0"/>
                  <a:pt x="14" y="0"/>
                </a:cubicBezTo>
                <a:cubicBezTo>
                  <a:pt x="12" y="1"/>
                  <a:pt x="10" y="1"/>
                  <a:pt x="9" y="2"/>
                </a:cubicBezTo>
                <a:cubicBezTo>
                  <a:pt x="8" y="3"/>
                  <a:pt x="8" y="3"/>
                  <a:pt x="7" y="3"/>
                </a:cubicBezTo>
                <a:cubicBezTo>
                  <a:pt x="8" y="3"/>
                  <a:pt x="8" y="3"/>
                  <a:pt x="8" y="3"/>
                </a:cubicBezTo>
                <a:cubicBezTo>
                  <a:pt x="8" y="3"/>
                  <a:pt x="8" y="3"/>
                  <a:pt x="8" y="3"/>
                </a:cubicBezTo>
                <a:cubicBezTo>
                  <a:pt x="8" y="4"/>
                  <a:pt x="7" y="4"/>
                  <a:pt x="7" y="4"/>
                </a:cubicBezTo>
                <a:cubicBezTo>
                  <a:pt x="7" y="4"/>
                  <a:pt x="7" y="4"/>
                  <a:pt x="7" y="4"/>
                </a:cubicBezTo>
                <a:cubicBezTo>
                  <a:pt x="7" y="4"/>
                  <a:pt x="7" y="4"/>
                  <a:pt x="7" y="4"/>
                </a:cubicBezTo>
                <a:cubicBezTo>
                  <a:pt x="6" y="5"/>
                  <a:pt x="6" y="6"/>
                  <a:pt x="5" y="7"/>
                </a:cubicBezTo>
                <a:cubicBezTo>
                  <a:pt x="5" y="8"/>
                  <a:pt x="4" y="8"/>
                  <a:pt x="3" y="9"/>
                </a:cubicBezTo>
                <a:cubicBezTo>
                  <a:pt x="5" y="9"/>
                  <a:pt x="5" y="9"/>
                  <a:pt x="5" y="9"/>
                </a:cubicBezTo>
                <a:cubicBezTo>
                  <a:pt x="0" y="12"/>
                  <a:pt x="0" y="12"/>
                  <a:pt x="0" y="12"/>
                </a:cubicBezTo>
                <a:cubicBezTo>
                  <a:pt x="0" y="12"/>
                  <a:pt x="1" y="12"/>
                  <a:pt x="1" y="13"/>
                </a:cubicBezTo>
                <a:cubicBezTo>
                  <a:pt x="5" y="14"/>
                  <a:pt x="5" y="14"/>
                  <a:pt x="5" y="14"/>
                </a:cubicBezTo>
                <a:cubicBezTo>
                  <a:pt x="6" y="14"/>
                  <a:pt x="6" y="13"/>
                  <a:pt x="6" y="13"/>
                </a:cubicBezTo>
                <a:cubicBezTo>
                  <a:pt x="7" y="12"/>
                  <a:pt x="8" y="12"/>
                  <a:pt x="8" y="12"/>
                </a:cubicBezTo>
                <a:cubicBezTo>
                  <a:pt x="9" y="12"/>
                  <a:pt x="9" y="12"/>
                  <a:pt x="9" y="12"/>
                </a:cubicBezTo>
                <a:cubicBezTo>
                  <a:pt x="9" y="12"/>
                  <a:pt x="10" y="12"/>
                  <a:pt x="10" y="12"/>
                </a:cubicBezTo>
                <a:cubicBezTo>
                  <a:pt x="12" y="12"/>
                  <a:pt x="13" y="13"/>
                  <a:pt x="14" y="15"/>
                </a:cubicBezTo>
                <a:cubicBezTo>
                  <a:pt x="14" y="15"/>
                  <a:pt x="14" y="15"/>
                  <a:pt x="14" y="15"/>
                </a:cubicBezTo>
                <a:cubicBezTo>
                  <a:pt x="14" y="15"/>
                  <a:pt x="14" y="15"/>
                  <a:pt x="14" y="16"/>
                </a:cubicBezTo>
                <a:cubicBezTo>
                  <a:pt x="15" y="15"/>
                  <a:pt x="15" y="15"/>
                  <a:pt x="15" y="15"/>
                </a:cubicBezTo>
                <a:cubicBezTo>
                  <a:pt x="17" y="15"/>
                  <a:pt x="17" y="15"/>
                  <a:pt x="17" y="15"/>
                </a:cubicBezTo>
                <a:cubicBezTo>
                  <a:pt x="18" y="15"/>
                  <a:pt x="18" y="15"/>
                  <a:pt x="18" y="15"/>
                </a:cubicBezTo>
                <a:cubicBezTo>
                  <a:pt x="17" y="17"/>
                  <a:pt x="17" y="17"/>
                  <a:pt x="17" y="17"/>
                </a:cubicBezTo>
                <a:cubicBezTo>
                  <a:pt x="18" y="17"/>
                  <a:pt x="19" y="17"/>
                  <a:pt x="19" y="17"/>
                </a:cubicBezTo>
                <a:cubicBezTo>
                  <a:pt x="20" y="16"/>
                  <a:pt x="21" y="15"/>
                  <a:pt x="22" y="14"/>
                </a:cubicBezTo>
                <a:cubicBezTo>
                  <a:pt x="23" y="14"/>
                  <a:pt x="23" y="14"/>
                  <a:pt x="23" y="14"/>
                </a:cubicBezTo>
                <a:cubicBezTo>
                  <a:pt x="24" y="13"/>
                  <a:pt x="24" y="13"/>
                  <a:pt x="23" y="13"/>
                </a:cubicBezTo>
                <a:cubicBezTo>
                  <a:pt x="23" y="12"/>
                  <a:pt x="23" y="12"/>
                  <a:pt x="23" y="11"/>
                </a:cubicBezTo>
                <a:cubicBezTo>
                  <a:pt x="24" y="12"/>
                  <a:pt x="24" y="13"/>
                  <a:pt x="25" y="13"/>
                </a:cubicBezTo>
                <a:cubicBezTo>
                  <a:pt x="25" y="12"/>
                  <a:pt x="24" y="10"/>
                  <a:pt x="24" y="9"/>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28" name="Freeform 3185">
            <a:extLst>
              <a:ext uri="{FF2B5EF4-FFF2-40B4-BE49-F238E27FC236}">
                <a16:creationId xmlns:a16="http://schemas.microsoft.com/office/drawing/2014/main" id="{4E02CBE0-7810-4F9D-B164-090D01AADFCB}"/>
              </a:ext>
            </a:extLst>
          </p:cNvPr>
          <p:cNvSpPr>
            <a:spLocks/>
          </p:cNvSpPr>
          <p:nvPr/>
        </p:nvSpPr>
        <p:spPr bwMode="auto">
          <a:xfrm>
            <a:off x="3234935" y="2871160"/>
            <a:ext cx="22300" cy="16621"/>
          </a:xfrm>
          <a:custGeom>
            <a:avLst/>
            <a:gdLst>
              <a:gd name="T0" fmla="*/ 7 w 19"/>
              <a:gd name="T1" fmla="*/ 11 h 12"/>
              <a:gd name="T2" fmla="*/ 6 w 19"/>
              <a:gd name="T3" fmla="*/ 12 h 12"/>
              <a:gd name="T4" fmla="*/ 8 w 19"/>
              <a:gd name="T5" fmla="*/ 11 h 12"/>
              <a:gd name="T6" fmla="*/ 8 w 19"/>
              <a:gd name="T7" fmla="*/ 10 h 12"/>
              <a:gd name="T8" fmla="*/ 7 w 19"/>
              <a:gd name="T9" fmla="*/ 9 h 12"/>
              <a:gd name="T10" fmla="*/ 9 w 19"/>
              <a:gd name="T11" fmla="*/ 9 h 12"/>
              <a:gd name="T12" fmla="*/ 10 w 19"/>
              <a:gd name="T13" fmla="*/ 8 h 12"/>
              <a:gd name="T14" fmla="*/ 11 w 19"/>
              <a:gd name="T15" fmla="*/ 8 h 12"/>
              <a:gd name="T16" fmla="*/ 12 w 19"/>
              <a:gd name="T17" fmla="*/ 8 h 12"/>
              <a:gd name="T18" fmla="*/ 14 w 19"/>
              <a:gd name="T19" fmla="*/ 5 h 12"/>
              <a:gd name="T20" fmla="*/ 14 w 19"/>
              <a:gd name="T21" fmla="*/ 4 h 12"/>
              <a:gd name="T22" fmla="*/ 15 w 19"/>
              <a:gd name="T23" fmla="*/ 4 h 12"/>
              <a:gd name="T24" fmla="*/ 15 w 19"/>
              <a:gd name="T25" fmla="*/ 3 h 12"/>
              <a:gd name="T26" fmla="*/ 16 w 19"/>
              <a:gd name="T27" fmla="*/ 4 h 12"/>
              <a:gd name="T28" fmla="*/ 17 w 19"/>
              <a:gd name="T29" fmla="*/ 3 h 12"/>
              <a:gd name="T30" fmla="*/ 19 w 19"/>
              <a:gd name="T31" fmla="*/ 3 h 12"/>
              <a:gd name="T32" fmla="*/ 19 w 19"/>
              <a:gd name="T33" fmla="*/ 2 h 12"/>
              <a:gd name="T34" fmla="*/ 15 w 19"/>
              <a:gd name="T35" fmla="*/ 0 h 12"/>
              <a:gd name="T36" fmla="*/ 16 w 19"/>
              <a:gd name="T37" fmla="*/ 2 h 12"/>
              <a:gd name="T38" fmla="*/ 13 w 19"/>
              <a:gd name="T39" fmla="*/ 1 h 12"/>
              <a:gd name="T40" fmla="*/ 14 w 19"/>
              <a:gd name="T41" fmla="*/ 4 h 12"/>
              <a:gd name="T42" fmla="*/ 12 w 19"/>
              <a:gd name="T43" fmla="*/ 5 h 12"/>
              <a:gd name="T44" fmla="*/ 13 w 19"/>
              <a:gd name="T45" fmla="*/ 3 h 12"/>
              <a:gd name="T46" fmla="*/ 12 w 19"/>
              <a:gd name="T47" fmla="*/ 2 h 12"/>
              <a:gd name="T48" fmla="*/ 11 w 19"/>
              <a:gd name="T49" fmla="*/ 2 h 12"/>
              <a:gd name="T50" fmla="*/ 11 w 19"/>
              <a:gd name="T51" fmla="*/ 4 h 12"/>
              <a:gd name="T52" fmla="*/ 10 w 19"/>
              <a:gd name="T53" fmla="*/ 2 h 12"/>
              <a:gd name="T54" fmla="*/ 8 w 19"/>
              <a:gd name="T55" fmla="*/ 3 h 12"/>
              <a:gd name="T56" fmla="*/ 8 w 19"/>
              <a:gd name="T57" fmla="*/ 2 h 12"/>
              <a:gd name="T58" fmla="*/ 7 w 19"/>
              <a:gd name="T59" fmla="*/ 4 h 12"/>
              <a:gd name="T60" fmla="*/ 7 w 19"/>
              <a:gd name="T61" fmla="*/ 3 h 12"/>
              <a:gd name="T62" fmla="*/ 5 w 19"/>
              <a:gd name="T63" fmla="*/ 4 h 12"/>
              <a:gd name="T64" fmla="*/ 3 w 19"/>
              <a:gd name="T65" fmla="*/ 8 h 12"/>
              <a:gd name="T66" fmla="*/ 0 w 19"/>
              <a:gd name="T67" fmla="*/ 10 h 12"/>
              <a:gd name="T68" fmla="*/ 7 w 19"/>
              <a:gd name="T69"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2">
                <a:moveTo>
                  <a:pt x="7" y="11"/>
                </a:moveTo>
                <a:cubicBezTo>
                  <a:pt x="7" y="11"/>
                  <a:pt x="6" y="12"/>
                  <a:pt x="6" y="12"/>
                </a:cubicBezTo>
                <a:cubicBezTo>
                  <a:pt x="8" y="11"/>
                  <a:pt x="8" y="11"/>
                  <a:pt x="8" y="11"/>
                </a:cubicBezTo>
                <a:cubicBezTo>
                  <a:pt x="8" y="11"/>
                  <a:pt x="8" y="11"/>
                  <a:pt x="8" y="10"/>
                </a:cubicBezTo>
                <a:cubicBezTo>
                  <a:pt x="7" y="9"/>
                  <a:pt x="7" y="9"/>
                  <a:pt x="7" y="9"/>
                </a:cubicBezTo>
                <a:cubicBezTo>
                  <a:pt x="9" y="9"/>
                  <a:pt x="9" y="9"/>
                  <a:pt x="9" y="9"/>
                </a:cubicBezTo>
                <a:cubicBezTo>
                  <a:pt x="9" y="8"/>
                  <a:pt x="10" y="8"/>
                  <a:pt x="10" y="8"/>
                </a:cubicBezTo>
                <a:cubicBezTo>
                  <a:pt x="11" y="8"/>
                  <a:pt x="11" y="8"/>
                  <a:pt x="11" y="8"/>
                </a:cubicBezTo>
                <a:cubicBezTo>
                  <a:pt x="12" y="8"/>
                  <a:pt x="12" y="8"/>
                  <a:pt x="12" y="8"/>
                </a:cubicBezTo>
                <a:cubicBezTo>
                  <a:pt x="13" y="7"/>
                  <a:pt x="13" y="6"/>
                  <a:pt x="14" y="5"/>
                </a:cubicBezTo>
                <a:cubicBezTo>
                  <a:pt x="14" y="5"/>
                  <a:pt x="14" y="4"/>
                  <a:pt x="14" y="4"/>
                </a:cubicBezTo>
                <a:cubicBezTo>
                  <a:pt x="14" y="4"/>
                  <a:pt x="15" y="4"/>
                  <a:pt x="15" y="4"/>
                </a:cubicBezTo>
                <a:cubicBezTo>
                  <a:pt x="15" y="3"/>
                  <a:pt x="15" y="3"/>
                  <a:pt x="15" y="3"/>
                </a:cubicBezTo>
                <a:cubicBezTo>
                  <a:pt x="16" y="4"/>
                  <a:pt x="16" y="4"/>
                  <a:pt x="16" y="4"/>
                </a:cubicBezTo>
                <a:cubicBezTo>
                  <a:pt x="16" y="4"/>
                  <a:pt x="17" y="4"/>
                  <a:pt x="17" y="3"/>
                </a:cubicBezTo>
                <a:cubicBezTo>
                  <a:pt x="18" y="3"/>
                  <a:pt x="18" y="3"/>
                  <a:pt x="19" y="3"/>
                </a:cubicBezTo>
                <a:cubicBezTo>
                  <a:pt x="19" y="2"/>
                  <a:pt x="19" y="3"/>
                  <a:pt x="19" y="2"/>
                </a:cubicBezTo>
                <a:cubicBezTo>
                  <a:pt x="18" y="1"/>
                  <a:pt x="16" y="1"/>
                  <a:pt x="15" y="0"/>
                </a:cubicBezTo>
                <a:cubicBezTo>
                  <a:pt x="15" y="1"/>
                  <a:pt x="15" y="1"/>
                  <a:pt x="16" y="2"/>
                </a:cubicBezTo>
                <a:cubicBezTo>
                  <a:pt x="15" y="2"/>
                  <a:pt x="14" y="2"/>
                  <a:pt x="13" y="1"/>
                </a:cubicBezTo>
                <a:cubicBezTo>
                  <a:pt x="13" y="2"/>
                  <a:pt x="14" y="4"/>
                  <a:pt x="14" y="4"/>
                </a:cubicBezTo>
                <a:cubicBezTo>
                  <a:pt x="14" y="5"/>
                  <a:pt x="12" y="5"/>
                  <a:pt x="12" y="5"/>
                </a:cubicBezTo>
                <a:cubicBezTo>
                  <a:pt x="12" y="4"/>
                  <a:pt x="13" y="4"/>
                  <a:pt x="13" y="3"/>
                </a:cubicBezTo>
                <a:cubicBezTo>
                  <a:pt x="13" y="3"/>
                  <a:pt x="12" y="2"/>
                  <a:pt x="12" y="2"/>
                </a:cubicBezTo>
                <a:cubicBezTo>
                  <a:pt x="12" y="2"/>
                  <a:pt x="12" y="2"/>
                  <a:pt x="11" y="2"/>
                </a:cubicBezTo>
                <a:cubicBezTo>
                  <a:pt x="11" y="3"/>
                  <a:pt x="12" y="3"/>
                  <a:pt x="11" y="4"/>
                </a:cubicBezTo>
                <a:cubicBezTo>
                  <a:pt x="11" y="3"/>
                  <a:pt x="10" y="3"/>
                  <a:pt x="10" y="2"/>
                </a:cubicBezTo>
                <a:cubicBezTo>
                  <a:pt x="9" y="2"/>
                  <a:pt x="9" y="3"/>
                  <a:pt x="8" y="3"/>
                </a:cubicBezTo>
                <a:cubicBezTo>
                  <a:pt x="8" y="3"/>
                  <a:pt x="8" y="3"/>
                  <a:pt x="8" y="2"/>
                </a:cubicBezTo>
                <a:cubicBezTo>
                  <a:pt x="8" y="3"/>
                  <a:pt x="7" y="3"/>
                  <a:pt x="7" y="4"/>
                </a:cubicBezTo>
                <a:cubicBezTo>
                  <a:pt x="7" y="4"/>
                  <a:pt x="7" y="3"/>
                  <a:pt x="7" y="3"/>
                </a:cubicBezTo>
                <a:cubicBezTo>
                  <a:pt x="6" y="4"/>
                  <a:pt x="5" y="3"/>
                  <a:pt x="5" y="4"/>
                </a:cubicBezTo>
                <a:cubicBezTo>
                  <a:pt x="4" y="6"/>
                  <a:pt x="3" y="6"/>
                  <a:pt x="3" y="8"/>
                </a:cubicBezTo>
                <a:cubicBezTo>
                  <a:pt x="3" y="9"/>
                  <a:pt x="1" y="9"/>
                  <a:pt x="0" y="10"/>
                </a:cubicBezTo>
                <a:cubicBezTo>
                  <a:pt x="2" y="10"/>
                  <a:pt x="5" y="11"/>
                  <a:pt x="7" y="11"/>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29" name="Freeform 3186">
            <a:extLst>
              <a:ext uri="{FF2B5EF4-FFF2-40B4-BE49-F238E27FC236}">
                <a16:creationId xmlns:a16="http://schemas.microsoft.com/office/drawing/2014/main" id="{1E43D740-1FB5-4142-832D-B0FACD385A9D}"/>
              </a:ext>
            </a:extLst>
          </p:cNvPr>
          <p:cNvSpPr>
            <a:spLocks/>
          </p:cNvSpPr>
          <p:nvPr/>
        </p:nvSpPr>
        <p:spPr bwMode="auto">
          <a:xfrm>
            <a:off x="3215113" y="2889562"/>
            <a:ext cx="54016" cy="58766"/>
          </a:xfrm>
          <a:custGeom>
            <a:avLst/>
            <a:gdLst>
              <a:gd name="T0" fmla="*/ 45 w 46"/>
              <a:gd name="T1" fmla="*/ 18 h 42"/>
              <a:gd name="T2" fmla="*/ 45 w 46"/>
              <a:gd name="T3" fmla="*/ 13 h 42"/>
              <a:gd name="T4" fmla="*/ 42 w 46"/>
              <a:gd name="T5" fmla="*/ 8 h 42"/>
              <a:gd name="T6" fmla="*/ 43 w 46"/>
              <a:gd name="T7" fmla="*/ 6 h 42"/>
              <a:gd name="T8" fmla="*/ 42 w 46"/>
              <a:gd name="T9" fmla="*/ 7 h 42"/>
              <a:gd name="T10" fmla="*/ 40 w 46"/>
              <a:gd name="T11" fmla="*/ 7 h 42"/>
              <a:gd name="T12" fmla="*/ 38 w 46"/>
              <a:gd name="T13" fmla="*/ 6 h 42"/>
              <a:gd name="T14" fmla="*/ 38 w 46"/>
              <a:gd name="T15" fmla="*/ 5 h 42"/>
              <a:gd name="T16" fmla="*/ 35 w 46"/>
              <a:gd name="T17" fmla="*/ 3 h 42"/>
              <a:gd name="T18" fmla="*/ 34 w 46"/>
              <a:gd name="T19" fmla="*/ 3 h 42"/>
              <a:gd name="T20" fmla="*/ 34 w 46"/>
              <a:gd name="T21" fmla="*/ 5 h 42"/>
              <a:gd name="T22" fmla="*/ 33 w 46"/>
              <a:gd name="T23" fmla="*/ 7 h 42"/>
              <a:gd name="T24" fmla="*/ 23 w 46"/>
              <a:gd name="T25" fmla="*/ 2 h 42"/>
              <a:gd name="T26" fmla="*/ 21 w 46"/>
              <a:gd name="T27" fmla="*/ 0 h 42"/>
              <a:gd name="T28" fmla="*/ 20 w 46"/>
              <a:gd name="T29" fmla="*/ 3 h 42"/>
              <a:gd name="T30" fmla="*/ 20 w 46"/>
              <a:gd name="T31" fmla="*/ 4 h 42"/>
              <a:gd name="T32" fmla="*/ 14 w 46"/>
              <a:gd name="T33" fmla="*/ 4 h 42"/>
              <a:gd name="T34" fmla="*/ 8 w 46"/>
              <a:gd name="T35" fmla="*/ 2 h 42"/>
              <a:gd name="T36" fmla="*/ 5 w 46"/>
              <a:gd name="T37" fmla="*/ 3 h 42"/>
              <a:gd name="T38" fmla="*/ 6 w 46"/>
              <a:gd name="T39" fmla="*/ 5 h 42"/>
              <a:gd name="T40" fmla="*/ 9 w 46"/>
              <a:gd name="T41" fmla="*/ 8 h 42"/>
              <a:gd name="T42" fmla="*/ 8 w 46"/>
              <a:gd name="T43" fmla="*/ 12 h 42"/>
              <a:gd name="T44" fmla="*/ 3 w 46"/>
              <a:gd name="T45" fmla="*/ 13 h 42"/>
              <a:gd name="T46" fmla="*/ 3 w 46"/>
              <a:gd name="T47" fmla="*/ 15 h 42"/>
              <a:gd name="T48" fmla="*/ 9 w 46"/>
              <a:gd name="T49" fmla="*/ 17 h 42"/>
              <a:gd name="T50" fmla="*/ 14 w 46"/>
              <a:gd name="T51" fmla="*/ 18 h 42"/>
              <a:gd name="T52" fmla="*/ 13 w 46"/>
              <a:gd name="T53" fmla="*/ 19 h 42"/>
              <a:gd name="T54" fmla="*/ 12 w 46"/>
              <a:gd name="T55" fmla="*/ 19 h 42"/>
              <a:gd name="T56" fmla="*/ 10 w 46"/>
              <a:gd name="T57" fmla="*/ 24 h 42"/>
              <a:gd name="T58" fmla="*/ 8 w 46"/>
              <a:gd name="T59" fmla="*/ 25 h 42"/>
              <a:gd name="T60" fmla="*/ 14 w 46"/>
              <a:gd name="T61" fmla="*/ 24 h 42"/>
              <a:gd name="T62" fmla="*/ 10 w 46"/>
              <a:gd name="T63" fmla="*/ 27 h 42"/>
              <a:gd name="T64" fmla="*/ 7 w 46"/>
              <a:gd name="T65" fmla="*/ 28 h 42"/>
              <a:gd name="T66" fmla="*/ 7 w 46"/>
              <a:gd name="T67" fmla="*/ 31 h 42"/>
              <a:gd name="T68" fmla="*/ 3 w 46"/>
              <a:gd name="T69" fmla="*/ 31 h 42"/>
              <a:gd name="T70" fmla="*/ 1 w 46"/>
              <a:gd name="T71" fmla="*/ 32 h 42"/>
              <a:gd name="T72" fmla="*/ 4 w 46"/>
              <a:gd name="T73" fmla="*/ 33 h 42"/>
              <a:gd name="T74" fmla="*/ 7 w 46"/>
              <a:gd name="T75" fmla="*/ 32 h 42"/>
              <a:gd name="T76" fmla="*/ 5 w 46"/>
              <a:gd name="T77" fmla="*/ 33 h 42"/>
              <a:gd name="T78" fmla="*/ 3 w 46"/>
              <a:gd name="T79" fmla="*/ 34 h 42"/>
              <a:gd name="T80" fmla="*/ 1 w 46"/>
              <a:gd name="T81" fmla="*/ 36 h 42"/>
              <a:gd name="T82" fmla="*/ 9 w 46"/>
              <a:gd name="T83" fmla="*/ 36 h 42"/>
              <a:gd name="T84" fmla="*/ 9 w 46"/>
              <a:gd name="T85" fmla="*/ 39 h 42"/>
              <a:gd name="T86" fmla="*/ 8 w 46"/>
              <a:gd name="T87" fmla="*/ 40 h 42"/>
              <a:gd name="T88" fmla="*/ 11 w 46"/>
              <a:gd name="T89" fmla="*/ 41 h 42"/>
              <a:gd name="T90" fmla="*/ 18 w 46"/>
              <a:gd name="T91" fmla="*/ 40 h 42"/>
              <a:gd name="T92" fmla="*/ 24 w 46"/>
              <a:gd name="T93" fmla="*/ 37 h 42"/>
              <a:gd name="T94" fmla="*/ 34 w 46"/>
              <a:gd name="T95" fmla="*/ 33 h 42"/>
              <a:gd name="T96" fmla="*/ 36 w 46"/>
              <a:gd name="T97" fmla="*/ 32 h 42"/>
              <a:gd name="T98" fmla="*/ 41 w 46"/>
              <a:gd name="T99" fmla="*/ 29 h 42"/>
              <a:gd name="T100" fmla="*/ 45 w 46"/>
              <a:gd name="T101"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 h="42">
                <a:moveTo>
                  <a:pt x="45" y="21"/>
                </a:moveTo>
                <a:cubicBezTo>
                  <a:pt x="45" y="20"/>
                  <a:pt x="45" y="19"/>
                  <a:pt x="45" y="18"/>
                </a:cubicBezTo>
                <a:cubicBezTo>
                  <a:pt x="45" y="17"/>
                  <a:pt x="45" y="16"/>
                  <a:pt x="45" y="15"/>
                </a:cubicBezTo>
                <a:cubicBezTo>
                  <a:pt x="45" y="15"/>
                  <a:pt x="45" y="13"/>
                  <a:pt x="45" y="13"/>
                </a:cubicBezTo>
                <a:cubicBezTo>
                  <a:pt x="44" y="12"/>
                  <a:pt x="44" y="12"/>
                  <a:pt x="43" y="10"/>
                </a:cubicBezTo>
                <a:cubicBezTo>
                  <a:pt x="43" y="10"/>
                  <a:pt x="42" y="8"/>
                  <a:pt x="42" y="8"/>
                </a:cubicBezTo>
                <a:cubicBezTo>
                  <a:pt x="42" y="7"/>
                  <a:pt x="44" y="7"/>
                  <a:pt x="44" y="7"/>
                </a:cubicBezTo>
                <a:cubicBezTo>
                  <a:pt x="44" y="6"/>
                  <a:pt x="44" y="6"/>
                  <a:pt x="43" y="6"/>
                </a:cubicBezTo>
                <a:cubicBezTo>
                  <a:pt x="43" y="7"/>
                  <a:pt x="43" y="7"/>
                  <a:pt x="43" y="7"/>
                </a:cubicBezTo>
                <a:cubicBezTo>
                  <a:pt x="42" y="7"/>
                  <a:pt x="42" y="7"/>
                  <a:pt x="42" y="7"/>
                </a:cubicBezTo>
                <a:cubicBezTo>
                  <a:pt x="41" y="7"/>
                  <a:pt x="41" y="7"/>
                  <a:pt x="41" y="7"/>
                </a:cubicBezTo>
                <a:cubicBezTo>
                  <a:pt x="41" y="7"/>
                  <a:pt x="40" y="7"/>
                  <a:pt x="40" y="7"/>
                </a:cubicBezTo>
                <a:cubicBezTo>
                  <a:pt x="39" y="7"/>
                  <a:pt x="39" y="7"/>
                  <a:pt x="39" y="7"/>
                </a:cubicBezTo>
                <a:cubicBezTo>
                  <a:pt x="38" y="6"/>
                  <a:pt x="38" y="6"/>
                  <a:pt x="38" y="6"/>
                </a:cubicBezTo>
                <a:cubicBezTo>
                  <a:pt x="38" y="5"/>
                  <a:pt x="38" y="5"/>
                  <a:pt x="38" y="5"/>
                </a:cubicBezTo>
                <a:cubicBezTo>
                  <a:pt x="38" y="5"/>
                  <a:pt x="38" y="5"/>
                  <a:pt x="38" y="5"/>
                </a:cubicBezTo>
                <a:cubicBezTo>
                  <a:pt x="37" y="4"/>
                  <a:pt x="37" y="3"/>
                  <a:pt x="36" y="3"/>
                </a:cubicBezTo>
                <a:cubicBezTo>
                  <a:pt x="35" y="3"/>
                  <a:pt x="35" y="3"/>
                  <a:pt x="35" y="3"/>
                </a:cubicBezTo>
                <a:cubicBezTo>
                  <a:pt x="34" y="3"/>
                  <a:pt x="34" y="3"/>
                  <a:pt x="34" y="3"/>
                </a:cubicBezTo>
                <a:cubicBezTo>
                  <a:pt x="34" y="3"/>
                  <a:pt x="34" y="3"/>
                  <a:pt x="34" y="3"/>
                </a:cubicBezTo>
                <a:cubicBezTo>
                  <a:pt x="34" y="3"/>
                  <a:pt x="34" y="3"/>
                  <a:pt x="34" y="3"/>
                </a:cubicBezTo>
                <a:cubicBezTo>
                  <a:pt x="34" y="3"/>
                  <a:pt x="34" y="4"/>
                  <a:pt x="34" y="5"/>
                </a:cubicBezTo>
                <a:cubicBezTo>
                  <a:pt x="34" y="5"/>
                  <a:pt x="33" y="5"/>
                  <a:pt x="33" y="6"/>
                </a:cubicBezTo>
                <a:cubicBezTo>
                  <a:pt x="33" y="7"/>
                  <a:pt x="33" y="7"/>
                  <a:pt x="33" y="7"/>
                </a:cubicBezTo>
                <a:cubicBezTo>
                  <a:pt x="26" y="4"/>
                  <a:pt x="26" y="4"/>
                  <a:pt x="26" y="4"/>
                </a:cubicBezTo>
                <a:cubicBezTo>
                  <a:pt x="25" y="3"/>
                  <a:pt x="24" y="3"/>
                  <a:pt x="23" y="2"/>
                </a:cubicBezTo>
                <a:cubicBezTo>
                  <a:pt x="21" y="0"/>
                  <a:pt x="21" y="0"/>
                  <a:pt x="21" y="0"/>
                </a:cubicBezTo>
                <a:cubicBezTo>
                  <a:pt x="21" y="0"/>
                  <a:pt x="21" y="0"/>
                  <a:pt x="21" y="0"/>
                </a:cubicBezTo>
                <a:cubicBezTo>
                  <a:pt x="21" y="0"/>
                  <a:pt x="21" y="1"/>
                  <a:pt x="21" y="1"/>
                </a:cubicBezTo>
                <a:cubicBezTo>
                  <a:pt x="20" y="2"/>
                  <a:pt x="20" y="2"/>
                  <a:pt x="20" y="3"/>
                </a:cubicBezTo>
                <a:cubicBezTo>
                  <a:pt x="20" y="3"/>
                  <a:pt x="20" y="3"/>
                  <a:pt x="19" y="3"/>
                </a:cubicBezTo>
                <a:cubicBezTo>
                  <a:pt x="20" y="4"/>
                  <a:pt x="20" y="4"/>
                  <a:pt x="20" y="4"/>
                </a:cubicBezTo>
                <a:cubicBezTo>
                  <a:pt x="19" y="3"/>
                  <a:pt x="17" y="3"/>
                  <a:pt x="15" y="3"/>
                </a:cubicBezTo>
                <a:cubicBezTo>
                  <a:pt x="14" y="3"/>
                  <a:pt x="14" y="3"/>
                  <a:pt x="14" y="4"/>
                </a:cubicBezTo>
                <a:cubicBezTo>
                  <a:pt x="13" y="4"/>
                  <a:pt x="13" y="3"/>
                  <a:pt x="13" y="3"/>
                </a:cubicBezTo>
                <a:cubicBezTo>
                  <a:pt x="12" y="2"/>
                  <a:pt x="9" y="2"/>
                  <a:pt x="8" y="2"/>
                </a:cubicBezTo>
                <a:cubicBezTo>
                  <a:pt x="7" y="2"/>
                  <a:pt x="7" y="2"/>
                  <a:pt x="6" y="3"/>
                </a:cubicBezTo>
                <a:cubicBezTo>
                  <a:pt x="5" y="5"/>
                  <a:pt x="5" y="3"/>
                  <a:pt x="5" y="3"/>
                </a:cubicBezTo>
                <a:cubicBezTo>
                  <a:pt x="5" y="3"/>
                  <a:pt x="4" y="3"/>
                  <a:pt x="4" y="3"/>
                </a:cubicBezTo>
                <a:cubicBezTo>
                  <a:pt x="4" y="3"/>
                  <a:pt x="6" y="5"/>
                  <a:pt x="6" y="5"/>
                </a:cubicBezTo>
                <a:cubicBezTo>
                  <a:pt x="6" y="6"/>
                  <a:pt x="6" y="7"/>
                  <a:pt x="5" y="8"/>
                </a:cubicBezTo>
                <a:cubicBezTo>
                  <a:pt x="6" y="9"/>
                  <a:pt x="8" y="8"/>
                  <a:pt x="9" y="8"/>
                </a:cubicBezTo>
                <a:cubicBezTo>
                  <a:pt x="8" y="10"/>
                  <a:pt x="7" y="10"/>
                  <a:pt x="6" y="10"/>
                </a:cubicBezTo>
                <a:cubicBezTo>
                  <a:pt x="6" y="11"/>
                  <a:pt x="7" y="11"/>
                  <a:pt x="8" y="12"/>
                </a:cubicBezTo>
                <a:cubicBezTo>
                  <a:pt x="7" y="12"/>
                  <a:pt x="3" y="12"/>
                  <a:pt x="5" y="13"/>
                </a:cubicBezTo>
                <a:cubicBezTo>
                  <a:pt x="4" y="12"/>
                  <a:pt x="4" y="13"/>
                  <a:pt x="3" y="13"/>
                </a:cubicBezTo>
                <a:cubicBezTo>
                  <a:pt x="3" y="14"/>
                  <a:pt x="4" y="14"/>
                  <a:pt x="4" y="14"/>
                </a:cubicBezTo>
                <a:cubicBezTo>
                  <a:pt x="4" y="14"/>
                  <a:pt x="3" y="14"/>
                  <a:pt x="3" y="15"/>
                </a:cubicBezTo>
                <a:cubicBezTo>
                  <a:pt x="4" y="15"/>
                  <a:pt x="9" y="15"/>
                  <a:pt x="9" y="15"/>
                </a:cubicBezTo>
                <a:cubicBezTo>
                  <a:pt x="9" y="16"/>
                  <a:pt x="9" y="17"/>
                  <a:pt x="9" y="17"/>
                </a:cubicBezTo>
                <a:cubicBezTo>
                  <a:pt x="11" y="17"/>
                  <a:pt x="13" y="17"/>
                  <a:pt x="15" y="17"/>
                </a:cubicBezTo>
                <a:cubicBezTo>
                  <a:pt x="15" y="18"/>
                  <a:pt x="15" y="19"/>
                  <a:pt x="14" y="18"/>
                </a:cubicBezTo>
                <a:cubicBezTo>
                  <a:pt x="14" y="18"/>
                  <a:pt x="14" y="19"/>
                  <a:pt x="14" y="19"/>
                </a:cubicBezTo>
                <a:cubicBezTo>
                  <a:pt x="14" y="19"/>
                  <a:pt x="13" y="19"/>
                  <a:pt x="13" y="19"/>
                </a:cubicBezTo>
                <a:cubicBezTo>
                  <a:pt x="13" y="19"/>
                  <a:pt x="12" y="18"/>
                  <a:pt x="12" y="19"/>
                </a:cubicBezTo>
                <a:cubicBezTo>
                  <a:pt x="12" y="19"/>
                  <a:pt x="12" y="19"/>
                  <a:pt x="12" y="19"/>
                </a:cubicBezTo>
                <a:cubicBezTo>
                  <a:pt x="11" y="20"/>
                  <a:pt x="11" y="20"/>
                  <a:pt x="10" y="21"/>
                </a:cubicBezTo>
                <a:cubicBezTo>
                  <a:pt x="10" y="22"/>
                  <a:pt x="11" y="23"/>
                  <a:pt x="10" y="24"/>
                </a:cubicBezTo>
                <a:cubicBezTo>
                  <a:pt x="9" y="24"/>
                  <a:pt x="9" y="24"/>
                  <a:pt x="9" y="24"/>
                </a:cubicBezTo>
                <a:cubicBezTo>
                  <a:pt x="8" y="25"/>
                  <a:pt x="8" y="25"/>
                  <a:pt x="8" y="25"/>
                </a:cubicBezTo>
                <a:cubicBezTo>
                  <a:pt x="7" y="26"/>
                  <a:pt x="6" y="26"/>
                  <a:pt x="5" y="27"/>
                </a:cubicBezTo>
                <a:cubicBezTo>
                  <a:pt x="8" y="26"/>
                  <a:pt x="11" y="25"/>
                  <a:pt x="14" y="24"/>
                </a:cubicBezTo>
                <a:cubicBezTo>
                  <a:pt x="16" y="24"/>
                  <a:pt x="16" y="24"/>
                  <a:pt x="18" y="25"/>
                </a:cubicBezTo>
                <a:cubicBezTo>
                  <a:pt x="15" y="26"/>
                  <a:pt x="12" y="26"/>
                  <a:pt x="10" y="27"/>
                </a:cubicBezTo>
                <a:cubicBezTo>
                  <a:pt x="9" y="27"/>
                  <a:pt x="9" y="26"/>
                  <a:pt x="8" y="27"/>
                </a:cubicBezTo>
                <a:cubicBezTo>
                  <a:pt x="8" y="27"/>
                  <a:pt x="8" y="28"/>
                  <a:pt x="7" y="28"/>
                </a:cubicBezTo>
                <a:cubicBezTo>
                  <a:pt x="6" y="29"/>
                  <a:pt x="6" y="28"/>
                  <a:pt x="5" y="29"/>
                </a:cubicBezTo>
                <a:cubicBezTo>
                  <a:pt x="7" y="29"/>
                  <a:pt x="6" y="31"/>
                  <a:pt x="7" y="31"/>
                </a:cubicBezTo>
                <a:cubicBezTo>
                  <a:pt x="7" y="31"/>
                  <a:pt x="4" y="32"/>
                  <a:pt x="5" y="30"/>
                </a:cubicBezTo>
                <a:cubicBezTo>
                  <a:pt x="4" y="30"/>
                  <a:pt x="4" y="31"/>
                  <a:pt x="3" y="31"/>
                </a:cubicBezTo>
                <a:cubicBezTo>
                  <a:pt x="3" y="31"/>
                  <a:pt x="4" y="30"/>
                  <a:pt x="3" y="30"/>
                </a:cubicBezTo>
                <a:cubicBezTo>
                  <a:pt x="2" y="30"/>
                  <a:pt x="1" y="31"/>
                  <a:pt x="1" y="32"/>
                </a:cubicBezTo>
                <a:cubicBezTo>
                  <a:pt x="0" y="32"/>
                  <a:pt x="1" y="32"/>
                  <a:pt x="0" y="32"/>
                </a:cubicBezTo>
                <a:cubicBezTo>
                  <a:pt x="1" y="32"/>
                  <a:pt x="2" y="33"/>
                  <a:pt x="4" y="33"/>
                </a:cubicBezTo>
                <a:cubicBezTo>
                  <a:pt x="4" y="33"/>
                  <a:pt x="5" y="32"/>
                  <a:pt x="5" y="33"/>
                </a:cubicBezTo>
                <a:cubicBezTo>
                  <a:pt x="5" y="32"/>
                  <a:pt x="6" y="32"/>
                  <a:pt x="7" y="32"/>
                </a:cubicBezTo>
                <a:cubicBezTo>
                  <a:pt x="7" y="33"/>
                  <a:pt x="6" y="33"/>
                  <a:pt x="6" y="33"/>
                </a:cubicBezTo>
                <a:cubicBezTo>
                  <a:pt x="6" y="33"/>
                  <a:pt x="5" y="33"/>
                  <a:pt x="5" y="33"/>
                </a:cubicBezTo>
                <a:cubicBezTo>
                  <a:pt x="5" y="33"/>
                  <a:pt x="5" y="33"/>
                  <a:pt x="5" y="33"/>
                </a:cubicBezTo>
                <a:cubicBezTo>
                  <a:pt x="5" y="34"/>
                  <a:pt x="4" y="34"/>
                  <a:pt x="3" y="34"/>
                </a:cubicBezTo>
                <a:cubicBezTo>
                  <a:pt x="3" y="34"/>
                  <a:pt x="2" y="34"/>
                  <a:pt x="2" y="35"/>
                </a:cubicBezTo>
                <a:cubicBezTo>
                  <a:pt x="2" y="35"/>
                  <a:pt x="2" y="36"/>
                  <a:pt x="1" y="36"/>
                </a:cubicBezTo>
                <a:cubicBezTo>
                  <a:pt x="3" y="36"/>
                  <a:pt x="5" y="37"/>
                  <a:pt x="8" y="36"/>
                </a:cubicBezTo>
                <a:cubicBezTo>
                  <a:pt x="8" y="36"/>
                  <a:pt x="9" y="36"/>
                  <a:pt x="9" y="36"/>
                </a:cubicBezTo>
                <a:cubicBezTo>
                  <a:pt x="7" y="37"/>
                  <a:pt x="5" y="38"/>
                  <a:pt x="3" y="40"/>
                </a:cubicBezTo>
                <a:cubicBezTo>
                  <a:pt x="5" y="40"/>
                  <a:pt x="7" y="39"/>
                  <a:pt x="9" y="39"/>
                </a:cubicBezTo>
                <a:cubicBezTo>
                  <a:pt x="8" y="40"/>
                  <a:pt x="7" y="40"/>
                  <a:pt x="6" y="40"/>
                </a:cubicBezTo>
                <a:cubicBezTo>
                  <a:pt x="7" y="41"/>
                  <a:pt x="8" y="40"/>
                  <a:pt x="8" y="40"/>
                </a:cubicBezTo>
                <a:cubicBezTo>
                  <a:pt x="8" y="41"/>
                  <a:pt x="7" y="41"/>
                  <a:pt x="6" y="41"/>
                </a:cubicBezTo>
                <a:cubicBezTo>
                  <a:pt x="7" y="42"/>
                  <a:pt x="10" y="41"/>
                  <a:pt x="11" y="41"/>
                </a:cubicBezTo>
                <a:cubicBezTo>
                  <a:pt x="11" y="41"/>
                  <a:pt x="11" y="41"/>
                  <a:pt x="11" y="41"/>
                </a:cubicBezTo>
                <a:cubicBezTo>
                  <a:pt x="13" y="41"/>
                  <a:pt x="16" y="41"/>
                  <a:pt x="18" y="40"/>
                </a:cubicBezTo>
                <a:cubicBezTo>
                  <a:pt x="20" y="39"/>
                  <a:pt x="21" y="39"/>
                  <a:pt x="22" y="36"/>
                </a:cubicBezTo>
                <a:cubicBezTo>
                  <a:pt x="22" y="37"/>
                  <a:pt x="23" y="37"/>
                  <a:pt x="24" y="37"/>
                </a:cubicBezTo>
                <a:cubicBezTo>
                  <a:pt x="25" y="36"/>
                  <a:pt x="27" y="35"/>
                  <a:pt x="29" y="34"/>
                </a:cubicBezTo>
                <a:cubicBezTo>
                  <a:pt x="31" y="33"/>
                  <a:pt x="33" y="33"/>
                  <a:pt x="34" y="33"/>
                </a:cubicBezTo>
                <a:cubicBezTo>
                  <a:pt x="36" y="32"/>
                  <a:pt x="35" y="32"/>
                  <a:pt x="35" y="30"/>
                </a:cubicBezTo>
                <a:cubicBezTo>
                  <a:pt x="36" y="31"/>
                  <a:pt x="36" y="32"/>
                  <a:pt x="36" y="32"/>
                </a:cubicBezTo>
                <a:cubicBezTo>
                  <a:pt x="38" y="30"/>
                  <a:pt x="40" y="31"/>
                  <a:pt x="42" y="32"/>
                </a:cubicBezTo>
                <a:cubicBezTo>
                  <a:pt x="41" y="31"/>
                  <a:pt x="41" y="30"/>
                  <a:pt x="41" y="29"/>
                </a:cubicBezTo>
                <a:cubicBezTo>
                  <a:pt x="42" y="30"/>
                  <a:pt x="42" y="29"/>
                  <a:pt x="43" y="27"/>
                </a:cubicBezTo>
                <a:cubicBezTo>
                  <a:pt x="44" y="26"/>
                  <a:pt x="44" y="24"/>
                  <a:pt x="45" y="22"/>
                </a:cubicBezTo>
                <a:cubicBezTo>
                  <a:pt x="45" y="21"/>
                  <a:pt x="46" y="21"/>
                  <a:pt x="45" y="21"/>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30" name="Freeform 3187">
            <a:extLst>
              <a:ext uri="{FF2B5EF4-FFF2-40B4-BE49-F238E27FC236}">
                <a16:creationId xmlns:a16="http://schemas.microsoft.com/office/drawing/2014/main" id="{059AEE76-6BC4-43DF-8B49-3B7E99F1FBA2}"/>
              </a:ext>
            </a:extLst>
          </p:cNvPr>
          <p:cNvSpPr>
            <a:spLocks/>
          </p:cNvSpPr>
          <p:nvPr/>
        </p:nvSpPr>
        <p:spPr bwMode="auto">
          <a:xfrm>
            <a:off x="3439106" y="2878283"/>
            <a:ext cx="4460" cy="5342"/>
          </a:xfrm>
          <a:custGeom>
            <a:avLst/>
            <a:gdLst>
              <a:gd name="T0" fmla="*/ 2 w 4"/>
              <a:gd name="T1" fmla="*/ 3 h 4"/>
              <a:gd name="T2" fmla="*/ 4 w 4"/>
              <a:gd name="T3" fmla="*/ 2 h 4"/>
              <a:gd name="T4" fmla="*/ 4 w 4"/>
              <a:gd name="T5" fmla="*/ 2 h 4"/>
              <a:gd name="T6" fmla="*/ 3 w 4"/>
              <a:gd name="T7" fmla="*/ 2 h 4"/>
              <a:gd name="T8" fmla="*/ 2 w 4"/>
              <a:gd name="T9" fmla="*/ 2 h 4"/>
              <a:gd name="T10" fmla="*/ 2 w 4"/>
              <a:gd name="T11" fmla="*/ 0 h 4"/>
              <a:gd name="T12" fmla="*/ 0 w 4"/>
              <a:gd name="T13" fmla="*/ 4 h 4"/>
              <a:gd name="T14" fmla="*/ 1 w 4"/>
              <a:gd name="T15" fmla="*/ 2 h 4"/>
              <a:gd name="T16" fmla="*/ 2 w 4"/>
              <a:gd name="T1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2" y="3"/>
                </a:moveTo>
                <a:cubicBezTo>
                  <a:pt x="3" y="2"/>
                  <a:pt x="3" y="2"/>
                  <a:pt x="4" y="2"/>
                </a:cubicBezTo>
                <a:cubicBezTo>
                  <a:pt x="4" y="2"/>
                  <a:pt x="4" y="2"/>
                  <a:pt x="4" y="2"/>
                </a:cubicBezTo>
                <a:cubicBezTo>
                  <a:pt x="4" y="2"/>
                  <a:pt x="3" y="2"/>
                  <a:pt x="3" y="2"/>
                </a:cubicBezTo>
                <a:cubicBezTo>
                  <a:pt x="3" y="2"/>
                  <a:pt x="2" y="2"/>
                  <a:pt x="2" y="2"/>
                </a:cubicBezTo>
                <a:cubicBezTo>
                  <a:pt x="1" y="2"/>
                  <a:pt x="2" y="1"/>
                  <a:pt x="2" y="0"/>
                </a:cubicBezTo>
                <a:cubicBezTo>
                  <a:pt x="0" y="0"/>
                  <a:pt x="0" y="3"/>
                  <a:pt x="0" y="4"/>
                </a:cubicBezTo>
                <a:cubicBezTo>
                  <a:pt x="1" y="3"/>
                  <a:pt x="0" y="3"/>
                  <a:pt x="1" y="2"/>
                </a:cubicBezTo>
                <a:cubicBezTo>
                  <a:pt x="1" y="2"/>
                  <a:pt x="1" y="3"/>
                  <a:pt x="2" y="3"/>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31" name="Freeform 3188">
            <a:extLst>
              <a:ext uri="{FF2B5EF4-FFF2-40B4-BE49-F238E27FC236}">
                <a16:creationId xmlns:a16="http://schemas.microsoft.com/office/drawing/2014/main" id="{61B573A8-E094-43B3-9BE6-E6B7ECC424D6}"/>
              </a:ext>
            </a:extLst>
          </p:cNvPr>
          <p:cNvSpPr>
            <a:spLocks/>
          </p:cNvSpPr>
          <p:nvPr/>
        </p:nvSpPr>
        <p:spPr bwMode="auto">
          <a:xfrm>
            <a:off x="3413337" y="2882439"/>
            <a:ext cx="105059" cy="140682"/>
          </a:xfrm>
          <a:custGeom>
            <a:avLst/>
            <a:gdLst>
              <a:gd name="T0" fmla="*/ 87 w 90"/>
              <a:gd name="T1" fmla="*/ 44 h 100"/>
              <a:gd name="T2" fmla="*/ 86 w 90"/>
              <a:gd name="T3" fmla="*/ 36 h 100"/>
              <a:gd name="T4" fmla="*/ 86 w 90"/>
              <a:gd name="T5" fmla="*/ 32 h 100"/>
              <a:gd name="T6" fmla="*/ 83 w 90"/>
              <a:gd name="T7" fmla="*/ 24 h 100"/>
              <a:gd name="T8" fmla="*/ 82 w 90"/>
              <a:gd name="T9" fmla="*/ 15 h 100"/>
              <a:gd name="T10" fmla="*/ 77 w 90"/>
              <a:gd name="T11" fmla="*/ 10 h 100"/>
              <a:gd name="T12" fmla="*/ 66 w 90"/>
              <a:gd name="T13" fmla="*/ 6 h 100"/>
              <a:gd name="T14" fmla="*/ 56 w 90"/>
              <a:gd name="T15" fmla="*/ 11 h 100"/>
              <a:gd name="T16" fmla="*/ 48 w 90"/>
              <a:gd name="T17" fmla="*/ 7 h 100"/>
              <a:gd name="T18" fmla="*/ 40 w 90"/>
              <a:gd name="T19" fmla="*/ 4 h 100"/>
              <a:gd name="T20" fmla="*/ 34 w 90"/>
              <a:gd name="T21" fmla="*/ 1 h 100"/>
              <a:gd name="T22" fmla="*/ 29 w 90"/>
              <a:gd name="T23" fmla="*/ 3 h 100"/>
              <a:gd name="T24" fmla="*/ 29 w 90"/>
              <a:gd name="T25" fmla="*/ 7 h 100"/>
              <a:gd name="T26" fmla="*/ 26 w 90"/>
              <a:gd name="T27" fmla="*/ 13 h 100"/>
              <a:gd name="T28" fmla="*/ 25 w 90"/>
              <a:gd name="T29" fmla="*/ 21 h 100"/>
              <a:gd name="T30" fmla="*/ 20 w 90"/>
              <a:gd name="T31" fmla="*/ 19 h 100"/>
              <a:gd name="T32" fmla="*/ 12 w 90"/>
              <a:gd name="T33" fmla="*/ 21 h 100"/>
              <a:gd name="T34" fmla="*/ 12 w 90"/>
              <a:gd name="T35" fmla="*/ 26 h 100"/>
              <a:gd name="T36" fmla="*/ 8 w 90"/>
              <a:gd name="T37" fmla="*/ 32 h 100"/>
              <a:gd name="T38" fmla="*/ 8 w 90"/>
              <a:gd name="T39" fmla="*/ 39 h 100"/>
              <a:gd name="T40" fmla="*/ 8 w 90"/>
              <a:gd name="T41" fmla="*/ 41 h 100"/>
              <a:gd name="T42" fmla="*/ 4 w 90"/>
              <a:gd name="T43" fmla="*/ 42 h 100"/>
              <a:gd name="T44" fmla="*/ 1 w 90"/>
              <a:gd name="T45" fmla="*/ 42 h 100"/>
              <a:gd name="T46" fmla="*/ 2 w 90"/>
              <a:gd name="T47" fmla="*/ 45 h 100"/>
              <a:gd name="T48" fmla="*/ 1 w 90"/>
              <a:gd name="T49" fmla="*/ 52 h 100"/>
              <a:gd name="T50" fmla="*/ 1 w 90"/>
              <a:gd name="T51" fmla="*/ 54 h 100"/>
              <a:gd name="T52" fmla="*/ 1 w 90"/>
              <a:gd name="T53" fmla="*/ 56 h 100"/>
              <a:gd name="T54" fmla="*/ 3 w 90"/>
              <a:gd name="T55" fmla="*/ 64 h 100"/>
              <a:gd name="T56" fmla="*/ 2 w 90"/>
              <a:gd name="T57" fmla="*/ 66 h 100"/>
              <a:gd name="T58" fmla="*/ 5 w 90"/>
              <a:gd name="T59" fmla="*/ 68 h 100"/>
              <a:gd name="T60" fmla="*/ 7 w 90"/>
              <a:gd name="T61" fmla="*/ 75 h 100"/>
              <a:gd name="T62" fmla="*/ 12 w 90"/>
              <a:gd name="T63" fmla="*/ 76 h 100"/>
              <a:gd name="T64" fmla="*/ 17 w 90"/>
              <a:gd name="T65" fmla="*/ 78 h 100"/>
              <a:gd name="T66" fmla="*/ 21 w 90"/>
              <a:gd name="T67" fmla="*/ 78 h 100"/>
              <a:gd name="T68" fmla="*/ 18 w 90"/>
              <a:gd name="T69" fmla="*/ 89 h 100"/>
              <a:gd name="T70" fmla="*/ 16 w 90"/>
              <a:gd name="T71" fmla="*/ 94 h 100"/>
              <a:gd name="T72" fmla="*/ 17 w 90"/>
              <a:gd name="T73" fmla="*/ 97 h 100"/>
              <a:gd name="T74" fmla="*/ 18 w 90"/>
              <a:gd name="T75" fmla="*/ 97 h 100"/>
              <a:gd name="T76" fmla="*/ 23 w 90"/>
              <a:gd name="T77" fmla="*/ 97 h 100"/>
              <a:gd name="T78" fmla="*/ 27 w 90"/>
              <a:gd name="T79" fmla="*/ 95 h 100"/>
              <a:gd name="T80" fmla="*/ 30 w 90"/>
              <a:gd name="T81" fmla="*/ 96 h 100"/>
              <a:gd name="T82" fmla="*/ 37 w 90"/>
              <a:gd name="T83" fmla="*/ 97 h 100"/>
              <a:gd name="T84" fmla="*/ 40 w 90"/>
              <a:gd name="T85" fmla="*/ 98 h 100"/>
              <a:gd name="T86" fmla="*/ 43 w 90"/>
              <a:gd name="T87" fmla="*/ 100 h 100"/>
              <a:gd name="T88" fmla="*/ 51 w 90"/>
              <a:gd name="T89" fmla="*/ 99 h 100"/>
              <a:gd name="T90" fmla="*/ 58 w 90"/>
              <a:gd name="T91" fmla="*/ 97 h 100"/>
              <a:gd name="T92" fmla="*/ 62 w 90"/>
              <a:gd name="T93" fmla="*/ 96 h 100"/>
              <a:gd name="T94" fmla="*/ 66 w 90"/>
              <a:gd name="T95" fmla="*/ 96 h 100"/>
              <a:gd name="T96" fmla="*/ 68 w 90"/>
              <a:gd name="T97" fmla="*/ 96 h 100"/>
              <a:gd name="T98" fmla="*/ 69 w 90"/>
              <a:gd name="T99" fmla="*/ 95 h 100"/>
              <a:gd name="T100" fmla="*/ 72 w 90"/>
              <a:gd name="T101" fmla="*/ 88 h 100"/>
              <a:gd name="T102" fmla="*/ 75 w 90"/>
              <a:gd name="T103" fmla="*/ 84 h 100"/>
              <a:gd name="T104" fmla="*/ 77 w 90"/>
              <a:gd name="T105" fmla="*/ 84 h 100"/>
              <a:gd name="T106" fmla="*/ 78 w 90"/>
              <a:gd name="T107" fmla="*/ 83 h 100"/>
              <a:gd name="T108" fmla="*/ 72 w 90"/>
              <a:gd name="T109" fmla="*/ 79 h 100"/>
              <a:gd name="T110" fmla="*/ 67 w 90"/>
              <a:gd name="T111" fmla="*/ 75 h 100"/>
              <a:gd name="T112" fmla="*/ 64 w 90"/>
              <a:gd name="T113" fmla="*/ 68 h 100"/>
              <a:gd name="T114" fmla="*/ 60 w 90"/>
              <a:gd name="T115" fmla="*/ 63 h 100"/>
              <a:gd name="T116" fmla="*/ 63 w 90"/>
              <a:gd name="T117" fmla="*/ 62 h 100"/>
              <a:gd name="T118" fmla="*/ 69 w 90"/>
              <a:gd name="T119" fmla="*/ 60 h 100"/>
              <a:gd name="T120" fmla="*/ 78 w 90"/>
              <a:gd name="T121" fmla="*/ 55 h 100"/>
              <a:gd name="T122" fmla="*/ 83 w 90"/>
              <a:gd name="T123" fmla="*/ 53 h 100"/>
              <a:gd name="T124" fmla="*/ 88 w 90"/>
              <a:gd name="T125" fmla="*/ 5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100">
                <a:moveTo>
                  <a:pt x="89" y="47"/>
                </a:moveTo>
                <a:cubicBezTo>
                  <a:pt x="88" y="47"/>
                  <a:pt x="88" y="47"/>
                  <a:pt x="88" y="47"/>
                </a:cubicBezTo>
                <a:cubicBezTo>
                  <a:pt x="88" y="47"/>
                  <a:pt x="87" y="46"/>
                  <a:pt x="87" y="46"/>
                </a:cubicBezTo>
                <a:cubicBezTo>
                  <a:pt x="87" y="46"/>
                  <a:pt x="87" y="45"/>
                  <a:pt x="87" y="45"/>
                </a:cubicBezTo>
                <a:cubicBezTo>
                  <a:pt x="87" y="45"/>
                  <a:pt x="87" y="45"/>
                  <a:pt x="87" y="44"/>
                </a:cubicBezTo>
                <a:cubicBezTo>
                  <a:pt x="87" y="44"/>
                  <a:pt x="87" y="44"/>
                  <a:pt x="87" y="44"/>
                </a:cubicBezTo>
                <a:cubicBezTo>
                  <a:pt x="86" y="43"/>
                  <a:pt x="85" y="42"/>
                  <a:pt x="86" y="41"/>
                </a:cubicBezTo>
                <a:cubicBezTo>
                  <a:pt x="87" y="39"/>
                  <a:pt x="87" y="39"/>
                  <a:pt x="87" y="37"/>
                </a:cubicBezTo>
                <a:cubicBezTo>
                  <a:pt x="87" y="37"/>
                  <a:pt x="87" y="37"/>
                  <a:pt x="87" y="37"/>
                </a:cubicBezTo>
                <a:cubicBezTo>
                  <a:pt x="87" y="37"/>
                  <a:pt x="86" y="37"/>
                  <a:pt x="86" y="36"/>
                </a:cubicBezTo>
                <a:cubicBezTo>
                  <a:pt x="86" y="36"/>
                  <a:pt x="86" y="36"/>
                  <a:pt x="86" y="36"/>
                </a:cubicBezTo>
                <a:cubicBezTo>
                  <a:pt x="86" y="35"/>
                  <a:pt x="85" y="35"/>
                  <a:pt x="85" y="34"/>
                </a:cubicBezTo>
                <a:cubicBezTo>
                  <a:pt x="85" y="33"/>
                  <a:pt x="85" y="32"/>
                  <a:pt x="86" y="32"/>
                </a:cubicBezTo>
                <a:cubicBezTo>
                  <a:pt x="86" y="32"/>
                  <a:pt x="86" y="32"/>
                  <a:pt x="86" y="32"/>
                </a:cubicBezTo>
                <a:cubicBezTo>
                  <a:pt x="86" y="32"/>
                  <a:pt x="86" y="32"/>
                  <a:pt x="86" y="32"/>
                </a:cubicBezTo>
                <a:cubicBezTo>
                  <a:pt x="85" y="31"/>
                  <a:pt x="84" y="30"/>
                  <a:pt x="83" y="30"/>
                </a:cubicBezTo>
                <a:cubicBezTo>
                  <a:pt x="83" y="29"/>
                  <a:pt x="83" y="29"/>
                  <a:pt x="83" y="29"/>
                </a:cubicBezTo>
                <a:cubicBezTo>
                  <a:pt x="83" y="29"/>
                  <a:pt x="83" y="29"/>
                  <a:pt x="82" y="29"/>
                </a:cubicBezTo>
                <a:cubicBezTo>
                  <a:pt x="82" y="28"/>
                  <a:pt x="81" y="27"/>
                  <a:pt x="81" y="26"/>
                </a:cubicBezTo>
                <a:cubicBezTo>
                  <a:pt x="81" y="25"/>
                  <a:pt x="82" y="25"/>
                  <a:pt x="83" y="24"/>
                </a:cubicBezTo>
                <a:cubicBezTo>
                  <a:pt x="83" y="24"/>
                  <a:pt x="83" y="24"/>
                  <a:pt x="83" y="24"/>
                </a:cubicBezTo>
                <a:cubicBezTo>
                  <a:pt x="83" y="24"/>
                  <a:pt x="83" y="24"/>
                  <a:pt x="84" y="23"/>
                </a:cubicBezTo>
                <a:cubicBezTo>
                  <a:pt x="84" y="21"/>
                  <a:pt x="84" y="20"/>
                  <a:pt x="83" y="19"/>
                </a:cubicBezTo>
                <a:cubicBezTo>
                  <a:pt x="83" y="19"/>
                  <a:pt x="83" y="18"/>
                  <a:pt x="83" y="18"/>
                </a:cubicBezTo>
                <a:cubicBezTo>
                  <a:pt x="82" y="15"/>
                  <a:pt x="82" y="15"/>
                  <a:pt x="82" y="15"/>
                </a:cubicBezTo>
                <a:cubicBezTo>
                  <a:pt x="82" y="15"/>
                  <a:pt x="82" y="15"/>
                  <a:pt x="82" y="15"/>
                </a:cubicBezTo>
                <a:cubicBezTo>
                  <a:pt x="82" y="15"/>
                  <a:pt x="82" y="15"/>
                  <a:pt x="82" y="15"/>
                </a:cubicBezTo>
                <a:cubicBezTo>
                  <a:pt x="81" y="15"/>
                  <a:pt x="80" y="14"/>
                  <a:pt x="79" y="14"/>
                </a:cubicBezTo>
                <a:cubicBezTo>
                  <a:pt x="79" y="13"/>
                  <a:pt x="79" y="12"/>
                  <a:pt x="79" y="11"/>
                </a:cubicBezTo>
                <a:cubicBezTo>
                  <a:pt x="78" y="10"/>
                  <a:pt x="78" y="10"/>
                  <a:pt x="77" y="10"/>
                </a:cubicBezTo>
                <a:cubicBezTo>
                  <a:pt x="75" y="9"/>
                  <a:pt x="74" y="9"/>
                  <a:pt x="73" y="8"/>
                </a:cubicBezTo>
                <a:cubicBezTo>
                  <a:pt x="72" y="8"/>
                  <a:pt x="72" y="7"/>
                  <a:pt x="71" y="6"/>
                </a:cubicBezTo>
                <a:cubicBezTo>
                  <a:pt x="71" y="6"/>
                  <a:pt x="71" y="5"/>
                  <a:pt x="70" y="6"/>
                </a:cubicBezTo>
                <a:cubicBezTo>
                  <a:pt x="69" y="7"/>
                  <a:pt x="67" y="7"/>
                  <a:pt x="65" y="7"/>
                </a:cubicBezTo>
                <a:cubicBezTo>
                  <a:pt x="65" y="6"/>
                  <a:pt x="66" y="6"/>
                  <a:pt x="66" y="6"/>
                </a:cubicBezTo>
                <a:cubicBezTo>
                  <a:pt x="68" y="6"/>
                  <a:pt x="68" y="6"/>
                  <a:pt x="70" y="5"/>
                </a:cubicBezTo>
                <a:cubicBezTo>
                  <a:pt x="68" y="5"/>
                  <a:pt x="67" y="5"/>
                  <a:pt x="65" y="5"/>
                </a:cubicBezTo>
                <a:cubicBezTo>
                  <a:pt x="64" y="6"/>
                  <a:pt x="62" y="10"/>
                  <a:pt x="61" y="10"/>
                </a:cubicBezTo>
                <a:cubicBezTo>
                  <a:pt x="61" y="10"/>
                  <a:pt x="61" y="9"/>
                  <a:pt x="60" y="9"/>
                </a:cubicBezTo>
                <a:cubicBezTo>
                  <a:pt x="59" y="10"/>
                  <a:pt x="57" y="11"/>
                  <a:pt x="56" y="11"/>
                </a:cubicBezTo>
                <a:cubicBezTo>
                  <a:pt x="55" y="12"/>
                  <a:pt x="54" y="13"/>
                  <a:pt x="52" y="13"/>
                </a:cubicBezTo>
                <a:cubicBezTo>
                  <a:pt x="51" y="12"/>
                  <a:pt x="48" y="13"/>
                  <a:pt x="49" y="11"/>
                </a:cubicBezTo>
                <a:cubicBezTo>
                  <a:pt x="50" y="9"/>
                  <a:pt x="51" y="8"/>
                  <a:pt x="52" y="6"/>
                </a:cubicBezTo>
                <a:cubicBezTo>
                  <a:pt x="51" y="6"/>
                  <a:pt x="50" y="6"/>
                  <a:pt x="49" y="6"/>
                </a:cubicBezTo>
                <a:cubicBezTo>
                  <a:pt x="49" y="7"/>
                  <a:pt x="48" y="7"/>
                  <a:pt x="48" y="7"/>
                </a:cubicBezTo>
                <a:cubicBezTo>
                  <a:pt x="46" y="7"/>
                  <a:pt x="45" y="6"/>
                  <a:pt x="43" y="6"/>
                </a:cubicBezTo>
                <a:cubicBezTo>
                  <a:pt x="43" y="5"/>
                  <a:pt x="42" y="7"/>
                  <a:pt x="42" y="7"/>
                </a:cubicBezTo>
                <a:cubicBezTo>
                  <a:pt x="42" y="6"/>
                  <a:pt x="42" y="6"/>
                  <a:pt x="42" y="5"/>
                </a:cubicBezTo>
                <a:cubicBezTo>
                  <a:pt x="41" y="5"/>
                  <a:pt x="40" y="5"/>
                  <a:pt x="38" y="5"/>
                </a:cubicBezTo>
                <a:cubicBezTo>
                  <a:pt x="39" y="5"/>
                  <a:pt x="40" y="5"/>
                  <a:pt x="40" y="4"/>
                </a:cubicBezTo>
                <a:cubicBezTo>
                  <a:pt x="41" y="3"/>
                  <a:pt x="40" y="1"/>
                  <a:pt x="38" y="0"/>
                </a:cubicBezTo>
                <a:cubicBezTo>
                  <a:pt x="37" y="0"/>
                  <a:pt x="36" y="0"/>
                  <a:pt x="35" y="0"/>
                </a:cubicBezTo>
                <a:cubicBezTo>
                  <a:pt x="35" y="1"/>
                  <a:pt x="35" y="1"/>
                  <a:pt x="35" y="1"/>
                </a:cubicBezTo>
                <a:cubicBezTo>
                  <a:pt x="35" y="1"/>
                  <a:pt x="35" y="1"/>
                  <a:pt x="35" y="1"/>
                </a:cubicBezTo>
                <a:cubicBezTo>
                  <a:pt x="34" y="1"/>
                  <a:pt x="34" y="1"/>
                  <a:pt x="34" y="1"/>
                </a:cubicBezTo>
                <a:cubicBezTo>
                  <a:pt x="33" y="1"/>
                  <a:pt x="31" y="1"/>
                  <a:pt x="30" y="1"/>
                </a:cubicBezTo>
                <a:cubicBezTo>
                  <a:pt x="30" y="1"/>
                  <a:pt x="30" y="1"/>
                  <a:pt x="30" y="1"/>
                </a:cubicBezTo>
                <a:cubicBezTo>
                  <a:pt x="29" y="0"/>
                  <a:pt x="28" y="0"/>
                  <a:pt x="27" y="0"/>
                </a:cubicBezTo>
                <a:cubicBezTo>
                  <a:pt x="27" y="0"/>
                  <a:pt x="27" y="0"/>
                  <a:pt x="27" y="0"/>
                </a:cubicBezTo>
                <a:cubicBezTo>
                  <a:pt x="28" y="1"/>
                  <a:pt x="28" y="2"/>
                  <a:pt x="29" y="3"/>
                </a:cubicBezTo>
                <a:cubicBezTo>
                  <a:pt x="29" y="3"/>
                  <a:pt x="29" y="4"/>
                  <a:pt x="30" y="4"/>
                </a:cubicBezTo>
                <a:cubicBezTo>
                  <a:pt x="30" y="5"/>
                  <a:pt x="30" y="5"/>
                  <a:pt x="29" y="6"/>
                </a:cubicBezTo>
                <a:cubicBezTo>
                  <a:pt x="28" y="6"/>
                  <a:pt x="27" y="6"/>
                  <a:pt x="27" y="6"/>
                </a:cubicBezTo>
                <a:cubicBezTo>
                  <a:pt x="26" y="6"/>
                  <a:pt x="26" y="6"/>
                  <a:pt x="26" y="7"/>
                </a:cubicBezTo>
                <a:cubicBezTo>
                  <a:pt x="26" y="8"/>
                  <a:pt x="28" y="7"/>
                  <a:pt x="29" y="7"/>
                </a:cubicBezTo>
                <a:cubicBezTo>
                  <a:pt x="29" y="8"/>
                  <a:pt x="28" y="8"/>
                  <a:pt x="28" y="9"/>
                </a:cubicBezTo>
                <a:cubicBezTo>
                  <a:pt x="28" y="10"/>
                  <a:pt x="29" y="11"/>
                  <a:pt x="28" y="11"/>
                </a:cubicBezTo>
                <a:cubicBezTo>
                  <a:pt x="29" y="12"/>
                  <a:pt x="31" y="13"/>
                  <a:pt x="32" y="14"/>
                </a:cubicBezTo>
                <a:cubicBezTo>
                  <a:pt x="32" y="14"/>
                  <a:pt x="31" y="14"/>
                  <a:pt x="31" y="14"/>
                </a:cubicBezTo>
                <a:cubicBezTo>
                  <a:pt x="29" y="14"/>
                  <a:pt x="28" y="13"/>
                  <a:pt x="26" y="13"/>
                </a:cubicBezTo>
                <a:cubicBezTo>
                  <a:pt x="26" y="14"/>
                  <a:pt x="26" y="13"/>
                  <a:pt x="25" y="14"/>
                </a:cubicBezTo>
                <a:cubicBezTo>
                  <a:pt x="25" y="14"/>
                  <a:pt x="25" y="15"/>
                  <a:pt x="25" y="15"/>
                </a:cubicBezTo>
                <a:cubicBezTo>
                  <a:pt x="25" y="16"/>
                  <a:pt x="25" y="16"/>
                  <a:pt x="25" y="17"/>
                </a:cubicBezTo>
                <a:cubicBezTo>
                  <a:pt x="25" y="17"/>
                  <a:pt x="25" y="18"/>
                  <a:pt x="25" y="19"/>
                </a:cubicBezTo>
                <a:cubicBezTo>
                  <a:pt x="25" y="19"/>
                  <a:pt x="25" y="20"/>
                  <a:pt x="25" y="21"/>
                </a:cubicBezTo>
                <a:cubicBezTo>
                  <a:pt x="25" y="19"/>
                  <a:pt x="26" y="18"/>
                  <a:pt x="24" y="18"/>
                </a:cubicBezTo>
                <a:cubicBezTo>
                  <a:pt x="24" y="17"/>
                  <a:pt x="23" y="17"/>
                  <a:pt x="22" y="17"/>
                </a:cubicBezTo>
                <a:cubicBezTo>
                  <a:pt x="21" y="18"/>
                  <a:pt x="23" y="18"/>
                  <a:pt x="23" y="18"/>
                </a:cubicBezTo>
                <a:cubicBezTo>
                  <a:pt x="23" y="18"/>
                  <a:pt x="23" y="19"/>
                  <a:pt x="23" y="19"/>
                </a:cubicBezTo>
                <a:cubicBezTo>
                  <a:pt x="22" y="20"/>
                  <a:pt x="22" y="20"/>
                  <a:pt x="20" y="19"/>
                </a:cubicBezTo>
                <a:cubicBezTo>
                  <a:pt x="23" y="18"/>
                  <a:pt x="18" y="16"/>
                  <a:pt x="17" y="16"/>
                </a:cubicBezTo>
                <a:cubicBezTo>
                  <a:pt x="16" y="16"/>
                  <a:pt x="12" y="16"/>
                  <a:pt x="10" y="17"/>
                </a:cubicBezTo>
                <a:cubicBezTo>
                  <a:pt x="10" y="17"/>
                  <a:pt x="10" y="19"/>
                  <a:pt x="10" y="19"/>
                </a:cubicBezTo>
                <a:cubicBezTo>
                  <a:pt x="10" y="19"/>
                  <a:pt x="10" y="19"/>
                  <a:pt x="10" y="19"/>
                </a:cubicBezTo>
                <a:cubicBezTo>
                  <a:pt x="9" y="21"/>
                  <a:pt x="11" y="21"/>
                  <a:pt x="12" y="21"/>
                </a:cubicBezTo>
                <a:cubicBezTo>
                  <a:pt x="12" y="21"/>
                  <a:pt x="12" y="21"/>
                  <a:pt x="12" y="21"/>
                </a:cubicBezTo>
                <a:cubicBezTo>
                  <a:pt x="13" y="21"/>
                  <a:pt x="13" y="21"/>
                  <a:pt x="13" y="21"/>
                </a:cubicBezTo>
                <a:cubicBezTo>
                  <a:pt x="13" y="22"/>
                  <a:pt x="13" y="22"/>
                  <a:pt x="13" y="22"/>
                </a:cubicBezTo>
                <a:cubicBezTo>
                  <a:pt x="13" y="22"/>
                  <a:pt x="13" y="23"/>
                  <a:pt x="13" y="24"/>
                </a:cubicBezTo>
                <a:cubicBezTo>
                  <a:pt x="13" y="25"/>
                  <a:pt x="13" y="25"/>
                  <a:pt x="12" y="26"/>
                </a:cubicBezTo>
                <a:cubicBezTo>
                  <a:pt x="12" y="26"/>
                  <a:pt x="12" y="27"/>
                  <a:pt x="12" y="27"/>
                </a:cubicBezTo>
                <a:cubicBezTo>
                  <a:pt x="12" y="28"/>
                  <a:pt x="12" y="28"/>
                  <a:pt x="11" y="29"/>
                </a:cubicBezTo>
                <a:cubicBezTo>
                  <a:pt x="11" y="29"/>
                  <a:pt x="11" y="29"/>
                  <a:pt x="11" y="29"/>
                </a:cubicBezTo>
                <a:cubicBezTo>
                  <a:pt x="11" y="30"/>
                  <a:pt x="11" y="31"/>
                  <a:pt x="10" y="32"/>
                </a:cubicBezTo>
                <a:cubicBezTo>
                  <a:pt x="9" y="32"/>
                  <a:pt x="9" y="32"/>
                  <a:pt x="8" y="32"/>
                </a:cubicBezTo>
                <a:cubicBezTo>
                  <a:pt x="8" y="32"/>
                  <a:pt x="8" y="32"/>
                  <a:pt x="8" y="32"/>
                </a:cubicBezTo>
                <a:cubicBezTo>
                  <a:pt x="9" y="32"/>
                  <a:pt x="9" y="32"/>
                  <a:pt x="9" y="32"/>
                </a:cubicBezTo>
                <a:cubicBezTo>
                  <a:pt x="9" y="32"/>
                  <a:pt x="11" y="33"/>
                  <a:pt x="11" y="36"/>
                </a:cubicBezTo>
                <a:cubicBezTo>
                  <a:pt x="11" y="37"/>
                  <a:pt x="10" y="38"/>
                  <a:pt x="9" y="38"/>
                </a:cubicBezTo>
                <a:cubicBezTo>
                  <a:pt x="8" y="39"/>
                  <a:pt x="8" y="39"/>
                  <a:pt x="8" y="39"/>
                </a:cubicBezTo>
                <a:cubicBezTo>
                  <a:pt x="8" y="39"/>
                  <a:pt x="8" y="39"/>
                  <a:pt x="8" y="39"/>
                </a:cubicBezTo>
                <a:cubicBezTo>
                  <a:pt x="8" y="39"/>
                  <a:pt x="8" y="39"/>
                  <a:pt x="8" y="39"/>
                </a:cubicBezTo>
                <a:cubicBezTo>
                  <a:pt x="9" y="40"/>
                  <a:pt x="9" y="40"/>
                  <a:pt x="9" y="40"/>
                </a:cubicBezTo>
                <a:cubicBezTo>
                  <a:pt x="9" y="40"/>
                  <a:pt x="9" y="40"/>
                  <a:pt x="9" y="40"/>
                </a:cubicBezTo>
                <a:cubicBezTo>
                  <a:pt x="9" y="41"/>
                  <a:pt x="8" y="41"/>
                  <a:pt x="8" y="41"/>
                </a:cubicBezTo>
                <a:cubicBezTo>
                  <a:pt x="8" y="41"/>
                  <a:pt x="8" y="42"/>
                  <a:pt x="7" y="42"/>
                </a:cubicBezTo>
                <a:cubicBezTo>
                  <a:pt x="8" y="43"/>
                  <a:pt x="8" y="43"/>
                  <a:pt x="8" y="43"/>
                </a:cubicBezTo>
                <a:cubicBezTo>
                  <a:pt x="7" y="42"/>
                  <a:pt x="7" y="42"/>
                  <a:pt x="7" y="42"/>
                </a:cubicBezTo>
                <a:cubicBezTo>
                  <a:pt x="6" y="42"/>
                  <a:pt x="6" y="42"/>
                  <a:pt x="5" y="42"/>
                </a:cubicBezTo>
                <a:cubicBezTo>
                  <a:pt x="5" y="42"/>
                  <a:pt x="4" y="42"/>
                  <a:pt x="4" y="42"/>
                </a:cubicBezTo>
                <a:cubicBezTo>
                  <a:pt x="4" y="43"/>
                  <a:pt x="4" y="43"/>
                  <a:pt x="4" y="43"/>
                </a:cubicBezTo>
                <a:cubicBezTo>
                  <a:pt x="4" y="43"/>
                  <a:pt x="4" y="43"/>
                  <a:pt x="4" y="43"/>
                </a:cubicBezTo>
                <a:cubicBezTo>
                  <a:pt x="4" y="43"/>
                  <a:pt x="4" y="43"/>
                  <a:pt x="3" y="43"/>
                </a:cubicBezTo>
                <a:cubicBezTo>
                  <a:pt x="3" y="43"/>
                  <a:pt x="2" y="42"/>
                  <a:pt x="2" y="42"/>
                </a:cubicBezTo>
                <a:cubicBezTo>
                  <a:pt x="1" y="42"/>
                  <a:pt x="1" y="42"/>
                  <a:pt x="1" y="42"/>
                </a:cubicBezTo>
                <a:cubicBezTo>
                  <a:pt x="1" y="42"/>
                  <a:pt x="1" y="42"/>
                  <a:pt x="1" y="42"/>
                </a:cubicBezTo>
                <a:cubicBezTo>
                  <a:pt x="1" y="42"/>
                  <a:pt x="1" y="42"/>
                  <a:pt x="1" y="42"/>
                </a:cubicBezTo>
                <a:cubicBezTo>
                  <a:pt x="0" y="42"/>
                  <a:pt x="0" y="42"/>
                  <a:pt x="0" y="42"/>
                </a:cubicBezTo>
                <a:cubicBezTo>
                  <a:pt x="0" y="42"/>
                  <a:pt x="0" y="42"/>
                  <a:pt x="0" y="42"/>
                </a:cubicBezTo>
                <a:cubicBezTo>
                  <a:pt x="1" y="43"/>
                  <a:pt x="1" y="44"/>
                  <a:pt x="2" y="45"/>
                </a:cubicBezTo>
                <a:cubicBezTo>
                  <a:pt x="3" y="46"/>
                  <a:pt x="3" y="48"/>
                  <a:pt x="2" y="49"/>
                </a:cubicBezTo>
                <a:cubicBezTo>
                  <a:pt x="2" y="49"/>
                  <a:pt x="2" y="49"/>
                  <a:pt x="2" y="50"/>
                </a:cubicBezTo>
                <a:cubicBezTo>
                  <a:pt x="6" y="50"/>
                  <a:pt x="6" y="50"/>
                  <a:pt x="6" y="50"/>
                </a:cubicBezTo>
                <a:cubicBezTo>
                  <a:pt x="1" y="52"/>
                  <a:pt x="1" y="52"/>
                  <a:pt x="1" y="52"/>
                </a:cubicBezTo>
                <a:cubicBezTo>
                  <a:pt x="1" y="52"/>
                  <a:pt x="1" y="52"/>
                  <a:pt x="1" y="52"/>
                </a:cubicBezTo>
                <a:cubicBezTo>
                  <a:pt x="1" y="52"/>
                  <a:pt x="1" y="52"/>
                  <a:pt x="1" y="52"/>
                </a:cubicBezTo>
                <a:cubicBezTo>
                  <a:pt x="1" y="52"/>
                  <a:pt x="0" y="52"/>
                  <a:pt x="0" y="53"/>
                </a:cubicBezTo>
                <a:cubicBezTo>
                  <a:pt x="0" y="53"/>
                  <a:pt x="0" y="53"/>
                  <a:pt x="0" y="53"/>
                </a:cubicBezTo>
                <a:cubicBezTo>
                  <a:pt x="1" y="53"/>
                  <a:pt x="1" y="53"/>
                  <a:pt x="1" y="54"/>
                </a:cubicBezTo>
                <a:cubicBezTo>
                  <a:pt x="1" y="54"/>
                  <a:pt x="1" y="54"/>
                  <a:pt x="1" y="54"/>
                </a:cubicBezTo>
                <a:cubicBezTo>
                  <a:pt x="1" y="54"/>
                  <a:pt x="1" y="54"/>
                  <a:pt x="1" y="54"/>
                </a:cubicBezTo>
                <a:cubicBezTo>
                  <a:pt x="1" y="55"/>
                  <a:pt x="1" y="55"/>
                  <a:pt x="1" y="55"/>
                </a:cubicBezTo>
                <a:cubicBezTo>
                  <a:pt x="1" y="55"/>
                  <a:pt x="1" y="55"/>
                  <a:pt x="1" y="55"/>
                </a:cubicBezTo>
                <a:cubicBezTo>
                  <a:pt x="1" y="56"/>
                  <a:pt x="1" y="56"/>
                  <a:pt x="1" y="56"/>
                </a:cubicBezTo>
                <a:cubicBezTo>
                  <a:pt x="1" y="56"/>
                  <a:pt x="1" y="56"/>
                  <a:pt x="1" y="56"/>
                </a:cubicBezTo>
                <a:cubicBezTo>
                  <a:pt x="2" y="57"/>
                  <a:pt x="2" y="57"/>
                  <a:pt x="2" y="57"/>
                </a:cubicBezTo>
                <a:cubicBezTo>
                  <a:pt x="2" y="58"/>
                  <a:pt x="3" y="59"/>
                  <a:pt x="4" y="60"/>
                </a:cubicBezTo>
                <a:cubicBezTo>
                  <a:pt x="5" y="62"/>
                  <a:pt x="4" y="63"/>
                  <a:pt x="3" y="64"/>
                </a:cubicBezTo>
                <a:cubicBezTo>
                  <a:pt x="3" y="64"/>
                  <a:pt x="3" y="64"/>
                  <a:pt x="3" y="64"/>
                </a:cubicBezTo>
                <a:cubicBezTo>
                  <a:pt x="3" y="64"/>
                  <a:pt x="3" y="64"/>
                  <a:pt x="3" y="64"/>
                </a:cubicBezTo>
                <a:cubicBezTo>
                  <a:pt x="2" y="64"/>
                  <a:pt x="2" y="65"/>
                  <a:pt x="2" y="65"/>
                </a:cubicBezTo>
                <a:cubicBezTo>
                  <a:pt x="2" y="65"/>
                  <a:pt x="2" y="65"/>
                  <a:pt x="2" y="65"/>
                </a:cubicBezTo>
                <a:cubicBezTo>
                  <a:pt x="3" y="66"/>
                  <a:pt x="3" y="66"/>
                  <a:pt x="3" y="66"/>
                </a:cubicBezTo>
                <a:cubicBezTo>
                  <a:pt x="2" y="66"/>
                  <a:pt x="2" y="66"/>
                  <a:pt x="2" y="66"/>
                </a:cubicBezTo>
                <a:cubicBezTo>
                  <a:pt x="2" y="66"/>
                  <a:pt x="2" y="66"/>
                  <a:pt x="2" y="66"/>
                </a:cubicBezTo>
                <a:cubicBezTo>
                  <a:pt x="2" y="66"/>
                  <a:pt x="2" y="66"/>
                  <a:pt x="2" y="66"/>
                </a:cubicBezTo>
                <a:cubicBezTo>
                  <a:pt x="2" y="66"/>
                  <a:pt x="2" y="67"/>
                  <a:pt x="3" y="67"/>
                </a:cubicBezTo>
                <a:cubicBezTo>
                  <a:pt x="3" y="67"/>
                  <a:pt x="3" y="67"/>
                  <a:pt x="4" y="67"/>
                </a:cubicBezTo>
                <a:cubicBezTo>
                  <a:pt x="4" y="68"/>
                  <a:pt x="4" y="68"/>
                  <a:pt x="4" y="68"/>
                </a:cubicBezTo>
                <a:cubicBezTo>
                  <a:pt x="5" y="68"/>
                  <a:pt x="5" y="68"/>
                  <a:pt x="5" y="68"/>
                </a:cubicBezTo>
                <a:cubicBezTo>
                  <a:pt x="6" y="70"/>
                  <a:pt x="5" y="71"/>
                  <a:pt x="4" y="72"/>
                </a:cubicBezTo>
                <a:cubicBezTo>
                  <a:pt x="4" y="72"/>
                  <a:pt x="4" y="72"/>
                  <a:pt x="4" y="72"/>
                </a:cubicBezTo>
                <a:cubicBezTo>
                  <a:pt x="4" y="72"/>
                  <a:pt x="4" y="72"/>
                  <a:pt x="4" y="73"/>
                </a:cubicBezTo>
                <a:cubicBezTo>
                  <a:pt x="6" y="73"/>
                  <a:pt x="6" y="74"/>
                  <a:pt x="7" y="75"/>
                </a:cubicBezTo>
                <a:cubicBezTo>
                  <a:pt x="7" y="75"/>
                  <a:pt x="7" y="75"/>
                  <a:pt x="7" y="75"/>
                </a:cubicBezTo>
                <a:cubicBezTo>
                  <a:pt x="7" y="76"/>
                  <a:pt x="8" y="76"/>
                  <a:pt x="9" y="76"/>
                </a:cubicBezTo>
                <a:cubicBezTo>
                  <a:pt x="9" y="76"/>
                  <a:pt x="9" y="76"/>
                  <a:pt x="9" y="76"/>
                </a:cubicBezTo>
                <a:cubicBezTo>
                  <a:pt x="10" y="76"/>
                  <a:pt x="10" y="76"/>
                  <a:pt x="11" y="76"/>
                </a:cubicBezTo>
                <a:cubicBezTo>
                  <a:pt x="11" y="76"/>
                  <a:pt x="11" y="76"/>
                  <a:pt x="11" y="76"/>
                </a:cubicBezTo>
                <a:cubicBezTo>
                  <a:pt x="11" y="76"/>
                  <a:pt x="11" y="76"/>
                  <a:pt x="12" y="76"/>
                </a:cubicBezTo>
                <a:cubicBezTo>
                  <a:pt x="13" y="76"/>
                  <a:pt x="13" y="76"/>
                  <a:pt x="13" y="76"/>
                </a:cubicBezTo>
                <a:cubicBezTo>
                  <a:pt x="14" y="76"/>
                  <a:pt x="15" y="77"/>
                  <a:pt x="16" y="77"/>
                </a:cubicBezTo>
                <a:cubicBezTo>
                  <a:pt x="16" y="77"/>
                  <a:pt x="16" y="77"/>
                  <a:pt x="16" y="77"/>
                </a:cubicBezTo>
                <a:cubicBezTo>
                  <a:pt x="16" y="77"/>
                  <a:pt x="16" y="78"/>
                  <a:pt x="16" y="78"/>
                </a:cubicBezTo>
                <a:cubicBezTo>
                  <a:pt x="16" y="78"/>
                  <a:pt x="16" y="78"/>
                  <a:pt x="17" y="78"/>
                </a:cubicBezTo>
                <a:cubicBezTo>
                  <a:pt x="17" y="78"/>
                  <a:pt x="17" y="78"/>
                  <a:pt x="17" y="78"/>
                </a:cubicBezTo>
                <a:cubicBezTo>
                  <a:pt x="17" y="78"/>
                  <a:pt x="17" y="78"/>
                  <a:pt x="17" y="78"/>
                </a:cubicBezTo>
                <a:cubicBezTo>
                  <a:pt x="18" y="78"/>
                  <a:pt x="18" y="78"/>
                  <a:pt x="19" y="78"/>
                </a:cubicBezTo>
                <a:cubicBezTo>
                  <a:pt x="19" y="78"/>
                  <a:pt x="20" y="78"/>
                  <a:pt x="20" y="78"/>
                </a:cubicBezTo>
                <a:cubicBezTo>
                  <a:pt x="21" y="78"/>
                  <a:pt x="21" y="78"/>
                  <a:pt x="21" y="78"/>
                </a:cubicBezTo>
                <a:cubicBezTo>
                  <a:pt x="21" y="78"/>
                  <a:pt x="21" y="79"/>
                  <a:pt x="22" y="79"/>
                </a:cubicBezTo>
                <a:cubicBezTo>
                  <a:pt x="24" y="79"/>
                  <a:pt x="24" y="79"/>
                  <a:pt x="24" y="79"/>
                </a:cubicBezTo>
                <a:cubicBezTo>
                  <a:pt x="23" y="81"/>
                  <a:pt x="23" y="81"/>
                  <a:pt x="23" y="81"/>
                </a:cubicBezTo>
                <a:cubicBezTo>
                  <a:pt x="21" y="83"/>
                  <a:pt x="20" y="85"/>
                  <a:pt x="18" y="88"/>
                </a:cubicBezTo>
                <a:cubicBezTo>
                  <a:pt x="18" y="89"/>
                  <a:pt x="18" y="89"/>
                  <a:pt x="18" y="89"/>
                </a:cubicBezTo>
                <a:cubicBezTo>
                  <a:pt x="17" y="90"/>
                  <a:pt x="17" y="91"/>
                  <a:pt x="16" y="92"/>
                </a:cubicBezTo>
                <a:cubicBezTo>
                  <a:pt x="16" y="92"/>
                  <a:pt x="16" y="92"/>
                  <a:pt x="16" y="92"/>
                </a:cubicBezTo>
                <a:cubicBezTo>
                  <a:pt x="16" y="92"/>
                  <a:pt x="16" y="92"/>
                  <a:pt x="16" y="92"/>
                </a:cubicBezTo>
                <a:cubicBezTo>
                  <a:pt x="16" y="93"/>
                  <a:pt x="16" y="93"/>
                  <a:pt x="16" y="93"/>
                </a:cubicBezTo>
                <a:cubicBezTo>
                  <a:pt x="16" y="93"/>
                  <a:pt x="16" y="93"/>
                  <a:pt x="16" y="94"/>
                </a:cubicBezTo>
                <a:cubicBezTo>
                  <a:pt x="16" y="94"/>
                  <a:pt x="16" y="94"/>
                  <a:pt x="16" y="94"/>
                </a:cubicBezTo>
                <a:cubicBezTo>
                  <a:pt x="16" y="94"/>
                  <a:pt x="16" y="95"/>
                  <a:pt x="16" y="95"/>
                </a:cubicBezTo>
                <a:cubicBezTo>
                  <a:pt x="16" y="95"/>
                  <a:pt x="16" y="96"/>
                  <a:pt x="16" y="96"/>
                </a:cubicBezTo>
                <a:cubicBezTo>
                  <a:pt x="16" y="96"/>
                  <a:pt x="16" y="96"/>
                  <a:pt x="16" y="97"/>
                </a:cubicBezTo>
                <a:cubicBezTo>
                  <a:pt x="17" y="97"/>
                  <a:pt x="17" y="97"/>
                  <a:pt x="17" y="97"/>
                </a:cubicBezTo>
                <a:cubicBezTo>
                  <a:pt x="17" y="97"/>
                  <a:pt x="17" y="97"/>
                  <a:pt x="17" y="97"/>
                </a:cubicBezTo>
                <a:cubicBezTo>
                  <a:pt x="17" y="97"/>
                  <a:pt x="17" y="97"/>
                  <a:pt x="17" y="97"/>
                </a:cubicBezTo>
                <a:cubicBezTo>
                  <a:pt x="17" y="97"/>
                  <a:pt x="18" y="97"/>
                  <a:pt x="18" y="97"/>
                </a:cubicBezTo>
                <a:cubicBezTo>
                  <a:pt x="18" y="97"/>
                  <a:pt x="18" y="97"/>
                  <a:pt x="18" y="97"/>
                </a:cubicBezTo>
                <a:cubicBezTo>
                  <a:pt x="18" y="97"/>
                  <a:pt x="18" y="97"/>
                  <a:pt x="18" y="97"/>
                </a:cubicBezTo>
                <a:cubicBezTo>
                  <a:pt x="18" y="97"/>
                  <a:pt x="19" y="97"/>
                  <a:pt x="19" y="97"/>
                </a:cubicBezTo>
                <a:cubicBezTo>
                  <a:pt x="19" y="97"/>
                  <a:pt x="19" y="97"/>
                  <a:pt x="20" y="97"/>
                </a:cubicBezTo>
                <a:cubicBezTo>
                  <a:pt x="21" y="97"/>
                  <a:pt x="22" y="97"/>
                  <a:pt x="22" y="97"/>
                </a:cubicBezTo>
                <a:cubicBezTo>
                  <a:pt x="23" y="97"/>
                  <a:pt x="23" y="97"/>
                  <a:pt x="23" y="97"/>
                </a:cubicBezTo>
                <a:cubicBezTo>
                  <a:pt x="23" y="97"/>
                  <a:pt x="23" y="97"/>
                  <a:pt x="23" y="97"/>
                </a:cubicBezTo>
                <a:cubicBezTo>
                  <a:pt x="23" y="97"/>
                  <a:pt x="23" y="97"/>
                  <a:pt x="23" y="97"/>
                </a:cubicBezTo>
                <a:cubicBezTo>
                  <a:pt x="23" y="96"/>
                  <a:pt x="23" y="96"/>
                  <a:pt x="23" y="95"/>
                </a:cubicBezTo>
                <a:cubicBezTo>
                  <a:pt x="24" y="95"/>
                  <a:pt x="24" y="94"/>
                  <a:pt x="25" y="94"/>
                </a:cubicBezTo>
                <a:cubicBezTo>
                  <a:pt x="26" y="94"/>
                  <a:pt x="26" y="94"/>
                  <a:pt x="26" y="94"/>
                </a:cubicBezTo>
                <a:cubicBezTo>
                  <a:pt x="27" y="95"/>
                  <a:pt x="27" y="95"/>
                  <a:pt x="27" y="95"/>
                </a:cubicBezTo>
                <a:cubicBezTo>
                  <a:pt x="27" y="95"/>
                  <a:pt x="27" y="95"/>
                  <a:pt x="27" y="95"/>
                </a:cubicBezTo>
                <a:cubicBezTo>
                  <a:pt x="27" y="95"/>
                  <a:pt x="27" y="95"/>
                  <a:pt x="27" y="95"/>
                </a:cubicBezTo>
                <a:cubicBezTo>
                  <a:pt x="28" y="95"/>
                  <a:pt x="28" y="95"/>
                  <a:pt x="28" y="95"/>
                </a:cubicBezTo>
                <a:cubicBezTo>
                  <a:pt x="28" y="96"/>
                  <a:pt x="29" y="96"/>
                  <a:pt x="30" y="96"/>
                </a:cubicBezTo>
                <a:cubicBezTo>
                  <a:pt x="30" y="96"/>
                  <a:pt x="30" y="96"/>
                  <a:pt x="30" y="96"/>
                </a:cubicBezTo>
                <a:cubicBezTo>
                  <a:pt x="30" y="96"/>
                  <a:pt x="31" y="96"/>
                  <a:pt x="31" y="96"/>
                </a:cubicBezTo>
                <a:cubicBezTo>
                  <a:pt x="32" y="96"/>
                  <a:pt x="32" y="96"/>
                  <a:pt x="32" y="96"/>
                </a:cubicBezTo>
                <a:cubicBezTo>
                  <a:pt x="33" y="96"/>
                  <a:pt x="35" y="97"/>
                  <a:pt x="36" y="97"/>
                </a:cubicBezTo>
                <a:cubicBezTo>
                  <a:pt x="36" y="97"/>
                  <a:pt x="36" y="97"/>
                  <a:pt x="37" y="97"/>
                </a:cubicBezTo>
                <a:cubicBezTo>
                  <a:pt x="37" y="97"/>
                  <a:pt x="37" y="97"/>
                  <a:pt x="37" y="97"/>
                </a:cubicBezTo>
                <a:cubicBezTo>
                  <a:pt x="38" y="97"/>
                  <a:pt x="38" y="97"/>
                  <a:pt x="38" y="97"/>
                </a:cubicBezTo>
                <a:cubicBezTo>
                  <a:pt x="38" y="97"/>
                  <a:pt x="39" y="97"/>
                  <a:pt x="39" y="97"/>
                </a:cubicBezTo>
                <a:cubicBezTo>
                  <a:pt x="39" y="97"/>
                  <a:pt x="39" y="97"/>
                  <a:pt x="39" y="97"/>
                </a:cubicBezTo>
                <a:cubicBezTo>
                  <a:pt x="39" y="97"/>
                  <a:pt x="39" y="97"/>
                  <a:pt x="40" y="97"/>
                </a:cubicBezTo>
                <a:cubicBezTo>
                  <a:pt x="40" y="97"/>
                  <a:pt x="40" y="97"/>
                  <a:pt x="40" y="98"/>
                </a:cubicBezTo>
                <a:cubicBezTo>
                  <a:pt x="40" y="98"/>
                  <a:pt x="40" y="98"/>
                  <a:pt x="41" y="98"/>
                </a:cubicBezTo>
                <a:cubicBezTo>
                  <a:pt x="41" y="98"/>
                  <a:pt x="41" y="98"/>
                  <a:pt x="41" y="98"/>
                </a:cubicBezTo>
                <a:cubicBezTo>
                  <a:pt x="41" y="98"/>
                  <a:pt x="41" y="98"/>
                  <a:pt x="41" y="98"/>
                </a:cubicBezTo>
                <a:cubicBezTo>
                  <a:pt x="42" y="99"/>
                  <a:pt x="42" y="99"/>
                  <a:pt x="43" y="100"/>
                </a:cubicBezTo>
                <a:cubicBezTo>
                  <a:pt x="43" y="100"/>
                  <a:pt x="43" y="100"/>
                  <a:pt x="43" y="100"/>
                </a:cubicBezTo>
                <a:cubicBezTo>
                  <a:pt x="43" y="100"/>
                  <a:pt x="44" y="99"/>
                  <a:pt x="44" y="98"/>
                </a:cubicBezTo>
                <a:cubicBezTo>
                  <a:pt x="44" y="96"/>
                  <a:pt x="44" y="96"/>
                  <a:pt x="44" y="96"/>
                </a:cubicBezTo>
                <a:cubicBezTo>
                  <a:pt x="49" y="97"/>
                  <a:pt x="49" y="97"/>
                  <a:pt x="49" y="97"/>
                </a:cubicBezTo>
                <a:cubicBezTo>
                  <a:pt x="50" y="98"/>
                  <a:pt x="51" y="99"/>
                  <a:pt x="51" y="99"/>
                </a:cubicBezTo>
                <a:cubicBezTo>
                  <a:pt x="51" y="99"/>
                  <a:pt x="51" y="99"/>
                  <a:pt x="51" y="99"/>
                </a:cubicBezTo>
                <a:cubicBezTo>
                  <a:pt x="51" y="99"/>
                  <a:pt x="51" y="99"/>
                  <a:pt x="51" y="99"/>
                </a:cubicBezTo>
                <a:cubicBezTo>
                  <a:pt x="53" y="99"/>
                  <a:pt x="53" y="99"/>
                  <a:pt x="53" y="99"/>
                </a:cubicBezTo>
                <a:cubicBezTo>
                  <a:pt x="53" y="99"/>
                  <a:pt x="53" y="98"/>
                  <a:pt x="54" y="98"/>
                </a:cubicBezTo>
                <a:cubicBezTo>
                  <a:pt x="54" y="97"/>
                  <a:pt x="57" y="97"/>
                  <a:pt x="58" y="97"/>
                </a:cubicBezTo>
                <a:cubicBezTo>
                  <a:pt x="58" y="97"/>
                  <a:pt x="58" y="97"/>
                  <a:pt x="58" y="97"/>
                </a:cubicBezTo>
                <a:cubicBezTo>
                  <a:pt x="58" y="97"/>
                  <a:pt x="59" y="97"/>
                  <a:pt x="59" y="97"/>
                </a:cubicBezTo>
                <a:cubicBezTo>
                  <a:pt x="60" y="97"/>
                  <a:pt x="60" y="97"/>
                  <a:pt x="60" y="97"/>
                </a:cubicBezTo>
                <a:cubicBezTo>
                  <a:pt x="60" y="97"/>
                  <a:pt x="61" y="96"/>
                  <a:pt x="61" y="96"/>
                </a:cubicBezTo>
                <a:cubicBezTo>
                  <a:pt x="61" y="96"/>
                  <a:pt x="61" y="96"/>
                  <a:pt x="62" y="96"/>
                </a:cubicBezTo>
                <a:cubicBezTo>
                  <a:pt x="62" y="96"/>
                  <a:pt x="62" y="96"/>
                  <a:pt x="62" y="96"/>
                </a:cubicBezTo>
                <a:cubicBezTo>
                  <a:pt x="63" y="96"/>
                  <a:pt x="64" y="95"/>
                  <a:pt x="65" y="96"/>
                </a:cubicBezTo>
                <a:cubicBezTo>
                  <a:pt x="65" y="96"/>
                  <a:pt x="65" y="96"/>
                  <a:pt x="65" y="96"/>
                </a:cubicBezTo>
                <a:cubicBezTo>
                  <a:pt x="65" y="96"/>
                  <a:pt x="65" y="96"/>
                  <a:pt x="65" y="96"/>
                </a:cubicBezTo>
                <a:cubicBezTo>
                  <a:pt x="66" y="96"/>
                  <a:pt x="66" y="96"/>
                  <a:pt x="66" y="96"/>
                </a:cubicBezTo>
                <a:cubicBezTo>
                  <a:pt x="66" y="96"/>
                  <a:pt x="66" y="96"/>
                  <a:pt x="66" y="96"/>
                </a:cubicBezTo>
                <a:cubicBezTo>
                  <a:pt x="66" y="96"/>
                  <a:pt x="66" y="96"/>
                  <a:pt x="66" y="96"/>
                </a:cubicBezTo>
                <a:cubicBezTo>
                  <a:pt x="66" y="96"/>
                  <a:pt x="67" y="96"/>
                  <a:pt x="67" y="96"/>
                </a:cubicBezTo>
                <a:cubicBezTo>
                  <a:pt x="67" y="96"/>
                  <a:pt x="67" y="96"/>
                  <a:pt x="67" y="96"/>
                </a:cubicBezTo>
                <a:cubicBezTo>
                  <a:pt x="68" y="96"/>
                  <a:pt x="68" y="96"/>
                  <a:pt x="68" y="96"/>
                </a:cubicBezTo>
                <a:cubicBezTo>
                  <a:pt x="68" y="96"/>
                  <a:pt x="68" y="96"/>
                  <a:pt x="68" y="96"/>
                </a:cubicBezTo>
                <a:cubicBezTo>
                  <a:pt x="69" y="96"/>
                  <a:pt x="69" y="96"/>
                  <a:pt x="69" y="96"/>
                </a:cubicBezTo>
                <a:cubicBezTo>
                  <a:pt x="69" y="96"/>
                  <a:pt x="69" y="96"/>
                  <a:pt x="69" y="96"/>
                </a:cubicBezTo>
                <a:cubicBezTo>
                  <a:pt x="69" y="95"/>
                  <a:pt x="69" y="95"/>
                  <a:pt x="69" y="95"/>
                </a:cubicBezTo>
                <a:cubicBezTo>
                  <a:pt x="69" y="95"/>
                  <a:pt x="69" y="95"/>
                  <a:pt x="69" y="95"/>
                </a:cubicBezTo>
                <a:cubicBezTo>
                  <a:pt x="69" y="95"/>
                  <a:pt x="69" y="95"/>
                  <a:pt x="69" y="95"/>
                </a:cubicBezTo>
                <a:cubicBezTo>
                  <a:pt x="69" y="94"/>
                  <a:pt x="69" y="94"/>
                  <a:pt x="69" y="94"/>
                </a:cubicBezTo>
                <a:cubicBezTo>
                  <a:pt x="68" y="93"/>
                  <a:pt x="67" y="92"/>
                  <a:pt x="67" y="91"/>
                </a:cubicBezTo>
                <a:cubicBezTo>
                  <a:pt x="67" y="90"/>
                  <a:pt x="68" y="89"/>
                  <a:pt x="71" y="88"/>
                </a:cubicBezTo>
                <a:cubicBezTo>
                  <a:pt x="71" y="88"/>
                  <a:pt x="71" y="88"/>
                  <a:pt x="71" y="88"/>
                </a:cubicBezTo>
                <a:cubicBezTo>
                  <a:pt x="72" y="88"/>
                  <a:pt x="72" y="88"/>
                  <a:pt x="72" y="88"/>
                </a:cubicBezTo>
                <a:cubicBezTo>
                  <a:pt x="73" y="88"/>
                  <a:pt x="73" y="88"/>
                  <a:pt x="73" y="88"/>
                </a:cubicBezTo>
                <a:cubicBezTo>
                  <a:pt x="73" y="87"/>
                  <a:pt x="73" y="87"/>
                  <a:pt x="74" y="87"/>
                </a:cubicBezTo>
                <a:cubicBezTo>
                  <a:pt x="74" y="87"/>
                  <a:pt x="74" y="87"/>
                  <a:pt x="74" y="86"/>
                </a:cubicBezTo>
                <a:cubicBezTo>
                  <a:pt x="74" y="86"/>
                  <a:pt x="74" y="86"/>
                  <a:pt x="74" y="86"/>
                </a:cubicBezTo>
                <a:cubicBezTo>
                  <a:pt x="74" y="84"/>
                  <a:pt x="75" y="84"/>
                  <a:pt x="75" y="84"/>
                </a:cubicBezTo>
                <a:cubicBezTo>
                  <a:pt x="76" y="84"/>
                  <a:pt x="76" y="84"/>
                  <a:pt x="76" y="84"/>
                </a:cubicBezTo>
                <a:cubicBezTo>
                  <a:pt x="76" y="84"/>
                  <a:pt x="76" y="84"/>
                  <a:pt x="76" y="84"/>
                </a:cubicBezTo>
                <a:cubicBezTo>
                  <a:pt x="76" y="84"/>
                  <a:pt x="76" y="84"/>
                  <a:pt x="76" y="84"/>
                </a:cubicBezTo>
                <a:cubicBezTo>
                  <a:pt x="77" y="84"/>
                  <a:pt x="77" y="84"/>
                  <a:pt x="77" y="84"/>
                </a:cubicBezTo>
                <a:cubicBezTo>
                  <a:pt x="77" y="84"/>
                  <a:pt x="77" y="84"/>
                  <a:pt x="77" y="84"/>
                </a:cubicBezTo>
                <a:cubicBezTo>
                  <a:pt x="77" y="84"/>
                  <a:pt x="77" y="84"/>
                  <a:pt x="77" y="84"/>
                </a:cubicBezTo>
                <a:cubicBezTo>
                  <a:pt x="77" y="83"/>
                  <a:pt x="77" y="83"/>
                  <a:pt x="77" y="83"/>
                </a:cubicBezTo>
                <a:cubicBezTo>
                  <a:pt x="77" y="83"/>
                  <a:pt x="77" y="83"/>
                  <a:pt x="77" y="83"/>
                </a:cubicBezTo>
                <a:cubicBezTo>
                  <a:pt x="77" y="83"/>
                  <a:pt x="77" y="83"/>
                  <a:pt x="77" y="83"/>
                </a:cubicBezTo>
                <a:cubicBezTo>
                  <a:pt x="78" y="83"/>
                  <a:pt x="78" y="83"/>
                  <a:pt x="78" y="83"/>
                </a:cubicBezTo>
                <a:cubicBezTo>
                  <a:pt x="77" y="83"/>
                  <a:pt x="77" y="82"/>
                  <a:pt x="76" y="82"/>
                </a:cubicBezTo>
                <a:cubicBezTo>
                  <a:pt x="76" y="81"/>
                  <a:pt x="76" y="81"/>
                  <a:pt x="76" y="81"/>
                </a:cubicBezTo>
                <a:cubicBezTo>
                  <a:pt x="75" y="81"/>
                  <a:pt x="75" y="81"/>
                  <a:pt x="74" y="81"/>
                </a:cubicBezTo>
                <a:cubicBezTo>
                  <a:pt x="74" y="80"/>
                  <a:pt x="73" y="80"/>
                  <a:pt x="73" y="79"/>
                </a:cubicBezTo>
                <a:cubicBezTo>
                  <a:pt x="72" y="79"/>
                  <a:pt x="72" y="79"/>
                  <a:pt x="72" y="79"/>
                </a:cubicBezTo>
                <a:cubicBezTo>
                  <a:pt x="71" y="78"/>
                  <a:pt x="70" y="77"/>
                  <a:pt x="69" y="77"/>
                </a:cubicBezTo>
                <a:cubicBezTo>
                  <a:pt x="69" y="77"/>
                  <a:pt x="69" y="77"/>
                  <a:pt x="69" y="77"/>
                </a:cubicBezTo>
                <a:cubicBezTo>
                  <a:pt x="69" y="76"/>
                  <a:pt x="68" y="76"/>
                  <a:pt x="68" y="75"/>
                </a:cubicBezTo>
                <a:cubicBezTo>
                  <a:pt x="68" y="75"/>
                  <a:pt x="68" y="75"/>
                  <a:pt x="68" y="75"/>
                </a:cubicBezTo>
                <a:cubicBezTo>
                  <a:pt x="67" y="75"/>
                  <a:pt x="67" y="75"/>
                  <a:pt x="67" y="75"/>
                </a:cubicBezTo>
                <a:cubicBezTo>
                  <a:pt x="67" y="75"/>
                  <a:pt x="67" y="75"/>
                  <a:pt x="67" y="75"/>
                </a:cubicBezTo>
                <a:cubicBezTo>
                  <a:pt x="66" y="74"/>
                  <a:pt x="66" y="74"/>
                  <a:pt x="66" y="73"/>
                </a:cubicBezTo>
                <a:cubicBezTo>
                  <a:pt x="64" y="72"/>
                  <a:pt x="64" y="71"/>
                  <a:pt x="64" y="70"/>
                </a:cubicBezTo>
                <a:cubicBezTo>
                  <a:pt x="63" y="69"/>
                  <a:pt x="64" y="69"/>
                  <a:pt x="64" y="68"/>
                </a:cubicBezTo>
                <a:cubicBezTo>
                  <a:pt x="64" y="68"/>
                  <a:pt x="64" y="68"/>
                  <a:pt x="64" y="68"/>
                </a:cubicBezTo>
                <a:cubicBezTo>
                  <a:pt x="64" y="68"/>
                  <a:pt x="64" y="68"/>
                  <a:pt x="64" y="67"/>
                </a:cubicBezTo>
                <a:cubicBezTo>
                  <a:pt x="64" y="67"/>
                  <a:pt x="64" y="67"/>
                  <a:pt x="64" y="67"/>
                </a:cubicBezTo>
                <a:cubicBezTo>
                  <a:pt x="62" y="66"/>
                  <a:pt x="61" y="65"/>
                  <a:pt x="61" y="63"/>
                </a:cubicBezTo>
                <a:cubicBezTo>
                  <a:pt x="61" y="63"/>
                  <a:pt x="61" y="63"/>
                  <a:pt x="61" y="63"/>
                </a:cubicBezTo>
                <a:cubicBezTo>
                  <a:pt x="61" y="63"/>
                  <a:pt x="60" y="63"/>
                  <a:pt x="60" y="63"/>
                </a:cubicBezTo>
                <a:cubicBezTo>
                  <a:pt x="57" y="57"/>
                  <a:pt x="57" y="57"/>
                  <a:pt x="57" y="57"/>
                </a:cubicBezTo>
                <a:cubicBezTo>
                  <a:pt x="62" y="61"/>
                  <a:pt x="62" y="61"/>
                  <a:pt x="62" y="61"/>
                </a:cubicBezTo>
                <a:cubicBezTo>
                  <a:pt x="62" y="61"/>
                  <a:pt x="63" y="61"/>
                  <a:pt x="63" y="62"/>
                </a:cubicBezTo>
                <a:cubicBezTo>
                  <a:pt x="63" y="62"/>
                  <a:pt x="63" y="62"/>
                  <a:pt x="63" y="62"/>
                </a:cubicBezTo>
                <a:cubicBezTo>
                  <a:pt x="63" y="62"/>
                  <a:pt x="63" y="62"/>
                  <a:pt x="63" y="62"/>
                </a:cubicBezTo>
                <a:cubicBezTo>
                  <a:pt x="63" y="62"/>
                  <a:pt x="63" y="62"/>
                  <a:pt x="63" y="62"/>
                </a:cubicBezTo>
                <a:cubicBezTo>
                  <a:pt x="64" y="61"/>
                  <a:pt x="65" y="60"/>
                  <a:pt x="66" y="60"/>
                </a:cubicBezTo>
                <a:cubicBezTo>
                  <a:pt x="67" y="60"/>
                  <a:pt x="67" y="60"/>
                  <a:pt x="67" y="60"/>
                </a:cubicBezTo>
                <a:cubicBezTo>
                  <a:pt x="67" y="60"/>
                  <a:pt x="67" y="60"/>
                  <a:pt x="67" y="60"/>
                </a:cubicBezTo>
                <a:cubicBezTo>
                  <a:pt x="67" y="59"/>
                  <a:pt x="68" y="60"/>
                  <a:pt x="69" y="60"/>
                </a:cubicBezTo>
                <a:cubicBezTo>
                  <a:pt x="69" y="60"/>
                  <a:pt x="69" y="60"/>
                  <a:pt x="69" y="60"/>
                </a:cubicBezTo>
                <a:cubicBezTo>
                  <a:pt x="70" y="60"/>
                  <a:pt x="70" y="60"/>
                  <a:pt x="70" y="60"/>
                </a:cubicBezTo>
                <a:cubicBezTo>
                  <a:pt x="71" y="59"/>
                  <a:pt x="73" y="58"/>
                  <a:pt x="74" y="57"/>
                </a:cubicBezTo>
                <a:cubicBezTo>
                  <a:pt x="75" y="56"/>
                  <a:pt x="76" y="56"/>
                  <a:pt x="76" y="56"/>
                </a:cubicBezTo>
                <a:cubicBezTo>
                  <a:pt x="77" y="56"/>
                  <a:pt x="77" y="56"/>
                  <a:pt x="78" y="55"/>
                </a:cubicBezTo>
                <a:cubicBezTo>
                  <a:pt x="78" y="55"/>
                  <a:pt x="79" y="55"/>
                  <a:pt x="80" y="55"/>
                </a:cubicBezTo>
                <a:cubicBezTo>
                  <a:pt x="79" y="54"/>
                  <a:pt x="79" y="54"/>
                  <a:pt x="79" y="54"/>
                </a:cubicBezTo>
                <a:cubicBezTo>
                  <a:pt x="80" y="54"/>
                  <a:pt x="80" y="54"/>
                  <a:pt x="80" y="54"/>
                </a:cubicBezTo>
                <a:cubicBezTo>
                  <a:pt x="83" y="53"/>
                  <a:pt x="83" y="53"/>
                  <a:pt x="83" y="53"/>
                </a:cubicBezTo>
                <a:cubicBezTo>
                  <a:pt x="83" y="53"/>
                  <a:pt x="83" y="53"/>
                  <a:pt x="83" y="53"/>
                </a:cubicBezTo>
                <a:cubicBezTo>
                  <a:pt x="82" y="50"/>
                  <a:pt x="82" y="50"/>
                  <a:pt x="82" y="50"/>
                </a:cubicBezTo>
                <a:cubicBezTo>
                  <a:pt x="85" y="51"/>
                  <a:pt x="85" y="51"/>
                  <a:pt x="85" y="51"/>
                </a:cubicBezTo>
                <a:cubicBezTo>
                  <a:pt x="85" y="51"/>
                  <a:pt x="85" y="51"/>
                  <a:pt x="85" y="51"/>
                </a:cubicBezTo>
                <a:cubicBezTo>
                  <a:pt x="86" y="51"/>
                  <a:pt x="87" y="52"/>
                  <a:pt x="88" y="52"/>
                </a:cubicBezTo>
                <a:cubicBezTo>
                  <a:pt x="88" y="52"/>
                  <a:pt x="88" y="52"/>
                  <a:pt x="88" y="53"/>
                </a:cubicBezTo>
                <a:cubicBezTo>
                  <a:pt x="88" y="53"/>
                  <a:pt x="89" y="53"/>
                  <a:pt x="89" y="53"/>
                </a:cubicBezTo>
                <a:cubicBezTo>
                  <a:pt x="89" y="52"/>
                  <a:pt x="89" y="52"/>
                  <a:pt x="89" y="52"/>
                </a:cubicBezTo>
                <a:cubicBezTo>
                  <a:pt x="90" y="51"/>
                  <a:pt x="90" y="50"/>
                  <a:pt x="90" y="49"/>
                </a:cubicBezTo>
                <a:cubicBezTo>
                  <a:pt x="90" y="48"/>
                  <a:pt x="89" y="48"/>
                  <a:pt x="89" y="47"/>
                </a:cubicBezTo>
                <a:close/>
              </a:path>
            </a:pathLst>
          </a:custGeom>
          <a:solidFill>
            <a:srgbClr val="00A5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32" name="Freeform 3189">
            <a:extLst>
              <a:ext uri="{FF2B5EF4-FFF2-40B4-BE49-F238E27FC236}">
                <a16:creationId xmlns:a16="http://schemas.microsoft.com/office/drawing/2014/main" id="{93FBE133-8A26-407F-853D-D5B9A56A143D}"/>
              </a:ext>
            </a:extLst>
          </p:cNvPr>
          <p:cNvSpPr>
            <a:spLocks/>
          </p:cNvSpPr>
          <p:nvPr/>
        </p:nvSpPr>
        <p:spPr bwMode="auto">
          <a:xfrm>
            <a:off x="3436628" y="2837325"/>
            <a:ext cx="35185" cy="45113"/>
          </a:xfrm>
          <a:custGeom>
            <a:avLst/>
            <a:gdLst>
              <a:gd name="T0" fmla="*/ 26 w 30"/>
              <a:gd name="T1" fmla="*/ 8 h 32"/>
              <a:gd name="T2" fmla="*/ 24 w 30"/>
              <a:gd name="T3" fmla="*/ 7 h 32"/>
              <a:gd name="T4" fmla="*/ 23 w 30"/>
              <a:gd name="T5" fmla="*/ 7 h 32"/>
              <a:gd name="T6" fmla="*/ 22 w 30"/>
              <a:gd name="T7" fmla="*/ 9 h 32"/>
              <a:gd name="T8" fmla="*/ 24 w 30"/>
              <a:gd name="T9" fmla="*/ 6 h 32"/>
              <a:gd name="T10" fmla="*/ 21 w 30"/>
              <a:gd name="T11" fmla="*/ 5 h 32"/>
              <a:gd name="T12" fmla="*/ 23 w 30"/>
              <a:gd name="T13" fmla="*/ 5 h 32"/>
              <a:gd name="T14" fmla="*/ 23 w 30"/>
              <a:gd name="T15" fmla="*/ 3 h 32"/>
              <a:gd name="T16" fmla="*/ 23 w 30"/>
              <a:gd name="T17" fmla="*/ 1 h 32"/>
              <a:gd name="T18" fmla="*/ 21 w 30"/>
              <a:gd name="T19" fmla="*/ 0 h 32"/>
              <a:gd name="T20" fmla="*/ 17 w 30"/>
              <a:gd name="T21" fmla="*/ 1 h 32"/>
              <a:gd name="T22" fmla="*/ 14 w 30"/>
              <a:gd name="T23" fmla="*/ 1 h 32"/>
              <a:gd name="T24" fmla="*/ 12 w 30"/>
              <a:gd name="T25" fmla="*/ 4 h 32"/>
              <a:gd name="T26" fmla="*/ 12 w 30"/>
              <a:gd name="T27" fmla="*/ 5 h 32"/>
              <a:gd name="T28" fmla="*/ 14 w 30"/>
              <a:gd name="T29" fmla="*/ 7 h 32"/>
              <a:gd name="T30" fmla="*/ 10 w 30"/>
              <a:gd name="T31" fmla="*/ 6 h 32"/>
              <a:gd name="T32" fmla="*/ 12 w 30"/>
              <a:gd name="T33" fmla="*/ 5 h 32"/>
              <a:gd name="T34" fmla="*/ 9 w 30"/>
              <a:gd name="T35" fmla="*/ 4 h 32"/>
              <a:gd name="T36" fmla="*/ 8 w 30"/>
              <a:gd name="T37" fmla="*/ 5 h 32"/>
              <a:gd name="T38" fmla="*/ 7 w 30"/>
              <a:gd name="T39" fmla="*/ 6 h 32"/>
              <a:gd name="T40" fmla="*/ 7 w 30"/>
              <a:gd name="T41" fmla="*/ 8 h 32"/>
              <a:gd name="T42" fmla="*/ 2 w 30"/>
              <a:gd name="T43" fmla="*/ 5 h 32"/>
              <a:gd name="T44" fmla="*/ 1 w 30"/>
              <a:gd name="T45" fmla="*/ 8 h 32"/>
              <a:gd name="T46" fmla="*/ 1 w 30"/>
              <a:gd name="T47" fmla="*/ 12 h 32"/>
              <a:gd name="T48" fmla="*/ 1 w 30"/>
              <a:gd name="T49" fmla="*/ 15 h 32"/>
              <a:gd name="T50" fmla="*/ 2 w 30"/>
              <a:gd name="T51" fmla="*/ 14 h 32"/>
              <a:gd name="T52" fmla="*/ 4 w 30"/>
              <a:gd name="T53" fmla="*/ 16 h 32"/>
              <a:gd name="T54" fmla="*/ 1 w 30"/>
              <a:gd name="T55" fmla="*/ 15 h 32"/>
              <a:gd name="T56" fmla="*/ 1 w 30"/>
              <a:gd name="T57" fmla="*/ 21 h 32"/>
              <a:gd name="T58" fmla="*/ 3 w 30"/>
              <a:gd name="T59" fmla="*/ 23 h 32"/>
              <a:gd name="T60" fmla="*/ 2 w 30"/>
              <a:gd name="T61" fmla="*/ 21 h 32"/>
              <a:gd name="T62" fmla="*/ 5 w 30"/>
              <a:gd name="T63" fmla="*/ 27 h 32"/>
              <a:gd name="T64" fmla="*/ 4 w 30"/>
              <a:gd name="T65" fmla="*/ 27 h 32"/>
              <a:gd name="T66" fmla="*/ 7 w 30"/>
              <a:gd name="T67" fmla="*/ 28 h 32"/>
              <a:gd name="T68" fmla="*/ 6 w 30"/>
              <a:gd name="T69" fmla="*/ 30 h 32"/>
              <a:gd name="T70" fmla="*/ 7 w 30"/>
              <a:gd name="T71" fmla="*/ 30 h 32"/>
              <a:gd name="T72" fmla="*/ 7 w 30"/>
              <a:gd name="T73" fmla="*/ 30 h 32"/>
              <a:gd name="T74" fmla="*/ 7 w 30"/>
              <a:gd name="T75" fmla="*/ 30 h 32"/>
              <a:gd name="T76" fmla="*/ 11 w 30"/>
              <a:gd name="T77" fmla="*/ 30 h 32"/>
              <a:gd name="T78" fmla="*/ 14 w 30"/>
              <a:gd name="T79" fmla="*/ 31 h 32"/>
              <a:gd name="T80" fmla="*/ 15 w 30"/>
              <a:gd name="T81" fmla="*/ 31 h 32"/>
              <a:gd name="T82" fmla="*/ 15 w 30"/>
              <a:gd name="T83" fmla="*/ 32 h 32"/>
              <a:gd name="T84" fmla="*/ 17 w 30"/>
              <a:gd name="T85" fmla="*/ 31 h 32"/>
              <a:gd name="T86" fmla="*/ 16 w 30"/>
              <a:gd name="T87" fmla="*/ 29 h 32"/>
              <a:gd name="T88" fmla="*/ 15 w 30"/>
              <a:gd name="T89" fmla="*/ 28 h 32"/>
              <a:gd name="T90" fmla="*/ 17 w 30"/>
              <a:gd name="T91" fmla="*/ 27 h 32"/>
              <a:gd name="T92" fmla="*/ 16 w 30"/>
              <a:gd name="T93" fmla="*/ 24 h 32"/>
              <a:gd name="T94" fmla="*/ 17 w 30"/>
              <a:gd name="T95" fmla="*/ 21 h 32"/>
              <a:gd name="T96" fmla="*/ 16 w 30"/>
              <a:gd name="T97" fmla="*/ 20 h 32"/>
              <a:gd name="T98" fmla="*/ 20 w 30"/>
              <a:gd name="T99" fmla="*/ 20 h 32"/>
              <a:gd name="T100" fmla="*/ 20 w 30"/>
              <a:gd name="T101" fmla="*/ 17 h 32"/>
              <a:gd name="T102" fmla="*/ 22 w 30"/>
              <a:gd name="T103" fmla="*/ 17 h 32"/>
              <a:gd name="T104" fmla="*/ 25 w 30"/>
              <a:gd name="T105" fmla="*/ 11 h 32"/>
              <a:gd name="T106" fmla="*/ 25 w 30"/>
              <a:gd name="T107" fmla="*/ 13 h 32"/>
              <a:gd name="T108" fmla="*/ 26 w 30"/>
              <a:gd name="T109" fmla="*/ 13 h 32"/>
              <a:gd name="T110" fmla="*/ 30 w 30"/>
              <a:gd name="T111" fmla="*/ 9 h 32"/>
              <a:gd name="T112" fmla="*/ 26 w 30"/>
              <a:gd name="T113"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 h="32">
                <a:moveTo>
                  <a:pt x="26" y="8"/>
                </a:moveTo>
                <a:cubicBezTo>
                  <a:pt x="25" y="8"/>
                  <a:pt x="25" y="7"/>
                  <a:pt x="24" y="7"/>
                </a:cubicBezTo>
                <a:cubicBezTo>
                  <a:pt x="24" y="7"/>
                  <a:pt x="24" y="6"/>
                  <a:pt x="23" y="7"/>
                </a:cubicBezTo>
                <a:cubicBezTo>
                  <a:pt x="23" y="7"/>
                  <a:pt x="23" y="8"/>
                  <a:pt x="22" y="9"/>
                </a:cubicBezTo>
                <a:cubicBezTo>
                  <a:pt x="23" y="8"/>
                  <a:pt x="23" y="7"/>
                  <a:pt x="24" y="6"/>
                </a:cubicBezTo>
                <a:cubicBezTo>
                  <a:pt x="23" y="6"/>
                  <a:pt x="22" y="5"/>
                  <a:pt x="21" y="5"/>
                </a:cubicBezTo>
                <a:cubicBezTo>
                  <a:pt x="22" y="5"/>
                  <a:pt x="23" y="5"/>
                  <a:pt x="23" y="5"/>
                </a:cubicBezTo>
                <a:cubicBezTo>
                  <a:pt x="23" y="4"/>
                  <a:pt x="23" y="4"/>
                  <a:pt x="23" y="3"/>
                </a:cubicBezTo>
                <a:cubicBezTo>
                  <a:pt x="23" y="3"/>
                  <a:pt x="23" y="2"/>
                  <a:pt x="23" y="1"/>
                </a:cubicBezTo>
                <a:cubicBezTo>
                  <a:pt x="23" y="1"/>
                  <a:pt x="22" y="0"/>
                  <a:pt x="21" y="0"/>
                </a:cubicBezTo>
                <a:cubicBezTo>
                  <a:pt x="20" y="0"/>
                  <a:pt x="18" y="1"/>
                  <a:pt x="17" y="1"/>
                </a:cubicBezTo>
                <a:cubicBezTo>
                  <a:pt x="16" y="1"/>
                  <a:pt x="14" y="0"/>
                  <a:pt x="14" y="1"/>
                </a:cubicBezTo>
                <a:cubicBezTo>
                  <a:pt x="13" y="2"/>
                  <a:pt x="12" y="3"/>
                  <a:pt x="12" y="4"/>
                </a:cubicBezTo>
                <a:cubicBezTo>
                  <a:pt x="12" y="4"/>
                  <a:pt x="12" y="5"/>
                  <a:pt x="12" y="5"/>
                </a:cubicBezTo>
                <a:cubicBezTo>
                  <a:pt x="13" y="5"/>
                  <a:pt x="13" y="5"/>
                  <a:pt x="14" y="7"/>
                </a:cubicBezTo>
                <a:cubicBezTo>
                  <a:pt x="12" y="7"/>
                  <a:pt x="11" y="7"/>
                  <a:pt x="10" y="6"/>
                </a:cubicBezTo>
                <a:cubicBezTo>
                  <a:pt x="11" y="6"/>
                  <a:pt x="11" y="5"/>
                  <a:pt x="12" y="5"/>
                </a:cubicBezTo>
                <a:cubicBezTo>
                  <a:pt x="11" y="4"/>
                  <a:pt x="10" y="4"/>
                  <a:pt x="9" y="4"/>
                </a:cubicBezTo>
                <a:cubicBezTo>
                  <a:pt x="9" y="4"/>
                  <a:pt x="9" y="5"/>
                  <a:pt x="8" y="5"/>
                </a:cubicBezTo>
                <a:cubicBezTo>
                  <a:pt x="8" y="5"/>
                  <a:pt x="7" y="6"/>
                  <a:pt x="7" y="6"/>
                </a:cubicBezTo>
                <a:cubicBezTo>
                  <a:pt x="7" y="7"/>
                  <a:pt x="8" y="7"/>
                  <a:pt x="7" y="8"/>
                </a:cubicBezTo>
                <a:cubicBezTo>
                  <a:pt x="6" y="8"/>
                  <a:pt x="2" y="7"/>
                  <a:pt x="2" y="5"/>
                </a:cubicBezTo>
                <a:cubicBezTo>
                  <a:pt x="2" y="6"/>
                  <a:pt x="1" y="7"/>
                  <a:pt x="1" y="8"/>
                </a:cubicBezTo>
                <a:cubicBezTo>
                  <a:pt x="1" y="9"/>
                  <a:pt x="1" y="10"/>
                  <a:pt x="1" y="12"/>
                </a:cubicBezTo>
                <a:cubicBezTo>
                  <a:pt x="1" y="13"/>
                  <a:pt x="1" y="14"/>
                  <a:pt x="1" y="15"/>
                </a:cubicBezTo>
                <a:cubicBezTo>
                  <a:pt x="1" y="15"/>
                  <a:pt x="1" y="14"/>
                  <a:pt x="2" y="14"/>
                </a:cubicBezTo>
                <a:cubicBezTo>
                  <a:pt x="3" y="15"/>
                  <a:pt x="3" y="15"/>
                  <a:pt x="4" y="16"/>
                </a:cubicBezTo>
                <a:cubicBezTo>
                  <a:pt x="2" y="16"/>
                  <a:pt x="1" y="17"/>
                  <a:pt x="1" y="15"/>
                </a:cubicBezTo>
                <a:cubicBezTo>
                  <a:pt x="1" y="17"/>
                  <a:pt x="2" y="19"/>
                  <a:pt x="1" y="21"/>
                </a:cubicBezTo>
                <a:cubicBezTo>
                  <a:pt x="0" y="22"/>
                  <a:pt x="2" y="23"/>
                  <a:pt x="3" y="23"/>
                </a:cubicBezTo>
                <a:cubicBezTo>
                  <a:pt x="3" y="22"/>
                  <a:pt x="2" y="22"/>
                  <a:pt x="2" y="21"/>
                </a:cubicBezTo>
                <a:cubicBezTo>
                  <a:pt x="5" y="20"/>
                  <a:pt x="8" y="26"/>
                  <a:pt x="5" y="27"/>
                </a:cubicBezTo>
                <a:cubicBezTo>
                  <a:pt x="5" y="27"/>
                  <a:pt x="5" y="26"/>
                  <a:pt x="4" y="27"/>
                </a:cubicBezTo>
                <a:cubicBezTo>
                  <a:pt x="4" y="28"/>
                  <a:pt x="6" y="28"/>
                  <a:pt x="7" y="28"/>
                </a:cubicBezTo>
                <a:cubicBezTo>
                  <a:pt x="6" y="28"/>
                  <a:pt x="6" y="30"/>
                  <a:pt x="6" y="30"/>
                </a:cubicBezTo>
                <a:cubicBezTo>
                  <a:pt x="7" y="30"/>
                  <a:pt x="7" y="30"/>
                  <a:pt x="7" y="30"/>
                </a:cubicBezTo>
                <a:cubicBezTo>
                  <a:pt x="7" y="30"/>
                  <a:pt x="7" y="30"/>
                  <a:pt x="7" y="30"/>
                </a:cubicBezTo>
                <a:cubicBezTo>
                  <a:pt x="7" y="30"/>
                  <a:pt x="7" y="30"/>
                  <a:pt x="7" y="30"/>
                </a:cubicBezTo>
                <a:cubicBezTo>
                  <a:pt x="8" y="30"/>
                  <a:pt x="10" y="30"/>
                  <a:pt x="11" y="30"/>
                </a:cubicBezTo>
                <a:cubicBezTo>
                  <a:pt x="12" y="31"/>
                  <a:pt x="13" y="31"/>
                  <a:pt x="14" y="31"/>
                </a:cubicBezTo>
                <a:cubicBezTo>
                  <a:pt x="15" y="31"/>
                  <a:pt x="15" y="31"/>
                  <a:pt x="15" y="31"/>
                </a:cubicBezTo>
                <a:cubicBezTo>
                  <a:pt x="15" y="32"/>
                  <a:pt x="15" y="32"/>
                  <a:pt x="15" y="32"/>
                </a:cubicBezTo>
                <a:cubicBezTo>
                  <a:pt x="16" y="31"/>
                  <a:pt x="16" y="30"/>
                  <a:pt x="17" y="31"/>
                </a:cubicBezTo>
                <a:cubicBezTo>
                  <a:pt x="18" y="30"/>
                  <a:pt x="17" y="30"/>
                  <a:pt x="16" y="29"/>
                </a:cubicBezTo>
                <a:cubicBezTo>
                  <a:pt x="16" y="29"/>
                  <a:pt x="15" y="30"/>
                  <a:pt x="15" y="28"/>
                </a:cubicBezTo>
                <a:cubicBezTo>
                  <a:pt x="14" y="27"/>
                  <a:pt x="16" y="28"/>
                  <a:pt x="17" y="27"/>
                </a:cubicBezTo>
                <a:cubicBezTo>
                  <a:pt x="17" y="26"/>
                  <a:pt x="16" y="25"/>
                  <a:pt x="16" y="24"/>
                </a:cubicBezTo>
                <a:cubicBezTo>
                  <a:pt x="15" y="22"/>
                  <a:pt x="16" y="22"/>
                  <a:pt x="17" y="21"/>
                </a:cubicBezTo>
                <a:cubicBezTo>
                  <a:pt x="17" y="20"/>
                  <a:pt x="16" y="20"/>
                  <a:pt x="16" y="20"/>
                </a:cubicBezTo>
                <a:cubicBezTo>
                  <a:pt x="17" y="19"/>
                  <a:pt x="19" y="20"/>
                  <a:pt x="20" y="20"/>
                </a:cubicBezTo>
                <a:cubicBezTo>
                  <a:pt x="20" y="19"/>
                  <a:pt x="19" y="16"/>
                  <a:pt x="20" y="17"/>
                </a:cubicBezTo>
                <a:cubicBezTo>
                  <a:pt x="21" y="17"/>
                  <a:pt x="22" y="18"/>
                  <a:pt x="22" y="17"/>
                </a:cubicBezTo>
                <a:cubicBezTo>
                  <a:pt x="23" y="16"/>
                  <a:pt x="23" y="10"/>
                  <a:pt x="25" y="11"/>
                </a:cubicBezTo>
                <a:cubicBezTo>
                  <a:pt x="24" y="12"/>
                  <a:pt x="24" y="13"/>
                  <a:pt x="25" y="13"/>
                </a:cubicBezTo>
                <a:cubicBezTo>
                  <a:pt x="25" y="14"/>
                  <a:pt x="25" y="14"/>
                  <a:pt x="26" y="13"/>
                </a:cubicBezTo>
                <a:cubicBezTo>
                  <a:pt x="28" y="12"/>
                  <a:pt x="29" y="11"/>
                  <a:pt x="30" y="9"/>
                </a:cubicBezTo>
                <a:cubicBezTo>
                  <a:pt x="28" y="8"/>
                  <a:pt x="27" y="8"/>
                  <a:pt x="26" y="8"/>
                </a:cubicBezTo>
                <a:close/>
              </a:path>
            </a:pathLst>
          </a:custGeom>
          <a:solidFill>
            <a:srgbClr val="00A5C0"/>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33" name="Freeform 3190">
            <a:extLst>
              <a:ext uri="{FF2B5EF4-FFF2-40B4-BE49-F238E27FC236}">
                <a16:creationId xmlns:a16="http://schemas.microsoft.com/office/drawing/2014/main" id="{1D607F5F-7579-4B18-8059-9C937B1F7750}"/>
              </a:ext>
            </a:extLst>
          </p:cNvPr>
          <p:cNvSpPr>
            <a:spLocks/>
          </p:cNvSpPr>
          <p:nvPr/>
        </p:nvSpPr>
        <p:spPr bwMode="auto">
          <a:xfrm>
            <a:off x="4539250" y="3665984"/>
            <a:ext cx="50052" cy="74793"/>
          </a:xfrm>
          <a:custGeom>
            <a:avLst/>
            <a:gdLst>
              <a:gd name="T0" fmla="*/ 40 w 43"/>
              <a:gd name="T1" fmla="*/ 47 h 53"/>
              <a:gd name="T2" fmla="*/ 35 w 43"/>
              <a:gd name="T3" fmla="*/ 39 h 53"/>
              <a:gd name="T4" fmla="*/ 33 w 43"/>
              <a:gd name="T5" fmla="*/ 36 h 53"/>
              <a:gd name="T6" fmla="*/ 33 w 43"/>
              <a:gd name="T7" fmla="*/ 31 h 53"/>
              <a:gd name="T8" fmla="*/ 34 w 43"/>
              <a:gd name="T9" fmla="*/ 23 h 53"/>
              <a:gd name="T10" fmla="*/ 32 w 43"/>
              <a:gd name="T11" fmla="*/ 14 h 53"/>
              <a:gd name="T12" fmla="*/ 26 w 43"/>
              <a:gd name="T13" fmla="*/ 8 h 53"/>
              <a:gd name="T14" fmla="*/ 23 w 43"/>
              <a:gd name="T15" fmla="*/ 5 h 53"/>
              <a:gd name="T16" fmla="*/ 21 w 43"/>
              <a:gd name="T17" fmla="*/ 3 h 53"/>
              <a:gd name="T18" fmla="*/ 21 w 43"/>
              <a:gd name="T19" fmla="*/ 3 h 53"/>
              <a:gd name="T20" fmla="*/ 20 w 43"/>
              <a:gd name="T21" fmla="*/ 4 h 53"/>
              <a:gd name="T22" fmla="*/ 20 w 43"/>
              <a:gd name="T23" fmla="*/ 4 h 53"/>
              <a:gd name="T24" fmla="*/ 20 w 43"/>
              <a:gd name="T25" fmla="*/ 5 h 53"/>
              <a:gd name="T26" fmla="*/ 16 w 43"/>
              <a:gd name="T27" fmla="*/ 9 h 53"/>
              <a:gd name="T28" fmla="*/ 14 w 43"/>
              <a:gd name="T29" fmla="*/ 8 h 53"/>
              <a:gd name="T30" fmla="*/ 14 w 43"/>
              <a:gd name="T31" fmla="*/ 7 h 53"/>
              <a:gd name="T32" fmla="*/ 13 w 43"/>
              <a:gd name="T33" fmla="*/ 8 h 53"/>
              <a:gd name="T34" fmla="*/ 12 w 43"/>
              <a:gd name="T35" fmla="*/ 8 h 53"/>
              <a:gd name="T36" fmla="*/ 12 w 43"/>
              <a:gd name="T37" fmla="*/ 9 h 53"/>
              <a:gd name="T38" fmla="*/ 12 w 43"/>
              <a:gd name="T39" fmla="*/ 9 h 53"/>
              <a:gd name="T40" fmla="*/ 11 w 43"/>
              <a:gd name="T41" fmla="*/ 10 h 53"/>
              <a:gd name="T42" fmla="*/ 11 w 43"/>
              <a:gd name="T43" fmla="*/ 10 h 53"/>
              <a:gd name="T44" fmla="*/ 10 w 43"/>
              <a:gd name="T45" fmla="*/ 10 h 53"/>
              <a:gd name="T46" fmla="*/ 10 w 43"/>
              <a:gd name="T47" fmla="*/ 10 h 53"/>
              <a:gd name="T48" fmla="*/ 8 w 43"/>
              <a:gd name="T49" fmla="*/ 9 h 53"/>
              <a:gd name="T50" fmla="*/ 8 w 43"/>
              <a:gd name="T51" fmla="*/ 5 h 53"/>
              <a:gd name="T52" fmla="*/ 9 w 43"/>
              <a:gd name="T53" fmla="*/ 4 h 53"/>
              <a:gd name="T54" fmla="*/ 8 w 43"/>
              <a:gd name="T55" fmla="*/ 4 h 53"/>
              <a:gd name="T56" fmla="*/ 8 w 43"/>
              <a:gd name="T57" fmla="*/ 4 h 53"/>
              <a:gd name="T58" fmla="*/ 6 w 43"/>
              <a:gd name="T59" fmla="*/ 3 h 53"/>
              <a:gd name="T60" fmla="*/ 6 w 43"/>
              <a:gd name="T61" fmla="*/ 2 h 53"/>
              <a:gd name="T62" fmla="*/ 6 w 43"/>
              <a:gd name="T63" fmla="*/ 1 h 53"/>
              <a:gd name="T64" fmla="*/ 5 w 43"/>
              <a:gd name="T65" fmla="*/ 1 h 53"/>
              <a:gd name="T66" fmla="*/ 5 w 43"/>
              <a:gd name="T67" fmla="*/ 1 h 53"/>
              <a:gd name="T68" fmla="*/ 4 w 43"/>
              <a:gd name="T69" fmla="*/ 1 h 53"/>
              <a:gd name="T70" fmla="*/ 3 w 43"/>
              <a:gd name="T71" fmla="*/ 1 h 53"/>
              <a:gd name="T72" fmla="*/ 1 w 43"/>
              <a:gd name="T73" fmla="*/ 0 h 53"/>
              <a:gd name="T74" fmla="*/ 1 w 43"/>
              <a:gd name="T75" fmla="*/ 2 h 53"/>
              <a:gd name="T76" fmla="*/ 0 w 43"/>
              <a:gd name="T77" fmla="*/ 2 h 53"/>
              <a:gd name="T78" fmla="*/ 0 w 43"/>
              <a:gd name="T79" fmla="*/ 2 h 53"/>
              <a:gd name="T80" fmla="*/ 2 w 43"/>
              <a:gd name="T81" fmla="*/ 5 h 53"/>
              <a:gd name="T82" fmla="*/ 2 w 43"/>
              <a:gd name="T83" fmla="*/ 9 h 53"/>
              <a:gd name="T84" fmla="*/ 2 w 43"/>
              <a:gd name="T85" fmla="*/ 14 h 53"/>
              <a:gd name="T86" fmla="*/ 4 w 43"/>
              <a:gd name="T87" fmla="*/ 18 h 53"/>
              <a:gd name="T88" fmla="*/ 4 w 43"/>
              <a:gd name="T89" fmla="*/ 21 h 53"/>
              <a:gd name="T90" fmla="*/ 7 w 43"/>
              <a:gd name="T91" fmla="*/ 25 h 53"/>
              <a:gd name="T92" fmla="*/ 5 w 43"/>
              <a:gd name="T93" fmla="*/ 26 h 53"/>
              <a:gd name="T94" fmla="*/ 7 w 43"/>
              <a:gd name="T95" fmla="*/ 28 h 53"/>
              <a:gd name="T96" fmla="*/ 9 w 43"/>
              <a:gd name="T97" fmla="*/ 31 h 53"/>
              <a:gd name="T98" fmla="*/ 12 w 43"/>
              <a:gd name="T99" fmla="*/ 35 h 53"/>
              <a:gd name="T100" fmla="*/ 12 w 43"/>
              <a:gd name="T101" fmla="*/ 38 h 53"/>
              <a:gd name="T102" fmla="*/ 15 w 43"/>
              <a:gd name="T103" fmla="*/ 39 h 53"/>
              <a:gd name="T104" fmla="*/ 20 w 43"/>
              <a:gd name="T105" fmla="*/ 43 h 53"/>
              <a:gd name="T106" fmla="*/ 25 w 43"/>
              <a:gd name="T107" fmla="*/ 46 h 53"/>
              <a:gd name="T108" fmla="*/ 30 w 43"/>
              <a:gd name="T109" fmla="*/ 49 h 53"/>
              <a:gd name="T110" fmla="*/ 34 w 43"/>
              <a:gd name="T111" fmla="*/ 53 h 53"/>
              <a:gd name="T112" fmla="*/ 37 w 43"/>
              <a:gd name="T113" fmla="*/ 52 h 53"/>
              <a:gd name="T114" fmla="*/ 39 w 43"/>
              <a:gd name="T115" fmla="*/ 50 h 53"/>
              <a:gd name="T116" fmla="*/ 40 w 43"/>
              <a:gd name="T117" fmla="*/ 52 h 53"/>
              <a:gd name="T118" fmla="*/ 42 w 43"/>
              <a:gd name="T119" fmla="*/ 52 h 53"/>
              <a:gd name="T120" fmla="*/ 40 w 43"/>
              <a:gd name="T121" fmla="*/ 4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 h="53">
                <a:moveTo>
                  <a:pt x="40" y="47"/>
                </a:moveTo>
                <a:cubicBezTo>
                  <a:pt x="39" y="44"/>
                  <a:pt x="37" y="42"/>
                  <a:pt x="35" y="39"/>
                </a:cubicBezTo>
                <a:cubicBezTo>
                  <a:pt x="35" y="38"/>
                  <a:pt x="33" y="37"/>
                  <a:pt x="33" y="36"/>
                </a:cubicBezTo>
                <a:cubicBezTo>
                  <a:pt x="33" y="34"/>
                  <a:pt x="33" y="32"/>
                  <a:pt x="33" y="31"/>
                </a:cubicBezTo>
                <a:cubicBezTo>
                  <a:pt x="33" y="28"/>
                  <a:pt x="33" y="25"/>
                  <a:pt x="34" y="23"/>
                </a:cubicBezTo>
                <a:cubicBezTo>
                  <a:pt x="34" y="19"/>
                  <a:pt x="33" y="17"/>
                  <a:pt x="32" y="14"/>
                </a:cubicBezTo>
                <a:cubicBezTo>
                  <a:pt x="30" y="11"/>
                  <a:pt x="28" y="10"/>
                  <a:pt x="26" y="8"/>
                </a:cubicBezTo>
                <a:cubicBezTo>
                  <a:pt x="24" y="7"/>
                  <a:pt x="24" y="6"/>
                  <a:pt x="23" y="5"/>
                </a:cubicBezTo>
                <a:cubicBezTo>
                  <a:pt x="23" y="4"/>
                  <a:pt x="22" y="4"/>
                  <a:pt x="21" y="3"/>
                </a:cubicBezTo>
                <a:cubicBezTo>
                  <a:pt x="21" y="3"/>
                  <a:pt x="21" y="3"/>
                  <a:pt x="21" y="3"/>
                </a:cubicBezTo>
                <a:cubicBezTo>
                  <a:pt x="21" y="4"/>
                  <a:pt x="21" y="4"/>
                  <a:pt x="20" y="4"/>
                </a:cubicBezTo>
                <a:cubicBezTo>
                  <a:pt x="20" y="4"/>
                  <a:pt x="20" y="4"/>
                  <a:pt x="20" y="4"/>
                </a:cubicBezTo>
                <a:cubicBezTo>
                  <a:pt x="20" y="5"/>
                  <a:pt x="20" y="5"/>
                  <a:pt x="20" y="5"/>
                </a:cubicBezTo>
                <a:cubicBezTo>
                  <a:pt x="19" y="7"/>
                  <a:pt x="19" y="8"/>
                  <a:pt x="16" y="9"/>
                </a:cubicBezTo>
                <a:cubicBezTo>
                  <a:pt x="15" y="9"/>
                  <a:pt x="14" y="8"/>
                  <a:pt x="14" y="8"/>
                </a:cubicBezTo>
                <a:cubicBezTo>
                  <a:pt x="14" y="8"/>
                  <a:pt x="14" y="8"/>
                  <a:pt x="14" y="7"/>
                </a:cubicBezTo>
                <a:cubicBezTo>
                  <a:pt x="14" y="8"/>
                  <a:pt x="13" y="8"/>
                  <a:pt x="13" y="8"/>
                </a:cubicBezTo>
                <a:cubicBezTo>
                  <a:pt x="12" y="8"/>
                  <a:pt x="12" y="8"/>
                  <a:pt x="12" y="8"/>
                </a:cubicBezTo>
                <a:cubicBezTo>
                  <a:pt x="12" y="9"/>
                  <a:pt x="12" y="9"/>
                  <a:pt x="12" y="9"/>
                </a:cubicBezTo>
                <a:cubicBezTo>
                  <a:pt x="12" y="9"/>
                  <a:pt x="12" y="9"/>
                  <a:pt x="12" y="9"/>
                </a:cubicBezTo>
                <a:cubicBezTo>
                  <a:pt x="12" y="9"/>
                  <a:pt x="11" y="9"/>
                  <a:pt x="11" y="10"/>
                </a:cubicBezTo>
                <a:cubicBezTo>
                  <a:pt x="11" y="10"/>
                  <a:pt x="11" y="10"/>
                  <a:pt x="11" y="10"/>
                </a:cubicBezTo>
                <a:cubicBezTo>
                  <a:pt x="11" y="10"/>
                  <a:pt x="10" y="10"/>
                  <a:pt x="10" y="10"/>
                </a:cubicBezTo>
                <a:cubicBezTo>
                  <a:pt x="10" y="10"/>
                  <a:pt x="10" y="10"/>
                  <a:pt x="10" y="10"/>
                </a:cubicBezTo>
                <a:cubicBezTo>
                  <a:pt x="9" y="10"/>
                  <a:pt x="9" y="9"/>
                  <a:pt x="8" y="9"/>
                </a:cubicBezTo>
                <a:cubicBezTo>
                  <a:pt x="7" y="7"/>
                  <a:pt x="8" y="6"/>
                  <a:pt x="8" y="5"/>
                </a:cubicBezTo>
                <a:cubicBezTo>
                  <a:pt x="8" y="4"/>
                  <a:pt x="8" y="4"/>
                  <a:pt x="9" y="4"/>
                </a:cubicBezTo>
                <a:cubicBezTo>
                  <a:pt x="8" y="4"/>
                  <a:pt x="8" y="4"/>
                  <a:pt x="8" y="4"/>
                </a:cubicBezTo>
                <a:cubicBezTo>
                  <a:pt x="8" y="4"/>
                  <a:pt x="8" y="4"/>
                  <a:pt x="8" y="4"/>
                </a:cubicBezTo>
                <a:cubicBezTo>
                  <a:pt x="6" y="4"/>
                  <a:pt x="6" y="3"/>
                  <a:pt x="6" y="3"/>
                </a:cubicBezTo>
                <a:cubicBezTo>
                  <a:pt x="6" y="2"/>
                  <a:pt x="6" y="2"/>
                  <a:pt x="6" y="2"/>
                </a:cubicBezTo>
                <a:cubicBezTo>
                  <a:pt x="6" y="1"/>
                  <a:pt x="6" y="1"/>
                  <a:pt x="6" y="1"/>
                </a:cubicBezTo>
                <a:cubicBezTo>
                  <a:pt x="5" y="1"/>
                  <a:pt x="5" y="1"/>
                  <a:pt x="5" y="1"/>
                </a:cubicBezTo>
                <a:cubicBezTo>
                  <a:pt x="5" y="1"/>
                  <a:pt x="5" y="1"/>
                  <a:pt x="5" y="1"/>
                </a:cubicBezTo>
                <a:cubicBezTo>
                  <a:pt x="5" y="1"/>
                  <a:pt x="4" y="1"/>
                  <a:pt x="4" y="1"/>
                </a:cubicBezTo>
                <a:cubicBezTo>
                  <a:pt x="3" y="1"/>
                  <a:pt x="3" y="1"/>
                  <a:pt x="3" y="1"/>
                </a:cubicBezTo>
                <a:cubicBezTo>
                  <a:pt x="2" y="1"/>
                  <a:pt x="2" y="0"/>
                  <a:pt x="1" y="0"/>
                </a:cubicBezTo>
                <a:cubicBezTo>
                  <a:pt x="1" y="2"/>
                  <a:pt x="1" y="2"/>
                  <a:pt x="1" y="2"/>
                </a:cubicBezTo>
                <a:cubicBezTo>
                  <a:pt x="0" y="2"/>
                  <a:pt x="0" y="2"/>
                  <a:pt x="0" y="2"/>
                </a:cubicBezTo>
                <a:cubicBezTo>
                  <a:pt x="0" y="2"/>
                  <a:pt x="0" y="2"/>
                  <a:pt x="0" y="2"/>
                </a:cubicBezTo>
                <a:cubicBezTo>
                  <a:pt x="1" y="3"/>
                  <a:pt x="2" y="4"/>
                  <a:pt x="2" y="5"/>
                </a:cubicBezTo>
                <a:cubicBezTo>
                  <a:pt x="2" y="6"/>
                  <a:pt x="2" y="8"/>
                  <a:pt x="2" y="9"/>
                </a:cubicBezTo>
                <a:cubicBezTo>
                  <a:pt x="2" y="11"/>
                  <a:pt x="2" y="12"/>
                  <a:pt x="2" y="14"/>
                </a:cubicBezTo>
                <a:cubicBezTo>
                  <a:pt x="3" y="15"/>
                  <a:pt x="3" y="16"/>
                  <a:pt x="4" y="18"/>
                </a:cubicBezTo>
                <a:cubicBezTo>
                  <a:pt x="4" y="19"/>
                  <a:pt x="5" y="20"/>
                  <a:pt x="4" y="21"/>
                </a:cubicBezTo>
                <a:cubicBezTo>
                  <a:pt x="4" y="23"/>
                  <a:pt x="5" y="24"/>
                  <a:pt x="7" y="25"/>
                </a:cubicBezTo>
                <a:cubicBezTo>
                  <a:pt x="6" y="25"/>
                  <a:pt x="5" y="26"/>
                  <a:pt x="5" y="26"/>
                </a:cubicBezTo>
                <a:cubicBezTo>
                  <a:pt x="6" y="27"/>
                  <a:pt x="7" y="27"/>
                  <a:pt x="7" y="28"/>
                </a:cubicBezTo>
                <a:cubicBezTo>
                  <a:pt x="8" y="29"/>
                  <a:pt x="9" y="30"/>
                  <a:pt x="9" y="31"/>
                </a:cubicBezTo>
                <a:cubicBezTo>
                  <a:pt x="10" y="32"/>
                  <a:pt x="12" y="33"/>
                  <a:pt x="12" y="35"/>
                </a:cubicBezTo>
                <a:cubicBezTo>
                  <a:pt x="12" y="36"/>
                  <a:pt x="11" y="37"/>
                  <a:pt x="12" y="38"/>
                </a:cubicBezTo>
                <a:cubicBezTo>
                  <a:pt x="13" y="38"/>
                  <a:pt x="14" y="39"/>
                  <a:pt x="15" y="39"/>
                </a:cubicBezTo>
                <a:cubicBezTo>
                  <a:pt x="16" y="40"/>
                  <a:pt x="18" y="42"/>
                  <a:pt x="20" y="43"/>
                </a:cubicBezTo>
                <a:cubicBezTo>
                  <a:pt x="21" y="44"/>
                  <a:pt x="23" y="45"/>
                  <a:pt x="25" y="46"/>
                </a:cubicBezTo>
                <a:cubicBezTo>
                  <a:pt x="26" y="47"/>
                  <a:pt x="28" y="48"/>
                  <a:pt x="30" y="49"/>
                </a:cubicBezTo>
                <a:cubicBezTo>
                  <a:pt x="32" y="50"/>
                  <a:pt x="33" y="52"/>
                  <a:pt x="34" y="53"/>
                </a:cubicBezTo>
                <a:cubicBezTo>
                  <a:pt x="35" y="53"/>
                  <a:pt x="36" y="52"/>
                  <a:pt x="37" y="52"/>
                </a:cubicBezTo>
                <a:cubicBezTo>
                  <a:pt x="38" y="51"/>
                  <a:pt x="39" y="53"/>
                  <a:pt x="39" y="50"/>
                </a:cubicBezTo>
                <a:cubicBezTo>
                  <a:pt x="41" y="51"/>
                  <a:pt x="40" y="51"/>
                  <a:pt x="40" y="52"/>
                </a:cubicBezTo>
                <a:cubicBezTo>
                  <a:pt x="41" y="53"/>
                  <a:pt x="42" y="52"/>
                  <a:pt x="42" y="52"/>
                </a:cubicBezTo>
                <a:cubicBezTo>
                  <a:pt x="43" y="50"/>
                  <a:pt x="41" y="48"/>
                  <a:pt x="40" y="47"/>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2" name="Freeform 3192">
            <a:extLst>
              <a:ext uri="{FF2B5EF4-FFF2-40B4-BE49-F238E27FC236}">
                <a16:creationId xmlns:a16="http://schemas.microsoft.com/office/drawing/2014/main" id="{47CB5449-2135-4CBF-A57F-AE211FFED091}"/>
              </a:ext>
            </a:extLst>
          </p:cNvPr>
          <p:cNvSpPr>
            <a:spLocks/>
          </p:cNvSpPr>
          <p:nvPr/>
        </p:nvSpPr>
        <p:spPr bwMode="auto">
          <a:xfrm>
            <a:off x="4011974" y="3370967"/>
            <a:ext cx="4460" cy="11278"/>
          </a:xfrm>
          <a:custGeom>
            <a:avLst/>
            <a:gdLst>
              <a:gd name="T0" fmla="*/ 2 w 4"/>
              <a:gd name="T1" fmla="*/ 3 h 8"/>
              <a:gd name="T2" fmla="*/ 4 w 4"/>
              <a:gd name="T3" fmla="*/ 1 h 8"/>
              <a:gd name="T4" fmla="*/ 0 w 4"/>
              <a:gd name="T5" fmla="*/ 3 h 8"/>
              <a:gd name="T6" fmla="*/ 1 w 4"/>
              <a:gd name="T7" fmla="*/ 3 h 8"/>
              <a:gd name="T8" fmla="*/ 1 w 4"/>
              <a:gd name="T9" fmla="*/ 3 h 8"/>
              <a:gd name="T10" fmla="*/ 1 w 4"/>
              <a:gd name="T11" fmla="*/ 4 h 8"/>
              <a:gd name="T12" fmla="*/ 1 w 4"/>
              <a:gd name="T13" fmla="*/ 5 h 8"/>
              <a:gd name="T14" fmla="*/ 1 w 4"/>
              <a:gd name="T15" fmla="*/ 7 h 8"/>
              <a:gd name="T16" fmla="*/ 2 w 4"/>
              <a:gd name="T17" fmla="*/ 7 h 8"/>
              <a:gd name="T18" fmla="*/ 2 w 4"/>
              <a:gd name="T19" fmla="*/ 8 h 8"/>
              <a:gd name="T20" fmla="*/ 4 w 4"/>
              <a:gd name="T21" fmla="*/ 4 h 8"/>
              <a:gd name="T22" fmla="*/ 2 w 4"/>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8">
                <a:moveTo>
                  <a:pt x="2" y="3"/>
                </a:moveTo>
                <a:cubicBezTo>
                  <a:pt x="3" y="2"/>
                  <a:pt x="4" y="2"/>
                  <a:pt x="4" y="1"/>
                </a:cubicBezTo>
                <a:cubicBezTo>
                  <a:pt x="2" y="0"/>
                  <a:pt x="1" y="2"/>
                  <a:pt x="0" y="3"/>
                </a:cubicBezTo>
                <a:cubicBezTo>
                  <a:pt x="1" y="3"/>
                  <a:pt x="1" y="3"/>
                  <a:pt x="1" y="3"/>
                </a:cubicBezTo>
                <a:cubicBezTo>
                  <a:pt x="1" y="3"/>
                  <a:pt x="1" y="3"/>
                  <a:pt x="1" y="3"/>
                </a:cubicBezTo>
                <a:cubicBezTo>
                  <a:pt x="1" y="4"/>
                  <a:pt x="1" y="4"/>
                  <a:pt x="1" y="4"/>
                </a:cubicBezTo>
                <a:cubicBezTo>
                  <a:pt x="1" y="5"/>
                  <a:pt x="1" y="5"/>
                  <a:pt x="1" y="5"/>
                </a:cubicBezTo>
                <a:cubicBezTo>
                  <a:pt x="1" y="6"/>
                  <a:pt x="1" y="7"/>
                  <a:pt x="1" y="7"/>
                </a:cubicBezTo>
                <a:cubicBezTo>
                  <a:pt x="2" y="7"/>
                  <a:pt x="2" y="7"/>
                  <a:pt x="2" y="7"/>
                </a:cubicBezTo>
                <a:cubicBezTo>
                  <a:pt x="2" y="8"/>
                  <a:pt x="2" y="8"/>
                  <a:pt x="2" y="8"/>
                </a:cubicBezTo>
                <a:cubicBezTo>
                  <a:pt x="3" y="7"/>
                  <a:pt x="3" y="5"/>
                  <a:pt x="4" y="4"/>
                </a:cubicBezTo>
                <a:cubicBezTo>
                  <a:pt x="3" y="4"/>
                  <a:pt x="3" y="3"/>
                  <a:pt x="2" y="3"/>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3" name="Freeform 3193">
            <a:extLst>
              <a:ext uri="{FF2B5EF4-FFF2-40B4-BE49-F238E27FC236}">
                <a16:creationId xmlns:a16="http://schemas.microsoft.com/office/drawing/2014/main" id="{E3F58AA5-6483-42DB-948A-547FD31B6254}"/>
              </a:ext>
            </a:extLst>
          </p:cNvPr>
          <p:cNvSpPr>
            <a:spLocks/>
          </p:cNvSpPr>
          <p:nvPr/>
        </p:nvSpPr>
        <p:spPr bwMode="auto">
          <a:xfrm>
            <a:off x="3592235" y="2541121"/>
            <a:ext cx="124386" cy="237438"/>
          </a:xfrm>
          <a:custGeom>
            <a:avLst/>
            <a:gdLst>
              <a:gd name="T0" fmla="*/ 90 w 106"/>
              <a:gd name="T1" fmla="*/ 139 h 169"/>
              <a:gd name="T2" fmla="*/ 104 w 106"/>
              <a:gd name="T3" fmla="*/ 125 h 169"/>
              <a:gd name="T4" fmla="*/ 95 w 106"/>
              <a:gd name="T5" fmla="*/ 112 h 169"/>
              <a:gd name="T6" fmla="*/ 95 w 106"/>
              <a:gd name="T7" fmla="*/ 104 h 169"/>
              <a:gd name="T8" fmla="*/ 90 w 106"/>
              <a:gd name="T9" fmla="*/ 96 h 169"/>
              <a:gd name="T10" fmla="*/ 91 w 106"/>
              <a:gd name="T11" fmla="*/ 93 h 169"/>
              <a:gd name="T12" fmla="*/ 88 w 106"/>
              <a:gd name="T13" fmla="*/ 85 h 169"/>
              <a:gd name="T14" fmla="*/ 87 w 106"/>
              <a:gd name="T15" fmla="*/ 81 h 169"/>
              <a:gd name="T16" fmla="*/ 88 w 106"/>
              <a:gd name="T17" fmla="*/ 76 h 169"/>
              <a:gd name="T18" fmla="*/ 82 w 106"/>
              <a:gd name="T19" fmla="*/ 58 h 169"/>
              <a:gd name="T20" fmla="*/ 90 w 106"/>
              <a:gd name="T21" fmla="*/ 42 h 169"/>
              <a:gd name="T22" fmla="*/ 82 w 106"/>
              <a:gd name="T23" fmla="*/ 35 h 169"/>
              <a:gd name="T24" fmla="*/ 75 w 106"/>
              <a:gd name="T25" fmla="*/ 30 h 169"/>
              <a:gd name="T26" fmla="*/ 76 w 106"/>
              <a:gd name="T27" fmla="*/ 24 h 169"/>
              <a:gd name="T28" fmla="*/ 77 w 106"/>
              <a:gd name="T29" fmla="*/ 19 h 169"/>
              <a:gd name="T30" fmla="*/ 80 w 106"/>
              <a:gd name="T31" fmla="*/ 17 h 169"/>
              <a:gd name="T32" fmla="*/ 79 w 106"/>
              <a:gd name="T33" fmla="*/ 15 h 169"/>
              <a:gd name="T34" fmla="*/ 83 w 106"/>
              <a:gd name="T35" fmla="*/ 10 h 169"/>
              <a:gd name="T36" fmla="*/ 73 w 106"/>
              <a:gd name="T37" fmla="*/ 3 h 169"/>
              <a:gd name="T38" fmla="*/ 67 w 106"/>
              <a:gd name="T39" fmla="*/ 1 h 169"/>
              <a:gd name="T40" fmla="*/ 61 w 106"/>
              <a:gd name="T41" fmla="*/ 2 h 169"/>
              <a:gd name="T42" fmla="*/ 53 w 106"/>
              <a:gd name="T43" fmla="*/ 6 h 169"/>
              <a:gd name="T44" fmla="*/ 50 w 106"/>
              <a:gd name="T45" fmla="*/ 11 h 169"/>
              <a:gd name="T46" fmla="*/ 46 w 106"/>
              <a:gd name="T47" fmla="*/ 22 h 169"/>
              <a:gd name="T48" fmla="*/ 39 w 106"/>
              <a:gd name="T49" fmla="*/ 27 h 169"/>
              <a:gd name="T50" fmla="*/ 27 w 106"/>
              <a:gd name="T51" fmla="*/ 24 h 169"/>
              <a:gd name="T52" fmla="*/ 8 w 106"/>
              <a:gd name="T53" fmla="*/ 18 h 169"/>
              <a:gd name="T54" fmla="*/ 2 w 106"/>
              <a:gd name="T55" fmla="*/ 15 h 169"/>
              <a:gd name="T56" fmla="*/ 22 w 106"/>
              <a:gd name="T57" fmla="*/ 32 h 169"/>
              <a:gd name="T58" fmla="*/ 28 w 106"/>
              <a:gd name="T59" fmla="*/ 37 h 169"/>
              <a:gd name="T60" fmla="*/ 26 w 106"/>
              <a:gd name="T61" fmla="*/ 44 h 169"/>
              <a:gd name="T62" fmla="*/ 29 w 106"/>
              <a:gd name="T63" fmla="*/ 47 h 169"/>
              <a:gd name="T64" fmla="*/ 29 w 106"/>
              <a:gd name="T65" fmla="*/ 53 h 169"/>
              <a:gd name="T66" fmla="*/ 31 w 106"/>
              <a:gd name="T67" fmla="*/ 59 h 169"/>
              <a:gd name="T68" fmla="*/ 28 w 106"/>
              <a:gd name="T69" fmla="*/ 65 h 169"/>
              <a:gd name="T70" fmla="*/ 31 w 106"/>
              <a:gd name="T71" fmla="*/ 69 h 169"/>
              <a:gd name="T72" fmla="*/ 43 w 106"/>
              <a:gd name="T73" fmla="*/ 79 h 169"/>
              <a:gd name="T74" fmla="*/ 44 w 106"/>
              <a:gd name="T75" fmla="*/ 90 h 169"/>
              <a:gd name="T76" fmla="*/ 28 w 106"/>
              <a:gd name="T77" fmla="*/ 101 h 169"/>
              <a:gd name="T78" fmla="*/ 18 w 106"/>
              <a:gd name="T79" fmla="*/ 109 h 169"/>
              <a:gd name="T80" fmla="*/ 8 w 106"/>
              <a:gd name="T81" fmla="*/ 116 h 169"/>
              <a:gd name="T82" fmla="*/ 1 w 106"/>
              <a:gd name="T83" fmla="*/ 128 h 169"/>
              <a:gd name="T84" fmla="*/ 7 w 106"/>
              <a:gd name="T85" fmla="*/ 143 h 169"/>
              <a:gd name="T86" fmla="*/ 3 w 106"/>
              <a:gd name="T87" fmla="*/ 152 h 169"/>
              <a:gd name="T88" fmla="*/ 11 w 106"/>
              <a:gd name="T89" fmla="*/ 160 h 169"/>
              <a:gd name="T90" fmla="*/ 19 w 106"/>
              <a:gd name="T91" fmla="*/ 162 h 169"/>
              <a:gd name="T92" fmla="*/ 15 w 106"/>
              <a:gd name="T93" fmla="*/ 166 h 169"/>
              <a:gd name="T94" fmla="*/ 22 w 106"/>
              <a:gd name="T95" fmla="*/ 166 h 169"/>
              <a:gd name="T96" fmla="*/ 33 w 106"/>
              <a:gd name="T97" fmla="*/ 166 h 169"/>
              <a:gd name="T98" fmla="*/ 48 w 106"/>
              <a:gd name="T99" fmla="*/ 161 h 169"/>
              <a:gd name="T100" fmla="*/ 54 w 106"/>
              <a:gd name="T101" fmla="*/ 1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6" h="169">
                <a:moveTo>
                  <a:pt x="64" y="158"/>
                </a:moveTo>
                <a:cubicBezTo>
                  <a:pt x="65" y="158"/>
                  <a:pt x="65" y="158"/>
                  <a:pt x="65" y="158"/>
                </a:cubicBezTo>
                <a:cubicBezTo>
                  <a:pt x="66" y="158"/>
                  <a:pt x="67" y="158"/>
                  <a:pt x="69" y="157"/>
                </a:cubicBezTo>
                <a:cubicBezTo>
                  <a:pt x="73" y="153"/>
                  <a:pt x="77" y="150"/>
                  <a:pt x="81" y="147"/>
                </a:cubicBezTo>
                <a:cubicBezTo>
                  <a:pt x="85" y="145"/>
                  <a:pt x="87" y="142"/>
                  <a:pt x="90" y="139"/>
                </a:cubicBezTo>
                <a:cubicBezTo>
                  <a:pt x="91" y="138"/>
                  <a:pt x="93" y="137"/>
                  <a:pt x="94" y="136"/>
                </a:cubicBezTo>
                <a:cubicBezTo>
                  <a:pt x="95" y="134"/>
                  <a:pt x="97" y="132"/>
                  <a:pt x="99" y="130"/>
                </a:cubicBezTo>
                <a:cubicBezTo>
                  <a:pt x="100" y="130"/>
                  <a:pt x="100" y="130"/>
                  <a:pt x="101" y="129"/>
                </a:cubicBezTo>
                <a:cubicBezTo>
                  <a:pt x="102" y="128"/>
                  <a:pt x="103" y="128"/>
                  <a:pt x="103" y="127"/>
                </a:cubicBezTo>
                <a:cubicBezTo>
                  <a:pt x="104" y="126"/>
                  <a:pt x="104" y="125"/>
                  <a:pt x="104" y="125"/>
                </a:cubicBezTo>
                <a:cubicBezTo>
                  <a:pt x="104" y="125"/>
                  <a:pt x="104" y="125"/>
                  <a:pt x="104" y="125"/>
                </a:cubicBezTo>
                <a:cubicBezTo>
                  <a:pt x="105" y="124"/>
                  <a:pt x="105" y="123"/>
                  <a:pt x="105" y="122"/>
                </a:cubicBezTo>
                <a:cubicBezTo>
                  <a:pt x="106" y="121"/>
                  <a:pt x="106" y="121"/>
                  <a:pt x="105" y="121"/>
                </a:cubicBezTo>
                <a:cubicBezTo>
                  <a:pt x="105" y="121"/>
                  <a:pt x="105" y="120"/>
                  <a:pt x="105" y="120"/>
                </a:cubicBezTo>
                <a:cubicBezTo>
                  <a:pt x="102" y="117"/>
                  <a:pt x="98" y="114"/>
                  <a:pt x="95" y="112"/>
                </a:cubicBezTo>
                <a:cubicBezTo>
                  <a:pt x="94" y="112"/>
                  <a:pt x="94" y="112"/>
                  <a:pt x="94" y="112"/>
                </a:cubicBezTo>
                <a:cubicBezTo>
                  <a:pt x="93" y="111"/>
                  <a:pt x="92" y="110"/>
                  <a:pt x="91" y="109"/>
                </a:cubicBezTo>
                <a:cubicBezTo>
                  <a:pt x="89" y="108"/>
                  <a:pt x="89" y="108"/>
                  <a:pt x="89" y="108"/>
                </a:cubicBezTo>
                <a:cubicBezTo>
                  <a:pt x="91" y="107"/>
                  <a:pt x="91" y="107"/>
                  <a:pt x="91" y="107"/>
                </a:cubicBezTo>
                <a:cubicBezTo>
                  <a:pt x="93" y="106"/>
                  <a:pt x="94" y="105"/>
                  <a:pt x="95" y="104"/>
                </a:cubicBezTo>
                <a:cubicBezTo>
                  <a:pt x="96" y="103"/>
                  <a:pt x="96" y="103"/>
                  <a:pt x="96" y="103"/>
                </a:cubicBezTo>
                <a:cubicBezTo>
                  <a:pt x="96" y="103"/>
                  <a:pt x="97" y="102"/>
                  <a:pt x="96" y="101"/>
                </a:cubicBezTo>
                <a:cubicBezTo>
                  <a:pt x="96" y="101"/>
                  <a:pt x="95" y="100"/>
                  <a:pt x="94" y="100"/>
                </a:cubicBezTo>
                <a:cubicBezTo>
                  <a:pt x="94" y="100"/>
                  <a:pt x="93" y="100"/>
                  <a:pt x="93" y="99"/>
                </a:cubicBezTo>
                <a:cubicBezTo>
                  <a:pt x="92" y="99"/>
                  <a:pt x="91" y="97"/>
                  <a:pt x="90" y="96"/>
                </a:cubicBezTo>
                <a:cubicBezTo>
                  <a:pt x="90" y="96"/>
                  <a:pt x="90" y="96"/>
                  <a:pt x="90" y="96"/>
                </a:cubicBezTo>
                <a:cubicBezTo>
                  <a:pt x="90" y="95"/>
                  <a:pt x="90" y="95"/>
                  <a:pt x="90" y="95"/>
                </a:cubicBezTo>
                <a:cubicBezTo>
                  <a:pt x="90" y="94"/>
                  <a:pt x="90" y="94"/>
                  <a:pt x="90" y="94"/>
                </a:cubicBezTo>
                <a:cubicBezTo>
                  <a:pt x="91" y="93"/>
                  <a:pt x="91" y="93"/>
                  <a:pt x="91" y="93"/>
                </a:cubicBezTo>
                <a:cubicBezTo>
                  <a:pt x="91" y="93"/>
                  <a:pt x="91" y="93"/>
                  <a:pt x="91" y="93"/>
                </a:cubicBezTo>
                <a:cubicBezTo>
                  <a:pt x="92" y="93"/>
                  <a:pt x="92" y="93"/>
                  <a:pt x="92" y="93"/>
                </a:cubicBezTo>
                <a:cubicBezTo>
                  <a:pt x="92" y="93"/>
                  <a:pt x="92" y="93"/>
                  <a:pt x="92" y="93"/>
                </a:cubicBezTo>
                <a:cubicBezTo>
                  <a:pt x="91" y="92"/>
                  <a:pt x="91" y="92"/>
                  <a:pt x="90" y="92"/>
                </a:cubicBezTo>
                <a:cubicBezTo>
                  <a:pt x="88" y="92"/>
                  <a:pt x="87" y="90"/>
                  <a:pt x="86" y="88"/>
                </a:cubicBezTo>
                <a:cubicBezTo>
                  <a:pt x="86" y="86"/>
                  <a:pt x="87" y="86"/>
                  <a:pt x="88" y="85"/>
                </a:cubicBezTo>
                <a:cubicBezTo>
                  <a:pt x="88" y="85"/>
                  <a:pt x="88" y="85"/>
                  <a:pt x="88" y="85"/>
                </a:cubicBezTo>
                <a:cubicBezTo>
                  <a:pt x="88" y="85"/>
                  <a:pt x="88" y="85"/>
                  <a:pt x="87" y="85"/>
                </a:cubicBezTo>
                <a:cubicBezTo>
                  <a:pt x="86" y="84"/>
                  <a:pt x="86" y="83"/>
                  <a:pt x="87" y="82"/>
                </a:cubicBezTo>
                <a:cubicBezTo>
                  <a:pt x="87" y="81"/>
                  <a:pt x="87" y="81"/>
                  <a:pt x="87" y="81"/>
                </a:cubicBezTo>
                <a:cubicBezTo>
                  <a:pt x="87" y="81"/>
                  <a:pt x="87" y="81"/>
                  <a:pt x="87" y="81"/>
                </a:cubicBezTo>
                <a:cubicBezTo>
                  <a:pt x="87" y="81"/>
                  <a:pt x="87" y="81"/>
                  <a:pt x="87" y="81"/>
                </a:cubicBezTo>
                <a:cubicBezTo>
                  <a:pt x="87" y="80"/>
                  <a:pt x="88" y="79"/>
                  <a:pt x="88" y="78"/>
                </a:cubicBezTo>
                <a:cubicBezTo>
                  <a:pt x="88" y="78"/>
                  <a:pt x="88" y="78"/>
                  <a:pt x="88" y="78"/>
                </a:cubicBezTo>
                <a:cubicBezTo>
                  <a:pt x="86" y="76"/>
                  <a:pt x="86" y="76"/>
                  <a:pt x="86" y="76"/>
                </a:cubicBezTo>
                <a:cubicBezTo>
                  <a:pt x="88" y="76"/>
                  <a:pt x="88" y="76"/>
                  <a:pt x="88" y="76"/>
                </a:cubicBezTo>
                <a:cubicBezTo>
                  <a:pt x="89" y="75"/>
                  <a:pt x="90" y="75"/>
                  <a:pt x="91" y="75"/>
                </a:cubicBezTo>
                <a:cubicBezTo>
                  <a:pt x="86" y="64"/>
                  <a:pt x="86" y="64"/>
                  <a:pt x="86" y="64"/>
                </a:cubicBezTo>
                <a:cubicBezTo>
                  <a:pt x="85" y="62"/>
                  <a:pt x="84" y="61"/>
                  <a:pt x="84" y="60"/>
                </a:cubicBezTo>
                <a:cubicBezTo>
                  <a:pt x="83" y="59"/>
                  <a:pt x="83" y="59"/>
                  <a:pt x="83" y="59"/>
                </a:cubicBezTo>
                <a:cubicBezTo>
                  <a:pt x="83" y="59"/>
                  <a:pt x="83" y="59"/>
                  <a:pt x="82" y="58"/>
                </a:cubicBezTo>
                <a:cubicBezTo>
                  <a:pt x="82" y="58"/>
                  <a:pt x="82" y="58"/>
                  <a:pt x="82" y="58"/>
                </a:cubicBezTo>
                <a:cubicBezTo>
                  <a:pt x="82" y="58"/>
                  <a:pt x="81" y="57"/>
                  <a:pt x="81" y="57"/>
                </a:cubicBezTo>
                <a:cubicBezTo>
                  <a:pt x="81" y="56"/>
                  <a:pt x="81" y="56"/>
                  <a:pt x="81" y="55"/>
                </a:cubicBezTo>
                <a:cubicBezTo>
                  <a:pt x="81" y="54"/>
                  <a:pt x="81" y="54"/>
                  <a:pt x="81" y="53"/>
                </a:cubicBezTo>
                <a:cubicBezTo>
                  <a:pt x="90" y="42"/>
                  <a:pt x="90" y="42"/>
                  <a:pt x="90" y="42"/>
                </a:cubicBezTo>
                <a:cubicBezTo>
                  <a:pt x="89" y="42"/>
                  <a:pt x="89" y="41"/>
                  <a:pt x="88" y="41"/>
                </a:cubicBezTo>
                <a:cubicBezTo>
                  <a:pt x="88" y="41"/>
                  <a:pt x="88" y="41"/>
                  <a:pt x="88" y="41"/>
                </a:cubicBezTo>
                <a:cubicBezTo>
                  <a:pt x="87" y="40"/>
                  <a:pt x="86" y="39"/>
                  <a:pt x="85" y="38"/>
                </a:cubicBezTo>
                <a:cubicBezTo>
                  <a:pt x="85" y="37"/>
                  <a:pt x="84" y="36"/>
                  <a:pt x="83" y="36"/>
                </a:cubicBezTo>
                <a:cubicBezTo>
                  <a:pt x="83" y="36"/>
                  <a:pt x="83" y="36"/>
                  <a:pt x="82" y="35"/>
                </a:cubicBezTo>
                <a:cubicBezTo>
                  <a:pt x="82" y="35"/>
                  <a:pt x="82" y="35"/>
                  <a:pt x="82" y="35"/>
                </a:cubicBezTo>
                <a:cubicBezTo>
                  <a:pt x="82" y="35"/>
                  <a:pt x="82" y="35"/>
                  <a:pt x="82" y="35"/>
                </a:cubicBezTo>
                <a:cubicBezTo>
                  <a:pt x="80" y="35"/>
                  <a:pt x="78" y="35"/>
                  <a:pt x="77" y="34"/>
                </a:cubicBezTo>
                <a:cubicBezTo>
                  <a:pt x="76" y="33"/>
                  <a:pt x="76" y="32"/>
                  <a:pt x="76" y="30"/>
                </a:cubicBezTo>
                <a:cubicBezTo>
                  <a:pt x="75" y="30"/>
                  <a:pt x="75" y="30"/>
                  <a:pt x="75" y="30"/>
                </a:cubicBezTo>
                <a:cubicBezTo>
                  <a:pt x="75" y="30"/>
                  <a:pt x="75" y="29"/>
                  <a:pt x="75" y="29"/>
                </a:cubicBezTo>
                <a:cubicBezTo>
                  <a:pt x="75" y="28"/>
                  <a:pt x="75" y="26"/>
                  <a:pt x="76" y="25"/>
                </a:cubicBezTo>
                <a:cubicBezTo>
                  <a:pt x="76" y="25"/>
                  <a:pt x="76" y="25"/>
                  <a:pt x="76" y="25"/>
                </a:cubicBezTo>
                <a:cubicBezTo>
                  <a:pt x="76" y="25"/>
                  <a:pt x="76" y="24"/>
                  <a:pt x="76" y="24"/>
                </a:cubicBezTo>
                <a:cubicBezTo>
                  <a:pt x="76" y="24"/>
                  <a:pt x="76" y="24"/>
                  <a:pt x="76" y="24"/>
                </a:cubicBezTo>
                <a:cubicBezTo>
                  <a:pt x="76" y="23"/>
                  <a:pt x="77" y="23"/>
                  <a:pt x="77" y="22"/>
                </a:cubicBezTo>
                <a:cubicBezTo>
                  <a:pt x="76" y="22"/>
                  <a:pt x="75" y="22"/>
                  <a:pt x="75" y="22"/>
                </a:cubicBezTo>
                <a:cubicBezTo>
                  <a:pt x="73" y="20"/>
                  <a:pt x="73" y="20"/>
                  <a:pt x="73" y="20"/>
                </a:cubicBezTo>
                <a:cubicBezTo>
                  <a:pt x="75" y="19"/>
                  <a:pt x="75" y="19"/>
                  <a:pt x="75" y="19"/>
                </a:cubicBezTo>
                <a:cubicBezTo>
                  <a:pt x="76" y="19"/>
                  <a:pt x="76" y="19"/>
                  <a:pt x="77" y="19"/>
                </a:cubicBezTo>
                <a:cubicBezTo>
                  <a:pt x="79" y="18"/>
                  <a:pt x="79" y="18"/>
                  <a:pt x="79" y="18"/>
                </a:cubicBezTo>
                <a:cubicBezTo>
                  <a:pt x="79" y="18"/>
                  <a:pt x="79" y="18"/>
                  <a:pt x="79" y="18"/>
                </a:cubicBezTo>
                <a:cubicBezTo>
                  <a:pt x="80" y="18"/>
                  <a:pt x="80" y="18"/>
                  <a:pt x="80" y="18"/>
                </a:cubicBezTo>
                <a:cubicBezTo>
                  <a:pt x="80" y="18"/>
                  <a:pt x="80" y="18"/>
                  <a:pt x="80" y="18"/>
                </a:cubicBezTo>
                <a:cubicBezTo>
                  <a:pt x="80" y="17"/>
                  <a:pt x="80" y="17"/>
                  <a:pt x="80" y="17"/>
                </a:cubicBezTo>
                <a:cubicBezTo>
                  <a:pt x="80" y="17"/>
                  <a:pt x="80" y="17"/>
                  <a:pt x="80" y="17"/>
                </a:cubicBezTo>
                <a:cubicBezTo>
                  <a:pt x="80" y="17"/>
                  <a:pt x="80" y="17"/>
                  <a:pt x="80" y="17"/>
                </a:cubicBezTo>
                <a:cubicBezTo>
                  <a:pt x="80" y="17"/>
                  <a:pt x="80" y="17"/>
                  <a:pt x="80" y="17"/>
                </a:cubicBezTo>
                <a:cubicBezTo>
                  <a:pt x="79" y="17"/>
                  <a:pt x="79" y="16"/>
                  <a:pt x="79" y="16"/>
                </a:cubicBezTo>
                <a:cubicBezTo>
                  <a:pt x="79" y="15"/>
                  <a:pt x="79" y="15"/>
                  <a:pt x="79" y="15"/>
                </a:cubicBezTo>
                <a:cubicBezTo>
                  <a:pt x="79" y="14"/>
                  <a:pt x="80" y="14"/>
                  <a:pt x="80" y="14"/>
                </a:cubicBezTo>
                <a:cubicBezTo>
                  <a:pt x="81" y="13"/>
                  <a:pt x="81" y="13"/>
                  <a:pt x="81" y="13"/>
                </a:cubicBezTo>
                <a:cubicBezTo>
                  <a:pt x="81" y="12"/>
                  <a:pt x="81" y="12"/>
                  <a:pt x="82" y="11"/>
                </a:cubicBezTo>
                <a:cubicBezTo>
                  <a:pt x="82" y="11"/>
                  <a:pt x="82" y="10"/>
                  <a:pt x="83" y="10"/>
                </a:cubicBezTo>
                <a:cubicBezTo>
                  <a:pt x="83" y="10"/>
                  <a:pt x="83" y="10"/>
                  <a:pt x="83" y="10"/>
                </a:cubicBezTo>
                <a:cubicBezTo>
                  <a:pt x="83" y="10"/>
                  <a:pt x="83" y="9"/>
                  <a:pt x="83" y="9"/>
                </a:cubicBezTo>
                <a:cubicBezTo>
                  <a:pt x="83" y="9"/>
                  <a:pt x="81" y="7"/>
                  <a:pt x="79" y="6"/>
                </a:cubicBezTo>
                <a:cubicBezTo>
                  <a:pt x="79" y="6"/>
                  <a:pt x="78" y="6"/>
                  <a:pt x="77" y="6"/>
                </a:cubicBezTo>
                <a:cubicBezTo>
                  <a:pt x="76" y="5"/>
                  <a:pt x="76" y="5"/>
                  <a:pt x="76" y="5"/>
                </a:cubicBezTo>
                <a:cubicBezTo>
                  <a:pt x="74" y="4"/>
                  <a:pt x="73" y="4"/>
                  <a:pt x="73" y="3"/>
                </a:cubicBezTo>
                <a:cubicBezTo>
                  <a:pt x="73" y="3"/>
                  <a:pt x="72" y="3"/>
                  <a:pt x="72" y="3"/>
                </a:cubicBezTo>
                <a:cubicBezTo>
                  <a:pt x="72" y="3"/>
                  <a:pt x="72" y="2"/>
                  <a:pt x="72" y="2"/>
                </a:cubicBezTo>
                <a:cubicBezTo>
                  <a:pt x="72" y="2"/>
                  <a:pt x="72" y="2"/>
                  <a:pt x="72" y="2"/>
                </a:cubicBezTo>
                <a:cubicBezTo>
                  <a:pt x="70" y="1"/>
                  <a:pt x="69" y="0"/>
                  <a:pt x="67" y="1"/>
                </a:cubicBezTo>
                <a:cubicBezTo>
                  <a:pt x="67" y="1"/>
                  <a:pt x="67" y="1"/>
                  <a:pt x="67" y="1"/>
                </a:cubicBezTo>
                <a:cubicBezTo>
                  <a:pt x="67" y="1"/>
                  <a:pt x="66" y="1"/>
                  <a:pt x="66" y="2"/>
                </a:cubicBezTo>
                <a:cubicBezTo>
                  <a:pt x="65" y="2"/>
                  <a:pt x="65" y="2"/>
                  <a:pt x="64" y="2"/>
                </a:cubicBezTo>
                <a:cubicBezTo>
                  <a:pt x="64" y="2"/>
                  <a:pt x="63" y="2"/>
                  <a:pt x="63" y="2"/>
                </a:cubicBezTo>
                <a:cubicBezTo>
                  <a:pt x="63" y="2"/>
                  <a:pt x="63" y="2"/>
                  <a:pt x="63" y="2"/>
                </a:cubicBezTo>
                <a:cubicBezTo>
                  <a:pt x="62" y="2"/>
                  <a:pt x="62" y="2"/>
                  <a:pt x="61" y="2"/>
                </a:cubicBezTo>
                <a:cubicBezTo>
                  <a:pt x="60" y="3"/>
                  <a:pt x="60" y="3"/>
                  <a:pt x="60" y="3"/>
                </a:cubicBezTo>
                <a:cubicBezTo>
                  <a:pt x="60" y="3"/>
                  <a:pt x="60" y="3"/>
                  <a:pt x="59" y="3"/>
                </a:cubicBezTo>
                <a:cubicBezTo>
                  <a:pt x="57" y="3"/>
                  <a:pt x="57" y="3"/>
                  <a:pt x="55" y="4"/>
                </a:cubicBezTo>
                <a:cubicBezTo>
                  <a:pt x="55" y="5"/>
                  <a:pt x="55" y="5"/>
                  <a:pt x="55" y="5"/>
                </a:cubicBezTo>
                <a:cubicBezTo>
                  <a:pt x="55" y="5"/>
                  <a:pt x="54" y="6"/>
                  <a:pt x="53" y="6"/>
                </a:cubicBezTo>
                <a:cubicBezTo>
                  <a:pt x="53" y="6"/>
                  <a:pt x="53" y="6"/>
                  <a:pt x="53" y="6"/>
                </a:cubicBezTo>
                <a:cubicBezTo>
                  <a:pt x="53" y="6"/>
                  <a:pt x="52" y="7"/>
                  <a:pt x="52" y="7"/>
                </a:cubicBezTo>
                <a:cubicBezTo>
                  <a:pt x="52" y="7"/>
                  <a:pt x="52" y="7"/>
                  <a:pt x="52" y="7"/>
                </a:cubicBezTo>
                <a:cubicBezTo>
                  <a:pt x="51" y="8"/>
                  <a:pt x="51" y="8"/>
                  <a:pt x="51" y="9"/>
                </a:cubicBezTo>
                <a:cubicBezTo>
                  <a:pt x="50" y="11"/>
                  <a:pt x="50" y="11"/>
                  <a:pt x="50" y="11"/>
                </a:cubicBezTo>
                <a:cubicBezTo>
                  <a:pt x="50" y="12"/>
                  <a:pt x="50" y="13"/>
                  <a:pt x="50" y="14"/>
                </a:cubicBezTo>
                <a:cubicBezTo>
                  <a:pt x="50" y="16"/>
                  <a:pt x="50" y="17"/>
                  <a:pt x="49" y="18"/>
                </a:cubicBezTo>
                <a:cubicBezTo>
                  <a:pt x="49" y="19"/>
                  <a:pt x="49" y="20"/>
                  <a:pt x="48" y="20"/>
                </a:cubicBezTo>
                <a:cubicBezTo>
                  <a:pt x="48" y="21"/>
                  <a:pt x="48" y="21"/>
                  <a:pt x="48" y="21"/>
                </a:cubicBezTo>
                <a:cubicBezTo>
                  <a:pt x="48" y="22"/>
                  <a:pt x="46" y="22"/>
                  <a:pt x="46" y="22"/>
                </a:cubicBezTo>
                <a:cubicBezTo>
                  <a:pt x="46" y="22"/>
                  <a:pt x="46" y="22"/>
                  <a:pt x="45" y="22"/>
                </a:cubicBezTo>
                <a:cubicBezTo>
                  <a:pt x="43" y="25"/>
                  <a:pt x="43" y="25"/>
                  <a:pt x="43" y="25"/>
                </a:cubicBezTo>
                <a:cubicBezTo>
                  <a:pt x="43" y="25"/>
                  <a:pt x="42" y="25"/>
                  <a:pt x="42" y="25"/>
                </a:cubicBezTo>
                <a:cubicBezTo>
                  <a:pt x="42" y="25"/>
                  <a:pt x="42" y="25"/>
                  <a:pt x="42" y="25"/>
                </a:cubicBezTo>
                <a:cubicBezTo>
                  <a:pt x="41" y="26"/>
                  <a:pt x="40" y="28"/>
                  <a:pt x="39" y="27"/>
                </a:cubicBezTo>
                <a:cubicBezTo>
                  <a:pt x="33" y="25"/>
                  <a:pt x="33" y="25"/>
                  <a:pt x="33" y="25"/>
                </a:cubicBezTo>
                <a:cubicBezTo>
                  <a:pt x="33" y="25"/>
                  <a:pt x="33" y="24"/>
                  <a:pt x="32" y="24"/>
                </a:cubicBezTo>
                <a:cubicBezTo>
                  <a:pt x="31" y="24"/>
                  <a:pt x="30" y="23"/>
                  <a:pt x="29" y="23"/>
                </a:cubicBezTo>
                <a:cubicBezTo>
                  <a:pt x="29" y="23"/>
                  <a:pt x="29" y="24"/>
                  <a:pt x="29" y="24"/>
                </a:cubicBezTo>
                <a:cubicBezTo>
                  <a:pt x="28" y="24"/>
                  <a:pt x="28" y="24"/>
                  <a:pt x="27" y="24"/>
                </a:cubicBezTo>
                <a:cubicBezTo>
                  <a:pt x="15" y="25"/>
                  <a:pt x="15" y="25"/>
                  <a:pt x="15" y="25"/>
                </a:cubicBezTo>
                <a:cubicBezTo>
                  <a:pt x="15" y="25"/>
                  <a:pt x="14" y="25"/>
                  <a:pt x="14" y="25"/>
                </a:cubicBezTo>
                <a:cubicBezTo>
                  <a:pt x="13" y="24"/>
                  <a:pt x="13" y="23"/>
                  <a:pt x="12" y="23"/>
                </a:cubicBezTo>
                <a:cubicBezTo>
                  <a:pt x="12" y="22"/>
                  <a:pt x="12" y="22"/>
                  <a:pt x="12" y="22"/>
                </a:cubicBezTo>
                <a:cubicBezTo>
                  <a:pt x="12" y="22"/>
                  <a:pt x="11" y="20"/>
                  <a:pt x="8" y="18"/>
                </a:cubicBezTo>
                <a:cubicBezTo>
                  <a:pt x="4" y="15"/>
                  <a:pt x="4" y="15"/>
                  <a:pt x="4" y="15"/>
                </a:cubicBezTo>
                <a:cubicBezTo>
                  <a:pt x="4" y="15"/>
                  <a:pt x="3" y="15"/>
                  <a:pt x="3" y="15"/>
                </a:cubicBezTo>
                <a:cubicBezTo>
                  <a:pt x="3" y="15"/>
                  <a:pt x="3" y="15"/>
                  <a:pt x="2" y="15"/>
                </a:cubicBezTo>
                <a:cubicBezTo>
                  <a:pt x="2" y="15"/>
                  <a:pt x="2" y="15"/>
                  <a:pt x="2" y="15"/>
                </a:cubicBezTo>
                <a:cubicBezTo>
                  <a:pt x="2" y="15"/>
                  <a:pt x="2" y="15"/>
                  <a:pt x="2" y="15"/>
                </a:cubicBezTo>
                <a:cubicBezTo>
                  <a:pt x="2" y="16"/>
                  <a:pt x="2" y="16"/>
                  <a:pt x="2" y="17"/>
                </a:cubicBezTo>
                <a:cubicBezTo>
                  <a:pt x="2" y="17"/>
                  <a:pt x="1" y="18"/>
                  <a:pt x="1" y="18"/>
                </a:cubicBezTo>
                <a:cubicBezTo>
                  <a:pt x="0" y="18"/>
                  <a:pt x="0" y="18"/>
                  <a:pt x="0" y="18"/>
                </a:cubicBezTo>
                <a:cubicBezTo>
                  <a:pt x="0" y="19"/>
                  <a:pt x="0" y="19"/>
                  <a:pt x="0" y="19"/>
                </a:cubicBezTo>
                <a:cubicBezTo>
                  <a:pt x="22" y="32"/>
                  <a:pt x="22" y="32"/>
                  <a:pt x="22" y="32"/>
                </a:cubicBezTo>
                <a:cubicBezTo>
                  <a:pt x="24" y="33"/>
                  <a:pt x="25" y="33"/>
                  <a:pt x="26" y="35"/>
                </a:cubicBezTo>
                <a:cubicBezTo>
                  <a:pt x="27" y="36"/>
                  <a:pt x="27" y="36"/>
                  <a:pt x="27" y="36"/>
                </a:cubicBezTo>
                <a:cubicBezTo>
                  <a:pt x="27" y="36"/>
                  <a:pt x="27" y="36"/>
                  <a:pt x="27" y="36"/>
                </a:cubicBezTo>
                <a:cubicBezTo>
                  <a:pt x="28" y="37"/>
                  <a:pt x="28" y="37"/>
                  <a:pt x="28" y="37"/>
                </a:cubicBezTo>
                <a:cubicBezTo>
                  <a:pt x="28" y="37"/>
                  <a:pt x="28" y="37"/>
                  <a:pt x="28" y="37"/>
                </a:cubicBezTo>
                <a:cubicBezTo>
                  <a:pt x="28" y="38"/>
                  <a:pt x="28" y="38"/>
                  <a:pt x="28" y="38"/>
                </a:cubicBezTo>
                <a:cubicBezTo>
                  <a:pt x="28" y="39"/>
                  <a:pt x="27" y="39"/>
                  <a:pt x="27" y="39"/>
                </a:cubicBezTo>
                <a:cubicBezTo>
                  <a:pt x="26" y="39"/>
                  <a:pt x="27" y="40"/>
                  <a:pt x="27" y="41"/>
                </a:cubicBezTo>
                <a:cubicBezTo>
                  <a:pt x="27" y="41"/>
                  <a:pt x="27" y="42"/>
                  <a:pt x="27" y="42"/>
                </a:cubicBezTo>
                <a:cubicBezTo>
                  <a:pt x="27" y="43"/>
                  <a:pt x="27" y="44"/>
                  <a:pt x="26" y="44"/>
                </a:cubicBezTo>
                <a:cubicBezTo>
                  <a:pt x="26" y="44"/>
                  <a:pt x="26" y="45"/>
                  <a:pt x="26" y="45"/>
                </a:cubicBezTo>
                <a:cubicBezTo>
                  <a:pt x="26" y="45"/>
                  <a:pt x="26" y="45"/>
                  <a:pt x="26" y="45"/>
                </a:cubicBezTo>
                <a:cubicBezTo>
                  <a:pt x="26" y="45"/>
                  <a:pt x="27" y="45"/>
                  <a:pt x="27" y="45"/>
                </a:cubicBezTo>
                <a:cubicBezTo>
                  <a:pt x="28" y="45"/>
                  <a:pt x="29" y="46"/>
                  <a:pt x="29" y="47"/>
                </a:cubicBezTo>
                <a:cubicBezTo>
                  <a:pt x="29" y="47"/>
                  <a:pt x="29" y="47"/>
                  <a:pt x="29" y="47"/>
                </a:cubicBezTo>
                <a:cubicBezTo>
                  <a:pt x="29" y="48"/>
                  <a:pt x="29" y="49"/>
                  <a:pt x="29" y="49"/>
                </a:cubicBezTo>
                <a:cubicBezTo>
                  <a:pt x="29" y="49"/>
                  <a:pt x="29" y="49"/>
                  <a:pt x="29" y="49"/>
                </a:cubicBezTo>
                <a:cubicBezTo>
                  <a:pt x="28" y="50"/>
                  <a:pt x="28" y="50"/>
                  <a:pt x="28" y="50"/>
                </a:cubicBezTo>
                <a:cubicBezTo>
                  <a:pt x="27" y="50"/>
                  <a:pt x="27" y="51"/>
                  <a:pt x="27" y="51"/>
                </a:cubicBezTo>
                <a:cubicBezTo>
                  <a:pt x="27" y="51"/>
                  <a:pt x="28" y="53"/>
                  <a:pt x="29" y="53"/>
                </a:cubicBezTo>
                <a:cubicBezTo>
                  <a:pt x="30" y="54"/>
                  <a:pt x="30" y="54"/>
                  <a:pt x="30" y="55"/>
                </a:cubicBezTo>
                <a:cubicBezTo>
                  <a:pt x="30" y="55"/>
                  <a:pt x="30" y="55"/>
                  <a:pt x="30" y="55"/>
                </a:cubicBezTo>
                <a:cubicBezTo>
                  <a:pt x="31" y="55"/>
                  <a:pt x="31" y="56"/>
                  <a:pt x="31" y="56"/>
                </a:cubicBezTo>
                <a:cubicBezTo>
                  <a:pt x="31" y="57"/>
                  <a:pt x="31" y="57"/>
                  <a:pt x="31" y="57"/>
                </a:cubicBezTo>
                <a:cubicBezTo>
                  <a:pt x="31" y="59"/>
                  <a:pt x="31" y="59"/>
                  <a:pt x="31" y="59"/>
                </a:cubicBezTo>
                <a:cubicBezTo>
                  <a:pt x="30" y="59"/>
                  <a:pt x="30" y="59"/>
                  <a:pt x="30" y="59"/>
                </a:cubicBezTo>
                <a:cubicBezTo>
                  <a:pt x="30" y="59"/>
                  <a:pt x="30" y="59"/>
                  <a:pt x="30" y="59"/>
                </a:cubicBezTo>
                <a:cubicBezTo>
                  <a:pt x="30" y="60"/>
                  <a:pt x="30" y="60"/>
                  <a:pt x="30" y="60"/>
                </a:cubicBezTo>
                <a:cubicBezTo>
                  <a:pt x="30" y="60"/>
                  <a:pt x="30" y="61"/>
                  <a:pt x="29" y="62"/>
                </a:cubicBezTo>
                <a:cubicBezTo>
                  <a:pt x="29" y="63"/>
                  <a:pt x="28" y="64"/>
                  <a:pt x="28" y="65"/>
                </a:cubicBezTo>
                <a:cubicBezTo>
                  <a:pt x="28" y="65"/>
                  <a:pt x="28" y="65"/>
                  <a:pt x="28" y="66"/>
                </a:cubicBezTo>
                <a:cubicBezTo>
                  <a:pt x="28" y="66"/>
                  <a:pt x="28" y="66"/>
                  <a:pt x="28" y="66"/>
                </a:cubicBezTo>
                <a:cubicBezTo>
                  <a:pt x="28" y="66"/>
                  <a:pt x="28" y="66"/>
                  <a:pt x="28" y="66"/>
                </a:cubicBezTo>
                <a:cubicBezTo>
                  <a:pt x="28" y="66"/>
                  <a:pt x="29" y="66"/>
                  <a:pt x="29" y="67"/>
                </a:cubicBezTo>
                <a:cubicBezTo>
                  <a:pt x="30" y="67"/>
                  <a:pt x="30" y="68"/>
                  <a:pt x="31" y="69"/>
                </a:cubicBezTo>
                <a:cubicBezTo>
                  <a:pt x="33" y="74"/>
                  <a:pt x="33" y="74"/>
                  <a:pt x="33" y="74"/>
                </a:cubicBezTo>
                <a:cubicBezTo>
                  <a:pt x="32" y="74"/>
                  <a:pt x="32" y="74"/>
                  <a:pt x="32" y="74"/>
                </a:cubicBezTo>
                <a:cubicBezTo>
                  <a:pt x="33" y="74"/>
                  <a:pt x="35" y="75"/>
                  <a:pt x="35" y="75"/>
                </a:cubicBezTo>
                <a:cubicBezTo>
                  <a:pt x="37" y="76"/>
                  <a:pt x="37" y="77"/>
                  <a:pt x="39" y="77"/>
                </a:cubicBezTo>
                <a:cubicBezTo>
                  <a:pt x="40" y="77"/>
                  <a:pt x="43" y="78"/>
                  <a:pt x="43" y="79"/>
                </a:cubicBezTo>
                <a:cubicBezTo>
                  <a:pt x="44" y="80"/>
                  <a:pt x="44" y="82"/>
                  <a:pt x="43" y="83"/>
                </a:cubicBezTo>
                <a:cubicBezTo>
                  <a:pt x="43" y="84"/>
                  <a:pt x="42" y="85"/>
                  <a:pt x="43" y="86"/>
                </a:cubicBezTo>
                <a:cubicBezTo>
                  <a:pt x="43" y="86"/>
                  <a:pt x="44" y="86"/>
                  <a:pt x="44" y="86"/>
                </a:cubicBezTo>
                <a:cubicBezTo>
                  <a:pt x="45" y="87"/>
                  <a:pt x="45" y="88"/>
                  <a:pt x="45" y="88"/>
                </a:cubicBezTo>
                <a:cubicBezTo>
                  <a:pt x="43" y="88"/>
                  <a:pt x="42" y="87"/>
                  <a:pt x="44" y="90"/>
                </a:cubicBezTo>
                <a:cubicBezTo>
                  <a:pt x="43" y="91"/>
                  <a:pt x="43" y="90"/>
                  <a:pt x="41" y="89"/>
                </a:cubicBezTo>
                <a:cubicBezTo>
                  <a:pt x="40" y="89"/>
                  <a:pt x="39" y="90"/>
                  <a:pt x="38" y="90"/>
                </a:cubicBezTo>
                <a:cubicBezTo>
                  <a:pt x="36" y="91"/>
                  <a:pt x="36" y="91"/>
                  <a:pt x="35" y="92"/>
                </a:cubicBezTo>
                <a:cubicBezTo>
                  <a:pt x="35" y="93"/>
                  <a:pt x="34" y="95"/>
                  <a:pt x="33" y="95"/>
                </a:cubicBezTo>
                <a:cubicBezTo>
                  <a:pt x="31" y="97"/>
                  <a:pt x="30" y="99"/>
                  <a:pt x="28" y="101"/>
                </a:cubicBezTo>
                <a:cubicBezTo>
                  <a:pt x="27" y="101"/>
                  <a:pt x="27" y="103"/>
                  <a:pt x="26" y="103"/>
                </a:cubicBezTo>
                <a:cubicBezTo>
                  <a:pt x="26" y="103"/>
                  <a:pt x="24" y="103"/>
                  <a:pt x="24" y="103"/>
                </a:cubicBezTo>
                <a:cubicBezTo>
                  <a:pt x="24" y="104"/>
                  <a:pt x="25" y="105"/>
                  <a:pt x="24" y="105"/>
                </a:cubicBezTo>
                <a:cubicBezTo>
                  <a:pt x="22" y="106"/>
                  <a:pt x="22" y="106"/>
                  <a:pt x="21" y="107"/>
                </a:cubicBezTo>
                <a:cubicBezTo>
                  <a:pt x="20" y="108"/>
                  <a:pt x="19" y="109"/>
                  <a:pt x="18" y="109"/>
                </a:cubicBezTo>
                <a:cubicBezTo>
                  <a:pt x="17" y="110"/>
                  <a:pt x="16" y="110"/>
                  <a:pt x="15" y="111"/>
                </a:cubicBezTo>
                <a:cubicBezTo>
                  <a:pt x="14" y="111"/>
                  <a:pt x="12" y="112"/>
                  <a:pt x="13" y="113"/>
                </a:cubicBezTo>
                <a:cubicBezTo>
                  <a:pt x="14" y="114"/>
                  <a:pt x="14" y="115"/>
                  <a:pt x="12" y="116"/>
                </a:cubicBezTo>
                <a:cubicBezTo>
                  <a:pt x="12" y="116"/>
                  <a:pt x="11" y="116"/>
                  <a:pt x="10" y="117"/>
                </a:cubicBezTo>
                <a:cubicBezTo>
                  <a:pt x="10" y="116"/>
                  <a:pt x="10" y="116"/>
                  <a:pt x="8" y="116"/>
                </a:cubicBezTo>
                <a:cubicBezTo>
                  <a:pt x="6" y="116"/>
                  <a:pt x="6" y="116"/>
                  <a:pt x="5" y="117"/>
                </a:cubicBezTo>
                <a:cubicBezTo>
                  <a:pt x="5" y="118"/>
                  <a:pt x="7" y="119"/>
                  <a:pt x="7" y="119"/>
                </a:cubicBezTo>
                <a:cubicBezTo>
                  <a:pt x="7" y="120"/>
                  <a:pt x="6" y="120"/>
                  <a:pt x="5" y="120"/>
                </a:cubicBezTo>
                <a:cubicBezTo>
                  <a:pt x="3" y="121"/>
                  <a:pt x="2" y="122"/>
                  <a:pt x="1" y="124"/>
                </a:cubicBezTo>
                <a:cubicBezTo>
                  <a:pt x="0" y="125"/>
                  <a:pt x="1" y="126"/>
                  <a:pt x="1" y="128"/>
                </a:cubicBezTo>
                <a:cubicBezTo>
                  <a:pt x="1" y="129"/>
                  <a:pt x="2" y="130"/>
                  <a:pt x="2" y="130"/>
                </a:cubicBezTo>
                <a:cubicBezTo>
                  <a:pt x="2" y="131"/>
                  <a:pt x="3" y="130"/>
                  <a:pt x="3" y="131"/>
                </a:cubicBezTo>
                <a:cubicBezTo>
                  <a:pt x="4" y="133"/>
                  <a:pt x="4" y="134"/>
                  <a:pt x="3" y="136"/>
                </a:cubicBezTo>
                <a:cubicBezTo>
                  <a:pt x="3" y="137"/>
                  <a:pt x="4" y="138"/>
                  <a:pt x="5" y="140"/>
                </a:cubicBezTo>
                <a:cubicBezTo>
                  <a:pt x="6" y="141"/>
                  <a:pt x="6" y="142"/>
                  <a:pt x="7" y="143"/>
                </a:cubicBezTo>
                <a:cubicBezTo>
                  <a:pt x="6" y="143"/>
                  <a:pt x="5" y="143"/>
                  <a:pt x="4" y="143"/>
                </a:cubicBezTo>
                <a:cubicBezTo>
                  <a:pt x="5" y="143"/>
                  <a:pt x="5" y="144"/>
                  <a:pt x="5" y="145"/>
                </a:cubicBezTo>
                <a:cubicBezTo>
                  <a:pt x="5" y="145"/>
                  <a:pt x="5" y="146"/>
                  <a:pt x="5" y="147"/>
                </a:cubicBezTo>
                <a:cubicBezTo>
                  <a:pt x="5" y="148"/>
                  <a:pt x="5" y="149"/>
                  <a:pt x="4" y="150"/>
                </a:cubicBezTo>
                <a:cubicBezTo>
                  <a:pt x="3" y="150"/>
                  <a:pt x="3" y="150"/>
                  <a:pt x="3" y="152"/>
                </a:cubicBezTo>
                <a:cubicBezTo>
                  <a:pt x="4" y="153"/>
                  <a:pt x="4" y="153"/>
                  <a:pt x="4" y="154"/>
                </a:cubicBezTo>
                <a:cubicBezTo>
                  <a:pt x="4" y="155"/>
                  <a:pt x="4" y="157"/>
                  <a:pt x="4" y="157"/>
                </a:cubicBezTo>
                <a:cubicBezTo>
                  <a:pt x="4" y="158"/>
                  <a:pt x="5" y="159"/>
                  <a:pt x="6" y="159"/>
                </a:cubicBezTo>
                <a:cubicBezTo>
                  <a:pt x="6" y="159"/>
                  <a:pt x="7" y="158"/>
                  <a:pt x="6" y="158"/>
                </a:cubicBezTo>
                <a:cubicBezTo>
                  <a:pt x="8" y="158"/>
                  <a:pt x="10" y="159"/>
                  <a:pt x="11" y="160"/>
                </a:cubicBezTo>
                <a:cubicBezTo>
                  <a:pt x="12" y="160"/>
                  <a:pt x="16" y="161"/>
                  <a:pt x="16" y="162"/>
                </a:cubicBezTo>
                <a:cubicBezTo>
                  <a:pt x="15" y="163"/>
                  <a:pt x="15" y="164"/>
                  <a:pt x="17" y="163"/>
                </a:cubicBezTo>
                <a:cubicBezTo>
                  <a:pt x="18" y="163"/>
                  <a:pt x="19" y="162"/>
                  <a:pt x="21" y="161"/>
                </a:cubicBezTo>
                <a:cubicBezTo>
                  <a:pt x="21" y="162"/>
                  <a:pt x="20" y="163"/>
                  <a:pt x="19" y="163"/>
                </a:cubicBezTo>
                <a:cubicBezTo>
                  <a:pt x="19" y="163"/>
                  <a:pt x="19" y="163"/>
                  <a:pt x="19" y="162"/>
                </a:cubicBezTo>
                <a:cubicBezTo>
                  <a:pt x="19" y="163"/>
                  <a:pt x="19" y="163"/>
                  <a:pt x="18" y="163"/>
                </a:cubicBezTo>
                <a:cubicBezTo>
                  <a:pt x="18" y="164"/>
                  <a:pt x="17" y="164"/>
                  <a:pt x="16" y="164"/>
                </a:cubicBezTo>
                <a:cubicBezTo>
                  <a:pt x="16" y="164"/>
                  <a:pt x="14" y="164"/>
                  <a:pt x="14" y="164"/>
                </a:cubicBezTo>
                <a:cubicBezTo>
                  <a:pt x="14" y="165"/>
                  <a:pt x="15" y="165"/>
                  <a:pt x="16" y="165"/>
                </a:cubicBezTo>
                <a:cubicBezTo>
                  <a:pt x="15" y="165"/>
                  <a:pt x="14" y="165"/>
                  <a:pt x="15" y="166"/>
                </a:cubicBezTo>
                <a:cubicBezTo>
                  <a:pt x="14" y="165"/>
                  <a:pt x="14" y="166"/>
                  <a:pt x="14" y="167"/>
                </a:cubicBezTo>
                <a:cubicBezTo>
                  <a:pt x="16" y="167"/>
                  <a:pt x="17" y="167"/>
                  <a:pt x="18" y="166"/>
                </a:cubicBezTo>
                <a:cubicBezTo>
                  <a:pt x="18" y="165"/>
                  <a:pt x="19" y="165"/>
                  <a:pt x="19" y="164"/>
                </a:cubicBezTo>
                <a:cubicBezTo>
                  <a:pt x="19" y="164"/>
                  <a:pt x="19" y="165"/>
                  <a:pt x="19" y="165"/>
                </a:cubicBezTo>
                <a:cubicBezTo>
                  <a:pt x="19" y="166"/>
                  <a:pt x="22" y="166"/>
                  <a:pt x="22" y="166"/>
                </a:cubicBezTo>
                <a:cubicBezTo>
                  <a:pt x="22" y="167"/>
                  <a:pt x="22" y="168"/>
                  <a:pt x="22" y="168"/>
                </a:cubicBezTo>
                <a:cubicBezTo>
                  <a:pt x="22" y="168"/>
                  <a:pt x="22" y="167"/>
                  <a:pt x="23" y="167"/>
                </a:cubicBezTo>
                <a:cubicBezTo>
                  <a:pt x="23" y="168"/>
                  <a:pt x="22" y="168"/>
                  <a:pt x="22" y="169"/>
                </a:cubicBezTo>
                <a:cubicBezTo>
                  <a:pt x="24" y="167"/>
                  <a:pt x="25" y="167"/>
                  <a:pt x="28" y="167"/>
                </a:cubicBezTo>
                <a:cubicBezTo>
                  <a:pt x="29" y="167"/>
                  <a:pt x="32" y="167"/>
                  <a:pt x="33" y="166"/>
                </a:cubicBezTo>
                <a:cubicBezTo>
                  <a:pt x="34" y="165"/>
                  <a:pt x="34" y="167"/>
                  <a:pt x="35" y="167"/>
                </a:cubicBezTo>
                <a:cubicBezTo>
                  <a:pt x="36" y="166"/>
                  <a:pt x="36" y="165"/>
                  <a:pt x="36" y="164"/>
                </a:cubicBezTo>
                <a:cubicBezTo>
                  <a:pt x="38" y="164"/>
                  <a:pt x="40" y="164"/>
                  <a:pt x="42" y="164"/>
                </a:cubicBezTo>
                <a:cubicBezTo>
                  <a:pt x="43" y="163"/>
                  <a:pt x="45" y="163"/>
                  <a:pt x="46" y="163"/>
                </a:cubicBezTo>
                <a:cubicBezTo>
                  <a:pt x="46" y="162"/>
                  <a:pt x="47" y="162"/>
                  <a:pt x="48" y="161"/>
                </a:cubicBezTo>
                <a:cubicBezTo>
                  <a:pt x="48" y="162"/>
                  <a:pt x="49" y="163"/>
                  <a:pt x="50" y="163"/>
                </a:cubicBezTo>
                <a:cubicBezTo>
                  <a:pt x="50" y="163"/>
                  <a:pt x="50" y="162"/>
                  <a:pt x="50" y="161"/>
                </a:cubicBezTo>
                <a:cubicBezTo>
                  <a:pt x="51" y="162"/>
                  <a:pt x="51" y="162"/>
                  <a:pt x="52" y="162"/>
                </a:cubicBezTo>
                <a:cubicBezTo>
                  <a:pt x="51" y="162"/>
                  <a:pt x="51" y="161"/>
                  <a:pt x="51" y="161"/>
                </a:cubicBezTo>
                <a:cubicBezTo>
                  <a:pt x="50" y="159"/>
                  <a:pt x="53" y="161"/>
                  <a:pt x="54" y="160"/>
                </a:cubicBezTo>
                <a:cubicBezTo>
                  <a:pt x="57" y="159"/>
                  <a:pt x="61" y="159"/>
                  <a:pt x="64" y="159"/>
                </a:cubicBezTo>
                <a:lnTo>
                  <a:pt x="64" y="158"/>
                </a:ln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4" name="Freeform 3194">
            <a:extLst>
              <a:ext uri="{FF2B5EF4-FFF2-40B4-BE49-F238E27FC236}">
                <a16:creationId xmlns:a16="http://schemas.microsoft.com/office/drawing/2014/main" id="{E7BEB2BA-D67D-4662-A0C2-D85A42DD9F2A}"/>
              </a:ext>
            </a:extLst>
          </p:cNvPr>
          <p:cNvSpPr>
            <a:spLocks/>
          </p:cNvSpPr>
          <p:nvPr/>
        </p:nvSpPr>
        <p:spPr bwMode="auto">
          <a:xfrm>
            <a:off x="4077388" y="2916273"/>
            <a:ext cx="2478" cy="1187"/>
          </a:xfrm>
          <a:custGeom>
            <a:avLst/>
            <a:gdLst>
              <a:gd name="T0" fmla="*/ 0 w 2"/>
              <a:gd name="T1" fmla="*/ 0 h 1"/>
              <a:gd name="T2" fmla="*/ 0 w 2"/>
              <a:gd name="T3" fmla="*/ 0 h 1"/>
              <a:gd name="T4" fmla="*/ 0 w 2"/>
              <a:gd name="T5" fmla="*/ 1 h 1"/>
              <a:gd name="T6" fmla="*/ 1 w 2"/>
              <a:gd name="T7" fmla="*/ 1 h 1"/>
              <a:gd name="T8" fmla="*/ 2 w 2"/>
              <a:gd name="T9" fmla="*/ 1 h 1"/>
              <a:gd name="T10" fmla="*/ 2 w 2"/>
              <a:gd name="T11" fmla="*/ 1 h 1"/>
              <a:gd name="T12" fmla="*/ 2 w 2"/>
              <a:gd name="T13" fmla="*/ 1 h 1"/>
              <a:gd name="T14" fmla="*/ 1 w 2"/>
              <a:gd name="T15" fmla="*/ 0 h 1"/>
              <a:gd name="T16" fmla="*/ 0 w 2"/>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
                <a:moveTo>
                  <a:pt x="0" y="0"/>
                </a:moveTo>
                <a:cubicBezTo>
                  <a:pt x="0" y="0"/>
                  <a:pt x="0" y="0"/>
                  <a:pt x="0" y="0"/>
                </a:cubicBezTo>
                <a:cubicBezTo>
                  <a:pt x="0" y="1"/>
                  <a:pt x="0" y="1"/>
                  <a:pt x="0" y="1"/>
                </a:cubicBezTo>
                <a:cubicBezTo>
                  <a:pt x="1" y="1"/>
                  <a:pt x="1" y="1"/>
                  <a:pt x="1" y="1"/>
                </a:cubicBezTo>
                <a:cubicBezTo>
                  <a:pt x="1" y="1"/>
                  <a:pt x="1" y="1"/>
                  <a:pt x="2" y="1"/>
                </a:cubicBezTo>
                <a:cubicBezTo>
                  <a:pt x="2" y="1"/>
                  <a:pt x="2" y="1"/>
                  <a:pt x="2" y="1"/>
                </a:cubicBezTo>
                <a:cubicBezTo>
                  <a:pt x="2" y="1"/>
                  <a:pt x="2" y="1"/>
                  <a:pt x="2" y="1"/>
                </a:cubicBezTo>
                <a:cubicBezTo>
                  <a:pt x="1" y="0"/>
                  <a:pt x="1" y="0"/>
                  <a:pt x="1" y="0"/>
                </a:cubicBezTo>
                <a:cubicBezTo>
                  <a:pt x="1"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5" name="Freeform 3195">
            <a:extLst>
              <a:ext uri="{FF2B5EF4-FFF2-40B4-BE49-F238E27FC236}">
                <a16:creationId xmlns:a16="http://schemas.microsoft.com/office/drawing/2014/main" id="{E6B6363F-9CB5-464D-AD12-524B797A72DC}"/>
              </a:ext>
            </a:extLst>
          </p:cNvPr>
          <p:cNvSpPr>
            <a:spLocks/>
          </p:cNvSpPr>
          <p:nvPr/>
        </p:nvSpPr>
        <p:spPr bwMode="auto">
          <a:xfrm>
            <a:off x="3820688" y="3093165"/>
            <a:ext cx="76316" cy="39177"/>
          </a:xfrm>
          <a:custGeom>
            <a:avLst/>
            <a:gdLst>
              <a:gd name="T0" fmla="*/ 63 w 65"/>
              <a:gd name="T1" fmla="*/ 25 h 28"/>
              <a:gd name="T2" fmla="*/ 60 w 65"/>
              <a:gd name="T3" fmla="*/ 23 h 28"/>
              <a:gd name="T4" fmla="*/ 62 w 65"/>
              <a:gd name="T5" fmla="*/ 20 h 28"/>
              <a:gd name="T6" fmla="*/ 55 w 65"/>
              <a:gd name="T7" fmla="*/ 16 h 28"/>
              <a:gd name="T8" fmla="*/ 49 w 65"/>
              <a:gd name="T9" fmla="*/ 11 h 28"/>
              <a:gd name="T10" fmla="*/ 49 w 65"/>
              <a:gd name="T11" fmla="*/ 11 h 28"/>
              <a:gd name="T12" fmla="*/ 46 w 65"/>
              <a:gd name="T13" fmla="*/ 12 h 28"/>
              <a:gd name="T14" fmla="*/ 43 w 65"/>
              <a:gd name="T15" fmla="*/ 11 h 28"/>
              <a:gd name="T16" fmla="*/ 36 w 65"/>
              <a:gd name="T17" fmla="*/ 11 h 28"/>
              <a:gd name="T18" fmla="*/ 35 w 65"/>
              <a:gd name="T19" fmla="*/ 10 h 28"/>
              <a:gd name="T20" fmla="*/ 28 w 65"/>
              <a:gd name="T21" fmla="*/ 6 h 28"/>
              <a:gd name="T22" fmla="*/ 7 w 65"/>
              <a:gd name="T23" fmla="*/ 2 h 28"/>
              <a:gd name="T24" fmla="*/ 0 w 65"/>
              <a:gd name="T25" fmla="*/ 0 h 28"/>
              <a:gd name="T26" fmla="*/ 0 w 65"/>
              <a:gd name="T27" fmla="*/ 2 h 28"/>
              <a:gd name="T28" fmla="*/ 10 w 65"/>
              <a:gd name="T29" fmla="*/ 8 h 28"/>
              <a:gd name="T30" fmla="*/ 16 w 65"/>
              <a:gd name="T31" fmla="*/ 17 h 28"/>
              <a:gd name="T32" fmla="*/ 15 w 65"/>
              <a:gd name="T33" fmla="*/ 23 h 28"/>
              <a:gd name="T34" fmla="*/ 17 w 65"/>
              <a:gd name="T35" fmla="*/ 23 h 28"/>
              <a:gd name="T36" fmla="*/ 20 w 65"/>
              <a:gd name="T37" fmla="*/ 23 h 28"/>
              <a:gd name="T38" fmla="*/ 25 w 65"/>
              <a:gd name="T39" fmla="*/ 22 h 28"/>
              <a:gd name="T40" fmla="*/ 29 w 65"/>
              <a:gd name="T41" fmla="*/ 24 h 28"/>
              <a:gd name="T42" fmla="*/ 30 w 65"/>
              <a:gd name="T43" fmla="*/ 24 h 28"/>
              <a:gd name="T44" fmla="*/ 30 w 65"/>
              <a:gd name="T45" fmla="*/ 25 h 28"/>
              <a:gd name="T46" fmla="*/ 33 w 65"/>
              <a:gd name="T47" fmla="*/ 26 h 28"/>
              <a:gd name="T48" fmla="*/ 34 w 65"/>
              <a:gd name="T49" fmla="*/ 28 h 28"/>
              <a:gd name="T50" fmla="*/ 34 w 65"/>
              <a:gd name="T51" fmla="*/ 28 h 28"/>
              <a:gd name="T52" fmla="*/ 36 w 65"/>
              <a:gd name="T53" fmla="*/ 28 h 28"/>
              <a:gd name="T54" fmla="*/ 44 w 65"/>
              <a:gd name="T55" fmla="*/ 27 h 28"/>
              <a:gd name="T56" fmla="*/ 46 w 65"/>
              <a:gd name="T57" fmla="*/ 27 h 28"/>
              <a:gd name="T58" fmla="*/ 47 w 65"/>
              <a:gd name="T59" fmla="*/ 27 h 28"/>
              <a:gd name="T60" fmla="*/ 47 w 65"/>
              <a:gd name="T61" fmla="*/ 26 h 28"/>
              <a:gd name="T62" fmla="*/ 50 w 65"/>
              <a:gd name="T63" fmla="*/ 25 h 28"/>
              <a:gd name="T64" fmla="*/ 54 w 65"/>
              <a:gd name="T65" fmla="*/ 24 h 28"/>
              <a:gd name="T66" fmla="*/ 57 w 65"/>
              <a:gd name="T67" fmla="*/ 26 h 28"/>
              <a:gd name="T68" fmla="*/ 59 w 65"/>
              <a:gd name="T69" fmla="*/ 27 h 28"/>
              <a:gd name="T70" fmla="*/ 65 w 65"/>
              <a:gd name="T7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5" h="28">
                <a:moveTo>
                  <a:pt x="65" y="27"/>
                </a:moveTo>
                <a:cubicBezTo>
                  <a:pt x="64" y="26"/>
                  <a:pt x="64" y="26"/>
                  <a:pt x="63" y="25"/>
                </a:cubicBezTo>
                <a:cubicBezTo>
                  <a:pt x="62" y="25"/>
                  <a:pt x="62" y="24"/>
                  <a:pt x="61" y="24"/>
                </a:cubicBezTo>
                <a:cubicBezTo>
                  <a:pt x="60" y="23"/>
                  <a:pt x="60" y="23"/>
                  <a:pt x="60" y="23"/>
                </a:cubicBezTo>
                <a:cubicBezTo>
                  <a:pt x="62" y="20"/>
                  <a:pt x="62" y="20"/>
                  <a:pt x="62" y="20"/>
                </a:cubicBezTo>
                <a:cubicBezTo>
                  <a:pt x="62" y="20"/>
                  <a:pt x="62" y="20"/>
                  <a:pt x="62" y="20"/>
                </a:cubicBezTo>
                <a:cubicBezTo>
                  <a:pt x="60" y="20"/>
                  <a:pt x="56" y="17"/>
                  <a:pt x="56" y="17"/>
                </a:cubicBezTo>
                <a:cubicBezTo>
                  <a:pt x="56" y="17"/>
                  <a:pt x="55" y="17"/>
                  <a:pt x="55" y="16"/>
                </a:cubicBezTo>
                <a:cubicBezTo>
                  <a:pt x="55" y="15"/>
                  <a:pt x="55" y="14"/>
                  <a:pt x="55" y="13"/>
                </a:cubicBezTo>
                <a:cubicBezTo>
                  <a:pt x="53" y="13"/>
                  <a:pt x="50" y="12"/>
                  <a:pt x="49" y="11"/>
                </a:cubicBezTo>
                <a:cubicBezTo>
                  <a:pt x="49" y="11"/>
                  <a:pt x="49" y="11"/>
                  <a:pt x="49" y="11"/>
                </a:cubicBezTo>
                <a:cubicBezTo>
                  <a:pt x="49" y="11"/>
                  <a:pt x="49" y="11"/>
                  <a:pt x="49" y="11"/>
                </a:cubicBezTo>
                <a:cubicBezTo>
                  <a:pt x="48" y="14"/>
                  <a:pt x="48" y="14"/>
                  <a:pt x="48" y="14"/>
                </a:cubicBezTo>
                <a:cubicBezTo>
                  <a:pt x="46" y="12"/>
                  <a:pt x="46" y="12"/>
                  <a:pt x="46" y="12"/>
                </a:cubicBezTo>
                <a:cubicBezTo>
                  <a:pt x="46" y="11"/>
                  <a:pt x="46" y="11"/>
                  <a:pt x="45" y="11"/>
                </a:cubicBezTo>
                <a:cubicBezTo>
                  <a:pt x="45" y="10"/>
                  <a:pt x="44" y="11"/>
                  <a:pt x="43" y="11"/>
                </a:cubicBezTo>
                <a:cubicBezTo>
                  <a:pt x="40" y="13"/>
                  <a:pt x="39" y="13"/>
                  <a:pt x="38" y="12"/>
                </a:cubicBezTo>
                <a:cubicBezTo>
                  <a:pt x="38" y="12"/>
                  <a:pt x="36" y="12"/>
                  <a:pt x="36" y="11"/>
                </a:cubicBezTo>
                <a:cubicBezTo>
                  <a:pt x="35" y="10"/>
                  <a:pt x="35" y="10"/>
                  <a:pt x="35" y="10"/>
                </a:cubicBezTo>
                <a:cubicBezTo>
                  <a:pt x="35" y="10"/>
                  <a:pt x="35" y="10"/>
                  <a:pt x="35" y="10"/>
                </a:cubicBezTo>
                <a:cubicBezTo>
                  <a:pt x="35" y="10"/>
                  <a:pt x="36" y="10"/>
                  <a:pt x="36" y="10"/>
                </a:cubicBezTo>
                <a:cubicBezTo>
                  <a:pt x="33" y="9"/>
                  <a:pt x="29" y="7"/>
                  <a:pt x="28" y="6"/>
                </a:cubicBezTo>
                <a:cubicBezTo>
                  <a:pt x="27" y="5"/>
                  <a:pt x="24" y="4"/>
                  <a:pt x="22" y="5"/>
                </a:cubicBezTo>
                <a:cubicBezTo>
                  <a:pt x="18" y="6"/>
                  <a:pt x="9" y="3"/>
                  <a:pt x="7" y="2"/>
                </a:cubicBezTo>
                <a:cubicBezTo>
                  <a:pt x="6" y="1"/>
                  <a:pt x="5" y="1"/>
                  <a:pt x="5" y="1"/>
                </a:cubicBezTo>
                <a:cubicBezTo>
                  <a:pt x="3" y="1"/>
                  <a:pt x="2" y="1"/>
                  <a:pt x="0" y="0"/>
                </a:cubicBezTo>
                <a:cubicBezTo>
                  <a:pt x="0" y="1"/>
                  <a:pt x="0" y="1"/>
                  <a:pt x="0" y="2"/>
                </a:cubicBezTo>
                <a:cubicBezTo>
                  <a:pt x="0" y="2"/>
                  <a:pt x="0" y="2"/>
                  <a:pt x="0" y="2"/>
                </a:cubicBezTo>
                <a:cubicBezTo>
                  <a:pt x="1" y="3"/>
                  <a:pt x="2" y="4"/>
                  <a:pt x="4" y="5"/>
                </a:cubicBezTo>
                <a:cubicBezTo>
                  <a:pt x="6" y="5"/>
                  <a:pt x="9" y="5"/>
                  <a:pt x="10" y="8"/>
                </a:cubicBezTo>
                <a:cubicBezTo>
                  <a:pt x="11" y="10"/>
                  <a:pt x="13" y="9"/>
                  <a:pt x="14" y="12"/>
                </a:cubicBezTo>
                <a:cubicBezTo>
                  <a:pt x="14" y="13"/>
                  <a:pt x="15" y="17"/>
                  <a:pt x="16" y="17"/>
                </a:cubicBezTo>
                <a:cubicBezTo>
                  <a:pt x="15" y="18"/>
                  <a:pt x="17" y="19"/>
                  <a:pt x="16" y="20"/>
                </a:cubicBezTo>
                <a:cubicBezTo>
                  <a:pt x="16" y="21"/>
                  <a:pt x="16" y="22"/>
                  <a:pt x="15" y="23"/>
                </a:cubicBezTo>
                <a:cubicBezTo>
                  <a:pt x="15" y="23"/>
                  <a:pt x="15" y="23"/>
                  <a:pt x="15" y="23"/>
                </a:cubicBezTo>
                <a:cubicBezTo>
                  <a:pt x="16" y="23"/>
                  <a:pt x="16" y="23"/>
                  <a:pt x="17" y="23"/>
                </a:cubicBezTo>
                <a:cubicBezTo>
                  <a:pt x="18" y="23"/>
                  <a:pt x="19" y="23"/>
                  <a:pt x="19" y="23"/>
                </a:cubicBezTo>
                <a:cubicBezTo>
                  <a:pt x="20" y="23"/>
                  <a:pt x="20" y="23"/>
                  <a:pt x="20" y="23"/>
                </a:cubicBezTo>
                <a:cubicBezTo>
                  <a:pt x="21" y="24"/>
                  <a:pt x="22" y="24"/>
                  <a:pt x="23" y="24"/>
                </a:cubicBezTo>
                <a:cubicBezTo>
                  <a:pt x="24" y="23"/>
                  <a:pt x="24" y="23"/>
                  <a:pt x="25" y="22"/>
                </a:cubicBezTo>
                <a:cubicBezTo>
                  <a:pt x="27" y="22"/>
                  <a:pt x="28" y="23"/>
                  <a:pt x="29" y="24"/>
                </a:cubicBezTo>
                <a:cubicBezTo>
                  <a:pt x="29" y="24"/>
                  <a:pt x="29" y="24"/>
                  <a:pt x="29" y="24"/>
                </a:cubicBezTo>
                <a:cubicBezTo>
                  <a:pt x="29" y="24"/>
                  <a:pt x="29" y="24"/>
                  <a:pt x="29" y="24"/>
                </a:cubicBezTo>
                <a:cubicBezTo>
                  <a:pt x="30" y="24"/>
                  <a:pt x="30" y="24"/>
                  <a:pt x="30" y="24"/>
                </a:cubicBezTo>
                <a:cubicBezTo>
                  <a:pt x="30" y="24"/>
                  <a:pt x="30" y="25"/>
                  <a:pt x="30" y="25"/>
                </a:cubicBezTo>
                <a:cubicBezTo>
                  <a:pt x="30" y="25"/>
                  <a:pt x="30" y="25"/>
                  <a:pt x="30" y="25"/>
                </a:cubicBezTo>
                <a:cubicBezTo>
                  <a:pt x="31" y="25"/>
                  <a:pt x="31" y="25"/>
                  <a:pt x="31" y="25"/>
                </a:cubicBezTo>
                <a:cubicBezTo>
                  <a:pt x="31" y="26"/>
                  <a:pt x="32" y="26"/>
                  <a:pt x="33" y="26"/>
                </a:cubicBezTo>
                <a:cubicBezTo>
                  <a:pt x="33" y="27"/>
                  <a:pt x="33" y="27"/>
                  <a:pt x="33" y="27"/>
                </a:cubicBezTo>
                <a:cubicBezTo>
                  <a:pt x="33" y="27"/>
                  <a:pt x="34" y="27"/>
                  <a:pt x="34" y="28"/>
                </a:cubicBezTo>
                <a:cubicBezTo>
                  <a:pt x="34" y="28"/>
                  <a:pt x="34" y="28"/>
                  <a:pt x="34" y="28"/>
                </a:cubicBezTo>
                <a:cubicBezTo>
                  <a:pt x="34" y="28"/>
                  <a:pt x="34" y="28"/>
                  <a:pt x="34" y="28"/>
                </a:cubicBezTo>
                <a:cubicBezTo>
                  <a:pt x="35" y="28"/>
                  <a:pt x="35" y="28"/>
                  <a:pt x="35" y="28"/>
                </a:cubicBezTo>
                <a:cubicBezTo>
                  <a:pt x="36" y="28"/>
                  <a:pt x="36" y="28"/>
                  <a:pt x="36" y="28"/>
                </a:cubicBezTo>
                <a:cubicBezTo>
                  <a:pt x="38" y="28"/>
                  <a:pt x="40" y="27"/>
                  <a:pt x="42" y="27"/>
                </a:cubicBezTo>
                <a:cubicBezTo>
                  <a:pt x="43" y="27"/>
                  <a:pt x="43" y="27"/>
                  <a:pt x="44" y="27"/>
                </a:cubicBezTo>
                <a:cubicBezTo>
                  <a:pt x="45" y="27"/>
                  <a:pt x="45" y="27"/>
                  <a:pt x="45" y="27"/>
                </a:cubicBezTo>
                <a:cubicBezTo>
                  <a:pt x="46" y="27"/>
                  <a:pt x="46" y="27"/>
                  <a:pt x="46" y="27"/>
                </a:cubicBezTo>
                <a:cubicBezTo>
                  <a:pt x="46" y="27"/>
                  <a:pt x="46" y="27"/>
                  <a:pt x="47" y="27"/>
                </a:cubicBezTo>
                <a:cubicBezTo>
                  <a:pt x="47" y="27"/>
                  <a:pt x="47" y="27"/>
                  <a:pt x="47" y="27"/>
                </a:cubicBezTo>
                <a:cubicBezTo>
                  <a:pt x="47" y="27"/>
                  <a:pt x="47" y="27"/>
                  <a:pt x="47" y="27"/>
                </a:cubicBezTo>
                <a:cubicBezTo>
                  <a:pt x="47" y="26"/>
                  <a:pt x="47" y="26"/>
                  <a:pt x="47" y="26"/>
                </a:cubicBezTo>
                <a:cubicBezTo>
                  <a:pt x="49" y="26"/>
                  <a:pt x="49" y="26"/>
                  <a:pt x="49" y="26"/>
                </a:cubicBezTo>
                <a:cubicBezTo>
                  <a:pt x="50" y="26"/>
                  <a:pt x="50" y="25"/>
                  <a:pt x="50" y="25"/>
                </a:cubicBezTo>
                <a:cubicBezTo>
                  <a:pt x="51" y="24"/>
                  <a:pt x="51" y="24"/>
                  <a:pt x="51" y="24"/>
                </a:cubicBezTo>
                <a:cubicBezTo>
                  <a:pt x="52" y="24"/>
                  <a:pt x="53" y="24"/>
                  <a:pt x="54" y="24"/>
                </a:cubicBezTo>
                <a:cubicBezTo>
                  <a:pt x="55" y="24"/>
                  <a:pt x="56" y="25"/>
                  <a:pt x="56" y="25"/>
                </a:cubicBezTo>
                <a:cubicBezTo>
                  <a:pt x="57" y="26"/>
                  <a:pt x="57" y="26"/>
                  <a:pt x="57" y="26"/>
                </a:cubicBezTo>
                <a:cubicBezTo>
                  <a:pt x="57" y="26"/>
                  <a:pt x="57" y="26"/>
                  <a:pt x="58" y="26"/>
                </a:cubicBezTo>
                <a:cubicBezTo>
                  <a:pt x="58" y="27"/>
                  <a:pt x="58" y="27"/>
                  <a:pt x="59" y="27"/>
                </a:cubicBezTo>
                <a:cubicBezTo>
                  <a:pt x="60" y="27"/>
                  <a:pt x="62" y="28"/>
                  <a:pt x="64" y="28"/>
                </a:cubicBezTo>
                <a:cubicBezTo>
                  <a:pt x="64" y="28"/>
                  <a:pt x="65" y="28"/>
                  <a:pt x="65" y="28"/>
                </a:cubicBezTo>
                <a:cubicBezTo>
                  <a:pt x="65" y="27"/>
                  <a:pt x="65" y="27"/>
                  <a:pt x="65" y="27"/>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6" name="Freeform 3196">
            <a:extLst>
              <a:ext uri="{FF2B5EF4-FFF2-40B4-BE49-F238E27FC236}">
                <a16:creationId xmlns:a16="http://schemas.microsoft.com/office/drawing/2014/main" id="{412AE649-D67F-49EB-BF51-3ADD345B0453}"/>
              </a:ext>
            </a:extLst>
          </p:cNvPr>
          <p:cNvSpPr>
            <a:spLocks/>
          </p:cNvSpPr>
          <p:nvPr/>
        </p:nvSpPr>
        <p:spPr bwMode="auto">
          <a:xfrm>
            <a:off x="4077388" y="2916273"/>
            <a:ext cx="2478" cy="1187"/>
          </a:xfrm>
          <a:custGeom>
            <a:avLst/>
            <a:gdLst>
              <a:gd name="T0" fmla="*/ 0 w 2"/>
              <a:gd name="T1" fmla="*/ 0 h 1"/>
              <a:gd name="T2" fmla="*/ 0 w 2"/>
              <a:gd name="T3" fmla="*/ 0 h 1"/>
              <a:gd name="T4" fmla="*/ 0 w 2"/>
              <a:gd name="T5" fmla="*/ 1 h 1"/>
              <a:gd name="T6" fmla="*/ 1 w 2"/>
              <a:gd name="T7" fmla="*/ 1 h 1"/>
              <a:gd name="T8" fmla="*/ 2 w 2"/>
              <a:gd name="T9" fmla="*/ 1 h 1"/>
              <a:gd name="T10" fmla="*/ 2 w 2"/>
              <a:gd name="T11" fmla="*/ 1 h 1"/>
              <a:gd name="T12" fmla="*/ 2 w 2"/>
              <a:gd name="T13" fmla="*/ 1 h 1"/>
              <a:gd name="T14" fmla="*/ 1 w 2"/>
              <a:gd name="T15" fmla="*/ 0 h 1"/>
              <a:gd name="T16" fmla="*/ 0 w 2"/>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
                <a:moveTo>
                  <a:pt x="0" y="0"/>
                </a:moveTo>
                <a:cubicBezTo>
                  <a:pt x="0" y="0"/>
                  <a:pt x="0" y="0"/>
                  <a:pt x="0" y="0"/>
                </a:cubicBezTo>
                <a:cubicBezTo>
                  <a:pt x="0" y="1"/>
                  <a:pt x="0" y="1"/>
                  <a:pt x="0" y="1"/>
                </a:cubicBezTo>
                <a:cubicBezTo>
                  <a:pt x="1" y="1"/>
                  <a:pt x="1" y="1"/>
                  <a:pt x="1" y="1"/>
                </a:cubicBezTo>
                <a:cubicBezTo>
                  <a:pt x="1" y="1"/>
                  <a:pt x="1" y="1"/>
                  <a:pt x="2" y="1"/>
                </a:cubicBezTo>
                <a:cubicBezTo>
                  <a:pt x="2" y="1"/>
                  <a:pt x="2" y="1"/>
                  <a:pt x="2" y="1"/>
                </a:cubicBezTo>
                <a:cubicBezTo>
                  <a:pt x="2" y="1"/>
                  <a:pt x="2" y="1"/>
                  <a:pt x="2" y="1"/>
                </a:cubicBezTo>
                <a:cubicBezTo>
                  <a:pt x="1" y="0"/>
                  <a:pt x="1" y="0"/>
                  <a:pt x="1" y="0"/>
                </a:cubicBezTo>
                <a:cubicBezTo>
                  <a:pt x="1"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7" name="Freeform 3197">
            <a:extLst>
              <a:ext uri="{FF2B5EF4-FFF2-40B4-BE49-F238E27FC236}">
                <a16:creationId xmlns:a16="http://schemas.microsoft.com/office/drawing/2014/main" id="{B893943A-EE8B-4947-AA59-B068E21FB0BF}"/>
              </a:ext>
            </a:extLst>
          </p:cNvPr>
          <p:cNvSpPr>
            <a:spLocks/>
          </p:cNvSpPr>
          <p:nvPr/>
        </p:nvSpPr>
        <p:spPr bwMode="auto">
          <a:xfrm>
            <a:off x="4077388" y="2916273"/>
            <a:ext cx="2478" cy="1187"/>
          </a:xfrm>
          <a:custGeom>
            <a:avLst/>
            <a:gdLst>
              <a:gd name="T0" fmla="*/ 0 w 2"/>
              <a:gd name="T1" fmla="*/ 0 h 1"/>
              <a:gd name="T2" fmla="*/ 0 w 2"/>
              <a:gd name="T3" fmla="*/ 0 h 1"/>
              <a:gd name="T4" fmla="*/ 0 w 2"/>
              <a:gd name="T5" fmla="*/ 1 h 1"/>
              <a:gd name="T6" fmla="*/ 1 w 2"/>
              <a:gd name="T7" fmla="*/ 1 h 1"/>
              <a:gd name="T8" fmla="*/ 2 w 2"/>
              <a:gd name="T9" fmla="*/ 1 h 1"/>
              <a:gd name="T10" fmla="*/ 2 w 2"/>
              <a:gd name="T11" fmla="*/ 1 h 1"/>
              <a:gd name="T12" fmla="*/ 2 w 2"/>
              <a:gd name="T13" fmla="*/ 1 h 1"/>
              <a:gd name="T14" fmla="*/ 1 w 2"/>
              <a:gd name="T15" fmla="*/ 0 h 1"/>
              <a:gd name="T16" fmla="*/ 0 w 2"/>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
                <a:moveTo>
                  <a:pt x="0" y="0"/>
                </a:moveTo>
                <a:cubicBezTo>
                  <a:pt x="0" y="0"/>
                  <a:pt x="0" y="0"/>
                  <a:pt x="0" y="0"/>
                </a:cubicBezTo>
                <a:cubicBezTo>
                  <a:pt x="0" y="1"/>
                  <a:pt x="0" y="1"/>
                  <a:pt x="0" y="1"/>
                </a:cubicBezTo>
                <a:cubicBezTo>
                  <a:pt x="1" y="1"/>
                  <a:pt x="1" y="1"/>
                  <a:pt x="1" y="1"/>
                </a:cubicBezTo>
                <a:cubicBezTo>
                  <a:pt x="1" y="1"/>
                  <a:pt x="1" y="1"/>
                  <a:pt x="2" y="1"/>
                </a:cubicBezTo>
                <a:cubicBezTo>
                  <a:pt x="2" y="1"/>
                  <a:pt x="2" y="1"/>
                  <a:pt x="2" y="1"/>
                </a:cubicBezTo>
                <a:cubicBezTo>
                  <a:pt x="2" y="1"/>
                  <a:pt x="2" y="1"/>
                  <a:pt x="2" y="1"/>
                </a:cubicBezTo>
                <a:cubicBezTo>
                  <a:pt x="1" y="0"/>
                  <a:pt x="1" y="0"/>
                  <a:pt x="1" y="0"/>
                </a:cubicBezTo>
                <a:cubicBezTo>
                  <a:pt x="1"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8" name="Freeform 3198">
            <a:extLst>
              <a:ext uri="{FF2B5EF4-FFF2-40B4-BE49-F238E27FC236}">
                <a16:creationId xmlns:a16="http://schemas.microsoft.com/office/drawing/2014/main" id="{0A0AF08B-D67D-4F8D-BCE9-535A7FDAFDDA}"/>
              </a:ext>
            </a:extLst>
          </p:cNvPr>
          <p:cNvSpPr>
            <a:spLocks/>
          </p:cNvSpPr>
          <p:nvPr/>
        </p:nvSpPr>
        <p:spPr bwMode="auto">
          <a:xfrm>
            <a:off x="4127936" y="288540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19" name="Freeform 3199">
            <a:extLst>
              <a:ext uri="{FF2B5EF4-FFF2-40B4-BE49-F238E27FC236}">
                <a16:creationId xmlns:a16="http://schemas.microsoft.com/office/drawing/2014/main" id="{FA49D530-3519-4A11-80AA-60F3AE86D974}"/>
              </a:ext>
            </a:extLst>
          </p:cNvPr>
          <p:cNvSpPr>
            <a:spLocks/>
          </p:cNvSpPr>
          <p:nvPr/>
        </p:nvSpPr>
        <p:spPr bwMode="auto">
          <a:xfrm>
            <a:off x="3929711" y="304389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0" name="Freeform 3200">
            <a:extLst>
              <a:ext uri="{FF2B5EF4-FFF2-40B4-BE49-F238E27FC236}">
                <a16:creationId xmlns:a16="http://schemas.microsoft.com/office/drawing/2014/main" id="{75211AD1-9B06-4467-9E2A-6DE21AF6B375}"/>
              </a:ext>
            </a:extLst>
          </p:cNvPr>
          <p:cNvSpPr>
            <a:spLocks/>
          </p:cNvSpPr>
          <p:nvPr/>
        </p:nvSpPr>
        <p:spPr bwMode="auto">
          <a:xfrm>
            <a:off x="3925251" y="303558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1" name="Freeform 3201">
            <a:extLst>
              <a:ext uri="{FF2B5EF4-FFF2-40B4-BE49-F238E27FC236}">
                <a16:creationId xmlns:a16="http://schemas.microsoft.com/office/drawing/2014/main" id="{E3A9F1FB-2C98-4C9D-9C5E-BC298B493753}"/>
              </a:ext>
            </a:extLst>
          </p:cNvPr>
          <p:cNvSpPr>
            <a:spLocks/>
          </p:cNvSpPr>
          <p:nvPr/>
        </p:nvSpPr>
        <p:spPr bwMode="auto">
          <a:xfrm>
            <a:off x="3756265" y="2748879"/>
            <a:ext cx="8425" cy="5936"/>
          </a:xfrm>
          <a:custGeom>
            <a:avLst/>
            <a:gdLst>
              <a:gd name="T0" fmla="*/ 4 w 7"/>
              <a:gd name="T1" fmla="*/ 4 h 4"/>
              <a:gd name="T2" fmla="*/ 3 w 7"/>
              <a:gd name="T3" fmla="*/ 3 h 4"/>
              <a:gd name="T4" fmla="*/ 0 w 7"/>
              <a:gd name="T5" fmla="*/ 3 h 4"/>
              <a:gd name="T6" fmla="*/ 0 w 7"/>
              <a:gd name="T7" fmla="*/ 1 h 4"/>
              <a:gd name="T8" fmla="*/ 2 w 7"/>
              <a:gd name="T9" fmla="*/ 1 h 4"/>
              <a:gd name="T10" fmla="*/ 6 w 7"/>
              <a:gd name="T11" fmla="*/ 3 h 4"/>
              <a:gd name="T12" fmla="*/ 7 w 7"/>
              <a:gd name="T13" fmla="*/ 3 h 4"/>
              <a:gd name="T14" fmla="*/ 4 w 7"/>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4">
                <a:moveTo>
                  <a:pt x="4" y="4"/>
                </a:moveTo>
                <a:cubicBezTo>
                  <a:pt x="3" y="4"/>
                  <a:pt x="4" y="4"/>
                  <a:pt x="3" y="3"/>
                </a:cubicBezTo>
                <a:cubicBezTo>
                  <a:pt x="2" y="2"/>
                  <a:pt x="1" y="3"/>
                  <a:pt x="0" y="3"/>
                </a:cubicBezTo>
                <a:cubicBezTo>
                  <a:pt x="0" y="2"/>
                  <a:pt x="0" y="2"/>
                  <a:pt x="0" y="1"/>
                </a:cubicBezTo>
                <a:cubicBezTo>
                  <a:pt x="1" y="0"/>
                  <a:pt x="1" y="1"/>
                  <a:pt x="2" y="1"/>
                </a:cubicBezTo>
                <a:cubicBezTo>
                  <a:pt x="3" y="2"/>
                  <a:pt x="5" y="2"/>
                  <a:pt x="6" y="3"/>
                </a:cubicBezTo>
                <a:cubicBezTo>
                  <a:pt x="6" y="3"/>
                  <a:pt x="7" y="3"/>
                  <a:pt x="7" y="3"/>
                </a:cubicBezTo>
                <a:cubicBezTo>
                  <a:pt x="6" y="3"/>
                  <a:pt x="5" y="4"/>
                  <a:pt x="4" y="4"/>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2" name="Freeform 3202">
            <a:extLst>
              <a:ext uri="{FF2B5EF4-FFF2-40B4-BE49-F238E27FC236}">
                <a16:creationId xmlns:a16="http://schemas.microsoft.com/office/drawing/2014/main" id="{0BF5B313-BAB2-4E09-907D-7909926305E0}"/>
              </a:ext>
            </a:extLst>
          </p:cNvPr>
          <p:cNvSpPr>
            <a:spLocks noEditPoints="1"/>
          </p:cNvSpPr>
          <p:nvPr/>
        </p:nvSpPr>
        <p:spPr bwMode="auto">
          <a:xfrm>
            <a:off x="3669542" y="2325053"/>
            <a:ext cx="1948544" cy="806102"/>
          </a:xfrm>
          <a:custGeom>
            <a:avLst/>
            <a:gdLst>
              <a:gd name="T0" fmla="*/ 1434 w 1663"/>
              <a:gd name="T1" fmla="*/ 160 h 574"/>
              <a:gd name="T2" fmla="*/ 1171 w 1663"/>
              <a:gd name="T3" fmla="*/ 103 h 574"/>
              <a:gd name="T4" fmla="*/ 1049 w 1663"/>
              <a:gd name="T5" fmla="*/ 136 h 574"/>
              <a:gd name="T6" fmla="*/ 1031 w 1663"/>
              <a:gd name="T7" fmla="*/ 114 h 574"/>
              <a:gd name="T8" fmla="*/ 1036 w 1663"/>
              <a:gd name="T9" fmla="*/ 94 h 574"/>
              <a:gd name="T10" fmla="*/ 985 w 1663"/>
              <a:gd name="T11" fmla="*/ 83 h 574"/>
              <a:gd name="T12" fmla="*/ 923 w 1663"/>
              <a:gd name="T13" fmla="*/ 86 h 574"/>
              <a:gd name="T14" fmla="*/ 853 w 1663"/>
              <a:gd name="T15" fmla="*/ 78 h 574"/>
              <a:gd name="T16" fmla="*/ 846 w 1663"/>
              <a:gd name="T17" fmla="*/ 68 h 574"/>
              <a:gd name="T18" fmla="*/ 867 w 1663"/>
              <a:gd name="T19" fmla="*/ 40 h 574"/>
              <a:gd name="T20" fmla="*/ 870 w 1663"/>
              <a:gd name="T21" fmla="*/ 33 h 574"/>
              <a:gd name="T22" fmla="*/ 833 w 1663"/>
              <a:gd name="T23" fmla="*/ 22 h 574"/>
              <a:gd name="T24" fmla="*/ 797 w 1663"/>
              <a:gd name="T25" fmla="*/ 17 h 574"/>
              <a:gd name="T26" fmla="*/ 780 w 1663"/>
              <a:gd name="T27" fmla="*/ 0 h 574"/>
              <a:gd name="T28" fmla="*/ 751 w 1663"/>
              <a:gd name="T29" fmla="*/ 26 h 574"/>
              <a:gd name="T30" fmla="*/ 734 w 1663"/>
              <a:gd name="T31" fmla="*/ 31 h 574"/>
              <a:gd name="T32" fmla="*/ 695 w 1663"/>
              <a:gd name="T33" fmla="*/ 40 h 574"/>
              <a:gd name="T34" fmla="*/ 623 w 1663"/>
              <a:gd name="T35" fmla="*/ 52 h 574"/>
              <a:gd name="T36" fmla="*/ 598 w 1663"/>
              <a:gd name="T37" fmla="*/ 62 h 574"/>
              <a:gd name="T38" fmla="*/ 606 w 1663"/>
              <a:gd name="T39" fmla="*/ 71 h 574"/>
              <a:gd name="T40" fmla="*/ 539 w 1663"/>
              <a:gd name="T41" fmla="*/ 91 h 574"/>
              <a:gd name="T42" fmla="*/ 554 w 1663"/>
              <a:gd name="T43" fmla="*/ 123 h 574"/>
              <a:gd name="T44" fmla="*/ 514 w 1663"/>
              <a:gd name="T45" fmla="*/ 130 h 574"/>
              <a:gd name="T46" fmla="*/ 514 w 1663"/>
              <a:gd name="T47" fmla="*/ 134 h 574"/>
              <a:gd name="T48" fmla="*/ 487 w 1663"/>
              <a:gd name="T49" fmla="*/ 121 h 574"/>
              <a:gd name="T50" fmla="*/ 484 w 1663"/>
              <a:gd name="T51" fmla="*/ 101 h 574"/>
              <a:gd name="T52" fmla="*/ 471 w 1663"/>
              <a:gd name="T53" fmla="*/ 156 h 574"/>
              <a:gd name="T54" fmla="*/ 512 w 1663"/>
              <a:gd name="T55" fmla="*/ 175 h 574"/>
              <a:gd name="T56" fmla="*/ 521 w 1663"/>
              <a:gd name="T57" fmla="*/ 196 h 574"/>
              <a:gd name="T58" fmla="*/ 500 w 1663"/>
              <a:gd name="T59" fmla="*/ 173 h 574"/>
              <a:gd name="T60" fmla="*/ 462 w 1663"/>
              <a:gd name="T61" fmla="*/ 214 h 574"/>
              <a:gd name="T62" fmla="*/ 440 w 1663"/>
              <a:gd name="T63" fmla="*/ 212 h 574"/>
              <a:gd name="T64" fmla="*/ 460 w 1663"/>
              <a:gd name="T65" fmla="*/ 172 h 574"/>
              <a:gd name="T66" fmla="*/ 454 w 1663"/>
              <a:gd name="T67" fmla="*/ 129 h 574"/>
              <a:gd name="T68" fmla="*/ 429 w 1663"/>
              <a:gd name="T69" fmla="*/ 100 h 574"/>
              <a:gd name="T70" fmla="*/ 413 w 1663"/>
              <a:gd name="T71" fmla="*/ 126 h 574"/>
              <a:gd name="T72" fmla="*/ 406 w 1663"/>
              <a:gd name="T73" fmla="*/ 142 h 574"/>
              <a:gd name="T74" fmla="*/ 411 w 1663"/>
              <a:gd name="T75" fmla="*/ 163 h 574"/>
              <a:gd name="T76" fmla="*/ 424 w 1663"/>
              <a:gd name="T77" fmla="*/ 176 h 574"/>
              <a:gd name="T78" fmla="*/ 266 w 1663"/>
              <a:gd name="T79" fmla="*/ 174 h 574"/>
              <a:gd name="T80" fmla="*/ 111 w 1663"/>
              <a:gd name="T81" fmla="*/ 245 h 574"/>
              <a:gd name="T82" fmla="*/ 59 w 1663"/>
              <a:gd name="T83" fmla="*/ 168 h 574"/>
              <a:gd name="T84" fmla="*/ 26 w 1663"/>
              <a:gd name="T85" fmla="*/ 295 h 574"/>
              <a:gd name="T86" fmla="*/ 25 w 1663"/>
              <a:gd name="T87" fmla="*/ 381 h 574"/>
              <a:gd name="T88" fmla="*/ 128 w 1663"/>
              <a:gd name="T89" fmla="*/ 480 h 574"/>
              <a:gd name="T90" fmla="*/ 202 w 1663"/>
              <a:gd name="T91" fmla="*/ 525 h 574"/>
              <a:gd name="T92" fmla="*/ 213 w 1663"/>
              <a:gd name="T93" fmla="*/ 464 h 574"/>
              <a:gd name="T94" fmla="*/ 297 w 1663"/>
              <a:gd name="T95" fmla="*/ 448 h 574"/>
              <a:gd name="T96" fmla="*/ 344 w 1663"/>
              <a:gd name="T97" fmla="*/ 420 h 574"/>
              <a:gd name="T98" fmla="*/ 403 w 1663"/>
              <a:gd name="T99" fmla="*/ 396 h 574"/>
              <a:gd name="T100" fmla="*/ 512 w 1663"/>
              <a:gd name="T101" fmla="*/ 398 h 574"/>
              <a:gd name="T102" fmla="*/ 596 w 1663"/>
              <a:gd name="T103" fmla="*/ 468 h 574"/>
              <a:gd name="T104" fmla="*/ 705 w 1663"/>
              <a:gd name="T105" fmla="*/ 463 h 574"/>
              <a:gd name="T106" fmla="*/ 823 w 1663"/>
              <a:gd name="T107" fmla="*/ 464 h 574"/>
              <a:gd name="T108" fmla="*/ 995 w 1663"/>
              <a:gd name="T109" fmla="*/ 419 h 574"/>
              <a:gd name="T110" fmla="*/ 1098 w 1663"/>
              <a:gd name="T111" fmla="*/ 483 h 574"/>
              <a:gd name="T112" fmla="*/ 1105 w 1663"/>
              <a:gd name="T113" fmla="*/ 538 h 574"/>
              <a:gd name="T114" fmla="*/ 1215 w 1663"/>
              <a:gd name="T115" fmla="*/ 330 h 574"/>
              <a:gd name="T116" fmla="*/ 1389 w 1663"/>
              <a:gd name="T117" fmla="*/ 281 h 574"/>
              <a:gd name="T118" fmla="*/ 1382 w 1663"/>
              <a:gd name="T119" fmla="*/ 366 h 574"/>
              <a:gd name="T120" fmla="*/ 1544 w 1663"/>
              <a:gd name="T121" fmla="*/ 265 h 574"/>
              <a:gd name="T122" fmla="*/ 1637 w 1663"/>
              <a:gd name="T123" fmla="*/ 233 h 574"/>
              <a:gd name="T124" fmla="*/ 840 w 1663"/>
              <a:gd name="T125" fmla="*/ 394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3" h="574">
                <a:moveTo>
                  <a:pt x="1660" y="222"/>
                </a:moveTo>
                <a:cubicBezTo>
                  <a:pt x="1659" y="222"/>
                  <a:pt x="1658" y="222"/>
                  <a:pt x="1658" y="222"/>
                </a:cubicBezTo>
                <a:cubicBezTo>
                  <a:pt x="1659" y="220"/>
                  <a:pt x="1655" y="219"/>
                  <a:pt x="1654" y="219"/>
                </a:cubicBezTo>
                <a:cubicBezTo>
                  <a:pt x="1653" y="218"/>
                  <a:pt x="1652" y="217"/>
                  <a:pt x="1652" y="217"/>
                </a:cubicBezTo>
                <a:cubicBezTo>
                  <a:pt x="1651" y="216"/>
                  <a:pt x="1649" y="215"/>
                  <a:pt x="1648" y="215"/>
                </a:cubicBezTo>
                <a:cubicBezTo>
                  <a:pt x="1646" y="212"/>
                  <a:pt x="1644" y="210"/>
                  <a:pt x="1641" y="209"/>
                </a:cubicBezTo>
                <a:cubicBezTo>
                  <a:pt x="1640" y="208"/>
                  <a:pt x="1640" y="208"/>
                  <a:pt x="1639" y="208"/>
                </a:cubicBezTo>
                <a:cubicBezTo>
                  <a:pt x="1639" y="208"/>
                  <a:pt x="1638" y="208"/>
                  <a:pt x="1638" y="208"/>
                </a:cubicBezTo>
                <a:cubicBezTo>
                  <a:pt x="1635" y="208"/>
                  <a:pt x="1632" y="207"/>
                  <a:pt x="1629" y="207"/>
                </a:cubicBezTo>
                <a:cubicBezTo>
                  <a:pt x="1630" y="207"/>
                  <a:pt x="1632" y="207"/>
                  <a:pt x="1634" y="208"/>
                </a:cubicBezTo>
                <a:cubicBezTo>
                  <a:pt x="1636" y="209"/>
                  <a:pt x="1633" y="209"/>
                  <a:pt x="1632" y="209"/>
                </a:cubicBezTo>
                <a:cubicBezTo>
                  <a:pt x="1631" y="208"/>
                  <a:pt x="1628" y="207"/>
                  <a:pt x="1627" y="208"/>
                </a:cubicBezTo>
                <a:cubicBezTo>
                  <a:pt x="1626" y="208"/>
                  <a:pt x="1626" y="210"/>
                  <a:pt x="1625" y="210"/>
                </a:cubicBezTo>
                <a:cubicBezTo>
                  <a:pt x="1625" y="209"/>
                  <a:pt x="1625" y="209"/>
                  <a:pt x="1626" y="208"/>
                </a:cubicBezTo>
                <a:cubicBezTo>
                  <a:pt x="1626" y="207"/>
                  <a:pt x="1627" y="207"/>
                  <a:pt x="1627" y="206"/>
                </a:cubicBezTo>
                <a:cubicBezTo>
                  <a:pt x="1627" y="206"/>
                  <a:pt x="1624" y="206"/>
                  <a:pt x="1624" y="206"/>
                </a:cubicBezTo>
                <a:cubicBezTo>
                  <a:pt x="1623" y="206"/>
                  <a:pt x="1622" y="206"/>
                  <a:pt x="1622" y="206"/>
                </a:cubicBezTo>
                <a:cubicBezTo>
                  <a:pt x="1621" y="206"/>
                  <a:pt x="1620" y="206"/>
                  <a:pt x="1620" y="206"/>
                </a:cubicBezTo>
                <a:cubicBezTo>
                  <a:pt x="1618" y="206"/>
                  <a:pt x="1614" y="205"/>
                  <a:pt x="1612" y="206"/>
                </a:cubicBezTo>
                <a:cubicBezTo>
                  <a:pt x="1613" y="207"/>
                  <a:pt x="1614" y="206"/>
                  <a:pt x="1614" y="206"/>
                </a:cubicBezTo>
                <a:cubicBezTo>
                  <a:pt x="1614" y="207"/>
                  <a:pt x="1613" y="207"/>
                  <a:pt x="1613" y="207"/>
                </a:cubicBezTo>
                <a:cubicBezTo>
                  <a:pt x="1614" y="207"/>
                  <a:pt x="1615" y="206"/>
                  <a:pt x="1616" y="207"/>
                </a:cubicBezTo>
                <a:cubicBezTo>
                  <a:pt x="1616" y="207"/>
                  <a:pt x="1616" y="208"/>
                  <a:pt x="1616" y="208"/>
                </a:cubicBezTo>
                <a:cubicBezTo>
                  <a:pt x="1617" y="208"/>
                  <a:pt x="1617" y="207"/>
                  <a:pt x="1618" y="209"/>
                </a:cubicBezTo>
                <a:cubicBezTo>
                  <a:pt x="1618" y="209"/>
                  <a:pt x="1618" y="210"/>
                  <a:pt x="1618" y="211"/>
                </a:cubicBezTo>
                <a:cubicBezTo>
                  <a:pt x="1619" y="211"/>
                  <a:pt x="1619" y="212"/>
                  <a:pt x="1619" y="213"/>
                </a:cubicBezTo>
                <a:cubicBezTo>
                  <a:pt x="1618" y="214"/>
                  <a:pt x="1617" y="214"/>
                  <a:pt x="1616" y="214"/>
                </a:cubicBezTo>
                <a:cubicBezTo>
                  <a:pt x="1615" y="215"/>
                  <a:pt x="1616" y="215"/>
                  <a:pt x="1617" y="215"/>
                </a:cubicBezTo>
                <a:cubicBezTo>
                  <a:pt x="1618" y="216"/>
                  <a:pt x="1619" y="216"/>
                  <a:pt x="1620" y="216"/>
                </a:cubicBezTo>
                <a:cubicBezTo>
                  <a:pt x="1621" y="217"/>
                  <a:pt x="1622" y="217"/>
                  <a:pt x="1621" y="218"/>
                </a:cubicBezTo>
                <a:cubicBezTo>
                  <a:pt x="1621" y="219"/>
                  <a:pt x="1620" y="218"/>
                  <a:pt x="1619" y="219"/>
                </a:cubicBezTo>
                <a:cubicBezTo>
                  <a:pt x="1619" y="219"/>
                  <a:pt x="1619" y="221"/>
                  <a:pt x="1618" y="221"/>
                </a:cubicBezTo>
                <a:cubicBezTo>
                  <a:pt x="1619" y="220"/>
                  <a:pt x="1619" y="217"/>
                  <a:pt x="1618" y="217"/>
                </a:cubicBezTo>
                <a:cubicBezTo>
                  <a:pt x="1618" y="216"/>
                  <a:pt x="1617" y="217"/>
                  <a:pt x="1616" y="217"/>
                </a:cubicBezTo>
                <a:cubicBezTo>
                  <a:pt x="1617" y="218"/>
                  <a:pt x="1615" y="219"/>
                  <a:pt x="1614" y="219"/>
                </a:cubicBezTo>
                <a:cubicBezTo>
                  <a:pt x="1614" y="219"/>
                  <a:pt x="1614" y="217"/>
                  <a:pt x="1614" y="216"/>
                </a:cubicBezTo>
                <a:cubicBezTo>
                  <a:pt x="1613" y="215"/>
                  <a:pt x="1610" y="214"/>
                  <a:pt x="1608" y="213"/>
                </a:cubicBezTo>
                <a:cubicBezTo>
                  <a:pt x="1609" y="213"/>
                  <a:pt x="1609" y="213"/>
                  <a:pt x="1609" y="213"/>
                </a:cubicBezTo>
                <a:cubicBezTo>
                  <a:pt x="1610" y="213"/>
                  <a:pt x="1611" y="212"/>
                  <a:pt x="1610" y="212"/>
                </a:cubicBezTo>
                <a:cubicBezTo>
                  <a:pt x="1612" y="210"/>
                  <a:pt x="1609" y="208"/>
                  <a:pt x="1609" y="206"/>
                </a:cubicBezTo>
                <a:cubicBezTo>
                  <a:pt x="1609" y="205"/>
                  <a:pt x="1610" y="203"/>
                  <a:pt x="1610" y="201"/>
                </a:cubicBezTo>
                <a:cubicBezTo>
                  <a:pt x="1610" y="201"/>
                  <a:pt x="1609" y="200"/>
                  <a:pt x="1608" y="199"/>
                </a:cubicBezTo>
                <a:cubicBezTo>
                  <a:pt x="1609" y="201"/>
                  <a:pt x="1606" y="202"/>
                  <a:pt x="1605" y="201"/>
                </a:cubicBezTo>
                <a:cubicBezTo>
                  <a:pt x="1606" y="200"/>
                  <a:pt x="1606" y="198"/>
                  <a:pt x="1605" y="196"/>
                </a:cubicBezTo>
                <a:cubicBezTo>
                  <a:pt x="1605" y="195"/>
                  <a:pt x="1603" y="195"/>
                  <a:pt x="1602" y="194"/>
                </a:cubicBezTo>
                <a:cubicBezTo>
                  <a:pt x="1600" y="193"/>
                  <a:pt x="1597" y="192"/>
                  <a:pt x="1595" y="191"/>
                </a:cubicBezTo>
                <a:cubicBezTo>
                  <a:pt x="1593" y="190"/>
                  <a:pt x="1591" y="189"/>
                  <a:pt x="1589" y="188"/>
                </a:cubicBezTo>
                <a:cubicBezTo>
                  <a:pt x="1588" y="188"/>
                  <a:pt x="1587" y="187"/>
                  <a:pt x="1586" y="187"/>
                </a:cubicBezTo>
                <a:cubicBezTo>
                  <a:pt x="1585" y="186"/>
                  <a:pt x="1584" y="186"/>
                  <a:pt x="1582" y="186"/>
                </a:cubicBezTo>
                <a:cubicBezTo>
                  <a:pt x="1582" y="186"/>
                  <a:pt x="1581" y="186"/>
                  <a:pt x="1580" y="186"/>
                </a:cubicBezTo>
                <a:cubicBezTo>
                  <a:pt x="1581" y="186"/>
                  <a:pt x="1582" y="186"/>
                  <a:pt x="1583" y="185"/>
                </a:cubicBezTo>
                <a:cubicBezTo>
                  <a:pt x="1582" y="185"/>
                  <a:pt x="1580" y="184"/>
                  <a:pt x="1579" y="183"/>
                </a:cubicBezTo>
                <a:cubicBezTo>
                  <a:pt x="1577" y="182"/>
                  <a:pt x="1576" y="181"/>
                  <a:pt x="1574" y="181"/>
                </a:cubicBezTo>
                <a:cubicBezTo>
                  <a:pt x="1576" y="182"/>
                  <a:pt x="1579" y="183"/>
                  <a:pt x="1581" y="184"/>
                </a:cubicBezTo>
                <a:cubicBezTo>
                  <a:pt x="1578" y="183"/>
                  <a:pt x="1576" y="183"/>
                  <a:pt x="1573" y="182"/>
                </a:cubicBezTo>
                <a:cubicBezTo>
                  <a:pt x="1572" y="181"/>
                  <a:pt x="1571" y="181"/>
                  <a:pt x="1570" y="181"/>
                </a:cubicBezTo>
                <a:cubicBezTo>
                  <a:pt x="1570" y="181"/>
                  <a:pt x="1569" y="179"/>
                  <a:pt x="1569" y="179"/>
                </a:cubicBezTo>
                <a:cubicBezTo>
                  <a:pt x="1568" y="177"/>
                  <a:pt x="1566" y="176"/>
                  <a:pt x="1564" y="174"/>
                </a:cubicBezTo>
                <a:cubicBezTo>
                  <a:pt x="1562" y="173"/>
                  <a:pt x="1559" y="173"/>
                  <a:pt x="1557" y="173"/>
                </a:cubicBezTo>
                <a:cubicBezTo>
                  <a:pt x="1552" y="170"/>
                  <a:pt x="1546" y="167"/>
                  <a:pt x="1540" y="164"/>
                </a:cubicBezTo>
                <a:cubicBezTo>
                  <a:pt x="1538" y="163"/>
                  <a:pt x="1535" y="163"/>
                  <a:pt x="1533" y="162"/>
                </a:cubicBezTo>
                <a:cubicBezTo>
                  <a:pt x="1531" y="162"/>
                  <a:pt x="1529" y="162"/>
                  <a:pt x="1527" y="161"/>
                </a:cubicBezTo>
                <a:cubicBezTo>
                  <a:pt x="1526" y="161"/>
                  <a:pt x="1525" y="161"/>
                  <a:pt x="1524" y="160"/>
                </a:cubicBezTo>
                <a:cubicBezTo>
                  <a:pt x="1522" y="159"/>
                  <a:pt x="1519" y="157"/>
                  <a:pt x="1517" y="156"/>
                </a:cubicBezTo>
                <a:cubicBezTo>
                  <a:pt x="1515" y="156"/>
                  <a:pt x="1514" y="156"/>
                  <a:pt x="1513" y="156"/>
                </a:cubicBezTo>
                <a:cubicBezTo>
                  <a:pt x="1511" y="156"/>
                  <a:pt x="1511" y="157"/>
                  <a:pt x="1509" y="157"/>
                </a:cubicBezTo>
                <a:cubicBezTo>
                  <a:pt x="1507" y="157"/>
                  <a:pt x="1504" y="157"/>
                  <a:pt x="1502" y="157"/>
                </a:cubicBezTo>
                <a:cubicBezTo>
                  <a:pt x="1498" y="156"/>
                  <a:pt x="1495" y="156"/>
                  <a:pt x="1491" y="155"/>
                </a:cubicBezTo>
                <a:cubicBezTo>
                  <a:pt x="1490" y="155"/>
                  <a:pt x="1489" y="156"/>
                  <a:pt x="1488" y="156"/>
                </a:cubicBezTo>
                <a:cubicBezTo>
                  <a:pt x="1488" y="156"/>
                  <a:pt x="1490" y="156"/>
                  <a:pt x="1490" y="157"/>
                </a:cubicBezTo>
                <a:cubicBezTo>
                  <a:pt x="1490" y="157"/>
                  <a:pt x="1489" y="158"/>
                  <a:pt x="1489" y="158"/>
                </a:cubicBezTo>
                <a:cubicBezTo>
                  <a:pt x="1488" y="159"/>
                  <a:pt x="1488" y="159"/>
                  <a:pt x="1487" y="158"/>
                </a:cubicBezTo>
                <a:cubicBezTo>
                  <a:pt x="1486" y="157"/>
                  <a:pt x="1485" y="156"/>
                  <a:pt x="1484" y="155"/>
                </a:cubicBezTo>
                <a:cubicBezTo>
                  <a:pt x="1483" y="155"/>
                  <a:pt x="1483" y="155"/>
                  <a:pt x="1482" y="155"/>
                </a:cubicBezTo>
                <a:cubicBezTo>
                  <a:pt x="1475" y="154"/>
                  <a:pt x="1468" y="153"/>
                  <a:pt x="1461" y="152"/>
                </a:cubicBezTo>
                <a:cubicBezTo>
                  <a:pt x="1461" y="152"/>
                  <a:pt x="1460" y="152"/>
                  <a:pt x="1459" y="152"/>
                </a:cubicBezTo>
                <a:cubicBezTo>
                  <a:pt x="1459" y="153"/>
                  <a:pt x="1461" y="153"/>
                  <a:pt x="1461" y="153"/>
                </a:cubicBezTo>
                <a:cubicBezTo>
                  <a:pt x="1461" y="153"/>
                  <a:pt x="1461" y="155"/>
                  <a:pt x="1461" y="155"/>
                </a:cubicBezTo>
                <a:cubicBezTo>
                  <a:pt x="1461" y="156"/>
                  <a:pt x="1461" y="156"/>
                  <a:pt x="1461" y="157"/>
                </a:cubicBezTo>
                <a:cubicBezTo>
                  <a:pt x="1461" y="158"/>
                  <a:pt x="1459" y="159"/>
                  <a:pt x="1459" y="159"/>
                </a:cubicBezTo>
                <a:cubicBezTo>
                  <a:pt x="1458" y="160"/>
                  <a:pt x="1456" y="161"/>
                  <a:pt x="1457" y="162"/>
                </a:cubicBezTo>
                <a:cubicBezTo>
                  <a:pt x="1458" y="163"/>
                  <a:pt x="1460" y="161"/>
                  <a:pt x="1461" y="162"/>
                </a:cubicBezTo>
                <a:cubicBezTo>
                  <a:pt x="1462" y="162"/>
                  <a:pt x="1462" y="163"/>
                  <a:pt x="1462" y="164"/>
                </a:cubicBezTo>
                <a:cubicBezTo>
                  <a:pt x="1463" y="165"/>
                  <a:pt x="1463" y="165"/>
                  <a:pt x="1464" y="166"/>
                </a:cubicBezTo>
                <a:cubicBezTo>
                  <a:pt x="1464" y="167"/>
                  <a:pt x="1465" y="167"/>
                  <a:pt x="1465" y="168"/>
                </a:cubicBezTo>
                <a:cubicBezTo>
                  <a:pt x="1465" y="169"/>
                  <a:pt x="1464" y="169"/>
                  <a:pt x="1464" y="169"/>
                </a:cubicBezTo>
                <a:cubicBezTo>
                  <a:pt x="1465" y="170"/>
                  <a:pt x="1465" y="170"/>
                  <a:pt x="1465" y="170"/>
                </a:cubicBezTo>
                <a:cubicBezTo>
                  <a:pt x="1466" y="171"/>
                  <a:pt x="1465" y="172"/>
                  <a:pt x="1464" y="173"/>
                </a:cubicBezTo>
                <a:cubicBezTo>
                  <a:pt x="1462" y="174"/>
                  <a:pt x="1462" y="174"/>
                  <a:pt x="1463" y="176"/>
                </a:cubicBezTo>
                <a:cubicBezTo>
                  <a:pt x="1462" y="175"/>
                  <a:pt x="1461" y="175"/>
                  <a:pt x="1460" y="175"/>
                </a:cubicBezTo>
                <a:cubicBezTo>
                  <a:pt x="1460" y="176"/>
                  <a:pt x="1461" y="176"/>
                  <a:pt x="1461" y="177"/>
                </a:cubicBezTo>
                <a:cubicBezTo>
                  <a:pt x="1460" y="176"/>
                  <a:pt x="1459" y="176"/>
                  <a:pt x="1457" y="176"/>
                </a:cubicBezTo>
                <a:cubicBezTo>
                  <a:pt x="1455" y="176"/>
                  <a:pt x="1453" y="177"/>
                  <a:pt x="1451" y="176"/>
                </a:cubicBezTo>
                <a:cubicBezTo>
                  <a:pt x="1448" y="175"/>
                  <a:pt x="1451" y="172"/>
                  <a:pt x="1448" y="171"/>
                </a:cubicBezTo>
                <a:cubicBezTo>
                  <a:pt x="1447" y="170"/>
                  <a:pt x="1446" y="170"/>
                  <a:pt x="1445" y="170"/>
                </a:cubicBezTo>
                <a:cubicBezTo>
                  <a:pt x="1444" y="169"/>
                  <a:pt x="1443" y="169"/>
                  <a:pt x="1441" y="169"/>
                </a:cubicBezTo>
                <a:cubicBezTo>
                  <a:pt x="1439" y="169"/>
                  <a:pt x="1437" y="169"/>
                  <a:pt x="1437" y="165"/>
                </a:cubicBezTo>
                <a:cubicBezTo>
                  <a:pt x="1437" y="164"/>
                  <a:pt x="1438" y="163"/>
                  <a:pt x="1437" y="162"/>
                </a:cubicBezTo>
                <a:cubicBezTo>
                  <a:pt x="1437" y="162"/>
                  <a:pt x="1436" y="162"/>
                  <a:pt x="1435" y="161"/>
                </a:cubicBezTo>
                <a:cubicBezTo>
                  <a:pt x="1435" y="161"/>
                  <a:pt x="1435" y="161"/>
                  <a:pt x="1434" y="161"/>
                </a:cubicBezTo>
                <a:cubicBezTo>
                  <a:pt x="1434" y="161"/>
                  <a:pt x="1435" y="161"/>
                  <a:pt x="1434" y="160"/>
                </a:cubicBezTo>
                <a:cubicBezTo>
                  <a:pt x="1432" y="156"/>
                  <a:pt x="1428" y="162"/>
                  <a:pt x="1426" y="162"/>
                </a:cubicBezTo>
                <a:cubicBezTo>
                  <a:pt x="1422" y="162"/>
                  <a:pt x="1418" y="162"/>
                  <a:pt x="1414" y="162"/>
                </a:cubicBezTo>
                <a:cubicBezTo>
                  <a:pt x="1412" y="162"/>
                  <a:pt x="1409" y="162"/>
                  <a:pt x="1407" y="162"/>
                </a:cubicBezTo>
                <a:cubicBezTo>
                  <a:pt x="1404" y="161"/>
                  <a:pt x="1400" y="160"/>
                  <a:pt x="1396" y="159"/>
                </a:cubicBezTo>
                <a:cubicBezTo>
                  <a:pt x="1395" y="159"/>
                  <a:pt x="1395" y="159"/>
                  <a:pt x="1394" y="159"/>
                </a:cubicBezTo>
                <a:cubicBezTo>
                  <a:pt x="1393" y="159"/>
                  <a:pt x="1393" y="159"/>
                  <a:pt x="1392" y="159"/>
                </a:cubicBezTo>
                <a:cubicBezTo>
                  <a:pt x="1388" y="160"/>
                  <a:pt x="1384" y="160"/>
                  <a:pt x="1380" y="160"/>
                </a:cubicBezTo>
                <a:cubicBezTo>
                  <a:pt x="1379" y="160"/>
                  <a:pt x="1378" y="160"/>
                  <a:pt x="1377" y="161"/>
                </a:cubicBezTo>
                <a:cubicBezTo>
                  <a:pt x="1377" y="161"/>
                  <a:pt x="1377" y="161"/>
                  <a:pt x="1377" y="161"/>
                </a:cubicBezTo>
                <a:cubicBezTo>
                  <a:pt x="1377" y="161"/>
                  <a:pt x="1377" y="161"/>
                  <a:pt x="1377" y="161"/>
                </a:cubicBezTo>
                <a:cubicBezTo>
                  <a:pt x="1373" y="161"/>
                  <a:pt x="1368" y="162"/>
                  <a:pt x="1364" y="162"/>
                </a:cubicBezTo>
                <a:cubicBezTo>
                  <a:pt x="1362" y="162"/>
                  <a:pt x="1359" y="161"/>
                  <a:pt x="1358" y="161"/>
                </a:cubicBezTo>
                <a:cubicBezTo>
                  <a:pt x="1355" y="160"/>
                  <a:pt x="1353" y="160"/>
                  <a:pt x="1351" y="159"/>
                </a:cubicBezTo>
                <a:cubicBezTo>
                  <a:pt x="1352" y="158"/>
                  <a:pt x="1350" y="157"/>
                  <a:pt x="1350" y="156"/>
                </a:cubicBezTo>
                <a:cubicBezTo>
                  <a:pt x="1350" y="156"/>
                  <a:pt x="1351" y="155"/>
                  <a:pt x="1351" y="155"/>
                </a:cubicBezTo>
                <a:cubicBezTo>
                  <a:pt x="1352" y="154"/>
                  <a:pt x="1350" y="153"/>
                  <a:pt x="1351" y="152"/>
                </a:cubicBezTo>
                <a:cubicBezTo>
                  <a:pt x="1351" y="152"/>
                  <a:pt x="1351" y="152"/>
                  <a:pt x="1352" y="152"/>
                </a:cubicBezTo>
                <a:cubicBezTo>
                  <a:pt x="1353" y="152"/>
                  <a:pt x="1352" y="152"/>
                  <a:pt x="1353" y="152"/>
                </a:cubicBezTo>
                <a:cubicBezTo>
                  <a:pt x="1354" y="151"/>
                  <a:pt x="1353" y="149"/>
                  <a:pt x="1353" y="147"/>
                </a:cubicBezTo>
                <a:cubicBezTo>
                  <a:pt x="1352" y="145"/>
                  <a:pt x="1351" y="143"/>
                  <a:pt x="1350" y="142"/>
                </a:cubicBezTo>
                <a:cubicBezTo>
                  <a:pt x="1349" y="141"/>
                  <a:pt x="1348" y="141"/>
                  <a:pt x="1347" y="140"/>
                </a:cubicBezTo>
                <a:cubicBezTo>
                  <a:pt x="1346" y="139"/>
                  <a:pt x="1344" y="139"/>
                  <a:pt x="1342" y="138"/>
                </a:cubicBezTo>
                <a:cubicBezTo>
                  <a:pt x="1337" y="137"/>
                  <a:pt x="1332" y="135"/>
                  <a:pt x="1327" y="135"/>
                </a:cubicBezTo>
                <a:cubicBezTo>
                  <a:pt x="1323" y="134"/>
                  <a:pt x="1320" y="134"/>
                  <a:pt x="1317" y="134"/>
                </a:cubicBezTo>
                <a:cubicBezTo>
                  <a:pt x="1315" y="134"/>
                  <a:pt x="1313" y="134"/>
                  <a:pt x="1312" y="134"/>
                </a:cubicBezTo>
                <a:cubicBezTo>
                  <a:pt x="1310" y="134"/>
                  <a:pt x="1308" y="135"/>
                  <a:pt x="1306" y="135"/>
                </a:cubicBezTo>
                <a:cubicBezTo>
                  <a:pt x="1303" y="135"/>
                  <a:pt x="1299" y="136"/>
                  <a:pt x="1296" y="137"/>
                </a:cubicBezTo>
                <a:cubicBezTo>
                  <a:pt x="1294" y="137"/>
                  <a:pt x="1293" y="137"/>
                  <a:pt x="1291" y="138"/>
                </a:cubicBezTo>
                <a:cubicBezTo>
                  <a:pt x="1289" y="138"/>
                  <a:pt x="1288" y="138"/>
                  <a:pt x="1286" y="138"/>
                </a:cubicBezTo>
                <a:cubicBezTo>
                  <a:pt x="1284" y="138"/>
                  <a:pt x="1282" y="139"/>
                  <a:pt x="1281" y="139"/>
                </a:cubicBezTo>
                <a:cubicBezTo>
                  <a:pt x="1279" y="139"/>
                  <a:pt x="1278" y="140"/>
                  <a:pt x="1276" y="139"/>
                </a:cubicBezTo>
                <a:cubicBezTo>
                  <a:pt x="1273" y="138"/>
                  <a:pt x="1271" y="137"/>
                  <a:pt x="1268" y="136"/>
                </a:cubicBezTo>
                <a:cubicBezTo>
                  <a:pt x="1269" y="137"/>
                  <a:pt x="1270" y="136"/>
                  <a:pt x="1271" y="137"/>
                </a:cubicBezTo>
                <a:cubicBezTo>
                  <a:pt x="1270" y="135"/>
                  <a:pt x="1268" y="133"/>
                  <a:pt x="1267" y="131"/>
                </a:cubicBezTo>
                <a:cubicBezTo>
                  <a:pt x="1266" y="130"/>
                  <a:pt x="1265" y="130"/>
                  <a:pt x="1263" y="129"/>
                </a:cubicBezTo>
                <a:cubicBezTo>
                  <a:pt x="1260" y="128"/>
                  <a:pt x="1260" y="130"/>
                  <a:pt x="1257" y="131"/>
                </a:cubicBezTo>
                <a:cubicBezTo>
                  <a:pt x="1257" y="130"/>
                  <a:pt x="1258" y="129"/>
                  <a:pt x="1258" y="129"/>
                </a:cubicBezTo>
                <a:cubicBezTo>
                  <a:pt x="1257" y="129"/>
                  <a:pt x="1257" y="129"/>
                  <a:pt x="1257" y="130"/>
                </a:cubicBezTo>
                <a:cubicBezTo>
                  <a:pt x="1255" y="131"/>
                  <a:pt x="1253" y="131"/>
                  <a:pt x="1251" y="132"/>
                </a:cubicBezTo>
                <a:cubicBezTo>
                  <a:pt x="1251" y="131"/>
                  <a:pt x="1254" y="130"/>
                  <a:pt x="1255" y="129"/>
                </a:cubicBezTo>
                <a:cubicBezTo>
                  <a:pt x="1256" y="128"/>
                  <a:pt x="1257" y="128"/>
                  <a:pt x="1258" y="127"/>
                </a:cubicBezTo>
                <a:cubicBezTo>
                  <a:pt x="1257" y="126"/>
                  <a:pt x="1256" y="126"/>
                  <a:pt x="1255" y="126"/>
                </a:cubicBezTo>
                <a:cubicBezTo>
                  <a:pt x="1254" y="127"/>
                  <a:pt x="1253" y="126"/>
                  <a:pt x="1253" y="126"/>
                </a:cubicBezTo>
                <a:cubicBezTo>
                  <a:pt x="1252" y="126"/>
                  <a:pt x="1250" y="127"/>
                  <a:pt x="1250" y="127"/>
                </a:cubicBezTo>
                <a:cubicBezTo>
                  <a:pt x="1249" y="126"/>
                  <a:pt x="1251" y="125"/>
                  <a:pt x="1252" y="125"/>
                </a:cubicBezTo>
                <a:cubicBezTo>
                  <a:pt x="1251" y="123"/>
                  <a:pt x="1248" y="124"/>
                  <a:pt x="1246" y="124"/>
                </a:cubicBezTo>
                <a:cubicBezTo>
                  <a:pt x="1245" y="124"/>
                  <a:pt x="1244" y="123"/>
                  <a:pt x="1243" y="123"/>
                </a:cubicBezTo>
                <a:cubicBezTo>
                  <a:pt x="1242" y="123"/>
                  <a:pt x="1241" y="124"/>
                  <a:pt x="1239" y="123"/>
                </a:cubicBezTo>
                <a:cubicBezTo>
                  <a:pt x="1240" y="123"/>
                  <a:pt x="1239" y="122"/>
                  <a:pt x="1239" y="121"/>
                </a:cubicBezTo>
                <a:cubicBezTo>
                  <a:pt x="1240" y="121"/>
                  <a:pt x="1241" y="121"/>
                  <a:pt x="1242" y="122"/>
                </a:cubicBezTo>
                <a:cubicBezTo>
                  <a:pt x="1243" y="122"/>
                  <a:pt x="1243" y="120"/>
                  <a:pt x="1244" y="119"/>
                </a:cubicBezTo>
                <a:cubicBezTo>
                  <a:pt x="1246" y="118"/>
                  <a:pt x="1246" y="123"/>
                  <a:pt x="1249" y="121"/>
                </a:cubicBezTo>
                <a:cubicBezTo>
                  <a:pt x="1250" y="121"/>
                  <a:pt x="1252" y="120"/>
                  <a:pt x="1251" y="118"/>
                </a:cubicBezTo>
                <a:cubicBezTo>
                  <a:pt x="1251" y="118"/>
                  <a:pt x="1250" y="117"/>
                  <a:pt x="1250" y="117"/>
                </a:cubicBezTo>
                <a:cubicBezTo>
                  <a:pt x="1248" y="115"/>
                  <a:pt x="1247" y="115"/>
                  <a:pt x="1245" y="114"/>
                </a:cubicBezTo>
                <a:cubicBezTo>
                  <a:pt x="1243" y="113"/>
                  <a:pt x="1241" y="113"/>
                  <a:pt x="1238" y="112"/>
                </a:cubicBezTo>
                <a:cubicBezTo>
                  <a:pt x="1236" y="112"/>
                  <a:pt x="1234" y="111"/>
                  <a:pt x="1232" y="111"/>
                </a:cubicBezTo>
                <a:cubicBezTo>
                  <a:pt x="1230" y="111"/>
                  <a:pt x="1228" y="111"/>
                  <a:pt x="1227" y="111"/>
                </a:cubicBezTo>
                <a:cubicBezTo>
                  <a:pt x="1225" y="111"/>
                  <a:pt x="1223" y="110"/>
                  <a:pt x="1221" y="111"/>
                </a:cubicBezTo>
                <a:cubicBezTo>
                  <a:pt x="1220" y="112"/>
                  <a:pt x="1219" y="114"/>
                  <a:pt x="1217" y="115"/>
                </a:cubicBezTo>
                <a:cubicBezTo>
                  <a:pt x="1216" y="116"/>
                  <a:pt x="1215" y="118"/>
                  <a:pt x="1214" y="119"/>
                </a:cubicBezTo>
                <a:cubicBezTo>
                  <a:pt x="1213" y="120"/>
                  <a:pt x="1212" y="120"/>
                  <a:pt x="1211" y="121"/>
                </a:cubicBezTo>
                <a:cubicBezTo>
                  <a:pt x="1211" y="121"/>
                  <a:pt x="1210" y="121"/>
                  <a:pt x="1209" y="122"/>
                </a:cubicBezTo>
                <a:cubicBezTo>
                  <a:pt x="1208" y="122"/>
                  <a:pt x="1207" y="122"/>
                  <a:pt x="1206" y="122"/>
                </a:cubicBezTo>
                <a:cubicBezTo>
                  <a:pt x="1204" y="122"/>
                  <a:pt x="1201" y="123"/>
                  <a:pt x="1199" y="123"/>
                </a:cubicBezTo>
                <a:cubicBezTo>
                  <a:pt x="1199" y="122"/>
                  <a:pt x="1199" y="122"/>
                  <a:pt x="1200" y="121"/>
                </a:cubicBezTo>
                <a:cubicBezTo>
                  <a:pt x="1201" y="121"/>
                  <a:pt x="1201" y="121"/>
                  <a:pt x="1201" y="121"/>
                </a:cubicBezTo>
                <a:cubicBezTo>
                  <a:pt x="1202" y="121"/>
                  <a:pt x="1201" y="120"/>
                  <a:pt x="1201" y="120"/>
                </a:cubicBezTo>
                <a:cubicBezTo>
                  <a:pt x="1199" y="118"/>
                  <a:pt x="1200" y="118"/>
                  <a:pt x="1201" y="119"/>
                </a:cubicBezTo>
                <a:cubicBezTo>
                  <a:pt x="1203" y="119"/>
                  <a:pt x="1203" y="120"/>
                  <a:pt x="1205" y="119"/>
                </a:cubicBezTo>
                <a:cubicBezTo>
                  <a:pt x="1206" y="119"/>
                  <a:pt x="1207" y="119"/>
                  <a:pt x="1208" y="119"/>
                </a:cubicBezTo>
                <a:cubicBezTo>
                  <a:pt x="1210" y="118"/>
                  <a:pt x="1207" y="117"/>
                  <a:pt x="1207" y="116"/>
                </a:cubicBezTo>
                <a:cubicBezTo>
                  <a:pt x="1206" y="116"/>
                  <a:pt x="1207" y="113"/>
                  <a:pt x="1208" y="113"/>
                </a:cubicBezTo>
                <a:cubicBezTo>
                  <a:pt x="1209" y="112"/>
                  <a:pt x="1209" y="115"/>
                  <a:pt x="1210" y="115"/>
                </a:cubicBezTo>
                <a:cubicBezTo>
                  <a:pt x="1210" y="116"/>
                  <a:pt x="1210" y="116"/>
                  <a:pt x="1210" y="116"/>
                </a:cubicBezTo>
                <a:cubicBezTo>
                  <a:pt x="1210" y="114"/>
                  <a:pt x="1213" y="114"/>
                  <a:pt x="1214" y="115"/>
                </a:cubicBezTo>
                <a:cubicBezTo>
                  <a:pt x="1213" y="115"/>
                  <a:pt x="1212" y="116"/>
                  <a:pt x="1211" y="116"/>
                </a:cubicBezTo>
                <a:cubicBezTo>
                  <a:pt x="1210" y="117"/>
                  <a:pt x="1210" y="116"/>
                  <a:pt x="1210" y="118"/>
                </a:cubicBezTo>
                <a:cubicBezTo>
                  <a:pt x="1210" y="118"/>
                  <a:pt x="1210" y="119"/>
                  <a:pt x="1210" y="120"/>
                </a:cubicBezTo>
                <a:cubicBezTo>
                  <a:pt x="1210" y="120"/>
                  <a:pt x="1210" y="120"/>
                  <a:pt x="1211" y="119"/>
                </a:cubicBezTo>
                <a:cubicBezTo>
                  <a:pt x="1212" y="119"/>
                  <a:pt x="1212" y="118"/>
                  <a:pt x="1213" y="117"/>
                </a:cubicBezTo>
                <a:cubicBezTo>
                  <a:pt x="1215" y="117"/>
                  <a:pt x="1216" y="115"/>
                  <a:pt x="1218" y="113"/>
                </a:cubicBezTo>
                <a:cubicBezTo>
                  <a:pt x="1218" y="112"/>
                  <a:pt x="1220" y="111"/>
                  <a:pt x="1218" y="111"/>
                </a:cubicBezTo>
                <a:cubicBezTo>
                  <a:pt x="1217" y="111"/>
                  <a:pt x="1217" y="111"/>
                  <a:pt x="1216" y="111"/>
                </a:cubicBezTo>
                <a:cubicBezTo>
                  <a:pt x="1208" y="111"/>
                  <a:pt x="1200" y="113"/>
                  <a:pt x="1192" y="113"/>
                </a:cubicBezTo>
                <a:cubicBezTo>
                  <a:pt x="1192" y="113"/>
                  <a:pt x="1193" y="112"/>
                  <a:pt x="1194" y="112"/>
                </a:cubicBezTo>
                <a:cubicBezTo>
                  <a:pt x="1193" y="112"/>
                  <a:pt x="1193" y="112"/>
                  <a:pt x="1193" y="112"/>
                </a:cubicBezTo>
                <a:cubicBezTo>
                  <a:pt x="1193" y="112"/>
                  <a:pt x="1193" y="112"/>
                  <a:pt x="1193" y="112"/>
                </a:cubicBezTo>
                <a:cubicBezTo>
                  <a:pt x="1194" y="112"/>
                  <a:pt x="1195" y="111"/>
                  <a:pt x="1195" y="111"/>
                </a:cubicBezTo>
                <a:cubicBezTo>
                  <a:pt x="1196" y="111"/>
                  <a:pt x="1197" y="110"/>
                  <a:pt x="1197" y="110"/>
                </a:cubicBezTo>
                <a:cubicBezTo>
                  <a:pt x="1197" y="110"/>
                  <a:pt x="1197" y="110"/>
                  <a:pt x="1197" y="110"/>
                </a:cubicBezTo>
                <a:cubicBezTo>
                  <a:pt x="1199" y="109"/>
                  <a:pt x="1199" y="109"/>
                  <a:pt x="1201" y="109"/>
                </a:cubicBezTo>
                <a:cubicBezTo>
                  <a:pt x="1202" y="109"/>
                  <a:pt x="1203" y="110"/>
                  <a:pt x="1203" y="110"/>
                </a:cubicBezTo>
                <a:cubicBezTo>
                  <a:pt x="1208" y="110"/>
                  <a:pt x="1214" y="110"/>
                  <a:pt x="1219" y="110"/>
                </a:cubicBezTo>
                <a:cubicBezTo>
                  <a:pt x="1212" y="109"/>
                  <a:pt x="1206" y="107"/>
                  <a:pt x="1200" y="106"/>
                </a:cubicBezTo>
                <a:cubicBezTo>
                  <a:pt x="1200" y="106"/>
                  <a:pt x="1200" y="106"/>
                  <a:pt x="1199" y="106"/>
                </a:cubicBezTo>
                <a:cubicBezTo>
                  <a:pt x="1199" y="106"/>
                  <a:pt x="1199" y="106"/>
                  <a:pt x="1199" y="106"/>
                </a:cubicBezTo>
                <a:cubicBezTo>
                  <a:pt x="1197" y="106"/>
                  <a:pt x="1195" y="105"/>
                  <a:pt x="1193" y="105"/>
                </a:cubicBezTo>
                <a:cubicBezTo>
                  <a:pt x="1189" y="105"/>
                  <a:pt x="1185" y="104"/>
                  <a:pt x="1182" y="104"/>
                </a:cubicBezTo>
                <a:cubicBezTo>
                  <a:pt x="1180" y="104"/>
                  <a:pt x="1178" y="104"/>
                  <a:pt x="1177" y="104"/>
                </a:cubicBezTo>
                <a:cubicBezTo>
                  <a:pt x="1175" y="104"/>
                  <a:pt x="1173" y="104"/>
                  <a:pt x="1171" y="103"/>
                </a:cubicBezTo>
                <a:cubicBezTo>
                  <a:pt x="1169" y="103"/>
                  <a:pt x="1166" y="102"/>
                  <a:pt x="1164" y="101"/>
                </a:cubicBezTo>
                <a:cubicBezTo>
                  <a:pt x="1161" y="100"/>
                  <a:pt x="1158" y="100"/>
                  <a:pt x="1155" y="100"/>
                </a:cubicBezTo>
                <a:cubicBezTo>
                  <a:pt x="1156" y="102"/>
                  <a:pt x="1159" y="104"/>
                  <a:pt x="1160" y="106"/>
                </a:cubicBezTo>
                <a:cubicBezTo>
                  <a:pt x="1158" y="106"/>
                  <a:pt x="1157" y="107"/>
                  <a:pt x="1156" y="108"/>
                </a:cubicBezTo>
                <a:cubicBezTo>
                  <a:pt x="1155" y="108"/>
                  <a:pt x="1153" y="108"/>
                  <a:pt x="1152" y="108"/>
                </a:cubicBezTo>
                <a:cubicBezTo>
                  <a:pt x="1151" y="108"/>
                  <a:pt x="1150" y="108"/>
                  <a:pt x="1149" y="108"/>
                </a:cubicBezTo>
                <a:cubicBezTo>
                  <a:pt x="1148" y="108"/>
                  <a:pt x="1146" y="109"/>
                  <a:pt x="1145" y="110"/>
                </a:cubicBezTo>
                <a:cubicBezTo>
                  <a:pt x="1143" y="111"/>
                  <a:pt x="1141" y="112"/>
                  <a:pt x="1140" y="113"/>
                </a:cubicBezTo>
                <a:cubicBezTo>
                  <a:pt x="1141" y="115"/>
                  <a:pt x="1142" y="114"/>
                  <a:pt x="1144" y="113"/>
                </a:cubicBezTo>
                <a:cubicBezTo>
                  <a:pt x="1145" y="112"/>
                  <a:pt x="1146" y="113"/>
                  <a:pt x="1148" y="113"/>
                </a:cubicBezTo>
                <a:cubicBezTo>
                  <a:pt x="1149" y="113"/>
                  <a:pt x="1150" y="113"/>
                  <a:pt x="1150" y="113"/>
                </a:cubicBezTo>
                <a:cubicBezTo>
                  <a:pt x="1151" y="114"/>
                  <a:pt x="1150" y="114"/>
                  <a:pt x="1149" y="114"/>
                </a:cubicBezTo>
                <a:cubicBezTo>
                  <a:pt x="1149" y="115"/>
                  <a:pt x="1149" y="114"/>
                  <a:pt x="1148" y="115"/>
                </a:cubicBezTo>
                <a:cubicBezTo>
                  <a:pt x="1147" y="116"/>
                  <a:pt x="1146" y="117"/>
                  <a:pt x="1146" y="118"/>
                </a:cubicBezTo>
                <a:cubicBezTo>
                  <a:pt x="1145" y="119"/>
                  <a:pt x="1143" y="118"/>
                  <a:pt x="1142" y="118"/>
                </a:cubicBezTo>
                <a:cubicBezTo>
                  <a:pt x="1145" y="119"/>
                  <a:pt x="1146" y="119"/>
                  <a:pt x="1146" y="122"/>
                </a:cubicBezTo>
                <a:cubicBezTo>
                  <a:pt x="1146" y="123"/>
                  <a:pt x="1146" y="124"/>
                  <a:pt x="1147" y="124"/>
                </a:cubicBezTo>
                <a:cubicBezTo>
                  <a:pt x="1147" y="125"/>
                  <a:pt x="1149" y="126"/>
                  <a:pt x="1149" y="127"/>
                </a:cubicBezTo>
                <a:cubicBezTo>
                  <a:pt x="1148" y="127"/>
                  <a:pt x="1147" y="128"/>
                  <a:pt x="1146" y="127"/>
                </a:cubicBezTo>
                <a:cubicBezTo>
                  <a:pt x="1144" y="126"/>
                  <a:pt x="1144" y="127"/>
                  <a:pt x="1142" y="128"/>
                </a:cubicBezTo>
                <a:cubicBezTo>
                  <a:pt x="1140" y="130"/>
                  <a:pt x="1140" y="126"/>
                  <a:pt x="1139" y="125"/>
                </a:cubicBezTo>
                <a:cubicBezTo>
                  <a:pt x="1139" y="125"/>
                  <a:pt x="1137" y="124"/>
                  <a:pt x="1137" y="124"/>
                </a:cubicBezTo>
                <a:cubicBezTo>
                  <a:pt x="1136" y="124"/>
                  <a:pt x="1134" y="127"/>
                  <a:pt x="1133" y="126"/>
                </a:cubicBezTo>
                <a:cubicBezTo>
                  <a:pt x="1132" y="125"/>
                  <a:pt x="1134" y="124"/>
                  <a:pt x="1133" y="125"/>
                </a:cubicBezTo>
                <a:cubicBezTo>
                  <a:pt x="1132" y="125"/>
                  <a:pt x="1131" y="125"/>
                  <a:pt x="1130" y="125"/>
                </a:cubicBezTo>
                <a:cubicBezTo>
                  <a:pt x="1129" y="126"/>
                  <a:pt x="1128" y="127"/>
                  <a:pt x="1128" y="128"/>
                </a:cubicBezTo>
                <a:cubicBezTo>
                  <a:pt x="1127" y="128"/>
                  <a:pt x="1126" y="130"/>
                  <a:pt x="1128" y="129"/>
                </a:cubicBezTo>
                <a:cubicBezTo>
                  <a:pt x="1128" y="130"/>
                  <a:pt x="1131" y="130"/>
                  <a:pt x="1132" y="130"/>
                </a:cubicBezTo>
                <a:cubicBezTo>
                  <a:pt x="1131" y="130"/>
                  <a:pt x="1129" y="130"/>
                  <a:pt x="1128" y="131"/>
                </a:cubicBezTo>
                <a:cubicBezTo>
                  <a:pt x="1130" y="131"/>
                  <a:pt x="1131" y="131"/>
                  <a:pt x="1130" y="132"/>
                </a:cubicBezTo>
                <a:cubicBezTo>
                  <a:pt x="1128" y="132"/>
                  <a:pt x="1127" y="132"/>
                  <a:pt x="1126" y="132"/>
                </a:cubicBezTo>
                <a:cubicBezTo>
                  <a:pt x="1127" y="132"/>
                  <a:pt x="1127" y="132"/>
                  <a:pt x="1127" y="133"/>
                </a:cubicBezTo>
                <a:cubicBezTo>
                  <a:pt x="1128" y="132"/>
                  <a:pt x="1128" y="133"/>
                  <a:pt x="1128" y="134"/>
                </a:cubicBezTo>
                <a:cubicBezTo>
                  <a:pt x="1128" y="134"/>
                  <a:pt x="1127" y="134"/>
                  <a:pt x="1127" y="134"/>
                </a:cubicBezTo>
                <a:cubicBezTo>
                  <a:pt x="1126" y="134"/>
                  <a:pt x="1126" y="133"/>
                  <a:pt x="1126" y="133"/>
                </a:cubicBezTo>
                <a:cubicBezTo>
                  <a:pt x="1126" y="133"/>
                  <a:pt x="1125" y="133"/>
                  <a:pt x="1125" y="132"/>
                </a:cubicBezTo>
                <a:cubicBezTo>
                  <a:pt x="1125" y="132"/>
                  <a:pt x="1125" y="132"/>
                  <a:pt x="1126" y="131"/>
                </a:cubicBezTo>
                <a:cubicBezTo>
                  <a:pt x="1124" y="131"/>
                  <a:pt x="1122" y="132"/>
                  <a:pt x="1123" y="130"/>
                </a:cubicBezTo>
                <a:cubicBezTo>
                  <a:pt x="1122" y="130"/>
                  <a:pt x="1122" y="129"/>
                  <a:pt x="1121" y="129"/>
                </a:cubicBezTo>
                <a:cubicBezTo>
                  <a:pt x="1121" y="128"/>
                  <a:pt x="1119" y="128"/>
                  <a:pt x="1118" y="128"/>
                </a:cubicBezTo>
                <a:cubicBezTo>
                  <a:pt x="1118" y="128"/>
                  <a:pt x="1117" y="127"/>
                  <a:pt x="1117" y="127"/>
                </a:cubicBezTo>
                <a:cubicBezTo>
                  <a:pt x="1116" y="127"/>
                  <a:pt x="1115" y="127"/>
                  <a:pt x="1114" y="127"/>
                </a:cubicBezTo>
                <a:cubicBezTo>
                  <a:pt x="1113" y="125"/>
                  <a:pt x="1113" y="125"/>
                  <a:pt x="1111" y="125"/>
                </a:cubicBezTo>
                <a:cubicBezTo>
                  <a:pt x="1110" y="125"/>
                  <a:pt x="1109" y="124"/>
                  <a:pt x="1108" y="124"/>
                </a:cubicBezTo>
                <a:cubicBezTo>
                  <a:pt x="1106" y="124"/>
                  <a:pt x="1105" y="125"/>
                  <a:pt x="1104" y="125"/>
                </a:cubicBezTo>
                <a:cubicBezTo>
                  <a:pt x="1101" y="126"/>
                  <a:pt x="1099" y="126"/>
                  <a:pt x="1096" y="127"/>
                </a:cubicBezTo>
                <a:cubicBezTo>
                  <a:pt x="1095" y="127"/>
                  <a:pt x="1095" y="128"/>
                  <a:pt x="1095" y="129"/>
                </a:cubicBezTo>
                <a:cubicBezTo>
                  <a:pt x="1095" y="129"/>
                  <a:pt x="1095" y="129"/>
                  <a:pt x="1095" y="130"/>
                </a:cubicBezTo>
                <a:cubicBezTo>
                  <a:pt x="1095" y="130"/>
                  <a:pt x="1094" y="131"/>
                  <a:pt x="1094" y="131"/>
                </a:cubicBezTo>
                <a:cubicBezTo>
                  <a:pt x="1094" y="130"/>
                  <a:pt x="1095" y="130"/>
                  <a:pt x="1095" y="129"/>
                </a:cubicBezTo>
                <a:cubicBezTo>
                  <a:pt x="1095" y="129"/>
                  <a:pt x="1093" y="129"/>
                  <a:pt x="1092" y="129"/>
                </a:cubicBezTo>
                <a:cubicBezTo>
                  <a:pt x="1092" y="129"/>
                  <a:pt x="1091" y="129"/>
                  <a:pt x="1090" y="129"/>
                </a:cubicBezTo>
                <a:cubicBezTo>
                  <a:pt x="1088" y="129"/>
                  <a:pt x="1086" y="128"/>
                  <a:pt x="1085" y="128"/>
                </a:cubicBezTo>
                <a:cubicBezTo>
                  <a:pt x="1083" y="128"/>
                  <a:pt x="1081" y="127"/>
                  <a:pt x="1079" y="126"/>
                </a:cubicBezTo>
                <a:cubicBezTo>
                  <a:pt x="1078" y="124"/>
                  <a:pt x="1077" y="122"/>
                  <a:pt x="1075" y="122"/>
                </a:cubicBezTo>
                <a:cubicBezTo>
                  <a:pt x="1074" y="121"/>
                  <a:pt x="1075" y="120"/>
                  <a:pt x="1074" y="120"/>
                </a:cubicBezTo>
                <a:cubicBezTo>
                  <a:pt x="1074" y="118"/>
                  <a:pt x="1073" y="119"/>
                  <a:pt x="1072" y="120"/>
                </a:cubicBezTo>
                <a:cubicBezTo>
                  <a:pt x="1071" y="121"/>
                  <a:pt x="1070" y="123"/>
                  <a:pt x="1069" y="124"/>
                </a:cubicBezTo>
                <a:cubicBezTo>
                  <a:pt x="1069" y="126"/>
                  <a:pt x="1068" y="127"/>
                  <a:pt x="1068" y="129"/>
                </a:cubicBezTo>
                <a:cubicBezTo>
                  <a:pt x="1067" y="129"/>
                  <a:pt x="1067" y="130"/>
                  <a:pt x="1067" y="131"/>
                </a:cubicBezTo>
                <a:cubicBezTo>
                  <a:pt x="1066" y="133"/>
                  <a:pt x="1066" y="133"/>
                  <a:pt x="1066" y="133"/>
                </a:cubicBezTo>
                <a:cubicBezTo>
                  <a:pt x="1059" y="140"/>
                  <a:pt x="1059" y="140"/>
                  <a:pt x="1059" y="140"/>
                </a:cubicBezTo>
                <a:cubicBezTo>
                  <a:pt x="1059" y="140"/>
                  <a:pt x="1059" y="140"/>
                  <a:pt x="1059" y="140"/>
                </a:cubicBezTo>
                <a:cubicBezTo>
                  <a:pt x="1058" y="141"/>
                  <a:pt x="1058" y="141"/>
                  <a:pt x="1058" y="141"/>
                </a:cubicBezTo>
                <a:cubicBezTo>
                  <a:pt x="1057" y="141"/>
                  <a:pt x="1056" y="141"/>
                  <a:pt x="1056" y="140"/>
                </a:cubicBezTo>
                <a:cubicBezTo>
                  <a:pt x="1056" y="140"/>
                  <a:pt x="1056" y="140"/>
                  <a:pt x="1056" y="140"/>
                </a:cubicBezTo>
                <a:cubicBezTo>
                  <a:pt x="1056" y="140"/>
                  <a:pt x="1056" y="140"/>
                  <a:pt x="1056" y="140"/>
                </a:cubicBezTo>
                <a:cubicBezTo>
                  <a:pt x="1056" y="140"/>
                  <a:pt x="1056" y="140"/>
                  <a:pt x="1056" y="140"/>
                </a:cubicBezTo>
                <a:cubicBezTo>
                  <a:pt x="1056" y="140"/>
                  <a:pt x="1056" y="140"/>
                  <a:pt x="1056" y="140"/>
                </a:cubicBezTo>
                <a:cubicBezTo>
                  <a:pt x="1056" y="140"/>
                  <a:pt x="1056" y="140"/>
                  <a:pt x="1056" y="140"/>
                </a:cubicBezTo>
                <a:cubicBezTo>
                  <a:pt x="1056" y="140"/>
                  <a:pt x="1056" y="140"/>
                  <a:pt x="1056" y="140"/>
                </a:cubicBezTo>
                <a:cubicBezTo>
                  <a:pt x="1056" y="139"/>
                  <a:pt x="1056" y="139"/>
                  <a:pt x="1056" y="139"/>
                </a:cubicBezTo>
                <a:cubicBezTo>
                  <a:pt x="1056" y="139"/>
                  <a:pt x="1056" y="139"/>
                  <a:pt x="1056" y="139"/>
                </a:cubicBezTo>
                <a:cubicBezTo>
                  <a:pt x="1056" y="139"/>
                  <a:pt x="1056" y="139"/>
                  <a:pt x="1056" y="139"/>
                </a:cubicBezTo>
                <a:cubicBezTo>
                  <a:pt x="1056" y="139"/>
                  <a:pt x="1056" y="139"/>
                  <a:pt x="1056" y="139"/>
                </a:cubicBezTo>
                <a:cubicBezTo>
                  <a:pt x="1056" y="139"/>
                  <a:pt x="1056" y="139"/>
                  <a:pt x="1056" y="139"/>
                </a:cubicBezTo>
                <a:cubicBezTo>
                  <a:pt x="1056" y="139"/>
                  <a:pt x="1056" y="139"/>
                  <a:pt x="1056" y="139"/>
                </a:cubicBezTo>
                <a:cubicBezTo>
                  <a:pt x="1056" y="139"/>
                  <a:pt x="1056" y="139"/>
                  <a:pt x="1056" y="139"/>
                </a:cubicBezTo>
                <a:cubicBezTo>
                  <a:pt x="1056" y="139"/>
                  <a:pt x="1056" y="139"/>
                  <a:pt x="1056" y="139"/>
                </a:cubicBezTo>
                <a:cubicBezTo>
                  <a:pt x="1055" y="139"/>
                  <a:pt x="1055" y="139"/>
                  <a:pt x="1055" y="139"/>
                </a:cubicBezTo>
                <a:cubicBezTo>
                  <a:pt x="1055" y="139"/>
                  <a:pt x="1055" y="139"/>
                  <a:pt x="1055" y="139"/>
                </a:cubicBezTo>
                <a:cubicBezTo>
                  <a:pt x="1054" y="138"/>
                  <a:pt x="1054" y="138"/>
                  <a:pt x="1054" y="138"/>
                </a:cubicBezTo>
                <a:cubicBezTo>
                  <a:pt x="1053" y="138"/>
                  <a:pt x="1053" y="138"/>
                  <a:pt x="1053" y="138"/>
                </a:cubicBezTo>
                <a:cubicBezTo>
                  <a:pt x="1053" y="138"/>
                  <a:pt x="1053" y="138"/>
                  <a:pt x="1053" y="138"/>
                </a:cubicBezTo>
                <a:cubicBezTo>
                  <a:pt x="1052" y="138"/>
                  <a:pt x="1052" y="138"/>
                  <a:pt x="1052" y="138"/>
                </a:cubicBezTo>
                <a:cubicBezTo>
                  <a:pt x="1052" y="138"/>
                  <a:pt x="1052" y="138"/>
                  <a:pt x="1052" y="138"/>
                </a:cubicBezTo>
                <a:cubicBezTo>
                  <a:pt x="1052" y="138"/>
                  <a:pt x="1052" y="138"/>
                  <a:pt x="1052" y="138"/>
                </a:cubicBezTo>
                <a:cubicBezTo>
                  <a:pt x="1052" y="138"/>
                  <a:pt x="1052" y="138"/>
                  <a:pt x="1052" y="138"/>
                </a:cubicBezTo>
                <a:cubicBezTo>
                  <a:pt x="1052" y="138"/>
                  <a:pt x="1052" y="138"/>
                  <a:pt x="1052" y="138"/>
                </a:cubicBezTo>
                <a:cubicBezTo>
                  <a:pt x="1052" y="138"/>
                  <a:pt x="1052" y="138"/>
                  <a:pt x="1052" y="138"/>
                </a:cubicBezTo>
                <a:cubicBezTo>
                  <a:pt x="1052" y="138"/>
                  <a:pt x="1052" y="138"/>
                  <a:pt x="1052" y="138"/>
                </a:cubicBezTo>
                <a:cubicBezTo>
                  <a:pt x="1052" y="138"/>
                  <a:pt x="1052" y="138"/>
                  <a:pt x="1052" y="138"/>
                </a:cubicBezTo>
                <a:cubicBezTo>
                  <a:pt x="1051" y="137"/>
                  <a:pt x="1050" y="138"/>
                  <a:pt x="1049" y="137"/>
                </a:cubicBezTo>
                <a:cubicBezTo>
                  <a:pt x="1049" y="137"/>
                  <a:pt x="1049" y="137"/>
                  <a:pt x="1049" y="137"/>
                </a:cubicBezTo>
                <a:cubicBezTo>
                  <a:pt x="1049" y="137"/>
                  <a:pt x="1049" y="137"/>
                  <a:pt x="1049" y="137"/>
                </a:cubicBezTo>
                <a:cubicBezTo>
                  <a:pt x="1049" y="137"/>
                  <a:pt x="1049" y="137"/>
                  <a:pt x="1049" y="137"/>
                </a:cubicBezTo>
                <a:cubicBezTo>
                  <a:pt x="1049" y="137"/>
                  <a:pt x="1049" y="137"/>
                  <a:pt x="1049" y="137"/>
                </a:cubicBezTo>
                <a:cubicBezTo>
                  <a:pt x="1049" y="137"/>
                  <a:pt x="1049" y="137"/>
                  <a:pt x="1049" y="137"/>
                </a:cubicBezTo>
                <a:cubicBezTo>
                  <a:pt x="1049" y="136"/>
                  <a:pt x="1049" y="136"/>
                  <a:pt x="1049" y="136"/>
                </a:cubicBezTo>
                <a:cubicBezTo>
                  <a:pt x="1049" y="136"/>
                  <a:pt x="1049" y="136"/>
                  <a:pt x="1049" y="136"/>
                </a:cubicBezTo>
                <a:cubicBezTo>
                  <a:pt x="1049" y="136"/>
                  <a:pt x="1049" y="136"/>
                  <a:pt x="1049" y="136"/>
                </a:cubicBezTo>
                <a:cubicBezTo>
                  <a:pt x="1048" y="136"/>
                  <a:pt x="1048" y="136"/>
                  <a:pt x="1048" y="136"/>
                </a:cubicBezTo>
                <a:cubicBezTo>
                  <a:pt x="1047" y="136"/>
                  <a:pt x="1047" y="136"/>
                  <a:pt x="1047" y="136"/>
                </a:cubicBezTo>
                <a:cubicBezTo>
                  <a:pt x="1045" y="135"/>
                  <a:pt x="1045" y="135"/>
                  <a:pt x="1045" y="135"/>
                </a:cubicBezTo>
                <a:cubicBezTo>
                  <a:pt x="1044" y="134"/>
                  <a:pt x="1044" y="134"/>
                  <a:pt x="1044" y="134"/>
                </a:cubicBezTo>
                <a:cubicBezTo>
                  <a:pt x="1043" y="134"/>
                  <a:pt x="1043" y="134"/>
                  <a:pt x="1043" y="134"/>
                </a:cubicBezTo>
                <a:cubicBezTo>
                  <a:pt x="1043" y="134"/>
                  <a:pt x="1043" y="134"/>
                  <a:pt x="1043" y="134"/>
                </a:cubicBezTo>
                <a:cubicBezTo>
                  <a:pt x="1043" y="134"/>
                  <a:pt x="1043" y="134"/>
                  <a:pt x="1043" y="134"/>
                </a:cubicBezTo>
                <a:cubicBezTo>
                  <a:pt x="1044" y="134"/>
                  <a:pt x="1044" y="134"/>
                  <a:pt x="1044" y="134"/>
                </a:cubicBezTo>
                <a:cubicBezTo>
                  <a:pt x="1044" y="134"/>
                  <a:pt x="1044" y="134"/>
                  <a:pt x="1044" y="134"/>
                </a:cubicBezTo>
                <a:cubicBezTo>
                  <a:pt x="1044" y="134"/>
                  <a:pt x="1044" y="134"/>
                  <a:pt x="1044" y="134"/>
                </a:cubicBezTo>
                <a:cubicBezTo>
                  <a:pt x="1044" y="134"/>
                  <a:pt x="1044" y="134"/>
                  <a:pt x="1044" y="134"/>
                </a:cubicBezTo>
                <a:cubicBezTo>
                  <a:pt x="1044" y="134"/>
                  <a:pt x="1044" y="134"/>
                  <a:pt x="1044" y="134"/>
                </a:cubicBezTo>
                <a:cubicBezTo>
                  <a:pt x="1044" y="134"/>
                  <a:pt x="1044" y="134"/>
                  <a:pt x="1044" y="134"/>
                </a:cubicBezTo>
                <a:cubicBezTo>
                  <a:pt x="1044" y="133"/>
                  <a:pt x="1044" y="133"/>
                  <a:pt x="1044" y="133"/>
                </a:cubicBezTo>
                <a:cubicBezTo>
                  <a:pt x="1044" y="133"/>
                  <a:pt x="1044" y="133"/>
                  <a:pt x="1044" y="133"/>
                </a:cubicBezTo>
                <a:cubicBezTo>
                  <a:pt x="1044" y="133"/>
                  <a:pt x="1044" y="133"/>
                  <a:pt x="1044" y="133"/>
                </a:cubicBezTo>
                <a:cubicBezTo>
                  <a:pt x="1044" y="133"/>
                  <a:pt x="1044" y="133"/>
                  <a:pt x="1044" y="133"/>
                </a:cubicBezTo>
                <a:cubicBezTo>
                  <a:pt x="1044" y="133"/>
                  <a:pt x="1044" y="133"/>
                  <a:pt x="1044" y="133"/>
                </a:cubicBezTo>
                <a:cubicBezTo>
                  <a:pt x="1044" y="133"/>
                  <a:pt x="1044" y="133"/>
                  <a:pt x="1044" y="133"/>
                </a:cubicBezTo>
                <a:cubicBezTo>
                  <a:pt x="1044" y="133"/>
                  <a:pt x="1044" y="133"/>
                  <a:pt x="1044" y="133"/>
                </a:cubicBezTo>
                <a:cubicBezTo>
                  <a:pt x="1044" y="132"/>
                  <a:pt x="1044" y="132"/>
                  <a:pt x="1044" y="132"/>
                </a:cubicBezTo>
                <a:cubicBezTo>
                  <a:pt x="1044" y="132"/>
                  <a:pt x="1044" y="132"/>
                  <a:pt x="1044" y="132"/>
                </a:cubicBezTo>
                <a:cubicBezTo>
                  <a:pt x="1044" y="132"/>
                  <a:pt x="1044" y="132"/>
                  <a:pt x="1044" y="132"/>
                </a:cubicBezTo>
                <a:cubicBezTo>
                  <a:pt x="1044" y="132"/>
                  <a:pt x="1044" y="132"/>
                  <a:pt x="1044" y="132"/>
                </a:cubicBezTo>
                <a:cubicBezTo>
                  <a:pt x="1044" y="132"/>
                  <a:pt x="1044" y="132"/>
                  <a:pt x="1044" y="132"/>
                </a:cubicBezTo>
                <a:cubicBezTo>
                  <a:pt x="1043" y="132"/>
                  <a:pt x="1043" y="132"/>
                  <a:pt x="1043" y="132"/>
                </a:cubicBezTo>
                <a:cubicBezTo>
                  <a:pt x="1043" y="131"/>
                  <a:pt x="1043" y="131"/>
                  <a:pt x="1043" y="131"/>
                </a:cubicBezTo>
                <a:cubicBezTo>
                  <a:pt x="1042" y="131"/>
                  <a:pt x="1042" y="131"/>
                  <a:pt x="1042" y="131"/>
                </a:cubicBezTo>
                <a:cubicBezTo>
                  <a:pt x="1042" y="131"/>
                  <a:pt x="1042" y="131"/>
                  <a:pt x="1042" y="131"/>
                </a:cubicBezTo>
                <a:cubicBezTo>
                  <a:pt x="1042" y="131"/>
                  <a:pt x="1042" y="131"/>
                  <a:pt x="1042" y="131"/>
                </a:cubicBezTo>
                <a:cubicBezTo>
                  <a:pt x="1042" y="130"/>
                  <a:pt x="1042" y="130"/>
                  <a:pt x="1042" y="130"/>
                </a:cubicBezTo>
                <a:cubicBezTo>
                  <a:pt x="1041" y="130"/>
                  <a:pt x="1041" y="130"/>
                  <a:pt x="1041" y="130"/>
                </a:cubicBezTo>
                <a:cubicBezTo>
                  <a:pt x="1041" y="130"/>
                  <a:pt x="1041" y="130"/>
                  <a:pt x="1041" y="130"/>
                </a:cubicBezTo>
                <a:cubicBezTo>
                  <a:pt x="1041" y="130"/>
                  <a:pt x="1041" y="130"/>
                  <a:pt x="1041" y="130"/>
                </a:cubicBezTo>
                <a:cubicBezTo>
                  <a:pt x="1041" y="130"/>
                  <a:pt x="1041" y="130"/>
                  <a:pt x="1041" y="130"/>
                </a:cubicBezTo>
                <a:cubicBezTo>
                  <a:pt x="1040" y="130"/>
                  <a:pt x="1040" y="129"/>
                  <a:pt x="1040" y="129"/>
                </a:cubicBezTo>
                <a:cubicBezTo>
                  <a:pt x="1040" y="129"/>
                  <a:pt x="1040" y="129"/>
                  <a:pt x="1040" y="129"/>
                </a:cubicBezTo>
                <a:cubicBezTo>
                  <a:pt x="1040" y="128"/>
                  <a:pt x="1040" y="128"/>
                  <a:pt x="1040" y="128"/>
                </a:cubicBezTo>
                <a:cubicBezTo>
                  <a:pt x="1040" y="127"/>
                  <a:pt x="1040" y="127"/>
                  <a:pt x="1038" y="126"/>
                </a:cubicBezTo>
                <a:cubicBezTo>
                  <a:pt x="1036" y="125"/>
                  <a:pt x="1036" y="125"/>
                  <a:pt x="1036" y="125"/>
                </a:cubicBezTo>
                <a:cubicBezTo>
                  <a:pt x="1035" y="125"/>
                  <a:pt x="1035" y="125"/>
                  <a:pt x="1035" y="125"/>
                </a:cubicBezTo>
                <a:cubicBezTo>
                  <a:pt x="1035" y="124"/>
                  <a:pt x="1035" y="124"/>
                  <a:pt x="1035" y="124"/>
                </a:cubicBezTo>
                <a:cubicBezTo>
                  <a:pt x="1035" y="124"/>
                  <a:pt x="1035" y="124"/>
                  <a:pt x="1035" y="124"/>
                </a:cubicBezTo>
                <a:cubicBezTo>
                  <a:pt x="1035" y="124"/>
                  <a:pt x="1035" y="124"/>
                  <a:pt x="1035" y="124"/>
                </a:cubicBezTo>
                <a:cubicBezTo>
                  <a:pt x="1035" y="124"/>
                  <a:pt x="1035" y="124"/>
                  <a:pt x="1035" y="124"/>
                </a:cubicBezTo>
                <a:cubicBezTo>
                  <a:pt x="1034" y="124"/>
                  <a:pt x="1035" y="124"/>
                  <a:pt x="1035" y="123"/>
                </a:cubicBezTo>
                <a:cubicBezTo>
                  <a:pt x="1035" y="123"/>
                  <a:pt x="1035" y="123"/>
                  <a:pt x="1035" y="123"/>
                </a:cubicBezTo>
                <a:cubicBezTo>
                  <a:pt x="1035" y="123"/>
                  <a:pt x="1035" y="123"/>
                  <a:pt x="1035" y="123"/>
                </a:cubicBezTo>
                <a:cubicBezTo>
                  <a:pt x="1036" y="123"/>
                  <a:pt x="1036" y="123"/>
                  <a:pt x="1037" y="123"/>
                </a:cubicBezTo>
                <a:cubicBezTo>
                  <a:pt x="1037" y="123"/>
                  <a:pt x="1037" y="123"/>
                  <a:pt x="1037" y="123"/>
                </a:cubicBezTo>
                <a:cubicBezTo>
                  <a:pt x="1037" y="123"/>
                  <a:pt x="1037" y="123"/>
                  <a:pt x="1037" y="123"/>
                </a:cubicBezTo>
                <a:cubicBezTo>
                  <a:pt x="1037" y="123"/>
                  <a:pt x="1037" y="123"/>
                  <a:pt x="1037" y="123"/>
                </a:cubicBezTo>
                <a:cubicBezTo>
                  <a:pt x="1040" y="122"/>
                  <a:pt x="1038" y="121"/>
                  <a:pt x="1041" y="122"/>
                </a:cubicBezTo>
                <a:cubicBezTo>
                  <a:pt x="1042" y="122"/>
                  <a:pt x="1042" y="122"/>
                  <a:pt x="1042" y="122"/>
                </a:cubicBezTo>
                <a:cubicBezTo>
                  <a:pt x="1042" y="123"/>
                  <a:pt x="1042" y="123"/>
                  <a:pt x="1042" y="123"/>
                </a:cubicBezTo>
                <a:cubicBezTo>
                  <a:pt x="1042" y="122"/>
                  <a:pt x="1042" y="122"/>
                  <a:pt x="1042" y="122"/>
                </a:cubicBezTo>
                <a:cubicBezTo>
                  <a:pt x="1042" y="122"/>
                  <a:pt x="1042" y="122"/>
                  <a:pt x="1042" y="122"/>
                </a:cubicBezTo>
                <a:cubicBezTo>
                  <a:pt x="1041" y="122"/>
                  <a:pt x="1041" y="122"/>
                  <a:pt x="1041" y="122"/>
                </a:cubicBezTo>
                <a:cubicBezTo>
                  <a:pt x="1041" y="122"/>
                  <a:pt x="1041" y="122"/>
                  <a:pt x="1041" y="122"/>
                </a:cubicBezTo>
                <a:cubicBezTo>
                  <a:pt x="1041" y="122"/>
                  <a:pt x="1041" y="122"/>
                  <a:pt x="1041" y="122"/>
                </a:cubicBezTo>
                <a:cubicBezTo>
                  <a:pt x="1041" y="122"/>
                  <a:pt x="1041" y="122"/>
                  <a:pt x="1041" y="122"/>
                </a:cubicBezTo>
                <a:cubicBezTo>
                  <a:pt x="1040" y="121"/>
                  <a:pt x="1040" y="121"/>
                  <a:pt x="1040" y="121"/>
                </a:cubicBezTo>
                <a:cubicBezTo>
                  <a:pt x="1040" y="121"/>
                  <a:pt x="1040" y="121"/>
                  <a:pt x="1040" y="121"/>
                </a:cubicBezTo>
                <a:cubicBezTo>
                  <a:pt x="1040" y="121"/>
                  <a:pt x="1040" y="121"/>
                  <a:pt x="1040" y="121"/>
                </a:cubicBezTo>
                <a:cubicBezTo>
                  <a:pt x="1039" y="120"/>
                  <a:pt x="1038" y="119"/>
                  <a:pt x="1038" y="118"/>
                </a:cubicBezTo>
                <a:cubicBezTo>
                  <a:pt x="1037" y="117"/>
                  <a:pt x="1037" y="117"/>
                  <a:pt x="1037" y="117"/>
                </a:cubicBezTo>
                <a:cubicBezTo>
                  <a:pt x="1037" y="117"/>
                  <a:pt x="1037" y="117"/>
                  <a:pt x="1037" y="117"/>
                </a:cubicBezTo>
                <a:cubicBezTo>
                  <a:pt x="1037" y="117"/>
                  <a:pt x="1037" y="117"/>
                  <a:pt x="1037" y="117"/>
                </a:cubicBezTo>
                <a:cubicBezTo>
                  <a:pt x="1037" y="117"/>
                  <a:pt x="1037" y="117"/>
                  <a:pt x="1037" y="117"/>
                </a:cubicBezTo>
                <a:cubicBezTo>
                  <a:pt x="1037" y="117"/>
                  <a:pt x="1037" y="117"/>
                  <a:pt x="1037" y="117"/>
                </a:cubicBezTo>
                <a:cubicBezTo>
                  <a:pt x="1037" y="117"/>
                  <a:pt x="1037" y="117"/>
                  <a:pt x="1037" y="117"/>
                </a:cubicBezTo>
                <a:cubicBezTo>
                  <a:pt x="1037" y="117"/>
                  <a:pt x="1037" y="117"/>
                  <a:pt x="1037" y="117"/>
                </a:cubicBezTo>
                <a:cubicBezTo>
                  <a:pt x="1037" y="117"/>
                  <a:pt x="1037" y="117"/>
                  <a:pt x="1037" y="117"/>
                </a:cubicBezTo>
                <a:cubicBezTo>
                  <a:pt x="1037" y="117"/>
                  <a:pt x="1037" y="118"/>
                  <a:pt x="1037" y="118"/>
                </a:cubicBezTo>
                <a:cubicBezTo>
                  <a:pt x="1037" y="118"/>
                  <a:pt x="1037" y="118"/>
                  <a:pt x="1037" y="118"/>
                </a:cubicBezTo>
                <a:cubicBezTo>
                  <a:pt x="1037" y="118"/>
                  <a:pt x="1037" y="118"/>
                  <a:pt x="1037" y="118"/>
                </a:cubicBezTo>
                <a:cubicBezTo>
                  <a:pt x="1037" y="118"/>
                  <a:pt x="1037" y="118"/>
                  <a:pt x="1037" y="119"/>
                </a:cubicBezTo>
                <a:cubicBezTo>
                  <a:pt x="1037" y="119"/>
                  <a:pt x="1037" y="119"/>
                  <a:pt x="1037" y="119"/>
                </a:cubicBezTo>
                <a:cubicBezTo>
                  <a:pt x="1037" y="119"/>
                  <a:pt x="1037" y="119"/>
                  <a:pt x="1037" y="119"/>
                </a:cubicBezTo>
                <a:cubicBezTo>
                  <a:pt x="1037" y="119"/>
                  <a:pt x="1037" y="119"/>
                  <a:pt x="1037" y="119"/>
                </a:cubicBezTo>
                <a:cubicBezTo>
                  <a:pt x="1038" y="120"/>
                  <a:pt x="1038" y="120"/>
                  <a:pt x="1038" y="121"/>
                </a:cubicBezTo>
                <a:cubicBezTo>
                  <a:pt x="1038" y="121"/>
                  <a:pt x="1038" y="121"/>
                  <a:pt x="1038" y="121"/>
                </a:cubicBezTo>
                <a:cubicBezTo>
                  <a:pt x="1038" y="121"/>
                  <a:pt x="1038" y="121"/>
                  <a:pt x="1038" y="121"/>
                </a:cubicBezTo>
                <a:cubicBezTo>
                  <a:pt x="1038" y="121"/>
                  <a:pt x="1038" y="121"/>
                  <a:pt x="1038" y="121"/>
                </a:cubicBezTo>
                <a:cubicBezTo>
                  <a:pt x="1037" y="121"/>
                  <a:pt x="1037" y="121"/>
                  <a:pt x="1037" y="121"/>
                </a:cubicBezTo>
                <a:cubicBezTo>
                  <a:pt x="1034" y="121"/>
                  <a:pt x="1034" y="121"/>
                  <a:pt x="1034" y="121"/>
                </a:cubicBezTo>
                <a:cubicBezTo>
                  <a:pt x="1033" y="121"/>
                  <a:pt x="1033" y="121"/>
                  <a:pt x="1033" y="121"/>
                </a:cubicBezTo>
                <a:cubicBezTo>
                  <a:pt x="1033" y="121"/>
                  <a:pt x="1033" y="121"/>
                  <a:pt x="1033" y="121"/>
                </a:cubicBezTo>
                <a:cubicBezTo>
                  <a:pt x="1033" y="121"/>
                  <a:pt x="1033" y="121"/>
                  <a:pt x="1033" y="121"/>
                </a:cubicBezTo>
                <a:cubicBezTo>
                  <a:pt x="1033" y="121"/>
                  <a:pt x="1033" y="121"/>
                  <a:pt x="1033" y="121"/>
                </a:cubicBezTo>
                <a:cubicBezTo>
                  <a:pt x="1033" y="120"/>
                  <a:pt x="1033" y="120"/>
                  <a:pt x="1033" y="120"/>
                </a:cubicBezTo>
                <a:cubicBezTo>
                  <a:pt x="1033" y="120"/>
                  <a:pt x="1033" y="120"/>
                  <a:pt x="1033" y="120"/>
                </a:cubicBezTo>
                <a:cubicBezTo>
                  <a:pt x="1032" y="119"/>
                  <a:pt x="1032" y="119"/>
                  <a:pt x="1032" y="119"/>
                </a:cubicBezTo>
                <a:cubicBezTo>
                  <a:pt x="1031" y="119"/>
                  <a:pt x="1032" y="119"/>
                  <a:pt x="1030" y="117"/>
                </a:cubicBezTo>
                <a:cubicBezTo>
                  <a:pt x="1029" y="115"/>
                  <a:pt x="1029" y="115"/>
                  <a:pt x="1029" y="115"/>
                </a:cubicBezTo>
                <a:cubicBezTo>
                  <a:pt x="1028" y="113"/>
                  <a:pt x="1028" y="113"/>
                  <a:pt x="1028" y="113"/>
                </a:cubicBezTo>
                <a:cubicBezTo>
                  <a:pt x="1029" y="113"/>
                  <a:pt x="1029" y="113"/>
                  <a:pt x="1029" y="113"/>
                </a:cubicBezTo>
                <a:cubicBezTo>
                  <a:pt x="1030" y="113"/>
                  <a:pt x="1030" y="113"/>
                  <a:pt x="1030" y="113"/>
                </a:cubicBezTo>
                <a:cubicBezTo>
                  <a:pt x="1030" y="113"/>
                  <a:pt x="1030" y="113"/>
                  <a:pt x="1030" y="113"/>
                </a:cubicBezTo>
                <a:cubicBezTo>
                  <a:pt x="1030" y="113"/>
                  <a:pt x="1030" y="113"/>
                  <a:pt x="1030" y="113"/>
                </a:cubicBezTo>
                <a:cubicBezTo>
                  <a:pt x="1031" y="113"/>
                  <a:pt x="1031" y="113"/>
                  <a:pt x="1031" y="114"/>
                </a:cubicBezTo>
                <a:cubicBezTo>
                  <a:pt x="1032" y="114"/>
                  <a:pt x="1032" y="114"/>
                  <a:pt x="1032" y="114"/>
                </a:cubicBezTo>
                <a:cubicBezTo>
                  <a:pt x="1032" y="114"/>
                  <a:pt x="1032" y="114"/>
                  <a:pt x="1032" y="114"/>
                </a:cubicBezTo>
                <a:cubicBezTo>
                  <a:pt x="1032" y="114"/>
                  <a:pt x="1032" y="114"/>
                  <a:pt x="1032" y="114"/>
                </a:cubicBezTo>
                <a:cubicBezTo>
                  <a:pt x="1032" y="115"/>
                  <a:pt x="1032" y="115"/>
                  <a:pt x="1032" y="115"/>
                </a:cubicBezTo>
                <a:cubicBezTo>
                  <a:pt x="1032" y="115"/>
                  <a:pt x="1032" y="115"/>
                  <a:pt x="1032" y="115"/>
                </a:cubicBezTo>
                <a:cubicBezTo>
                  <a:pt x="1032" y="115"/>
                  <a:pt x="1032" y="115"/>
                  <a:pt x="1032" y="115"/>
                </a:cubicBezTo>
                <a:cubicBezTo>
                  <a:pt x="1033" y="115"/>
                  <a:pt x="1033" y="115"/>
                  <a:pt x="1033" y="115"/>
                </a:cubicBezTo>
                <a:cubicBezTo>
                  <a:pt x="1033" y="115"/>
                  <a:pt x="1033" y="115"/>
                  <a:pt x="1033" y="115"/>
                </a:cubicBezTo>
                <a:cubicBezTo>
                  <a:pt x="1033" y="115"/>
                  <a:pt x="1033" y="115"/>
                  <a:pt x="1033" y="115"/>
                </a:cubicBezTo>
                <a:cubicBezTo>
                  <a:pt x="1033" y="115"/>
                  <a:pt x="1033" y="115"/>
                  <a:pt x="1033" y="115"/>
                </a:cubicBezTo>
                <a:cubicBezTo>
                  <a:pt x="1033" y="116"/>
                  <a:pt x="1033" y="116"/>
                  <a:pt x="1033" y="116"/>
                </a:cubicBezTo>
                <a:cubicBezTo>
                  <a:pt x="1034" y="116"/>
                  <a:pt x="1034" y="116"/>
                  <a:pt x="1034" y="116"/>
                </a:cubicBezTo>
                <a:cubicBezTo>
                  <a:pt x="1034" y="116"/>
                  <a:pt x="1034" y="116"/>
                  <a:pt x="1035" y="116"/>
                </a:cubicBezTo>
                <a:cubicBezTo>
                  <a:pt x="1035" y="116"/>
                  <a:pt x="1035" y="116"/>
                  <a:pt x="1035" y="116"/>
                </a:cubicBezTo>
                <a:cubicBezTo>
                  <a:pt x="1035" y="116"/>
                  <a:pt x="1035" y="116"/>
                  <a:pt x="1035" y="116"/>
                </a:cubicBezTo>
                <a:cubicBezTo>
                  <a:pt x="1036" y="116"/>
                  <a:pt x="1036" y="116"/>
                  <a:pt x="1036" y="116"/>
                </a:cubicBezTo>
                <a:cubicBezTo>
                  <a:pt x="1037" y="116"/>
                  <a:pt x="1037" y="116"/>
                  <a:pt x="1037" y="116"/>
                </a:cubicBezTo>
                <a:cubicBezTo>
                  <a:pt x="1037" y="116"/>
                  <a:pt x="1037" y="116"/>
                  <a:pt x="1037" y="116"/>
                </a:cubicBezTo>
                <a:cubicBezTo>
                  <a:pt x="1037" y="116"/>
                  <a:pt x="1037" y="116"/>
                  <a:pt x="1037" y="116"/>
                </a:cubicBezTo>
                <a:cubicBezTo>
                  <a:pt x="1037" y="116"/>
                  <a:pt x="1037" y="116"/>
                  <a:pt x="1037" y="116"/>
                </a:cubicBezTo>
                <a:cubicBezTo>
                  <a:pt x="1037" y="116"/>
                  <a:pt x="1037" y="116"/>
                  <a:pt x="1037" y="116"/>
                </a:cubicBezTo>
                <a:cubicBezTo>
                  <a:pt x="1038" y="115"/>
                  <a:pt x="1038" y="115"/>
                  <a:pt x="1038" y="115"/>
                </a:cubicBezTo>
                <a:cubicBezTo>
                  <a:pt x="1038" y="115"/>
                  <a:pt x="1038" y="115"/>
                  <a:pt x="1039" y="116"/>
                </a:cubicBezTo>
                <a:cubicBezTo>
                  <a:pt x="1039" y="116"/>
                  <a:pt x="1039" y="116"/>
                  <a:pt x="1039" y="116"/>
                </a:cubicBezTo>
                <a:cubicBezTo>
                  <a:pt x="1039" y="116"/>
                  <a:pt x="1039" y="116"/>
                  <a:pt x="1039" y="116"/>
                </a:cubicBezTo>
                <a:cubicBezTo>
                  <a:pt x="1039" y="115"/>
                  <a:pt x="1040" y="115"/>
                  <a:pt x="1040" y="115"/>
                </a:cubicBezTo>
                <a:cubicBezTo>
                  <a:pt x="1040" y="115"/>
                  <a:pt x="1040" y="115"/>
                  <a:pt x="1040" y="115"/>
                </a:cubicBezTo>
                <a:cubicBezTo>
                  <a:pt x="1041" y="115"/>
                  <a:pt x="1041" y="115"/>
                  <a:pt x="1041" y="115"/>
                </a:cubicBezTo>
                <a:cubicBezTo>
                  <a:pt x="1041" y="115"/>
                  <a:pt x="1041" y="115"/>
                  <a:pt x="1041" y="115"/>
                </a:cubicBezTo>
                <a:cubicBezTo>
                  <a:pt x="1041" y="115"/>
                  <a:pt x="1041" y="115"/>
                  <a:pt x="1041" y="115"/>
                </a:cubicBezTo>
                <a:cubicBezTo>
                  <a:pt x="1041" y="115"/>
                  <a:pt x="1041" y="115"/>
                  <a:pt x="1041" y="115"/>
                </a:cubicBezTo>
                <a:cubicBezTo>
                  <a:pt x="1041" y="115"/>
                  <a:pt x="1041" y="115"/>
                  <a:pt x="1041" y="115"/>
                </a:cubicBezTo>
                <a:cubicBezTo>
                  <a:pt x="1042" y="114"/>
                  <a:pt x="1042" y="114"/>
                  <a:pt x="1042" y="114"/>
                </a:cubicBezTo>
                <a:cubicBezTo>
                  <a:pt x="1042" y="113"/>
                  <a:pt x="1042" y="113"/>
                  <a:pt x="1042" y="113"/>
                </a:cubicBezTo>
                <a:cubicBezTo>
                  <a:pt x="1042" y="113"/>
                  <a:pt x="1042" y="113"/>
                  <a:pt x="1042" y="113"/>
                </a:cubicBezTo>
                <a:cubicBezTo>
                  <a:pt x="1042" y="112"/>
                  <a:pt x="1042" y="112"/>
                  <a:pt x="1042" y="112"/>
                </a:cubicBezTo>
                <a:cubicBezTo>
                  <a:pt x="1042" y="111"/>
                  <a:pt x="1042" y="111"/>
                  <a:pt x="1042" y="111"/>
                </a:cubicBezTo>
                <a:cubicBezTo>
                  <a:pt x="1041" y="111"/>
                  <a:pt x="1041" y="111"/>
                  <a:pt x="1041" y="111"/>
                </a:cubicBezTo>
                <a:cubicBezTo>
                  <a:pt x="1041" y="110"/>
                  <a:pt x="1041" y="110"/>
                  <a:pt x="1041" y="110"/>
                </a:cubicBezTo>
                <a:cubicBezTo>
                  <a:pt x="1041" y="110"/>
                  <a:pt x="1041" y="110"/>
                  <a:pt x="1041" y="110"/>
                </a:cubicBezTo>
                <a:cubicBezTo>
                  <a:pt x="1041" y="110"/>
                  <a:pt x="1041" y="110"/>
                  <a:pt x="1041" y="110"/>
                </a:cubicBezTo>
                <a:cubicBezTo>
                  <a:pt x="1041" y="110"/>
                  <a:pt x="1041" y="110"/>
                  <a:pt x="1041" y="110"/>
                </a:cubicBezTo>
                <a:cubicBezTo>
                  <a:pt x="1040" y="110"/>
                  <a:pt x="1040" y="110"/>
                  <a:pt x="1040" y="110"/>
                </a:cubicBezTo>
                <a:cubicBezTo>
                  <a:pt x="1040" y="109"/>
                  <a:pt x="1040" y="109"/>
                  <a:pt x="1040" y="109"/>
                </a:cubicBezTo>
                <a:cubicBezTo>
                  <a:pt x="1039" y="109"/>
                  <a:pt x="1039" y="109"/>
                  <a:pt x="1039" y="109"/>
                </a:cubicBezTo>
                <a:cubicBezTo>
                  <a:pt x="1039" y="109"/>
                  <a:pt x="1039" y="109"/>
                  <a:pt x="1039" y="109"/>
                </a:cubicBezTo>
                <a:cubicBezTo>
                  <a:pt x="1039" y="109"/>
                  <a:pt x="1039" y="109"/>
                  <a:pt x="1039" y="109"/>
                </a:cubicBezTo>
                <a:cubicBezTo>
                  <a:pt x="1039" y="109"/>
                  <a:pt x="1039" y="109"/>
                  <a:pt x="1039" y="109"/>
                </a:cubicBezTo>
                <a:cubicBezTo>
                  <a:pt x="1038" y="108"/>
                  <a:pt x="1038" y="108"/>
                  <a:pt x="1038" y="108"/>
                </a:cubicBezTo>
                <a:cubicBezTo>
                  <a:pt x="1038" y="108"/>
                  <a:pt x="1038" y="108"/>
                  <a:pt x="1038" y="108"/>
                </a:cubicBezTo>
                <a:cubicBezTo>
                  <a:pt x="1030" y="107"/>
                  <a:pt x="1030" y="107"/>
                  <a:pt x="1030" y="107"/>
                </a:cubicBezTo>
                <a:cubicBezTo>
                  <a:pt x="1030" y="107"/>
                  <a:pt x="1030" y="107"/>
                  <a:pt x="1030" y="107"/>
                </a:cubicBezTo>
                <a:cubicBezTo>
                  <a:pt x="1031" y="107"/>
                  <a:pt x="1031" y="107"/>
                  <a:pt x="1031" y="107"/>
                </a:cubicBezTo>
                <a:cubicBezTo>
                  <a:pt x="1031" y="107"/>
                  <a:pt x="1031" y="107"/>
                  <a:pt x="1031" y="107"/>
                </a:cubicBezTo>
                <a:cubicBezTo>
                  <a:pt x="1032" y="107"/>
                  <a:pt x="1032" y="107"/>
                  <a:pt x="1032" y="107"/>
                </a:cubicBezTo>
                <a:cubicBezTo>
                  <a:pt x="1032" y="107"/>
                  <a:pt x="1032" y="107"/>
                  <a:pt x="1033" y="107"/>
                </a:cubicBezTo>
                <a:cubicBezTo>
                  <a:pt x="1033" y="107"/>
                  <a:pt x="1033" y="107"/>
                  <a:pt x="1033" y="107"/>
                </a:cubicBezTo>
                <a:cubicBezTo>
                  <a:pt x="1034" y="107"/>
                  <a:pt x="1034" y="107"/>
                  <a:pt x="1034" y="107"/>
                </a:cubicBezTo>
                <a:cubicBezTo>
                  <a:pt x="1034" y="107"/>
                  <a:pt x="1034" y="107"/>
                  <a:pt x="1035" y="106"/>
                </a:cubicBezTo>
                <a:cubicBezTo>
                  <a:pt x="1035" y="106"/>
                  <a:pt x="1035" y="106"/>
                  <a:pt x="1035" y="106"/>
                </a:cubicBezTo>
                <a:cubicBezTo>
                  <a:pt x="1035" y="106"/>
                  <a:pt x="1035" y="106"/>
                  <a:pt x="1035" y="106"/>
                </a:cubicBezTo>
                <a:cubicBezTo>
                  <a:pt x="1035" y="106"/>
                  <a:pt x="1035" y="106"/>
                  <a:pt x="1035" y="106"/>
                </a:cubicBezTo>
                <a:cubicBezTo>
                  <a:pt x="1036" y="106"/>
                  <a:pt x="1036" y="106"/>
                  <a:pt x="1036" y="106"/>
                </a:cubicBezTo>
                <a:cubicBezTo>
                  <a:pt x="1037" y="106"/>
                  <a:pt x="1036" y="104"/>
                  <a:pt x="1037" y="104"/>
                </a:cubicBezTo>
                <a:cubicBezTo>
                  <a:pt x="1038" y="105"/>
                  <a:pt x="1038" y="105"/>
                  <a:pt x="1038" y="105"/>
                </a:cubicBezTo>
                <a:cubicBezTo>
                  <a:pt x="1038" y="105"/>
                  <a:pt x="1038" y="105"/>
                  <a:pt x="1038" y="105"/>
                </a:cubicBezTo>
                <a:cubicBezTo>
                  <a:pt x="1039" y="105"/>
                  <a:pt x="1038" y="104"/>
                  <a:pt x="1039" y="104"/>
                </a:cubicBezTo>
                <a:cubicBezTo>
                  <a:pt x="1039" y="104"/>
                  <a:pt x="1039" y="104"/>
                  <a:pt x="1039" y="104"/>
                </a:cubicBezTo>
                <a:cubicBezTo>
                  <a:pt x="1040" y="104"/>
                  <a:pt x="1040" y="104"/>
                  <a:pt x="1040" y="104"/>
                </a:cubicBezTo>
                <a:cubicBezTo>
                  <a:pt x="1040" y="104"/>
                  <a:pt x="1040" y="104"/>
                  <a:pt x="1040" y="104"/>
                </a:cubicBezTo>
                <a:cubicBezTo>
                  <a:pt x="1039" y="103"/>
                  <a:pt x="1039" y="103"/>
                  <a:pt x="1039" y="103"/>
                </a:cubicBezTo>
                <a:cubicBezTo>
                  <a:pt x="1039" y="103"/>
                  <a:pt x="1039" y="103"/>
                  <a:pt x="1039" y="103"/>
                </a:cubicBezTo>
                <a:cubicBezTo>
                  <a:pt x="1031" y="100"/>
                  <a:pt x="1031" y="100"/>
                  <a:pt x="1031" y="100"/>
                </a:cubicBezTo>
                <a:cubicBezTo>
                  <a:pt x="1031" y="99"/>
                  <a:pt x="1031" y="99"/>
                  <a:pt x="1031" y="99"/>
                </a:cubicBezTo>
                <a:cubicBezTo>
                  <a:pt x="1034" y="99"/>
                  <a:pt x="1034" y="99"/>
                  <a:pt x="1034" y="99"/>
                </a:cubicBezTo>
                <a:cubicBezTo>
                  <a:pt x="1035" y="98"/>
                  <a:pt x="1036" y="98"/>
                  <a:pt x="1037" y="98"/>
                </a:cubicBezTo>
                <a:cubicBezTo>
                  <a:pt x="1037" y="98"/>
                  <a:pt x="1037" y="98"/>
                  <a:pt x="1037" y="98"/>
                </a:cubicBezTo>
                <a:cubicBezTo>
                  <a:pt x="1037" y="98"/>
                  <a:pt x="1037" y="98"/>
                  <a:pt x="1037" y="98"/>
                </a:cubicBezTo>
                <a:cubicBezTo>
                  <a:pt x="1037" y="98"/>
                  <a:pt x="1037" y="98"/>
                  <a:pt x="1037" y="98"/>
                </a:cubicBezTo>
                <a:cubicBezTo>
                  <a:pt x="1037" y="98"/>
                  <a:pt x="1037" y="98"/>
                  <a:pt x="1037" y="98"/>
                </a:cubicBezTo>
                <a:cubicBezTo>
                  <a:pt x="1037" y="98"/>
                  <a:pt x="1037" y="98"/>
                  <a:pt x="1037" y="98"/>
                </a:cubicBezTo>
                <a:cubicBezTo>
                  <a:pt x="1037" y="97"/>
                  <a:pt x="1037" y="97"/>
                  <a:pt x="1037" y="97"/>
                </a:cubicBezTo>
                <a:cubicBezTo>
                  <a:pt x="1037" y="97"/>
                  <a:pt x="1037" y="97"/>
                  <a:pt x="1037" y="97"/>
                </a:cubicBezTo>
                <a:cubicBezTo>
                  <a:pt x="1037" y="97"/>
                  <a:pt x="1037" y="97"/>
                  <a:pt x="1037" y="97"/>
                </a:cubicBezTo>
                <a:cubicBezTo>
                  <a:pt x="1037" y="97"/>
                  <a:pt x="1037" y="97"/>
                  <a:pt x="1037" y="97"/>
                </a:cubicBezTo>
                <a:cubicBezTo>
                  <a:pt x="1037" y="97"/>
                  <a:pt x="1037" y="97"/>
                  <a:pt x="1037" y="97"/>
                </a:cubicBezTo>
                <a:cubicBezTo>
                  <a:pt x="1037" y="97"/>
                  <a:pt x="1037" y="97"/>
                  <a:pt x="1037" y="97"/>
                </a:cubicBezTo>
                <a:cubicBezTo>
                  <a:pt x="1037" y="97"/>
                  <a:pt x="1037" y="97"/>
                  <a:pt x="1037" y="97"/>
                </a:cubicBezTo>
                <a:cubicBezTo>
                  <a:pt x="1038" y="97"/>
                  <a:pt x="1038" y="97"/>
                  <a:pt x="1038" y="97"/>
                </a:cubicBezTo>
                <a:cubicBezTo>
                  <a:pt x="1038" y="96"/>
                  <a:pt x="1038" y="96"/>
                  <a:pt x="1038" y="96"/>
                </a:cubicBezTo>
                <a:cubicBezTo>
                  <a:pt x="1038" y="96"/>
                  <a:pt x="1038" y="96"/>
                  <a:pt x="1038" y="96"/>
                </a:cubicBezTo>
                <a:cubicBezTo>
                  <a:pt x="1038" y="96"/>
                  <a:pt x="1038" y="96"/>
                  <a:pt x="1038" y="96"/>
                </a:cubicBezTo>
                <a:cubicBezTo>
                  <a:pt x="1038" y="96"/>
                  <a:pt x="1038" y="96"/>
                  <a:pt x="1038" y="96"/>
                </a:cubicBezTo>
                <a:cubicBezTo>
                  <a:pt x="1038" y="96"/>
                  <a:pt x="1038" y="96"/>
                  <a:pt x="1038" y="96"/>
                </a:cubicBezTo>
                <a:cubicBezTo>
                  <a:pt x="1038" y="96"/>
                  <a:pt x="1038" y="96"/>
                  <a:pt x="1038" y="96"/>
                </a:cubicBezTo>
                <a:cubicBezTo>
                  <a:pt x="1038" y="96"/>
                  <a:pt x="1038" y="96"/>
                  <a:pt x="1038" y="96"/>
                </a:cubicBezTo>
                <a:cubicBezTo>
                  <a:pt x="1037" y="95"/>
                  <a:pt x="1037" y="95"/>
                  <a:pt x="1037" y="95"/>
                </a:cubicBezTo>
                <a:cubicBezTo>
                  <a:pt x="1037" y="95"/>
                  <a:pt x="1037" y="95"/>
                  <a:pt x="1037" y="95"/>
                </a:cubicBezTo>
                <a:cubicBezTo>
                  <a:pt x="1037" y="95"/>
                  <a:pt x="1037" y="95"/>
                  <a:pt x="1037" y="95"/>
                </a:cubicBezTo>
                <a:cubicBezTo>
                  <a:pt x="1036" y="95"/>
                  <a:pt x="1036" y="95"/>
                  <a:pt x="1036" y="95"/>
                </a:cubicBezTo>
                <a:cubicBezTo>
                  <a:pt x="1036" y="94"/>
                  <a:pt x="1036" y="94"/>
                  <a:pt x="1036" y="94"/>
                </a:cubicBezTo>
                <a:cubicBezTo>
                  <a:pt x="1036" y="94"/>
                  <a:pt x="1036" y="94"/>
                  <a:pt x="1036" y="94"/>
                </a:cubicBezTo>
                <a:cubicBezTo>
                  <a:pt x="1035" y="94"/>
                  <a:pt x="1035" y="94"/>
                  <a:pt x="1035" y="94"/>
                </a:cubicBezTo>
                <a:cubicBezTo>
                  <a:pt x="1034" y="93"/>
                  <a:pt x="1034" y="93"/>
                  <a:pt x="1034" y="93"/>
                </a:cubicBezTo>
                <a:cubicBezTo>
                  <a:pt x="1031" y="92"/>
                  <a:pt x="1031" y="92"/>
                  <a:pt x="1031" y="92"/>
                </a:cubicBezTo>
                <a:cubicBezTo>
                  <a:pt x="1030" y="91"/>
                  <a:pt x="1030" y="91"/>
                  <a:pt x="1030" y="91"/>
                </a:cubicBezTo>
                <a:cubicBezTo>
                  <a:pt x="1029" y="90"/>
                  <a:pt x="1029" y="90"/>
                  <a:pt x="1029" y="90"/>
                </a:cubicBezTo>
                <a:cubicBezTo>
                  <a:pt x="1027" y="89"/>
                  <a:pt x="1027" y="89"/>
                  <a:pt x="1027" y="89"/>
                </a:cubicBezTo>
                <a:cubicBezTo>
                  <a:pt x="1026" y="88"/>
                  <a:pt x="1019" y="87"/>
                  <a:pt x="1017" y="87"/>
                </a:cubicBezTo>
                <a:cubicBezTo>
                  <a:pt x="1017" y="87"/>
                  <a:pt x="1017" y="87"/>
                  <a:pt x="1017" y="87"/>
                </a:cubicBezTo>
                <a:cubicBezTo>
                  <a:pt x="1017" y="87"/>
                  <a:pt x="1017" y="87"/>
                  <a:pt x="1017" y="87"/>
                </a:cubicBezTo>
                <a:cubicBezTo>
                  <a:pt x="1017" y="87"/>
                  <a:pt x="1017" y="87"/>
                  <a:pt x="1017" y="87"/>
                </a:cubicBezTo>
                <a:cubicBezTo>
                  <a:pt x="1016" y="87"/>
                  <a:pt x="1016" y="87"/>
                  <a:pt x="1016" y="87"/>
                </a:cubicBezTo>
                <a:cubicBezTo>
                  <a:pt x="1016" y="87"/>
                  <a:pt x="1016" y="87"/>
                  <a:pt x="1016" y="87"/>
                </a:cubicBezTo>
                <a:cubicBezTo>
                  <a:pt x="1016" y="87"/>
                  <a:pt x="1016" y="87"/>
                  <a:pt x="1016" y="87"/>
                </a:cubicBezTo>
                <a:cubicBezTo>
                  <a:pt x="1016" y="87"/>
                  <a:pt x="1016" y="87"/>
                  <a:pt x="1016" y="87"/>
                </a:cubicBezTo>
                <a:cubicBezTo>
                  <a:pt x="1015" y="88"/>
                  <a:pt x="1015" y="88"/>
                  <a:pt x="1015" y="88"/>
                </a:cubicBezTo>
                <a:cubicBezTo>
                  <a:pt x="1015" y="88"/>
                  <a:pt x="1015" y="88"/>
                  <a:pt x="1015" y="88"/>
                </a:cubicBezTo>
                <a:cubicBezTo>
                  <a:pt x="1015" y="89"/>
                  <a:pt x="1015" y="89"/>
                  <a:pt x="1015" y="89"/>
                </a:cubicBezTo>
                <a:cubicBezTo>
                  <a:pt x="1014" y="90"/>
                  <a:pt x="1014" y="90"/>
                  <a:pt x="1014" y="90"/>
                </a:cubicBezTo>
                <a:cubicBezTo>
                  <a:pt x="1014" y="90"/>
                  <a:pt x="1014" y="90"/>
                  <a:pt x="1014" y="90"/>
                </a:cubicBezTo>
                <a:cubicBezTo>
                  <a:pt x="1012" y="90"/>
                  <a:pt x="1012" y="90"/>
                  <a:pt x="1012" y="90"/>
                </a:cubicBezTo>
                <a:cubicBezTo>
                  <a:pt x="1010" y="91"/>
                  <a:pt x="1010" y="91"/>
                  <a:pt x="1010" y="91"/>
                </a:cubicBezTo>
                <a:cubicBezTo>
                  <a:pt x="1008" y="89"/>
                  <a:pt x="1008" y="89"/>
                  <a:pt x="1008" y="89"/>
                </a:cubicBezTo>
                <a:cubicBezTo>
                  <a:pt x="1008" y="89"/>
                  <a:pt x="1008" y="89"/>
                  <a:pt x="1008" y="89"/>
                </a:cubicBezTo>
                <a:cubicBezTo>
                  <a:pt x="1008" y="89"/>
                  <a:pt x="1008" y="89"/>
                  <a:pt x="1008" y="89"/>
                </a:cubicBezTo>
                <a:cubicBezTo>
                  <a:pt x="1008" y="89"/>
                  <a:pt x="1008" y="89"/>
                  <a:pt x="1008" y="89"/>
                </a:cubicBezTo>
                <a:cubicBezTo>
                  <a:pt x="1009" y="89"/>
                  <a:pt x="1009" y="89"/>
                  <a:pt x="1009" y="89"/>
                </a:cubicBezTo>
                <a:cubicBezTo>
                  <a:pt x="1010" y="88"/>
                  <a:pt x="1010" y="88"/>
                  <a:pt x="1010" y="88"/>
                </a:cubicBezTo>
                <a:cubicBezTo>
                  <a:pt x="1010" y="88"/>
                  <a:pt x="1010" y="88"/>
                  <a:pt x="1010" y="88"/>
                </a:cubicBezTo>
                <a:cubicBezTo>
                  <a:pt x="1010" y="88"/>
                  <a:pt x="1010" y="88"/>
                  <a:pt x="1010" y="88"/>
                </a:cubicBezTo>
                <a:cubicBezTo>
                  <a:pt x="1010" y="88"/>
                  <a:pt x="1010" y="88"/>
                  <a:pt x="1010" y="88"/>
                </a:cubicBezTo>
                <a:cubicBezTo>
                  <a:pt x="1010" y="88"/>
                  <a:pt x="1010" y="88"/>
                  <a:pt x="1010" y="88"/>
                </a:cubicBezTo>
                <a:cubicBezTo>
                  <a:pt x="1010" y="88"/>
                  <a:pt x="1010" y="88"/>
                  <a:pt x="1010" y="88"/>
                </a:cubicBezTo>
                <a:cubicBezTo>
                  <a:pt x="1010" y="88"/>
                  <a:pt x="1010" y="88"/>
                  <a:pt x="1010" y="88"/>
                </a:cubicBezTo>
                <a:cubicBezTo>
                  <a:pt x="1009" y="88"/>
                  <a:pt x="1009" y="88"/>
                  <a:pt x="1009" y="88"/>
                </a:cubicBezTo>
                <a:cubicBezTo>
                  <a:pt x="1009" y="88"/>
                  <a:pt x="1009" y="88"/>
                  <a:pt x="1009" y="88"/>
                </a:cubicBezTo>
                <a:cubicBezTo>
                  <a:pt x="1009" y="87"/>
                  <a:pt x="1008" y="87"/>
                  <a:pt x="1008" y="87"/>
                </a:cubicBezTo>
                <a:cubicBezTo>
                  <a:pt x="1006" y="87"/>
                  <a:pt x="1006" y="87"/>
                  <a:pt x="1006" y="87"/>
                </a:cubicBezTo>
                <a:cubicBezTo>
                  <a:pt x="1005" y="87"/>
                  <a:pt x="1005" y="87"/>
                  <a:pt x="1005" y="87"/>
                </a:cubicBezTo>
                <a:cubicBezTo>
                  <a:pt x="1003" y="88"/>
                  <a:pt x="1003" y="88"/>
                  <a:pt x="1003" y="88"/>
                </a:cubicBezTo>
                <a:cubicBezTo>
                  <a:pt x="1002" y="88"/>
                  <a:pt x="1002" y="88"/>
                  <a:pt x="1002" y="88"/>
                </a:cubicBezTo>
                <a:cubicBezTo>
                  <a:pt x="1002" y="87"/>
                  <a:pt x="1002" y="87"/>
                  <a:pt x="1002" y="87"/>
                </a:cubicBezTo>
                <a:cubicBezTo>
                  <a:pt x="1002" y="87"/>
                  <a:pt x="1002" y="87"/>
                  <a:pt x="1002" y="87"/>
                </a:cubicBezTo>
                <a:cubicBezTo>
                  <a:pt x="1002" y="87"/>
                  <a:pt x="1002" y="87"/>
                  <a:pt x="1002" y="87"/>
                </a:cubicBezTo>
                <a:cubicBezTo>
                  <a:pt x="1001" y="87"/>
                  <a:pt x="1001" y="87"/>
                  <a:pt x="1001" y="87"/>
                </a:cubicBezTo>
                <a:cubicBezTo>
                  <a:pt x="1001" y="87"/>
                  <a:pt x="1001" y="87"/>
                  <a:pt x="1001" y="87"/>
                </a:cubicBezTo>
                <a:cubicBezTo>
                  <a:pt x="1001" y="87"/>
                  <a:pt x="1001" y="87"/>
                  <a:pt x="1001" y="87"/>
                </a:cubicBezTo>
                <a:cubicBezTo>
                  <a:pt x="1001" y="87"/>
                  <a:pt x="1001" y="87"/>
                  <a:pt x="1001" y="87"/>
                </a:cubicBezTo>
                <a:cubicBezTo>
                  <a:pt x="1001" y="87"/>
                  <a:pt x="1001" y="87"/>
                  <a:pt x="1001" y="87"/>
                </a:cubicBezTo>
                <a:cubicBezTo>
                  <a:pt x="1001" y="87"/>
                  <a:pt x="1001" y="87"/>
                  <a:pt x="1001" y="87"/>
                </a:cubicBezTo>
                <a:cubicBezTo>
                  <a:pt x="1001" y="87"/>
                  <a:pt x="1001" y="87"/>
                  <a:pt x="1001" y="87"/>
                </a:cubicBezTo>
                <a:cubicBezTo>
                  <a:pt x="1000" y="87"/>
                  <a:pt x="1000" y="87"/>
                  <a:pt x="1000" y="87"/>
                </a:cubicBezTo>
                <a:cubicBezTo>
                  <a:pt x="1000" y="87"/>
                  <a:pt x="1000" y="87"/>
                  <a:pt x="1000" y="87"/>
                </a:cubicBezTo>
                <a:cubicBezTo>
                  <a:pt x="1000" y="87"/>
                  <a:pt x="1000" y="87"/>
                  <a:pt x="1000" y="87"/>
                </a:cubicBezTo>
                <a:cubicBezTo>
                  <a:pt x="999" y="87"/>
                  <a:pt x="999" y="87"/>
                  <a:pt x="999" y="87"/>
                </a:cubicBezTo>
                <a:cubicBezTo>
                  <a:pt x="999" y="87"/>
                  <a:pt x="999" y="87"/>
                  <a:pt x="999" y="87"/>
                </a:cubicBezTo>
                <a:cubicBezTo>
                  <a:pt x="998" y="87"/>
                  <a:pt x="998" y="87"/>
                  <a:pt x="998" y="87"/>
                </a:cubicBezTo>
                <a:cubicBezTo>
                  <a:pt x="998" y="87"/>
                  <a:pt x="998" y="87"/>
                  <a:pt x="998" y="87"/>
                </a:cubicBezTo>
                <a:cubicBezTo>
                  <a:pt x="997" y="87"/>
                  <a:pt x="997" y="87"/>
                  <a:pt x="997" y="87"/>
                </a:cubicBezTo>
                <a:cubicBezTo>
                  <a:pt x="997" y="87"/>
                  <a:pt x="997" y="87"/>
                  <a:pt x="997" y="87"/>
                </a:cubicBezTo>
                <a:cubicBezTo>
                  <a:pt x="998" y="86"/>
                  <a:pt x="998" y="86"/>
                  <a:pt x="998" y="86"/>
                </a:cubicBezTo>
                <a:cubicBezTo>
                  <a:pt x="998" y="86"/>
                  <a:pt x="998" y="86"/>
                  <a:pt x="998" y="86"/>
                </a:cubicBezTo>
                <a:cubicBezTo>
                  <a:pt x="998" y="86"/>
                  <a:pt x="998" y="86"/>
                  <a:pt x="998" y="86"/>
                </a:cubicBezTo>
                <a:cubicBezTo>
                  <a:pt x="998" y="86"/>
                  <a:pt x="998" y="86"/>
                  <a:pt x="998" y="86"/>
                </a:cubicBezTo>
                <a:cubicBezTo>
                  <a:pt x="998" y="85"/>
                  <a:pt x="998" y="85"/>
                  <a:pt x="998" y="85"/>
                </a:cubicBezTo>
                <a:cubicBezTo>
                  <a:pt x="998" y="85"/>
                  <a:pt x="998" y="85"/>
                  <a:pt x="998" y="85"/>
                </a:cubicBezTo>
                <a:cubicBezTo>
                  <a:pt x="998" y="85"/>
                  <a:pt x="998" y="85"/>
                  <a:pt x="998" y="85"/>
                </a:cubicBezTo>
                <a:cubicBezTo>
                  <a:pt x="998" y="85"/>
                  <a:pt x="998" y="85"/>
                  <a:pt x="998" y="85"/>
                </a:cubicBezTo>
                <a:cubicBezTo>
                  <a:pt x="997" y="85"/>
                  <a:pt x="997" y="85"/>
                  <a:pt x="997" y="85"/>
                </a:cubicBezTo>
                <a:cubicBezTo>
                  <a:pt x="997" y="85"/>
                  <a:pt x="997" y="85"/>
                  <a:pt x="997" y="85"/>
                </a:cubicBezTo>
                <a:cubicBezTo>
                  <a:pt x="997" y="85"/>
                  <a:pt x="997" y="85"/>
                  <a:pt x="997" y="85"/>
                </a:cubicBezTo>
                <a:cubicBezTo>
                  <a:pt x="997" y="85"/>
                  <a:pt x="997" y="85"/>
                  <a:pt x="997" y="85"/>
                </a:cubicBezTo>
                <a:cubicBezTo>
                  <a:pt x="997" y="85"/>
                  <a:pt x="997" y="85"/>
                  <a:pt x="997" y="85"/>
                </a:cubicBezTo>
                <a:cubicBezTo>
                  <a:pt x="997" y="85"/>
                  <a:pt x="997" y="85"/>
                  <a:pt x="997" y="85"/>
                </a:cubicBezTo>
                <a:cubicBezTo>
                  <a:pt x="997" y="85"/>
                  <a:pt x="997" y="85"/>
                  <a:pt x="997" y="85"/>
                </a:cubicBezTo>
                <a:cubicBezTo>
                  <a:pt x="997" y="84"/>
                  <a:pt x="997" y="84"/>
                  <a:pt x="997" y="84"/>
                </a:cubicBezTo>
                <a:cubicBezTo>
                  <a:pt x="996" y="84"/>
                  <a:pt x="995" y="85"/>
                  <a:pt x="994" y="84"/>
                </a:cubicBezTo>
                <a:cubicBezTo>
                  <a:pt x="994" y="84"/>
                  <a:pt x="994" y="84"/>
                  <a:pt x="994" y="84"/>
                </a:cubicBezTo>
                <a:cubicBezTo>
                  <a:pt x="994" y="84"/>
                  <a:pt x="994" y="84"/>
                  <a:pt x="994" y="84"/>
                </a:cubicBezTo>
                <a:cubicBezTo>
                  <a:pt x="994" y="84"/>
                  <a:pt x="994" y="84"/>
                  <a:pt x="994" y="84"/>
                </a:cubicBezTo>
                <a:cubicBezTo>
                  <a:pt x="994" y="84"/>
                  <a:pt x="994" y="84"/>
                  <a:pt x="994" y="84"/>
                </a:cubicBezTo>
                <a:cubicBezTo>
                  <a:pt x="994" y="84"/>
                  <a:pt x="994" y="84"/>
                  <a:pt x="994" y="84"/>
                </a:cubicBezTo>
                <a:cubicBezTo>
                  <a:pt x="994" y="84"/>
                  <a:pt x="994" y="84"/>
                  <a:pt x="994" y="84"/>
                </a:cubicBezTo>
                <a:cubicBezTo>
                  <a:pt x="992" y="84"/>
                  <a:pt x="993" y="83"/>
                  <a:pt x="992" y="83"/>
                </a:cubicBezTo>
                <a:cubicBezTo>
                  <a:pt x="991" y="83"/>
                  <a:pt x="991" y="83"/>
                  <a:pt x="991" y="83"/>
                </a:cubicBezTo>
                <a:cubicBezTo>
                  <a:pt x="991" y="83"/>
                  <a:pt x="991" y="83"/>
                  <a:pt x="991" y="83"/>
                </a:cubicBezTo>
                <a:cubicBezTo>
                  <a:pt x="990" y="83"/>
                  <a:pt x="991" y="83"/>
                  <a:pt x="990" y="83"/>
                </a:cubicBezTo>
                <a:cubicBezTo>
                  <a:pt x="989" y="83"/>
                  <a:pt x="989" y="83"/>
                  <a:pt x="989" y="83"/>
                </a:cubicBezTo>
                <a:cubicBezTo>
                  <a:pt x="989" y="82"/>
                  <a:pt x="989" y="82"/>
                  <a:pt x="989" y="82"/>
                </a:cubicBezTo>
                <a:cubicBezTo>
                  <a:pt x="989" y="82"/>
                  <a:pt x="989" y="82"/>
                  <a:pt x="989" y="82"/>
                </a:cubicBezTo>
                <a:cubicBezTo>
                  <a:pt x="989" y="82"/>
                  <a:pt x="989" y="82"/>
                  <a:pt x="989" y="82"/>
                </a:cubicBezTo>
                <a:cubicBezTo>
                  <a:pt x="989" y="82"/>
                  <a:pt x="989" y="82"/>
                  <a:pt x="989" y="82"/>
                </a:cubicBezTo>
                <a:cubicBezTo>
                  <a:pt x="989" y="82"/>
                  <a:pt x="989" y="82"/>
                  <a:pt x="989" y="82"/>
                </a:cubicBezTo>
                <a:cubicBezTo>
                  <a:pt x="988" y="83"/>
                  <a:pt x="988" y="83"/>
                  <a:pt x="988" y="83"/>
                </a:cubicBezTo>
                <a:cubicBezTo>
                  <a:pt x="986" y="84"/>
                  <a:pt x="986" y="84"/>
                  <a:pt x="986" y="84"/>
                </a:cubicBezTo>
                <a:cubicBezTo>
                  <a:pt x="986" y="84"/>
                  <a:pt x="986" y="84"/>
                  <a:pt x="986" y="84"/>
                </a:cubicBezTo>
                <a:cubicBezTo>
                  <a:pt x="985" y="84"/>
                  <a:pt x="985" y="84"/>
                  <a:pt x="985" y="84"/>
                </a:cubicBezTo>
                <a:cubicBezTo>
                  <a:pt x="985" y="84"/>
                  <a:pt x="985" y="84"/>
                  <a:pt x="985" y="84"/>
                </a:cubicBezTo>
                <a:cubicBezTo>
                  <a:pt x="985" y="84"/>
                  <a:pt x="986" y="84"/>
                  <a:pt x="985" y="83"/>
                </a:cubicBezTo>
                <a:cubicBezTo>
                  <a:pt x="985" y="83"/>
                  <a:pt x="985" y="83"/>
                  <a:pt x="985" y="83"/>
                </a:cubicBezTo>
                <a:cubicBezTo>
                  <a:pt x="985" y="83"/>
                  <a:pt x="985" y="83"/>
                  <a:pt x="985" y="83"/>
                </a:cubicBezTo>
                <a:cubicBezTo>
                  <a:pt x="985" y="83"/>
                  <a:pt x="985" y="83"/>
                  <a:pt x="985" y="83"/>
                </a:cubicBezTo>
                <a:cubicBezTo>
                  <a:pt x="985" y="83"/>
                  <a:pt x="985" y="83"/>
                  <a:pt x="985" y="83"/>
                </a:cubicBezTo>
                <a:cubicBezTo>
                  <a:pt x="985" y="83"/>
                  <a:pt x="985" y="83"/>
                  <a:pt x="985" y="83"/>
                </a:cubicBezTo>
                <a:cubicBezTo>
                  <a:pt x="984" y="83"/>
                  <a:pt x="984" y="83"/>
                  <a:pt x="984" y="83"/>
                </a:cubicBezTo>
                <a:cubicBezTo>
                  <a:pt x="984" y="83"/>
                  <a:pt x="984" y="83"/>
                  <a:pt x="984" y="83"/>
                </a:cubicBezTo>
                <a:cubicBezTo>
                  <a:pt x="985" y="84"/>
                  <a:pt x="985" y="84"/>
                  <a:pt x="985" y="84"/>
                </a:cubicBezTo>
                <a:cubicBezTo>
                  <a:pt x="985" y="85"/>
                  <a:pt x="985" y="85"/>
                  <a:pt x="985" y="85"/>
                </a:cubicBezTo>
                <a:cubicBezTo>
                  <a:pt x="985" y="85"/>
                  <a:pt x="985" y="85"/>
                  <a:pt x="985" y="85"/>
                </a:cubicBezTo>
                <a:cubicBezTo>
                  <a:pt x="985" y="85"/>
                  <a:pt x="985" y="85"/>
                  <a:pt x="985" y="85"/>
                </a:cubicBezTo>
                <a:cubicBezTo>
                  <a:pt x="985" y="85"/>
                  <a:pt x="985" y="85"/>
                  <a:pt x="985" y="85"/>
                </a:cubicBezTo>
                <a:cubicBezTo>
                  <a:pt x="985" y="85"/>
                  <a:pt x="985" y="85"/>
                  <a:pt x="985" y="85"/>
                </a:cubicBezTo>
                <a:cubicBezTo>
                  <a:pt x="984" y="86"/>
                  <a:pt x="983" y="86"/>
                  <a:pt x="983" y="86"/>
                </a:cubicBezTo>
                <a:cubicBezTo>
                  <a:pt x="983" y="86"/>
                  <a:pt x="983" y="86"/>
                  <a:pt x="983" y="86"/>
                </a:cubicBezTo>
                <a:cubicBezTo>
                  <a:pt x="982" y="86"/>
                  <a:pt x="982" y="86"/>
                  <a:pt x="982" y="86"/>
                </a:cubicBezTo>
                <a:cubicBezTo>
                  <a:pt x="982" y="86"/>
                  <a:pt x="982" y="86"/>
                  <a:pt x="982" y="86"/>
                </a:cubicBezTo>
                <a:cubicBezTo>
                  <a:pt x="982" y="86"/>
                  <a:pt x="982" y="86"/>
                  <a:pt x="982" y="86"/>
                </a:cubicBezTo>
                <a:cubicBezTo>
                  <a:pt x="982" y="86"/>
                  <a:pt x="982" y="86"/>
                  <a:pt x="982" y="86"/>
                </a:cubicBezTo>
                <a:cubicBezTo>
                  <a:pt x="982" y="86"/>
                  <a:pt x="982" y="86"/>
                  <a:pt x="982" y="86"/>
                </a:cubicBezTo>
                <a:cubicBezTo>
                  <a:pt x="981" y="86"/>
                  <a:pt x="981" y="86"/>
                  <a:pt x="981" y="86"/>
                </a:cubicBezTo>
                <a:cubicBezTo>
                  <a:pt x="981" y="86"/>
                  <a:pt x="981" y="86"/>
                  <a:pt x="981" y="86"/>
                </a:cubicBezTo>
                <a:cubicBezTo>
                  <a:pt x="982" y="85"/>
                  <a:pt x="982" y="85"/>
                  <a:pt x="982" y="85"/>
                </a:cubicBezTo>
                <a:cubicBezTo>
                  <a:pt x="981" y="85"/>
                  <a:pt x="981" y="85"/>
                  <a:pt x="981" y="85"/>
                </a:cubicBezTo>
                <a:cubicBezTo>
                  <a:pt x="981" y="85"/>
                  <a:pt x="981" y="85"/>
                  <a:pt x="981" y="85"/>
                </a:cubicBezTo>
                <a:cubicBezTo>
                  <a:pt x="981" y="85"/>
                  <a:pt x="981" y="85"/>
                  <a:pt x="981" y="85"/>
                </a:cubicBezTo>
                <a:cubicBezTo>
                  <a:pt x="981" y="85"/>
                  <a:pt x="981" y="85"/>
                  <a:pt x="981" y="85"/>
                </a:cubicBezTo>
                <a:cubicBezTo>
                  <a:pt x="981" y="85"/>
                  <a:pt x="981" y="85"/>
                  <a:pt x="981" y="85"/>
                </a:cubicBezTo>
                <a:cubicBezTo>
                  <a:pt x="981" y="85"/>
                  <a:pt x="981" y="85"/>
                  <a:pt x="981" y="85"/>
                </a:cubicBezTo>
                <a:cubicBezTo>
                  <a:pt x="981" y="84"/>
                  <a:pt x="981" y="84"/>
                  <a:pt x="981" y="84"/>
                </a:cubicBezTo>
                <a:cubicBezTo>
                  <a:pt x="981" y="84"/>
                  <a:pt x="981" y="84"/>
                  <a:pt x="981" y="84"/>
                </a:cubicBezTo>
                <a:cubicBezTo>
                  <a:pt x="981" y="84"/>
                  <a:pt x="981" y="84"/>
                  <a:pt x="981" y="84"/>
                </a:cubicBezTo>
                <a:cubicBezTo>
                  <a:pt x="981" y="84"/>
                  <a:pt x="981" y="84"/>
                  <a:pt x="981" y="84"/>
                </a:cubicBezTo>
                <a:cubicBezTo>
                  <a:pt x="981" y="84"/>
                  <a:pt x="981" y="84"/>
                  <a:pt x="981" y="84"/>
                </a:cubicBezTo>
                <a:cubicBezTo>
                  <a:pt x="980" y="84"/>
                  <a:pt x="980" y="84"/>
                  <a:pt x="980" y="84"/>
                </a:cubicBezTo>
                <a:cubicBezTo>
                  <a:pt x="980" y="85"/>
                  <a:pt x="980" y="85"/>
                  <a:pt x="980" y="85"/>
                </a:cubicBezTo>
                <a:cubicBezTo>
                  <a:pt x="980" y="85"/>
                  <a:pt x="980" y="85"/>
                  <a:pt x="980" y="85"/>
                </a:cubicBezTo>
                <a:cubicBezTo>
                  <a:pt x="980" y="85"/>
                  <a:pt x="980" y="85"/>
                  <a:pt x="980" y="85"/>
                </a:cubicBezTo>
                <a:cubicBezTo>
                  <a:pt x="979" y="85"/>
                  <a:pt x="979" y="85"/>
                  <a:pt x="979" y="85"/>
                </a:cubicBezTo>
                <a:cubicBezTo>
                  <a:pt x="979" y="85"/>
                  <a:pt x="979" y="85"/>
                  <a:pt x="979" y="85"/>
                </a:cubicBezTo>
                <a:cubicBezTo>
                  <a:pt x="979" y="85"/>
                  <a:pt x="979" y="85"/>
                  <a:pt x="979" y="85"/>
                </a:cubicBezTo>
                <a:cubicBezTo>
                  <a:pt x="978" y="87"/>
                  <a:pt x="978" y="87"/>
                  <a:pt x="978" y="87"/>
                </a:cubicBezTo>
                <a:cubicBezTo>
                  <a:pt x="978" y="87"/>
                  <a:pt x="978" y="87"/>
                  <a:pt x="978" y="87"/>
                </a:cubicBezTo>
                <a:cubicBezTo>
                  <a:pt x="979" y="88"/>
                  <a:pt x="979" y="88"/>
                  <a:pt x="979" y="88"/>
                </a:cubicBezTo>
                <a:cubicBezTo>
                  <a:pt x="979" y="89"/>
                  <a:pt x="979" y="89"/>
                  <a:pt x="979" y="89"/>
                </a:cubicBezTo>
                <a:cubicBezTo>
                  <a:pt x="979" y="89"/>
                  <a:pt x="979" y="89"/>
                  <a:pt x="979" y="89"/>
                </a:cubicBezTo>
                <a:cubicBezTo>
                  <a:pt x="979" y="89"/>
                  <a:pt x="979" y="89"/>
                  <a:pt x="979" y="89"/>
                </a:cubicBezTo>
                <a:cubicBezTo>
                  <a:pt x="979" y="89"/>
                  <a:pt x="979" y="89"/>
                  <a:pt x="979" y="89"/>
                </a:cubicBezTo>
                <a:cubicBezTo>
                  <a:pt x="978" y="89"/>
                  <a:pt x="978" y="89"/>
                  <a:pt x="978" y="89"/>
                </a:cubicBezTo>
                <a:cubicBezTo>
                  <a:pt x="978" y="89"/>
                  <a:pt x="978" y="89"/>
                  <a:pt x="978" y="89"/>
                </a:cubicBezTo>
                <a:cubicBezTo>
                  <a:pt x="978" y="89"/>
                  <a:pt x="978" y="89"/>
                  <a:pt x="978" y="89"/>
                </a:cubicBezTo>
                <a:cubicBezTo>
                  <a:pt x="978" y="90"/>
                  <a:pt x="978" y="90"/>
                  <a:pt x="978" y="90"/>
                </a:cubicBezTo>
                <a:cubicBezTo>
                  <a:pt x="978" y="90"/>
                  <a:pt x="978" y="90"/>
                  <a:pt x="978" y="90"/>
                </a:cubicBezTo>
                <a:cubicBezTo>
                  <a:pt x="978" y="90"/>
                  <a:pt x="978" y="90"/>
                  <a:pt x="978" y="90"/>
                </a:cubicBezTo>
                <a:cubicBezTo>
                  <a:pt x="979" y="90"/>
                  <a:pt x="979" y="90"/>
                  <a:pt x="979" y="90"/>
                </a:cubicBezTo>
                <a:cubicBezTo>
                  <a:pt x="979" y="90"/>
                  <a:pt x="979" y="90"/>
                  <a:pt x="979" y="90"/>
                </a:cubicBezTo>
                <a:cubicBezTo>
                  <a:pt x="979" y="91"/>
                  <a:pt x="979" y="91"/>
                  <a:pt x="979" y="91"/>
                </a:cubicBezTo>
                <a:cubicBezTo>
                  <a:pt x="980" y="91"/>
                  <a:pt x="980" y="91"/>
                  <a:pt x="980" y="91"/>
                </a:cubicBezTo>
                <a:cubicBezTo>
                  <a:pt x="980" y="92"/>
                  <a:pt x="980" y="92"/>
                  <a:pt x="980" y="92"/>
                </a:cubicBezTo>
                <a:cubicBezTo>
                  <a:pt x="980" y="93"/>
                  <a:pt x="980" y="93"/>
                  <a:pt x="980" y="93"/>
                </a:cubicBezTo>
                <a:cubicBezTo>
                  <a:pt x="981" y="93"/>
                  <a:pt x="981" y="93"/>
                  <a:pt x="981" y="93"/>
                </a:cubicBezTo>
                <a:cubicBezTo>
                  <a:pt x="981" y="94"/>
                  <a:pt x="981" y="94"/>
                  <a:pt x="981" y="94"/>
                </a:cubicBezTo>
                <a:cubicBezTo>
                  <a:pt x="981" y="94"/>
                  <a:pt x="981" y="94"/>
                  <a:pt x="981" y="94"/>
                </a:cubicBezTo>
                <a:cubicBezTo>
                  <a:pt x="981" y="94"/>
                  <a:pt x="981" y="94"/>
                  <a:pt x="981" y="94"/>
                </a:cubicBezTo>
                <a:cubicBezTo>
                  <a:pt x="982" y="94"/>
                  <a:pt x="982" y="94"/>
                  <a:pt x="982" y="94"/>
                </a:cubicBezTo>
                <a:cubicBezTo>
                  <a:pt x="982" y="94"/>
                  <a:pt x="982" y="94"/>
                  <a:pt x="982" y="94"/>
                </a:cubicBezTo>
                <a:cubicBezTo>
                  <a:pt x="982" y="94"/>
                  <a:pt x="982" y="94"/>
                  <a:pt x="982" y="94"/>
                </a:cubicBezTo>
                <a:cubicBezTo>
                  <a:pt x="981" y="94"/>
                  <a:pt x="981" y="94"/>
                  <a:pt x="981" y="94"/>
                </a:cubicBezTo>
                <a:cubicBezTo>
                  <a:pt x="979" y="95"/>
                  <a:pt x="979" y="95"/>
                  <a:pt x="979" y="95"/>
                </a:cubicBezTo>
                <a:cubicBezTo>
                  <a:pt x="979" y="95"/>
                  <a:pt x="979" y="95"/>
                  <a:pt x="979" y="95"/>
                </a:cubicBezTo>
                <a:cubicBezTo>
                  <a:pt x="979" y="97"/>
                  <a:pt x="979" y="97"/>
                  <a:pt x="979" y="97"/>
                </a:cubicBezTo>
                <a:cubicBezTo>
                  <a:pt x="979" y="97"/>
                  <a:pt x="977" y="100"/>
                  <a:pt x="976" y="99"/>
                </a:cubicBezTo>
                <a:cubicBezTo>
                  <a:pt x="976" y="99"/>
                  <a:pt x="976" y="99"/>
                  <a:pt x="976" y="99"/>
                </a:cubicBezTo>
                <a:cubicBezTo>
                  <a:pt x="976" y="99"/>
                  <a:pt x="976" y="99"/>
                  <a:pt x="976" y="99"/>
                </a:cubicBezTo>
                <a:cubicBezTo>
                  <a:pt x="974" y="98"/>
                  <a:pt x="971" y="99"/>
                  <a:pt x="969" y="98"/>
                </a:cubicBezTo>
                <a:cubicBezTo>
                  <a:pt x="965" y="99"/>
                  <a:pt x="965" y="99"/>
                  <a:pt x="965" y="99"/>
                </a:cubicBezTo>
                <a:cubicBezTo>
                  <a:pt x="945" y="98"/>
                  <a:pt x="945" y="98"/>
                  <a:pt x="945" y="98"/>
                </a:cubicBezTo>
                <a:cubicBezTo>
                  <a:pt x="942" y="98"/>
                  <a:pt x="942" y="98"/>
                  <a:pt x="942" y="98"/>
                </a:cubicBezTo>
                <a:cubicBezTo>
                  <a:pt x="941" y="98"/>
                  <a:pt x="941" y="98"/>
                  <a:pt x="941" y="98"/>
                </a:cubicBezTo>
                <a:cubicBezTo>
                  <a:pt x="929" y="94"/>
                  <a:pt x="929" y="94"/>
                  <a:pt x="929" y="94"/>
                </a:cubicBezTo>
                <a:cubicBezTo>
                  <a:pt x="929" y="94"/>
                  <a:pt x="929" y="94"/>
                  <a:pt x="929" y="94"/>
                </a:cubicBezTo>
                <a:cubicBezTo>
                  <a:pt x="929" y="93"/>
                  <a:pt x="929" y="93"/>
                  <a:pt x="929" y="93"/>
                </a:cubicBezTo>
                <a:cubicBezTo>
                  <a:pt x="928" y="91"/>
                  <a:pt x="928" y="91"/>
                  <a:pt x="928" y="91"/>
                </a:cubicBezTo>
                <a:cubicBezTo>
                  <a:pt x="929" y="89"/>
                  <a:pt x="929" y="89"/>
                  <a:pt x="929" y="89"/>
                </a:cubicBezTo>
                <a:cubicBezTo>
                  <a:pt x="930" y="89"/>
                  <a:pt x="930" y="89"/>
                  <a:pt x="930" y="89"/>
                </a:cubicBezTo>
                <a:cubicBezTo>
                  <a:pt x="931" y="88"/>
                  <a:pt x="931" y="88"/>
                  <a:pt x="931" y="88"/>
                </a:cubicBezTo>
                <a:cubicBezTo>
                  <a:pt x="933" y="88"/>
                  <a:pt x="933" y="88"/>
                  <a:pt x="933" y="88"/>
                </a:cubicBezTo>
                <a:cubicBezTo>
                  <a:pt x="934" y="88"/>
                  <a:pt x="934" y="88"/>
                  <a:pt x="934" y="88"/>
                </a:cubicBezTo>
                <a:cubicBezTo>
                  <a:pt x="934" y="88"/>
                  <a:pt x="934" y="88"/>
                  <a:pt x="934" y="88"/>
                </a:cubicBezTo>
                <a:cubicBezTo>
                  <a:pt x="934" y="88"/>
                  <a:pt x="934" y="88"/>
                  <a:pt x="934" y="88"/>
                </a:cubicBezTo>
                <a:cubicBezTo>
                  <a:pt x="934" y="88"/>
                  <a:pt x="934" y="88"/>
                  <a:pt x="934" y="88"/>
                </a:cubicBezTo>
                <a:cubicBezTo>
                  <a:pt x="934" y="88"/>
                  <a:pt x="934" y="88"/>
                  <a:pt x="934" y="88"/>
                </a:cubicBezTo>
                <a:cubicBezTo>
                  <a:pt x="933" y="88"/>
                  <a:pt x="933" y="88"/>
                  <a:pt x="933" y="88"/>
                </a:cubicBezTo>
                <a:cubicBezTo>
                  <a:pt x="933" y="88"/>
                  <a:pt x="933" y="88"/>
                  <a:pt x="933" y="88"/>
                </a:cubicBezTo>
                <a:cubicBezTo>
                  <a:pt x="933" y="87"/>
                  <a:pt x="932" y="87"/>
                  <a:pt x="931" y="87"/>
                </a:cubicBezTo>
                <a:cubicBezTo>
                  <a:pt x="931" y="87"/>
                  <a:pt x="931" y="87"/>
                  <a:pt x="931" y="87"/>
                </a:cubicBezTo>
                <a:cubicBezTo>
                  <a:pt x="930" y="87"/>
                  <a:pt x="930" y="87"/>
                  <a:pt x="930" y="87"/>
                </a:cubicBezTo>
                <a:cubicBezTo>
                  <a:pt x="930" y="87"/>
                  <a:pt x="929" y="87"/>
                  <a:pt x="928" y="87"/>
                </a:cubicBezTo>
                <a:cubicBezTo>
                  <a:pt x="928" y="87"/>
                  <a:pt x="928" y="87"/>
                  <a:pt x="928" y="87"/>
                </a:cubicBezTo>
                <a:cubicBezTo>
                  <a:pt x="928" y="87"/>
                  <a:pt x="928" y="87"/>
                  <a:pt x="928" y="87"/>
                </a:cubicBezTo>
                <a:cubicBezTo>
                  <a:pt x="928" y="87"/>
                  <a:pt x="928" y="87"/>
                  <a:pt x="928" y="87"/>
                </a:cubicBezTo>
                <a:cubicBezTo>
                  <a:pt x="926" y="87"/>
                  <a:pt x="925" y="86"/>
                  <a:pt x="924" y="86"/>
                </a:cubicBezTo>
                <a:cubicBezTo>
                  <a:pt x="923" y="86"/>
                  <a:pt x="923" y="86"/>
                  <a:pt x="923" y="86"/>
                </a:cubicBezTo>
                <a:cubicBezTo>
                  <a:pt x="923" y="86"/>
                  <a:pt x="923" y="86"/>
                  <a:pt x="923" y="86"/>
                </a:cubicBezTo>
                <a:cubicBezTo>
                  <a:pt x="923" y="86"/>
                  <a:pt x="923" y="86"/>
                  <a:pt x="923" y="86"/>
                </a:cubicBezTo>
                <a:cubicBezTo>
                  <a:pt x="923" y="86"/>
                  <a:pt x="923" y="86"/>
                  <a:pt x="923" y="86"/>
                </a:cubicBezTo>
                <a:cubicBezTo>
                  <a:pt x="921" y="87"/>
                  <a:pt x="920" y="86"/>
                  <a:pt x="918" y="86"/>
                </a:cubicBezTo>
                <a:cubicBezTo>
                  <a:pt x="918" y="86"/>
                  <a:pt x="918" y="86"/>
                  <a:pt x="918" y="86"/>
                </a:cubicBezTo>
                <a:cubicBezTo>
                  <a:pt x="917" y="86"/>
                  <a:pt x="917" y="86"/>
                  <a:pt x="917" y="86"/>
                </a:cubicBezTo>
                <a:cubicBezTo>
                  <a:pt x="916" y="86"/>
                  <a:pt x="915" y="86"/>
                  <a:pt x="914" y="86"/>
                </a:cubicBezTo>
                <a:cubicBezTo>
                  <a:pt x="914" y="86"/>
                  <a:pt x="914" y="86"/>
                  <a:pt x="914" y="86"/>
                </a:cubicBezTo>
                <a:cubicBezTo>
                  <a:pt x="914" y="86"/>
                  <a:pt x="914" y="86"/>
                  <a:pt x="914" y="86"/>
                </a:cubicBezTo>
                <a:cubicBezTo>
                  <a:pt x="914" y="86"/>
                  <a:pt x="914" y="86"/>
                  <a:pt x="914" y="86"/>
                </a:cubicBezTo>
                <a:cubicBezTo>
                  <a:pt x="914" y="86"/>
                  <a:pt x="914" y="86"/>
                  <a:pt x="914" y="86"/>
                </a:cubicBezTo>
                <a:cubicBezTo>
                  <a:pt x="913" y="86"/>
                  <a:pt x="913" y="86"/>
                  <a:pt x="913" y="86"/>
                </a:cubicBezTo>
                <a:cubicBezTo>
                  <a:pt x="912" y="85"/>
                  <a:pt x="912" y="85"/>
                  <a:pt x="912" y="85"/>
                </a:cubicBezTo>
                <a:cubicBezTo>
                  <a:pt x="911" y="85"/>
                  <a:pt x="911" y="85"/>
                  <a:pt x="911" y="85"/>
                </a:cubicBezTo>
                <a:cubicBezTo>
                  <a:pt x="910" y="85"/>
                  <a:pt x="910" y="85"/>
                  <a:pt x="910" y="85"/>
                </a:cubicBezTo>
                <a:cubicBezTo>
                  <a:pt x="910" y="85"/>
                  <a:pt x="910" y="85"/>
                  <a:pt x="910" y="85"/>
                </a:cubicBezTo>
                <a:cubicBezTo>
                  <a:pt x="898" y="84"/>
                  <a:pt x="898" y="84"/>
                  <a:pt x="898" y="84"/>
                </a:cubicBezTo>
                <a:cubicBezTo>
                  <a:pt x="898" y="84"/>
                  <a:pt x="898" y="84"/>
                  <a:pt x="898" y="84"/>
                </a:cubicBezTo>
                <a:cubicBezTo>
                  <a:pt x="897" y="84"/>
                  <a:pt x="897" y="84"/>
                  <a:pt x="897" y="84"/>
                </a:cubicBezTo>
                <a:cubicBezTo>
                  <a:pt x="897" y="84"/>
                  <a:pt x="897" y="84"/>
                  <a:pt x="897" y="84"/>
                </a:cubicBezTo>
                <a:cubicBezTo>
                  <a:pt x="896" y="84"/>
                  <a:pt x="896" y="84"/>
                  <a:pt x="896" y="84"/>
                </a:cubicBezTo>
                <a:cubicBezTo>
                  <a:pt x="896" y="84"/>
                  <a:pt x="896" y="84"/>
                  <a:pt x="896" y="84"/>
                </a:cubicBezTo>
                <a:cubicBezTo>
                  <a:pt x="896" y="84"/>
                  <a:pt x="896" y="84"/>
                  <a:pt x="896" y="84"/>
                </a:cubicBezTo>
                <a:cubicBezTo>
                  <a:pt x="895" y="85"/>
                  <a:pt x="893" y="85"/>
                  <a:pt x="893" y="86"/>
                </a:cubicBezTo>
                <a:cubicBezTo>
                  <a:pt x="893" y="86"/>
                  <a:pt x="893" y="86"/>
                  <a:pt x="893" y="86"/>
                </a:cubicBezTo>
                <a:cubicBezTo>
                  <a:pt x="892" y="86"/>
                  <a:pt x="892" y="86"/>
                  <a:pt x="892" y="86"/>
                </a:cubicBezTo>
                <a:cubicBezTo>
                  <a:pt x="892" y="86"/>
                  <a:pt x="892" y="86"/>
                  <a:pt x="892" y="86"/>
                </a:cubicBezTo>
                <a:cubicBezTo>
                  <a:pt x="890" y="86"/>
                  <a:pt x="887" y="86"/>
                  <a:pt x="884" y="86"/>
                </a:cubicBezTo>
                <a:cubicBezTo>
                  <a:pt x="884" y="86"/>
                  <a:pt x="884" y="86"/>
                  <a:pt x="884" y="86"/>
                </a:cubicBezTo>
                <a:cubicBezTo>
                  <a:pt x="884" y="86"/>
                  <a:pt x="884" y="86"/>
                  <a:pt x="884" y="86"/>
                </a:cubicBezTo>
                <a:cubicBezTo>
                  <a:pt x="884" y="86"/>
                  <a:pt x="883" y="87"/>
                  <a:pt x="883" y="87"/>
                </a:cubicBezTo>
                <a:cubicBezTo>
                  <a:pt x="883" y="87"/>
                  <a:pt x="883" y="87"/>
                  <a:pt x="883" y="87"/>
                </a:cubicBezTo>
                <a:cubicBezTo>
                  <a:pt x="883" y="87"/>
                  <a:pt x="883" y="87"/>
                  <a:pt x="883" y="87"/>
                </a:cubicBezTo>
                <a:cubicBezTo>
                  <a:pt x="883" y="87"/>
                  <a:pt x="883" y="87"/>
                  <a:pt x="883" y="87"/>
                </a:cubicBezTo>
                <a:cubicBezTo>
                  <a:pt x="883" y="87"/>
                  <a:pt x="883" y="87"/>
                  <a:pt x="883" y="87"/>
                </a:cubicBezTo>
                <a:cubicBezTo>
                  <a:pt x="882" y="87"/>
                  <a:pt x="882" y="87"/>
                  <a:pt x="882" y="87"/>
                </a:cubicBezTo>
                <a:cubicBezTo>
                  <a:pt x="881" y="88"/>
                  <a:pt x="879" y="88"/>
                  <a:pt x="878" y="88"/>
                </a:cubicBezTo>
                <a:cubicBezTo>
                  <a:pt x="878" y="88"/>
                  <a:pt x="878" y="88"/>
                  <a:pt x="878" y="88"/>
                </a:cubicBezTo>
                <a:cubicBezTo>
                  <a:pt x="878" y="88"/>
                  <a:pt x="878" y="88"/>
                  <a:pt x="878" y="88"/>
                </a:cubicBezTo>
                <a:cubicBezTo>
                  <a:pt x="878" y="88"/>
                  <a:pt x="878" y="88"/>
                  <a:pt x="878" y="88"/>
                </a:cubicBezTo>
                <a:cubicBezTo>
                  <a:pt x="878" y="89"/>
                  <a:pt x="878" y="89"/>
                  <a:pt x="878" y="89"/>
                </a:cubicBezTo>
                <a:cubicBezTo>
                  <a:pt x="879" y="89"/>
                  <a:pt x="879" y="89"/>
                  <a:pt x="879" y="89"/>
                </a:cubicBezTo>
                <a:cubicBezTo>
                  <a:pt x="879" y="89"/>
                  <a:pt x="879" y="89"/>
                  <a:pt x="879" y="89"/>
                </a:cubicBezTo>
                <a:cubicBezTo>
                  <a:pt x="879" y="90"/>
                  <a:pt x="879" y="90"/>
                  <a:pt x="880" y="90"/>
                </a:cubicBezTo>
                <a:cubicBezTo>
                  <a:pt x="880" y="90"/>
                  <a:pt x="880" y="90"/>
                  <a:pt x="880" y="90"/>
                </a:cubicBezTo>
                <a:cubicBezTo>
                  <a:pt x="880" y="90"/>
                  <a:pt x="880" y="90"/>
                  <a:pt x="880" y="90"/>
                </a:cubicBezTo>
                <a:cubicBezTo>
                  <a:pt x="880" y="91"/>
                  <a:pt x="880" y="91"/>
                  <a:pt x="880" y="91"/>
                </a:cubicBezTo>
                <a:cubicBezTo>
                  <a:pt x="880" y="91"/>
                  <a:pt x="880" y="91"/>
                  <a:pt x="880" y="91"/>
                </a:cubicBezTo>
                <a:cubicBezTo>
                  <a:pt x="881" y="91"/>
                  <a:pt x="881" y="91"/>
                  <a:pt x="881" y="91"/>
                </a:cubicBezTo>
                <a:cubicBezTo>
                  <a:pt x="881" y="91"/>
                  <a:pt x="881" y="91"/>
                  <a:pt x="881" y="91"/>
                </a:cubicBezTo>
                <a:cubicBezTo>
                  <a:pt x="880" y="91"/>
                  <a:pt x="880" y="91"/>
                  <a:pt x="880" y="91"/>
                </a:cubicBezTo>
                <a:cubicBezTo>
                  <a:pt x="879" y="93"/>
                  <a:pt x="879" y="93"/>
                  <a:pt x="879" y="93"/>
                </a:cubicBezTo>
                <a:cubicBezTo>
                  <a:pt x="878" y="93"/>
                  <a:pt x="878" y="93"/>
                  <a:pt x="878" y="93"/>
                </a:cubicBezTo>
                <a:cubicBezTo>
                  <a:pt x="876" y="90"/>
                  <a:pt x="876" y="90"/>
                  <a:pt x="876" y="90"/>
                </a:cubicBezTo>
                <a:cubicBezTo>
                  <a:pt x="875" y="89"/>
                  <a:pt x="875" y="89"/>
                  <a:pt x="875" y="89"/>
                </a:cubicBezTo>
                <a:cubicBezTo>
                  <a:pt x="875" y="89"/>
                  <a:pt x="875" y="89"/>
                  <a:pt x="875" y="89"/>
                </a:cubicBezTo>
                <a:cubicBezTo>
                  <a:pt x="875" y="88"/>
                  <a:pt x="875" y="88"/>
                  <a:pt x="875" y="88"/>
                </a:cubicBezTo>
                <a:cubicBezTo>
                  <a:pt x="875" y="88"/>
                  <a:pt x="875" y="88"/>
                  <a:pt x="875" y="88"/>
                </a:cubicBezTo>
                <a:cubicBezTo>
                  <a:pt x="875" y="88"/>
                  <a:pt x="875" y="88"/>
                  <a:pt x="875" y="88"/>
                </a:cubicBezTo>
                <a:cubicBezTo>
                  <a:pt x="876" y="87"/>
                  <a:pt x="876" y="87"/>
                  <a:pt x="876" y="87"/>
                </a:cubicBezTo>
                <a:cubicBezTo>
                  <a:pt x="876" y="87"/>
                  <a:pt x="876" y="87"/>
                  <a:pt x="876" y="87"/>
                </a:cubicBezTo>
                <a:cubicBezTo>
                  <a:pt x="876" y="87"/>
                  <a:pt x="876" y="87"/>
                  <a:pt x="876" y="87"/>
                </a:cubicBezTo>
                <a:cubicBezTo>
                  <a:pt x="877" y="86"/>
                  <a:pt x="877" y="86"/>
                  <a:pt x="877" y="86"/>
                </a:cubicBezTo>
                <a:cubicBezTo>
                  <a:pt x="877" y="86"/>
                  <a:pt x="877" y="86"/>
                  <a:pt x="877" y="86"/>
                </a:cubicBezTo>
                <a:cubicBezTo>
                  <a:pt x="877" y="85"/>
                  <a:pt x="877" y="85"/>
                  <a:pt x="877" y="85"/>
                </a:cubicBezTo>
                <a:cubicBezTo>
                  <a:pt x="877" y="85"/>
                  <a:pt x="877" y="85"/>
                  <a:pt x="877" y="85"/>
                </a:cubicBezTo>
                <a:cubicBezTo>
                  <a:pt x="877" y="84"/>
                  <a:pt x="877" y="84"/>
                  <a:pt x="877" y="84"/>
                </a:cubicBezTo>
                <a:cubicBezTo>
                  <a:pt x="877" y="84"/>
                  <a:pt x="877" y="84"/>
                  <a:pt x="877" y="84"/>
                </a:cubicBezTo>
                <a:cubicBezTo>
                  <a:pt x="877" y="84"/>
                  <a:pt x="877" y="84"/>
                  <a:pt x="877" y="84"/>
                </a:cubicBezTo>
                <a:cubicBezTo>
                  <a:pt x="876" y="83"/>
                  <a:pt x="876" y="83"/>
                  <a:pt x="876" y="83"/>
                </a:cubicBezTo>
                <a:cubicBezTo>
                  <a:pt x="876" y="83"/>
                  <a:pt x="876" y="83"/>
                  <a:pt x="876" y="83"/>
                </a:cubicBezTo>
                <a:cubicBezTo>
                  <a:pt x="876" y="83"/>
                  <a:pt x="876" y="83"/>
                  <a:pt x="876" y="83"/>
                </a:cubicBezTo>
                <a:cubicBezTo>
                  <a:pt x="875" y="81"/>
                  <a:pt x="875" y="81"/>
                  <a:pt x="873" y="80"/>
                </a:cubicBezTo>
                <a:cubicBezTo>
                  <a:pt x="872" y="79"/>
                  <a:pt x="872" y="79"/>
                  <a:pt x="872" y="79"/>
                </a:cubicBezTo>
                <a:cubicBezTo>
                  <a:pt x="872" y="78"/>
                  <a:pt x="872" y="78"/>
                  <a:pt x="872" y="78"/>
                </a:cubicBezTo>
                <a:cubicBezTo>
                  <a:pt x="871" y="78"/>
                  <a:pt x="871" y="78"/>
                  <a:pt x="871" y="78"/>
                </a:cubicBezTo>
                <a:cubicBezTo>
                  <a:pt x="871" y="78"/>
                  <a:pt x="871" y="78"/>
                  <a:pt x="871" y="78"/>
                </a:cubicBezTo>
                <a:cubicBezTo>
                  <a:pt x="871" y="78"/>
                  <a:pt x="871" y="78"/>
                  <a:pt x="871" y="78"/>
                </a:cubicBezTo>
                <a:cubicBezTo>
                  <a:pt x="871" y="79"/>
                  <a:pt x="872" y="81"/>
                  <a:pt x="873" y="82"/>
                </a:cubicBezTo>
                <a:cubicBezTo>
                  <a:pt x="873" y="82"/>
                  <a:pt x="873" y="82"/>
                  <a:pt x="873" y="82"/>
                </a:cubicBezTo>
                <a:cubicBezTo>
                  <a:pt x="873" y="82"/>
                  <a:pt x="873" y="82"/>
                  <a:pt x="873" y="82"/>
                </a:cubicBezTo>
                <a:cubicBezTo>
                  <a:pt x="873" y="82"/>
                  <a:pt x="873" y="82"/>
                  <a:pt x="873" y="82"/>
                </a:cubicBezTo>
                <a:cubicBezTo>
                  <a:pt x="873" y="83"/>
                  <a:pt x="873" y="83"/>
                  <a:pt x="873" y="83"/>
                </a:cubicBezTo>
                <a:cubicBezTo>
                  <a:pt x="872" y="83"/>
                  <a:pt x="872" y="83"/>
                  <a:pt x="872" y="83"/>
                </a:cubicBezTo>
                <a:cubicBezTo>
                  <a:pt x="872" y="83"/>
                  <a:pt x="872" y="83"/>
                  <a:pt x="872" y="83"/>
                </a:cubicBezTo>
                <a:cubicBezTo>
                  <a:pt x="872" y="83"/>
                  <a:pt x="872" y="83"/>
                  <a:pt x="872" y="83"/>
                </a:cubicBezTo>
                <a:cubicBezTo>
                  <a:pt x="872" y="83"/>
                  <a:pt x="872" y="83"/>
                  <a:pt x="872" y="83"/>
                </a:cubicBezTo>
                <a:cubicBezTo>
                  <a:pt x="872" y="83"/>
                  <a:pt x="872" y="83"/>
                  <a:pt x="872" y="83"/>
                </a:cubicBezTo>
                <a:cubicBezTo>
                  <a:pt x="872" y="84"/>
                  <a:pt x="872" y="84"/>
                  <a:pt x="872" y="84"/>
                </a:cubicBezTo>
                <a:cubicBezTo>
                  <a:pt x="871" y="84"/>
                  <a:pt x="871" y="84"/>
                  <a:pt x="871" y="84"/>
                </a:cubicBezTo>
                <a:cubicBezTo>
                  <a:pt x="871" y="84"/>
                  <a:pt x="871" y="84"/>
                  <a:pt x="871" y="84"/>
                </a:cubicBezTo>
                <a:cubicBezTo>
                  <a:pt x="871" y="84"/>
                  <a:pt x="871" y="84"/>
                  <a:pt x="871" y="84"/>
                </a:cubicBezTo>
                <a:cubicBezTo>
                  <a:pt x="869" y="84"/>
                  <a:pt x="868" y="84"/>
                  <a:pt x="867" y="84"/>
                </a:cubicBezTo>
                <a:cubicBezTo>
                  <a:pt x="866" y="84"/>
                  <a:pt x="866" y="84"/>
                  <a:pt x="866" y="84"/>
                </a:cubicBezTo>
                <a:cubicBezTo>
                  <a:pt x="866" y="84"/>
                  <a:pt x="866" y="84"/>
                  <a:pt x="866" y="84"/>
                </a:cubicBezTo>
                <a:cubicBezTo>
                  <a:pt x="856" y="81"/>
                  <a:pt x="856" y="81"/>
                  <a:pt x="856" y="81"/>
                </a:cubicBezTo>
                <a:cubicBezTo>
                  <a:pt x="855" y="81"/>
                  <a:pt x="855" y="81"/>
                  <a:pt x="855" y="81"/>
                </a:cubicBezTo>
                <a:cubicBezTo>
                  <a:pt x="856" y="81"/>
                  <a:pt x="856" y="81"/>
                  <a:pt x="856" y="81"/>
                </a:cubicBezTo>
                <a:cubicBezTo>
                  <a:pt x="856" y="80"/>
                  <a:pt x="858" y="78"/>
                  <a:pt x="857" y="77"/>
                </a:cubicBezTo>
                <a:cubicBezTo>
                  <a:pt x="857" y="77"/>
                  <a:pt x="856" y="77"/>
                  <a:pt x="855" y="77"/>
                </a:cubicBezTo>
                <a:cubicBezTo>
                  <a:pt x="854" y="78"/>
                  <a:pt x="854" y="78"/>
                  <a:pt x="853" y="78"/>
                </a:cubicBezTo>
                <a:cubicBezTo>
                  <a:pt x="849" y="78"/>
                  <a:pt x="846" y="78"/>
                  <a:pt x="842" y="78"/>
                </a:cubicBezTo>
                <a:cubicBezTo>
                  <a:pt x="842" y="78"/>
                  <a:pt x="837" y="81"/>
                  <a:pt x="837" y="82"/>
                </a:cubicBezTo>
                <a:cubicBezTo>
                  <a:pt x="837" y="83"/>
                  <a:pt x="839" y="85"/>
                  <a:pt x="839" y="85"/>
                </a:cubicBezTo>
                <a:cubicBezTo>
                  <a:pt x="840" y="85"/>
                  <a:pt x="840" y="84"/>
                  <a:pt x="840" y="84"/>
                </a:cubicBezTo>
                <a:cubicBezTo>
                  <a:pt x="841" y="84"/>
                  <a:pt x="842" y="84"/>
                  <a:pt x="843" y="84"/>
                </a:cubicBezTo>
                <a:cubicBezTo>
                  <a:pt x="845" y="84"/>
                  <a:pt x="846" y="84"/>
                  <a:pt x="848" y="83"/>
                </a:cubicBezTo>
                <a:cubicBezTo>
                  <a:pt x="849" y="83"/>
                  <a:pt x="851" y="83"/>
                  <a:pt x="851" y="83"/>
                </a:cubicBezTo>
                <a:cubicBezTo>
                  <a:pt x="851" y="84"/>
                  <a:pt x="851" y="84"/>
                  <a:pt x="851" y="84"/>
                </a:cubicBezTo>
                <a:cubicBezTo>
                  <a:pt x="852" y="84"/>
                  <a:pt x="852" y="84"/>
                  <a:pt x="852" y="84"/>
                </a:cubicBezTo>
                <a:cubicBezTo>
                  <a:pt x="842" y="88"/>
                  <a:pt x="842" y="88"/>
                  <a:pt x="842" y="88"/>
                </a:cubicBezTo>
                <a:cubicBezTo>
                  <a:pt x="835" y="87"/>
                  <a:pt x="835" y="87"/>
                  <a:pt x="835" y="87"/>
                </a:cubicBezTo>
                <a:cubicBezTo>
                  <a:pt x="834" y="87"/>
                  <a:pt x="834" y="87"/>
                  <a:pt x="834" y="87"/>
                </a:cubicBezTo>
                <a:cubicBezTo>
                  <a:pt x="834" y="87"/>
                  <a:pt x="834" y="87"/>
                  <a:pt x="834" y="87"/>
                </a:cubicBezTo>
                <a:cubicBezTo>
                  <a:pt x="834" y="88"/>
                  <a:pt x="834" y="88"/>
                  <a:pt x="834" y="88"/>
                </a:cubicBezTo>
                <a:cubicBezTo>
                  <a:pt x="834" y="88"/>
                  <a:pt x="834" y="88"/>
                  <a:pt x="834" y="88"/>
                </a:cubicBezTo>
                <a:cubicBezTo>
                  <a:pt x="834" y="88"/>
                  <a:pt x="834" y="88"/>
                  <a:pt x="834" y="88"/>
                </a:cubicBezTo>
                <a:cubicBezTo>
                  <a:pt x="834" y="90"/>
                  <a:pt x="834" y="90"/>
                  <a:pt x="834" y="90"/>
                </a:cubicBezTo>
                <a:cubicBezTo>
                  <a:pt x="834" y="90"/>
                  <a:pt x="834" y="90"/>
                  <a:pt x="834" y="90"/>
                </a:cubicBezTo>
                <a:cubicBezTo>
                  <a:pt x="821" y="93"/>
                  <a:pt x="821" y="93"/>
                  <a:pt x="821" y="93"/>
                </a:cubicBezTo>
                <a:cubicBezTo>
                  <a:pt x="821" y="94"/>
                  <a:pt x="821" y="94"/>
                  <a:pt x="821" y="94"/>
                </a:cubicBezTo>
                <a:cubicBezTo>
                  <a:pt x="802" y="96"/>
                  <a:pt x="802" y="96"/>
                  <a:pt x="802" y="96"/>
                </a:cubicBezTo>
                <a:cubicBezTo>
                  <a:pt x="803" y="97"/>
                  <a:pt x="803" y="97"/>
                  <a:pt x="803" y="97"/>
                </a:cubicBezTo>
                <a:cubicBezTo>
                  <a:pt x="803" y="98"/>
                  <a:pt x="803" y="98"/>
                  <a:pt x="803" y="98"/>
                </a:cubicBezTo>
                <a:cubicBezTo>
                  <a:pt x="803" y="99"/>
                  <a:pt x="803" y="99"/>
                  <a:pt x="803" y="99"/>
                </a:cubicBezTo>
                <a:cubicBezTo>
                  <a:pt x="803" y="99"/>
                  <a:pt x="803" y="99"/>
                  <a:pt x="803" y="99"/>
                </a:cubicBezTo>
                <a:cubicBezTo>
                  <a:pt x="791" y="103"/>
                  <a:pt x="791" y="103"/>
                  <a:pt x="791" y="103"/>
                </a:cubicBezTo>
                <a:cubicBezTo>
                  <a:pt x="791" y="103"/>
                  <a:pt x="791" y="103"/>
                  <a:pt x="791" y="103"/>
                </a:cubicBezTo>
                <a:cubicBezTo>
                  <a:pt x="791" y="102"/>
                  <a:pt x="791" y="102"/>
                  <a:pt x="791" y="102"/>
                </a:cubicBezTo>
                <a:cubicBezTo>
                  <a:pt x="796" y="100"/>
                  <a:pt x="796" y="100"/>
                  <a:pt x="796" y="100"/>
                </a:cubicBezTo>
                <a:cubicBezTo>
                  <a:pt x="798" y="99"/>
                  <a:pt x="798" y="99"/>
                  <a:pt x="799" y="98"/>
                </a:cubicBezTo>
                <a:cubicBezTo>
                  <a:pt x="799" y="98"/>
                  <a:pt x="799" y="98"/>
                  <a:pt x="799" y="98"/>
                </a:cubicBezTo>
                <a:cubicBezTo>
                  <a:pt x="799" y="98"/>
                  <a:pt x="799" y="98"/>
                  <a:pt x="799" y="98"/>
                </a:cubicBezTo>
                <a:cubicBezTo>
                  <a:pt x="799" y="98"/>
                  <a:pt x="799" y="98"/>
                  <a:pt x="799" y="98"/>
                </a:cubicBezTo>
                <a:cubicBezTo>
                  <a:pt x="799" y="98"/>
                  <a:pt x="799" y="98"/>
                  <a:pt x="799" y="98"/>
                </a:cubicBezTo>
                <a:cubicBezTo>
                  <a:pt x="799" y="98"/>
                  <a:pt x="799" y="98"/>
                  <a:pt x="799" y="98"/>
                </a:cubicBezTo>
                <a:cubicBezTo>
                  <a:pt x="799" y="97"/>
                  <a:pt x="799" y="97"/>
                  <a:pt x="799" y="97"/>
                </a:cubicBezTo>
                <a:cubicBezTo>
                  <a:pt x="799" y="97"/>
                  <a:pt x="799" y="97"/>
                  <a:pt x="799" y="97"/>
                </a:cubicBezTo>
                <a:cubicBezTo>
                  <a:pt x="799" y="97"/>
                  <a:pt x="799" y="97"/>
                  <a:pt x="799" y="97"/>
                </a:cubicBezTo>
                <a:cubicBezTo>
                  <a:pt x="800" y="96"/>
                  <a:pt x="800" y="96"/>
                  <a:pt x="800" y="96"/>
                </a:cubicBezTo>
                <a:cubicBezTo>
                  <a:pt x="801" y="94"/>
                  <a:pt x="801" y="94"/>
                  <a:pt x="801" y="94"/>
                </a:cubicBezTo>
                <a:cubicBezTo>
                  <a:pt x="801" y="93"/>
                  <a:pt x="801" y="93"/>
                  <a:pt x="801" y="93"/>
                </a:cubicBezTo>
                <a:cubicBezTo>
                  <a:pt x="802" y="92"/>
                  <a:pt x="802" y="92"/>
                  <a:pt x="802" y="92"/>
                </a:cubicBezTo>
                <a:cubicBezTo>
                  <a:pt x="802" y="92"/>
                  <a:pt x="802" y="92"/>
                  <a:pt x="802" y="92"/>
                </a:cubicBezTo>
                <a:cubicBezTo>
                  <a:pt x="802" y="92"/>
                  <a:pt x="802" y="92"/>
                  <a:pt x="802" y="92"/>
                </a:cubicBezTo>
                <a:cubicBezTo>
                  <a:pt x="803" y="92"/>
                  <a:pt x="803" y="92"/>
                  <a:pt x="803" y="92"/>
                </a:cubicBezTo>
                <a:cubicBezTo>
                  <a:pt x="803" y="92"/>
                  <a:pt x="803" y="92"/>
                  <a:pt x="803" y="92"/>
                </a:cubicBezTo>
                <a:cubicBezTo>
                  <a:pt x="803" y="92"/>
                  <a:pt x="803" y="92"/>
                  <a:pt x="803" y="92"/>
                </a:cubicBezTo>
                <a:cubicBezTo>
                  <a:pt x="803" y="92"/>
                  <a:pt x="803" y="92"/>
                  <a:pt x="803" y="92"/>
                </a:cubicBezTo>
                <a:cubicBezTo>
                  <a:pt x="804" y="92"/>
                  <a:pt x="804" y="92"/>
                  <a:pt x="804" y="92"/>
                </a:cubicBezTo>
                <a:cubicBezTo>
                  <a:pt x="804" y="92"/>
                  <a:pt x="804" y="92"/>
                  <a:pt x="804" y="92"/>
                </a:cubicBezTo>
                <a:cubicBezTo>
                  <a:pt x="805" y="92"/>
                  <a:pt x="805" y="92"/>
                  <a:pt x="805" y="92"/>
                </a:cubicBezTo>
                <a:cubicBezTo>
                  <a:pt x="806" y="92"/>
                  <a:pt x="806" y="92"/>
                  <a:pt x="806" y="92"/>
                </a:cubicBezTo>
                <a:cubicBezTo>
                  <a:pt x="808" y="91"/>
                  <a:pt x="808" y="91"/>
                  <a:pt x="808" y="91"/>
                </a:cubicBezTo>
                <a:cubicBezTo>
                  <a:pt x="809" y="91"/>
                  <a:pt x="809" y="91"/>
                  <a:pt x="809" y="91"/>
                </a:cubicBezTo>
                <a:cubicBezTo>
                  <a:pt x="809" y="91"/>
                  <a:pt x="809" y="91"/>
                  <a:pt x="809" y="91"/>
                </a:cubicBezTo>
                <a:cubicBezTo>
                  <a:pt x="809" y="91"/>
                  <a:pt x="809" y="91"/>
                  <a:pt x="809" y="91"/>
                </a:cubicBezTo>
                <a:cubicBezTo>
                  <a:pt x="809" y="91"/>
                  <a:pt x="809" y="91"/>
                  <a:pt x="809" y="91"/>
                </a:cubicBezTo>
                <a:cubicBezTo>
                  <a:pt x="810" y="90"/>
                  <a:pt x="810" y="90"/>
                  <a:pt x="810" y="90"/>
                </a:cubicBezTo>
                <a:cubicBezTo>
                  <a:pt x="810" y="89"/>
                  <a:pt x="810" y="89"/>
                  <a:pt x="810" y="89"/>
                </a:cubicBezTo>
                <a:cubicBezTo>
                  <a:pt x="812" y="87"/>
                  <a:pt x="812" y="87"/>
                  <a:pt x="812" y="87"/>
                </a:cubicBezTo>
                <a:cubicBezTo>
                  <a:pt x="812" y="86"/>
                  <a:pt x="812" y="86"/>
                  <a:pt x="812" y="86"/>
                </a:cubicBezTo>
                <a:cubicBezTo>
                  <a:pt x="813" y="86"/>
                  <a:pt x="813" y="86"/>
                  <a:pt x="813" y="86"/>
                </a:cubicBezTo>
                <a:cubicBezTo>
                  <a:pt x="813" y="86"/>
                  <a:pt x="813" y="86"/>
                  <a:pt x="813" y="86"/>
                </a:cubicBezTo>
                <a:cubicBezTo>
                  <a:pt x="813" y="86"/>
                  <a:pt x="813" y="86"/>
                  <a:pt x="813" y="86"/>
                </a:cubicBezTo>
                <a:cubicBezTo>
                  <a:pt x="814" y="86"/>
                  <a:pt x="814" y="86"/>
                  <a:pt x="814" y="86"/>
                </a:cubicBezTo>
                <a:cubicBezTo>
                  <a:pt x="814" y="86"/>
                  <a:pt x="814" y="86"/>
                  <a:pt x="814" y="86"/>
                </a:cubicBezTo>
                <a:cubicBezTo>
                  <a:pt x="814" y="86"/>
                  <a:pt x="814" y="86"/>
                  <a:pt x="814" y="86"/>
                </a:cubicBezTo>
                <a:cubicBezTo>
                  <a:pt x="815" y="86"/>
                  <a:pt x="815" y="86"/>
                  <a:pt x="815" y="86"/>
                </a:cubicBezTo>
                <a:cubicBezTo>
                  <a:pt x="815" y="86"/>
                  <a:pt x="815" y="86"/>
                  <a:pt x="815" y="86"/>
                </a:cubicBezTo>
                <a:cubicBezTo>
                  <a:pt x="815" y="86"/>
                  <a:pt x="815" y="86"/>
                  <a:pt x="815" y="86"/>
                </a:cubicBezTo>
                <a:cubicBezTo>
                  <a:pt x="815" y="86"/>
                  <a:pt x="815" y="86"/>
                  <a:pt x="815" y="86"/>
                </a:cubicBezTo>
                <a:cubicBezTo>
                  <a:pt x="816" y="86"/>
                  <a:pt x="816" y="86"/>
                  <a:pt x="817" y="86"/>
                </a:cubicBezTo>
                <a:cubicBezTo>
                  <a:pt x="817" y="86"/>
                  <a:pt x="817" y="86"/>
                  <a:pt x="817" y="86"/>
                </a:cubicBezTo>
                <a:cubicBezTo>
                  <a:pt x="841" y="75"/>
                  <a:pt x="841" y="75"/>
                  <a:pt x="841" y="75"/>
                </a:cubicBezTo>
                <a:cubicBezTo>
                  <a:pt x="841" y="74"/>
                  <a:pt x="841" y="74"/>
                  <a:pt x="841" y="74"/>
                </a:cubicBezTo>
                <a:cubicBezTo>
                  <a:pt x="841" y="74"/>
                  <a:pt x="841" y="74"/>
                  <a:pt x="841" y="74"/>
                </a:cubicBezTo>
                <a:cubicBezTo>
                  <a:pt x="842" y="74"/>
                  <a:pt x="842" y="74"/>
                  <a:pt x="842" y="74"/>
                </a:cubicBezTo>
                <a:cubicBezTo>
                  <a:pt x="842" y="73"/>
                  <a:pt x="842" y="73"/>
                  <a:pt x="842" y="73"/>
                </a:cubicBezTo>
                <a:cubicBezTo>
                  <a:pt x="842" y="73"/>
                  <a:pt x="842" y="73"/>
                  <a:pt x="842" y="73"/>
                </a:cubicBezTo>
                <a:cubicBezTo>
                  <a:pt x="842" y="73"/>
                  <a:pt x="842" y="73"/>
                  <a:pt x="842" y="72"/>
                </a:cubicBezTo>
                <a:cubicBezTo>
                  <a:pt x="842" y="72"/>
                  <a:pt x="842" y="72"/>
                  <a:pt x="842" y="72"/>
                </a:cubicBezTo>
                <a:cubicBezTo>
                  <a:pt x="842" y="72"/>
                  <a:pt x="842" y="72"/>
                  <a:pt x="842" y="72"/>
                </a:cubicBezTo>
                <a:cubicBezTo>
                  <a:pt x="842" y="72"/>
                  <a:pt x="842" y="72"/>
                  <a:pt x="842" y="72"/>
                </a:cubicBezTo>
                <a:cubicBezTo>
                  <a:pt x="841" y="72"/>
                  <a:pt x="841" y="72"/>
                  <a:pt x="841" y="72"/>
                </a:cubicBezTo>
                <a:cubicBezTo>
                  <a:pt x="841" y="72"/>
                  <a:pt x="841" y="72"/>
                  <a:pt x="841" y="72"/>
                </a:cubicBezTo>
                <a:cubicBezTo>
                  <a:pt x="841" y="72"/>
                  <a:pt x="841" y="72"/>
                  <a:pt x="841" y="72"/>
                </a:cubicBezTo>
                <a:cubicBezTo>
                  <a:pt x="841" y="72"/>
                  <a:pt x="841" y="72"/>
                  <a:pt x="841" y="72"/>
                </a:cubicBezTo>
                <a:cubicBezTo>
                  <a:pt x="840" y="72"/>
                  <a:pt x="840" y="72"/>
                  <a:pt x="840" y="72"/>
                </a:cubicBezTo>
                <a:cubicBezTo>
                  <a:pt x="840" y="72"/>
                  <a:pt x="840" y="72"/>
                  <a:pt x="840" y="72"/>
                </a:cubicBezTo>
                <a:cubicBezTo>
                  <a:pt x="838" y="72"/>
                  <a:pt x="838" y="72"/>
                  <a:pt x="838" y="72"/>
                </a:cubicBezTo>
                <a:cubicBezTo>
                  <a:pt x="838" y="72"/>
                  <a:pt x="838" y="72"/>
                  <a:pt x="838" y="72"/>
                </a:cubicBezTo>
                <a:cubicBezTo>
                  <a:pt x="838" y="72"/>
                  <a:pt x="838" y="72"/>
                  <a:pt x="838" y="72"/>
                </a:cubicBezTo>
                <a:cubicBezTo>
                  <a:pt x="839" y="72"/>
                  <a:pt x="839" y="72"/>
                  <a:pt x="839" y="72"/>
                </a:cubicBezTo>
                <a:cubicBezTo>
                  <a:pt x="839" y="72"/>
                  <a:pt x="839" y="72"/>
                  <a:pt x="839" y="72"/>
                </a:cubicBezTo>
                <a:cubicBezTo>
                  <a:pt x="840" y="71"/>
                  <a:pt x="840" y="71"/>
                  <a:pt x="840" y="71"/>
                </a:cubicBezTo>
                <a:cubicBezTo>
                  <a:pt x="841" y="71"/>
                  <a:pt x="841" y="71"/>
                  <a:pt x="841" y="71"/>
                </a:cubicBezTo>
                <a:cubicBezTo>
                  <a:pt x="844" y="69"/>
                  <a:pt x="844" y="69"/>
                  <a:pt x="844" y="69"/>
                </a:cubicBezTo>
                <a:cubicBezTo>
                  <a:pt x="845" y="69"/>
                  <a:pt x="845" y="69"/>
                  <a:pt x="845" y="69"/>
                </a:cubicBezTo>
                <a:cubicBezTo>
                  <a:pt x="846" y="68"/>
                  <a:pt x="846" y="68"/>
                  <a:pt x="846" y="68"/>
                </a:cubicBezTo>
                <a:cubicBezTo>
                  <a:pt x="846" y="68"/>
                  <a:pt x="846" y="68"/>
                  <a:pt x="846" y="68"/>
                </a:cubicBezTo>
                <a:cubicBezTo>
                  <a:pt x="846" y="68"/>
                  <a:pt x="846" y="68"/>
                  <a:pt x="846" y="68"/>
                </a:cubicBezTo>
                <a:cubicBezTo>
                  <a:pt x="846" y="68"/>
                  <a:pt x="846" y="68"/>
                  <a:pt x="846" y="68"/>
                </a:cubicBezTo>
                <a:cubicBezTo>
                  <a:pt x="847" y="68"/>
                  <a:pt x="847" y="68"/>
                  <a:pt x="847" y="68"/>
                </a:cubicBezTo>
                <a:cubicBezTo>
                  <a:pt x="847" y="69"/>
                  <a:pt x="847" y="69"/>
                  <a:pt x="847" y="69"/>
                </a:cubicBezTo>
                <a:cubicBezTo>
                  <a:pt x="847" y="69"/>
                  <a:pt x="847" y="69"/>
                  <a:pt x="847" y="69"/>
                </a:cubicBezTo>
                <a:cubicBezTo>
                  <a:pt x="847" y="69"/>
                  <a:pt x="847" y="69"/>
                  <a:pt x="847" y="69"/>
                </a:cubicBezTo>
                <a:cubicBezTo>
                  <a:pt x="848" y="69"/>
                  <a:pt x="848" y="69"/>
                  <a:pt x="848" y="69"/>
                </a:cubicBezTo>
                <a:cubicBezTo>
                  <a:pt x="877" y="54"/>
                  <a:pt x="877" y="54"/>
                  <a:pt x="877" y="54"/>
                </a:cubicBezTo>
                <a:cubicBezTo>
                  <a:pt x="877" y="54"/>
                  <a:pt x="877" y="54"/>
                  <a:pt x="877" y="54"/>
                </a:cubicBezTo>
                <a:cubicBezTo>
                  <a:pt x="878" y="53"/>
                  <a:pt x="878" y="53"/>
                  <a:pt x="878" y="53"/>
                </a:cubicBezTo>
                <a:cubicBezTo>
                  <a:pt x="879" y="53"/>
                  <a:pt x="879" y="53"/>
                  <a:pt x="879" y="53"/>
                </a:cubicBezTo>
                <a:cubicBezTo>
                  <a:pt x="879" y="52"/>
                  <a:pt x="879" y="52"/>
                  <a:pt x="879" y="52"/>
                </a:cubicBezTo>
                <a:cubicBezTo>
                  <a:pt x="879" y="52"/>
                  <a:pt x="879" y="52"/>
                  <a:pt x="879" y="52"/>
                </a:cubicBezTo>
                <a:cubicBezTo>
                  <a:pt x="879" y="52"/>
                  <a:pt x="879" y="52"/>
                  <a:pt x="879" y="52"/>
                </a:cubicBezTo>
                <a:cubicBezTo>
                  <a:pt x="879" y="52"/>
                  <a:pt x="879" y="52"/>
                  <a:pt x="879" y="52"/>
                </a:cubicBezTo>
                <a:cubicBezTo>
                  <a:pt x="879" y="52"/>
                  <a:pt x="880" y="51"/>
                  <a:pt x="880" y="51"/>
                </a:cubicBezTo>
                <a:cubicBezTo>
                  <a:pt x="880" y="51"/>
                  <a:pt x="880" y="51"/>
                  <a:pt x="880" y="51"/>
                </a:cubicBezTo>
                <a:cubicBezTo>
                  <a:pt x="880" y="51"/>
                  <a:pt x="880" y="51"/>
                  <a:pt x="880" y="51"/>
                </a:cubicBezTo>
                <a:cubicBezTo>
                  <a:pt x="880" y="50"/>
                  <a:pt x="880" y="50"/>
                  <a:pt x="880" y="49"/>
                </a:cubicBezTo>
                <a:cubicBezTo>
                  <a:pt x="880" y="49"/>
                  <a:pt x="880" y="49"/>
                  <a:pt x="880" y="49"/>
                </a:cubicBezTo>
                <a:cubicBezTo>
                  <a:pt x="880" y="49"/>
                  <a:pt x="880" y="49"/>
                  <a:pt x="880" y="49"/>
                </a:cubicBezTo>
                <a:cubicBezTo>
                  <a:pt x="880" y="49"/>
                  <a:pt x="880" y="49"/>
                  <a:pt x="880" y="49"/>
                </a:cubicBezTo>
                <a:cubicBezTo>
                  <a:pt x="880" y="49"/>
                  <a:pt x="880" y="49"/>
                  <a:pt x="880" y="49"/>
                </a:cubicBezTo>
                <a:cubicBezTo>
                  <a:pt x="880" y="49"/>
                  <a:pt x="880" y="49"/>
                  <a:pt x="880" y="49"/>
                </a:cubicBezTo>
                <a:cubicBezTo>
                  <a:pt x="880" y="48"/>
                  <a:pt x="880" y="48"/>
                  <a:pt x="880" y="48"/>
                </a:cubicBezTo>
                <a:cubicBezTo>
                  <a:pt x="880" y="48"/>
                  <a:pt x="880" y="48"/>
                  <a:pt x="880" y="48"/>
                </a:cubicBezTo>
                <a:cubicBezTo>
                  <a:pt x="880" y="48"/>
                  <a:pt x="880" y="48"/>
                  <a:pt x="880" y="48"/>
                </a:cubicBezTo>
                <a:cubicBezTo>
                  <a:pt x="880" y="48"/>
                  <a:pt x="880" y="48"/>
                  <a:pt x="880" y="48"/>
                </a:cubicBezTo>
                <a:cubicBezTo>
                  <a:pt x="880" y="48"/>
                  <a:pt x="880" y="48"/>
                  <a:pt x="880" y="48"/>
                </a:cubicBezTo>
                <a:cubicBezTo>
                  <a:pt x="880" y="48"/>
                  <a:pt x="880" y="48"/>
                  <a:pt x="880" y="48"/>
                </a:cubicBezTo>
                <a:cubicBezTo>
                  <a:pt x="880" y="48"/>
                  <a:pt x="880" y="48"/>
                  <a:pt x="880" y="48"/>
                </a:cubicBezTo>
                <a:cubicBezTo>
                  <a:pt x="880" y="48"/>
                  <a:pt x="880" y="48"/>
                  <a:pt x="880" y="48"/>
                </a:cubicBezTo>
                <a:cubicBezTo>
                  <a:pt x="880" y="47"/>
                  <a:pt x="880" y="47"/>
                  <a:pt x="880" y="47"/>
                </a:cubicBezTo>
                <a:cubicBezTo>
                  <a:pt x="880" y="47"/>
                  <a:pt x="880" y="47"/>
                  <a:pt x="880" y="47"/>
                </a:cubicBezTo>
                <a:cubicBezTo>
                  <a:pt x="879" y="48"/>
                  <a:pt x="879" y="48"/>
                  <a:pt x="878" y="48"/>
                </a:cubicBezTo>
                <a:cubicBezTo>
                  <a:pt x="878" y="47"/>
                  <a:pt x="878" y="47"/>
                  <a:pt x="878" y="47"/>
                </a:cubicBezTo>
                <a:cubicBezTo>
                  <a:pt x="878" y="47"/>
                  <a:pt x="878" y="47"/>
                  <a:pt x="878" y="47"/>
                </a:cubicBezTo>
                <a:cubicBezTo>
                  <a:pt x="877" y="47"/>
                  <a:pt x="877" y="47"/>
                  <a:pt x="877" y="47"/>
                </a:cubicBezTo>
                <a:cubicBezTo>
                  <a:pt x="877" y="47"/>
                  <a:pt x="877" y="47"/>
                  <a:pt x="877" y="47"/>
                </a:cubicBezTo>
                <a:cubicBezTo>
                  <a:pt x="876" y="47"/>
                  <a:pt x="876" y="47"/>
                  <a:pt x="876" y="47"/>
                </a:cubicBezTo>
                <a:cubicBezTo>
                  <a:pt x="876" y="47"/>
                  <a:pt x="876" y="47"/>
                  <a:pt x="876" y="47"/>
                </a:cubicBezTo>
                <a:cubicBezTo>
                  <a:pt x="876" y="46"/>
                  <a:pt x="876" y="46"/>
                  <a:pt x="876" y="46"/>
                </a:cubicBezTo>
                <a:cubicBezTo>
                  <a:pt x="876" y="46"/>
                  <a:pt x="876" y="46"/>
                  <a:pt x="876" y="46"/>
                </a:cubicBezTo>
                <a:cubicBezTo>
                  <a:pt x="876" y="46"/>
                  <a:pt x="876" y="46"/>
                  <a:pt x="876" y="46"/>
                </a:cubicBezTo>
                <a:cubicBezTo>
                  <a:pt x="876" y="46"/>
                  <a:pt x="876" y="46"/>
                  <a:pt x="876" y="46"/>
                </a:cubicBezTo>
                <a:cubicBezTo>
                  <a:pt x="876" y="46"/>
                  <a:pt x="876" y="46"/>
                  <a:pt x="876" y="46"/>
                </a:cubicBezTo>
                <a:cubicBezTo>
                  <a:pt x="876" y="46"/>
                  <a:pt x="876" y="46"/>
                  <a:pt x="876" y="46"/>
                </a:cubicBezTo>
                <a:cubicBezTo>
                  <a:pt x="876" y="46"/>
                  <a:pt x="876" y="46"/>
                  <a:pt x="876" y="46"/>
                </a:cubicBezTo>
                <a:cubicBezTo>
                  <a:pt x="876" y="45"/>
                  <a:pt x="876" y="45"/>
                  <a:pt x="876" y="45"/>
                </a:cubicBezTo>
                <a:cubicBezTo>
                  <a:pt x="876" y="45"/>
                  <a:pt x="876" y="45"/>
                  <a:pt x="876" y="45"/>
                </a:cubicBezTo>
                <a:cubicBezTo>
                  <a:pt x="876" y="45"/>
                  <a:pt x="876" y="45"/>
                  <a:pt x="876" y="45"/>
                </a:cubicBezTo>
                <a:cubicBezTo>
                  <a:pt x="876" y="45"/>
                  <a:pt x="876" y="45"/>
                  <a:pt x="876" y="45"/>
                </a:cubicBezTo>
                <a:cubicBezTo>
                  <a:pt x="875" y="45"/>
                  <a:pt x="875" y="45"/>
                  <a:pt x="875" y="45"/>
                </a:cubicBezTo>
                <a:cubicBezTo>
                  <a:pt x="874" y="46"/>
                  <a:pt x="874" y="46"/>
                  <a:pt x="874" y="46"/>
                </a:cubicBezTo>
                <a:cubicBezTo>
                  <a:pt x="873" y="47"/>
                  <a:pt x="873" y="47"/>
                  <a:pt x="873" y="47"/>
                </a:cubicBezTo>
                <a:cubicBezTo>
                  <a:pt x="873" y="47"/>
                  <a:pt x="873" y="47"/>
                  <a:pt x="873" y="47"/>
                </a:cubicBezTo>
                <a:cubicBezTo>
                  <a:pt x="873" y="47"/>
                  <a:pt x="873" y="47"/>
                  <a:pt x="873" y="47"/>
                </a:cubicBezTo>
                <a:cubicBezTo>
                  <a:pt x="873" y="47"/>
                  <a:pt x="873" y="47"/>
                  <a:pt x="873" y="47"/>
                </a:cubicBezTo>
                <a:cubicBezTo>
                  <a:pt x="873" y="47"/>
                  <a:pt x="873" y="47"/>
                  <a:pt x="873" y="47"/>
                </a:cubicBezTo>
                <a:cubicBezTo>
                  <a:pt x="873" y="47"/>
                  <a:pt x="873" y="47"/>
                  <a:pt x="873" y="47"/>
                </a:cubicBezTo>
                <a:cubicBezTo>
                  <a:pt x="873" y="47"/>
                  <a:pt x="873" y="47"/>
                  <a:pt x="873" y="47"/>
                </a:cubicBezTo>
                <a:cubicBezTo>
                  <a:pt x="872" y="47"/>
                  <a:pt x="872" y="47"/>
                  <a:pt x="872" y="47"/>
                </a:cubicBezTo>
                <a:cubicBezTo>
                  <a:pt x="872" y="47"/>
                  <a:pt x="872" y="47"/>
                  <a:pt x="872" y="47"/>
                </a:cubicBezTo>
                <a:cubicBezTo>
                  <a:pt x="872" y="47"/>
                  <a:pt x="872" y="47"/>
                  <a:pt x="872" y="47"/>
                </a:cubicBezTo>
                <a:cubicBezTo>
                  <a:pt x="872" y="47"/>
                  <a:pt x="872" y="47"/>
                  <a:pt x="872" y="47"/>
                </a:cubicBezTo>
                <a:cubicBezTo>
                  <a:pt x="871" y="47"/>
                  <a:pt x="871" y="47"/>
                  <a:pt x="871" y="47"/>
                </a:cubicBezTo>
                <a:cubicBezTo>
                  <a:pt x="871" y="47"/>
                  <a:pt x="871" y="47"/>
                  <a:pt x="871" y="47"/>
                </a:cubicBezTo>
                <a:cubicBezTo>
                  <a:pt x="871" y="47"/>
                  <a:pt x="871" y="47"/>
                  <a:pt x="871" y="47"/>
                </a:cubicBezTo>
                <a:cubicBezTo>
                  <a:pt x="871" y="46"/>
                  <a:pt x="871" y="46"/>
                  <a:pt x="871" y="46"/>
                </a:cubicBezTo>
                <a:cubicBezTo>
                  <a:pt x="871" y="46"/>
                  <a:pt x="871" y="46"/>
                  <a:pt x="871" y="46"/>
                </a:cubicBezTo>
                <a:cubicBezTo>
                  <a:pt x="871" y="46"/>
                  <a:pt x="871" y="46"/>
                  <a:pt x="871" y="46"/>
                </a:cubicBezTo>
                <a:cubicBezTo>
                  <a:pt x="871" y="46"/>
                  <a:pt x="871" y="46"/>
                  <a:pt x="871" y="46"/>
                </a:cubicBezTo>
                <a:cubicBezTo>
                  <a:pt x="871" y="46"/>
                  <a:pt x="871" y="46"/>
                  <a:pt x="871" y="46"/>
                </a:cubicBezTo>
                <a:cubicBezTo>
                  <a:pt x="871" y="45"/>
                  <a:pt x="871" y="45"/>
                  <a:pt x="871" y="45"/>
                </a:cubicBezTo>
                <a:cubicBezTo>
                  <a:pt x="872" y="45"/>
                  <a:pt x="872" y="45"/>
                  <a:pt x="872" y="45"/>
                </a:cubicBezTo>
                <a:cubicBezTo>
                  <a:pt x="871" y="44"/>
                  <a:pt x="871" y="44"/>
                  <a:pt x="871" y="44"/>
                </a:cubicBezTo>
                <a:cubicBezTo>
                  <a:pt x="871" y="44"/>
                  <a:pt x="871" y="44"/>
                  <a:pt x="871" y="44"/>
                </a:cubicBezTo>
                <a:cubicBezTo>
                  <a:pt x="871" y="44"/>
                  <a:pt x="871" y="44"/>
                  <a:pt x="871" y="44"/>
                </a:cubicBezTo>
                <a:cubicBezTo>
                  <a:pt x="871" y="44"/>
                  <a:pt x="871" y="44"/>
                  <a:pt x="871" y="44"/>
                </a:cubicBezTo>
                <a:cubicBezTo>
                  <a:pt x="871" y="44"/>
                  <a:pt x="871" y="44"/>
                  <a:pt x="871" y="44"/>
                </a:cubicBezTo>
                <a:cubicBezTo>
                  <a:pt x="871" y="44"/>
                  <a:pt x="871" y="44"/>
                  <a:pt x="871" y="44"/>
                </a:cubicBezTo>
                <a:cubicBezTo>
                  <a:pt x="872" y="44"/>
                  <a:pt x="872" y="44"/>
                  <a:pt x="872" y="44"/>
                </a:cubicBezTo>
                <a:cubicBezTo>
                  <a:pt x="872" y="44"/>
                  <a:pt x="872" y="44"/>
                  <a:pt x="872" y="44"/>
                </a:cubicBezTo>
                <a:cubicBezTo>
                  <a:pt x="872" y="44"/>
                  <a:pt x="872" y="44"/>
                  <a:pt x="872" y="44"/>
                </a:cubicBezTo>
                <a:cubicBezTo>
                  <a:pt x="872" y="43"/>
                  <a:pt x="872" y="43"/>
                  <a:pt x="872" y="43"/>
                </a:cubicBezTo>
                <a:cubicBezTo>
                  <a:pt x="871" y="43"/>
                  <a:pt x="871" y="43"/>
                  <a:pt x="871" y="43"/>
                </a:cubicBezTo>
                <a:cubicBezTo>
                  <a:pt x="871" y="43"/>
                  <a:pt x="871" y="43"/>
                  <a:pt x="871" y="43"/>
                </a:cubicBezTo>
                <a:cubicBezTo>
                  <a:pt x="871" y="43"/>
                  <a:pt x="871" y="43"/>
                  <a:pt x="871" y="43"/>
                </a:cubicBezTo>
                <a:cubicBezTo>
                  <a:pt x="871" y="43"/>
                  <a:pt x="871" y="43"/>
                  <a:pt x="871" y="43"/>
                </a:cubicBezTo>
                <a:cubicBezTo>
                  <a:pt x="871" y="43"/>
                  <a:pt x="871" y="43"/>
                  <a:pt x="871" y="43"/>
                </a:cubicBezTo>
                <a:cubicBezTo>
                  <a:pt x="871" y="43"/>
                  <a:pt x="871" y="43"/>
                  <a:pt x="871" y="43"/>
                </a:cubicBezTo>
                <a:cubicBezTo>
                  <a:pt x="870" y="43"/>
                  <a:pt x="870" y="43"/>
                  <a:pt x="870" y="43"/>
                </a:cubicBezTo>
                <a:cubicBezTo>
                  <a:pt x="870" y="43"/>
                  <a:pt x="870" y="43"/>
                  <a:pt x="870" y="43"/>
                </a:cubicBezTo>
                <a:cubicBezTo>
                  <a:pt x="870" y="42"/>
                  <a:pt x="870" y="42"/>
                  <a:pt x="870" y="42"/>
                </a:cubicBezTo>
                <a:cubicBezTo>
                  <a:pt x="870" y="42"/>
                  <a:pt x="870" y="42"/>
                  <a:pt x="870" y="42"/>
                </a:cubicBezTo>
                <a:cubicBezTo>
                  <a:pt x="870" y="42"/>
                  <a:pt x="870" y="42"/>
                  <a:pt x="870" y="42"/>
                </a:cubicBezTo>
                <a:cubicBezTo>
                  <a:pt x="869" y="42"/>
                  <a:pt x="869" y="42"/>
                  <a:pt x="869" y="42"/>
                </a:cubicBezTo>
                <a:cubicBezTo>
                  <a:pt x="868" y="42"/>
                  <a:pt x="868" y="42"/>
                  <a:pt x="867" y="41"/>
                </a:cubicBezTo>
                <a:cubicBezTo>
                  <a:pt x="867" y="41"/>
                  <a:pt x="867" y="41"/>
                  <a:pt x="867" y="41"/>
                </a:cubicBezTo>
                <a:cubicBezTo>
                  <a:pt x="867" y="41"/>
                  <a:pt x="867" y="41"/>
                  <a:pt x="867" y="41"/>
                </a:cubicBezTo>
                <a:cubicBezTo>
                  <a:pt x="867" y="40"/>
                  <a:pt x="867" y="40"/>
                  <a:pt x="867" y="40"/>
                </a:cubicBezTo>
                <a:cubicBezTo>
                  <a:pt x="867" y="40"/>
                  <a:pt x="867" y="40"/>
                  <a:pt x="867" y="40"/>
                </a:cubicBezTo>
                <a:cubicBezTo>
                  <a:pt x="867" y="40"/>
                  <a:pt x="867" y="40"/>
                  <a:pt x="867" y="40"/>
                </a:cubicBezTo>
                <a:cubicBezTo>
                  <a:pt x="869" y="41"/>
                  <a:pt x="869" y="41"/>
                  <a:pt x="871" y="42"/>
                </a:cubicBezTo>
                <a:cubicBezTo>
                  <a:pt x="871" y="42"/>
                  <a:pt x="871" y="42"/>
                  <a:pt x="871" y="42"/>
                </a:cubicBezTo>
                <a:cubicBezTo>
                  <a:pt x="871" y="42"/>
                  <a:pt x="871" y="42"/>
                  <a:pt x="871" y="42"/>
                </a:cubicBezTo>
                <a:cubicBezTo>
                  <a:pt x="872" y="42"/>
                  <a:pt x="873" y="43"/>
                  <a:pt x="874" y="43"/>
                </a:cubicBezTo>
                <a:cubicBezTo>
                  <a:pt x="874" y="43"/>
                  <a:pt x="874" y="43"/>
                  <a:pt x="874" y="43"/>
                </a:cubicBezTo>
                <a:cubicBezTo>
                  <a:pt x="874" y="43"/>
                  <a:pt x="874" y="43"/>
                  <a:pt x="874" y="43"/>
                </a:cubicBezTo>
                <a:cubicBezTo>
                  <a:pt x="874" y="43"/>
                  <a:pt x="874" y="43"/>
                  <a:pt x="874" y="43"/>
                </a:cubicBezTo>
                <a:cubicBezTo>
                  <a:pt x="874" y="44"/>
                  <a:pt x="874" y="44"/>
                  <a:pt x="874" y="44"/>
                </a:cubicBezTo>
                <a:cubicBezTo>
                  <a:pt x="874" y="44"/>
                  <a:pt x="874" y="44"/>
                  <a:pt x="874" y="44"/>
                </a:cubicBezTo>
                <a:cubicBezTo>
                  <a:pt x="874" y="44"/>
                  <a:pt x="874" y="44"/>
                  <a:pt x="874" y="44"/>
                </a:cubicBezTo>
                <a:cubicBezTo>
                  <a:pt x="874" y="44"/>
                  <a:pt x="874" y="44"/>
                  <a:pt x="874" y="44"/>
                </a:cubicBezTo>
                <a:cubicBezTo>
                  <a:pt x="874" y="44"/>
                  <a:pt x="874" y="44"/>
                  <a:pt x="874" y="44"/>
                </a:cubicBezTo>
                <a:cubicBezTo>
                  <a:pt x="875" y="44"/>
                  <a:pt x="875" y="44"/>
                  <a:pt x="876" y="44"/>
                </a:cubicBezTo>
                <a:cubicBezTo>
                  <a:pt x="876" y="44"/>
                  <a:pt x="876" y="44"/>
                  <a:pt x="876" y="44"/>
                </a:cubicBezTo>
                <a:cubicBezTo>
                  <a:pt x="876" y="44"/>
                  <a:pt x="876" y="44"/>
                  <a:pt x="876" y="44"/>
                </a:cubicBezTo>
                <a:cubicBezTo>
                  <a:pt x="877" y="44"/>
                  <a:pt x="877" y="44"/>
                  <a:pt x="877" y="44"/>
                </a:cubicBezTo>
                <a:cubicBezTo>
                  <a:pt x="877" y="44"/>
                  <a:pt x="877" y="44"/>
                  <a:pt x="877" y="44"/>
                </a:cubicBezTo>
                <a:cubicBezTo>
                  <a:pt x="877" y="44"/>
                  <a:pt x="877" y="44"/>
                  <a:pt x="877" y="44"/>
                </a:cubicBezTo>
                <a:cubicBezTo>
                  <a:pt x="877" y="44"/>
                  <a:pt x="877" y="44"/>
                  <a:pt x="877" y="44"/>
                </a:cubicBezTo>
                <a:cubicBezTo>
                  <a:pt x="878" y="44"/>
                  <a:pt x="878" y="44"/>
                  <a:pt x="878" y="44"/>
                </a:cubicBezTo>
                <a:cubicBezTo>
                  <a:pt x="878" y="44"/>
                  <a:pt x="878" y="44"/>
                  <a:pt x="878" y="44"/>
                </a:cubicBezTo>
                <a:cubicBezTo>
                  <a:pt x="878" y="44"/>
                  <a:pt x="878" y="44"/>
                  <a:pt x="878" y="44"/>
                </a:cubicBezTo>
                <a:cubicBezTo>
                  <a:pt x="879" y="45"/>
                  <a:pt x="879" y="45"/>
                  <a:pt x="879" y="45"/>
                </a:cubicBezTo>
                <a:cubicBezTo>
                  <a:pt x="879" y="45"/>
                  <a:pt x="879" y="45"/>
                  <a:pt x="879" y="45"/>
                </a:cubicBezTo>
                <a:cubicBezTo>
                  <a:pt x="879" y="46"/>
                  <a:pt x="879" y="46"/>
                  <a:pt x="879" y="46"/>
                </a:cubicBezTo>
                <a:cubicBezTo>
                  <a:pt x="880" y="46"/>
                  <a:pt x="880" y="46"/>
                  <a:pt x="880" y="46"/>
                </a:cubicBezTo>
                <a:cubicBezTo>
                  <a:pt x="880" y="46"/>
                  <a:pt x="880" y="46"/>
                  <a:pt x="880" y="46"/>
                </a:cubicBezTo>
                <a:cubicBezTo>
                  <a:pt x="880" y="46"/>
                  <a:pt x="880" y="46"/>
                  <a:pt x="880" y="46"/>
                </a:cubicBezTo>
                <a:cubicBezTo>
                  <a:pt x="880" y="45"/>
                  <a:pt x="880" y="45"/>
                  <a:pt x="880" y="45"/>
                </a:cubicBezTo>
                <a:cubicBezTo>
                  <a:pt x="880" y="45"/>
                  <a:pt x="880" y="45"/>
                  <a:pt x="880" y="45"/>
                </a:cubicBezTo>
                <a:cubicBezTo>
                  <a:pt x="880" y="45"/>
                  <a:pt x="880" y="45"/>
                  <a:pt x="880" y="45"/>
                </a:cubicBezTo>
                <a:cubicBezTo>
                  <a:pt x="880" y="44"/>
                  <a:pt x="880" y="44"/>
                  <a:pt x="880" y="44"/>
                </a:cubicBezTo>
                <a:cubicBezTo>
                  <a:pt x="881" y="43"/>
                  <a:pt x="882" y="42"/>
                  <a:pt x="882" y="41"/>
                </a:cubicBezTo>
                <a:cubicBezTo>
                  <a:pt x="882" y="40"/>
                  <a:pt x="882" y="40"/>
                  <a:pt x="882" y="40"/>
                </a:cubicBezTo>
                <a:cubicBezTo>
                  <a:pt x="882" y="40"/>
                  <a:pt x="882" y="40"/>
                  <a:pt x="882" y="40"/>
                </a:cubicBezTo>
                <a:cubicBezTo>
                  <a:pt x="882" y="40"/>
                  <a:pt x="882" y="40"/>
                  <a:pt x="882" y="40"/>
                </a:cubicBezTo>
                <a:cubicBezTo>
                  <a:pt x="882" y="40"/>
                  <a:pt x="882" y="40"/>
                  <a:pt x="882" y="40"/>
                </a:cubicBezTo>
                <a:cubicBezTo>
                  <a:pt x="882" y="39"/>
                  <a:pt x="882" y="39"/>
                  <a:pt x="881" y="39"/>
                </a:cubicBezTo>
                <a:cubicBezTo>
                  <a:pt x="881" y="39"/>
                  <a:pt x="881" y="39"/>
                  <a:pt x="881" y="39"/>
                </a:cubicBezTo>
                <a:cubicBezTo>
                  <a:pt x="881" y="39"/>
                  <a:pt x="881" y="39"/>
                  <a:pt x="881" y="39"/>
                </a:cubicBezTo>
                <a:cubicBezTo>
                  <a:pt x="881" y="39"/>
                  <a:pt x="881" y="39"/>
                  <a:pt x="881" y="39"/>
                </a:cubicBezTo>
                <a:cubicBezTo>
                  <a:pt x="881" y="39"/>
                  <a:pt x="881" y="39"/>
                  <a:pt x="881" y="39"/>
                </a:cubicBezTo>
                <a:cubicBezTo>
                  <a:pt x="881" y="39"/>
                  <a:pt x="881" y="39"/>
                  <a:pt x="881" y="39"/>
                </a:cubicBezTo>
                <a:cubicBezTo>
                  <a:pt x="880" y="39"/>
                  <a:pt x="880" y="39"/>
                  <a:pt x="880" y="39"/>
                </a:cubicBezTo>
                <a:cubicBezTo>
                  <a:pt x="880" y="39"/>
                  <a:pt x="880" y="39"/>
                  <a:pt x="880" y="39"/>
                </a:cubicBezTo>
                <a:cubicBezTo>
                  <a:pt x="880" y="39"/>
                  <a:pt x="880" y="39"/>
                  <a:pt x="880" y="39"/>
                </a:cubicBezTo>
                <a:cubicBezTo>
                  <a:pt x="880" y="39"/>
                  <a:pt x="880" y="39"/>
                  <a:pt x="880" y="39"/>
                </a:cubicBezTo>
                <a:cubicBezTo>
                  <a:pt x="880" y="40"/>
                  <a:pt x="880" y="40"/>
                  <a:pt x="880" y="40"/>
                </a:cubicBezTo>
                <a:cubicBezTo>
                  <a:pt x="880" y="40"/>
                  <a:pt x="880" y="40"/>
                  <a:pt x="880" y="40"/>
                </a:cubicBezTo>
                <a:cubicBezTo>
                  <a:pt x="879" y="40"/>
                  <a:pt x="879" y="40"/>
                  <a:pt x="879" y="40"/>
                </a:cubicBezTo>
                <a:cubicBezTo>
                  <a:pt x="879" y="40"/>
                  <a:pt x="879" y="40"/>
                  <a:pt x="879" y="40"/>
                </a:cubicBezTo>
                <a:cubicBezTo>
                  <a:pt x="879" y="40"/>
                  <a:pt x="879" y="40"/>
                  <a:pt x="879" y="40"/>
                </a:cubicBezTo>
                <a:cubicBezTo>
                  <a:pt x="879" y="40"/>
                  <a:pt x="879" y="40"/>
                  <a:pt x="879" y="40"/>
                </a:cubicBezTo>
                <a:cubicBezTo>
                  <a:pt x="879" y="40"/>
                  <a:pt x="879" y="40"/>
                  <a:pt x="879" y="40"/>
                </a:cubicBezTo>
                <a:cubicBezTo>
                  <a:pt x="879" y="40"/>
                  <a:pt x="879" y="40"/>
                  <a:pt x="879" y="40"/>
                </a:cubicBezTo>
                <a:cubicBezTo>
                  <a:pt x="879" y="39"/>
                  <a:pt x="879" y="39"/>
                  <a:pt x="879" y="39"/>
                </a:cubicBezTo>
                <a:cubicBezTo>
                  <a:pt x="879" y="39"/>
                  <a:pt x="879" y="39"/>
                  <a:pt x="879" y="39"/>
                </a:cubicBezTo>
                <a:cubicBezTo>
                  <a:pt x="879" y="39"/>
                  <a:pt x="879" y="39"/>
                  <a:pt x="879" y="39"/>
                </a:cubicBezTo>
                <a:cubicBezTo>
                  <a:pt x="879" y="38"/>
                  <a:pt x="879" y="38"/>
                  <a:pt x="879" y="38"/>
                </a:cubicBezTo>
                <a:cubicBezTo>
                  <a:pt x="879" y="38"/>
                  <a:pt x="879" y="37"/>
                  <a:pt x="878" y="37"/>
                </a:cubicBezTo>
                <a:cubicBezTo>
                  <a:pt x="878" y="37"/>
                  <a:pt x="878" y="37"/>
                  <a:pt x="878" y="37"/>
                </a:cubicBezTo>
                <a:cubicBezTo>
                  <a:pt x="878" y="36"/>
                  <a:pt x="878" y="36"/>
                  <a:pt x="878" y="36"/>
                </a:cubicBezTo>
                <a:cubicBezTo>
                  <a:pt x="878" y="36"/>
                  <a:pt x="878" y="36"/>
                  <a:pt x="878" y="36"/>
                </a:cubicBezTo>
                <a:cubicBezTo>
                  <a:pt x="878" y="35"/>
                  <a:pt x="878" y="35"/>
                  <a:pt x="878" y="35"/>
                </a:cubicBezTo>
                <a:cubicBezTo>
                  <a:pt x="878" y="34"/>
                  <a:pt x="878" y="35"/>
                  <a:pt x="877" y="34"/>
                </a:cubicBezTo>
                <a:cubicBezTo>
                  <a:pt x="877" y="34"/>
                  <a:pt x="877" y="34"/>
                  <a:pt x="877" y="34"/>
                </a:cubicBezTo>
                <a:cubicBezTo>
                  <a:pt x="877" y="33"/>
                  <a:pt x="877" y="33"/>
                  <a:pt x="876" y="33"/>
                </a:cubicBezTo>
                <a:cubicBezTo>
                  <a:pt x="876" y="33"/>
                  <a:pt x="876" y="33"/>
                  <a:pt x="876" y="33"/>
                </a:cubicBezTo>
                <a:cubicBezTo>
                  <a:pt x="876" y="33"/>
                  <a:pt x="876" y="33"/>
                  <a:pt x="876" y="33"/>
                </a:cubicBezTo>
                <a:cubicBezTo>
                  <a:pt x="876" y="33"/>
                  <a:pt x="876" y="33"/>
                  <a:pt x="876" y="33"/>
                </a:cubicBezTo>
                <a:cubicBezTo>
                  <a:pt x="876" y="33"/>
                  <a:pt x="876" y="33"/>
                  <a:pt x="876" y="33"/>
                </a:cubicBezTo>
                <a:cubicBezTo>
                  <a:pt x="876" y="33"/>
                  <a:pt x="876" y="33"/>
                  <a:pt x="876" y="33"/>
                </a:cubicBezTo>
                <a:cubicBezTo>
                  <a:pt x="876" y="33"/>
                  <a:pt x="876" y="33"/>
                  <a:pt x="876" y="33"/>
                </a:cubicBezTo>
                <a:cubicBezTo>
                  <a:pt x="877" y="31"/>
                  <a:pt x="873" y="32"/>
                  <a:pt x="873" y="32"/>
                </a:cubicBezTo>
                <a:cubicBezTo>
                  <a:pt x="872" y="32"/>
                  <a:pt x="872" y="32"/>
                  <a:pt x="872" y="32"/>
                </a:cubicBezTo>
                <a:cubicBezTo>
                  <a:pt x="872" y="32"/>
                  <a:pt x="872" y="32"/>
                  <a:pt x="872" y="32"/>
                </a:cubicBezTo>
                <a:cubicBezTo>
                  <a:pt x="873" y="34"/>
                  <a:pt x="874" y="32"/>
                  <a:pt x="876" y="35"/>
                </a:cubicBezTo>
                <a:cubicBezTo>
                  <a:pt x="876" y="35"/>
                  <a:pt x="876" y="35"/>
                  <a:pt x="876" y="35"/>
                </a:cubicBezTo>
                <a:cubicBezTo>
                  <a:pt x="876" y="34"/>
                  <a:pt x="876" y="34"/>
                  <a:pt x="876" y="34"/>
                </a:cubicBezTo>
                <a:cubicBezTo>
                  <a:pt x="875" y="34"/>
                  <a:pt x="875" y="34"/>
                  <a:pt x="875" y="34"/>
                </a:cubicBezTo>
                <a:cubicBezTo>
                  <a:pt x="875" y="34"/>
                  <a:pt x="875" y="34"/>
                  <a:pt x="875" y="34"/>
                </a:cubicBezTo>
                <a:cubicBezTo>
                  <a:pt x="875" y="34"/>
                  <a:pt x="874" y="34"/>
                  <a:pt x="874" y="34"/>
                </a:cubicBezTo>
                <a:cubicBezTo>
                  <a:pt x="873" y="35"/>
                  <a:pt x="873" y="35"/>
                  <a:pt x="873" y="35"/>
                </a:cubicBezTo>
                <a:cubicBezTo>
                  <a:pt x="873" y="35"/>
                  <a:pt x="873" y="35"/>
                  <a:pt x="873" y="35"/>
                </a:cubicBezTo>
                <a:cubicBezTo>
                  <a:pt x="873" y="36"/>
                  <a:pt x="873" y="36"/>
                  <a:pt x="873" y="36"/>
                </a:cubicBezTo>
                <a:cubicBezTo>
                  <a:pt x="873" y="36"/>
                  <a:pt x="873" y="36"/>
                  <a:pt x="873" y="36"/>
                </a:cubicBezTo>
                <a:cubicBezTo>
                  <a:pt x="873" y="36"/>
                  <a:pt x="873" y="36"/>
                  <a:pt x="873" y="36"/>
                </a:cubicBezTo>
                <a:cubicBezTo>
                  <a:pt x="873" y="36"/>
                  <a:pt x="873" y="36"/>
                  <a:pt x="873" y="36"/>
                </a:cubicBezTo>
                <a:cubicBezTo>
                  <a:pt x="872" y="36"/>
                  <a:pt x="872" y="36"/>
                  <a:pt x="872" y="36"/>
                </a:cubicBezTo>
                <a:cubicBezTo>
                  <a:pt x="872" y="36"/>
                  <a:pt x="872" y="36"/>
                  <a:pt x="872" y="36"/>
                </a:cubicBezTo>
                <a:cubicBezTo>
                  <a:pt x="872" y="36"/>
                  <a:pt x="872" y="36"/>
                  <a:pt x="872" y="36"/>
                </a:cubicBezTo>
                <a:cubicBezTo>
                  <a:pt x="872" y="36"/>
                  <a:pt x="872" y="36"/>
                  <a:pt x="872" y="36"/>
                </a:cubicBezTo>
                <a:cubicBezTo>
                  <a:pt x="871" y="36"/>
                  <a:pt x="871" y="36"/>
                  <a:pt x="871" y="36"/>
                </a:cubicBezTo>
                <a:cubicBezTo>
                  <a:pt x="871" y="35"/>
                  <a:pt x="871" y="35"/>
                  <a:pt x="871" y="35"/>
                </a:cubicBezTo>
                <a:cubicBezTo>
                  <a:pt x="871" y="34"/>
                  <a:pt x="871" y="34"/>
                  <a:pt x="871" y="34"/>
                </a:cubicBezTo>
                <a:cubicBezTo>
                  <a:pt x="871" y="34"/>
                  <a:pt x="871" y="34"/>
                  <a:pt x="871" y="34"/>
                </a:cubicBezTo>
                <a:cubicBezTo>
                  <a:pt x="871" y="34"/>
                  <a:pt x="871" y="34"/>
                  <a:pt x="871" y="34"/>
                </a:cubicBezTo>
                <a:cubicBezTo>
                  <a:pt x="871" y="33"/>
                  <a:pt x="871" y="33"/>
                  <a:pt x="871" y="33"/>
                </a:cubicBezTo>
                <a:cubicBezTo>
                  <a:pt x="871" y="33"/>
                  <a:pt x="871" y="33"/>
                  <a:pt x="871" y="33"/>
                </a:cubicBezTo>
                <a:cubicBezTo>
                  <a:pt x="870" y="33"/>
                  <a:pt x="870" y="33"/>
                  <a:pt x="870" y="33"/>
                </a:cubicBezTo>
                <a:cubicBezTo>
                  <a:pt x="870" y="33"/>
                  <a:pt x="870" y="33"/>
                  <a:pt x="870" y="33"/>
                </a:cubicBezTo>
                <a:cubicBezTo>
                  <a:pt x="870" y="32"/>
                  <a:pt x="870" y="32"/>
                  <a:pt x="870" y="32"/>
                </a:cubicBezTo>
                <a:cubicBezTo>
                  <a:pt x="870" y="30"/>
                  <a:pt x="870" y="30"/>
                  <a:pt x="869" y="29"/>
                </a:cubicBezTo>
                <a:cubicBezTo>
                  <a:pt x="868" y="29"/>
                  <a:pt x="868" y="29"/>
                  <a:pt x="868" y="29"/>
                </a:cubicBezTo>
                <a:cubicBezTo>
                  <a:pt x="868" y="29"/>
                  <a:pt x="868" y="29"/>
                  <a:pt x="868" y="29"/>
                </a:cubicBezTo>
                <a:cubicBezTo>
                  <a:pt x="867" y="29"/>
                  <a:pt x="866" y="28"/>
                  <a:pt x="865" y="28"/>
                </a:cubicBezTo>
                <a:cubicBezTo>
                  <a:pt x="865" y="28"/>
                  <a:pt x="865" y="28"/>
                  <a:pt x="865" y="28"/>
                </a:cubicBezTo>
                <a:cubicBezTo>
                  <a:pt x="865" y="28"/>
                  <a:pt x="865" y="28"/>
                  <a:pt x="865" y="28"/>
                </a:cubicBezTo>
                <a:cubicBezTo>
                  <a:pt x="865" y="28"/>
                  <a:pt x="865" y="28"/>
                  <a:pt x="865" y="28"/>
                </a:cubicBezTo>
                <a:cubicBezTo>
                  <a:pt x="865" y="28"/>
                  <a:pt x="865" y="28"/>
                  <a:pt x="865" y="28"/>
                </a:cubicBezTo>
                <a:cubicBezTo>
                  <a:pt x="865" y="27"/>
                  <a:pt x="865" y="27"/>
                  <a:pt x="865" y="27"/>
                </a:cubicBezTo>
                <a:cubicBezTo>
                  <a:pt x="864" y="27"/>
                  <a:pt x="864" y="27"/>
                  <a:pt x="864" y="27"/>
                </a:cubicBezTo>
                <a:cubicBezTo>
                  <a:pt x="864" y="27"/>
                  <a:pt x="864" y="27"/>
                  <a:pt x="863" y="26"/>
                </a:cubicBezTo>
                <a:cubicBezTo>
                  <a:pt x="863" y="26"/>
                  <a:pt x="863" y="26"/>
                  <a:pt x="863" y="26"/>
                </a:cubicBezTo>
                <a:cubicBezTo>
                  <a:pt x="863" y="26"/>
                  <a:pt x="863" y="26"/>
                  <a:pt x="863" y="26"/>
                </a:cubicBezTo>
                <a:cubicBezTo>
                  <a:pt x="862" y="26"/>
                  <a:pt x="862" y="26"/>
                  <a:pt x="861" y="25"/>
                </a:cubicBezTo>
                <a:cubicBezTo>
                  <a:pt x="861" y="25"/>
                  <a:pt x="861" y="25"/>
                  <a:pt x="861" y="25"/>
                </a:cubicBezTo>
                <a:cubicBezTo>
                  <a:pt x="861" y="25"/>
                  <a:pt x="861" y="25"/>
                  <a:pt x="861" y="25"/>
                </a:cubicBezTo>
                <a:cubicBezTo>
                  <a:pt x="861" y="25"/>
                  <a:pt x="861" y="25"/>
                  <a:pt x="861" y="25"/>
                </a:cubicBezTo>
                <a:cubicBezTo>
                  <a:pt x="861" y="25"/>
                  <a:pt x="861" y="25"/>
                  <a:pt x="861" y="25"/>
                </a:cubicBezTo>
                <a:cubicBezTo>
                  <a:pt x="860" y="25"/>
                  <a:pt x="860" y="25"/>
                  <a:pt x="860" y="25"/>
                </a:cubicBezTo>
                <a:cubicBezTo>
                  <a:pt x="860" y="25"/>
                  <a:pt x="860" y="25"/>
                  <a:pt x="860" y="25"/>
                </a:cubicBezTo>
                <a:cubicBezTo>
                  <a:pt x="860" y="25"/>
                  <a:pt x="860" y="25"/>
                  <a:pt x="860" y="25"/>
                </a:cubicBezTo>
                <a:cubicBezTo>
                  <a:pt x="860" y="24"/>
                  <a:pt x="860" y="24"/>
                  <a:pt x="860" y="24"/>
                </a:cubicBezTo>
                <a:cubicBezTo>
                  <a:pt x="859" y="24"/>
                  <a:pt x="859" y="24"/>
                  <a:pt x="859" y="24"/>
                </a:cubicBezTo>
                <a:cubicBezTo>
                  <a:pt x="859" y="24"/>
                  <a:pt x="859" y="24"/>
                  <a:pt x="859" y="24"/>
                </a:cubicBezTo>
                <a:cubicBezTo>
                  <a:pt x="859" y="24"/>
                  <a:pt x="859" y="24"/>
                  <a:pt x="859" y="24"/>
                </a:cubicBezTo>
                <a:cubicBezTo>
                  <a:pt x="859" y="24"/>
                  <a:pt x="859" y="24"/>
                  <a:pt x="859" y="24"/>
                </a:cubicBezTo>
                <a:cubicBezTo>
                  <a:pt x="858" y="24"/>
                  <a:pt x="858" y="24"/>
                  <a:pt x="858" y="24"/>
                </a:cubicBezTo>
                <a:cubicBezTo>
                  <a:pt x="858" y="24"/>
                  <a:pt x="858" y="24"/>
                  <a:pt x="858" y="24"/>
                </a:cubicBezTo>
                <a:cubicBezTo>
                  <a:pt x="858" y="24"/>
                  <a:pt x="858" y="24"/>
                  <a:pt x="858" y="24"/>
                </a:cubicBezTo>
                <a:cubicBezTo>
                  <a:pt x="858" y="23"/>
                  <a:pt x="858" y="23"/>
                  <a:pt x="858" y="23"/>
                </a:cubicBezTo>
                <a:cubicBezTo>
                  <a:pt x="858" y="23"/>
                  <a:pt x="858" y="23"/>
                  <a:pt x="858" y="23"/>
                </a:cubicBezTo>
                <a:cubicBezTo>
                  <a:pt x="858" y="23"/>
                  <a:pt x="858" y="23"/>
                  <a:pt x="858" y="23"/>
                </a:cubicBezTo>
                <a:cubicBezTo>
                  <a:pt x="857" y="23"/>
                  <a:pt x="857" y="23"/>
                  <a:pt x="857" y="23"/>
                </a:cubicBezTo>
                <a:cubicBezTo>
                  <a:pt x="857" y="23"/>
                  <a:pt x="857" y="23"/>
                  <a:pt x="857" y="23"/>
                </a:cubicBezTo>
                <a:cubicBezTo>
                  <a:pt x="857" y="23"/>
                  <a:pt x="857" y="23"/>
                  <a:pt x="857" y="23"/>
                </a:cubicBezTo>
                <a:cubicBezTo>
                  <a:pt x="856" y="23"/>
                  <a:pt x="856" y="23"/>
                  <a:pt x="856" y="23"/>
                </a:cubicBezTo>
                <a:cubicBezTo>
                  <a:pt x="856" y="23"/>
                  <a:pt x="856" y="23"/>
                  <a:pt x="856" y="23"/>
                </a:cubicBezTo>
                <a:cubicBezTo>
                  <a:pt x="856" y="23"/>
                  <a:pt x="856" y="23"/>
                  <a:pt x="856" y="23"/>
                </a:cubicBezTo>
                <a:cubicBezTo>
                  <a:pt x="855" y="23"/>
                  <a:pt x="855" y="23"/>
                  <a:pt x="855" y="23"/>
                </a:cubicBezTo>
                <a:cubicBezTo>
                  <a:pt x="855" y="22"/>
                  <a:pt x="855" y="22"/>
                  <a:pt x="855" y="22"/>
                </a:cubicBezTo>
                <a:cubicBezTo>
                  <a:pt x="855" y="22"/>
                  <a:pt x="855" y="22"/>
                  <a:pt x="855" y="22"/>
                </a:cubicBezTo>
                <a:cubicBezTo>
                  <a:pt x="855" y="22"/>
                  <a:pt x="855" y="22"/>
                  <a:pt x="855" y="22"/>
                </a:cubicBezTo>
                <a:cubicBezTo>
                  <a:pt x="854" y="22"/>
                  <a:pt x="854" y="22"/>
                  <a:pt x="854" y="22"/>
                </a:cubicBezTo>
                <a:cubicBezTo>
                  <a:pt x="854" y="23"/>
                  <a:pt x="854" y="23"/>
                  <a:pt x="854" y="23"/>
                </a:cubicBezTo>
                <a:cubicBezTo>
                  <a:pt x="854" y="23"/>
                  <a:pt x="854" y="23"/>
                  <a:pt x="854" y="23"/>
                </a:cubicBezTo>
                <a:cubicBezTo>
                  <a:pt x="854" y="23"/>
                  <a:pt x="854" y="23"/>
                  <a:pt x="854" y="23"/>
                </a:cubicBezTo>
                <a:cubicBezTo>
                  <a:pt x="854" y="23"/>
                  <a:pt x="854" y="23"/>
                  <a:pt x="854" y="23"/>
                </a:cubicBezTo>
                <a:cubicBezTo>
                  <a:pt x="854" y="22"/>
                  <a:pt x="854" y="22"/>
                  <a:pt x="854" y="22"/>
                </a:cubicBezTo>
                <a:cubicBezTo>
                  <a:pt x="854" y="22"/>
                  <a:pt x="854" y="22"/>
                  <a:pt x="854" y="22"/>
                </a:cubicBezTo>
                <a:cubicBezTo>
                  <a:pt x="853" y="21"/>
                  <a:pt x="853" y="21"/>
                  <a:pt x="853" y="21"/>
                </a:cubicBezTo>
                <a:cubicBezTo>
                  <a:pt x="853" y="21"/>
                  <a:pt x="853" y="21"/>
                  <a:pt x="853" y="21"/>
                </a:cubicBezTo>
                <a:cubicBezTo>
                  <a:pt x="852" y="21"/>
                  <a:pt x="852" y="21"/>
                  <a:pt x="852" y="22"/>
                </a:cubicBezTo>
                <a:cubicBezTo>
                  <a:pt x="851" y="22"/>
                  <a:pt x="851" y="22"/>
                  <a:pt x="851" y="22"/>
                </a:cubicBezTo>
                <a:cubicBezTo>
                  <a:pt x="851" y="22"/>
                  <a:pt x="851" y="22"/>
                  <a:pt x="851" y="22"/>
                </a:cubicBezTo>
                <a:cubicBezTo>
                  <a:pt x="851" y="22"/>
                  <a:pt x="851" y="22"/>
                  <a:pt x="851" y="22"/>
                </a:cubicBezTo>
                <a:cubicBezTo>
                  <a:pt x="850" y="22"/>
                  <a:pt x="850" y="22"/>
                  <a:pt x="850" y="22"/>
                </a:cubicBezTo>
                <a:cubicBezTo>
                  <a:pt x="850" y="22"/>
                  <a:pt x="850" y="22"/>
                  <a:pt x="850" y="22"/>
                </a:cubicBezTo>
                <a:cubicBezTo>
                  <a:pt x="850" y="22"/>
                  <a:pt x="850" y="22"/>
                  <a:pt x="850" y="22"/>
                </a:cubicBezTo>
                <a:cubicBezTo>
                  <a:pt x="850" y="22"/>
                  <a:pt x="850" y="22"/>
                  <a:pt x="850" y="22"/>
                </a:cubicBezTo>
                <a:cubicBezTo>
                  <a:pt x="849" y="22"/>
                  <a:pt x="849" y="22"/>
                  <a:pt x="849" y="22"/>
                </a:cubicBezTo>
                <a:cubicBezTo>
                  <a:pt x="849" y="22"/>
                  <a:pt x="849" y="22"/>
                  <a:pt x="849" y="22"/>
                </a:cubicBezTo>
                <a:cubicBezTo>
                  <a:pt x="849" y="22"/>
                  <a:pt x="849" y="22"/>
                  <a:pt x="849" y="22"/>
                </a:cubicBezTo>
                <a:cubicBezTo>
                  <a:pt x="849" y="22"/>
                  <a:pt x="849" y="22"/>
                  <a:pt x="849" y="22"/>
                </a:cubicBezTo>
                <a:cubicBezTo>
                  <a:pt x="849" y="21"/>
                  <a:pt x="849" y="21"/>
                  <a:pt x="849" y="21"/>
                </a:cubicBezTo>
                <a:cubicBezTo>
                  <a:pt x="848" y="21"/>
                  <a:pt x="848" y="21"/>
                  <a:pt x="848" y="21"/>
                </a:cubicBezTo>
                <a:cubicBezTo>
                  <a:pt x="848" y="21"/>
                  <a:pt x="848" y="21"/>
                  <a:pt x="848" y="21"/>
                </a:cubicBezTo>
                <a:cubicBezTo>
                  <a:pt x="848" y="21"/>
                  <a:pt x="848" y="21"/>
                  <a:pt x="848" y="21"/>
                </a:cubicBezTo>
                <a:cubicBezTo>
                  <a:pt x="847" y="21"/>
                  <a:pt x="847" y="21"/>
                  <a:pt x="847" y="21"/>
                </a:cubicBezTo>
                <a:cubicBezTo>
                  <a:pt x="847" y="21"/>
                  <a:pt x="847" y="21"/>
                  <a:pt x="847" y="21"/>
                </a:cubicBezTo>
                <a:cubicBezTo>
                  <a:pt x="846" y="22"/>
                  <a:pt x="845" y="21"/>
                  <a:pt x="845" y="22"/>
                </a:cubicBezTo>
                <a:cubicBezTo>
                  <a:pt x="845" y="22"/>
                  <a:pt x="845" y="22"/>
                  <a:pt x="845" y="22"/>
                </a:cubicBezTo>
                <a:cubicBezTo>
                  <a:pt x="844" y="22"/>
                  <a:pt x="844" y="22"/>
                  <a:pt x="844" y="22"/>
                </a:cubicBezTo>
                <a:cubicBezTo>
                  <a:pt x="844" y="22"/>
                  <a:pt x="843" y="23"/>
                  <a:pt x="842" y="23"/>
                </a:cubicBezTo>
                <a:cubicBezTo>
                  <a:pt x="842" y="23"/>
                  <a:pt x="842" y="23"/>
                  <a:pt x="842" y="23"/>
                </a:cubicBezTo>
                <a:cubicBezTo>
                  <a:pt x="842" y="23"/>
                  <a:pt x="842" y="23"/>
                  <a:pt x="842" y="23"/>
                </a:cubicBezTo>
                <a:cubicBezTo>
                  <a:pt x="842" y="23"/>
                  <a:pt x="842" y="23"/>
                  <a:pt x="842" y="23"/>
                </a:cubicBezTo>
                <a:cubicBezTo>
                  <a:pt x="842" y="23"/>
                  <a:pt x="842" y="23"/>
                  <a:pt x="842" y="23"/>
                </a:cubicBezTo>
                <a:cubicBezTo>
                  <a:pt x="842" y="23"/>
                  <a:pt x="842" y="23"/>
                  <a:pt x="842" y="23"/>
                </a:cubicBezTo>
                <a:cubicBezTo>
                  <a:pt x="842" y="22"/>
                  <a:pt x="842" y="22"/>
                  <a:pt x="842" y="22"/>
                </a:cubicBezTo>
                <a:cubicBezTo>
                  <a:pt x="840" y="23"/>
                  <a:pt x="841" y="22"/>
                  <a:pt x="839" y="22"/>
                </a:cubicBezTo>
                <a:cubicBezTo>
                  <a:pt x="839" y="22"/>
                  <a:pt x="839" y="22"/>
                  <a:pt x="839" y="22"/>
                </a:cubicBezTo>
                <a:cubicBezTo>
                  <a:pt x="839" y="22"/>
                  <a:pt x="839" y="22"/>
                  <a:pt x="839" y="22"/>
                </a:cubicBezTo>
                <a:cubicBezTo>
                  <a:pt x="839" y="22"/>
                  <a:pt x="839" y="22"/>
                  <a:pt x="839" y="22"/>
                </a:cubicBezTo>
                <a:cubicBezTo>
                  <a:pt x="838" y="22"/>
                  <a:pt x="838" y="22"/>
                  <a:pt x="838" y="22"/>
                </a:cubicBezTo>
                <a:cubicBezTo>
                  <a:pt x="838" y="22"/>
                  <a:pt x="838" y="22"/>
                  <a:pt x="838" y="22"/>
                </a:cubicBezTo>
                <a:cubicBezTo>
                  <a:pt x="838" y="22"/>
                  <a:pt x="838" y="22"/>
                  <a:pt x="838" y="22"/>
                </a:cubicBezTo>
                <a:cubicBezTo>
                  <a:pt x="838" y="22"/>
                  <a:pt x="838" y="22"/>
                  <a:pt x="838" y="22"/>
                </a:cubicBezTo>
                <a:cubicBezTo>
                  <a:pt x="838" y="22"/>
                  <a:pt x="838" y="22"/>
                  <a:pt x="838" y="22"/>
                </a:cubicBezTo>
                <a:cubicBezTo>
                  <a:pt x="837" y="22"/>
                  <a:pt x="837" y="22"/>
                  <a:pt x="837" y="22"/>
                </a:cubicBezTo>
                <a:cubicBezTo>
                  <a:pt x="837" y="22"/>
                  <a:pt x="837" y="22"/>
                  <a:pt x="837" y="22"/>
                </a:cubicBezTo>
                <a:cubicBezTo>
                  <a:pt x="837" y="22"/>
                  <a:pt x="837" y="22"/>
                  <a:pt x="837" y="22"/>
                </a:cubicBezTo>
                <a:cubicBezTo>
                  <a:pt x="836" y="22"/>
                  <a:pt x="836" y="22"/>
                  <a:pt x="836" y="22"/>
                </a:cubicBezTo>
                <a:cubicBezTo>
                  <a:pt x="836" y="22"/>
                  <a:pt x="836" y="22"/>
                  <a:pt x="836" y="22"/>
                </a:cubicBezTo>
                <a:cubicBezTo>
                  <a:pt x="836" y="22"/>
                  <a:pt x="836" y="22"/>
                  <a:pt x="836" y="22"/>
                </a:cubicBezTo>
                <a:cubicBezTo>
                  <a:pt x="836" y="22"/>
                  <a:pt x="836" y="22"/>
                  <a:pt x="836" y="22"/>
                </a:cubicBezTo>
                <a:cubicBezTo>
                  <a:pt x="836" y="21"/>
                  <a:pt x="836" y="21"/>
                  <a:pt x="836" y="21"/>
                </a:cubicBezTo>
                <a:cubicBezTo>
                  <a:pt x="836" y="21"/>
                  <a:pt x="836" y="21"/>
                  <a:pt x="836" y="21"/>
                </a:cubicBezTo>
                <a:cubicBezTo>
                  <a:pt x="835" y="22"/>
                  <a:pt x="834" y="22"/>
                  <a:pt x="833" y="22"/>
                </a:cubicBezTo>
                <a:cubicBezTo>
                  <a:pt x="833" y="22"/>
                  <a:pt x="833" y="22"/>
                  <a:pt x="833" y="22"/>
                </a:cubicBezTo>
                <a:cubicBezTo>
                  <a:pt x="833" y="22"/>
                  <a:pt x="833" y="22"/>
                  <a:pt x="833" y="22"/>
                </a:cubicBezTo>
                <a:cubicBezTo>
                  <a:pt x="832" y="22"/>
                  <a:pt x="832" y="22"/>
                  <a:pt x="831" y="22"/>
                </a:cubicBezTo>
                <a:cubicBezTo>
                  <a:pt x="831" y="22"/>
                  <a:pt x="831" y="22"/>
                  <a:pt x="831" y="22"/>
                </a:cubicBezTo>
                <a:cubicBezTo>
                  <a:pt x="831" y="22"/>
                  <a:pt x="831" y="22"/>
                  <a:pt x="831" y="22"/>
                </a:cubicBezTo>
                <a:cubicBezTo>
                  <a:pt x="830" y="22"/>
                  <a:pt x="830" y="22"/>
                  <a:pt x="830" y="22"/>
                </a:cubicBezTo>
                <a:cubicBezTo>
                  <a:pt x="830" y="22"/>
                  <a:pt x="830" y="22"/>
                  <a:pt x="830" y="22"/>
                </a:cubicBezTo>
                <a:cubicBezTo>
                  <a:pt x="830" y="22"/>
                  <a:pt x="830" y="22"/>
                  <a:pt x="830" y="22"/>
                </a:cubicBezTo>
                <a:cubicBezTo>
                  <a:pt x="830" y="22"/>
                  <a:pt x="830" y="22"/>
                  <a:pt x="830" y="22"/>
                </a:cubicBezTo>
                <a:cubicBezTo>
                  <a:pt x="829" y="22"/>
                  <a:pt x="829" y="22"/>
                  <a:pt x="829" y="22"/>
                </a:cubicBezTo>
                <a:cubicBezTo>
                  <a:pt x="829" y="22"/>
                  <a:pt x="829" y="22"/>
                  <a:pt x="829" y="22"/>
                </a:cubicBezTo>
                <a:cubicBezTo>
                  <a:pt x="828" y="22"/>
                  <a:pt x="827" y="22"/>
                  <a:pt x="826" y="22"/>
                </a:cubicBezTo>
                <a:cubicBezTo>
                  <a:pt x="826" y="22"/>
                  <a:pt x="826" y="22"/>
                  <a:pt x="826" y="22"/>
                </a:cubicBezTo>
                <a:cubicBezTo>
                  <a:pt x="825" y="22"/>
                  <a:pt x="825" y="22"/>
                  <a:pt x="825" y="22"/>
                </a:cubicBezTo>
                <a:cubicBezTo>
                  <a:pt x="824" y="23"/>
                  <a:pt x="825" y="21"/>
                  <a:pt x="823" y="22"/>
                </a:cubicBezTo>
                <a:cubicBezTo>
                  <a:pt x="823" y="22"/>
                  <a:pt x="823" y="22"/>
                  <a:pt x="823" y="22"/>
                </a:cubicBezTo>
                <a:cubicBezTo>
                  <a:pt x="823" y="22"/>
                  <a:pt x="823" y="22"/>
                  <a:pt x="823" y="22"/>
                </a:cubicBezTo>
                <a:cubicBezTo>
                  <a:pt x="822" y="22"/>
                  <a:pt x="822" y="22"/>
                  <a:pt x="822" y="22"/>
                </a:cubicBezTo>
                <a:cubicBezTo>
                  <a:pt x="822" y="22"/>
                  <a:pt x="822" y="22"/>
                  <a:pt x="822" y="22"/>
                </a:cubicBezTo>
                <a:cubicBezTo>
                  <a:pt x="822" y="22"/>
                  <a:pt x="822" y="22"/>
                  <a:pt x="822" y="22"/>
                </a:cubicBezTo>
                <a:cubicBezTo>
                  <a:pt x="822" y="22"/>
                  <a:pt x="822" y="22"/>
                  <a:pt x="822" y="22"/>
                </a:cubicBezTo>
                <a:cubicBezTo>
                  <a:pt x="821" y="22"/>
                  <a:pt x="821" y="22"/>
                  <a:pt x="821" y="22"/>
                </a:cubicBezTo>
                <a:cubicBezTo>
                  <a:pt x="821" y="22"/>
                  <a:pt x="821" y="22"/>
                  <a:pt x="821" y="22"/>
                </a:cubicBezTo>
                <a:cubicBezTo>
                  <a:pt x="821" y="23"/>
                  <a:pt x="821" y="23"/>
                  <a:pt x="821" y="23"/>
                </a:cubicBezTo>
                <a:cubicBezTo>
                  <a:pt x="821" y="23"/>
                  <a:pt x="821" y="23"/>
                  <a:pt x="821" y="23"/>
                </a:cubicBezTo>
                <a:cubicBezTo>
                  <a:pt x="821" y="24"/>
                  <a:pt x="821" y="24"/>
                  <a:pt x="821" y="24"/>
                </a:cubicBezTo>
                <a:cubicBezTo>
                  <a:pt x="821" y="24"/>
                  <a:pt x="821" y="24"/>
                  <a:pt x="821" y="24"/>
                </a:cubicBezTo>
                <a:cubicBezTo>
                  <a:pt x="821" y="24"/>
                  <a:pt x="821" y="24"/>
                  <a:pt x="821" y="24"/>
                </a:cubicBezTo>
                <a:cubicBezTo>
                  <a:pt x="821" y="24"/>
                  <a:pt x="821" y="24"/>
                  <a:pt x="821" y="24"/>
                </a:cubicBezTo>
                <a:cubicBezTo>
                  <a:pt x="821" y="25"/>
                  <a:pt x="821" y="25"/>
                  <a:pt x="821" y="25"/>
                </a:cubicBezTo>
                <a:cubicBezTo>
                  <a:pt x="821" y="25"/>
                  <a:pt x="821" y="25"/>
                  <a:pt x="821" y="25"/>
                </a:cubicBezTo>
                <a:cubicBezTo>
                  <a:pt x="820" y="26"/>
                  <a:pt x="820" y="26"/>
                  <a:pt x="819" y="26"/>
                </a:cubicBezTo>
                <a:cubicBezTo>
                  <a:pt x="819" y="26"/>
                  <a:pt x="819" y="26"/>
                  <a:pt x="819" y="26"/>
                </a:cubicBezTo>
                <a:cubicBezTo>
                  <a:pt x="819" y="26"/>
                  <a:pt x="819" y="26"/>
                  <a:pt x="819" y="26"/>
                </a:cubicBezTo>
                <a:cubicBezTo>
                  <a:pt x="819" y="26"/>
                  <a:pt x="819" y="26"/>
                  <a:pt x="819" y="26"/>
                </a:cubicBezTo>
                <a:cubicBezTo>
                  <a:pt x="819" y="26"/>
                  <a:pt x="819" y="26"/>
                  <a:pt x="819" y="26"/>
                </a:cubicBezTo>
                <a:cubicBezTo>
                  <a:pt x="818" y="27"/>
                  <a:pt x="818" y="27"/>
                  <a:pt x="818" y="27"/>
                </a:cubicBezTo>
                <a:cubicBezTo>
                  <a:pt x="815" y="27"/>
                  <a:pt x="816" y="25"/>
                  <a:pt x="812" y="27"/>
                </a:cubicBezTo>
                <a:cubicBezTo>
                  <a:pt x="812" y="27"/>
                  <a:pt x="812" y="27"/>
                  <a:pt x="812" y="27"/>
                </a:cubicBezTo>
                <a:cubicBezTo>
                  <a:pt x="812" y="27"/>
                  <a:pt x="812" y="27"/>
                  <a:pt x="812" y="27"/>
                </a:cubicBezTo>
                <a:cubicBezTo>
                  <a:pt x="812" y="27"/>
                  <a:pt x="812" y="27"/>
                  <a:pt x="812" y="27"/>
                </a:cubicBezTo>
                <a:cubicBezTo>
                  <a:pt x="810" y="27"/>
                  <a:pt x="810" y="26"/>
                  <a:pt x="810" y="27"/>
                </a:cubicBezTo>
                <a:cubicBezTo>
                  <a:pt x="809" y="27"/>
                  <a:pt x="809" y="27"/>
                  <a:pt x="809" y="27"/>
                </a:cubicBezTo>
                <a:cubicBezTo>
                  <a:pt x="809" y="28"/>
                  <a:pt x="809" y="28"/>
                  <a:pt x="809" y="28"/>
                </a:cubicBezTo>
                <a:cubicBezTo>
                  <a:pt x="808" y="27"/>
                  <a:pt x="809" y="27"/>
                  <a:pt x="807" y="27"/>
                </a:cubicBezTo>
                <a:cubicBezTo>
                  <a:pt x="807" y="27"/>
                  <a:pt x="807" y="27"/>
                  <a:pt x="807" y="27"/>
                </a:cubicBezTo>
                <a:cubicBezTo>
                  <a:pt x="806" y="27"/>
                  <a:pt x="806" y="27"/>
                  <a:pt x="806" y="27"/>
                </a:cubicBezTo>
                <a:cubicBezTo>
                  <a:pt x="806" y="27"/>
                  <a:pt x="806" y="27"/>
                  <a:pt x="806" y="27"/>
                </a:cubicBezTo>
                <a:cubicBezTo>
                  <a:pt x="806" y="27"/>
                  <a:pt x="806" y="27"/>
                  <a:pt x="806" y="27"/>
                </a:cubicBezTo>
                <a:cubicBezTo>
                  <a:pt x="805" y="26"/>
                  <a:pt x="805" y="26"/>
                  <a:pt x="805" y="26"/>
                </a:cubicBezTo>
                <a:cubicBezTo>
                  <a:pt x="816" y="18"/>
                  <a:pt x="816" y="18"/>
                  <a:pt x="816" y="18"/>
                </a:cubicBezTo>
                <a:cubicBezTo>
                  <a:pt x="816" y="18"/>
                  <a:pt x="816" y="18"/>
                  <a:pt x="816" y="18"/>
                </a:cubicBezTo>
                <a:cubicBezTo>
                  <a:pt x="816" y="18"/>
                  <a:pt x="816" y="18"/>
                  <a:pt x="816" y="18"/>
                </a:cubicBezTo>
                <a:cubicBezTo>
                  <a:pt x="816" y="18"/>
                  <a:pt x="816" y="18"/>
                  <a:pt x="816" y="18"/>
                </a:cubicBezTo>
                <a:cubicBezTo>
                  <a:pt x="816" y="18"/>
                  <a:pt x="816" y="18"/>
                  <a:pt x="816" y="18"/>
                </a:cubicBezTo>
                <a:cubicBezTo>
                  <a:pt x="816" y="18"/>
                  <a:pt x="816" y="18"/>
                  <a:pt x="816" y="18"/>
                </a:cubicBezTo>
                <a:cubicBezTo>
                  <a:pt x="815" y="18"/>
                  <a:pt x="815" y="18"/>
                  <a:pt x="815" y="18"/>
                </a:cubicBezTo>
                <a:cubicBezTo>
                  <a:pt x="815" y="17"/>
                  <a:pt x="815" y="17"/>
                  <a:pt x="815" y="17"/>
                </a:cubicBezTo>
                <a:cubicBezTo>
                  <a:pt x="815" y="17"/>
                  <a:pt x="815" y="17"/>
                  <a:pt x="815" y="17"/>
                </a:cubicBezTo>
                <a:cubicBezTo>
                  <a:pt x="815" y="17"/>
                  <a:pt x="815" y="17"/>
                  <a:pt x="815" y="17"/>
                </a:cubicBezTo>
                <a:cubicBezTo>
                  <a:pt x="814" y="16"/>
                  <a:pt x="814" y="16"/>
                  <a:pt x="812" y="16"/>
                </a:cubicBezTo>
                <a:cubicBezTo>
                  <a:pt x="812" y="16"/>
                  <a:pt x="812" y="16"/>
                  <a:pt x="812" y="16"/>
                </a:cubicBezTo>
                <a:cubicBezTo>
                  <a:pt x="812" y="16"/>
                  <a:pt x="812" y="16"/>
                  <a:pt x="812" y="16"/>
                </a:cubicBezTo>
                <a:cubicBezTo>
                  <a:pt x="812" y="16"/>
                  <a:pt x="812" y="16"/>
                  <a:pt x="812" y="16"/>
                </a:cubicBezTo>
                <a:cubicBezTo>
                  <a:pt x="812" y="16"/>
                  <a:pt x="812" y="16"/>
                  <a:pt x="812" y="16"/>
                </a:cubicBezTo>
                <a:cubicBezTo>
                  <a:pt x="811" y="16"/>
                  <a:pt x="811" y="15"/>
                  <a:pt x="810" y="15"/>
                </a:cubicBezTo>
                <a:cubicBezTo>
                  <a:pt x="810" y="15"/>
                  <a:pt x="810" y="15"/>
                  <a:pt x="810" y="15"/>
                </a:cubicBezTo>
                <a:cubicBezTo>
                  <a:pt x="809" y="15"/>
                  <a:pt x="809" y="15"/>
                  <a:pt x="809" y="15"/>
                </a:cubicBezTo>
                <a:cubicBezTo>
                  <a:pt x="808" y="15"/>
                  <a:pt x="809" y="15"/>
                  <a:pt x="808" y="16"/>
                </a:cubicBezTo>
                <a:cubicBezTo>
                  <a:pt x="808" y="16"/>
                  <a:pt x="808" y="16"/>
                  <a:pt x="808" y="16"/>
                </a:cubicBezTo>
                <a:cubicBezTo>
                  <a:pt x="808" y="16"/>
                  <a:pt x="808" y="16"/>
                  <a:pt x="808" y="16"/>
                </a:cubicBezTo>
                <a:cubicBezTo>
                  <a:pt x="808" y="16"/>
                  <a:pt x="808" y="16"/>
                  <a:pt x="808" y="16"/>
                </a:cubicBezTo>
                <a:cubicBezTo>
                  <a:pt x="808" y="16"/>
                  <a:pt x="808" y="16"/>
                  <a:pt x="808" y="16"/>
                </a:cubicBezTo>
                <a:cubicBezTo>
                  <a:pt x="808" y="16"/>
                  <a:pt x="808" y="16"/>
                  <a:pt x="808" y="16"/>
                </a:cubicBezTo>
                <a:cubicBezTo>
                  <a:pt x="809" y="16"/>
                  <a:pt x="809" y="16"/>
                  <a:pt x="809" y="16"/>
                </a:cubicBezTo>
                <a:cubicBezTo>
                  <a:pt x="809" y="16"/>
                  <a:pt x="809" y="16"/>
                  <a:pt x="809" y="16"/>
                </a:cubicBezTo>
                <a:cubicBezTo>
                  <a:pt x="809" y="16"/>
                  <a:pt x="809" y="16"/>
                  <a:pt x="809" y="16"/>
                </a:cubicBezTo>
                <a:cubicBezTo>
                  <a:pt x="809" y="16"/>
                  <a:pt x="809" y="16"/>
                  <a:pt x="809" y="16"/>
                </a:cubicBezTo>
                <a:cubicBezTo>
                  <a:pt x="809" y="16"/>
                  <a:pt x="809" y="16"/>
                  <a:pt x="809" y="16"/>
                </a:cubicBezTo>
                <a:cubicBezTo>
                  <a:pt x="808" y="16"/>
                  <a:pt x="808" y="16"/>
                  <a:pt x="808" y="16"/>
                </a:cubicBezTo>
                <a:cubicBezTo>
                  <a:pt x="808" y="16"/>
                  <a:pt x="808" y="16"/>
                  <a:pt x="808" y="16"/>
                </a:cubicBezTo>
                <a:cubicBezTo>
                  <a:pt x="808" y="16"/>
                  <a:pt x="808" y="16"/>
                  <a:pt x="808" y="16"/>
                </a:cubicBezTo>
                <a:cubicBezTo>
                  <a:pt x="807" y="16"/>
                  <a:pt x="806" y="15"/>
                  <a:pt x="805" y="15"/>
                </a:cubicBezTo>
                <a:cubicBezTo>
                  <a:pt x="804" y="15"/>
                  <a:pt x="804" y="15"/>
                  <a:pt x="804" y="15"/>
                </a:cubicBezTo>
                <a:cubicBezTo>
                  <a:pt x="804" y="15"/>
                  <a:pt x="804" y="15"/>
                  <a:pt x="804" y="15"/>
                </a:cubicBezTo>
                <a:cubicBezTo>
                  <a:pt x="804" y="15"/>
                  <a:pt x="804" y="15"/>
                  <a:pt x="804" y="15"/>
                </a:cubicBezTo>
                <a:cubicBezTo>
                  <a:pt x="803" y="15"/>
                  <a:pt x="803" y="15"/>
                  <a:pt x="803" y="15"/>
                </a:cubicBezTo>
                <a:cubicBezTo>
                  <a:pt x="803" y="15"/>
                  <a:pt x="803" y="15"/>
                  <a:pt x="803" y="15"/>
                </a:cubicBezTo>
                <a:cubicBezTo>
                  <a:pt x="803" y="15"/>
                  <a:pt x="803" y="15"/>
                  <a:pt x="803" y="15"/>
                </a:cubicBezTo>
                <a:cubicBezTo>
                  <a:pt x="802" y="15"/>
                  <a:pt x="802" y="15"/>
                  <a:pt x="802" y="15"/>
                </a:cubicBezTo>
                <a:cubicBezTo>
                  <a:pt x="802" y="15"/>
                  <a:pt x="802" y="15"/>
                  <a:pt x="802" y="15"/>
                </a:cubicBezTo>
                <a:cubicBezTo>
                  <a:pt x="802" y="15"/>
                  <a:pt x="802" y="15"/>
                  <a:pt x="802" y="15"/>
                </a:cubicBezTo>
                <a:cubicBezTo>
                  <a:pt x="802" y="15"/>
                  <a:pt x="802" y="15"/>
                  <a:pt x="802" y="15"/>
                </a:cubicBezTo>
                <a:cubicBezTo>
                  <a:pt x="802" y="15"/>
                  <a:pt x="802" y="15"/>
                  <a:pt x="802" y="15"/>
                </a:cubicBezTo>
                <a:cubicBezTo>
                  <a:pt x="801" y="16"/>
                  <a:pt x="801" y="16"/>
                  <a:pt x="800" y="16"/>
                </a:cubicBezTo>
                <a:cubicBezTo>
                  <a:pt x="800" y="16"/>
                  <a:pt x="800" y="16"/>
                  <a:pt x="800" y="16"/>
                </a:cubicBezTo>
                <a:cubicBezTo>
                  <a:pt x="800" y="16"/>
                  <a:pt x="800" y="16"/>
                  <a:pt x="800" y="16"/>
                </a:cubicBezTo>
                <a:cubicBezTo>
                  <a:pt x="800" y="16"/>
                  <a:pt x="800" y="16"/>
                  <a:pt x="800" y="16"/>
                </a:cubicBezTo>
                <a:cubicBezTo>
                  <a:pt x="799" y="16"/>
                  <a:pt x="799" y="16"/>
                  <a:pt x="799" y="16"/>
                </a:cubicBezTo>
                <a:cubicBezTo>
                  <a:pt x="799" y="16"/>
                  <a:pt x="799" y="16"/>
                  <a:pt x="799" y="16"/>
                </a:cubicBezTo>
                <a:cubicBezTo>
                  <a:pt x="798" y="16"/>
                  <a:pt x="798" y="17"/>
                  <a:pt x="797" y="17"/>
                </a:cubicBezTo>
                <a:cubicBezTo>
                  <a:pt x="797" y="17"/>
                  <a:pt x="797" y="17"/>
                  <a:pt x="797" y="17"/>
                </a:cubicBezTo>
                <a:cubicBezTo>
                  <a:pt x="795" y="17"/>
                  <a:pt x="795" y="17"/>
                  <a:pt x="795" y="17"/>
                </a:cubicBezTo>
                <a:cubicBezTo>
                  <a:pt x="795" y="17"/>
                  <a:pt x="795" y="17"/>
                  <a:pt x="795" y="17"/>
                </a:cubicBezTo>
                <a:cubicBezTo>
                  <a:pt x="795" y="16"/>
                  <a:pt x="795" y="16"/>
                  <a:pt x="795" y="16"/>
                </a:cubicBezTo>
                <a:cubicBezTo>
                  <a:pt x="795" y="16"/>
                  <a:pt x="795" y="16"/>
                  <a:pt x="795" y="16"/>
                </a:cubicBezTo>
                <a:cubicBezTo>
                  <a:pt x="795" y="16"/>
                  <a:pt x="795" y="16"/>
                  <a:pt x="795" y="16"/>
                </a:cubicBezTo>
                <a:cubicBezTo>
                  <a:pt x="795" y="16"/>
                  <a:pt x="795" y="16"/>
                  <a:pt x="795" y="16"/>
                </a:cubicBezTo>
                <a:cubicBezTo>
                  <a:pt x="795" y="16"/>
                  <a:pt x="795" y="16"/>
                  <a:pt x="795" y="16"/>
                </a:cubicBezTo>
                <a:cubicBezTo>
                  <a:pt x="795" y="16"/>
                  <a:pt x="795" y="16"/>
                  <a:pt x="795" y="16"/>
                </a:cubicBezTo>
                <a:cubicBezTo>
                  <a:pt x="795" y="16"/>
                  <a:pt x="795" y="16"/>
                  <a:pt x="795" y="16"/>
                </a:cubicBezTo>
                <a:cubicBezTo>
                  <a:pt x="795" y="16"/>
                  <a:pt x="796" y="16"/>
                  <a:pt x="796" y="16"/>
                </a:cubicBezTo>
                <a:cubicBezTo>
                  <a:pt x="797" y="16"/>
                  <a:pt x="797" y="16"/>
                  <a:pt x="797" y="16"/>
                </a:cubicBezTo>
                <a:cubicBezTo>
                  <a:pt x="797" y="16"/>
                  <a:pt x="797" y="16"/>
                  <a:pt x="797" y="16"/>
                </a:cubicBezTo>
                <a:cubicBezTo>
                  <a:pt x="798" y="16"/>
                  <a:pt x="797" y="15"/>
                  <a:pt x="798" y="15"/>
                </a:cubicBezTo>
                <a:cubicBezTo>
                  <a:pt x="799" y="14"/>
                  <a:pt x="799" y="14"/>
                  <a:pt x="799" y="14"/>
                </a:cubicBezTo>
                <a:cubicBezTo>
                  <a:pt x="799" y="14"/>
                  <a:pt x="799" y="14"/>
                  <a:pt x="799" y="14"/>
                </a:cubicBezTo>
                <a:cubicBezTo>
                  <a:pt x="799" y="14"/>
                  <a:pt x="799" y="14"/>
                  <a:pt x="799" y="14"/>
                </a:cubicBezTo>
                <a:cubicBezTo>
                  <a:pt x="800" y="13"/>
                  <a:pt x="800" y="13"/>
                  <a:pt x="800" y="13"/>
                </a:cubicBezTo>
                <a:cubicBezTo>
                  <a:pt x="799" y="13"/>
                  <a:pt x="799" y="13"/>
                  <a:pt x="799" y="13"/>
                </a:cubicBezTo>
                <a:cubicBezTo>
                  <a:pt x="799" y="13"/>
                  <a:pt x="799" y="13"/>
                  <a:pt x="799" y="13"/>
                </a:cubicBezTo>
                <a:cubicBezTo>
                  <a:pt x="799" y="14"/>
                  <a:pt x="799" y="14"/>
                  <a:pt x="799" y="14"/>
                </a:cubicBezTo>
                <a:cubicBezTo>
                  <a:pt x="799" y="14"/>
                  <a:pt x="799" y="14"/>
                  <a:pt x="799" y="14"/>
                </a:cubicBezTo>
                <a:cubicBezTo>
                  <a:pt x="799" y="14"/>
                  <a:pt x="797" y="14"/>
                  <a:pt x="796" y="14"/>
                </a:cubicBezTo>
                <a:cubicBezTo>
                  <a:pt x="796" y="14"/>
                  <a:pt x="796" y="14"/>
                  <a:pt x="796" y="14"/>
                </a:cubicBezTo>
                <a:cubicBezTo>
                  <a:pt x="796" y="14"/>
                  <a:pt x="796" y="14"/>
                  <a:pt x="796" y="14"/>
                </a:cubicBezTo>
                <a:cubicBezTo>
                  <a:pt x="795" y="14"/>
                  <a:pt x="794" y="15"/>
                  <a:pt x="793" y="14"/>
                </a:cubicBezTo>
                <a:cubicBezTo>
                  <a:pt x="792" y="14"/>
                  <a:pt x="792" y="14"/>
                  <a:pt x="792" y="14"/>
                </a:cubicBezTo>
                <a:cubicBezTo>
                  <a:pt x="792" y="14"/>
                  <a:pt x="792" y="14"/>
                  <a:pt x="792" y="14"/>
                </a:cubicBezTo>
                <a:cubicBezTo>
                  <a:pt x="792" y="14"/>
                  <a:pt x="792" y="14"/>
                  <a:pt x="792" y="14"/>
                </a:cubicBezTo>
                <a:cubicBezTo>
                  <a:pt x="791" y="14"/>
                  <a:pt x="791" y="14"/>
                  <a:pt x="791" y="14"/>
                </a:cubicBezTo>
                <a:cubicBezTo>
                  <a:pt x="791" y="14"/>
                  <a:pt x="791" y="14"/>
                  <a:pt x="791" y="14"/>
                </a:cubicBezTo>
                <a:cubicBezTo>
                  <a:pt x="791" y="14"/>
                  <a:pt x="791" y="14"/>
                  <a:pt x="791" y="14"/>
                </a:cubicBezTo>
                <a:cubicBezTo>
                  <a:pt x="791" y="14"/>
                  <a:pt x="791" y="14"/>
                  <a:pt x="791" y="14"/>
                </a:cubicBezTo>
                <a:cubicBezTo>
                  <a:pt x="791" y="14"/>
                  <a:pt x="791" y="14"/>
                  <a:pt x="791" y="14"/>
                </a:cubicBezTo>
                <a:cubicBezTo>
                  <a:pt x="791" y="14"/>
                  <a:pt x="791" y="14"/>
                  <a:pt x="791" y="14"/>
                </a:cubicBezTo>
                <a:cubicBezTo>
                  <a:pt x="791" y="14"/>
                  <a:pt x="791" y="14"/>
                  <a:pt x="791" y="14"/>
                </a:cubicBezTo>
                <a:cubicBezTo>
                  <a:pt x="790" y="14"/>
                  <a:pt x="790" y="14"/>
                  <a:pt x="790" y="14"/>
                </a:cubicBezTo>
                <a:cubicBezTo>
                  <a:pt x="790" y="14"/>
                  <a:pt x="790" y="14"/>
                  <a:pt x="790" y="14"/>
                </a:cubicBezTo>
                <a:cubicBezTo>
                  <a:pt x="790" y="14"/>
                  <a:pt x="790" y="14"/>
                  <a:pt x="790" y="14"/>
                </a:cubicBezTo>
                <a:cubicBezTo>
                  <a:pt x="790" y="14"/>
                  <a:pt x="790" y="14"/>
                  <a:pt x="790" y="14"/>
                </a:cubicBezTo>
                <a:cubicBezTo>
                  <a:pt x="790" y="14"/>
                  <a:pt x="790" y="14"/>
                  <a:pt x="790" y="14"/>
                </a:cubicBezTo>
                <a:cubicBezTo>
                  <a:pt x="789" y="14"/>
                  <a:pt x="789" y="14"/>
                  <a:pt x="789" y="14"/>
                </a:cubicBezTo>
                <a:cubicBezTo>
                  <a:pt x="788" y="14"/>
                  <a:pt x="788" y="14"/>
                  <a:pt x="788" y="14"/>
                </a:cubicBezTo>
                <a:cubicBezTo>
                  <a:pt x="788" y="14"/>
                  <a:pt x="788" y="14"/>
                  <a:pt x="788" y="14"/>
                </a:cubicBezTo>
                <a:cubicBezTo>
                  <a:pt x="787" y="14"/>
                  <a:pt x="787" y="14"/>
                  <a:pt x="787" y="14"/>
                </a:cubicBezTo>
                <a:cubicBezTo>
                  <a:pt x="787" y="14"/>
                  <a:pt x="787" y="14"/>
                  <a:pt x="787" y="14"/>
                </a:cubicBezTo>
                <a:cubicBezTo>
                  <a:pt x="787" y="14"/>
                  <a:pt x="787" y="14"/>
                  <a:pt x="787" y="14"/>
                </a:cubicBezTo>
                <a:cubicBezTo>
                  <a:pt x="787" y="14"/>
                  <a:pt x="787" y="14"/>
                  <a:pt x="787" y="14"/>
                </a:cubicBezTo>
                <a:cubicBezTo>
                  <a:pt x="786" y="14"/>
                  <a:pt x="786" y="14"/>
                  <a:pt x="786" y="14"/>
                </a:cubicBezTo>
                <a:cubicBezTo>
                  <a:pt x="786" y="14"/>
                  <a:pt x="786" y="14"/>
                  <a:pt x="786" y="14"/>
                </a:cubicBezTo>
                <a:cubicBezTo>
                  <a:pt x="786" y="14"/>
                  <a:pt x="786" y="14"/>
                  <a:pt x="786" y="14"/>
                </a:cubicBezTo>
                <a:cubicBezTo>
                  <a:pt x="786" y="14"/>
                  <a:pt x="786" y="14"/>
                  <a:pt x="786" y="14"/>
                </a:cubicBezTo>
                <a:cubicBezTo>
                  <a:pt x="785" y="14"/>
                  <a:pt x="785" y="14"/>
                  <a:pt x="785" y="14"/>
                </a:cubicBezTo>
                <a:cubicBezTo>
                  <a:pt x="784" y="14"/>
                  <a:pt x="784" y="14"/>
                  <a:pt x="784" y="14"/>
                </a:cubicBezTo>
                <a:cubicBezTo>
                  <a:pt x="782" y="14"/>
                  <a:pt x="782" y="14"/>
                  <a:pt x="782" y="14"/>
                </a:cubicBezTo>
                <a:cubicBezTo>
                  <a:pt x="781" y="14"/>
                  <a:pt x="781" y="14"/>
                  <a:pt x="781" y="14"/>
                </a:cubicBezTo>
                <a:cubicBezTo>
                  <a:pt x="781" y="14"/>
                  <a:pt x="781" y="14"/>
                  <a:pt x="781" y="14"/>
                </a:cubicBezTo>
                <a:cubicBezTo>
                  <a:pt x="781" y="14"/>
                  <a:pt x="781" y="14"/>
                  <a:pt x="781" y="14"/>
                </a:cubicBezTo>
                <a:cubicBezTo>
                  <a:pt x="781" y="14"/>
                  <a:pt x="781" y="14"/>
                  <a:pt x="781" y="14"/>
                </a:cubicBezTo>
                <a:cubicBezTo>
                  <a:pt x="781" y="14"/>
                  <a:pt x="781" y="14"/>
                  <a:pt x="781" y="14"/>
                </a:cubicBezTo>
                <a:cubicBezTo>
                  <a:pt x="781" y="14"/>
                  <a:pt x="781" y="14"/>
                  <a:pt x="781" y="14"/>
                </a:cubicBezTo>
                <a:cubicBezTo>
                  <a:pt x="782" y="14"/>
                  <a:pt x="783" y="13"/>
                  <a:pt x="783" y="13"/>
                </a:cubicBezTo>
                <a:cubicBezTo>
                  <a:pt x="784" y="13"/>
                  <a:pt x="784" y="13"/>
                  <a:pt x="784" y="13"/>
                </a:cubicBezTo>
                <a:cubicBezTo>
                  <a:pt x="784" y="13"/>
                  <a:pt x="784" y="13"/>
                  <a:pt x="784" y="13"/>
                </a:cubicBezTo>
                <a:cubicBezTo>
                  <a:pt x="785" y="14"/>
                  <a:pt x="785" y="13"/>
                  <a:pt x="786" y="13"/>
                </a:cubicBezTo>
                <a:cubicBezTo>
                  <a:pt x="786" y="13"/>
                  <a:pt x="786" y="13"/>
                  <a:pt x="786" y="13"/>
                </a:cubicBezTo>
                <a:cubicBezTo>
                  <a:pt x="786" y="13"/>
                  <a:pt x="786" y="13"/>
                  <a:pt x="786" y="13"/>
                </a:cubicBezTo>
                <a:cubicBezTo>
                  <a:pt x="787" y="13"/>
                  <a:pt x="787" y="13"/>
                  <a:pt x="787" y="13"/>
                </a:cubicBezTo>
                <a:cubicBezTo>
                  <a:pt x="787" y="13"/>
                  <a:pt x="787" y="13"/>
                  <a:pt x="787" y="13"/>
                </a:cubicBezTo>
                <a:cubicBezTo>
                  <a:pt x="788" y="12"/>
                  <a:pt x="788" y="13"/>
                  <a:pt x="789" y="13"/>
                </a:cubicBezTo>
                <a:cubicBezTo>
                  <a:pt x="789" y="13"/>
                  <a:pt x="789" y="13"/>
                  <a:pt x="789" y="13"/>
                </a:cubicBezTo>
                <a:cubicBezTo>
                  <a:pt x="790" y="12"/>
                  <a:pt x="790" y="12"/>
                  <a:pt x="790" y="12"/>
                </a:cubicBezTo>
                <a:cubicBezTo>
                  <a:pt x="790" y="12"/>
                  <a:pt x="791" y="12"/>
                  <a:pt x="791" y="12"/>
                </a:cubicBezTo>
                <a:cubicBezTo>
                  <a:pt x="791" y="12"/>
                  <a:pt x="791" y="12"/>
                  <a:pt x="791" y="12"/>
                </a:cubicBezTo>
                <a:cubicBezTo>
                  <a:pt x="791" y="12"/>
                  <a:pt x="791" y="12"/>
                  <a:pt x="791" y="12"/>
                </a:cubicBezTo>
                <a:cubicBezTo>
                  <a:pt x="792" y="12"/>
                  <a:pt x="792" y="12"/>
                  <a:pt x="792" y="12"/>
                </a:cubicBezTo>
                <a:cubicBezTo>
                  <a:pt x="792" y="12"/>
                  <a:pt x="792" y="12"/>
                  <a:pt x="792" y="12"/>
                </a:cubicBezTo>
                <a:cubicBezTo>
                  <a:pt x="792" y="12"/>
                  <a:pt x="792" y="12"/>
                  <a:pt x="792" y="12"/>
                </a:cubicBezTo>
                <a:cubicBezTo>
                  <a:pt x="792" y="12"/>
                  <a:pt x="792" y="12"/>
                  <a:pt x="792" y="12"/>
                </a:cubicBezTo>
                <a:cubicBezTo>
                  <a:pt x="793" y="12"/>
                  <a:pt x="793" y="11"/>
                  <a:pt x="794" y="11"/>
                </a:cubicBezTo>
                <a:cubicBezTo>
                  <a:pt x="794" y="11"/>
                  <a:pt x="794" y="11"/>
                  <a:pt x="794" y="11"/>
                </a:cubicBezTo>
                <a:cubicBezTo>
                  <a:pt x="794" y="11"/>
                  <a:pt x="794" y="11"/>
                  <a:pt x="794" y="11"/>
                </a:cubicBezTo>
                <a:cubicBezTo>
                  <a:pt x="795" y="10"/>
                  <a:pt x="796" y="10"/>
                  <a:pt x="796" y="10"/>
                </a:cubicBezTo>
                <a:cubicBezTo>
                  <a:pt x="797" y="10"/>
                  <a:pt x="797" y="10"/>
                  <a:pt x="797" y="10"/>
                </a:cubicBezTo>
                <a:cubicBezTo>
                  <a:pt x="797" y="9"/>
                  <a:pt x="797" y="9"/>
                  <a:pt x="797" y="9"/>
                </a:cubicBezTo>
                <a:cubicBezTo>
                  <a:pt x="797" y="9"/>
                  <a:pt x="797" y="9"/>
                  <a:pt x="797" y="9"/>
                </a:cubicBezTo>
                <a:cubicBezTo>
                  <a:pt x="797" y="9"/>
                  <a:pt x="797" y="9"/>
                  <a:pt x="797" y="9"/>
                </a:cubicBezTo>
                <a:cubicBezTo>
                  <a:pt x="798" y="8"/>
                  <a:pt x="798" y="8"/>
                  <a:pt x="799" y="8"/>
                </a:cubicBezTo>
                <a:cubicBezTo>
                  <a:pt x="800" y="8"/>
                  <a:pt x="800" y="8"/>
                  <a:pt x="800" y="8"/>
                </a:cubicBezTo>
                <a:cubicBezTo>
                  <a:pt x="800" y="8"/>
                  <a:pt x="800" y="8"/>
                  <a:pt x="800" y="8"/>
                </a:cubicBezTo>
                <a:cubicBezTo>
                  <a:pt x="801" y="8"/>
                  <a:pt x="801" y="8"/>
                  <a:pt x="802" y="9"/>
                </a:cubicBezTo>
                <a:cubicBezTo>
                  <a:pt x="802" y="9"/>
                  <a:pt x="802" y="9"/>
                  <a:pt x="802" y="9"/>
                </a:cubicBezTo>
                <a:cubicBezTo>
                  <a:pt x="802" y="9"/>
                  <a:pt x="802" y="9"/>
                  <a:pt x="802" y="9"/>
                </a:cubicBezTo>
                <a:cubicBezTo>
                  <a:pt x="802" y="9"/>
                  <a:pt x="802" y="9"/>
                  <a:pt x="802" y="9"/>
                </a:cubicBezTo>
                <a:cubicBezTo>
                  <a:pt x="803" y="8"/>
                  <a:pt x="803" y="8"/>
                  <a:pt x="803" y="8"/>
                </a:cubicBezTo>
                <a:cubicBezTo>
                  <a:pt x="799" y="4"/>
                  <a:pt x="799" y="4"/>
                  <a:pt x="799" y="4"/>
                </a:cubicBezTo>
                <a:cubicBezTo>
                  <a:pt x="787" y="1"/>
                  <a:pt x="787" y="1"/>
                  <a:pt x="787" y="1"/>
                </a:cubicBezTo>
                <a:cubicBezTo>
                  <a:pt x="786" y="1"/>
                  <a:pt x="786" y="1"/>
                  <a:pt x="786" y="1"/>
                </a:cubicBezTo>
                <a:cubicBezTo>
                  <a:pt x="784" y="1"/>
                  <a:pt x="784" y="1"/>
                  <a:pt x="784" y="1"/>
                </a:cubicBezTo>
                <a:cubicBezTo>
                  <a:pt x="782" y="0"/>
                  <a:pt x="782" y="1"/>
                  <a:pt x="780" y="0"/>
                </a:cubicBezTo>
                <a:cubicBezTo>
                  <a:pt x="780" y="0"/>
                  <a:pt x="780" y="0"/>
                  <a:pt x="780" y="0"/>
                </a:cubicBezTo>
                <a:cubicBezTo>
                  <a:pt x="780" y="0"/>
                  <a:pt x="780" y="0"/>
                  <a:pt x="780" y="0"/>
                </a:cubicBezTo>
                <a:cubicBezTo>
                  <a:pt x="779" y="1"/>
                  <a:pt x="779" y="1"/>
                  <a:pt x="779" y="1"/>
                </a:cubicBezTo>
                <a:cubicBezTo>
                  <a:pt x="778" y="1"/>
                  <a:pt x="778" y="1"/>
                  <a:pt x="778" y="1"/>
                </a:cubicBezTo>
                <a:cubicBezTo>
                  <a:pt x="778" y="1"/>
                  <a:pt x="778" y="1"/>
                  <a:pt x="778" y="1"/>
                </a:cubicBezTo>
                <a:cubicBezTo>
                  <a:pt x="778" y="1"/>
                  <a:pt x="778" y="1"/>
                  <a:pt x="778" y="1"/>
                </a:cubicBezTo>
                <a:cubicBezTo>
                  <a:pt x="778" y="1"/>
                  <a:pt x="778" y="1"/>
                  <a:pt x="778" y="1"/>
                </a:cubicBezTo>
                <a:cubicBezTo>
                  <a:pt x="778" y="1"/>
                  <a:pt x="778" y="1"/>
                  <a:pt x="778" y="1"/>
                </a:cubicBezTo>
                <a:cubicBezTo>
                  <a:pt x="777" y="2"/>
                  <a:pt x="777" y="2"/>
                  <a:pt x="777" y="2"/>
                </a:cubicBezTo>
                <a:cubicBezTo>
                  <a:pt x="775" y="2"/>
                  <a:pt x="775" y="2"/>
                  <a:pt x="775" y="2"/>
                </a:cubicBezTo>
                <a:cubicBezTo>
                  <a:pt x="771" y="3"/>
                  <a:pt x="771" y="3"/>
                  <a:pt x="771" y="3"/>
                </a:cubicBezTo>
                <a:cubicBezTo>
                  <a:pt x="770" y="3"/>
                  <a:pt x="770" y="3"/>
                  <a:pt x="770" y="3"/>
                </a:cubicBezTo>
                <a:cubicBezTo>
                  <a:pt x="768" y="3"/>
                  <a:pt x="768" y="3"/>
                  <a:pt x="768" y="3"/>
                </a:cubicBezTo>
                <a:cubicBezTo>
                  <a:pt x="767" y="4"/>
                  <a:pt x="767" y="4"/>
                  <a:pt x="767" y="4"/>
                </a:cubicBezTo>
                <a:cubicBezTo>
                  <a:pt x="767" y="4"/>
                  <a:pt x="767" y="4"/>
                  <a:pt x="767" y="4"/>
                </a:cubicBezTo>
                <a:cubicBezTo>
                  <a:pt x="765" y="5"/>
                  <a:pt x="765" y="5"/>
                  <a:pt x="765" y="5"/>
                </a:cubicBezTo>
                <a:cubicBezTo>
                  <a:pt x="764" y="6"/>
                  <a:pt x="764" y="6"/>
                  <a:pt x="764" y="6"/>
                </a:cubicBezTo>
                <a:cubicBezTo>
                  <a:pt x="762" y="6"/>
                  <a:pt x="762" y="6"/>
                  <a:pt x="762" y="6"/>
                </a:cubicBezTo>
                <a:cubicBezTo>
                  <a:pt x="760" y="7"/>
                  <a:pt x="760" y="7"/>
                  <a:pt x="760" y="7"/>
                </a:cubicBezTo>
                <a:cubicBezTo>
                  <a:pt x="759" y="8"/>
                  <a:pt x="759" y="8"/>
                  <a:pt x="759" y="8"/>
                </a:cubicBezTo>
                <a:cubicBezTo>
                  <a:pt x="758" y="8"/>
                  <a:pt x="758" y="8"/>
                  <a:pt x="758" y="8"/>
                </a:cubicBezTo>
                <a:cubicBezTo>
                  <a:pt x="758" y="8"/>
                  <a:pt x="758" y="8"/>
                  <a:pt x="758" y="8"/>
                </a:cubicBezTo>
                <a:cubicBezTo>
                  <a:pt x="758" y="9"/>
                  <a:pt x="758" y="9"/>
                  <a:pt x="758" y="9"/>
                </a:cubicBezTo>
                <a:cubicBezTo>
                  <a:pt x="758" y="9"/>
                  <a:pt x="758" y="9"/>
                  <a:pt x="758" y="9"/>
                </a:cubicBezTo>
                <a:cubicBezTo>
                  <a:pt x="758" y="9"/>
                  <a:pt x="758" y="9"/>
                  <a:pt x="758" y="9"/>
                </a:cubicBezTo>
                <a:cubicBezTo>
                  <a:pt x="758" y="9"/>
                  <a:pt x="758" y="9"/>
                  <a:pt x="758" y="9"/>
                </a:cubicBezTo>
                <a:cubicBezTo>
                  <a:pt x="758" y="9"/>
                  <a:pt x="758" y="9"/>
                  <a:pt x="758" y="9"/>
                </a:cubicBezTo>
                <a:cubicBezTo>
                  <a:pt x="758" y="9"/>
                  <a:pt x="758" y="9"/>
                  <a:pt x="758" y="9"/>
                </a:cubicBezTo>
                <a:cubicBezTo>
                  <a:pt x="760" y="9"/>
                  <a:pt x="760" y="9"/>
                  <a:pt x="760" y="9"/>
                </a:cubicBezTo>
                <a:cubicBezTo>
                  <a:pt x="760" y="9"/>
                  <a:pt x="760" y="9"/>
                  <a:pt x="760" y="9"/>
                </a:cubicBezTo>
                <a:cubicBezTo>
                  <a:pt x="760" y="9"/>
                  <a:pt x="760" y="9"/>
                  <a:pt x="760" y="9"/>
                </a:cubicBezTo>
                <a:cubicBezTo>
                  <a:pt x="760" y="9"/>
                  <a:pt x="760" y="9"/>
                  <a:pt x="760" y="9"/>
                </a:cubicBezTo>
                <a:cubicBezTo>
                  <a:pt x="760" y="9"/>
                  <a:pt x="760" y="9"/>
                  <a:pt x="760" y="9"/>
                </a:cubicBezTo>
                <a:cubicBezTo>
                  <a:pt x="759" y="11"/>
                  <a:pt x="757" y="10"/>
                  <a:pt x="755" y="12"/>
                </a:cubicBezTo>
                <a:cubicBezTo>
                  <a:pt x="755" y="13"/>
                  <a:pt x="755" y="13"/>
                  <a:pt x="755" y="13"/>
                </a:cubicBezTo>
                <a:cubicBezTo>
                  <a:pt x="755" y="13"/>
                  <a:pt x="755" y="13"/>
                  <a:pt x="755" y="13"/>
                </a:cubicBezTo>
                <a:cubicBezTo>
                  <a:pt x="755" y="13"/>
                  <a:pt x="755" y="13"/>
                  <a:pt x="755" y="13"/>
                </a:cubicBezTo>
                <a:cubicBezTo>
                  <a:pt x="754" y="13"/>
                  <a:pt x="754" y="13"/>
                  <a:pt x="753" y="14"/>
                </a:cubicBezTo>
                <a:cubicBezTo>
                  <a:pt x="753" y="14"/>
                  <a:pt x="753" y="14"/>
                  <a:pt x="753" y="14"/>
                </a:cubicBezTo>
                <a:cubicBezTo>
                  <a:pt x="753" y="14"/>
                  <a:pt x="753" y="14"/>
                  <a:pt x="753" y="14"/>
                </a:cubicBezTo>
                <a:cubicBezTo>
                  <a:pt x="753" y="14"/>
                  <a:pt x="752" y="14"/>
                  <a:pt x="752" y="14"/>
                </a:cubicBezTo>
                <a:cubicBezTo>
                  <a:pt x="752" y="15"/>
                  <a:pt x="752" y="15"/>
                  <a:pt x="752" y="15"/>
                </a:cubicBezTo>
                <a:cubicBezTo>
                  <a:pt x="752" y="15"/>
                  <a:pt x="752" y="15"/>
                  <a:pt x="752" y="15"/>
                </a:cubicBezTo>
                <a:cubicBezTo>
                  <a:pt x="752" y="15"/>
                  <a:pt x="752" y="15"/>
                  <a:pt x="752" y="15"/>
                </a:cubicBezTo>
                <a:cubicBezTo>
                  <a:pt x="752" y="15"/>
                  <a:pt x="752" y="15"/>
                  <a:pt x="752" y="15"/>
                </a:cubicBezTo>
                <a:cubicBezTo>
                  <a:pt x="752" y="15"/>
                  <a:pt x="752" y="15"/>
                  <a:pt x="752" y="15"/>
                </a:cubicBezTo>
                <a:cubicBezTo>
                  <a:pt x="751" y="16"/>
                  <a:pt x="751" y="16"/>
                  <a:pt x="751" y="16"/>
                </a:cubicBezTo>
                <a:cubicBezTo>
                  <a:pt x="750" y="16"/>
                  <a:pt x="750" y="16"/>
                  <a:pt x="750" y="16"/>
                </a:cubicBezTo>
                <a:cubicBezTo>
                  <a:pt x="750" y="17"/>
                  <a:pt x="750" y="17"/>
                  <a:pt x="750" y="17"/>
                </a:cubicBezTo>
                <a:cubicBezTo>
                  <a:pt x="750" y="17"/>
                  <a:pt x="750" y="17"/>
                  <a:pt x="750" y="17"/>
                </a:cubicBezTo>
                <a:cubicBezTo>
                  <a:pt x="750" y="17"/>
                  <a:pt x="750" y="17"/>
                  <a:pt x="750" y="17"/>
                </a:cubicBezTo>
                <a:cubicBezTo>
                  <a:pt x="750" y="17"/>
                  <a:pt x="750" y="17"/>
                  <a:pt x="750" y="17"/>
                </a:cubicBezTo>
                <a:cubicBezTo>
                  <a:pt x="750" y="17"/>
                  <a:pt x="750" y="17"/>
                  <a:pt x="750" y="17"/>
                </a:cubicBezTo>
                <a:cubicBezTo>
                  <a:pt x="750" y="17"/>
                  <a:pt x="750" y="17"/>
                  <a:pt x="750" y="17"/>
                </a:cubicBezTo>
                <a:cubicBezTo>
                  <a:pt x="750" y="18"/>
                  <a:pt x="750" y="18"/>
                  <a:pt x="750" y="18"/>
                </a:cubicBezTo>
                <a:cubicBezTo>
                  <a:pt x="749" y="18"/>
                  <a:pt x="749" y="18"/>
                  <a:pt x="749" y="18"/>
                </a:cubicBezTo>
                <a:cubicBezTo>
                  <a:pt x="749" y="18"/>
                  <a:pt x="749" y="18"/>
                  <a:pt x="749" y="18"/>
                </a:cubicBezTo>
                <a:cubicBezTo>
                  <a:pt x="749" y="19"/>
                  <a:pt x="749" y="19"/>
                  <a:pt x="749" y="19"/>
                </a:cubicBezTo>
                <a:cubicBezTo>
                  <a:pt x="749" y="19"/>
                  <a:pt x="749" y="19"/>
                  <a:pt x="749" y="19"/>
                </a:cubicBezTo>
                <a:cubicBezTo>
                  <a:pt x="749" y="19"/>
                  <a:pt x="749" y="19"/>
                  <a:pt x="749" y="19"/>
                </a:cubicBezTo>
                <a:cubicBezTo>
                  <a:pt x="749" y="19"/>
                  <a:pt x="749" y="19"/>
                  <a:pt x="749" y="19"/>
                </a:cubicBezTo>
                <a:cubicBezTo>
                  <a:pt x="749" y="19"/>
                  <a:pt x="749" y="19"/>
                  <a:pt x="749" y="19"/>
                </a:cubicBezTo>
                <a:cubicBezTo>
                  <a:pt x="749" y="19"/>
                  <a:pt x="749" y="19"/>
                  <a:pt x="749" y="19"/>
                </a:cubicBezTo>
                <a:cubicBezTo>
                  <a:pt x="749" y="19"/>
                  <a:pt x="749" y="19"/>
                  <a:pt x="749" y="19"/>
                </a:cubicBezTo>
                <a:cubicBezTo>
                  <a:pt x="749" y="19"/>
                  <a:pt x="749" y="19"/>
                  <a:pt x="749" y="19"/>
                </a:cubicBezTo>
                <a:cubicBezTo>
                  <a:pt x="749" y="20"/>
                  <a:pt x="749" y="20"/>
                  <a:pt x="749" y="20"/>
                </a:cubicBezTo>
                <a:cubicBezTo>
                  <a:pt x="749" y="20"/>
                  <a:pt x="749" y="20"/>
                  <a:pt x="749" y="20"/>
                </a:cubicBezTo>
                <a:cubicBezTo>
                  <a:pt x="749" y="20"/>
                  <a:pt x="750" y="20"/>
                  <a:pt x="750" y="20"/>
                </a:cubicBezTo>
                <a:cubicBezTo>
                  <a:pt x="750" y="20"/>
                  <a:pt x="750" y="20"/>
                  <a:pt x="750" y="20"/>
                </a:cubicBezTo>
                <a:cubicBezTo>
                  <a:pt x="750" y="21"/>
                  <a:pt x="750" y="21"/>
                  <a:pt x="750" y="21"/>
                </a:cubicBezTo>
                <a:cubicBezTo>
                  <a:pt x="750" y="21"/>
                  <a:pt x="750" y="21"/>
                  <a:pt x="750" y="21"/>
                </a:cubicBezTo>
                <a:cubicBezTo>
                  <a:pt x="750" y="21"/>
                  <a:pt x="750" y="21"/>
                  <a:pt x="750" y="21"/>
                </a:cubicBezTo>
                <a:cubicBezTo>
                  <a:pt x="750" y="21"/>
                  <a:pt x="750" y="21"/>
                  <a:pt x="750" y="21"/>
                </a:cubicBezTo>
                <a:cubicBezTo>
                  <a:pt x="750" y="21"/>
                  <a:pt x="750" y="21"/>
                  <a:pt x="750" y="21"/>
                </a:cubicBezTo>
                <a:cubicBezTo>
                  <a:pt x="751" y="21"/>
                  <a:pt x="751" y="21"/>
                  <a:pt x="751" y="21"/>
                </a:cubicBezTo>
                <a:cubicBezTo>
                  <a:pt x="751" y="21"/>
                  <a:pt x="751" y="21"/>
                  <a:pt x="751" y="21"/>
                </a:cubicBezTo>
                <a:cubicBezTo>
                  <a:pt x="752" y="21"/>
                  <a:pt x="752" y="21"/>
                  <a:pt x="752" y="21"/>
                </a:cubicBezTo>
                <a:cubicBezTo>
                  <a:pt x="752" y="21"/>
                  <a:pt x="752" y="21"/>
                  <a:pt x="752" y="21"/>
                </a:cubicBezTo>
                <a:cubicBezTo>
                  <a:pt x="752" y="21"/>
                  <a:pt x="752" y="21"/>
                  <a:pt x="752" y="21"/>
                </a:cubicBezTo>
                <a:cubicBezTo>
                  <a:pt x="753" y="21"/>
                  <a:pt x="753" y="21"/>
                  <a:pt x="753" y="21"/>
                </a:cubicBezTo>
                <a:cubicBezTo>
                  <a:pt x="753" y="21"/>
                  <a:pt x="753" y="21"/>
                  <a:pt x="753" y="21"/>
                </a:cubicBezTo>
                <a:cubicBezTo>
                  <a:pt x="753" y="21"/>
                  <a:pt x="753" y="21"/>
                  <a:pt x="753" y="21"/>
                </a:cubicBezTo>
                <a:cubicBezTo>
                  <a:pt x="752" y="22"/>
                  <a:pt x="752" y="22"/>
                  <a:pt x="752" y="22"/>
                </a:cubicBezTo>
                <a:cubicBezTo>
                  <a:pt x="752" y="22"/>
                  <a:pt x="752" y="22"/>
                  <a:pt x="752" y="22"/>
                </a:cubicBezTo>
                <a:cubicBezTo>
                  <a:pt x="752" y="22"/>
                  <a:pt x="752" y="22"/>
                  <a:pt x="752" y="22"/>
                </a:cubicBezTo>
                <a:cubicBezTo>
                  <a:pt x="752" y="22"/>
                  <a:pt x="752" y="22"/>
                  <a:pt x="752" y="22"/>
                </a:cubicBezTo>
                <a:cubicBezTo>
                  <a:pt x="752" y="22"/>
                  <a:pt x="752" y="22"/>
                  <a:pt x="752" y="22"/>
                </a:cubicBezTo>
                <a:cubicBezTo>
                  <a:pt x="752" y="23"/>
                  <a:pt x="752" y="23"/>
                  <a:pt x="752" y="23"/>
                </a:cubicBezTo>
                <a:cubicBezTo>
                  <a:pt x="752" y="23"/>
                  <a:pt x="752" y="23"/>
                  <a:pt x="752" y="23"/>
                </a:cubicBezTo>
                <a:cubicBezTo>
                  <a:pt x="752" y="23"/>
                  <a:pt x="752" y="23"/>
                  <a:pt x="752" y="23"/>
                </a:cubicBezTo>
                <a:cubicBezTo>
                  <a:pt x="752" y="23"/>
                  <a:pt x="752" y="23"/>
                  <a:pt x="752" y="23"/>
                </a:cubicBezTo>
                <a:cubicBezTo>
                  <a:pt x="752" y="23"/>
                  <a:pt x="752" y="23"/>
                  <a:pt x="752" y="23"/>
                </a:cubicBezTo>
                <a:cubicBezTo>
                  <a:pt x="752" y="24"/>
                  <a:pt x="752" y="24"/>
                  <a:pt x="751" y="24"/>
                </a:cubicBezTo>
                <a:cubicBezTo>
                  <a:pt x="751" y="25"/>
                  <a:pt x="751" y="25"/>
                  <a:pt x="751" y="25"/>
                </a:cubicBezTo>
                <a:cubicBezTo>
                  <a:pt x="750" y="25"/>
                  <a:pt x="750" y="25"/>
                  <a:pt x="750" y="25"/>
                </a:cubicBezTo>
                <a:cubicBezTo>
                  <a:pt x="750" y="26"/>
                  <a:pt x="750" y="26"/>
                  <a:pt x="750" y="26"/>
                </a:cubicBezTo>
                <a:cubicBezTo>
                  <a:pt x="750" y="26"/>
                  <a:pt x="750" y="26"/>
                  <a:pt x="750" y="26"/>
                </a:cubicBezTo>
                <a:cubicBezTo>
                  <a:pt x="750" y="26"/>
                  <a:pt x="750" y="26"/>
                  <a:pt x="750" y="26"/>
                </a:cubicBezTo>
                <a:cubicBezTo>
                  <a:pt x="750" y="26"/>
                  <a:pt x="750" y="26"/>
                  <a:pt x="750" y="26"/>
                </a:cubicBezTo>
                <a:cubicBezTo>
                  <a:pt x="750" y="26"/>
                  <a:pt x="750" y="26"/>
                  <a:pt x="750" y="26"/>
                </a:cubicBezTo>
                <a:cubicBezTo>
                  <a:pt x="750" y="26"/>
                  <a:pt x="750" y="26"/>
                  <a:pt x="750" y="26"/>
                </a:cubicBezTo>
                <a:cubicBezTo>
                  <a:pt x="751" y="26"/>
                  <a:pt x="751" y="26"/>
                  <a:pt x="751" y="26"/>
                </a:cubicBezTo>
                <a:cubicBezTo>
                  <a:pt x="751" y="26"/>
                  <a:pt x="751" y="26"/>
                  <a:pt x="751" y="26"/>
                </a:cubicBezTo>
                <a:cubicBezTo>
                  <a:pt x="751" y="26"/>
                  <a:pt x="751" y="26"/>
                  <a:pt x="751" y="26"/>
                </a:cubicBezTo>
                <a:cubicBezTo>
                  <a:pt x="751" y="26"/>
                  <a:pt x="751" y="26"/>
                  <a:pt x="751" y="26"/>
                </a:cubicBezTo>
                <a:cubicBezTo>
                  <a:pt x="751" y="26"/>
                  <a:pt x="751" y="26"/>
                  <a:pt x="751" y="26"/>
                </a:cubicBezTo>
                <a:cubicBezTo>
                  <a:pt x="752" y="26"/>
                  <a:pt x="753" y="26"/>
                  <a:pt x="753" y="26"/>
                </a:cubicBezTo>
                <a:cubicBezTo>
                  <a:pt x="754" y="26"/>
                  <a:pt x="754" y="26"/>
                  <a:pt x="754" y="26"/>
                </a:cubicBezTo>
                <a:cubicBezTo>
                  <a:pt x="754" y="26"/>
                  <a:pt x="754" y="26"/>
                  <a:pt x="754" y="26"/>
                </a:cubicBezTo>
                <a:cubicBezTo>
                  <a:pt x="754" y="27"/>
                  <a:pt x="754" y="27"/>
                  <a:pt x="754" y="27"/>
                </a:cubicBezTo>
                <a:cubicBezTo>
                  <a:pt x="755" y="27"/>
                  <a:pt x="755" y="27"/>
                  <a:pt x="755" y="27"/>
                </a:cubicBezTo>
                <a:cubicBezTo>
                  <a:pt x="755" y="27"/>
                  <a:pt x="755" y="27"/>
                  <a:pt x="755" y="27"/>
                </a:cubicBezTo>
                <a:cubicBezTo>
                  <a:pt x="755" y="27"/>
                  <a:pt x="755" y="27"/>
                  <a:pt x="755" y="27"/>
                </a:cubicBezTo>
                <a:cubicBezTo>
                  <a:pt x="756" y="27"/>
                  <a:pt x="756" y="27"/>
                  <a:pt x="756" y="27"/>
                </a:cubicBezTo>
                <a:cubicBezTo>
                  <a:pt x="756" y="27"/>
                  <a:pt x="756" y="27"/>
                  <a:pt x="756" y="27"/>
                </a:cubicBezTo>
                <a:cubicBezTo>
                  <a:pt x="756" y="27"/>
                  <a:pt x="756" y="27"/>
                  <a:pt x="756" y="27"/>
                </a:cubicBezTo>
                <a:cubicBezTo>
                  <a:pt x="756" y="27"/>
                  <a:pt x="756" y="27"/>
                  <a:pt x="756" y="27"/>
                </a:cubicBezTo>
                <a:cubicBezTo>
                  <a:pt x="756" y="27"/>
                  <a:pt x="756" y="27"/>
                  <a:pt x="756" y="27"/>
                </a:cubicBezTo>
                <a:cubicBezTo>
                  <a:pt x="756" y="27"/>
                  <a:pt x="756" y="27"/>
                  <a:pt x="756" y="27"/>
                </a:cubicBezTo>
                <a:cubicBezTo>
                  <a:pt x="756" y="27"/>
                  <a:pt x="756" y="27"/>
                  <a:pt x="756" y="27"/>
                </a:cubicBezTo>
                <a:cubicBezTo>
                  <a:pt x="757" y="27"/>
                  <a:pt x="757" y="27"/>
                  <a:pt x="757" y="27"/>
                </a:cubicBezTo>
                <a:cubicBezTo>
                  <a:pt x="757" y="27"/>
                  <a:pt x="757" y="27"/>
                  <a:pt x="757" y="27"/>
                </a:cubicBezTo>
                <a:cubicBezTo>
                  <a:pt x="759" y="27"/>
                  <a:pt x="758" y="28"/>
                  <a:pt x="759" y="28"/>
                </a:cubicBezTo>
                <a:cubicBezTo>
                  <a:pt x="759" y="28"/>
                  <a:pt x="759" y="28"/>
                  <a:pt x="759" y="28"/>
                </a:cubicBezTo>
                <a:cubicBezTo>
                  <a:pt x="760" y="28"/>
                  <a:pt x="760" y="28"/>
                  <a:pt x="760" y="28"/>
                </a:cubicBezTo>
                <a:cubicBezTo>
                  <a:pt x="760" y="28"/>
                  <a:pt x="760" y="28"/>
                  <a:pt x="761" y="28"/>
                </a:cubicBezTo>
                <a:cubicBezTo>
                  <a:pt x="761" y="29"/>
                  <a:pt x="761" y="29"/>
                  <a:pt x="761" y="29"/>
                </a:cubicBezTo>
                <a:cubicBezTo>
                  <a:pt x="762" y="29"/>
                  <a:pt x="762" y="29"/>
                  <a:pt x="762" y="29"/>
                </a:cubicBezTo>
                <a:cubicBezTo>
                  <a:pt x="763" y="29"/>
                  <a:pt x="763" y="29"/>
                  <a:pt x="763" y="29"/>
                </a:cubicBezTo>
                <a:cubicBezTo>
                  <a:pt x="763" y="29"/>
                  <a:pt x="763" y="29"/>
                  <a:pt x="763" y="29"/>
                </a:cubicBezTo>
                <a:cubicBezTo>
                  <a:pt x="762" y="29"/>
                  <a:pt x="762" y="29"/>
                  <a:pt x="762" y="29"/>
                </a:cubicBezTo>
                <a:cubicBezTo>
                  <a:pt x="762" y="29"/>
                  <a:pt x="762" y="29"/>
                  <a:pt x="762" y="29"/>
                </a:cubicBezTo>
                <a:cubicBezTo>
                  <a:pt x="762" y="29"/>
                  <a:pt x="762" y="29"/>
                  <a:pt x="762" y="29"/>
                </a:cubicBezTo>
                <a:cubicBezTo>
                  <a:pt x="761" y="29"/>
                  <a:pt x="761" y="29"/>
                  <a:pt x="760" y="29"/>
                </a:cubicBezTo>
                <a:cubicBezTo>
                  <a:pt x="760" y="29"/>
                  <a:pt x="760" y="29"/>
                  <a:pt x="760" y="29"/>
                </a:cubicBezTo>
                <a:cubicBezTo>
                  <a:pt x="760" y="29"/>
                  <a:pt x="760" y="29"/>
                  <a:pt x="760" y="29"/>
                </a:cubicBezTo>
                <a:cubicBezTo>
                  <a:pt x="760" y="29"/>
                  <a:pt x="760" y="29"/>
                  <a:pt x="760" y="29"/>
                </a:cubicBezTo>
                <a:cubicBezTo>
                  <a:pt x="759" y="29"/>
                  <a:pt x="759" y="29"/>
                  <a:pt x="759" y="29"/>
                </a:cubicBezTo>
                <a:cubicBezTo>
                  <a:pt x="759" y="29"/>
                  <a:pt x="759" y="29"/>
                  <a:pt x="759" y="29"/>
                </a:cubicBezTo>
                <a:cubicBezTo>
                  <a:pt x="759" y="29"/>
                  <a:pt x="759" y="29"/>
                  <a:pt x="759" y="29"/>
                </a:cubicBezTo>
                <a:cubicBezTo>
                  <a:pt x="759" y="29"/>
                  <a:pt x="759" y="29"/>
                  <a:pt x="759" y="29"/>
                </a:cubicBezTo>
                <a:cubicBezTo>
                  <a:pt x="759" y="29"/>
                  <a:pt x="759" y="29"/>
                  <a:pt x="759" y="29"/>
                </a:cubicBezTo>
                <a:cubicBezTo>
                  <a:pt x="759" y="29"/>
                  <a:pt x="759" y="29"/>
                  <a:pt x="759" y="29"/>
                </a:cubicBezTo>
                <a:cubicBezTo>
                  <a:pt x="759" y="28"/>
                  <a:pt x="759" y="28"/>
                  <a:pt x="759" y="28"/>
                </a:cubicBezTo>
                <a:cubicBezTo>
                  <a:pt x="759" y="28"/>
                  <a:pt x="759" y="28"/>
                  <a:pt x="759" y="28"/>
                </a:cubicBezTo>
                <a:cubicBezTo>
                  <a:pt x="759" y="28"/>
                  <a:pt x="759" y="28"/>
                  <a:pt x="759" y="28"/>
                </a:cubicBezTo>
                <a:cubicBezTo>
                  <a:pt x="758" y="28"/>
                  <a:pt x="758" y="28"/>
                  <a:pt x="758" y="28"/>
                </a:cubicBezTo>
                <a:cubicBezTo>
                  <a:pt x="758" y="28"/>
                  <a:pt x="758" y="28"/>
                  <a:pt x="758" y="28"/>
                </a:cubicBezTo>
                <a:cubicBezTo>
                  <a:pt x="758" y="28"/>
                  <a:pt x="758" y="28"/>
                  <a:pt x="758" y="28"/>
                </a:cubicBezTo>
                <a:cubicBezTo>
                  <a:pt x="757" y="28"/>
                  <a:pt x="757" y="28"/>
                  <a:pt x="756" y="28"/>
                </a:cubicBezTo>
                <a:cubicBezTo>
                  <a:pt x="755" y="28"/>
                  <a:pt x="755" y="28"/>
                  <a:pt x="755" y="28"/>
                </a:cubicBezTo>
                <a:cubicBezTo>
                  <a:pt x="755" y="28"/>
                  <a:pt x="755" y="28"/>
                  <a:pt x="755" y="28"/>
                </a:cubicBezTo>
                <a:cubicBezTo>
                  <a:pt x="754" y="27"/>
                  <a:pt x="753" y="28"/>
                  <a:pt x="752" y="28"/>
                </a:cubicBezTo>
                <a:cubicBezTo>
                  <a:pt x="751" y="28"/>
                  <a:pt x="751" y="28"/>
                  <a:pt x="751" y="28"/>
                </a:cubicBezTo>
                <a:cubicBezTo>
                  <a:pt x="751" y="28"/>
                  <a:pt x="751" y="28"/>
                  <a:pt x="751" y="28"/>
                </a:cubicBezTo>
                <a:cubicBezTo>
                  <a:pt x="751" y="28"/>
                  <a:pt x="751" y="28"/>
                  <a:pt x="751" y="28"/>
                </a:cubicBezTo>
                <a:cubicBezTo>
                  <a:pt x="751" y="27"/>
                  <a:pt x="751" y="27"/>
                  <a:pt x="751" y="27"/>
                </a:cubicBezTo>
                <a:cubicBezTo>
                  <a:pt x="751" y="27"/>
                  <a:pt x="751" y="27"/>
                  <a:pt x="751" y="27"/>
                </a:cubicBezTo>
                <a:cubicBezTo>
                  <a:pt x="751" y="27"/>
                  <a:pt x="751" y="27"/>
                  <a:pt x="750" y="27"/>
                </a:cubicBezTo>
                <a:cubicBezTo>
                  <a:pt x="750" y="27"/>
                  <a:pt x="750" y="27"/>
                  <a:pt x="750" y="27"/>
                </a:cubicBezTo>
                <a:cubicBezTo>
                  <a:pt x="750" y="27"/>
                  <a:pt x="750" y="27"/>
                  <a:pt x="750" y="27"/>
                </a:cubicBezTo>
                <a:cubicBezTo>
                  <a:pt x="748" y="26"/>
                  <a:pt x="745" y="27"/>
                  <a:pt x="743" y="28"/>
                </a:cubicBezTo>
                <a:cubicBezTo>
                  <a:pt x="743" y="28"/>
                  <a:pt x="743" y="28"/>
                  <a:pt x="743" y="28"/>
                </a:cubicBezTo>
                <a:cubicBezTo>
                  <a:pt x="743" y="27"/>
                  <a:pt x="743" y="27"/>
                  <a:pt x="743" y="27"/>
                </a:cubicBezTo>
                <a:cubicBezTo>
                  <a:pt x="743" y="27"/>
                  <a:pt x="743" y="27"/>
                  <a:pt x="743" y="27"/>
                </a:cubicBezTo>
                <a:cubicBezTo>
                  <a:pt x="743" y="27"/>
                  <a:pt x="743" y="27"/>
                  <a:pt x="743" y="27"/>
                </a:cubicBezTo>
                <a:cubicBezTo>
                  <a:pt x="741" y="27"/>
                  <a:pt x="738" y="27"/>
                  <a:pt x="736" y="27"/>
                </a:cubicBezTo>
                <a:cubicBezTo>
                  <a:pt x="736" y="27"/>
                  <a:pt x="736" y="27"/>
                  <a:pt x="736" y="27"/>
                </a:cubicBezTo>
                <a:cubicBezTo>
                  <a:pt x="735" y="27"/>
                  <a:pt x="735" y="27"/>
                  <a:pt x="735" y="27"/>
                </a:cubicBezTo>
                <a:cubicBezTo>
                  <a:pt x="735" y="27"/>
                  <a:pt x="735" y="27"/>
                  <a:pt x="735" y="27"/>
                </a:cubicBezTo>
                <a:cubicBezTo>
                  <a:pt x="735" y="27"/>
                  <a:pt x="735" y="27"/>
                  <a:pt x="735" y="27"/>
                </a:cubicBezTo>
                <a:cubicBezTo>
                  <a:pt x="735" y="27"/>
                  <a:pt x="735" y="27"/>
                  <a:pt x="735" y="27"/>
                </a:cubicBezTo>
                <a:cubicBezTo>
                  <a:pt x="734" y="27"/>
                  <a:pt x="734" y="27"/>
                  <a:pt x="734" y="27"/>
                </a:cubicBezTo>
                <a:cubicBezTo>
                  <a:pt x="733" y="27"/>
                  <a:pt x="733" y="27"/>
                  <a:pt x="733" y="27"/>
                </a:cubicBezTo>
                <a:cubicBezTo>
                  <a:pt x="730" y="27"/>
                  <a:pt x="730" y="27"/>
                  <a:pt x="730" y="27"/>
                </a:cubicBezTo>
                <a:cubicBezTo>
                  <a:pt x="729" y="27"/>
                  <a:pt x="729" y="27"/>
                  <a:pt x="729" y="27"/>
                </a:cubicBezTo>
                <a:cubicBezTo>
                  <a:pt x="728" y="27"/>
                  <a:pt x="728" y="27"/>
                  <a:pt x="728" y="27"/>
                </a:cubicBezTo>
                <a:cubicBezTo>
                  <a:pt x="728" y="27"/>
                  <a:pt x="728" y="27"/>
                  <a:pt x="728" y="27"/>
                </a:cubicBezTo>
                <a:cubicBezTo>
                  <a:pt x="728" y="27"/>
                  <a:pt x="728" y="27"/>
                  <a:pt x="728" y="27"/>
                </a:cubicBezTo>
                <a:cubicBezTo>
                  <a:pt x="728" y="27"/>
                  <a:pt x="728" y="27"/>
                  <a:pt x="728" y="27"/>
                </a:cubicBezTo>
                <a:cubicBezTo>
                  <a:pt x="728" y="27"/>
                  <a:pt x="728" y="27"/>
                  <a:pt x="728" y="27"/>
                </a:cubicBezTo>
                <a:cubicBezTo>
                  <a:pt x="728" y="27"/>
                  <a:pt x="728" y="27"/>
                  <a:pt x="728" y="27"/>
                </a:cubicBezTo>
                <a:cubicBezTo>
                  <a:pt x="728" y="27"/>
                  <a:pt x="728" y="27"/>
                  <a:pt x="728" y="27"/>
                </a:cubicBezTo>
                <a:cubicBezTo>
                  <a:pt x="730" y="28"/>
                  <a:pt x="729" y="28"/>
                  <a:pt x="730" y="29"/>
                </a:cubicBezTo>
                <a:cubicBezTo>
                  <a:pt x="730" y="29"/>
                  <a:pt x="730" y="29"/>
                  <a:pt x="730" y="29"/>
                </a:cubicBezTo>
                <a:cubicBezTo>
                  <a:pt x="730" y="29"/>
                  <a:pt x="730" y="29"/>
                  <a:pt x="730" y="29"/>
                </a:cubicBezTo>
                <a:cubicBezTo>
                  <a:pt x="730" y="29"/>
                  <a:pt x="730" y="29"/>
                  <a:pt x="730" y="29"/>
                </a:cubicBezTo>
                <a:cubicBezTo>
                  <a:pt x="730" y="29"/>
                  <a:pt x="730" y="29"/>
                  <a:pt x="730" y="29"/>
                </a:cubicBezTo>
                <a:cubicBezTo>
                  <a:pt x="730" y="29"/>
                  <a:pt x="730" y="29"/>
                  <a:pt x="730" y="29"/>
                </a:cubicBezTo>
                <a:cubicBezTo>
                  <a:pt x="730" y="29"/>
                  <a:pt x="730" y="29"/>
                  <a:pt x="730" y="29"/>
                </a:cubicBezTo>
                <a:cubicBezTo>
                  <a:pt x="730" y="29"/>
                  <a:pt x="730" y="29"/>
                  <a:pt x="730" y="29"/>
                </a:cubicBezTo>
                <a:cubicBezTo>
                  <a:pt x="730" y="29"/>
                  <a:pt x="730" y="29"/>
                  <a:pt x="730" y="29"/>
                </a:cubicBezTo>
                <a:cubicBezTo>
                  <a:pt x="730" y="30"/>
                  <a:pt x="730" y="30"/>
                  <a:pt x="730" y="30"/>
                </a:cubicBezTo>
                <a:cubicBezTo>
                  <a:pt x="730" y="30"/>
                  <a:pt x="730" y="30"/>
                  <a:pt x="730" y="30"/>
                </a:cubicBezTo>
                <a:cubicBezTo>
                  <a:pt x="730" y="30"/>
                  <a:pt x="730" y="30"/>
                  <a:pt x="730" y="30"/>
                </a:cubicBezTo>
                <a:cubicBezTo>
                  <a:pt x="730" y="30"/>
                  <a:pt x="730" y="30"/>
                  <a:pt x="730" y="30"/>
                </a:cubicBezTo>
                <a:cubicBezTo>
                  <a:pt x="731" y="30"/>
                  <a:pt x="731" y="30"/>
                  <a:pt x="731" y="30"/>
                </a:cubicBezTo>
                <a:cubicBezTo>
                  <a:pt x="731" y="30"/>
                  <a:pt x="731" y="30"/>
                  <a:pt x="731" y="30"/>
                </a:cubicBezTo>
                <a:cubicBezTo>
                  <a:pt x="731" y="30"/>
                  <a:pt x="731" y="30"/>
                  <a:pt x="731" y="30"/>
                </a:cubicBezTo>
                <a:cubicBezTo>
                  <a:pt x="731" y="30"/>
                  <a:pt x="731" y="30"/>
                  <a:pt x="731" y="30"/>
                </a:cubicBezTo>
                <a:cubicBezTo>
                  <a:pt x="732" y="30"/>
                  <a:pt x="732" y="30"/>
                  <a:pt x="732" y="30"/>
                </a:cubicBezTo>
                <a:cubicBezTo>
                  <a:pt x="732" y="30"/>
                  <a:pt x="732" y="30"/>
                  <a:pt x="732" y="30"/>
                </a:cubicBezTo>
                <a:cubicBezTo>
                  <a:pt x="732" y="30"/>
                  <a:pt x="732" y="30"/>
                  <a:pt x="732" y="30"/>
                </a:cubicBezTo>
                <a:cubicBezTo>
                  <a:pt x="733" y="30"/>
                  <a:pt x="734" y="30"/>
                  <a:pt x="734" y="31"/>
                </a:cubicBezTo>
                <a:cubicBezTo>
                  <a:pt x="734" y="31"/>
                  <a:pt x="734" y="31"/>
                  <a:pt x="734" y="31"/>
                </a:cubicBezTo>
                <a:cubicBezTo>
                  <a:pt x="734" y="31"/>
                  <a:pt x="734" y="31"/>
                  <a:pt x="734" y="31"/>
                </a:cubicBezTo>
                <a:cubicBezTo>
                  <a:pt x="734" y="31"/>
                  <a:pt x="734" y="31"/>
                  <a:pt x="734" y="31"/>
                </a:cubicBezTo>
                <a:cubicBezTo>
                  <a:pt x="735" y="32"/>
                  <a:pt x="735" y="32"/>
                  <a:pt x="735" y="32"/>
                </a:cubicBezTo>
                <a:cubicBezTo>
                  <a:pt x="735" y="32"/>
                  <a:pt x="735" y="32"/>
                  <a:pt x="735" y="32"/>
                </a:cubicBezTo>
                <a:cubicBezTo>
                  <a:pt x="735" y="32"/>
                  <a:pt x="735" y="32"/>
                  <a:pt x="735" y="32"/>
                </a:cubicBezTo>
                <a:cubicBezTo>
                  <a:pt x="736" y="32"/>
                  <a:pt x="736" y="32"/>
                  <a:pt x="736" y="32"/>
                </a:cubicBezTo>
                <a:cubicBezTo>
                  <a:pt x="736" y="32"/>
                  <a:pt x="736" y="32"/>
                  <a:pt x="736" y="32"/>
                </a:cubicBezTo>
                <a:cubicBezTo>
                  <a:pt x="736" y="32"/>
                  <a:pt x="736" y="32"/>
                  <a:pt x="736" y="32"/>
                </a:cubicBezTo>
                <a:cubicBezTo>
                  <a:pt x="736" y="32"/>
                  <a:pt x="736" y="32"/>
                  <a:pt x="736" y="32"/>
                </a:cubicBezTo>
                <a:cubicBezTo>
                  <a:pt x="736" y="32"/>
                  <a:pt x="736" y="32"/>
                  <a:pt x="736" y="32"/>
                </a:cubicBezTo>
                <a:cubicBezTo>
                  <a:pt x="736" y="32"/>
                  <a:pt x="736" y="32"/>
                  <a:pt x="736" y="32"/>
                </a:cubicBezTo>
                <a:cubicBezTo>
                  <a:pt x="736" y="32"/>
                  <a:pt x="736" y="32"/>
                  <a:pt x="736" y="32"/>
                </a:cubicBezTo>
                <a:cubicBezTo>
                  <a:pt x="736" y="33"/>
                  <a:pt x="736" y="33"/>
                  <a:pt x="736" y="33"/>
                </a:cubicBezTo>
                <a:cubicBezTo>
                  <a:pt x="736" y="33"/>
                  <a:pt x="736" y="33"/>
                  <a:pt x="736" y="33"/>
                </a:cubicBezTo>
                <a:cubicBezTo>
                  <a:pt x="736" y="33"/>
                  <a:pt x="736" y="33"/>
                  <a:pt x="736" y="33"/>
                </a:cubicBezTo>
                <a:cubicBezTo>
                  <a:pt x="736" y="33"/>
                  <a:pt x="736" y="33"/>
                  <a:pt x="736" y="33"/>
                </a:cubicBezTo>
                <a:cubicBezTo>
                  <a:pt x="737" y="33"/>
                  <a:pt x="737" y="33"/>
                  <a:pt x="737" y="33"/>
                </a:cubicBezTo>
                <a:cubicBezTo>
                  <a:pt x="737" y="33"/>
                  <a:pt x="737" y="33"/>
                  <a:pt x="737" y="33"/>
                </a:cubicBezTo>
                <a:cubicBezTo>
                  <a:pt x="737" y="33"/>
                  <a:pt x="737" y="33"/>
                  <a:pt x="737" y="33"/>
                </a:cubicBezTo>
                <a:cubicBezTo>
                  <a:pt x="737" y="33"/>
                  <a:pt x="737" y="33"/>
                  <a:pt x="737" y="33"/>
                </a:cubicBezTo>
                <a:cubicBezTo>
                  <a:pt x="737" y="33"/>
                  <a:pt x="737" y="33"/>
                  <a:pt x="737" y="33"/>
                </a:cubicBezTo>
                <a:cubicBezTo>
                  <a:pt x="737" y="34"/>
                  <a:pt x="737" y="34"/>
                  <a:pt x="737" y="34"/>
                </a:cubicBezTo>
                <a:cubicBezTo>
                  <a:pt x="737" y="34"/>
                  <a:pt x="737" y="34"/>
                  <a:pt x="737" y="34"/>
                </a:cubicBezTo>
                <a:cubicBezTo>
                  <a:pt x="738" y="34"/>
                  <a:pt x="738" y="34"/>
                  <a:pt x="738" y="34"/>
                </a:cubicBezTo>
                <a:cubicBezTo>
                  <a:pt x="738" y="34"/>
                  <a:pt x="738" y="34"/>
                  <a:pt x="738" y="34"/>
                </a:cubicBezTo>
                <a:cubicBezTo>
                  <a:pt x="738" y="34"/>
                  <a:pt x="738" y="34"/>
                  <a:pt x="738" y="34"/>
                </a:cubicBezTo>
                <a:cubicBezTo>
                  <a:pt x="738" y="34"/>
                  <a:pt x="738" y="34"/>
                  <a:pt x="738" y="34"/>
                </a:cubicBezTo>
                <a:cubicBezTo>
                  <a:pt x="738" y="34"/>
                  <a:pt x="738" y="34"/>
                  <a:pt x="738" y="34"/>
                </a:cubicBezTo>
                <a:cubicBezTo>
                  <a:pt x="738" y="35"/>
                  <a:pt x="738" y="35"/>
                  <a:pt x="738" y="35"/>
                </a:cubicBezTo>
                <a:cubicBezTo>
                  <a:pt x="739" y="36"/>
                  <a:pt x="739" y="36"/>
                  <a:pt x="739" y="36"/>
                </a:cubicBezTo>
                <a:cubicBezTo>
                  <a:pt x="738" y="36"/>
                  <a:pt x="738" y="36"/>
                  <a:pt x="738" y="36"/>
                </a:cubicBezTo>
                <a:cubicBezTo>
                  <a:pt x="730" y="33"/>
                  <a:pt x="730" y="33"/>
                  <a:pt x="730" y="33"/>
                </a:cubicBezTo>
                <a:cubicBezTo>
                  <a:pt x="729" y="32"/>
                  <a:pt x="729" y="32"/>
                  <a:pt x="729" y="32"/>
                </a:cubicBezTo>
                <a:cubicBezTo>
                  <a:pt x="728" y="32"/>
                  <a:pt x="728" y="32"/>
                  <a:pt x="728" y="32"/>
                </a:cubicBezTo>
                <a:cubicBezTo>
                  <a:pt x="727" y="32"/>
                  <a:pt x="727" y="32"/>
                  <a:pt x="727" y="32"/>
                </a:cubicBezTo>
                <a:cubicBezTo>
                  <a:pt x="727" y="32"/>
                  <a:pt x="727" y="32"/>
                  <a:pt x="727" y="32"/>
                </a:cubicBezTo>
                <a:cubicBezTo>
                  <a:pt x="727" y="32"/>
                  <a:pt x="727" y="32"/>
                  <a:pt x="727" y="32"/>
                </a:cubicBezTo>
                <a:cubicBezTo>
                  <a:pt x="727" y="32"/>
                  <a:pt x="727" y="32"/>
                  <a:pt x="727" y="32"/>
                </a:cubicBezTo>
                <a:cubicBezTo>
                  <a:pt x="727" y="32"/>
                  <a:pt x="727" y="32"/>
                  <a:pt x="727" y="32"/>
                </a:cubicBezTo>
                <a:cubicBezTo>
                  <a:pt x="726" y="32"/>
                  <a:pt x="726" y="32"/>
                  <a:pt x="726" y="32"/>
                </a:cubicBezTo>
                <a:cubicBezTo>
                  <a:pt x="726" y="32"/>
                  <a:pt x="725" y="33"/>
                  <a:pt x="725" y="33"/>
                </a:cubicBezTo>
                <a:cubicBezTo>
                  <a:pt x="725" y="33"/>
                  <a:pt x="725" y="33"/>
                  <a:pt x="725" y="33"/>
                </a:cubicBezTo>
                <a:cubicBezTo>
                  <a:pt x="725" y="33"/>
                  <a:pt x="725" y="33"/>
                  <a:pt x="725" y="33"/>
                </a:cubicBezTo>
                <a:cubicBezTo>
                  <a:pt x="725" y="33"/>
                  <a:pt x="725" y="33"/>
                  <a:pt x="725" y="33"/>
                </a:cubicBezTo>
                <a:cubicBezTo>
                  <a:pt x="725" y="33"/>
                  <a:pt x="725" y="33"/>
                  <a:pt x="725" y="33"/>
                </a:cubicBezTo>
                <a:cubicBezTo>
                  <a:pt x="723" y="34"/>
                  <a:pt x="722" y="34"/>
                  <a:pt x="721" y="34"/>
                </a:cubicBezTo>
                <a:cubicBezTo>
                  <a:pt x="720" y="34"/>
                  <a:pt x="720" y="34"/>
                  <a:pt x="720" y="34"/>
                </a:cubicBezTo>
                <a:cubicBezTo>
                  <a:pt x="720" y="34"/>
                  <a:pt x="720" y="34"/>
                  <a:pt x="720" y="34"/>
                </a:cubicBezTo>
                <a:cubicBezTo>
                  <a:pt x="720" y="34"/>
                  <a:pt x="720" y="34"/>
                  <a:pt x="720" y="34"/>
                </a:cubicBezTo>
                <a:cubicBezTo>
                  <a:pt x="719" y="35"/>
                  <a:pt x="719" y="35"/>
                  <a:pt x="719" y="35"/>
                </a:cubicBezTo>
                <a:cubicBezTo>
                  <a:pt x="719" y="35"/>
                  <a:pt x="719" y="35"/>
                  <a:pt x="719" y="35"/>
                </a:cubicBezTo>
                <a:cubicBezTo>
                  <a:pt x="719" y="35"/>
                  <a:pt x="719" y="35"/>
                  <a:pt x="719" y="35"/>
                </a:cubicBezTo>
                <a:cubicBezTo>
                  <a:pt x="719" y="35"/>
                  <a:pt x="719" y="35"/>
                  <a:pt x="719" y="35"/>
                </a:cubicBezTo>
                <a:cubicBezTo>
                  <a:pt x="719" y="35"/>
                  <a:pt x="719" y="35"/>
                  <a:pt x="719" y="35"/>
                </a:cubicBezTo>
                <a:cubicBezTo>
                  <a:pt x="719" y="35"/>
                  <a:pt x="719" y="35"/>
                  <a:pt x="719" y="35"/>
                </a:cubicBezTo>
                <a:cubicBezTo>
                  <a:pt x="718" y="35"/>
                  <a:pt x="717" y="35"/>
                  <a:pt x="716" y="36"/>
                </a:cubicBezTo>
                <a:cubicBezTo>
                  <a:pt x="716" y="36"/>
                  <a:pt x="716" y="36"/>
                  <a:pt x="716" y="36"/>
                </a:cubicBezTo>
                <a:cubicBezTo>
                  <a:pt x="716" y="36"/>
                  <a:pt x="716" y="36"/>
                  <a:pt x="716" y="36"/>
                </a:cubicBezTo>
                <a:cubicBezTo>
                  <a:pt x="715" y="36"/>
                  <a:pt x="715" y="36"/>
                  <a:pt x="714" y="37"/>
                </a:cubicBezTo>
                <a:cubicBezTo>
                  <a:pt x="713" y="38"/>
                  <a:pt x="713" y="38"/>
                  <a:pt x="713" y="38"/>
                </a:cubicBezTo>
                <a:cubicBezTo>
                  <a:pt x="712" y="38"/>
                  <a:pt x="712" y="38"/>
                  <a:pt x="712" y="38"/>
                </a:cubicBezTo>
                <a:cubicBezTo>
                  <a:pt x="712" y="38"/>
                  <a:pt x="712" y="38"/>
                  <a:pt x="712" y="38"/>
                </a:cubicBezTo>
                <a:cubicBezTo>
                  <a:pt x="713" y="37"/>
                  <a:pt x="713" y="37"/>
                  <a:pt x="713" y="37"/>
                </a:cubicBezTo>
                <a:cubicBezTo>
                  <a:pt x="713" y="37"/>
                  <a:pt x="713" y="37"/>
                  <a:pt x="713" y="37"/>
                </a:cubicBezTo>
                <a:cubicBezTo>
                  <a:pt x="713" y="36"/>
                  <a:pt x="713" y="36"/>
                  <a:pt x="713" y="36"/>
                </a:cubicBezTo>
                <a:cubicBezTo>
                  <a:pt x="713" y="36"/>
                  <a:pt x="713" y="36"/>
                  <a:pt x="713" y="36"/>
                </a:cubicBezTo>
                <a:cubicBezTo>
                  <a:pt x="712" y="37"/>
                  <a:pt x="712" y="37"/>
                  <a:pt x="712" y="37"/>
                </a:cubicBezTo>
                <a:cubicBezTo>
                  <a:pt x="712" y="37"/>
                  <a:pt x="712" y="37"/>
                  <a:pt x="712" y="37"/>
                </a:cubicBezTo>
                <a:cubicBezTo>
                  <a:pt x="712" y="37"/>
                  <a:pt x="712" y="37"/>
                  <a:pt x="712" y="37"/>
                </a:cubicBezTo>
                <a:cubicBezTo>
                  <a:pt x="712" y="37"/>
                  <a:pt x="712" y="37"/>
                  <a:pt x="712" y="37"/>
                </a:cubicBezTo>
                <a:cubicBezTo>
                  <a:pt x="712" y="37"/>
                  <a:pt x="712" y="37"/>
                  <a:pt x="712" y="37"/>
                </a:cubicBezTo>
                <a:cubicBezTo>
                  <a:pt x="711" y="37"/>
                  <a:pt x="711" y="37"/>
                  <a:pt x="711" y="37"/>
                </a:cubicBezTo>
                <a:cubicBezTo>
                  <a:pt x="711" y="37"/>
                  <a:pt x="711" y="37"/>
                  <a:pt x="711" y="37"/>
                </a:cubicBezTo>
                <a:cubicBezTo>
                  <a:pt x="709" y="38"/>
                  <a:pt x="709" y="38"/>
                  <a:pt x="709" y="38"/>
                </a:cubicBezTo>
                <a:cubicBezTo>
                  <a:pt x="706" y="39"/>
                  <a:pt x="706" y="39"/>
                  <a:pt x="706" y="39"/>
                </a:cubicBezTo>
                <a:cubicBezTo>
                  <a:pt x="705" y="40"/>
                  <a:pt x="705" y="40"/>
                  <a:pt x="705" y="40"/>
                </a:cubicBezTo>
                <a:cubicBezTo>
                  <a:pt x="704" y="40"/>
                  <a:pt x="704" y="40"/>
                  <a:pt x="704" y="40"/>
                </a:cubicBezTo>
                <a:cubicBezTo>
                  <a:pt x="704" y="40"/>
                  <a:pt x="704" y="40"/>
                  <a:pt x="704" y="40"/>
                </a:cubicBezTo>
                <a:cubicBezTo>
                  <a:pt x="704" y="40"/>
                  <a:pt x="704" y="40"/>
                  <a:pt x="704" y="40"/>
                </a:cubicBezTo>
                <a:cubicBezTo>
                  <a:pt x="704" y="40"/>
                  <a:pt x="704" y="40"/>
                  <a:pt x="704" y="40"/>
                </a:cubicBezTo>
                <a:cubicBezTo>
                  <a:pt x="705" y="39"/>
                  <a:pt x="705" y="39"/>
                  <a:pt x="705" y="39"/>
                </a:cubicBezTo>
                <a:cubicBezTo>
                  <a:pt x="705" y="39"/>
                  <a:pt x="705" y="39"/>
                  <a:pt x="705" y="39"/>
                </a:cubicBezTo>
                <a:cubicBezTo>
                  <a:pt x="705" y="39"/>
                  <a:pt x="705" y="39"/>
                  <a:pt x="705" y="39"/>
                </a:cubicBezTo>
                <a:cubicBezTo>
                  <a:pt x="705" y="38"/>
                  <a:pt x="705" y="38"/>
                  <a:pt x="705" y="38"/>
                </a:cubicBezTo>
                <a:cubicBezTo>
                  <a:pt x="704" y="37"/>
                  <a:pt x="704" y="37"/>
                  <a:pt x="704" y="37"/>
                </a:cubicBezTo>
                <a:cubicBezTo>
                  <a:pt x="704" y="37"/>
                  <a:pt x="704" y="37"/>
                  <a:pt x="704" y="37"/>
                </a:cubicBezTo>
                <a:cubicBezTo>
                  <a:pt x="704" y="37"/>
                  <a:pt x="704" y="37"/>
                  <a:pt x="704" y="37"/>
                </a:cubicBezTo>
                <a:cubicBezTo>
                  <a:pt x="703" y="37"/>
                  <a:pt x="703" y="37"/>
                  <a:pt x="703" y="37"/>
                </a:cubicBezTo>
                <a:cubicBezTo>
                  <a:pt x="702" y="38"/>
                  <a:pt x="702" y="38"/>
                  <a:pt x="702" y="38"/>
                </a:cubicBezTo>
                <a:cubicBezTo>
                  <a:pt x="702" y="38"/>
                  <a:pt x="702" y="38"/>
                  <a:pt x="702" y="38"/>
                </a:cubicBezTo>
                <a:cubicBezTo>
                  <a:pt x="701" y="38"/>
                  <a:pt x="701" y="38"/>
                  <a:pt x="701" y="38"/>
                </a:cubicBezTo>
                <a:cubicBezTo>
                  <a:pt x="698" y="40"/>
                  <a:pt x="698" y="40"/>
                  <a:pt x="698" y="40"/>
                </a:cubicBezTo>
                <a:cubicBezTo>
                  <a:pt x="697" y="40"/>
                  <a:pt x="697" y="40"/>
                  <a:pt x="697" y="40"/>
                </a:cubicBezTo>
                <a:cubicBezTo>
                  <a:pt x="696" y="40"/>
                  <a:pt x="696" y="40"/>
                  <a:pt x="696" y="40"/>
                </a:cubicBezTo>
                <a:cubicBezTo>
                  <a:pt x="696" y="40"/>
                  <a:pt x="696" y="40"/>
                  <a:pt x="696" y="40"/>
                </a:cubicBezTo>
                <a:cubicBezTo>
                  <a:pt x="696" y="40"/>
                  <a:pt x="696" y="40"/>
                  <a:pt x="696" y="40"/>
                </a:cubicBezTo>
                <a:cubicBezTo>
                  <a:pt x="696" y="40"/>
                  <a:pt x="696" y="40"/>
                  <a:pt x="696" y="40"/>
                </a:cubicBezTo>
                <a:cubicBezTo>
                  <a:pt x="696" y="40"/>
                  <a:pt x="696" y="40"/>
                  <a:pt x="696" y="40"/>
                </a:cubicBezTo>
                <a:cubicBezTo>
                  <a:pt x="695" y="40"/>
                  <a:pt x="695" y="40"/>
                  <a:pt x="695" y="40"/>
                </a:cubicBezTo>
                <a:cubicBezTo>
                  <a:pt x="695" y="40"/>
                  <a:pt x="695" y="40"/>
                  <a:pt x="695" y="40"/>
                </a:cubicBezTo>
                <a:cubicBezTo>
                  <a:pt x="695" y="40"/>
                  <a:pt x="695" y="40"/>
                  <a:pt x="695" y="40"/>
                </a:cubicBezTo>
                <a:cubicBezTo>
                  <a:pt x="695" y="40"/>
                  <a:pt x="695" y="40"/>
                  <a:pt x="695" y="40"/>
                </a:cubicBezTo>
                <a:cubicBezTo>
                  <a:pt x="697" y="39"/>
                  <a:pt x="697" y="39"/>
                  <a:pt x="698" y="38"/>
                </a:cubicBezTo>
                <a:cubicBezTo>
                  <a:pt x="698" y="38"/>
                  <a:pt x="698" y="38"/>
                  <a:pt x="698" y="38"/>
                </a:cubicBezTo>
                <a:cubicBezTo>
                  <a:pt x="671" y="35"/>
                  <a:pt x="671" y="35"/>
                  <a:pt x="671" y="35"/>
                </a:cubicBezTo>
                <a:cubicBezTo>
                  <a:pt x="670" y="35"/>
                  <a:pt x="670" y="35"/>
                  <a:pt x="670" y="35"/>
                </a:cubicBezTo>
                <a:cubicBezTo>
                  <a:pt x="670" y="35"/>
                  <a:pt x="670" y="35"/>
                  <a:pt x="670" y="35"/>
                </a:cubicBezTo>
                <a:cubicBezTo>
                  <a:pt x="670" y="35"/>
                  <a:pt x="670" y="35"/>
                  <a:pt x="670" y="35"/>
                </a:cubicBezTo>
                <a:cubicBezTo>
                  <a:pt x="670" y="36"/>
                  <a:pt x="670" y="36"/>
                  <a:pt x="670" y="36"/>
                </a:cubicBezTo>
                <a:cubicBezTo>
                  <a:pt x="670" y="36"/>
                  <a:pt x="670" y="36"/>
                  <a:pt x="670" y="36"/>
                </a:cubicBezTo>
                <a:cubicBezTo>
                  <a:pt x="669" y="36"/>
                  <a:pt x="669" y="36"/>
                  <a:pt x="669" y="36"/>
                </a:cubicBezTo>
                <a:cubicBezTo>
                  <a:pt x="669" y="36"/>
                  <a:pt x="669" y="36"/>
                  <a:pt x="669" y="36"/>
                </a:cubicBezTo>
                <a:cubicBezTo>
                  <a:pt x="669" y="36"/>
                  <a:pt x="669" y="36"/>
                  <a:pt x="669" y="36"/>
                </a:cubicBezTo>
                <a:cubicBezTo>
                  <a:pt x="669" y="36"/>
                  <a:pt x="668" y="36"/>
                  <a:pt x="668" y="36"/>
                </a:cubicBezTo>
                <a:cubicBezTo>
                  <a:pt x="668" y="36"/>
                  <a:pt x="668" y="36"/>
                  <a:pt x="668" y="36"/>
                </a:cubicBezTo>
                <a:cubicBezTo>
                  <a:pt x="668" y="36"/>
                  <a:pt x="668" y="36"/>
                  <a:pt x="668" y="36"/>
                </a:cubicBezTo>
                <a:cubicBezTo>
                  <a:pt x="668" y="36"/>
                  <a:pt x="668" y="36"/>
                  <a:pt x="668" y="36"/>
                </a:cubicBezTo>
                <a:cubicBezTo>
                  <a:pt x="668" y="37"/>
                  <a:pt x="668" y="37"/>
                  <a:pt x="668" y="37"/>
                </a:cubicBezTo>
                <a:cubicBezTo>
                  <a:pt x="668" y="37"/>
                  <a:pt x="668" y="37"/>
                  <a:pt x="668" y="37"/>
                </a:cubicBezTo>
                <a:cubicBezTo>
                  <a:pt x="668" y="37"/>
                  <a:pt x="668" y="37"/>
                  <a:pt x="668" y="37"/>
                </a:cubicBezTo>
                <a:cubicBezTo>
                  <a:pt x="668" y="37"/>
                  <a:pt x="668" y="37"/>
                  <a:pt x="668" y="37"/>
                </a:cubicBezTo>
                <a:cubicBezTo>
                  <a:pt x="668" y="38"/>
                  <a:pt x="668" y="38"/>
                  <a:pt x="668" y="38"/>
                </a:cubicBezTo>
                <a:cubicBezTo>
                  <a:pt x="667" y="38"/>
                  <a:pt x="667" y="38"/>
                  <a:pt x="667" y="38"/>
                </a:cubicBezTo>
                <a:cubicBezTo>
                  <a:pt x="667" y="38"/>
                  <a:pt x="667" y="38"/>
                  <a:pt x="667" y="38"/>
                </a:cubicBezTo>
                <a:cubicBezTo>
                  <a:pt x="667" y="38"/>
                  <a:pt x="667" y="38"/>
                  <a:pt x="667" y="38"/>
                </a:cubicBezTo>
                <a:cubicBezTo>
                  <a:pt x="667" y="38"/>
                  <a:pt x="667" y="38"/>
                  <a:pt x="667" y="38"/>
                </a:cubicBezTo>
                <a:cubicBezTo>
                  <a:pt x="668" y="38"/>
                  <a:pt x="668" y="38"/>
                  <a:pt x="668" y="38"/>
                </a:cubicBezTo>
                <a:cubicBezTo>
                  <a:pt x="668" y="38"/>
                  <a:pt x="668" y="38"/>
                  <a:pt x="668" y="38"/>
                </a:cubicBezTo>
                <a:cubicBezTo>
                  <a:pt x="670" y="38"/>
                  <a:pt x="670" y="38"/>
                  <a:pt x="670" y="38"/>
                </a:cubicBezTo>
                <a:cubicBezTo>
                  <a:pt x="671" y="38"/>
                  <a:pt x="671" y="38"/>
                  <a:pt x="671" y="38"/>
                </a:cubicBezTo>
                <a:cubicBezTo>
                  <a:pt x="672" y="38"/>
                  <a:pt x="672" y="38"/>
                  <a:pt x="672" y="38"/>
                </a:cubicBezTo>
                <a:cubicBezTo>
                  <a:pt x="672" y="38"/>
                  <a:pt x="672" y="38"/>
                  <a:pt x="672" y="38"/>
                </a:cubicBezTo>
                <a:cubicBezTo>
                  <a:pt x="672" y="38"/>
                  <a:pt x="672" y="38"/>
                  <a:pt x="672" y="38"/>
                </a:cubicBezTo>
                <a:cubicBezTo>
                  <a:pt x="672" y="38"/>
                  <a:pt x="672" y="38"/>
                  <a:pt x="672" y="38"/>
                </a:cubicBezTo>
                <a:cubicBezTo>
                  <a:pt x="672" y="38"/>
                  <a:pt x="672" y="38"/>
                  <a:pt x="672" y="38"/>
                </a:cubicBezTo>
                <a:cubicBezTo>
                  <a:pt x="672" y="38"/>
                  <a:pt x="672" y="38"/>
                  <a:pt x="672" y="38"/>
                </a:cubicBezTo>
                <a:cubicBezTo>
                  <a:pt x="672" y="38"/>
                  <a:pt x="672" y="38"/>
                  <a:pt x="672" y="38"/>
                </a:cubicBezTo>
                <a:cubicBezTo>
                  <a:pt x="673" y="39"/>
                  <a:pt x="674" y="38"/>
                  <a:pt x="675" y="39"/>
                </a:cubicBezTo>
                <a:cubicBezTo>
                  <a:pt x="675" y="39"/>
                  <a:pt x="675" y="39"/>
                  <a:pt x="675" y="39"/>
                </a:cubicBezTo>
                <a:cubicBezTo>
                  <a:pt x="675" y="39"/>
                  <a:pt x="675" y="39"/>
                  <a:pt x="675" y="39"/>
                </a:cubicBezTo>
                <a:cubicBezTo>
                  <a:pt x="675" y="39"/>
                  <a:pt x="675" y="39"/>
                  <a:pt x="675" y="39"/>
                </a:cubicBezTo>
                <a:cubicBezTo>
                  <a:pt x="676" y="39"/>
                  <a:pt x="676" y="39"/>
                  <a:pt x="676" y="39"/>
                </a:cubicBezTo>
                <a:cubicBezTo>
                  <a:pt x="679" y="39"/>
                  <a:pt x="679" y="39"/>
                  <a:pt x="679" y="39"/>
                </a:cubicBezTo>
                <a:cubicBezTo>
                  <a:pt x="680" y="38"/>
                  <a:pt x="680" y="38"/>
                  <a:pt x="680" y="38"/>
                </a:cubicBezTo>
                <a:cubicBezTo>
                  <a:pt x="681" y="38"/>
                  <a:pt x="681" y="38"/>
                  <a:pt x="681" y="38"/>
                </a:cubicBezTo>
                <a:cubicBezTo>
                  <a:pt x="681" y="39"/>
                  <a:pt x="681" y="39"/>
                  <a:pt x="681" y="39"/>
                </a:cubicBezTo>
                <a:cubicBezTo>
                  <a:pt x="680" y="39"/>
                  <a:pt x="680" y="39"/>
                  <a:pt x="680" y="39"/>
                </a:cubicBezTo>
                <a:cubicBezTo>
                  <a:pt x="680" y="39"/>
                  <a:pt x="680" y="39"/>
                  <a:pt x="680" y="39"/>
                </a:cubicBezTo>
                <a:cubicBezTo>
                  <a:pt x="679" y="39"/>
                  <a:pt x="677" y="40"/>
                  <a:pt x="675" y="40"/>
                </a:cubicBezTo>
                <a:cubicBezTo>
                  <a:pt x="656" y="43"/>
                  <a:pt x="656" y="43"/>
                  <a:pt x="656" y="43"/>
                </a:cubicBezTo>
                <a:cubicBezTo>
                  <a:pt x="656" y="43"/>
                  <a:pt x="656" y="43"/>
                  <a:pt x="656" y="43"/>
                </a:cubicBezTo>
                <a:cubicBezTo>
                  <a:pt x="652" y="44"/>
                  <a:pt x="648" y="44"/>
                  <a:pt x="645" y="45"/>
                </a:cubicBezTo>
                <a:cubicBezTo>
                  <a:pt x="644" y="45"/>
                  <a:pt x="644" y="45"/>
                  <a:pt x="644" y="45"/>
                </a:cubicBezTo>
                <a:cubicBezTo>
                  <a:pt x="641" y="46"/>
                  <a:pt x="641" y="46"/>
                  <a:pt x="641" y="46"/>
                </a:cubicBezTo>
                <a:cubicBezTo>
                  <a:pt x="640" y="46"/>
                  <a:pt x="640" y="46"/>
                  <a:pt x="640" y="46"/>
                </a:cubicBezTo>
                <a:cubicBezTo>
                  <a:pt x="639" y="46"/>
                  <a:pt x="639" y="46"/>
                  <a:pt x="639" y="46"/>
                </a:cubicBezTo>
                <a:cubicBezTo>
                  <a:pt x="638" y="46"/>
                  <a:pt x="637" y="46"/>
                  <a:pt x="637" y="47"/>
                </a:cubicBezTo>
                <a:cubicBezTo>
                  <a:pt x="636" y="47"/>
                  <a:pt x="636" y="47"/>
                  <a:pt x="636" y="47"/>
                </a:cubicBezTo>
                <a:cubicBezTo>
                  <a:pt x="632" y="47"/>
                  <a:pt x="632" y="47"/>
                  <a:pt x="632" y="47"/>
                </a:cubicBezTo>
                <a:cubicBezTo>
                  <a:pt x="631" y="48"/>
                  <a:pt x="631" y="48"/>
                  <a:pt x="631" y="48"/>
                </a:cubicBezTo>
                <a:cubicBezTo>
                  <a:pt x="630" y="48"/>
                  <a:pt x="630" y="48"/>
                  <a:pt x="630" y="48"/>
                </a:cubicBezTo>
                <a:cubicBezTo>
                  <a:pt x="630" y="48"/>
                  <a:pt x="630" y="48"/>
                  <a:pt x="630" y="48"/>
                </a:cubicBezTo>
                <a:cubicBezTo>
                  <a:pt x="630" y="48"/>
                  <a:pt x="630" y="48"/>
                  <a:pt x="630" y="48"/>
                </a:cubicBezTo>
                <a:cubicBezTo>
                  <a:pt x="630" y="48"/>
                  <a:pt x="630" y="48"/>
                  <a:pt x="630" y="48"/>
                </a:cubicBezTo>
                <a:cubicBezTo>
                  <a:pt x="630" y="48"/>
                  <a:pt x="630" y="48"/>
                  <a:pt x="630" y="48"/>
                </a:cubicBezTo>
                <a:cubicBezTo>
                  <a:pt x="630" y="48"/>
                  <a:pt x="630" y="48"/>
                  <a:pt x="630" y="48"/>
                </a:cubicBezTo>
                <a:cubicBezTo>
                  <a:pt x="629" y="49"/>
                  <a:pt x="629" y="49"/>
                  <a:pt x="629" y="49"/>
                </a:cubicBezTo>
                <a:cubicBezTo>
                  <a:pt x="628" y="49"/>
                  <a:pt x="628" y="49"/>
                  <a:pt x="628" y="49"/>
                </a:cubicBezTo>
                <a:cubicBezTo>
                  <a:pt x="628" y="49"/>
                  <a:pt x="628" y="49"/>
                  <a:pt x="628" y="49"/>
                </a:cubicBezTo>
                <a:cubicBezTo>
                  <a:pt x="628" y="49"/>
                  <a:pt x="628" y="49"/>
                  <a:pt x="628" y="49"/>
                </a:cubicBezTo>
                <a:cubicBezTo>
                  <a:pt x="628" y="49"/>
                  <a:pt x="628" y="49"/>
                  <a:pt x="628" y="49"/>
                </a:cubicBezTo>
                <a:cubicBezTo>
                  <a:pt x="628" y="49"/>
                  <a:pt x="628" y="49"/>
                  <a:pt x="628" y="49"/>
                </a:cubicBezTo>
                <a:cubicBezTo>
                  <a:pt x="628" y="49"/>
                  <a:pt x="628" y="49"/>
                  <a:pt x="628" y="49"/>
                </a:cubicBezTo>
                <a:cubicBezTo>
                  <a:pt x="628" y="49"/>
                  <a:pt x="628" y="49"/>
                  <a:pt x="628" y="49"/>
                </a:cubicBezTo>
                <a:cubicBezTo>
                  <a:pt x="628" y="49"/>
                  <a:pt x="628" y="49"/>
                  <a:pt x="628" y="49"/>
                </a:cubicBezTo>
                <a:cubicBezTo>
                  <a:pt x="628" y="49"/>
                  <a:pt x="628" y="49"/>
                  <a:pt x="628" y="49"/>
                </a:cubicBezTo>
                <a:cubicBezTo>
                  <a:pt x="628" y="49"/>
                  <a:pt x="628" y="49"/>
                  <a:pt x="628" y="49"/>
                </a:cubicBezTo>
                <a:cubicBezTo>
                  <a:pt x="628" y="49"/>
                  <a:pt x="628" y="49"/>
                  <a:pt x="628" y="49"/>
                </a:cubicBezTo>
                <a:cubicBezTo>
                  <a:pt x="628" y="49"/>
                  <a:pt x="628" y="49"/>
                  <a:pt x="628" y="49"/>
                </a:cubicBezTo>
                <a:cubicBezTo>
                  <a:pt x="628" y="49"/>
                  <a:pt x="628" y="49"/>
                  <a:pt x="628" y="49"/>
                </a:cubicBezTo>
                <a:cubicBezTo>
                  <a:pt x="627" y="50"/>
                  <a:pt x="627" y="50"/>
                  <a:pt x="626" y="50"/>
                </a:cubicBezTo>
                <a:cubicBezTo>
                  <a:pt x="626" y="50"/>
                  <a:pt x="626" y="50"/>
                  <a:pt x="626" y="50"/>
                </a:cubicBezTo>
                <a:cubicBezTo>
                  <a:pt x="626" y="50"/>
                  <a:pt x="626" y="50"/>
                  <a:pt x="626" y="50"/>
                </a:cubicBezTo>
                <a:cubicBezTo>
                  <a:pt x="626" y="51"/>
                  <a:pt x="626" y="51"/>
                  <a:pt x="626" y="51"/>
                </a:cubicBezTo>
                <a:cubicBezTo>
                  <a:pt x="626" y="51"/>
                  <a:pt x="626" y="51"/>
                  <a:pt x="626" y="51"/>
                </a:cubicBezTo>
                <a:cubicBezTo>
                  <a:pt x="625" y="51"/>
                  <a:pt x="625" y="51"/>
                  <a:pt x="625" y="51"/>
                </a:cubicBezTo>
                <a:cubicBezTo>
                  <a:pt x="625" y="51"/>
                  <a:pt x="625" y="51"/>
                  <a:pt x="625" y="51"/>
                </a:cubicBezTo>
                <a:cubicBezTo>
                  <a:pt x="624" y="51"/>
                  <a:pt x="624" y="51"/>
                  <a:pt x="624" y="51"/>
                </a:cubicBezTo>
                <a:cubicBezTo>
                  <a:pt x="624" y="51"/>
                  <a:pt x="624" y="51"/>
                  <a:pt x="624" y="51"/>
                </a:cubicBezTo>
                <a:cubicBezTo>
                  <a:pt x="624" y="51"/>
                  <a:pt x="624" y="51"/>
                  <a:pt x="624" y="51"/>
                </a:cubicBezTo>
                <a:cubicBezTo>
                  <a:pt x="624" y="51"/>
                  <a:pt x="624" y="51"/>
                  <a:pt x="624" y="51"/>
                </a:cubicBezTo>
                <a:cubicBezTo>
                  <a:pt x="624" y="51"/>
                  <a:pt x="624" y="51"/>
                  <a:pt x="624" y="51"/>
                </a:cubicBezTo>
                <a:cubicBezTo>
                  <a:pt x="624" y="51"/>
                  <a:pt x="624" y="51"/>
                  <a:pt x="624" y="51"/>
                </a:cubicBezTo>
                <a:cubicBezTo>
                  <a:pt x="623" y="51"/>
                  <a:pt x="623" y="51"/>
                  <a:pt x="623" y="51"/>
                </a:cubicBezTo>
                <a:cubicBezTo>
                  <a:pt x="623" y="52"/>
                  <a:pt x="623" y="52"/>
                  <a:pt x="623" y="52"/>
                </a:cubicBezTo>
                <a:cubicBezTo>
                  <a:pt x="623" y="52"/>
                  <a:pt x="623" y="52"/>
                  <a:pt x="623" y="52"/>
                </a:cubicBezTo>
                <a:cubicBezTo>
                  <a:pt x="623" y="52"/>
                  <a:pt x="623" y="52"/>
                  <a:pt x="623" y="52"/>
                </a:cubicBezTo>
                <a:cubicBezTo>
                  <a:pt x="623" y="52"/>
                  <a:pt x="623" y="52"/>
                  <a:pt x="623" y="52"/>
                </a:cubicBezTo>
                <a:cubicBezTo>
                  <a:pt x="623" y="52"/>
                  <a:pt x="623" y="52"/>
                  <a:pt x="623" y="52"/>
                </a:cubicBezTo>
                <a:cubicBezTo>
                  <a:pt x="623" y="52"/>
                  <a:pt x="623" y="52"/>
                  <a:pt x="623" y="52"/>
                </a:cubicBezTo>
                <a:cubicBezTo>
                  <a:pt x="623" y="52"/>
                  <a:pt x="623" y="52"/>
                  <a:pt x="623" y="52"/>
                </a:cubicBezTo>
                <a:cubicBezTo>
                  <a:pt x="622" y="52"/>
                  <a:pt x="622" y="52"/>
                  <a:pt x="622" y="52"/>
                </a:cubicBezTo>
                <a:cubicBezTo>
                  <a:pt x="622" y="53"/>
                  <a:pt x="622" y="53"/>
                  <a:pt x="622" y="53"/>
                </a:cubicBezTo>
                <a:cubicBezTo>
                  <a:pt x="622" y="53"/>
                  <a:pt x="622" y="53"/>
                  <a:pt x="621" y="53"/>
                </a:cubicBezTo>
                <a:cubicBezTo>
                  <a:pt x="621" y="53"/>
                  <a:pt x="621" y="53"/>
                  <a:pt x="621" y="53"/>
                </a:cubicBezTo>
                <a:cubicBezTo>
                  <a:pt x="621" y="53"/>
                  <a:pt x="621" y="53"/>
                  <a:pt x="621" y="53"/>
                </a:cubicBezTo>
                <a:cubicBezTo>
                  <a:pt x="620" y="54"/>
                  <a:pt x="620" y="54"/>
                  <a:pt x="620" y="54"/>
                </a:cubicBezTo>
                <a:cubicBezTo>
                  <a:pt x="618" y="55"/>
                  <a:pt x="618" y="55"/>
                  <a:pt x="618" y="55"/>
                </a:cubicBezTo>
                <a:cubicBezTo>
                  <a:pt x="617" y="56"/>
                  <a:pt x="617" y="56"/>
                  <a:pt x="617" y="56"/>
                </a:cubicBezTo>
                <a:cubicBezTo>
                  <a:pt x="617" y="56"/>
                  <a:pt x="617" y="56"/>
                  <a:pt x="617" y="56"/>
                </a:cubicBezTo>
                <a:cubicBezTo>
                  <a:pt x="617" y="56"/>
                  <a:pt x="617" y="56"/>
                  <a:pt x="617" y="56"/>
                </a:cubicBezTo>
                <a:cubicBezTo>
                  <a:pt x="616" y="56"/>
                  <a:pt x="616" y="56"/>
                  <a:pt x="616" y="56"/>
                </a:cubicBezTo>
                <a:cubicBezTo>
                  <a:pt x="614" y="56"/>
                  <a:pt x="614" y="56"/>
                  <a:pt x="614" y="56"/>
                </a:cubicBezTo>
                <a:cubicBezTo>
                  <a:pt x="610" y="55"/>
                  <a:pt x="610" y="55"/>
                  <a:pt x="610" y="55"/>
                </a:cubicBezTo>
                <a:cubicBezTo>
                  <a:pt x="608" y="55"/>
                  <a:pt x="608" y="55"/>
                  <a:pt x="608" y="55"/>
                </a:cubicBezTo>
                <a:cubicBezTo>
                  <a:pt x="607" y="55"/>
                  <a:pt x="607" y="55"/>
                  <a:pt x="607" y="55"/>
                </a:cubicBezTo>
                <a:cubicBezTo>
                  <a:pt x="607" y="55"/>
                  <a:pt x="607" y="55"/>
                  <a:pt x="607" y="55"/>
                </a:cubicBezTo>
                <a:cubicBezTo>
                  <a:pt x="607" y="55"/>
                  <a:pt x="607" y="56"/>
                  <a:pt x="607" y="56"/>
                </a:cubicBezTo>
                <a:cubicBezTo>
                  <a:pt x="607" y="56"/>
                  <a:pt x="607" y="56"/>
                  <a:pt x="607" y="56"/>
                </a:cubicBezTo>
                <a:cubicBezTo>
                  <a:pt x="607" y="56"/>
                  <a:pt x="607" y="56"/>
                  <a:pt x="607" y="56"/>
                </a:cubicBezTo>
                <a:cubicBezTo>
                  <a:pt x="607" y="56"/>
                  <a:pt x="607" y="56"/>
                  <a:pt x="607" y="56"/>
                </a:cubicBezTo>
                <a:cubicBezTo>
                  <a:pt x="607" y="56"/>
                  <a:pt x="607" y="56"/>
                  <a:pt x="607" y="56"/>
                </a:cubicBezTo>
                <a:cubicBezTo>
                  <a:pt x="607" y="56"/>
                  <a:pt x="607" y="56"/>
                  <a:pt x="607" y="56"/>
                </a:cubicBezTo>
                <a:cubicBezTo>
                  <a:pt x="608" y="56"/>
                  <a:pt x="608" y="56"/>
                  <a:pt x="608" y="56"/>
                </a:cubicBezTo>
                <a:cubicBezTo>
                  <a:pt x="608" y="56"/>
                  <a:pt x="608" y="56"/>
                  <a:pt x="608" y="56"/>
                </a:cubicBezTo>
                <a:cubicBezTo>
                  <a:pt x="608" y="56"/>
                  <a:pt x="608" y="56"/>
                  <a:pt x="608" y="56"/>
                </a:cubicBezTo>
                <a:cubicBezTo>
                  <a:pt x="609" y="56"/>
                  <a:pt x="609" y="56"/>
                  <a:pt x="609" y="56"/>
                </a:cubicBezTo>
                <a:cubicBezTo>
                  <a:pt x="609" y="56"/>
                  <a:pt x="609" y="56"/>
                  <a:pt x="609" y="56"/>
                </a:cubicBezTo>
                <a:cubicBezTo>
                  <a:pt x="609" y="56"/>
                  <a:pt x="609" y="56"/>
                  <a:pt x="609" y="56"/>
                </a:cubicBezTo>
                <a:cubicBezTo>
                  <a:pt x="609" y="57"/>
                  <a:pt x="610" y="56"/>
                  <a:pt x="610" y="57"/>
                </a:cubicBezTo>
                <a:cubicBezTo>
                  <a:pt x="611" y="57"/>
                  <a:pt x="611" y="57"/>
                  <a:pt x="611" y="57"/>
                </a:cubicBezTo>
                <a:cubicBezTo>
                  <a:pt x="611" y="57"/>
                  <a:pt x="611" y="57"/>
                  <a:pt x="611" y="57"/>
                </a:cubicBezTo>
                <a:cubicBezTo>
                  <a:pt x="611" y="57"/>
                  <a:pt x="611" y="57"/>
                  <a:pt x="611" y="57"/>
                </a:cubicBezTo>
                <a:cubicBezTo>
                  <a:pt x="611" y="57"/>
                  <a:pt x="611" y="57"/>
                  <a:pt x="611" y="57"/>
                </a:cubicBezTo>
                <a:cubicBezTo>
                  <a:pt x="611" y="57"/>
                  <a:pt x="611" y="57"/>
                  <a:pt x="611" y="57"/>
                </a:cubicBezTo>
                <a:cubicBezTo>
                  <a:pt x="611" y="57"/>
                  <a:pt x="611" y="57"/>
                  <a:pt x="611" y="57"/>
                </a:cubicBezTo>
                <a:cubicBezTo>
                  <a:pt x="612" y="57"/>
                  <a:pt x="612" y="57"/>
                  <a:pt x="612" y="57"/>
                </a:cubicBezTo>
                <a:cubicBezTo>
                  <a:pt x="612" y="57"/>
                  <a:pt x="612" y="57"/>
                  <a:pt x="612" y="57"/>
                </a:cubicBezTo>
                <a:cubicBezTo>
                  <a:pt x="612" y="57"/>
                  <a:pt x="612" y="57"/>
                  <a:pt x="612" y="57"/>
                </a:cubicBezTo>
                <a:cubicBezTo>
                  <a:pt x="613" y="57"/>
                  <a:pt x="613" y="57"/>
                  <a:pt x="613" y="57"/>
                </a:cubicBezTo>
                <a:cubicBezTo>
                  <a:pt x="613" y="57"/>
                  <a:pt x="613" y="57"/>
                  <a:pt x="613" y="57"/>
                </a:cubicBezTo>
                <a:cubicBezTo>
                  <a:pt x="613" y="57"/>
                  <a:pt x="613" y="57"/>
                  <a:pt x="613" y="57"/>
                </a:cubicBezTo>
                <a:cubicBezTo>
                  <a:pt x="612" y="58"/>
                  <a:pt x="610" y="58"/>
                  <a:pt x="609" y="58"/>
                </a:cubicBezTo>
                <a:cubicBezTo>
                  <a:pt x="609" y="58"/>
                  <a:pt x="609" y="58"/>
                  <a:pt x="609" y="58"/>
                </a:cubicBezTo>
                <a:cubicBezTo>
                  <a:pt x="609" y="58"/>
                  <a:pt x="609" y="58"/>
                  <a:pt x="609" y="58"/>
                </a:cubicBezTo>
                <a:cubicBezTo>
                  <a:pt x="610" y="59"/>
                  <a:pt x="610" y="59"/>
                  <a:pt x="610" y="59"/>
                </a:cubicBezTo>
                <a:cubicBezTo>
                  <a:pt x="610" y="59"/>
                  <a:pt x="610" y="59"/>
                  <a:pt x="610" y="59"/>
                </a:cubicBezTo>
                <a:cubicBezTo>
                  <a:pt x="610" y="59"/>
                  <a:pt x="610" y="59"/>
                  <a:pt x="611" y="59"/>
                </a:cubicBezTo>
                <a:cubicBezTo>
                  <a:pt x="611" y="59"/>
                  <a:pt x="611" y="59"/>
                  <a:pt x="611" y="59"/>
                </a:cubicBezTo>
                <a:cubicBezTo>
                  <a:pt x="611" y="59"/>
                  <a:pt x="611" y="59"/>
                  <a:pt x="611" y="59"/>
                </a:cubicBezTo>
                <a:cubicBezTo>
                  <a:pt x="611" y="59"/>
                  <a:pt x="611" y="59"/>
                  <a:pt x="611" y="59"/>
                </a:cubicBezTo>
                <a:cubicBezTo>
                  <a:pt x="611" y="59"/>
                  <a:pt x="611" y="59"/>
                  <a:pt x="611" y="59"/>
                </a:cubicBezTo>
                <a:cubicBezTo>
                  <a:pt x="611" y="59"/>
                  <a:pt x="611" y="59"/>
                  <a:pt x="611" y="59"/>
                </a:cubicBezTo>
                <a:cubicBezTo>
                  <a:pt x="611" y="59"/>
                  <a:pt x="611" y="59"/>
                  <a:pt x="611" y="59"/>
                </a:cubicBezTo>
                <a:cubicBezTo>
                  <a:pt x="611" y="60"/>
                  <a:pt x="611" y="60"/>
                  <a:pt x="611" y="60"/>
                </a:cubicBezTo>
                <a:cubicBezTo>
                  <a:pt x="611" y="60"/>
                  <a:pt x="611" y="60"/>
                  <a:pt x="611" y="60"/>
                </a:cubicBezTo>
                <a:cubicBezTo>
                  <a:pt x="611" y="60"/>
                  <a:pt x="611" y="60"/>
                  <a:pt x="611" y="60"/>
                </a:cubicBezTo>
                <a:cubicBezTo>
                  <a:pt x="610" y="60"/>
                  <a:pt x="610" y="60"/>
                  <a:pt x="610" y="60"/>
                </a:cubicBezTo>
                <a:cubicBezTo>
                  <a:pt x="610" y="60"/>
                  <a:pt x="610" y="60"/>
                  <a:pt x="610" y="60"/>
                </a:cubicBezTo>
                <a:cubicBezTo>
                  <a:pt x="610" y="60"/>
                  <a:pt x="610" y="60"/>
                  <a:pt x="610" y="60"/>
                </a:cubicBezTo>
                <a:cubicBezTo>
                  <a:pt x="610" y="60"/>
                  <a:pt x="610" y="60"/>
                  <a:pt x="610" y="60"/>
                </a:cubicBezTo>
                <a:cubicBezTo>
                  <a:pt x="610" y="60"/>
                  <a:pt x="609" y="60"/>
                  <a:pt x="609" y="61"/>
                </a:cubicBezTo>
                <a:cubicBezTo>
                  <a:pt x="609" y="61"/>
                  <a:pt x="609" y="61"/>
                  <a:pt x="609" y="61"/>
                </a:cubicBezTo>
                <a:cubicBezTo>
                  <a:pt x="608" y="61"/>
                  <a:pt x="608" y="61"/>
                  <a:pt x="608" y="61"/>
                </a:cubicBezTo>
                <a:cubicBezTo>
                  <a:pt x="608" y="61"/>
                  <a:pt x="608" y="61"/>
                  <a:pt x="608" y="61"/>
                </a:cubicBezTo>
                <a:cubicBezTo>
                  <a:pt x="608" y="61"/>
                  <a:pt x="608" y="61"/>
                  <a:pt x="608" y="61"/>
                </a:cubicBezTo>
                <a:cubicBezTo>
                  <a:pt x="608" y="61"/>
                  <a:pt x="608" y="61"/>
                  <a:pt x="608" y="61"/>
                </a:cubicBezTo>
                <a:cubicBezTo>
                  <a:pt x="608" y="61"/>
                  <a:pt x="608" y="61"/>
                  <a:pt x="608" y="61"/>
                </a:cubicBezTo>
                <a:cubicBezTo>
                  <a:pt x="608" y="62"/>
                  <a:pt x="608" y="62"/>
                  <a:pt x="608" y="62"/>
                </a:cubicBezTo>
                <a:cubicBezTo>
                  <a:pt x="608" y="62"/>
                  <a:pt x="608" y="62"/>
                  <a:pt x="608" y="62"/>
                </a:cubicBezTo>
                <a:cubicBezTo>
                  <a:pt x="608" y="62"/>
                  <a:pt x="608" y="62"/>
                  <a:pt x="608" y="62"/>
                </a:cubicBezTo>
                <a:cubicBezTo>
                  <a:pt x="608" y="62"/>
                  <a:pt x="608" y="62"/>
                  <a:pt x="608" y="62"/>
                </a:cubicBezTo>
                <a:cubicBezTo>
                  <a:pt x="608" y="62"/>
                  <a:pt x="608" y="62"/>
                  <a:pt x="608" y="62"/>
                </a:cubicBezTo>
                <a:cubicBezTo>
                  <a:pt x="608" y="62"/>
                  <a:pt x="608" y="62"/>
                  <a:pt x="608" y="62"/>
                </a:cubicBezTo>
                <a:cubicBezTo>
                  <a:pt x="608" y="62"/>
                  <a:pt x="608" y="62"/>
                  <a:pt x="608" y="62"/>
                </a:cubicBezTo>
                <a:cubicBezTo>
                  <a:pt x="607" y="63"/>
                  <a:pt x="606" y="63"/>
                  <a:pt x="605" y="64"/>
                </a:cubicBezTo>
                <a:cubicBezTo>
                  <a:pt x="605" y="64"/>
                  <a:pt x="605" y="64"/>
                  <a:pt x="605" y="64"/>
                </a:cubicBezTo>
                <a:cubicBezTo>
                  <a:pt x="605" y="64"/>
                  <a:pt x="605" y="64"/>
                  <a:pt x="605" y="64"/>
                </a:cubicBezTo>
                <a:cubicBezTo>
                  <a:pt x="606" y="65"/>
                  <a:pt x="606" y="65"/>
                  <a:pt x="606" y="65"/>
                </a:cubicBezTo>
                <a:cubicBezTo>
                  <a:pt x="607" y="66"/>
                  <a:pt x="607" y="66"/>
                  <a:pt x="607" y="66"/>
                </a:cubicBezTo>
                <a:cubicBezTo>
                  <a:pt x="607" y="66"/>
                  <a:pt x="607" y="66"/>
                  <a:pt x="607" y="66"/>
                </a:cubicBezTo>
                <a:cubicBezTo>
                  <a:pt x="607" y="66"/>
                  <a:pt x="607" y="66"/>
                  <a:pt x="607" y="66"/>
                </a:cubicBezTo>
                <a:cubicBezTo>
                  <a:pt x="607" y="66"/>
                  <a:pt x="607" y="66"/>
                  <a:pt x="607" y="66"/>
                </a:cubicBezTo>
                <a:cubicBezTo>
                  <a:pt x="606" y="66"/>
                  <a:pt x="606" y="66"/>
                  <a:pt x="606" y="66"/>
                </a:cubicBezTo>
                <a:cubicBezTo>
                  <a:pt x="606" y="66"/>
                  <a:pt x="606" y="66"/>
                  <a:pt x="606" y="66"/>
                </a:cubicBezTo>
                <a:cubicBezTo>
                  <a:pt x="605" y="66"/>
                  <a:pt x="605" y="66"/>
                  <a:pt x="605" y="66"/>
                </a:cubicBezTo>
                <a:cubicBezTo>
                  <a:pt x="605" y="66"/>
                  <a:pt x="605" y="66"/>
                  <a:pt x="605" y="66"/>
                </a:cubicBezTo>
                <a:cubicBezTo>
                  <a:pt x="604" y="66"/>
                  <a:pt x="604" y="66"/>
                  <a:pt x="604" y="66"/>
                </a:cubicBezTo>
                <a:cubicBezTo>
                  <a:pt x="604" y="66"/>
                  <a:pt x="604" y="66"/>
                  <a:pt x="604" y="66"/>
                </a:cubicBezTo>
                <a:cubicBezTo>
                  <a:pt x="604" y="65"/>
                  <a:pt x="604" y="65"/>
                  <a:pt x="604" y="65"/>
                </a:cubicBezTo>
                <a:cubicBezTo>
                  <a:pt x="604" y="65"/>
                  <a:pt x="604" y="65"/>
                  <a:pt x="604" y="65"/>
                </a:cubicBezTo>
                <a:cubicBezTo>
                  <a:pt x="604" y="65"/>
                  <a:pt x="604" y="65"/>
                  <a:pt x="604" y="65"/>
                </a:cubicBezTo>
                <a:cubicBezTo>
                  <a:pt x="604" y="65"/>
                  <a:pt x="604" y="65"/>
                  <a:pt x="604" y="65"/>
                </a:cubicBezTo>
                <a:cubicBezTo>
                  <a:pt x="603" y="65"/>
                  <a:pt x="605" y="64"/>
                  <a:pt x="603" y="64"/>
                </a:cubicBezTo>
                <a:cubicBezTo>
                  <a:pt x="603" y="64"/>
                  <a:pt x="603" y="64"/>
                  <a:pt x="603" y="64"/>
                </a:cubicBezTo>
                <a:cubicBezTo>
                  <a:pt x="603" y="64"/>
                  <a:pt x="603" y="64"/>
                  <a:pt x="603" y="64"/>
                </a:cubicBezTo>
                <a:cubicBezTo>
                  <a:pt x="599" y="64"/>
                  <a:pt x="602" y="64"/>
                  <a:pt x="598" y="62"/>
                </a:cubicBezTo>
                <a:cubicBezTo>
                  <a:pt x="598" y="62"/>
                  <a:pt x="598" y="62"/>
                  <a:pt x="598" y="62"/>
                </a:cubicBezTo>
                <a:cubicBezTo>
                  <a:pt x="598" y="62"/>
                  <a:pt x="598" y="62"/>
                  <a:pt x="598" y="62"/>
                </a:cubicBezTo>
                <a:cubicBezTo>
                  <a:pt x="598" y="62"/>
                  <a:pt x="598" y="62"/>
                  <a:pt x="598" y="62"/>
                </a:cubicBezTo>
                <a:cubicBezTo>
                  <a:pt x="598" y="62"/>
                  <a:pt x="598" y="62"/>
                  <a:pt x="598" y="62"/>
                </a:cubicBezTo>
                <a:cubicBezTo>
                  <a:pt x="598" y="62"/>
                  <a:pt x="598" y="62"/>
                  <a:pt x="598" y="62"/>
                </a:cubicBezTo>
                <a:cubicBezTo>
                  <a:pt x="598" y="62"/>
                  <a:pt x="598" y="62"/>
                  <a:pt x="598" y="62"/>
                </a:cubicBezTo>
                <a:cubicBezTo>
                  <a:pt x="598" y="62"/>
                  <a:pt x="598" y="62"/>
                  <a:pt x="598" y="62"/>
                </a:cubicBezTo>
                <a:cubicBezTo>
                  <a:pt x="598" y="63"/>
                  <a:pt x="598" y="63"/>
                  <a:pt x="598" y="63"/>
                </a:cubicBezTo>
                <a:cubicBezTo>
                  <a:pt x="598" y="63"/>
                  <a:pt x="598" y="63"/>
                  <a:pt x="598" y="63"/>
                </a:cubicBezTo>
                <a:cubicBezTo>
                  <a:pt x="598" y="63"/>
                  <a:pt x="598" y="63"/>
                  <a:pt x="598" y="63"/>
                </a:cubicBezTo>
                <a:cubicBezTo>
                  <a:pt x="597" y="63"/>
                  <a:pt x="597" y="63"/>
                  <a:pt x="597" y="63"/>
                </a:cubicBezTo>
                <a:cubicBezTo>
                  <a:pt x="596" y="64"/>
                  <a:pt x="596" y="64"/>
                  <a:pt x="596" y="64"/>
                </a:cubicBezTo>
                <a:cubicBezTo>
                  <a:pt x="596" y="64"/>
                  <a:pt x="596" y="64"/>
                  <a:pt x="596" y="64"/>
                </a:cubicBezTo>
                <a:cubicBezTo>
                  <a:pt x="596" y="64"/>
                  <a:pt x="596" y="64"/>
                  <a:pt x="596" y="64"/>
                </a:cubicBezTo>
                <a:cubicBezTo>
                  <a:pt x="596" y="64"/>
                  <a:pt x="596" y="64"/>
                  <a:pt x="596" y="64"/>
                </a:cubicBezTo>
                <a:cubicBezTo>
                  <a:pt x="596" y="64"/>
                  <a:pt x="596" y="64"/>
                  <a:pt x="596" y="64"/>
                </a:cubicBezTo>
                <a:cubicBezTo>
                  <a:pt x="596" y="64"/>
                  <a:pt x="596" y="64"/>
                  <a:pt x="596" y="64"/>
                </a:cubicBezTo>
                <a:cubicBezTo>
                  <a:pt x="596" y="64"/>
                  <a:pt x="596" y="64"/>
                  <a:pt x="596" y="64"/>
                </a:cubicBezTo>
                <a:cubicBezTo>
                  <a:pt x="596" y="65"/>
                  <a:pt x="596" y="65"/>
                  <a:pt x="596" y="65"/>
                </a:cubicBezTo>
                <a:cubicBezTo>
                  <a:pt x="596" y="65"/>
                  <a:pt x="596" y="65"/>
                  <a:pt x="596" y="65"/>
                </a:cubicBezTo>
                <a:cubicBezTo>
                  <a:pt x="596" y="65"/>
                  <a:pt x="596" y="65"/>
                  <a:pt x="596" y="65"/>
                </a:cubicBezTo>
                <a:cubicBezTo>
                  <a:pt x="595" y="65"/>
                  <a:pt x="595" y="65"/>
                  <a:pt x="595" y="65"/>
                </a:cubicBezTo>
                <a:cubicBezTo>
                  <a:pt x="595" y="65"/>
                  <a:pt x="595" y="65"/>
                  <a:pt x="595" y="65"/>
                </a:cubicBezTo>
                <a:cubicBezTo>
                  <a:pt x="595" y="65"/>
                  <a:pt x="595" y="65"/>
                  <a:pt x="595" y="65"/>
                </a:cubicBezTo>
                <a:cubicBezTo>
                  <a:pt x="595" y="65"/>
                  <a:pt x="595" y="65"/>
                  <a:pt x="595" y="65"/>
                </a:cubicBezTo>
                <a:cubicBezTo>
                  <a:pt x="595" y="65"/>
                  <a:pt x="595" y="65"/>
                  <a:pt x="595" y="65"/>
                </a:cubicBezTo>
                <a:cubicBezTo>
                  <a:pt x="595" y="65"/>
                  <a:pt x="595" y="65"/>
                  <a:pt x="595" y="65"/>
                </a:cubicBezTo>
                <a:cubicBezTo>
                  <a:pt x="595" y="65"/>
                  <a:pt x="595" y="65"/>
                  <a:pt x="595" y="65"/>
                </a:cubicBezTo>
                <a:cubicBezTo>
                  <a:pt x="595" y="65"/>
                  <a:pt x="595" y="65"/>
                  <a:pt x="595" y="65"/>
                </a:cubicBezTo>
                <a:cubicBezTo>
                  <a:pt x="595" y="65"/>
                  <a:pt x="595" y="65"/>
                  <a:pt x="595" y="65"/>
                </a:cubicBezTo>
                <a:cubicBezTo>
                  <a:pt x="596" y="65"/>
                  <a:pt x="596" y="66"/>
                  <a:pt x="597" y="66"/>
                </a:cubicBezTo>
                <a:cubicBezTo>
                  <a:pt x="597" y="66"/>
                  <a:pt x="597" y="66"/>
                  <a:pt x="597" y="66"/>
                </a:cubicBezTo>
                <a:cubicBezTo>
                  <a:pt x="598" y="66"/>
                  <a:pt x="598" y="66"/>
                  <a:pt x="598" y="66"/>
                </a:cubicBezTo>
                <a:cubicBezTo>
                  <a:pt x="598" y="66"/>
                  <a:pt x="598" y="66"/>
                  <a:pt x="599" y="66"/>
                </a:cubicBezTo>
                <a:cubicBezTo>
                  <a:pt x="599" y="66"/>
                  <a:pt x="599" y="66"/>
                  <a:pt x="599" y="66"/>
                </a:cubicBezTo>
                <a:cubicBezTo>
                  <a:pt x="600" y="66"/>
                  <a:pt x="600" y="66"/>
                  <a:pt x="600" y="66"/>
                </a:cubicBezTo>
                <a:cubicBezTo>
                  <a:pt x="600" y="66"/>
                  <a:pt x="600" y="66"/>
                  <a:pt x="600" y="66"/>
                </a:cubicBezTo>
                <a:cubicBezTo>
                  <a:pt x="600" y="66"/>
                  <a:pt x="600" y="66"/>
                  <a:pt x="600" y="66"/>
                </a:cubicBezTo>
                <a:cubicBezTo>
                  <a:pt x="601" y="66"/>
                  <a:pt x="601" y="67"/>
                  <a:pt x="601" y="67"/>
                </a:cubicBezTo>
                <a:cubicBezTo>
                  <a:pt x="602" y="67"/>
                  <a:pt x="602" y="67"/>
                  <a:pt x="602" y="67"/>
                </a:cubicBezTo>
                <a:cubicBezTo>
                  <a:pt x="602" y="67"/>
                  <a:pt x="602" y="67"/>
                  <a:pt x="602" y="67"/>
                </a:cubicBezTo>
                <a:cubicBezTo>
                  <a:pt x="603" y="67"/>
                  <a:pt x="603" y="67"/>
                  <a:pt x="604" y="67"/>
                </a:cubicBezTo>
                <a:cubicBezTo>
                  <a:pt x="604" y="67"/>
                  <a:pt x="604" y="67"/>
                  <a:pt x="604" y="67"/>
                </a:cubicBezTo>
                <a:cubicBezTo>
                  <a:pt x="605" y="67"/>
                  <a:pt x="605" y="67"/>
                  <a:pt x="605" y="67"/>
                </a:cubicBezTo>
                <a:cubicBezTo>
                  <a:pt x="605" y="67"/>
                  <a:pt x="605" y="67"/>
                  <a:pt x="605" y="67"/>
                </a:cubicBezTo>
                <a:cubicBezTo>
                  <a:pt x="605" y="67"/>
                  <a:pt x="605" y="67"/>
                  <a:pt x="605" y="67"/>
                </a:cubicBezTo>
                <a:cubicBezTo>
                  <a:pt x="604" y="67"/>
                  <a:pt x="604" y="67"/>
                  <a:pt x="604" y="67"/>
                </a:cubicBezTo>
                <a:cubicBezTo>
                  <a:pt x="604" y="68"/>
                  <a:pt x="604" y="68"/>
                  <a:pt x="604" y="68"/>
                </a:cubicBezTo>
                <a:cubicBezTo>
                  <a:pt x="603" y="68"/>
                  <a:pt x="603" y="68"/>
                  <a:pt x="603" y="68"/>
                </a:cubicBezTo>
                <a:cubicBezTo>
                  <a:pt x="603" y="68"/>
                  <a:pt x="603" y="68"/>
                  <a:pt x="603" y="68"/>
                </a:cubicBezTo>
                <a:cubicBezTo>
                  <a:pt x="603" y="68"/>
                  <a:pt x="603" y="68"/>
                  <a:pt x="603" y="68"/>
                </a:cubicBezTo>
                <a:cubicBezTo>
                  <a:pt x="603" y="68"/>
                  <a:pt x="603" y="68"/>
                  <a:pt x="603" y="68"/>
                </a:cubicBezTo>
                <a:cubicBezTo>
                  <a:pt x="603" y="68"/>
                  <a:pt x="603" y="68"/>
                  <a:pt x="603" y="68"/>
                </a:cubicBezTo>
                <a:cubicBezTo>
                  <a:pt x="603" y="68"/>
                  <a:pt x="603" y="68"/>
                  <a:pt x="603" y="68"/>
                </a:cubicBezTo>
                <a:cubicBezTo>
                  <a:pt x="603" y="68"/>
                  <a:pt x="603" y="68"/>
                  <a:pt x="603" y="68"/>
                </a:cubicBezTo>
                <a:cubicBezTo>
                  <a:pt x="604" y="68"/>
                  <a:pt x="604" y="68"/>
                  <a:pt x="604" y="68"/>
                </a:cubicBezTo>
                <a:cubicBezTo>
                  <a:pt x="604" y="68"/>
                  <a:pt x="604" y="68"/>
                  <a:pt x="604" y="68"/>
                </a:cubicBezTo>
                <a:cubicBezTo>
                  <a:pt x="604" y="68"/>
                  <a:pt x="604" y="68"/>
                  <a:pt x="604" y="68"/>
                </a:cubicBezTo>
                <a:cubicBezTo>
                  <a:pt x="604" y="69"/>
                  <a:pt x="604" y="69"/>
                  <a:pt x="604" y="69"/>
                </a:cubicBezTo>
                <a:cubicBezTo>
                  <a:pt x="604" y="69"/>
                  <a:pt x="604" y="69"/>
                  <a:pt x="604" y="69"/>
                </a:cubicBezTo>
                <a:cubicBezTo>
                  <a:pt x="604" y="69"/>
                  <a:pt x="604" y="69"/>
                  <a:pt x="604" y="69"/>
                </a:cubicBezTo>
                <a:cubicBezTo>
                  <a:pt x="604" y="69"/>
                  <a:pt x="604" y="69"/>
                  <a:pt x="604" y="69"/>
                </a:cubicBezTo>
                <a:cubicBezTo>
                  <a:pt x="605" y="69"/>
                  <a:pt x="605" y="69"/>
                  <a:pt x="605" y="69"/>
                </a:cubicBezTo>
                <a:cubicBezTo>
                  <a:pt x="605" y="69"/>
                  <a:pt x="605" y="69"/>
                  <a:pt x="605" y="69"/>
                </a:cubicBezTo>
                <a:cubicBezTo>
                  <a:pt x="605" y="69"/>
                  <a:pt x="605" y="69"/>
                  <a:pt x="605" y="69"/>
                </a:cubicBezTo>
                <a:cubicBezTo>
                  <a:pt x="605" y="69"/>
                  <a:pt x="605" y="69"/>
                  <a:pt x="605" y="69"/>
                </a:cubicBezTo>
                <a:cubicBezTo>
                  <a:pt x="605" y="69"/>
                  <a:pt x="605" y="69"/>
                  <a:pt x="605" y="69"/>
                </a:cubicBezTo>
                <a:cubicBezTo>
                  <a:pt x="605" y="69"/>
                  <a:pt x="605" y="69"/>
                  <a:pt x="605" y="69"/>
                </a:cubicBezTo>
                <a:cubicBezTo>
                  <a:pt x="605" y="70"/>
                  <a:pt x="605" y="70"/>
                  <a:pt x="605" y="70"/>
                </a:cubicBezTo>
                <a:cubicBezTo>
                  <a:pt x="605" y="70"/>
                  <a:pt x="605" y="70"/>
                  <a:pt x="605" y="70"/>
                </a:cubicBezTo>
                <a:cubicBezTo>
                  <a:pt x="606" y="70"/>
                  <a:pt x="606" y="70"/>
                  <a:pt x="606" y="70"/>
                </a:cubicBezTo>
                <a:cubicBezTo>
                  <a:pt x="606" y="70"/>
                  <a:pt x="606" y="70"/>
                  <a:pt x="606" y="70"/>
                </a:cubicBezTo>
                <a:cubicBezTo>
                  <a:pt x="606" y="70"/>
                  <a:pt x="606" y="70"/>
                  <a:pt x="606" y="70"/>
                </a:cubicBezTo>
                <a:cubicBezTo>
                  <a:pt x="607" y="70"/>
                  <a:pt x="607" y="70"/>
                  <a:pt x="607" y="70"/>
                </a:cubicBezTo>
                <a:cubicBezTo>
                  <a:pt x="607" y="70"/>
                  <a:pt x="607" y="70"/>
                  <a:pt x="607" y="70"/>
                </a:cubicBezTo>
                <a:cubicBezTo>
                  <a:pt x="608" y="69"/>
                  <a:pt x="608" y="69"/>
                  <a:pt x="608" y="69"/>
                </a:cubicBezTo>
                <a:cubicBezTo>
                  <a:pt x="608" y="69"/>
                  <a:pt x="608" y="69"/>
                  <a:pt x="608" y="69"/>
                </a:cubicBezTo>
                <a:cubicBezTo>
                  <a:pt x="608" y="69"/>
                  <a:pt x="608" y="69"/>
                  <a:pt x="608" y="69"/>
                </a:cubicBezTo>
                <a:cubicBezTo>
                  <a:pt x="608" y="70"/>
                  <a:pt x="608" y="70"/>
                  <a:pt x="608" y="70"/>
                </a:cubicBezTo>
                <a:cubicBezTo>
                  <a:pt x="608" y="70"/>
                  <a:pt x="608" y="70"/>
                  <a:pt x="608" y="70"/>
                </a:cubicBezTo>
                <a:cubicBezTo>
                  <a:pt x="608" y="70"/>
                  <a:pt x="608" y="70"/>
                  <a:pt x="608" y="70"/>
                </a:cubicBezTo>
                <a:cubicBezTo>
                  <a:pt x="608" y="70"/>
                  <a:pt x="608" y="70"/>
                  <a:pt x="608" y="70"/>
                </a:cubicBezTo>
                <a:cubicBezTo>
                  <a:pt x="608" y="70"/>
                  <a:pt x="608" y="70"/>
                  <a:pt x="608" y="70"/>
                </a:cubicBezTo>
                <a:cubicBezTo>
                  <a:pt x="608" y="70"/>
                  <a:pt x="608" y="70"/>
                  <a:pt x="608" y="70"/>
                </a:cubicBezTo>
                <a:cubicBezTo>
                  <a:pt x="608" y="70"/>
                  <a:pt x="608" y="70"/>
                  <a:pt x="608" y="70"/>
                </a:cubicBezTo>
                <a:cubicBezTo>
                  <a:pt x="608" y="71"/>
                  <a:pt x="608" y="71"/>
                  <a:pt x="608" y="71"/>
                </a:cubicBezTo>
                <a:cubicBezTo>
                  <a:pt x="608" y="71"/>
                  <a:pt x="608" y="71"/>
                  <a:pt x="608" y="71"/>
                </a:cubicBezTo>
                <a:cubicBezTo>
                  <a:pt x="608" y="72"/>
                  <a:pt x="608" y="72"/>
                  <a:pt x="608" y="72"/>
                </a:cubicBezTo>
                <a:cubicBezTo>
                  <a:pt x="608" y="73"/>
                  <a:pt x="608" y="73"/>
                  <a:pt x="608" y="73"/>
                </a:cubicBezTo>
                <a:cubicBezTo>
                  <a:pt x="607" y="73"/>
                  <a:pt x="607" y="73"/>
                  <a:pt x="607" y="73"/>
                </a:cubicBezTo>
                <a:cubicBezTo>
                  <a:pt x="607" y="73"/>
                  <a:pt x="607" y="73"/>
                  <a:pt x="607" y="73"/>
                </a:cubicBezTo>
                <a:cubicBezTo>
                  <a:pt x="607" y="73"/>
                  <a:pt x="607" y="73"/>
                  <a:pt x="607" y="73"/>
                </a:cubicBezTo>
                <a:cubicBezTo>
                  <a:pt x="607" y="72"/>
                  <a:pt x="607" y="72"/>
                  <a:pt x="607" y="72"/>
                </a:cubicBezTo>
                <a:cubicBezTo>
                  <a:pt x="607" y="72"/>
                  <a:pt x="607" y="72"/>
                  <a:pt x="607" y="72"/>
                </a:cubicBezTo>
                <a:cubicBezTo>
                  <a:pt x="607" y="72"/>
                  <a:pt x="607" y="72"/>
                  <a:pt x="607" y="72"/>
                </a:cubicBezTo>
                <a:cubicBezTo>
                  <a:pt x="607" y="72"/>
                  <a:pt x="607" y="72"/>
                  <a:pt x="607" y="72"/>
                </a:cubicBezTo>
                <a:cubicBezTo>
                  <a:pt x="607" y="72"/>
                  <a:pt x="606" y="72"/>
                  <a:pt x="605" y="72"/>
                </a:cubicBezTo>
                <a:cubicBezTo>
                  <a:pt x="605" y="72"/>
                  <a:pt x="605" y="72"/>
                  <a:pt x="605" y="72"/>
                </a:cubicBezTo>
                <a:cubicBezTo>
                  <a:pt x="605" y="72"/>
                  <a:pt x="605" y="72"/>
                  <a:pt x="605" y="72"/>
                </a:cubicBezTo>
                <a:cubicBezTo>
                  <a:pt x="605" y="72"/>
                  <a:pt x="605" y="72"/>
                  <a:pt x="605" y="72"/>
                </a:cubicBezTo>
                <a:cubicBezTo>
                  <a:pt x="605" y="72"/>
                  <a:pt x="605" y="72"/>
                  <a:pt x="605" y="72"/>
                </a:cubicBezTo>
                <a:cubicBezTo>
                  <a:pt x="605" y="72"/>
                  <a:pt x="605" y="72"/>
                  <a:pt x="605" y="72"/>
                </a:cubicBezTo>
                <a:cubicBezTo>
                  <a:pt x="606" y="72"/>
                  <a:pt x="606" y="72"/>
                  <a:pt x="606" y="72"/>
                </a:cubicBezTo>
                <a:cubicBezTo>
                  <a:pt x="606" y="71"/>
                  <a:pt x="606" y="71"/>
                  <a:pt x="606" y="71"/>
                </a:cubicBezTo>
                <a:cubicBezTo>
                  <a:pt x="606" y="71"/>
                  <a:pt x="606" y="71"/>
                  <a:pt x="606" y="71"/>
                </a:cubicBezTo>
                <a:cubicBezTo>
                  <a:pt x="606" y="71"/>
                  <a:pt x="606" y="71"/>
                  <a:pt x="606" y="71"/>
                </a:cubicBezTo>
                <a:cubicBezTo>
                  <a:pt x="606" y="71"/>
                  <a:pt x="606" y="71"/>
                  <a:pt x="606" y="71"/>
                </a:cubicBezTo>
                <a:cubicBezTo>
                  <a:pt x="606" y="71"/>
                  <a:pt x="606" y="71"/>
                  <a:pt x="606" y="71"/>
                </a:cubicBezTo>
                <a:cubicBezTo>
                  <a:pt x="607" y="71"/>
                  <a:pt x="607" y="71"/>
                  <a:pt x="607" y="71"/>
                </a:cubicBezTo>
                <a:cubicBezTo>
                  <a:pt x="607" y="71"/>
                  <a:pt x="607" y="71"/>
                  <a:pt x="607" y="71"/>
                </a:cubicBezTo>
                <a:cubicBezTo>
                  <a:pt x="607" y="71"/>
                  <a:pt x="607" y="71"/>
                  <a:pt x="607" y="71"/>
                </a:cubicBezTo>
                <a:cubicBezTo>
                  <a:pt x="607" y="71"/>
                  <a:pt x="607" y="71"/>
                  <a:pt x="607" y="71"/>
                </a:cubicBezTo>
                <a:cubicBezTo>
                  <a:pt x="607" y="71"/>
                  <a:pt x="607" y="71"/>
                  <a:pt x="607" y="71"/>
                </a:cubicBezTo>
                <a:cubicBezTo>
                  <a:pt x="607" y="71"/>
                  <a:pt x="607" y="71"/>
                  <a:pt x="607" y="71"/>
                </a:cubicBezTo>
                <a:cubicBezTo>
                  <a:pt x="606" y="71"/>
                  <a:pt x="606" y="71"/>
                  <a:pt x="606" y="71"/>
                </a:cubicBezTo>
                <a:cubicBezTo>
                  <a:pt x="606" y="71"/>
                  <a:pt x="606" y="71"/>
                  <a:pt x="606" y="71"/>
                </a:cubicBezTo>
                <a:cubicBezTo>
                  <a:pt x="605" y="71"/>
                  <a:pt x="605" y="71"/>
                  <a:pt x="605" y="71"/>
                </a:cubicBezTo>
                <a:cubicBezTo>
                  <a:pt x="605" y="70"/>
                  <a:pt x="605" y="70"/>
                  <a:pt x="605" y="70"/>
                </a:cubicBezTo>
                <a:cubicBezTo>
                  <a:pt x="605" y="70"/>
                  <a:pt x="605" y="70"/>
                  <a:pt x="605" y="70"/>
                </a:cubicBezTo>
                <a:cubicBezTo>
                  <a:pt x="605" y="70"/>
                  <a:pt x="605" y="70"/>
                  <a:pt x="605" y="70"/>
                </a:cubicBezTo>
                <a:cubicBezTo>
                  <a:pt x="604" y="70"/>
                  <a:pt x="604" y="70"/>
                  <a:pt x="604" y="70"/>
                </a:cubicBezTo>
                <a:cubicBezTo>
                  <a:pt x="602" y="70"/>
                  <a:pt x="602" y="70"/>
                  <a:pt x="602" y="70"/>
                </a:cubicBezTo>
                <a:cubicBezTo>
                  <a:pt x="600" y="70"/>
                  <a:pt x="600" y="70"/>
                  <a:pt x="600" y="70"/>
                </a:cubicBezTo>
                <a:cubicBezTo>
                  <a:pt x="598" y="70"/>
                  <a:pt x="598" y="70"/>
                  <a:pt x="598" y="70"/>
                </a:cubicBezTo>
                <a:cubicBezTo>
                  <a:pt x="598" y="70"/>
                  <a:pt x="598" y="70"/>
                  <a:pt x="598" y="70"/>
                </a:cubicBezTo>
                <a:cubicBezTo>
                  <a:pt x="598" y="70"/>
                  <a:pt x="598" y="70"/>
                  <a:pt x="598" y="70"/>
                </a:cubicBezTo>
                <a:cubicBezTo>
                  <a:pt x="598" y="70"/>
                  <a:pt x="598" y="70"/>
                  <a:pt x="598" y="70"/>
                </a:cubicBezTo>
                <a:cubicBezTo>
                  <a:pt x="598" y="70"/>
                  <a:pt x="598" y="70"/>
                  <a:pt x="598" y="70"/>
                </a:cubicBezTo>
                <a:cubicBezTo>
                  <a:pt x="597" y="71"/>
                  <a:pt x="597" y="71"/>
                  <a:pt x="597" y="71"/>
                </a:cubicBezTo>
                <a:cubicBezTo>
                  <a:pt x="597" y="71"/>
                  <a:pt x="597" y="71"/>
                  <a:pt x="597" y="71"/>
                </a:cubicBezTo>
                <a:cubicBezTo>
                  <a:pt x="596" y="71"/>
                  <a:pt x="596" y="71"/>
                  <a:pt x="596" y="71"/>
                </a:cubicBezTo>
                <a:cubicBezTo>
                  <a:pt x="596" y="71"/>
                  <a:pt x="596" y="71"/>
                  <a:pt x="596" y="71"/>
                </a:cubicBezTo>
                <a:cubicBezTo>
                  <a:pt x="596" y="71"/>
                  <a:pt x="596" y="71"/>
                  <a:pt x="596" y="71"/>
                </a:cubicBezTo>
                <a:cubicBezTo>
                  <a:pt x="597" y="72"/>
                  <a:pt x="597" y="72"/>
                  <a:pt x="597" y="72"/>
                </a:cubicBezTo>
                <a:cubicBezTo>
                  <a:pt x="597" y="72"/>
                  <a:pt x="597" y="72"/>
                  <a:pt x="597" y="72"/>
                </a:cubicBezTo>
                <a:cubicBezTo>
                  <a:pt x="597" y="72"/>
                  <a:pt x="597" y="72"/>
                  <a:pt x="597" y="72"/>
                </a:cubicBezTo>
                <a:cubicBezTo>
                  <a:pt x="597" y="72"/>
                  <a:pt x="597" y="72"/>
                  <a:pt x="597" y="72"/>
                </a:cubicBezTo>
                <a:cubicBezTo>
                  <a:pt x="597" y="72"/>
                  <a:pt x="597" y="72"/>
                  <a:pt x="597" y="72"/>
                </a:cubicBezTo>
                <a:cubicBezTo>
                  <a:pt x="597" y="72"/>
                  <a:pt x="597" y="72"/>
                  <a:pt x="597" y="72"/>
                </a:cubicBezTo>
                <a:cubicBezTo>
                  <a:pt x="597" y="72"/>
                  <a:pt x="597" y="72"/>
                  <a:pt x="597" y="72"/>
                </a:cubicBezTo>
                <a:cubicBezTo>
                  <a:pt x="597" y="72"/>
                  <a:pt x="597" y="72"/>
                  <a:pt x="597" y="72"/>
                </a:cubicBezTo>
                <a:cubicBezTo>
                  <a:pt x="597" y="73"/>
                  <a:pt x="597" y="73"/>
                  <a:pt x="597" y="73"/>
                </a:cubicBezTo>
                <a:cubicBezTo>
                  <a:pt x="597" y="73"/>
                  <a:pt x="597" y="73"/>
                  <a:pt x="597" y="73"/>
                </a:cubicBezTo>
                <a:cubicBezTo>
                  <a:pt x="597" y="73"/>
                  <a:pt x="597" y="73"/>
                  <a:pt x="597" y="73"/>
                </a:cubicBezTo>
                <a:cubicBezTo>
                  <a:pt x="598" y="73"/>
                  <a:pt x="600" y="73"/>
                  <a:pt x="600" y="73"/>
                </a:cubicBezTo>
                <a:cubicBezTo>
                  <a:pt x="601" y="73"/>
                  <a:pt x="601" y="73"/>
                  <a:pt x="601" y="73"/>
                </a:cubicBezTo>
                <a:cubicBezTo>
                  <a:pt x="601" y="73"/>
                  <a:pt x="601" y="73"/>
                  <a:pt x="601" y="73"/>
                </a:cubicBezTo>
                <a:cubicBezTo>
                  <a:pt x="601" y="73"/>
                  <a:pt x="601" y="73"/>
                  <a:pt x="601" y="73"/>
                </a:cubicBezTo>
                <a:cubicBezTo>
                  <a:pt x="601" y="73"/>
                  <a:pt x="601" y="73"/>
                  <a:pt x="601" y="73"/>
                </a:cubicBezTo>
                <a:cubicBezTo>
                  <a:pt x="603" y="73"/>
                  <a:pt x="603" y="73"/>
                  <a:pt x="604" y="74"/>
                </a:cubicBezTo>
                <a:cubicBezTo>
                  <a:pt x="604" y="74"/>
                  <a:pt x="604" y="74"/>
                  <a:pt x="604" y="74"/>
                </a:cubicBezTo>
                <a:cubicBezTo>
                  <a:pt x="605" y="74"/>
                  <a:pt x="605" y="74"/>
                  <a:pt x="605" y="74"/>
                </a:cubicBezTo>
                <a:cubicBezTo>
                  <a:pt x="605" y="74"/>
                  <a:pt x="605" y="74"/>
                  <a:pt x="605" y="74"/>
                </a:cubicBezTo>
                <a:cubicBezTo>
                  <a:pt x="605" y="74"/>
                  <a:pt x="605" y="74"/>
                  <a:pt x="605" y="74"/>
                </a:cubicBezTo>
                <a:cubicBezTo>
                  <a:pt x="605" y="74"/>
                  <a:pt x="605" y="74"/>
                  <a:pt x="605" y="74"/>
                </a:cubicBezTo>
                <a:cubicBezTo>
                  <a:pt x="605" y="74"/>
                  <a:pt x="605" y="74"/>
                  <a:pt x="605" y="74"/>
                </a:cubicBezTo>
                <a:cubicBezTo>
                  <a:pt x="605" y="74"/>
                  <a:pt x="605" y="74"/>
                  <a:pt x="605" y="74"/>
                </a:cubicBezTo>
                <a:cubicBezTo>
                  <a:pt x="605" y="74"/>
                  <a:pt x="605" y="74"/>
                  <a:pt x="605" y="74"/>
                </a:cubicBezTo>
                <a:cubicBezTo>
                  <a:pt x="605" y="74"/>
                  <a:pt x="605" y="74"/>
                  <a:pt x="605" y="74"/>
                </a:cubicBezTo>
                <a:cubicBezTo>
                  <a:pt x="605" y="75"/>
                  <a:pt x="605" y="75"/>
                  <a:pt x="605" y="75"/>
                </a:cubicBezTo>
                <a:cubicBezTo>
                  <a:pt x="605" y="75"/>
                  <a:pt x="605" y="75"/>
                  <a:pt x="605" y="75"/>
                </a:cubicBezTo>
                <a:cubicBezTo>
                  <a:pt x="605" y="75"/>
                  <a:pt x="605" y="75"/>
                  <a:pt x="605" y="75"/>
                </a:cubicBezTo>
                <a:cubicBezTo>
                  <a:pt x="605" y="75"/>
                  <a:pt x="605" y="75"/>
                  <a:pt x="605" y="75"/>
                </a:cubicBezTo>
                <a:cubicBezTo>
                  <a:pt x="605" y="75"/>
                  <a:pt x="605" y="75"/>
                  <a:pt x="605" y="75"/>
                </a:cubicBezTo>
                <a:cubicBezTo>
                  <a:pt x="605" y="75"/>
                  <a:pt x="605" y="75"/>
                  <a:pt x="605" y="75"/>
                </a:cubicBezTo>
                <a:cubicBezTo>
                  <a:pt x="605" y="75"/>
                  <a:pt x="605" y="75"/>
                  <a:pt x="605" y="75"/>
                </a:cubicBezTo>
                <a:cubicBezTo>
                  <a:pt x="605" y="75"/>
                  <a:pt x="605" y="75"/>
                  <a:pt x="605" y="75"/>
                </a:cubicBezTo>
                <a:cubicBezTo>
                  <a:pt x="605" y="75"/>
                  <a:pt x="605" y="75"/>
                  <a:pt x="605" y="75"/>
                </a:cubicBezTo>
                <a:cubicBezTo>
                  <a:pt x="605" y="76"/>
                  <a:pt x="605" y="76"/>
                  <a:pt x="605" y="76"/>
                </a:cubicBezTo>
                <a:cubicBezTo>
                  <a:pt x="605" y="76"/>
                  <a:pt x="606" y="76"/>
                  <a:pt x="606" y="76"/>
                </a:cubicBezTo>
                <a:cubicBezTo>
                  <a:pt x="606" y="76"/>
                  <a:pt x="606" y="76"/>
                  <a:pt x="606" y="76"/>
                </a:cubicBezTo>
                <a:cubicBezTo>
                  <a:pt x="606" y="76"/>
                  <a:pt x="606" y="76"/>
                  <a:pt x="606" y="76"/>
                </a:cubicBezTo>
                <a:cubicBezTo>
                  <a:pt x="606" y="77"/>
                  <a:pt x="606" y="77"/>
                  <a:pt x="607" y="77"/>
                </a:cubicBezTo>
                <a:cubicBezTo>
                  <a:pt x="607" y="77"/>
                  <a:pt x="607" y="77"/>
                  <a:pt x="607" y="77"/>
                </a:cubicBezTo>
                <a:cubicBezTo>
                  <a:pt x="607" y="77"/>
                  <a:pt x="607" y="77"/>
                  <a:pt x="607" y="77"/>
                </a:cubicBezTo>
                <a:cubicBezTo>
                  <a:pt x="608" y="77"/>
                  <a:pt x="608" y="77"/>
                  <a:pt x="609" y="77"/>
                </a:cubicBezTo>
                <a:cubicBezTo>
                  <a:pt x="610" y="77"/>
                  <a:pt x="610" y="77"/>
                  <a:pt x="610" y="77"/>
                </a:cubicBezTo>
                <a:cubicBezTo>
                  <a:pt x="610" y="78"/>
                  <a:pt x="610" y="78"/>
                  <a:pt x="610" y="78"/>
                </a:cubicBezTo>
                <a:cubicBezTo>
                  <a:pt x="610" y="78"/>
                  <a:pt x="610" y="78"/>
                  <a:pt x="610" y="78"/>
                </a:cubicBezTo>
                <a:cubicBezTo>
                  <a:pt x="608" y="78"/>
                  <a:pt x="608" y="78"/>
                  <a:pt x="608" y="78"/>
                </a:cubicBezTo>
                <a:cubicBezTo>
                  <a:pt x="607" y="77"/>
                  <a:pt x="607" y="77"/>
                  <a:pt x="607" y="77"/>
                </a:cubicBezTo>
                <a:cubicBezTo>
                  <a:pt x="607" y="78"/>
                  <a:pt x="607" y="78"/>
                  <a:pt x="607" y="78"/>
                </a:cubicBezTo>
                <a:cubicBezTo>
                  <a:pt x="607" y="78"/>
                  <a:pt x="607" y="78"/>
                  <a:pt x="607" y="78"/>
                </a:cubicBezTo>
                <a:cubicBezTo>
                  <a:pt x="607" y="78"/>
                  <a:pt x="608" y="78"/>
                  <a:pt x="608" y="79"/>
                </a:cubicBezTo>
                <a:cubicBezTo>
                  <a:pt x="609" y="80"/>
                  <a:pt x="609" y="80"/>
                  <a:pt x="609" y="80"/>
                </a:cubicBezTo>
                <a:cubicBezTo>
                  <a:pt x="608" y="81"/>
                  <a:pt x="608" y="81"/>
                  <a:pt x="608" y="81"/>
                </a:cubicBezTo>
                <a:cubicBezTo>
                  <a:pt x="541" y="87"/>
                  <a:pt x="541" y="87"/>
                  <a:pt x="541" y="87"/>
                </a:cubicBezTo>
                <a:cubicBezTo>
                  <a:pt x="541" y="87"/>
                  <a:pt x="541" y="87"/>
                  <a:pt x="541" y="87"/>
                </a:cubicBezTo>
                <a:cubicBezTo>
                  <a:pt x="541" y="87"/>
                  <a:pt x="541" y="87"/>
                  <a:pt x="541" y="87"/>
                </a:cubicBezTo>
                <a:cubicBezTo>
                  <a:pt x="541" y="87"/>
                  <a:pt x="541" y="87"/>
                  <a:pt x="541" y="88"/>
                </a:cubicBezTo>
                <a:cubicBezTo>
                  <a:pt x="541" y="88"/>
                  <a:pt x="541" y="88"/>
                  <a:pt x="541" y="88"/>
                </a:cubicBezTo>
                <a:cubicBezTo>
                  <a:pt x="541" y="88"/>
                  <a:pt x="541" y="88"/>
                  <a:pt x="541" y="88"/>
                </a:cubicBezTo>
                <a:cubicBezTo>
                  <a:pt x="541" y="88"/>
                  <a:pt x="541" y="88"/>
                  <a:pt x="541" y="88"/>
                </a:cubicBezTo>
                <a:cubicBezTo>
                  <a:pt x="541" y="88"/>
                  <a:pt x="541" y="88"/>
                  <a:pt x="541" y="88"/>
                </a:cubicBezTo>
                <a:cubicBezTo>
                  <a:pt x="542" y="88"/>
                  <a:pt x="542" y="88"/>
                  <a:pt x="542" y="88"/>
                </a:cubicBezTo>
                <a:cubicBezTo>
                  <a:pt x="542" y="88"/>
                  <a:pt x="542" y="88"/>
                  <a:pt x="542" y="88"/>
                </a:cubicBezTo>
                <a:cubicBezTo>
                  <a:pt x="542" y="88"/>
                  <a:pt x="542" y="88"/>
                  <a:pt x="542" y="88"/>
                </a:cubicBezTo>
                <a:cubicBezTo>
                  <a:pt x="542" y="88"/>
                  <a:pt x="542" y="88"/>
                  <a:pt x="542" y="88"/>
                </a:cubicBezTo>
                <a:cubicBezTo>
                  <a:pt x="543" y="88"/>
                  <a:pt x="543" y="88"/>
                  <a:pt x="543" y="88"/>
                </a:cubicBezTo>
                <a:cubicBezTo>
                  <a:pt x="543" y="88"/>
                  <a:pt x="543" y="88"/>
                  <a:pt x="543" y="88"/>
                </a:cubicBezTo>
                <a:cubicBezTo>
                  <a:pt x="543" y="88"/>
                  <a:pt x="543" y="88"/>
                  <a:pt x="543" y="88"/>
                </a:cubicBezTo>
                <a:cubicBezTo>
                  <a:pt x="543" y="88"/>
                  <a:pt x="543" y="88"/>
                  <a:pt x="543" y="88"/>
                </a:cubicBezTo>
                <a:cubicBezTo>
                  <a:pt x="542" y="88"/>
                  <a:pt x="542" y="88"/>
                  <a:pt x="542" y="88"/>
                </a:cubicBezTo>
                <a:cubicBezTo>
                  <a:pt x="542" y="89"/>
                  <a:pt x="542" y="89"/>
                  <a:pt x="541" y="90"/>
                </a:cubicBezTo>
                <a:cubicBezTo>
                  <a:pt x="541" y="90"/>
                  <a:pt x="541" y="90"/>
                  <a:pt x="541" y="90"/>
                </a:cubicBezTo>
                <a:cubicBezTo>
                  <a:pt x="540" y="90"/>
                  <a:pt x="540" y="90"/>
                  <a:pt x="540" y="90"/>
                </a:cubicBezTo>
                <a:cubicBezTo>
                  <a:pt x="539" y="91"/>
                  <a:pt x="540" y="91"/>
                  <a:pt x="539" y="91"/>
                </a:cubicBezTo>
                <a:cubicBezTo>
                  <a:pt x="539" y="91"/>
                  <a:pt x="539" y="91"/>
                  <a:pt x="539" y="91"/>
                </a:cubicBezTo>
                <a:cubicBezTo>
                  <a:pt x="539" y="91"/>
                  <a:pt x="539" y="91"/>
                  <a:pt x="539" y="91"/>
                </a:cubicBezTo>
                <a:cubicBezTo>
                  <a:pt x="539" y="91"/>
                  <a:pt x="539" y="91"/>
                  <a:pt x="539" y="91"/>
                </a:cubicBezTo>
                <a:cubicBezTo>
                  <a:pt x="539" y="91"/>
                  <a:pt x="539" y="91"/>
                  <a:pt x="539" y="91"/>
                </a:cubicBezTo>
                <a:cubicBezTo>
                  <a:pt x="539" y="92"/>
                  <a:pt x="539" y="92"/>
                  <a:pt x="539" y="92"/>
                </a:cubicBezTo>
                <a:cubicBezTo>
                  <a:pt x="539" y="92"/>
                  <a:pt x="539" y="92"/>
                  <a:pt x="539" y="92"/>
                </a:cubicBezTo>
                <a:cubicBezTo>
                  <a:pt x="539" y="92"/>
                  <a:pt x="539" y="92"/>
                  <a:pt x="539" y="92"/>
                </a:cubicBezTo>
                <a:cubicBezTo>
                  <a:pt x="539" y="92"/>
                  <a:pt x="539" y="92"/>
                  <a:pt x="539" y="92"/>
                </a:cubicBezTo>
                <a:cubicBezTo>
                  <a:pt x="539" y="92"/>
                  <a:pt x="539" y="92"/>
                  <a:pt x="539" y="92"/>
                </a:cubicBezTo>
                <a:cubicBezTo>
                  <a:pt x="539" y="92"/>
                  <a:pt x="539" y="92"/>
                  <a:pt x="539" y="92"/>
                </a:cubicBezTo>
                <a:cubicBezTo>
                  <a:pt x="539" y="92"/>
                  <a:pt x="539" y="92"/>
                  <a:pt x="539" y="92"/>
                </a:cubicBezTo>
                <a:cubicBezTo>
                  <a:pt x="540" y="92"/>
                  <a:pt x="540" y="92"/>
                  <a:pt x="540" y="92"/>
                </a:cubicBezTo>
                <a:cubicBezTo>
                  <a:pt x="540" y="92"/>
                  <a:pt x="540" y="92"/>
                  <a:pt x="541" y="92"/>
                </a:cubicBezTo>
                <a:cubicBezTo>
                  <a:pt x="541" y="92"/>
                  <a:pt x="541" y="92"/>
                  <a:pt x="541" y="92"/>
                </a:cubicBezTo>
                <a:cubicBezTo>
                  <a:pt x="541" y="92"/>
                  <a:pt x="541" y="92"/>
                  <a:pt x="541" y="92"/>
                </a:cubicBezTo>
                <a:cubicBezTo>
                  <a:pt x="541" y="93"/>
                  <a:pt x="541" y="93"/>
                  <a:pt x="541" y="93"/>
                </a:cubicBezTo>
                <a:cubicBezTo>
                  <a:pt x="541" y="93"/>
                  <a:pt x="541" y="93"/>
                  <a:pt x="541" y="93"/>
                </a:cubicBezTo>
                <a:cubicBezTo>
                  <a:pt x="541" y="93"/>
                  <a:pt x="541" y="93"/>
                  <a:pt x="541" y="93"/>
                </a:cubicBezTo>
                <a:cubicBezTo>
                  <a:pt x="539" y="94"/>
                  <a:pt x="539" y="94"/>
                  <a:pt x="539" y="94"/>
                </a:cubicBezTo>
                <a:cubicBezTo>
                  <a:pt x="539" y="94"/>
                  <a:pt x="539" y="94"/>
                  <a:pt x="539" y="94"/>
                </a:cubicBezTo>
                <a:cubicBezTo>
                  <a:pt x="539" y="94"/>
                  <a:pt x="539" y="94"/>
                  <a:pt x="539" y="94"/>
                </a:cubicBezTo>
                <a:cubicBezTo>
                  <a:pt x="539" y="94"/>
                  <a:pt x="539" y="94"/>
                  <a:pt x="539" y="94"/>
                </a:cubicBezTo>
                <a:cubicBezTo>
                  <a:pt x="539" y="94"/>
                  <a:pt x="539" y="94"/>
                  <a:pt x="539" y="94"/>
                </a:cubicBezTo>
                <a:cubicBezTo>
                  <a:pt x="539" y="94"/>
                  <a:pt x="539" y="94"/>
                  <a:pt x="539" y="94"/>
                </a:cubicBezTo>
                <a:cubicBezTo>
                  <a:pt x="539" y="94"/>
                  <a:pt x="539" y="94"/>
                  <a:pt x="539" y="94"/>
                </a:cubicBezTo>
                <a:cubicBezTo>
                  <a:pt x="539" y="95"/>
                  <a:pt x="539" y="95"/>
                  <a:pt x="539" y="95"/>
                </a:cubicBezTo>
                <a:cubicBezTo>
                  <a:pt x="540" y="95"/>
                  <a:pt x="540" y="95"/>
                  <a:pt x="540" y="95"/>
                </a:cubicBezTo>
                <a:cubicBezTo>
                  <a:pt x="540" y="95"/>
                  <a:pt x="540" y="95"/>
                  <a:pt x="540" y="95"/>
                </a:cubicBezTo>
                <a:cubicBezTo>
                  <a:pt x="540" y="95"/>
                  <a:pt x="540" y="95"/>
                  <a:pt x="540" y="95"/>
                </a:cubicBezTo>
                <a:cubicBezTo>
                  <a:pt x="540" y="95"/>
                  <a:pt x="540" y="95"/>
                  <a:pt x="540" y="95"/>
                </a:cubicBezTo>
                <a:cubicBezTo>
                  <a:pt x="540" y="95"/>
                  <a:pt x="540" y="95"/>
                  <a:pt x="540" y="95"/>
                </a:cubicBezTo>
                <a:cubicBezTo>
                  <a:pt x="541" y="95"/>
                  <a:pt x="541" y="95"/>
                  <a:pt x="541" y="95"/>
                </a:cubicBezTo>
                <a:cubicBezTo>
                  <a:pt x="541" y="95"/>
                  <a:pt x="541" y="95"/>
                  <a:pt x="541" y="95"/>
                </a:cubicBezTo>
                <a:cubicBezTo>
                  <a:pt x="541" y="95"/>
                  <a:pt x="541" y="95"/>
                  <a:pt x="541" y="95"/>
                </a:cubicBezTo>
                <a:cubicBezTo>
                  <a:pt x="541" y="95"/>
                  <a:pt x="541" y="95"/>
                  <a:pt x="541" y="95"/>
                </a:cubicBezTo>
                <a:cubicBezTo>
                  <a:pt x="541" y="95"/>
                  <a:pt x="541" y="95"/>
                  <a:pt x="541" y="95"/>
                </a:cubicBezTo>
                <a:cubicBezTo>
                  <a:pt x="542" y="95"/>
                  <a:pt x="542" y="95"/>
                  <a:pt x="542" y="95"/>
                </a:cubicBezTo>
                <a:cubicBezTo>
                  <a:pt x="541" y="95"/>
                  <a:pt x="541" y="95"/>
                  <a:pt x="541" y="95"/>
                </a:cubicBezTo>
                <a:cubicBezTo>
                  <a:pt x="541" y="96"/>
                  <a:pt x="541" y="96"/>
                  <a:pt x="541" y="96"/>
                </a:cubicBezTo>
                <a:cubicBezTo>
                  <a:pt x="541" y="96"/>
                  <a:pt x="541" y="96"/>
                  <a:pt x="541" y="96"/>
                </a:cubicBezTo>
                <a:cubicBezTo>
                  <a:pt x="541" y="96"/>
                  <a:pt x="541" y="96"/>
                  <a:pt x="541" y="96"/>
                </a:cubicBezTo>
                <a:cubicBezTo>
                  <a:pt x="541" y="96"/>
                  <a:pt x="541" y="96"/>
                  <a:pt x="541" y="96"/>
                </a:cubicBezTo>
                <a:cubicBezTo>
                  <a:pt x="541" y="96"/>
                  <a:pt x="541" y="96"/>
                  <a:pt x="541" y="96"/>
                </a:cubicBezTo>
                <a:cubicBezTo>
                  <a:pt x="541" y="96"/>
                  <a:pt x="541" y="96"/>
                  <a:pt x="541" y="96"/>
                </a:cubicBezTo>
                <a:cubicBezTo>
                  <a:pt x="541" y="96"/>
                  <a:pt x="541" y="96"/>
                  <a:pt x="541" y="96"/>
                </a:cubicBezTo>
                <a:cubicBezTo>
                  <a:pt x="542" y="97"/>
                  <a:pt x="543" y="96"/>
                  <a:pt x="543" y="97"/>
                </a:cubicBezTo>
                <a:cubicBezTo>
                  <a:pt x="543" y="97"/>
                  <a:pt x="543" y="97"/>
                  <a:pt x="543" y="97"/>
                </a:cubicBezTo>
                <a:cubicBezTo>
                  <a:pt x="543" y="97"/>
                  <a:pt x="543" y="97"/>
                  <a:pt x="543" y="97"/>
                </a:cubicBezTo>
                <a:cubicBezTo>
                  <a:pt x="544" y="98"/>
                  <a:pt x="543" y="98"/>
                  <a:pt x="544" y="98"/>
                </a:cubicBezTo>
                <a:cubicBezTo>
                  <a:pt x="544" y="98"/>
                  <a:pt x="544" y="98"/>
                  <a:pt x="544" y="98"/>
                </a:cubicBezTo>
                <a:cubicBezTo>
                  <a:pt x="544" y="98"/>
                  <a:pt x="544" y="98"/>
                  <a:pt x="544" y="98"/>
                </a:cubicBezTo>
                <a:cubicBezTo>
                  <a:pt x="544" y="98"/>
                  <a:pt x="544" y="98"/>
                  <a:pt x="544" y="98"/>
                </a:cubicBezTo>
                <a:cubicBezTo>
                  <a:pt x="545" y="100"/>
                  <a:pt x="544" y="101"/>
                  <a:pt x="544" y="102"/>
                </a:cubicBezTo>
                <a:cubicBezTo>
                  <a:pt x="544" y="102"/>
                  <a:pt x="544" y="102"/>
                  <a:pt x="544" y="102"/>
                </a:cubicBezTo>
                <a:cubicBezTo>
                  <a:pt x="544" y="102"/>
                  <a:pt x="544" y="102"/>
                  <a:pt x="544" y="102"/>
                </a:cubicBezTo>
                <a:cubicBezTo>
                  <a:pt x="544" y="102"/>
                  <a:pt x="544" y="102"/>
                  <a:pt x="544" y="102"/>
                </a:cubicBezTo>
                <a:cubicBezTo>
                  <a:pt x="543" y="102"/>
                  <a:pt x="543" y="102"/>
                  <a:pt x="543" y="102"/>
                </a:cubicBezTo>
                <a:cubicBezTo>
                  <a:pt x="543" y="102"/>
                  <a:pt x="543" y="102"/>
                  <a:pt x="543" y="102"/>
                </a:cubicBezTo>
                <a:cubicBezTo>
                  <a:pt x="543" y="103"/>
                  <a:pt x="542" y="103"/>
                  <a:pt x="542" y="103"/>
                </a:cubicBezTo>
                <a:cubicBezTo>
                  <a:pt x="542" y="104"/>
                  <a:pt x="542" y="104"/>
                  <a:pt x="542" y="104"/>
                </a:cubicBezTo>
                <a:cubicBezTo>
                  <a:pt x="543" y="104"/>
                  <a:pt x="543" y="104"/>
                  <a:pt x="543" y="104"/>
                </a:cubicBezTo>
                <a:cubicBezTo>
                  <a:pt x="543" y="104"/>
                  <a:pt x="543" y="105"/>
                  <a:pt x="544" y="105"/>
                </a:cubicBezTo>
                <a:cubicBezTo>
                  <a:pt x="544" y="105"/>
                  <a:pt x="544" y="105"/>
                  <a:pt x="544" y="105"/>
                </a:cubicBezTo>
                <a:cubicBezTo>
                  <a:pt x="544" y="105"/>
                  <a:pt x="544" y="105"/>
                  <a:pt x="544" y="105"/>
                </a:cubicBezTo>
                <a:cubicBezTo>
                  <a:pt x="544" y="105"/>
                  <a:pt x="544" y="105"/>
                  <a:pt x="544" y="105"/>
                </a:cubicBezTo>
                <a:cubicBezTo>
                  <a:pt x="544" y="105"/>
                  <a:pt x="544" y="105"/>
                  <a:pt x="544" y="105"/>
                </a:cubicBezTo>
                <a:cubicBezTo>
                  <a:pt x="544" y="105"/>
                  <a:pt x="544" y="105"/>
                  <a:pt x="544" y="105"/>
                </a:cubicBezTo>
                <a:cubicBezTo>
                  <a:pt x="544" y="105"/>
                  <a:pt x="544" y="105"/>
                  <a:pt x="544" y="105"/>
                </a:cubicBezTo>
                <a:cubicBezTo>
                  <a:pt x="544" y="105"/>
                  <a:pt x="544" y="105"/>
                  <a:pt x="544" y="105"/>
                </a:cubicBezTo>
                <a:cubicBezTo>
                  <a:pt x="544" y="106"/>
                  <a:pt x="544" y="106"/>
                  <a:pt x="544" y="106"/>
                </a:cubicBezTo>
                <a:cubicBezTo>
                  <a:pt x="544" y="106"/>
                  <a:pt x="544" y="106"/>
                  <a:pt x="544" y="106"/>
                </a:cubicBezTo>
                <a:cubicBezTo>
                  <a:pt x="544" y="106"/>
                  <a:pt x="544" y="106"/>
                  <a:pt x="544" y="106"/>
                </a:cubicBezTo>
                <a:cubicBezTo>
                  <a:pt x="544" y="106"/>
                  <a:pt x="544" y="106"/>
                  <a:pt x="544" y="106"/>
                </a:cubicBezTo>
                <a:cubicBezTo>
                  <a:pt x="544" y="106"/>
                  <a:pt x="544" y="106"/>
                  <a:pt x="544" y="106"/>
                </a:cubicBezTo>
                <a:cubicBezTo>
                  <a:pt x="544" y="106"/>
                  <a:pt x="544" y="106"/>
                  <a:pt x="544" y="106"/>
                </a:cubicBezTo>
                <a:cubicBezTo>
                  <a:pt x="544" y="106"/>
                  <a:pt x="544" y="106"/>
                  <a:pt x="544" y="106"/>
                </a:cubicBezTo>
                <a:cubicBezTo>
                  <a:pt x="543" y="107"/>
                  <a:pt x="543" y="107"/>
                  <a:pt x="543" y="107"/>
                </a:cubicBezTo>
                <a:cubicBezTo>
                  <a:pt x="543" y="107"/>
                  <a:pt x="543" y="107"/>
                  <a:pt x="543" y="107"/>
                </a:cubicBezTo>
                <a:cubicBezTo>
                  <a:pt x="543" y="107"/>
                  <a:pt x="544" y="107"/>
                  <a:pt x="544" y="108"/>
                </a:cubicBezTo>
                <a:cubicBezTo>
                  <a:pt x="545" y="108"/>
                  <a:pt x="545" y="108"/>
                  <a:pt x="545" y="108"/>
                </a:cubicBezTo>
                <a:cubicBezTo>
                  <a:pt x="545" y="108"/>
                  <a:pt x="545" y="108"/>
                  <a:pt x="545" y="108"/>
                </a:cubicBezTo>
                <a:cubicBezTo>
                  <a:pt x="546" y="109"/>
                  <a:pt x="546" y="109"/>
                  <a:pt x="546" y="109"/>
                </a:cubicBezTo>
                <a:cubicBezTo>
                  <a:pt x="558" y="112"/>
                  <a:pt x="558" y="112"/>
                  <a:pt x="558" y="112"/>
                </a:cubicBezTo>
                <a:cubicBezTo>
                  <a:pt x="559" y="115"/>
                  <a:pt x="559" y="115"/>
                  <a:pt x="559" y="115"/>
                </a:cubicBezTo>
                <a:cubicBezTo>
                  <a:pt x="559" y="115"/>
                  <a:pt x="559" y="115"/>
                  <a:pt x="559" y="115"/>
                </a:cubicBezTo>
                <a:cubicBezTo>
                  <a:pt x="559" y="116"/>
                  <a:pt x="559" y="116"/>
                  <a:pt x="559" y="116"/>
                </a:cubicBezTo>
                <a:cubicBezTo>
                  <a:pt x="559" y="116"/>
                  <a:pt x="559" y="116"/>
                  <a:pt x="559" y="116"/>
                </a:cubicBezTo>
                <a:cubicBezTo>
                  <a:pt x="563" y="120"/>
                  <a:pt x="563" y="120"/>
                  <a:pt x="563" y="120"/>
                </a:cubicBezTo>
                <a:cubicBezTo>
                  <a:pt x="564" y="122"/>
                  <a:pt x="564" y="122"/>
                  <a:pt x="564" y="122"/>
                </a:cubicBezTo>
                <a:cubicBezTo>
                  <a:pt x="560" y="122"/>
                  <a:pt x="560" y="122"/>
                  <a:pt x="560" y="122"/>
                </a:cubicBezTo>
                <a:cubicBezTo>
                  <a:pt x="560" y="122"/>
                  <a:pt x="560" y="122"/>
                  <a:pt x="560" y="122"/>
                </a:cubicBezTo>
                <a:cubicBezTo>
                  <a:pt x="558" y="123"/>
                  <a:pt x="558" y="123"/>
                  <a:pt x="557" y="123"/>
                </a:cubicBezTo>
                <a:cubicBezTo>
                  <a:pt x="556" y="123"/>
                  <a:pt x="556" y="123"/>
                  <a:pt x="556" y="123"/>
                </a:cubicBezTo>
                <a:cubicBezTo>
                  <a:pt x="556" y="123"/>
                  <a:pt x="556" y="123"/>
                  <a:pt x="556" y="123"/>
                </a:cubicBezTo>
                <a:cubicBezTo>
                  <a:pt x="556" y="123"/>
                  <a:pt x="556" y="123"/>
                  <a:pt x="556" y="123"/>
                </a:cubicBezTo>
                <a:cubicBezTo>
                  <a:pt x="556" y="123"/>
                  <a:pt x="555" y="123"/>
                  <a:pt x="555" y="123"/>
                </a:cubicBezTo>
                <a:cubicBezTo>
                  <a:pt x="555" y="123"/>
                  <a:pt x="555" y="123"/>
                  <a:pt x="555" y="123"/>
                </a:cubicBezTo>
                <a:cubicBezTo>
                  <a:pt x="554" y="123"/>
                  <a:pt x="554" y="123"/>
                  <a:pt x="554" y="123"/>
                </a:cubicBezTo>
                <a:cubicBezTo>
                  <a:pt x="554" y="123"/>
                  <a:pt x="554" y="123"/>
                  <a:pt x="554" y="123"/>
                </a:cubicBezTo>
                <a:cubicBezTo>
                  <a:pt x="554" y="123"/>
                  <a:pt x="554" y="123"/>
                  <a:pt x="554" y="123"/>
                </a:cubicBezTo>
                <a:cubicBezTo>
                  <a:pt x="554" y="123"/>
                  <a:pt x="554" y="123"/>
                  <a:pt x="554" y="123"/>
                </a:cubicBezTo>
                <a:cubicBezTo>
                  <a:pt x="554" y="123"/>
                  <a:pt x="554" y="123"/>
                  <a:pt x="554" y="123"/>
                </a:cubicBezTo>
                <a:cubicBezTo>
                  <a:pt x="553" y="122"/>
                  <a:pt x="553" y="122"/>
                  <a:pt x="553" y="122"/>
                </a:cubicBezTo>
                <a:cubicBezTo>
                  <a:pt x="551" y="121"/>
                  <a:pt x="551" y="121"/>
                  <a:pt x="551" y="121"/>
                </a:cubicBezTo>
                <a:cubicBezTo>
                  <a:pt x="547" y="118"/>
                  <a:pt x="547" y="118"/>
                  <a:pt x="547" y="118"/>
                </a:cubicBezTo>
                <a:cubicBezTo>
                  <a:pt x="545" y="116"/>
                  <a:pt x="545" y="116"/>
                  <a:pt x="545" y="116"/>
                </a:cubicBezTo>
                <a:cubicBezTo>
                  <a:pt x="545" y="116"/>
                  <a:pt x="545" y="116"/>
                  <a:pt x="545" y="116"/>
                </a:cubicBezTo>
                <a:cubicBezTo>
                  <a:pt x="545" y="116"/>
                  <a:pt x="545" y="116"/>
                  <a:pt x="545" y="116"/>
                </a:cubicBezTo>
                <a:cubicBezTo>
                  <a:pt x="544" y="116"/>
                  <a:pt x="544" y="116"/>
                  <a:pt x="544" y="116"/>
                </a:cubicBezTo>
                <a:cubicBezTo>
                  <a:pt x="543" y="115"/>
                  <a:pt x="543" y="115"/>
                  <a:pt x="543" y="115"/>
                </a:cubicBezTo>
                <a:cubicBezTo>
                  <a:pt x="536" y="113"/>
                  <a:pt x="536" y="113"/>
                  <a:pt x="536" y="113"/>
                </a:cubicBezTo>
                <a:cubicBezTo>
                  <a:pt x="521" y="110"/>
                  <a:pt x="521" y="110"/>
                  <a:pt x="521" y="110"/>
                </a:cubicBezTo>
                <a:cubicBezTo>
                  <a:pt x="521" y="110"/>
                  <a:pt x="521" y="110"/>
                  <a:pt x="521" y="110"/>
                </a:cubicBezTo>
                <a:cubicBezTo>
                  <a:pt x="510" y="113"/>
                  <a:pt x="510" y="113"/>
                  <a:pt x="510" y="113"/>
                </a:cubicBezTo>
                <a:cubicBezTo>
                  <a:pt x="510" y="114"/>
                  <a:pt x="510" y="114"/>
                  <a:pt x="510" y="114"/>
                </a:cubicBezTo>
                <a:cubicBezTo>
                  <a:pt x="509" y="115"/>
                  <a:pt x="509" y="115"/>
                  <a:pt x="509" y="115"/>
                </a:cubicBezTo>
                <a:cubicBezTo>
                  <a:pt x="509" y="115"/>
                  <a:pt x="509" y="115"/>
                  <a:pt x="509" y="115"/>
                </a:cubicBezTo>
                <a:cubicBezTo>
                  <a:pt x="509" y="115"/>
                  <a:pt x="509" y="115"/>
                  <a:pt x="509" y="115"/>
                </a:cubicBezTo>
                <a:cubicBezTo>
                  <a:pt x="509" y="115"/>
                  <a:pt x="509" y="115"/>
                  <a:pt x="509" y="115"/>
                </a:cubicBezTo>
                <a:cubicBezTo>
                  <a:pt x="509" y="116"/>
                  <a:pt x="509" y="116"/>
                  <a:pt x="509" y="116"/>
                </a:cubicBezTo>
                <a:cubicBezTo>
                  <a:pt x="509" y="116"/>
                  <a:pt x="509" y="116"/>
                  <a:pt x="509" y="116"/>
                </a:cubicBezTo>
                <a:cubicBezTo>
                  <a:pt x="510" y="116"/>
                  <a:pt x="510" y="116"/>
                  <a:pt x="510" y="116"/>
                </a:cubicBezTo>
                <a:cubicBezTo>
                  <a:pt x="510" y="116"/>
                  <a:pt x="510" y="116"/>
                  <a:pt x="510" y="116"/>
                </a:cubicBezTo>
                <a:cubicBezTo>
                  <a:pt x="510" y="116"/>
                  <a:pt x="510" y="116"/>
                  <a:pt x="510" y="116"/>
                </a:cubicBezTo>
                <a:cubicBezTo>
                  <a:pt x="510" y="116"/>
                  <a:pt x="510" y="116"/>
                  <a:pt x="510" y="116"/>
                </a:cubicBezTo>
                <a:cubicBezTo>
                  <a:pt x="510" y="116"/>
                  <a:pt x="510" y="116"/>
                  <a:pt x="510" y="116"/>
                </a:cubicBezTo>
                <a:cubicBezTo>
                  <a:pt x="511" y="116"/>
                  <a:pt x="511" y="116"/>
                  <a:pt x="511" y="116"/>
                </a:cubicBezTo>
                <a:cubicBezTo>
                  <a:pt x="511" y="116"/>
                  <a:pt x="511" y="116"/>
                  <a:pt x="511" y="116"/>
                </a:cubicBezTo>
                <a:cubicBezTo>
                  <a:pt x="511" y="116"/>
                  <a:pt x="512" y="115"/>
                  <a:pt x="512" y="115"/>
                </a:cubicBezTo>
                <a:cubicBezTo>
                  <a:pt x="513" y="115"/>
                  <a:pt x="513" y="115"/>
                  <a:pt x="513" y="115"/>
                </a:cubicBezTo>
                <a:cubicBezTo>
                  <a:pt x="513" y="115"/>
                  <a:pt x="513" y="115"/>
                  <a:pt x="513" y="115"/>
                </a:cubicBezTo>
                <a:cubicBezTo>
                  <a:pt x="513" y="115"/>
                  <a:pt x="513" y="115"/>
                  <a:pt x="513" y="115"/>
                </a:cubicBezTo>
                <a:cubicBezTo>
                  <a:pt x="513" y="115"/>
                  <a:pt x="513" y="115"/>
                  <a:pt x="513" y="115"/>
                </a:cubicBezTo>
                <a:cubicBezTo>
                  <a:pt x="514" y="115"/>
                  <a:pt x="515" y="115"/>
                  <a:pt x="515" y="115"/>
                </a:cubicBezTo>
                <a:cubicBezTo>
                  <a:pt x="515" y="115"/>
                  <a:pt x="515" y="115"/>
                  <a:pt x="515" y="115"/>
                </a:cubicBezTo>
                <a:cubicBezTo>
                  <a:pt x="515" y="115"/>
                  <a:pt x="515" y="115"/>
                  <a:pt x="515" y="115"/>
                </a:cubicBezTo>
                <a:cubicBezTo>
                  <a:pt x="516" y="115"/>
                  <a:pt x="516" y="116"/>
                  <a:pt x="517" y="116"/>
                </a:cubicBezTo>
                <a:cubicBezTo>
                  <a:pt x="517" y="116"/>
                  <a:pt x="517" y="116"/>
                  <a:pt x="517" y="116"/>
                </a:cubicBezTo>
                <a:cubicBezTo>
                  <a:pt x="517" y="117"/>
                  <a:pt x="517" y="117"/>
                  <a:pt x="517" y="117"/>
                </a:cubicBezTo>
                <a:cubicBezTo>
                  <a:pt x="517" y="119"/>
                  <a:pt x="517" y="119"/>
                  <a:pt x="517" y="119"/>
                </a:cubicBezTo>
                <a:cubicBezTo>
                  <a:pt x="517" y="119"/>
                  <a:pt x="517" y="119"/>
                  <a:pt x="517" y="119"/>
                </a:cubicBezTo>
                <a:cubicBezTo>
                  <a:pt x="516" y="120"/>
                  <a:pt x="516" y="120"/>
                  <a:pt x="516" y="120"/>
                </a:cubicBezTo>
                <a:cubicBezTo>
                  <a:pt x="515" y="120"/>
                  <a:pt x="513" y="121"/>
                  <a:pt x="512" y="121"/>
                </a:cubicBezTo>
                <a:cubicBezTo>
                  <a:pt x="512" y="121"/>
                  <a:pt x="512" y="121"/>
                  <a:pt x="512" y="121"/>
                </a:cubicBezTo>
                <a:cubicBezTo>
                  <a:pt x="512" y="121"/>
                  <a:pt x="512" y="121"/>
                  <a:pt x="512" y="121"/>
                </a:cubicBezTo>
                <a:cubicBezTo>
                  <a:pt x="512" y="120"/>
                  <a:pt x="512" y="120"/>
                  <a:pt x="512" y="120"/>
                </a:cubicBezTo>
                <a:cubicBezTo>
                  <a:pt x="511" y="120"/>
                  <a:pt x="510" y="120"/>
                  <a:pt x="510" y="120"/>
                </a:cubicBezTo>
                <a:cubicBezTo>
                  <a:pt x="510" y="120"/>
                  <a:pt x="510" y="120"/>
                  <a:pt x="510" y="120"/>
                </a:cubicBezTo>
                <a:cubicBezTo>
                  <a:pt x="510" y="120"/>
                  <a:pt x="510" y="120"/>
                  <a:pt x="510" y="120"/>
                </a:cubicBezTo>
                <a:cubicBezTo>
                  <a:pt x="509" y="119"/>
                  <a:pt x="509" y="119"/>
                  <a:pt x="508" y="118"/>
                </a:cubicBezTo>
                <a:cubicBezTo>
                  <a:pt x="508" y="118"/>
                  <a:pt x="508" y="118"/>
                  <a:pt x="508" y="118"/>
                </a:cubicBezTo>
                <a:cubicBezTo>
                  <a:pt x="508" y="118"/>
                  <a:pt x="508" y="118"/>
                  <a:pt x="508" y="118"/>
                </a:cubicBezTo>
                <a:cubicBezTo>
                  <a:pt x="506" y="117"/>
                  <a:pt x="506" y="117"/>
                  <a:pt x="506" y="117"/>
                </a:cubicBezTo>
                <a:cubicBezTo>
                  <a:pt x="495" y="119"/>
                  <a:pt x="495" y="119"/>
                  <a:pt x="495" y="119"/>
                </a:cubicBezTo>
                <a:cubicBezTo>
                  <a:pt x="495" y="119"/>
                  <a:pt x="495" y="119"/>
                  <a:pt x="495" y="119"/>
                </a:cubicBezTo>
                <a:cubicBezTo>
                  <a:pt x="495" y="119"/>
                  <a:pt x="495" y="119"/>
                  <a:pt x="495" y="119"/>
                </a:cubicBezTo>
                <a:cubicBezTo>
                  <a:pt x="495" y="119"/>
                  <a:pt x="495" y="119"/>
                  <a:pt x="495" y="119"/>
                </a:cubicBezTo>
                <a:cubicBezTo>
                  <a:pt x="495" y="119"/>
                  <a:pt x="495" y="119"/>
                  <a:pt x="495" y="119"/>
                </a:cubicBezTo>
                <a:cubicBezTo>
                  <a:pt x="495" y="119"/>
                  <a:pt x="495" y="119"/>
                  <a:pt x="495" y="119"/>
                </a:cubicBezTo>
                <a:cubicBezTo>
                  <a:pt x="495" y="119"/>
                  <a:pt x="495" y="119"/>
                  <a:pt x="495" y="119"/>
                </a:cubicBezTo>
                <a:cubicBezTo>
                  <a:pt x="496" y="119"/>
                  <a:pt x="496" y="119"/>
                  <a:pt x="496" y="119"/>
                </a:cubicBezTo>
                <a:cubicBezTo>
                  <a:pt x="496" y="119"/>
                  <a:pt x="496" y="119"/>
                  <a:pt x="496" y="119"/>
                </a:cubicBezTo>
                <a:cubicBezTo>
                  <a:pt x="496" y="120"/>
                  <a:pt x="496" y="120"/>
                  <a:pt x="496" y="120"/>
                </a:cubicBezTo>
                <a:cubicBezTo>
                  <a:pt x="496" y="120"/>
                  <a:pt x="496" y="120"/>
                  <a:pt x="496" y="120"/>
                </a:cubicBezTo>
                <a:cubicBezTo>
                  <a:pt x="496" y="120"/>
                  <a:pt x="496" y="121"/>
                  <a:pt x="496" y="121"/>
                </a:cubicBezTo>
                <a:cubicBezTo>
                  <a:pt x="496" y="121"/>
                  <a:pt x="496" y="121"/>
                  <a:pt x="496" y="121"/>
                </a:cubicBezTo>
                <a:cubicBezTo>
                  <a:pt x="496" y="121"/>
                  <a:pt x="496" y="121"/>
                  <a:pt x="496" y="121"/>
                </a:cubicBezTo>
                <a:cubicBezTo>
                  <a:pt x="497" y="121"/>
                  <a:pt x="497" y="121"/>
                  <a:pt x="497" y="121"/>
                </a:cubicBezTo>
                <a:cubicBezTo>
                  <a:pt x="497" y="121"/>
                  <a:pt x="497" y="121"/>
                  <a:pt x="497" y="121"/>
                </a:cubicBezTo>
                <a:cubicBezTo>
                  <a:pt x="497" y="122"/>
                  <a:pt x="497" y="122"/>
                  <a:pt x="497" y="122"/>
                </a:cubicBezTo>
                <a:cubicBezTo>
                  <a:pt x="497" y="123"/>
                  <a:pt x="497" y="123"/>
                  <a:pt x="497" y="123"/>
                </a:cubicBezTo>
                <a:cubicBezTo>
                  <a:pt x="497" y="123"/>
                  <a:pt x="497" y="123"/>
                  <a:pt x="497" y="123"/>
                </a:cubicBezTo>
                <a:cubicBezTo>
                  <a:pt x="498" y="123"/>
                  <a:pt x="497" y="125"/>
                  <a:pt x="498" y="125"/>
                </a:cubicBezTo>
                <a:cubicBezTo>
                  <a:pt x="498" y="125"/>
                  <a:pt x="498" y="125"/>
                  <a:pt x="498" y="125"/>
                </a:cubicBezTo>
                <a:cubicBezTo>
                  <a:pt x="499" y="126"/>
                  <a:pt x="499" y="126"/>
                  <a:pt x="499" y="126"/>
                </a:cubicBezTo>
                <a:cubicBezTo>
                  <a:pt x="499" y="126"/>
                  <a:pt x="499" y="126"/>
                  <a:pt x="499" y="126"/>
                </a:cubicBezTo>
                <a:cubicBezTo>
                  <a:pt x="499" y="126"/>
                  <a:pt x="499" y="126"/>
                  <a:pt x="499" y="126"/>
                </a:cubicBezTo>
                <a:cubicBezTo>
                  <a:pt x="499" y="126"/>
                  <a:pt x="499" y="126"/>
                  <a:pt x="499" y="126"/>
                </a:cubicBezTo>
                <a:cubicBezTo>
                  <a:pt x="502" y="126"/>
                  <a:pt x="501" y="127"/>
                  <a:pt x="504" y="128"/>
                </a:cubicBezTo>
                <a:cubicBezTo>
                  <a:pt x="504" y="128"/>
                  <a:pt x="504" y="128"/>
                  <a:pt x="504" y="128"/>
                </a:cubicBezTo>
                <a:cubicBezTo>
                  <a:pt x="505" y="128"/>
                  <a:pt x="505" y="128"/>
                  <a:pt x="505" y="128"/>
                </a:cubicBezTo>
                <a:cubicBezTo>
                  <a:pt x="506" y="128"/>
                  <a:pt x="506" y="128"/>
                  <a:pt x="506" y="128"/>
                </a:cubicBezTo>
                <a:cubicBezTo>
                  <a:pt x="507" y="129"/>
                  <a:pt x="507" y="129"/>
                  <a:pt x="507" y="129"/>
                </a:cubicBezTo>
                <a:cubicBezTo>
                  <a:pt x="507" y="129"/>
                  <a:pt x="507" y="129"/>
                  <a:pt x="507" y="129"/>
                </a:cubicBezTo>
                <a:cubicBezTo>
                  <a:pt x="508" y="129"/>
                  <a:pt x="508" y="130"/>
                  <a:pt x="509" y="130"/>
                </a:cubicBezTo>
                <a:cubicBezTo>
                  <a:pt x="509" y="130"/>
                  <a:pt x="509" y="130"/>
                  <a:pt x="509" y="130"/>
                </a:cubicBezTo>
                <a:cubicBezTo>
                  <a:pt x="510" y="130"/>
                  <a:pt x="510" y="130"/>
                  <a:pt x="510" y="130"/>
                </a:cubicBezTo>
                <a:cubicBezTo>
                  <a:pt x="510" y="130"/>
                  <a:pt x="510" y="130"/>
                  <a:pt x="510" y="130"/>
                </a:cubicBezTo>
                <a:cubicBezTo>
                  <a:pt x="510" y="130"/>
                  <a:pt x="510" y="130"/>
                  <a:pt x="510" y="130"/>
                </a:cubicBezTo>
                <a:cubicBezTo>
                  <a:pt x="510" y="130"/>
                  <a:pt x="510" y="130"/>
                  <a:pt x="510" y="130"/>
                </a:cubicBezTo>
                <a:cubicBezTo>
                  <a:pt x="510" y="130"/>
                  <a:pt x="510" y="130"/>
                  <a:pt x="510" y="130"/>
                </a:cubicBezTo>
                <a:cubicBezTo>
                  <a:pt x="510" y="130"/>
                  <a:pt x="510" y="130"/>
                  <a:pt x="510" y="130"/>
                </a:cubicBezTo>
                <a:cubicBezTo>
                  <a:pt x="511" y="130"/>
                  <a:pt x="512" y="131"/>
                  <a:pt x="513" y="131"/>
                </a:cubicBezTo>
                <a:cubicBezTo>
                  <a:pt x="513" y="131"/>
                  <a:pt x="513" y="131"/>
                  <a:pt x="513" y="131"/>
                </a:cubicBezTo>
                <a:cubicBezTo>
                  <a:pt x="513" y="131"/>
                  <a:pt x="513" y="131"/>
                  <a:pt x="513" y="131"/>
                </a:cubicBezTo>
                <a:cubicBezTo>
                  <a:pt x="513" y="130"/>
                  <a:pt x="513" y="130"/>
                  <a:pt x="513" y="130"/>
                </a:cubicBezTo>
                <a:cubicBezTo>
                  <a:pt x="513" y="130"/>
                  <a:pt x="513" y="130"/>
                  <a:pt x="513" y="130"/>
                </a:cubicBezTo>
                <a:cubicBezTo>
                  <a:pt x="514" y="130"/>
                  <a:pt x="514" y="130"/>
                  <a:pt x="514" y="130"/>
                </a:cubicBezTo>
                <a:cubicBezTo>
                  <a:pt x="514" y="130"/>
                  <a:pt x="514" y="130"/>
                  <a:pt x="514" y="130"/>
                </a:cubicBezTo>
                <a:cubicBezTo>
                  <a:pt x="514" y="130"/>
                  <a:pt x="514" y="130"/>
                  <a:pt x="514" y="130"/>
                </a:cubicBezTo>
                <a:cubicBezTo>
                  <a:pt x="514" y="130"/>
                  <a:pt x="514" y="130"/>
                  <a:pt x="514" y="130"/>
                </a:cubicBezTo>
                <a:cubicBezTo>
                  <a:pt x="514" y="130"/>
                  <a:pt x="514" y="130"/>
                  <a:pt x="514" y="130"/>
                </a:cubicBezTo>
                <a:cubicBezTo>
                  <a:pt x="514" y="130"/>
                  <a:pt x="514" y="130"/>
                  <a:pt x="514" y="130"/>
                </a:cubicBezTo>
                <a:cubicBezTo>
                  <a:pt x="515" y="129"/>
                  <a:pt x="515" y="129"/>
                  <a:pt x="515" y="129"/>
                </a:cubicBezTo>
                <a:cubicBezTo>
                  <a:pt x="515" y="129"/>
                  <a:pt x="515" y="129"/>
                  <a:pt x="515" y="129"/>
                </a:cubicBezTo>
                <a:cubicBezTo>
                  <a:pt x="516" y="129"/>
                  <a:pt x="516" y="129"/>
                  <a:pt x="516" y="129"/>
                </a:cubicBezTo>
                <a:cubicBezTo>
                  <a:pt x="516" y="129"/>
                  <a:pt x="516" y="129"/>
                  <a:pt x="516" y="129"/>
                </a:cubicBezTo>
                <a:cubicBezTo>
                  <a:pt x="516" y="129"/>
                  <a:pt x="516" y="129"/>
                  <a:pt x="516" y="129"/>
                </a:cubicBezTo>
                <a:cubicBezTo>
                  <a:pt x="516" y="130"/>
                  <a:pt x="516" y="130"/>
                  <a:pt x="516" y="130"/>
                </a:cubicBezTo>
                <a:cubicBezTo>
                  <a:pt x="515" y="130"/>
                  <a:pt x="515" y="130"/>
                  <a:pt x="515" y="130"/>
                </a:cubicBezTo>
                <a:cubicBezTo>
                  <a:pt x="515" y="131"/>
                  <a:pt x="515" y="131"/>
                  <a:pt x="515" y="131"/>
                </a:cubicBezTo>
                <a:cubicBezTo>
                  <a:pt x="515" y="131"/>
                  <a:pt x="515" y="131"/>
                  <a:pt x="515" y="131"/>
                </a:cubicBezTo>
                <a:cubicBezTo>
                  <a:pt x="515" y="131"/>
                  <a:pt x="515" y="131"/>
                  <a:pt x="515" y="131"/>
                </a:cubicBezTo>
                <a:cubicBezTo>
                  <a:pt x="515" y="131"/>
                  <a:pt x="515" y="131"/>
                  <a:pt x="515" y="131"/>
                </a:cubicBezTo>
                <a:cubicBezTo>
                  <a:pt x="515" y="131"/>
                  <a:pt x="515" y="131"/>
                  <a:pt x="515" y="131"/>
                </a:cubicBezTo>
                <a:cubicBezTo>
                  <a:pt x="515" y="131"/>
                  <a:pt x="515" y="131"/>
                  <a:pt x="515" y="131"/>
                </a:cubicBezTo>
                <a:cubicBezTo>
                  <a:pt x="516" y="131"/>
                  <a:pt x="516" y="131"/>
                  <a:pt x="516" y="131"/>
                </a:cubicBezTo>
                <a:cubicBezTo>
                  <a:pt x="516" y="131"/>
                  <a:pt x="516" y="131"/>
                  <a:pt x="516" y="131"/>
                </a:cubicBezTo>
                <a:cubicBezTo>
                  <a:pt x="516" y="131"/>
                  <a:pt x="516" y="131"/>
                  <a:pt x="516" y="131"/>
                </a:cubicBezTo>
                <a:cubicBezTo>
                  <a:pt x="516" y="131"/>
                  <a:pt x="516" y="131"/>
                  <a:pt x="516" y="131"/>
                </a:cubicBezTo>
                <a:cubicBezTo>
                  <a:pt x="517" y="131"/>
                  <a:pt x="517" y="131"/>
                  <a:pt x="517" y="131"/>
                </a:cubicBezTo>
                <a:cubicBezTo>
                  <a:pt x="518" y="131"/>
                  <a:pt x="518" y="131"/>
                  <a:pt x="518" y="131"/>
                </a:cubicBezTo>
                <a:cubicBezTo>
                  <a:pt x="518" y="131"/>
                  <a:pt x="518" y="131"/>
                  <a:pt x="518" y="131"/>
                </a:cubicBezTo>
                <a:cubicBezTo>
                  <a:pt x="519" y="132"/>
                  <a:pt x="519" y="132"/>
                  <a:pt x="519" y="132"/>
                </a:cubicBezTo>
                <a:cubicBezTo>
                  <a:pt x="519" y="132"/>
                  <a:pt x="519" y="132"/>
                  <a:pt x="519" y="132"/>
                </a:cubicBezTo>
                <a:cubicBezTo>
                  <a:pt x="519" y="132"/>
                  <a:pt x="519" y="132"/>
                  <a:pt x="519" y="132"/>
                </a:cubicBezTo>
                <a:cubicBezTo>
                  <a:pt x="519" y="132"/>
                  <a:pt x="519" y="132"/>
                  <a:pt x="519" y="132"/>
                </a:cubicBezTo>
                <a:cubicBezTo>
                  <a:pt x="518" y="135"/>
                  <a:pt x="518" y="134"/>
                  <a:pt x="520" y="135"/>
                </a:cubicBezTo>
                <a:cubicBezTo>
                  <a:pt x="520" y="135"/>
                  <a:pt x="520" y="135"/>
                  <a:pt x="520" y="135"/>
                </a:cubicBezTo>
                <a:cubicBezTo>
                  <a:pt x="520" y="135"/>
                  <a:pt x="520" y="135"/>
                  <a:pt x="520" y="135"/>
                </a:cubicBezTo>
                <a:cubicBezTo>
                  <a:pt x="520" y="135"/>
                  <a:pt x="520" y="135"/>
                  <a:pt x="520" y="135"/>
                </a:cubicBezTo>
                <a:cubicBezTo>
                  <a:pt x="521" y="134"/>
                  <a:pt x="521" y="134"/>
                  <a:pt x="521" y="134"/>
                </a:cubicBezTo>
                <a:cubicBezTo>
                  <a:pt x="521" y="134"/>
                  <a:pt x="521" y="134"/>
                  <a:pt x="521" y="134"/>
                </a:cubicBezTo>
                <a:cubicBezTo>
                  <a:pt x="521" y="135"/>
                  <a:pt x="521" y="135"/>
                  <a:pt x="521" y="135"/>
                </a:cubicBezTo>
                <a:cubicBezTo>
                  <a:pt x="521" y="135"/>
                  <a:pt x="521" y="135"/>
                  <a:pt x="521" y="135"/>
                </a:cubicBezTo>
                <a:cubicBezTo>
                  <a:pt x="521" y="135"/>
                  <a:pt x="521" y="135"/>
                  <a:pt x="521" y="135"/>
                </a:cubicBezTo>
                <a:cubicBezTo>
                  <a:pt x="521" y="135"/>
                  <a:pt x="521" y="135"/>
                  <a:pt x="521" y="135"/>
                </a:cubicBezTo>
                <a:cubicBezTo>
                  <a:pt x="521" y="135"/>
                  <a:pt x="521" y="135"/>
                  <a:pt x="521" y="135"/>
                </a:cubicBezTo>
                <a:cubicBezTo>
                  <a:pt x="521" y="135"/>
                  <a:pt x="521" y="135"/>
                  <a:pt x="521" y="135"/>
                </a:cubicBezTo>
                <a:cubicBezTo>
                  <a:pt x="521" y="135"/>
                  <a:pt x="521" y="135"/>
                  <a:pt x="521" y="135"/>
                </a:cubicBezTo>
                <a:cubicBezTo>
                  <a:pt x="521" y="136"/>
                  <a:pt x="521" y="136"/>
                  <a:pt x="521" y="136"/>
                </a:cubicBezTo>
                <a:cubicBezTo>
                  <a:pt x="520" y="136"/>
                  <a:pt x="520" y="136"/>
                  <a:pt x="520" y="136"/>
                </a:cubicBezTo>
                <a:cubicBezTo>
                  <a:pt x="520" y="136"/>
                  <a:pt x="520" y="136"/>
                  <a:pt x="520" y="136"/>
                </a:cubicBezTo>
                <a:cubicBezTo>
                  <a:pt x="520" y="137"/>
                  <a:pt x="520" y="137"/>
                  <a:pt x="520" y="137"/>
                </a:cubicBezTo>
                <a:cubicBezTo>
                  <a:pt x="520" y="137"/>
                  <a:pt x="520" y="137"/>
                  <a:pt x="520" y="137"/>
                </a:cubicBezTo>
                <a:cubicBezTo>
                  <a:pt x="520" y="138"/>
                  <a:pt x="520" y="138"/>
                  <a:pt x="520" y="138"/>
                </a:cubicBezTo>
                <a:cubicBezTo>
                  <a:pt x="521" y="137"/>
                  <a:pt x="521" y="137"/>
                  <a:pt x="521" y="137"/>
                </a:cubicBezTo>
                <a:cubicBezTo>
                  <a:pt x="521" y="137"/>
                  <a:pt x="521" y="137"/>
                  <a:pt x="521" y="137"/>
                </a:cubicBezTo>
                <a:cubicBezTo>
                  <a:pt x="522" y="136"/>
                  <a:pt x="522" y="137"/>
                  <a:pt x="523" y="137"/>
                </a:cubicBezTo>
                <a:cubicBezTo>
                  <a:pt x="523" y="137"/>
                  <a:pt x="523" y="137"/>
                  <a:pt x="523" y="137"/>
                </a:cubicBezTo>
                <a:cubicBezTo>
                  <a:pt x="524" y="137"/>
                  <a:pt x="524" y="137"/>
                  <a:pt x="524" y="137"/>
                </a:cubicBezTo>
                <a:cubicBezTo>
                  <a:pt x="524" y="137"/>
                  <a:pt x="524" y="137"/>
                  <a:pt x="524" y="137"/>
                </a:cubicBezTo>
                <a:cubicBezTo>
                  <a:pt x="524" y="137"/>
                  <a:pt x="524" y="137"/>
                  <a:pt x="524" y="137"/>
                </a:cubicBezTo>
                <a:cubicBezTo>
                  <a:pt x="524" y="137"/>
                  <a:pt x="524" y="137"/>
                  <a:pt x="524" y="137"/>
                </a:cubicBezTo>
                <a:cubicBezTo>
                  <a:pt x="524" y="136"/>
                  <a:pt x="524" y="136"/>
                  <a:pt x="524" y="136"/>
                </a:cubicBezTo>
                <a:cubicBezTo>
                  <a:pt x="524" y="136"/>
                  <a:pt x="524" y="136"/>
                  <a:pt x="524" y="136"/>
                </a:cubicBezTo>
                <a:cubicBezTo>
                  <a:pt x="524" y="136"/>
                  <a:pt x="524" y="136"/>
                  <a:pt x="524" y="136"/>
                </a:cubicBezTo>
                <a:cubicBezTo>
                  <a:pt x="524" y="136"/>
                  <a:pt x="524" y="136"/>
                  <a:pt x="524" y="136"/>
                </a:cubicBezTo>
                <a:cubicBezTo>
                  <a:pt x="524" y="136"/>
                  <a:pt x="524" y="136"/>
                  <a:pt x="524" y="136"/>
                </a:cubicBezTo>
                <a:cubicBezTo>
                  <a:pt x="524" y="136"/>
                  <a:pt x="524" y="136"/>
                  <a:pt x="524" y="136"/>
                </a:cubicBezTo>
                <a:cubicBezTo>
                  <a:pt x="524" y="136"/>
                  <a:pt x="524" y="136"/>
                  <a:pt x="524" y="136"/>
                </a:cubicBezTo>
                <a:cubicBezTo>
                  <a:pt x="525" y="136"/>
                  <a:pt x="525" y="136"/>
                  <a:pt x="525" y="136"/>
                </a:cubicBezTo>
                <a:cubicBezTo>
                  <a:pt x="525" y="136"/>
                  <a:pt x="525" y="136"/>
                  <a:pt x="525" y="136"/>
                </a:cubicBezTo>
                <a:cubicBezTo>
                  <a:pt x="525" y="136"/>
                  <a:pt x="525" y="136"/>
                  <a:pt x="525" y="136"/>
                </a:cubicBezTo>
                <a:cubicBezTo>
                  <a:pt x="526" y="136"/>
                  <a:pt x="526" y="136"/>
                  <a:pt x="526" y="136"/>
                </a:cubicBezTo>
                <a:cubicBezTo>
                  <a:pt x="527" y="136"/>
                  <a:pt x="527" y="136"/>
                  <a:pt x="527" y="136"/>
                </a:cubicBezTo>
                <a:cubicBezTo>
                  <a:pt x="527" y="136"/>
                  <a:pt x="527" y="136"/>
                  <a:pt x="527" y="136"/>
                </a:cubicBezTo>
                <a:cubicBezTo>
                  <a:pt x="527" y="136"/>
                  <a:pt x="527" y="136"/>
                  <a:pt x="527" y="136"/>
                </a:cubicBezTo>
                <a:cubicBezTo>
                  <a:pt x="527" y="136"/>
                  <a:pt x="527" y="136"/>
                  <a:pt x="527" y="136"/>
                </a:cubicBezTo>
                <a:cubicBezTo>
                  <a:pt x="527" y="136"/>
                  <a:pt x="527" y="136"/>
                  <a:pt x="527" y="136"/>
                </a:cubicBezTo>
                <a:cubicBezTo>
                  <a:pt x="527" y="136"/>
                  <a:pt x="527" y="136"/>
                  <a:pt x="527" y="136"/>
                </a:cubicBezTo>
                <a:cubicBezTo>
                  <a:pt x="526" y="138"/>
                  <a:pt x="524" y="138"/>
                  <a:pt x="523" y="138"/>
                </a:cubicBezTo>
                <a:cubicBezTo>
                  <a:pt x="523" y="138"/>
                  <a:pt x="523" y="138"/>
                  <a:pt x="523" y="138"/>
                </a:cubicBezTo>
                <a:cubicBezTo>
                  <a:pt x="523" y="138"/>
                  <a:pt x="523" y="138"/>
                  <a:pt x="523" y="138"/>
                </a:cubicBezTo>
                <a:cubicBezTo>
                  <a:pt x="521" y="137"/>
                  <a:pt x="520" y="139"/>
                  <a:pt x="519" y="138"/>
                </a:cubicBezTo>
                <a:cubicBezTo>
                  <a:pt x="519" y="138"/>
                  <a:pt x="519" y="138"/>
                  <a:pt x="519" y="138"/>
                </a:cubicBezTo>
                <a:cubicBezTo>
                  <a:pt x="519" y="138"/>
                  <a:pt x="519" y="138"/>
                  <a:pt x="519" y="138"/>
                </a:cubicBezTo>
                <a:cubicBezTo>
                  <a:pt x="519" y="137"/>
                  <a:pt x="519" y="137"/>
                  <a:pt x="519" y="137"/>
                </a:cubicBezTo>
                <a:cubicBezTo>
                  <a:pt x="519" y="137"/>
                  <a:pt x="519" y="137"/>
                  <a:pt x="519" y="137"/>
                </a:cubicBezTo>
                <a:cubicBezTo>
                  <a:pt x="518" y="137"/>
                  <a:pt x="518" y="137"/>
                  <a:pt x="518" y="137"/>
                </a:cubicBezTo>
                <a:cubicBezTo>
                  <a:pt x="518" y="137"/>
                  <a:pt x="518" y="137"/>
                  <a:pt x="518" y="137"/>
                </a:cubicBezTo>
                <a:cubicBezTo>
                  <a:pt x="518" y="137"/>
                  <a:pt x="518" y="137"/>
                  <a:pt x="518" y="137"/>
                </a:cubicBezTo>
                <a:cubicBezTo>
                  <a:pt x="518" y="137"/>
                  <a:pt x="518" y="137"/>
                  <a:pt x="518" y="137"/>
                </a:cubicBezTo>
                <a:cubicBezTo>
                  <a:pt x="518" y="137"/>
                  <a:pt x="518" y="137"/>
                  <a:pt x="518" y="137"/>
                </a:cubicBezTo>
                <a:cubicBezTo>
                  <a:pt x="517" y="137"/>
                  <a:pt x="517" y="137"/>
                  <a:pt x="517" y="137"/>
                </a:cubicBezTo>
                <a:cubicBezTo>
                  <a:pt x="517" y="137"/>
                  <a:pt x="517" y="137"/>
                  <a:pt x="517" y="137"/>
                </a:cubicBezTo>
                <a:cubicBezTo>
                  <a:pt x="517" y="137"/>
                  <a:pt x="517" y="137"/>
                  <a:pt x="517" y="137"/>
                </a:cubicBezTo>
                <a:cubicBezTo>
                  <a:pt x="517" y="137"/>
                  <a:pt x="517" y="137"/>
                  <a:pt x="517" y="137"/>
                </a:cubicBezTo>
                <a:cubicBezTo>
                  <a:pt x="517" y="137"/>
                  <a:pt x="517" y="137"/>
                  <a:pt x="517" y="137"/>
                </a:cubicBezTo>
                <a:cubicBezTo>
                  <a:pt x="516" y="137"/>
                  <a:pt x="516" y="137"/>
                  <a:pt x="516" y="137"/>
                </a:cubicBezTo>
                <a:cubicBezTo>
                  <a:pt x="516" y="137"/>
                  <a:pt x="516" y="137"/>
                  <a:pt x="516" y="137"/>
                </a:cubicBezTo>
                <a:cubicBezTo>
                  <a:pt x="516" y="137"/>
                  <a:pt x="515" y="137"/>
                  <a:pt x="515" y="136"/>
                </a:cubicBezTo>
                <a:cubicBezTo>
                  <a:pt x="515" y="136"/>
                  <a:pt x="515" y="136"/>
                  <a:pt x="515" y="136"/>
                </a:cubicBezTo>
                <a:cubicBezTo>
                  <a:pt x="515" y="136"/>
                  <a:pt x="515" y="136"/>
                  <a:pt x="515" y="136"/>
                </a:cubicBezTo>
                <a:cubicBezTo>
                  <a:pt x="515" y="136"/>
                  <a:pt x="515" y="136"/>
                  <a:pt x="515" y="136"/>
                </a:cubicBezTo>
                <a:cubicBezTo>
                  <a:pt x="514" y="136"/>
                  <a:pt x="514" y="136"/>
                  <a:pt x="514" y="136"/>
                </a:cubicBezTo>
                <a:cubicBezTo>
                  <a:pt x="514" y="136"/>
                  <a:pt x="514" y="136"/>
                  <a:pt x="514" y="136"/>
                </a:cubicBezTo>
                <a:cubicBezTo>
                  <a:pt x="514" y="136"/>
                  <a:pt x="514" y="136"/>
                  <a:pt x="514" y="136"/>
                </a:cubicBezTo>
                <a:cubicBezTo>
                  <a:pt x="514" y="135"/>
                  <a:pt x="514" y="135"/>
                  <a:pt x="514" y="135"/>
                </a:cubicBezTo>
                <a:cubicBezTo>
                  <a:pt x="514" y="135"/>
                  <a:pt x="514" y="135"/>
                  <a:pt x="514" y="135"/>
                </a:cubicBezTo>
                <a:cubicBezTo>
                  <a:pt x="514" y="135"/>
                  <a:pt x="514" y="135"/>
                  <a:pt x="514" y="135"/>
                </a:cubicBezTo>
                <a:cubicBezTo>
                  <a:pt x="514" y="135"/>
                  <a:pt x="514" y="135"/>
                  <a:pt x="514" y="135"/>
                </a:cubicBezTo>
                <a:cubicBezTo>
                  <a:pt x="514" y="134"/>
                  <a:pt x="514" y="134"/>
                  <a:pt x="514" y="134"/>
                </a:cubicBezTo>
                <a:cubicBezTo>
                  <a:pt x="514" y="134"/>
                  <a:pt x="514" y="134"/>
                  <a:pt x="514" y="134"/>
                </a:cubicBezTo>
                <a:cubicBezTo>
                  <a:pt x="514" y="134"/>
                  <a:pt x="514" y="134"/>
                  <a:pt x="514" y="134"/>
                </a:cubicBezTo>
                <a:cubicBezTo>
                  <a:pt x="514" y="134"/>
                  <a:pt x="514" y="134"/>
                  <a:pt x="514" y="134"/>
                </a:cubicBezTo>
                <a:cubicBezTo>
                  <a:pt x="514" y="134"/>
                  <a:pt x="514" y="134"/>
                  <a:pt x="514" y="134"/>
                </a:cubicBezTo>
                <a:cubicBezTo>
                  <a:pt x="514" y="133"/>
                  <a:pt x="513" y="133"/>
                  <a:pt x="512" y="133"/>
                </a:cubicBezTo>
                <a:cubicBezTo>
                  <a:pt x="512" y="133"/>
                  <a:pt x="512" y="133"/>
                  <a:pt x="512" y="133"/>
                </a:cubicBezTo>
                <a:cubicBezTo>
                  <a:pt x="512" y="133"/>
                  <a:pt x="512" y="133"/>
                  <a:pt x="512" y="133"/>
                </a:cubicBezTo>
                <a:cubicBezTo>
                  <a:pt x="511" y="133"/>
                  <a:pt x="511" y="133"/>
                  <a:pt x="511" y="133"/>
                </a:cubicBezTo>
                <a:cubicBezTo>
                  <a:pt x="511" y="133"/>
                  <a:pt x="511" y="133"/>
                  <a:pt x="511" y="133"/>
                </a:cubicBezTo>
                <a:cubicBezTo>
                  <a:pt x="510" y="133"/>
                  <a:pt x="510" y="133"/>
                  <a:pt x="509" y="133"/>
                </a:cubicBezTo>
                <a:cubicBezTo>
                  <a:pt x="509" y="133"/>
                  <a:pt x="509" y="133"/>
                  <a:pt x="509" y="133"/>
                </a:cubicBezTo>
                <a:cubicBezTo>
                  <a:pt x="509" y="133"/>
                  <a:pt x="509" y="133"/>
                  <a:pt x="509" y="133"/>
                </a:cubicBezTo>
                <a:cubicBezTo>
                  <a:pt x="508" y="133"/>
                  <a:pt x="508" y="133"/>
                  <a:pt x="508" y="133"/>
                </a:cubicBezTo>
                <a:cubicBezTo>
                  <a:pt x="508" y="133"/>
                  <a:pt x="508" y="133"/>
                  <a:pt x="508" y="133"/>
                </a:cubicBezTo>
                <a:cubicBezTo>
                  <a:pt x="508" y="133"/>
                  <a:pt x="508" y="133"/>
                  <a:pt x="508" y="133"/>
                </a:cubicBezTo>
                <a:cubicBezTo>
                  <a:pt x="508" y="133"/>
                  <a:pt x="508" y="133"/>
                  <a:pt x="508" y="133"/>
                </a:cubicBezTo>
                <a:cubicBezTo>
                  <a:pt x="508" y="133"/>
                  <a:pt x="508" y="133"/>
                  <a:pt x="508" y="133"/>
                </a:cubicBezTo>
                <a:cubicBezTo>
                  <a:pt x="507" y="133"/>
                  <a:pt x="507" y="133"/>
                  <a:pt x="507" y="133"/>
                </a:cubicBezTo>
                <a:cubicBezTo>
                  <a:pt x="507" y="133"/>
                  <a:pt x="507" y="133"/>
                  <a:pt x="507" y="133"/>
                </a:cubicBezTo>
                <a:cubicBezTo>
                  <a:pt x="507" y="133"/>
                  <a:pt x="507" y="133"/>
                  <a:pt x="507" y="133"/>
                </a:cubicBezTo>
                <a:cubicBezTo>
                  <a:pt x="507" y="133"/>
                  <a:pt x="507" y="133"/>
                  <a:pt x="507" y="133"/>
                </a:cubicBezTo>
                <a:cubicBezTo>
                  <a:pt x="507" y="133"/>
                  <a:pt x="507" y="133"/>
                  <a:pt x="507" y="133"/>
                </a:cubicBezTo>
                <a:cubicBezTo>
                  <a:pt x="506" y="133"/>
                  <a:pt x="506" y="133"/>
                  <a:pt x="506" y="133"/>
                </a:cubicBezTo>
                <a:cubicBezTo>
                  <a:pt x="506" y="133"/>
                  <a:pt x="506" y="133"/>
                  <a:pt x="506" y="133"/>
                </a:cubicBezTo>
                <a:cubicBezTo>
                  <a:pt x="506" y="133"/>
                  <a:pt x="506" y="133"/>
                  <a:pt x="506" y="133"/>
                </a:cubicBezTo>
                <a:cubicBezTo>
                  <a:pt x="505" y="134"/>
                  <a:pt x="505" y="134"/>
                  <a:pt x="505" y="134"/>
                </a:cubicBezTo>
                <a:cubicBezTo>
                  <a:pt x="505" y="134"/>
                  <a:pt x="505" y="134"/>
                  <a:pt x="505" y="134"/>
                </a:cubicBezTo>
                <a:cubicBezTo>
                  <a:pt x="504" y="135"/>
                  <a:pt x="504" y="135"/>
                  <a:pt x="504" y="135"/>
                </a:cubicBezTo>
                <a:cubicBezTo>
                  <a:pt x="504" y="134"/>
                  <a:pt x="504" y="134"/>
                  <a:pt x="504" y="134"/>
                </a:cubicBezTo>
                <a:cubicBezTo>
                  <a:pt x="505" y="134"/>
                  <a:pt x="504" y="134"/>
                  <a:pt x="504" y="133"/>
                </a:cubicBezTo>
                <a:cubicBezTo>
                  <a:pt x="504" y="133"/>
                  <a:pt x="504" y="133"/>
                  <a:pt x="504" y="133"/>
                </a:cubicBezTo>
                <a:cubicBezTo>
                  <a:pt x="504" y="133"/>
                  <a:pt x="504" y="133"/>
                  <a:pt x="504" y="133"/>
                </a:cubicBezTo>
                <a:cubicBezTo>
                  <a:pt x="504" y="133"/>
                  <a:pt x="504" y="133"/>
                  <a:pt x="504" y="133"/>
                </a:cubicBezTo>
                <a:cubicBezTo>
                  <a:pt x="504" y="132"/>
                  <a:pt x="504" y="132"/>
                  <a:pt x="504" y="132"/>
                </a:cubicBezTo>
                <a:cubicBezTo>
                  <a:pt x="501" y="132"/>
                  <a:pt x="501" y="132"/>
                  <a:pt x="499" y="132"/>
                </a:cubicBezTo>
                <a:cubicBezTo>
                  <a:pt x="498" y="132"/>
                  <a:pt x="498" y="132"/>
                  <a:pt x="498" y="132"/>
                </a:cubicBezTo>
                <a:cubicBezTo>
                  <a:pt x="498" y="132"/>
                  <a:pt x="498" y="132"/>
                  <a:pt x="498" y="132"/>
                </a:cubicBezTo>
                <a:cubicBezTo>
                  <a:pt x="498" y="132"/>
                  <a:pt x="498" y="132"/>
                  <a:pt x="498" y="132"/>
                </a:cubicBezTo>
                <a:cubicBezTo>
                  <a:pt x="498" y="132"/>
                  <a:pt x="498" y="132"/>
                  <a:pt x="498" y="132"/>
                </a:cubicBezTo>
                <a:cubicBezTo>
                  <a:pt x="498" y="132"/>
                  <a:pt x="498" y="132"/>
                  <a:pt x="498" y="132"/>
                </a:cubicBezTo>
                <a:cubicBezTo>
                  <a:pt x="497" y="132"/>
                  <a:pt x="497" y="132"/>
                  <a:pt x="497" y="132"/>
                </a:cubicBezTo>
                <a:cubicBezTo>
                  <a:pt x="497" y="132"/>
                  <a:pt x="497" y="132"/>
                  <a:pt x="497" y="132"/>
                </a:cubicBezTo>
                <a:cubicBezTo>
                  <a:pt x="496" y="132"/>
                  <a:pt x="496" y="132"/>
                  <a:pt x="496" y="132"/>
                </a:cubicBezTo>
                <a:cubicBezTo>
                  <a:pt x="496" y="132"/>
                  <a:pt x="496" y="132"/>
                  <a:pt x="496" y="132"/>
                </a:cubicBezTo>
                <a:cubicBezTo>
                  <a:pt x="496" y="132"/>
                  <a:pt x="496" y="132"/>
                  <a:pt x="496" y="132"/>
                </a:cubicBezTo>
                <a:cubicBezTo>
                  <a:pt x="496" y="132"/>
                  <a:pt x="496" y="132"/>
                  <a:pt x="496" y="132"/>
                </a:cubicBezTo>
                <a:cubicBezTo>
                  <a:pt x="496" y="132"/>
                  <a:pt x="496" y="132"/>
                  <a:pt x="496" y="132"/>
                </a:cubicBezTo>
                <a:cubicBezTo>
                  <a:pt x="496" y="132"/>
                  <a:pt x="496" y="132"/>
                  <a:pt x="496" y="132"/>
                </a:cubicBezTo>
                <a:cubicBezTo>
                  <a:pt x="496" y="132"/>
                  <a:pt x="496" y="132"/>
                  <a:pt x="496" y="132"/>
                </a:cubicBezTo>
                <a:cubicBezTo>
                  <a:pt x="495" y="132"/>
                  <a:pt x="495" y="132"/>
                  <a:pt x="495" y="132"/>
                </a:cubicBezTo>
                <a:cubicBezTo>
                  <a:pt x="495" y="132"/>
                  <a:pt x="495" y="132"/>
                  <a:pt x="495" y="132"/>
                </a:cubicBezTo>
                <a:cubicBezTo>
                  <a:pt x="494" y="131"/>
                  <a:pt x="494" y="131"/>
                  <a:pt x="493" y="131"/>
                </a:cubicBezTo>
                <a:cubicBezTo>
                  <a:pt x="493" y="131"/>
                  <a:pt x="493" y="131"/>
                  <a:pt x="493" y="131"/>
                </a:cubicBezTo>
                <a:cubicBezTo>
                  <a:pt x="492" y="131"/>
                  <a:pt x="492" y="131"/>
                  <a:pt x="492" y="131"/>
                </a:cubicBezTo>
                <a:cubicBezTo>
                  <a:pt x="492" y="131"/>
                  <a:pt x="492" y="131"/>
                  <a:pt x="492" y="131"/>
                </a:cubicBezTo>
                <a:cubicBezTo>
                  <a:pt x="492" y="131"/>
                  <a:pt x="492" y="131"/>
                  <a:pt x="492" y="131"/>
                </a:cubicBezTo>
                <a:cubicBezTo>
                  <a:pt x="492" y="131"/>
                  <a:pt x="492" y="131"/>
                  <a:pt x="492" y="131"/>
                </a:cubicBezTo>
                <a:cubicBezTo>
                  <a:pt x="492" y="131"/>
                  <a:pt x="492" y="131"/>
                  <a:pt x="492" y="131"/>
                </a:cubicBezTo>
                <a:cubicBezTo>
                  <a:pt x="490" y="130"/>
                  <a:pt x="490" y="131"/>
                  <a:pt x="488" y="130"/>
                </a:cubicBezTo>
                <a:cubicBezTo>
                  <a:pt x="488" y="129"/>
                  <a:pt x="488" y="129"/>
                  <a:pt x="488" y="129"/>
                </a:cubicBezTo>
                <a:cubicBezTo>
                  <a:pt x="488" y="129"/>
                  <a:pt x="488" y="129"/>
                  <a:pt x="488" y="129"/>
                </a:cubicBezTo>
                <a:cubicBezTo>
                  <a:pt x="487" y="129"/>
                  <a:pt x="487" y="128"/>
                  <a:pt x="487" y="128"/>
                </a:cubicBezTo>
                <a:cubicBezTo>
                  <a:pt x="487" y="128"/>
                  <a:pt x="487" y="128"/>
                  <a:pt x="487" y="128"/>
                </a:cubicBezTo>
                <a:cubicBezTo>
                  <a:pt x="488" y="127"/>
                  <a:pt x="488" y="127"/>
                  <a:pt x="488" y="127"/>
                </a:cubicBezTo>
                <a:cubicBezTo>
                  <a:pt x="488" y="127"/>
                  <a:pt x="488" y="127"/>
                  <a:pt x="488" y="127"/>
                </a:cubicBezTo>
                <a:cubicBezTo>
                  <a:pt x="488" y="127"/>
                  <a:pt x="488" y="127"/>
                  <a:pt x="488" y="127"/>
                </a:cubicBezTo>
                <a:cubicBezTo>
                  <a:pt x="488" y="127"/>
                  <a:pt x="488" y="127"/>
                  <a:pt x="488" y="127"/>
                </a:cubicBezTo>
                <a:cubicBezTo>
                  <a:pt x="488" y="127"/>
                  <a:pt x="488" y="127"/>
                  <a:pt x="488" y="127"/>
                </a:cubicBezTo>
                <a:cubicBezTo>
                  <a:pt x="489" y="127"/>
                  <a:pt x="489" y="127"/>
                  <a:pt x="489" y="127"/>
                </a:cubicBezTo>
                <a:cubicBezTo>
                  <a:pt x="489" y="127"/>
                  <a:pt x="489" y="127"/>
                  <a:pt x="489" y="127"/>
                </a:cubicBezTo>
                <a:cubicBezTo>
                  <a:pt x="489" y="128"/>
                  <a:pt x="489" y="128"/>
                  <a:pt x="489" y="128"/>
                </a:cubicBezTo>
                <a:cubicBezTo>
                  <a:pt x="489" y="128"/>
                  <a:pt x="489" y="128"/>
                  <a:pt x="489" y="128"/>
                </a:cubicBezTo>
                <a:cubicBezTo>
                  <a:pt x="489" y="128"/>
                  <a:pt x="489" y="128"/>
                  <a:pt x="489" y="128"/>
                </a:cubicBezTo>
                <a:cubicBezTo>
                  <a:pt x="489" y="127"/>
                  <a:pt x="489" y="127"/>
                  <a:pt x="489" y="127"/>
                </a:cubicBezTo>
                <a:cubicBezTo>
                  <a:pt x="489" y="127"/>
                  <a:pt x="489" y="127"/>
                  <a:pt x="489" y="127"/>
                </a:cubicBezTo>
                <a:cubicBezTo>
                  <a:pt x="489" y="127"/>
                  <a:pt x="489" y="127"/>
                  <a:pt x="489" y="127"/>
                </a:cubicBezTo>
                <a:cubicBezTo>
                  <a:pt x="489" y="127"/>
                  <a:pt x="489" y="127"/>
                  <a:pt x="489" y="127"/>
                </a:cubicBezTo>
                <a:cubicBezTo>
                  <a:pt x="489" y="127"/>
                  <a:pt x="489" y="127"/>
                  <a:pt x="489" y="127"/>
                </a:cubicBezTo>
                <a:cubicBezTo>
                  <a:pt x="489" y="127"/>
                  <a:pt x="489" y="127"/>
                  <a:pt x="489" y="127"/>
                </a:cubicBezTo>
                <a:cubicBezTo>
                  <a:pt x="489" y="126"/>
                  <a:pt x="491" y="126"/>
                  <a:pt x="490" y="125"/>
                </a:cubicBezTo>
                <a:cubicBezTo>
                  <a:pt x="489" y="125"/>
                  <a:pt x="489" y="125"/>
                  <a:pt x="489" y="125"/>
                </a:cubicBezTo>
                <a:cubicBezTo>
                  <a:pt x="489" y="125"/>
                  <a:pt x="489" y="125"/>
                  <a:pt x="489" y="125"/>
                </a:cubicBezTo>
                <a:cubicBezTo>
                  <a:pt x="489" y="124"/>
                  <a:pt x="489" y="124"/>
                  <a:pt x="489" y="124"/>
                </a:cubicBezTo>
                <a:cubicBezTo>
                  <a:pt x="489" y="124"/>
                  <a:pt x="489" y="124"/>
                  <a:pt x="489" y="124"/>
                </a:cubicBezTo>
                <a:cubicBezTo>
                  <a:pt x="489" y="124"/>
                  <a:pt x="489" y="124"/>
                  <a:pt x="489" y="124"/>
                </a:cubicBezTo>
                <a:cubicBezTo>
                  <a:pt x="489" y="124"/>
                  <a:pt x="489" y="124"/>
                  <a:pt x="489" y="124"/>
                </a:cubicBezTo>
                <a:cubicBezTo>
                  <a:pt x="490" y="124"/>
                  <a:pt x="490" y="124"/>
                  <a:pt x="490" y="124"/>
                </a:cubicBezTo>
                <a:cubicBezTo>
                  <a:pt x="490" y="124"/>
                  <a:pt x="490" y="124"/>
                  <a:pt x="490" y="124"/>
                </a:cubicBezTo>
                <a:cubicBezTo>
                  <a:pt x="490" y="124"/>
                  <a:pt x="490" y="124"/>
                  <a:pt x="490" y="124"/>
                </a:cubicBezTo>
                <a:cubicBezTo>
                  <a:pt x="490" y="124"/>
                  <a:pt x="490" y="124"/>
                  <a:pt x="490" y="124"/>
                </a:cubicBezTo>
                <a:cubicBezTo>
                  <a:pt x="490" y="124"/>
                  <a:pt x="490" y="124"/>
                  <a:pt x="490" y="124"/>
                </a:cubicBezTo>
                <a:cubicBezTo>
                  <a:pt x="489" y="123"/>
                  <a:pt x="489" y="123"/>
                  <a:pt x="489" y="123"/>
                </a:cubicBezTo>
                <a:cubicBezTo>
                  <a:pt x="488" y="123"/>
                  <a:pt x="488" y="123"/>
                  <a:pt x="488" y="123"/>
                </a:cubicBezTo>
                <a:cubicBezTo>
                  <a:pt x="488" y="122"/>
                  <a:pt x="488" y="122"/>
                  <a:pt x="488" y="122"/>
                </a:cubicBezTo>
                <a:cubicBezTo>
                  <a:pt x="488" y="122"/>
                  <a:pt x="488" y="122"/>
                  <a:pt x="488" y="122"/>
                </a:cubicBezTo>
                <a:cubicBezTo>
                  <a:pt x="488" y="122"/>
                  <a:pt x="488" y="122"/>
                  <a:pt x="488" y="122"/>
                </a:cubicBezTo>
                <a:cubicBezTo>
                  <a:pt x="488" y="122"/>
                  <a:pt x="488" y="122"/>
                  <a:pt x="488" y="122"/>
                </a:cubicBezTo>
                <a:cubicBezTo>
                  <a:pt x="488" y="122"/>
                  <a:pt x="488" y="122"/>
                  <a:pt x="488" y="122"/>
                </a:cubicBezTo>
                <a:cubicBezTo>
                  <a:pt x="488" y="122"/>
                  <a:pt x="488" y="122"/>
                  <a:pt x="488" y="122"/>
                </a:cubicBezTo>
                <a:cubicBezTo>
                  <a:pt x="487" y="122"/>
                  <a:pt x="487" y="122"/>
                  <a:pt x="487" y="122"/>
                </a:cubicBezTo>
                <a:cubicBezTo>
                  <a:pt x="487" y="121"/>
                  <a:pt x="487" y="121"/>
                  <a:pt x="487" y="121"/>
                </a:cubicBezTo>
                <a:cubicBezTo>
                  <a:pt x="487" y="121"/>
                  <a:pt x="487" y="121"/>
                  <a:pt x="487" y="121"/>
                </a:cubicBezTo>
                <a:cubicBezTo>
                  <a:pt x="487" y="121"/>
                  <a:pt x="487" y="121"/>
                  <a:pt x="487" y="121"/>
                </a:cubicBezTo>
                <a:cubicBezTo>
                  <a:pt x="487" y="121"/>
                  <a:pt x="487" y="121"/>
                  <a:pt x="487" y="121"/>
                </a:cubicBezTo>
                <a:cubicBezTo>
                  <a:pt x="487" y="121"/>
                  <a:pt x="487" y="121"/>
                  <a:pt x="487" y="121"/>
                </a:cubicBezTo>
                <a:cubicBezTo>
                  <a:pt x="487" y="121"/>
                  <a:pt x="487" y="121"/>
                  <a:pt x="487" y="121"/>
                </a:cubicBezTo>
                <a:cubicBezTo>
                  <a:pt x="487" y="121"/>
                  <a:pt x="487" y="121"/>
                  <a:pt x="487" y="121"/>
                </a:cubicBezTo>
                <a:cubicBezTo>
                  <a:pt x="487" y="121"/>
                  <a:pt x="487" y="121"/>
                  <a:pt x="487" y="121"/>
                </a:cubicBezTo>
                <a:cubicBezTo>
                  <a:pt x="487" y="120"/>
                  <a:pt x="487" y="120"/>
                  <a:pt x="487" y="120"/>
                </a:cubicBezTo>
                <a:cubicBezTo>
                  <a:pt x="487" y="120"/>
                  <a:pt x="488" y="119"/>
                  <a:pt x="488" y="119"/>
                </a:cubicBezTo>
                <a:cubicBezTo>
                  <a:pt x="488" y="119"/>
                  <a:pt x="488" y="119"/>
                  <a:pt x="488" y="119"/>
                </a:cubicBezTo>
                <a:cubicBezTo>
                  <a:pt x="488" y="119"/>
                  <a:pt x="488" y="119"/>
                  <a:pt x="488" y="119"/>
                </a:cubicBezTo>
                <a:cubicBezTo>
                  <a:pt x="488" y="118"/>
                  <a:pt x="488" y="118"/>
                  <a:pt x="488" y="118"/>
                </a:cubicBezTo>
                <a:cubicBezTo>
                  <a:pt x="488" y="118"/>
                  <a:pt x="488" y="118"/>
                  <a:pt x="488" y="118"/>
                </a:cubicBezTo>
                <a:cubicBezTo>
                  <a:pt x="488" y="118"/>
                  <a:pt x="488" y="118"/>
                  <a:pt x="488" y="118"/>
                </a:cubicBezTo>
                <a:cubicBezTo>
                  <a:pt x="488" y="118"/>
                  <a:pt x="488" y="118"/>
                  <a:pt x="488" y="118"/>
                </a:cubicBezTo>
                <a:cubicBezTo>
                  <a:pt x="488" y="118"/>
                  <a:pt x="488" y="118"/>
                  <a:pt x="488" y="118"/>
                </a:cubicBezTo>
                <a:cubicBezTo>
                  <a:pt x="488" y="118"/>
                  <a:pt x="488" y="118"/>
                  <a:pt x="488" y="118"/>
                </a:cubicBezTo>
                <a:cubicBezTo>
                  <a:pt x="488" y="118"/>
                  <a:pt x="488" y="118"/>
                  <a:pt x="488" y="118"/>
                </a:cubicBezTo>
                <a:cubicBezTo>
                  <a:pt x="488" y="118"/>
                  <a:pt x="488" y="118"/>
                  <a:pt x="488" y="118"/>
                </a:cubicBezTo>
                <a:cubicBezTo>
                  <a:pt x="489" y="118"/>
                  <a:pt x="489" y="118"/>
                  <a:pt x="489" y="118"/>
                </a:cubicBezTo>
                <a:cubicBezTo>
                  <a:pt x="489" y="118"/>
                  <a:pt x="489" y="118"/>
                  <a:pt x="489" y="118"/>
                </a:cubicBezTo>
                <a:cubicBezTo>
                  <a:pt x="489" y="118"/>
                  <a:pt x="489" y="118"/>
                  <a:pt x="489" y="118"/>
                </a:cubicBezTo>
                <a:cubicBezTo>
                  <a:pt x="489" y="118"/>
                  <a:pt x="489" y="118"/>
                  <a:pt x="489" y="118"/>
                </a:cubicBezTo>
                <a:cubicBezTo>
                  <a:pt x="489" y="118"/>
                  <a:pt x="489" y="118"/>
                  <a:pt x="489" y="118"/>
                </a:cubicBezTo>
                <a:cubicBezTo>
                  <a:pt x="489" y="117"/>
                  <a:pt x="489" y="117"/>
                  <a:pt x="489" y="117"/>
                </a:cubicBezTo>
                <a:cubicBezTo>
                  <a:pt x="489" y="117"/>
                  <a:pt x="489" y="117"/>
                  <a:pt x="489" y="117"/>
                </a:cubicBezTo>
                <a:cubicBezTo>
                  <a:pt x="489" y="117"/>
                  <a:pt x="489" y="117"/>
                  <a:pt x="489" y="117"/>
                </a:cubicBezTo>
                <a:cubicBezTo>
                  <a:pt x="489" y="117"/>
                  <a:pt x="489" y="117"/>
                  <a:pt x="489" y="117"/>
                </a:cubicBezTo>
                <a:cubicBezTo>
                  <a:pt x="489" y="117"/>
                  <a:pt x="489" y="117"/>
                  <a:pt x="489" y="117"/>
                </a:cubicBezTo>
                <a:cubicBezTo>
                  <a:pt x="489" y="117"/>
                  <a:pt x="489" y="117"/>
                  <a:pt x="489" y="117"/>
                </a:cubicBezTo>
                <a:cubicBezTo>
                  <a:pt x="489" y="117"/>
                  <a:pt x="489" y="117"/>
                  <a:pt x="489" y="117"/>
                </a:cubicBezTo>
                <a:cubicBezTo>
                  <a:pt x="489" y="117"/>
                  <a:pt x="489" y="117"/>
                  <a:pt x="489" y="117"/>
                </a:cubicBezTo>
                <a:cubicBezTo>
                  <a:pt x="489" y="117"/>
                  <a:pt x="489" y="117"/>
                  <a:pt x="489" y="117"/>
                </a:cubicBezTo>
                <a:cubicBezTo>
                  <a:pt x="489" y="117"/>
                  <a:pt x="489" y="117"/>
                  <a:pt x="489" y="117"/>
                </a:cubicBezTo>
                <a:cubicBezTo>
                  <a:pt x="489" y="117"/>
                  <a:pt x="489" y="117"/>
                  <a:pt x="489" y="117"/>
                </a:cubicBezTo>
                <a:cubicBezTo>
                  <a:pt x="489" y="116"/>
                  <a:pt x="490" y="116"/>
                  <a:pt x="490" y="116"/>
                </a:cubicBezTo>
                <a:cubicBezTo>
                  <a:pt x="490" y="116"/>
                  <a:pt x="490" y="116"/>
                  <a:pt x="490" y="116"/>
                </a:cubicBezTo>
                <a:cubicBezTo>
                  <a:pt x="490" y="116"/>
                  <a:pt x="490" y="116"/>
                  <a:pt x="490" y="116"/>
                </a:cubicBezTo>
                <a:cubicBezTo>
                  <a:pt x="490" y="116"/>
                  <a:pt x="490" y="116"/>
                  <a:pt x="490" y="116"/>
                </a:cubicBezTo>
                <a:cubicBezTo>
                  <a:pt x="490" y="115"/>
                  <a:pt x="490" y="115"/>
                  <a:pt x="490" y="115"/>
                </a:cubicBezTo>
                <a:cubicBezTo>
                  <a:pt x="490" y="115"/>
                  <a:pt x="490" y="115"/>
                  <a:pt x="490" y="115"/>
                </a:cubicBezTo>
                <a:cubicBezTo>
                  <a:pt x="490" y="115"/>
                  <a:pt x="490" y="115"/>
                  <a:pt x="490" y="115"/>
                </a:cubicBezTo>
                <a:cubicBezTo>
                  <a:pt x="490" y="115"/>
                  <a:pt x="490" y="115"/>
                  <a:pt x="490" y="115"/>
                </a:cubicBezTo>
                <a:cubicBezTo>
                  <a:pt x="490" y="115"/>
                  <a:pt x="490" y="115"/>
                  <a:pt x="490" y="115"/>
                </a:cubicBezTo>
                <a:cubicBezTo>
                  <a:pt x="490" y="115"/>
                  <a:pt x="490" y="115"/>
                  <a:pt x="490" y="115"/>
                </a:cubicBezTo>
                <a:cubicBezTo>
                  <a:pt x="490" y="114"/>
                  <a:pt x="490" y="114"/>
                  <a:pt x="490" y="114"/>
                </a:cubicBezTo>
                <a:cubicBezTo>
                  <a:pt x="490" y="114"/>
                  <a:pt x="490" y="114"/>
                  <a:pt x="490" y="114"/>
                </a:cubicBezTo>
                <a:cubicBezTo>
                  <a:pt x="490" y="114"/>
                  <a:pt x="490" y="114"/>
                  <a:pt x="490" y="114"/>
                </a:cubicBezTo>
                <a:cubicBezTo>
                  <a:pt x="490" y="114"/>
                  <a:pt x="491" y="114"/>
                  <a:pt x="491" y="114"/>
                </a:cubicBezTo>
                <a:cubicBezTo>
                  <a:pt x="491" y="113"/>
                  <a:pt x="491" y="113"/>
                  <a:pt x="491" y="113"/>
                </a:cubicBezTo>
                <a:cubicBezTo>
                  <a:pt x="491" y="113"/>
                  <a:pt x="491" y="113"/>
                  <a:pt x="491" y="113"/>
                </a:cubicBezTo>
                <a:cubicBezTo>
                  <a:pt x="491" y="113"/>
                  <a:pt x="491" y="113"/>
                  <a:pt x="491" y="113"/>
                </a:cubicBezTo>
                <a:cubicBezTo>
                  <a:pt x="491" y="113"/>
                  <a:pt x="491" y="113"/>
                  <a:pt x="492" y="113"/>
                </a:cubicBezTo>
                <a:cubicBezTo>
                  <a:pt x="492" y="113"/>
                  <a:pt x="492" y="113"/>
                  <a:pt x="492" y="113"/>
                </a:cubicBezTo>
                <a:cubicBezTo>
                  <a:pt x="492" y="112"/>
                  <a:pt x="492" y="112"/>
                  <a:pt x="492" y="112"/>
                </a:cubicBezTo>
                <a:cubicBezTo>
                  <a:pt x="492" y="112"/>
                  <a:pt x="492" y="112"/>
                  <a:pt x="492" y="112"/>
                </a:cubicBezTo>
                <a:cubicBezTo>
                  <a:pt x="492" y="112"/>
                  <a:pt x="492" y="112"/>
                  <a:pt x="492" y="112"/>
                </a:cubicBezTo>
                <a:cubicBezTo>
                  <a:pt x="492" y="112"/>
                  <a:pt x="492" y="112"/>
                  <a:pt x="492" y="112"/>
                </a:cubicBezTo>
                <a:cubicBezTo>
                  <a:pt x="493" y="112"/>
                  <a:pt x="493" y="112"/>
                  <a:pt x="493" y="112"/>
                </a:cubicBezTo>
                <a:cubicBezTo>
                  <a:pt x="493" y="112"/>
                  <a:pt x="493" y="112"/>
                  <a:pt x="493" y="112"/>
                </a:cubicBezTo>
                <a:cubicBezTo>
                  <a:pt x="492" y="112"/>
                  <a:pt x="492" y="112"/>
                  <a:pt x="492" y="112"/>
                </a:cubicBezTo>
                <a:cubicBezTo>
                  <a:pt x="492" y="111"/>
                  <a:pt x="492" y="111"/>
                  <a:pt x="492" y="111"/>
                </a:cubicBezTo>
                <a:cubicBezTo>
                  <a:pt x="492" y="111"/>
                  <a:pt x="492" y="111"/>
                  <a:pt x="492" y="111"/>
                </a:cubicBezTo>
                <a:cubicBezTo>
                  <a:pt x="492" y="111"/>
                  <a:pt x="492" y="111"/>
                  <a:pt x="492" y="111"/>
                </a:cubicBezTo>
                <a:cubicBezTo>
                  <a:pt x="492" y="111"/>
                  <a:pt x="492" y="111"/>
                  <a:pt x="492" y="111"/>
                </a:cubicBezTo>
                <a:cubicBezTo>
                  <a:pt x="492" y="111"/>
                  <a:pt x="492" y="111"/>
                  <a:pt x="492" y="111"/>
                </a:cubicBezTo>
                <a:cubicBezTo>
                  <a:pt x="492" y="110"/>
                  <a:pt x="492" y="110"/>
                  <a:pt x="492" y="110"/>
                </a:cubicBezTo>
                <a:cubicBezTo>
                  <a:pt x="492" y="110"/>
                  <a:pt x="492" y="110"/>
                  <a:pt x="492" y="110"/>
                </a:cubicBezTo>
                <a:cubicBezTo>
                  <a:pt x="492" y="110"/>
                  <a:pt x="492" y="110"/>
                  <a:pt x="492" y="110"/>
                </a:cubicBezTo>
                <a:cubicBezTo>
                  <a:pt x="491" y="110"/>
                  <a:pt x="491" y="110"/>
                  <a:pt x="491" y="110"/>
                </a:cubicBezTo>
                <a:cubicBezTo>
                  <a:pt x="491" y="110"/>
                  <a:pt x="491" y="110"/>
                  <a:pt x="491" y="110"/>
                </a:cubicBezTo>
                <a:cubicBezTo>
                  <a:pt x="491" y="110"/>
                  <a:pt x="491" y="110"/>
                  <a:pt x="491" y="110"/>
                </a:cubicBezTo>
                <a:cubicBezTo>
                  <a:pt x="491" y="110"/>
                  <a:pt x="491" y="110"/>
                  <a:pt x="491" y="110"/>
                </a:cubicBezTo>
                <a:cubicBezTo>
                  <a:pt x="491" y="110"/>
                  <a:pt x="491" y="110"/>
                  <a:pt x="491" y="110"/>
                </a:cubicBezTo>
                <a:cubicBezTo>
                  <a:pt x="491" y="109"/>
                  <a:pt x="491" y="109"/>
                  <a:pt x="491" y="109"/>
                </a:cubicBezTo>
                <a:cubicBezTo>
                  <a:pt x="491" y="109"/>
                  <a:pt x="491" y="109"/>
                  <a:pt x="491" y="109"/>
                </a:cubicBezTo>
                <a:cubicBezTo>
                  <a:pt x="491" y="109"/>
                  <a:pt x="491" y="109"/>
                  <a:pt x="491" y="109"/>
                </a:cubicBezTo>
                <a:cubicBezTo>
                  <a:pt x="491" y="109"/>
                  <a:pt x="491" y="109"/>
                  <a:pt x="491" y="109"/>
                </a:cubicBezTo>
                <a:cubicBezTo>
                  <a:pt x="491" y="109"/>
                  <a:pt x="491" y="109"/>
                  <a:pt x="491" y="109"/>
                </a:cubicBezTo>
                <a:cubicBezTo>
                  <a:pt x="491" y="109"/>
                  <a:pt x="491" y="109"/>
                  <a:pt x="491" y="109"/>
                </a:cubicBezTo>
                <a:cubicBezTo>
                  <a:pt x="491" y="109"/>
                  <a:pt x="491" y="109"/>
                  <a:pt x="491" y="109"/>
                </a:cubicBezTo>
                <a:cubicBezTo>
                  <a:pt x="491" y="109"/>
                  <a:pt x="491" y="109"/>
                  <a:pt x="491" y="109"/>
                </a:cubicBezTo>
                <a:cubicBezTo>
                  <a:pt x="491" y="108"/>
                  <a:pt x="491" y="108"/>
                  <a:pt x="491" y="108"/>
                </a:cubicBezTo>
                <a:cubicBezTo>
                  <a:pt x="491" y="108"/>
                  <a:pt x="491" y="108"/>
                  <a:pt x="491" y="108"/>
                </a:cubicBezTo>
                <a:cubicBezTo>
                  <a:pt x="491" y="108"/>
                  <a:pt x="491" y="108"/>
                  <a:pt x="491" y="108"/>
                </a:cubicBezTo>
                <a:cubicBezTo>
                  <a:pt x="491" y="108"/>
                  <a:pt x="491" y="108"/>
                  <a:pt x="491" y="108"/>
                </a:cubicBezTo>
                <a:cubicBezTo>
                  <a:pt x="491" y="108"/>
                  <a:pt x="491" y="108"/>
                  <a:pt x="491" y="108"/>
                </a:cubicBezTo>
                <a:cubicBezTo>
                  <a:pt x="491" y="108"/>
                  <a:pt x="491" y="108"/>
                  <a:pt x="491" y="108"/>
                </a:cubicBezTo>
                <a:cubicBezTo>
                  <a:pt x="491" y="108"/>
                  <a:pt x="491" y="108"/>
                  <a:pt x="491" y="108"/>
                </a:cubicBezTo>
                <a:cubicBezTo>
                  <a:pt x="491" y="108"/>
                  <a:pt x="491" y="108"/>
                  <a:pt x="491" y="108"/>
                </a:cubicBezTo>
                <a:cubicBezTo>
                  <a:pt x="491" y="108"/>
                  <a:pt x="491" y="108"/>
                  <a:pt x="491" y="108"/>
                </a:cubicBezTo>
                <a:cubicBezTo>
                  <a:pt x="491" y="107"/>
                  <a:pt x="491" y="107"/>
                  <a:pt x="491" y="107"/>
                </a:cubicBezTo>
                <a:cubicBezTo>
                  <a:pt x="490" y="107"/>
                  <a:pt x="490" y="107"/>
                  <a:pt x="490" y="107"/>
                </a:cubicBezTo>
                <a:cubicBezTo>
                  <a:pt x="489" y="105"/>
                  <a:pt x="489" y="105"/>
                  <a:pt x="489" y="105"/>
                </a:cubicBezTo>
                <a:cubicBezTo>
                  <a:pt x="486" y="102"/>
                  <a:pt x="486" y="102"/>
                  <a:pt x="486" y="102"/>
                </a:cubicBezTo>
                <a:cubicBezTo>
                  <a:pt x="485" y="101"/>
                  <a:pt x="485" y="101"/>
                  <a:pt x="485" y="101"/>
                </a:cubicBezTo>
                <a:cubicBezTo>
                  <a:pt x="484" y="100"/>
                  <a:pt x="484" y="100"/>
                  <a:pt x="484" y="100"/>
                </a:cubicBezTo>
                <a:cubicBezTo>
                  <a:pt x="484" y="101"/>
                  <a:pt x="484" y="101"/>
                  <a:pt x="484" y="101"/>
                </a:cubicBezTo>
                <a:cubicBezTo>
                  <a:pt x="484" y="101"/>
                  <a:pt x="484" y="101"/>
                  <a:pt x="484" y="101"/>
                </a:cubicBezTo>
                <a:cubicBezTo>
                  <a:pt x="484" y="101"/>
                  <a:pt x="484" y="101"/>
                  <a:pt x="484" y="101"/>
                </a:cubicBezTo>
                <a:cubicBezTo>
                  <a:pt x="484" y="101"/>
                  <a:pt x="484" y="101"/>
                  <a:pt x="484" y="101"/>
                </a:cubicBezTo>
                <a:cubicBezTo>
                  <a:pt x="483" y="101"/>
                  <a:pt x="483" y="101"/>
                  <a:pt x="483" y="101"/>
                </a:cubicBezTo>
                <a:cubicBezTo>
                  <a:pt x="483" y="101"/>
                  <a:pt x="482" y="101"/>
                  <a:pt x="483" y="102"/>
                </a:cubicBezTo>
                <a:cubicBezTo>
                  <a:pt x="483" y="102"/>
                  <a:pt x="483" y="102"/>
                  <a:pt x="483" y="102"/>
                </a:cubicBezTo>
                <a:cubicBezTo>
                  <a:pt x="483" y="102"/>
                  <a:pt x="483" y="102"/>
                  <a:pt x="483" y="102"/>
                </a:cubicBezTo>
                <a:cubicBezTo>
                  <a:pt x="483" y="103"/>
                  <a:pt x="484" y="103"/>
                  <a:pt x="484" y="103"/>
                </a:cubicBezTo>
                <a:cubicBezTo>
                  <a:pt x="484" y="104"/>
                  <a:pt x="484" y="104"/>
                  <a:pt x="484" y="104"/>
                </a:cubicBezTo>
                <a:cubicBezTo>
                  <a:pt x="484" y="104"/>
                  <a:pt x="484" y="104"/>
                  <a:pt x="484" y="104"/>
                </a:cubicBezTo>
                <a:cubicBezTo>
                  <a:pt x="484" y="104"/>
                  <a:pt x="484" y="104"/>
                  <a:pt x="484" y="104"/>
                </a:cubicBezTo>
                <a:cubicBezTo>
                  <a:pt x="485" y="104"/>
                  <a:pt x="485" y="104"/>
                  <a:pt x="485" y="104"/>
                </a:cubicBezTo>
                <a:cubicBezTo>
                  <a:pt x="485" y="104"/>
                  <a:pt x="485" y="105"/>
                  <a:pt x="485" y="105"/>
                </a:cubicBezTo>
                <a:cubicBezTo>
                  <a:pt x="485" y="105"/>
                  <a:pt x="485" y="105"/>
                  <a:pt x="485" y="105"/>
                </a:cubicBezTo>
                <a:cubicBezTo>
                  <a:pt x="485" y="105"/>
                  <a:pt x="485" y="105"/>
                  <a:pt x="485" y="105"/>
                </a:cubicBezTo>
                <a:cubicBezTo>
                  <a:pt x="485" y="106"/>
                  <a:pt x="486" y="106"/>
                  <a:pt x="486" y="106"/>
                </a:cubicBezTo>
                <a:cubicBezTo>
                  <a:pt x="486" y="107"/>
                  <a:pt x="486" y="107"/>
                  <a:pt x="486" y="107"/>
                </a:cubicBezTo>
                <a:cubicBezTo>
                  <a:pt x="486" y="107"/>
                  <a:pt x="486" y="107"/>
                  <a:pt x="486" y="107"/>
                </a:cubicBezTo>
                <a:cubicBezTo>
                  <a:pt x="486" y="108"/>
                  <a:pt x="486" y="109"/>
                  <a:pt x="486" y="110"/>
                </a:cubicBezTo>
                <a:cubicBezTo>
                  <a:pt x="486" y="110"/>
                  <a:pt x="486" y="110"/>
                  <a:pt x="486" y="110"/>
                </a:cubicBezTo>
                <a:cubicBezTo>
                  <a:pt x="486" y="110"/>
                  <a:pt x="486" y="110"/>
                  <a:pt x="486" y="110"/>
                </a:cubicBezTo>
                <a:cubicBezTo>
                  <a:pt x="486" y="111"/>
                  <a:pt x="486" y="111"/>
                  <a:pt x="486" y="111"/>
                </a:cubicBezTo>
                <a:cubicBezTo>
                  <a:pt x="486" y="111"/>
                  <a:pt x="486" y="111"/>
                  <a:pt x="486" y="111"/>
                </a:cubicBezTo>
                <a:cubicBezTo>
                  <a:pt x="486" y="112"/>
                  <a:pt x="486" y="112"/>
                  <a:pt x="486" y="112"/>
                </a:cubicBezTo>
                <a:cubicBezTo>
                  <a:pt x="486" y="112"/>
                  <a:pt x="486" y="112"/>
                  <a:pt x="486" y="113"/>
                </a:cubicBezTo>
                <a:cubicBezTo>
                  <a:pt x="486" y="113"/>
                  <a:pt x="486" y="113"/>
                  <a:pt x="486" y="113"/>
                </a:cubicBezTo>
                <a:cubicBezTo>
                  <a:pt x="486" y="113"/>
                  <a:pt x="486" y="113"/>
                  <a:pt x="486" y="113"/>
                </a:cubicBezTo>
                <a:cubicBezTo>
                  <a:pt x="486" y="113"/>
                  <a:pt x="486" y="113"/>
                  <a:pt x="486" y="113"/>
                </a:cubicBezTo>
                <a:cubicBezTo>
                  <a:pt x="485" y="113"/>
                  <a:pt x="485" y="113"/>
                  <a:pt x="485" y="113"/>
                </a:cubicBezTo>
                <a:cubicBezTo>
                  <a:pt x="485" y="114"/>
                  <a:pt x="485" y="114"/>
                  <a:pt x="485" y="114"/>
                </a:cubicBezTo>
                <a:cubicBezTo>
                  <a:pt x="484" y="115"/>
                  <a:pt x="485" y="115"/>
                  <a:pt x="482" y="116"/>
                </a:cubicBezTo>
                <a:cubicBezTo>
                  <a:pt x="482" y="116"/>
                  <a:pt x="482" y="116"/>
                  <a:pt x="482" y="116"/>
                </a:cubicBezTo>
                <a:cubicBezTo>
                  <a:pt x="482" y="116"/>
                  <a:pt x="482" y="116"/>
                  <a:pt x="482" y="116"/>
                </a:cubicBezTo>
                <a:cubicBezTo>
                  <a:pt x="482" y="116"/>
                  <a:pt x="482" y="116"/>
                  <a:pt x="482" y="116"/>
                </a:cubicBezTo>
                <a:cubicBezTo>
                  <a:pt x="481" y="116"/>
                  <a:pt x="481" y="117"/>
                  <a:pt x="480" y="117"/>
                </a:cubicBezTo>
                <a:cubicBezTo>
                  <a:pt x="480" y="117"/>
                  <a:pt x="480" y="117"/>
                  <a:pt x="480" y="117"/>
                </a:cubicBezTo>
                <a:cubicBezTo>
                  <a:pt x="479" y="117"/>
                  <a:pt x="479" y="117"/>
                  <a:pt x="479" y="117"/>
                </a:cubicBezTo>
                <a:cubicBezTo>
                  <a:pt x="477" y="118"/>
                  <a:pt x="475" y="119"/>
                  <a:pt x="473" y="119"/>
                </a:cubicBezTo>
                <a:cubicBezTo>
                  <a:pt x="473" y="119"/>
                  <a:pt x="473" y="119"/>
                  <a:pt x="473" y="119"/>
                </a:cubicBezTo>
                <a:cubicBezTo>
                  <a:pt x="473" y="119"/>
                  <a:pt x="473" y="119"/>
                  <a:pt x="473" y="119"/>
                </a:cubicBezTo>
                <a:cubicBezTo>
                  <a:pt x="472" y="119"/>
                  <a:pt x="472" y="119"/>
                  <a:pt x="472" y="119"/>
                </a:cubicBezTo>
                <a:cubicBezTo>
                  <a:pt x="472" y="120"/>
                  <a:pt x="472" y="120"/>
                  <a:pt x="472" y="120"/>
                </a:cubicBezTo>
                <a:cubicBezTo>
                  <a:pt x="472" y="120"/>
                  <a:pt x="472" y="120"/>
                  <a:pt x="472" y="120"/>
                </a:cubicBezTo>
                <a:cubicBezTo>
                  <a:pt x="472" y="120"/>
                  <a:pt x="472" y="120"/>
                  <a:pt x="472" y="120"/>
                </a:cubicBezTo>
                <a:cubicBezTo>
                  <a:pt x="471" y="120"/>
                  <a:pt x="470" y="120"/>
                  <a:pt x="470" y="121"/>
                </a:cubicBezTo>
                <a:cubicBezTo>
                  <a:pt x="470" y="121"/>
                  <a:pt x="470" y="121"/>
                  <a:pt x="470" y="121"/>
                </a:cubicBezTo>
                <a:cubicBezTo>
                  <a:pt x="470" y="121"/>
                  <a:pt x="470" y="121"/>
                  <a:pt x="470" y="121"/>
                </a:cubicBezTo>
                <a:cubicBezTo>
                  <a:pt x="469" y="121"/>
                  <a:pt x="469" y="121"/>
                  <a:pt x="470" y="122"/>
                </a:cubicBezTo>
                <a:cubicBezTo>
                  <a:pt x="470" y="122"/>
                  <a:pt x="470" y="122"/>
                  <a:pt x="470" y="122"/>
                </a:cubicBezTo>
                <a:cubicBezTo>
                  <a:pt x="470" y="122"/>
                  <a:pt x="470" y="122"/>
                  <a:pt x="470" y="122"/>
                </a:cubicBezTo>
                <a:cubicBezTo>
                  <a:pt x="470" y="122"/>
                  <a:pt x="470" y="122"/>
                  <a:pt x="470" y="122"/>
                </a:cubicBezTo>
                <a:cubicBezTo>
                  <a:pt x="470" y="123"/>
                  <a:pt x="470" y="123"/>
                  <a:pt x="470" y="124"/>
                </a:cubicBezTo>
                <a:cubicBezTo>
                  <a:pt x="469" y="124"/>
                  <a:pt x="469" y="124"/>
                  <a:pt x="469" y="124"/>
                </a:cubicBezTo>
                <a:cubicBezTo>
                  <a:pt x="469" y="124"/>
                  <a:pt x="469" y="124"/>
                  <a:pt x="469" y="124"/>
                </a:cubicBezTo>
                <a:cubicBezTo>
                  <a:pt x="469" y="125"/>
                  <a:pt x="469" y="125"/>
                  <a:pt x="468" y="125"/>
                </a:cubicBezTo>
                <a:cubicBezTo>
                  <a:pt x="468" y="126"/>
                  <a:pt x="468" y="126"/>
                  <a:pt x="468" y="126"/>
                </a:cubicBezTo>
                <a:cubicBezTo>
                  <a:pt x="467" y="126"/>
                  <a:pt x="467" y="126"/>
                  <a:pt x="467" y="126"/>
                </a:cubicBezTo>
                <a:cubicBezTo>
                  <a:pt x="466" y="128"/>
                  <a:pt x="466" y="128"/>
                  <a:pt x="466" y="128"/>
                </a:cubicBezTo>
                <a:cubicBezTo>
                  <a:pt x="465" y="128"/>
                  <a:pt x="465" y="128"/>
                  <a:pt x="465" y="128"/>
                </a:cubicBezTo>
                <a:cubicBezTo>
                  <a:pt x="465" y="128"/>
                  <a:pt x="465" y="128"/>
                  <a:pt x="465" y="128"/>
                </a:cubicBezTo>
                <a:cubicBezTo>
                  <a:pt x="465" y="129"/>
                  <a:pt x="465" y="129"/>
                  <a:pt x="465" y="129"/>
                </a:cubicBezTo>
                <a:cubicBezTo>
                  <a:pt x="465" y="129"/>
                  <a:pt x="465" y="129"/>
                  <a:pt x="465" y="129"/>
                </a:cubicBezTo>
                <a:cubicBezTo>
                  <a:pt x="465" y="129"/>
                  <a:pt x="465" y="129"/>
                  <a:pt x="465" y="129"/>
                </a:cubicBezTo>
                <a:cubicBezTo>
                  <a:pt x="466" y="129"/>
                  <a:pt x="466" y="129"/>
                  <a:pt x="466" y="129"/>
                </a:cubicBezTo>
                <a:cubicBezTo>
                  <a:pt x="470" y="131"/>
                  <a:pt x="470" y="131"/>
                  <a:pt x="472" y="135"/>
                </a:cubicBezTo>
                <a:cubicBezTo>
                  <a:pt x="472" y="135"/>
                  <a:pt x="472" y="135"/>
                  <a:pt x="472" y="135"/>
                </a:cubicBezTo>
                <a:cubicBezTo>
                  <a:pt x="472" y="135"/>
                  <a:pt x="472" y="135"/>
                  <a:pt x="472" y="135"/>
                </a:cubicBezTo>
                <a:cubicBezTo>
                  <a:pt x="472" y="135"/>
                  <a:pt x="472" y="135"/>
                  <a:pt x="472" y="135"/>
                </a:cubicBezTo>
                <a:cubicBezTo>
                  <a:pt x="473" y="136"/>
                  <a:pt x="474" y="136"/>
                  <a:pt x="474" y="138"/>
                </a:cubicBezTo>
                <a:cubicBezTo>
                  <a:pt x="474" y="138"/>
                  <a:pt x="474" y="138"/>
                  <a:pt x="474" y="138"/>
                </a:cubicBezTo>
                <a:cubicBezTo>
                  <a:pt x="474" y="139"/>
                  <a:pt x="474" y="139"/>
                  <a:pt x="474" y="139"/>
                </a:cubicBezTo>
                <a:cubicBezTo>
                  <a:pt x="475" y="139"/>
                  <a:pt x="475" y="139"/>
                  <a:pt x="475" y="139"/>
                </a:cubicBezTo>
                <a:cubicBezTo>
                  <a:pt x="475" y="139"/>
                  <a:pt x="475" y="139"/>
                  <a:pt x="475" y="139"/>
                </a:cubicBezTo>
                <a:cubicBezTo>
                  <a:pt x="475" y="140"/>
                  <a:pt x="476" y="140"/>
                  <a:pt x="476" y="141"/>
                </a:cubicBezTo>
                <a:cubicBezTo>
                  <a:pt x="476" y="141"/>
                  <a:pt x="476" y="141"/>
                  <a:pt x="476" y="141"/>
                </a:cubicBezTo>
                <a:cubicBezTo>
                  <a:pt x="477" y="141"/>
                  <a:pt x="477" y="141"/>
                  <a:pt x="477" y="141"/>
                </a:cubicBezTo>
                <a:cubicBezTo>
                  <a:pt x="477" y="141"/>
                  <a:pt x="477" y="141"/>
                  <a:pt x="477" y="141"/>
                </a:cubicBezTo>
                <a:cubicBezTo>
                  <a:pt x="477" y="141"/>
                  <a:pt x="477" y="141"/>
                  <a:pt x="477" y="141"/>
                </a:cubicBezTo>
                <a:cubicBezTo>
                  <a:pt x="477" y="141"/>
                  <a:pt x="477" y="141"/>
                  <a:pt x="477" y="141"/>
                </a:cubicBezTo>
                <a:cubicBezTo>
                  <a:pt x="477" y="141"/>
                  <a:pt x="477" y="141"/>
                  <a:pt x="477" y="141"/>
                </a:cubicBezTo>
                <a:cubicBezTo>
                  <a:pt x="477" y="141"/>
                  <a:pt x="477" y="141"/>
                  <a:pt x="477" y="141"/>
                </a:cubicBezTo>
                <a:cubicBezTo>
                  <a:pt x="477" y="141"/>
                  <a:pt x="477" y="141"/>
                  <a:pt x="477" y="141"/>
                </a:cubicBezTo>
                <a:cubicBezTo>
                  <a:pt x="478" y="142"/>
                  <a:pt x="478" y="142"/>
                  <a:pt x="478" y="143"/>
                </a:cubicBezTo>
                <a:cubicBezTo>
                  <a:pt x="478" y="143"/>
                  <a:pt x="478" y="143"/>
                  <a:pt x="478" y="143"/>
                </a:cubicBezTo>
                <a:cubicBezTo>
                  <a:pt x="478" y="143"/>
                  <a:pt x="478" y="143"/>
                  <a:pt x="478" y="143"/>
                </a:cubicBezTo>
                <a:cubicBezTo>
                  <a:pt x="478" y="143"/>
                  <a:pt x="478" y="143"/>
                  <a:pt x="478" y="143"/>
                </a:cubicBezTo>
                <a:cubicBezTo>
                  <a:pt x="478" y="143"/>
                  <a:pt x="478" y="143"/>
                  <a:pt x="478" y="143"/>
                </a:cubicBezTo>
                <a:cubicBezTo>
                  <a:pt x="478" y="143"/>
                  <a:pt x="478" y="143"/>
                  <a:pt x="478" y="143"/>
                </a:cubicBezTo>
                <a:cubicBezTo>
                  <a:pt x="478" y="144"/>
                  <a:pt x="478" y="144"/>
                  <a:pt x="478" y="144"/>
                </a:cubicBezTo>
                <a:cubicBezTo>
                  <a:pt x="478" y="144"/>
                  <a:pt x="478" y="144"/>
                  <a:pt x="478" y="144"/>
                </a:cubicBezTo>
                <a:cubicBezTo>
                  <a:pt x="478" y="144"/>
                  <a:pt x="478" y="144"/>
                  <a:pt x="478" y="144"/>
                </a:cubicBezTo>
                <a:cubicBezTo>
                  <a:pt x="478" y="145"/>
                  <a:pt x="478" y="145"/>
                  <a:pt x="478" y="145"/>
                </a:cubicBezTo>
                <a:cubicBezTo>
                  <a:pt x="476" y="146"/>
                  <a:pt x="476" y="146"/>
                  <a:pt x="476" y="146"/>
                </a:cubicBezTo>
                <a:cubicBezTo>
                  <a:pt x="474" y="150"/>
                  <a:pt x="474" y="150"/>
                  <a:pt x="474" y="150"/>
                </a:cubicBezTo>
                <a:cubicBezTo>
                  <a:pt x="472" y="151"/>
                  <a:pt x="472" y="151"/>
                  <a:pt x="472" y="151"/>
                </a:cubicBezTo>
                <a:cubicBezTo>
                  <a:pt x="472" y="152"/>
                  <a:pt x="472" y="152"/>
                  <a:pt x="472" y="152"/>
                </a:cubicBezTo>
                <a:cubicBezTo>
                  <a:pt x="471" y="152"/>
                  <a:pt x="472" y="152"/>
                  <a:pt x="472" y="153"/>
                </a:cubicBezTo>
                <a:cubicBezTo>
                  <a:pt x="472" y="153"/>
                  <a:pt x="472" y="153"/>
                  <a:pt x="472" y="153"/>
                </a:cubicBezTo>
                <a:cubicBezTo>
                  <a:pt x="472" y="153"/>
                  <a:pt x="472" y="153"/>
                  <a:pt x="472" y="153"/>
                </a:cubicBezTo>
                <a:cubicBezTo>
                  <a:pt x="472" y="153"/>
                  <a:pt x="472" y="154"/>
                  <a:pt x="472" y="154"/>
                </a:cubicBezTo>
                <a:cubicBezTo>
                  <a:pt x="472" y="154"/>
                  <a:pt x="472" y="154"/>
                  <a:pt x="472" y="154"/>
                </a:cubicBezTo>
                <a:cubicBezTo>
                  <a:pt x="472" y="155"/>
                  <a:pt x="472" y="155"/>
                  <a:pt x="472" y="155"/>
                </a:cubicBezTo>
                <a:cubicBezTo>
                  <a:pt x="472" y="155"/>
                  <a:pt x="472" y="155"/>
                  <a:pt x="472" y="155"/>
                </a:cubicBezTo>
                <a:cubicBezTo>
                  <a:pt x="471" y="156"/>
                  <a:pt x="471" y="156"/>
                  <a:pt x="471" y="156"/>
                </a:cubicBezTo>
                <a:cubicBezTo>
                  <a:pt x="470" y="158"/>
                  <a:pt x="470" y="158"/>
                  <a:pt x="470" y="158"/>
                </a:cubicBezTo>
                <a:cubicBezTo>
                  <a:pt x="470" y="159"/>
                  <a:pt x="470" y="159"/>
                  <a:pt x="470" y="159"/>
                </a:cubicBezTo>
                <a:cubicBezTo>
                  <a:pt x="470" y="159"/>
                  <a:pt x="470" y="159"/>
                  <a:pt x="470" y="159"/>
                </a:cubicBezTo>
                <a:cubicBezTo>
                  <a:pt x="470" y="160"/>
                  <a:pt x="470" y="160"/>
                  <a:pt x="470" y="160"/>
                </a:cubicBezTo>
                <a:cubicBezTo>
                  <a:pt x="470" y="160"/>
                  <a:pt x="470" y="160"/>
                  <a:pt x="470" y="160"/>
                </a:cubicBezTo>
                <a:cubicBezTo>
                  <a:pt x="470" y="160"/>
                  <a:pt x="470" y="160"/>
                  <a:pt x="470" y="160"/>
                </a:cubicBezTo>
                <a:cubicBezTo>
                  <a:pt x="470" y="160"/>
                  <a:pt x="470" y="160"/>
                  <a:pt x="470" y="160"/>
                </a:cubicBezTo>
                <a:cubicBezTo>
                  <a:pt x="470" y="160"/>
                  <a:pt x="470" y="160"/>
                  <a:pt x="470" y="160"/>
                </a:cubicBezTo>
                <a:cubicBezTo>
                  <a:pt x="470" y="160"/>
                  <a:pt x="470" y="160"/>
                  <a:pt x="470" y="160"/>
                </a:cubicBezTo>
                <a:cubicBezTo>
                  <a:pt x="470" y="160"/>
                  <a:pt x="470" y="160"/>
                  <a:pt x="470" y="160"/>
                </a:cubicBezTo>
                <a:cubicBezTo>
                  <a:pt x="470" y="160"/>
                  <a:pt x="470" y="160"/>
                  <a:pt x="470" y="160"/>
                </a:cubicBezTo>
                <a:cubicBezTo>
                  <a:pt x="471" y="161"/>
                  <a:pt x="471" y="161"/>
                  <a:pt x="471" y="161"/>
                </a:cubicBezTo>
                <a:cubicBezTo>
                  <a:pt x="471" y="161"/>
                  <a:pt x="471" y="161"/>
                  <a:pt x="471" y="161"/>
                </a:cubicBezTo>
                <a:cubicBezTo>
                  <a:pt x="471" y="161"/>
                  <a:pt x="471" y="161"/>
                  <a:pt x="471" y="161"/>
                </a:cubicBezTo>
                <a:cubicBezTo>
                  <a:pt x="471" y="162"/>
                  <a:pt x="471" y="161"/>
                  <a:pt x="472" y="162"/>
                </a:cubicBezTo>
                <a:cubicBezTo>
                  <a:pt x="472" y="162"/>
                  <a:pt x="472" y="162"/>
                  <a:pt x="472" y="162"/>
                </a:cubicBezTo>
                <a:cubicBezTo>
                  <a:pt x="472" y="162"/>
                  <a:pt x="472" y="162"/>
                  <a:pt x="472" y="162"/>
                </a:cubicBezTo>
                <a:cubicBezTo>
                  <a:pt x="472" y="162"/>
                  <a:pt x="472" y="162"/>
                  <a:pt x="472" y="162"/>
                </a:cubicBezTo>
                <a:cubicBezTo>
                  <a:pt x="472" y="162"/>
                  <a:pt x="472" y="162"/>
                  <a:pt x="472" y="162"/>
                </a:cubicBezTo>
                <a:cubicBezTo>
                  <a:pt x="473" y="163"/>
                  <a:pt x="473" y="163"/>
                  <a:pt x="473" y="164"/>
                </a:cubicBezTo>
                <a:cubicBezTo>
                  <a:pt x="473" y="164"/>
                  <a:pt x="473" y="164"/>
                  <a:pt x="473" y="164"/>
                </a:cubicBezTo>
                <a:cubicBezTo>
                  <a:pt x="473" y="164"/>
                  <a:pt x="473" y="164"/>
                  <a:pt x="473" y="164"/>
                </a:cubicBezTo>
                <a:cubicBezTo>
                  <a:pt x="473" y="164"/>
                  <a:pt x="473" y="164"/>
                  <a:pt x="473" y="164"/>
                </a:cubicBezTo>
                <a:cubicBezTo>
                  <a:pt x="473" y="164"/>
                  <a:pt x="473" y="164"/>
                  <a:pt x="473" y="164"/>
                </a:cubicBezTo>
                <a:cubicBezTo>
                  <a:pt x="473" y="164"/>
                  <a:pt x="473" y="164"/>
                  <a:pt x="473" y="164"/>
                </a:cubicBezTo>
                <a:cubicBezTo>
                  <a:pt x="473" y="164"/>
                  <a:pt x="473" y="164"/>
                  <a:pt x="473" y="164"/>
                </a:cubicBezTo>
                <a:cubicBezTo>
                  <a:pt x="473" y="164"/>
                  <a:pt x="473" y="164"/>
                  <a:pt x="473" y="164"/>
                </a:cubicBezTo>
                <a:cubicBezTo>
                  <a:pt x="474" y="164"/>
                  <a:pt x="474" y="164"/>
                  <a:pt x="474" y="164"/>
                </a:cubicBezTo>
                <a:cubicBezTo>
                  <a:pt x="474" y="165"/>
                  <a:pt x="474" y="165"/>
                  <a:pt x="474" y="165"/>
                </a:cubicBezTo>
                <a:cubicBezTo>
                  <a:pt x="473" y="165"/>
                  <a:pt x="473" y="165"/>
                  <a:pt x="473" y="165"/>
                </a:cubicBezTo>
                <a:cubicBezTo>
                  <a:pt x="473" y="166"/>
                  <a:pt x="473" y="166"/>
                  <a:pt x="473" y="166"/>
                </a:cubicBezTo>
                <a:cubicBezTo>
                  <a:pt x="473" y="168"/>
                  <a:pt x="473" y="168"/>
                  <a:pt x="473" y="168"/>
                </a:cubicBezTo>
                <a:cubicBezTo>
                  <a:pt x="472" y="169"/>
                  <a:pt x="472" y="169"/>
                  <a:pt x="472" y="169"/>
                </a:cubicBezTo>
                <a:cubicBezTo>
                  <a:pt x="472" y="170"/>
                  <a:pt x="472" y="170"/>
                  <a:pt x="472" y="170"/>
                </a:cubicBezTo>
                <a:cubicBezTo>
                  <a:pt x="472" y="170"/>
                  <a:pt x="472" y="170"/>
                  <a:pt x="472" y="170"/>
                </a:cubicBezTo>
                <a:cubicBezTo>
                  <a:pt x="472" y="170"/>
                  <a:pt x="472" y="170"/>
                  <a:pt x="472" y="170"/>
                </a:cubicBezTo>
                <a:cubicBezTo>
                  <a:pt x="473" y="170"/>
                  <a:pt x="473" y="170"/>
                  <a:pt x="473" y="170"/>
                </a:cubicBezTo>
                <a:cubicBezTo>
                  <a:pt x="473" y="170"/>
                  <a:pt x="473" y="170"/>
                  <a:pt x="473" y="170"/>
                </a:cubicBezTo>
                <a:cubicBezTo>
                  <a:pt x="473" y="170"/>
                  <a:pt x="473" y="170"/>
                  <a:pt x="473" y="170"/>
                </a:cubicBezTo>
                <a:cubicBezTo>
                  <a:pt x="473" y="170"/>
                  <a:pt x="473" y="170"/>
                  <a:pt x="473" y="170"/>
                </a:cubicBezTo>
                <a:cubicBezTo>
                  <a:pt x="473" y="170"/>
                  <a:pt x="473" y="170"/>
                  <a:pt x="473" y="170"/>
                </a:cubicBezTo>
                <a:cubicBezTo>
                  <a:pt x="473" y="170"/>
                  <a:pt x="473" y="170"/>
                  <a:pt x="473" y="170"/>
                </a:cubicBezTo>
                <a:cubicBezTo>
                  <a:pt x="473" y="171"/>
                  <a:pt x="473" y="171"/>
                  <a:pt x="473" y="171"/>
                </a:cubicBezTo>
                <a:cubicBezTo>
                  <a:pt x="474" y="171"/>
                  <a:pt x="474" y="171"/>
                  <a:pt x="475" y="171"/>
                </a:cubicBezTo>
                <a:cubicBezTo>
                  <a:pt x="475" y="171"/>
                  <a:pt x="475" y="171"/>
                  <a:pt x="475" y="171"/>
                </a:cubicBezTo>
                <a:cubicBezTo>
                  <a:pt x="475" y="171"/>
                  <a:pt x="475" y="171"/>
                  <a:pt x="475" y="171"/>
                </a:cubicBezTo>
                <a:cubicBezTo>
                  <a:pt x="476" y="171"/>
                  <a:pt x="476" y="170"/>
                  <a:pt x="477" y="170"/>
                </a:cubicBezTo>
                <a:cubicBezTo>
                  <a:pt x="477" y="170"/>
                  <a:pt x="477" y="170"/>
                  <a:pt x="477" y="170"/>
                </a:cubicBezTo>
                <a:cubicBezTo>
                  <a:pt x="477" y="170"/>
                  <a:pt x="477" y="170"/>
                  <a:pt x="477" y="170"/>
                </a:cubicBezTo>
                <a:cubicBezTo>
                  <a:pt x="478" y="170"/>
                  <a:pt x="478" y="170"/>
                  <a:pt x="478" y="170"/>
                </a:cubicBezTo>
                <a:cubicBezTo>
                  <a:pt x="479" y="170"/>
                  <a:pt x="481" y="170"/>
                  <a:pt x="482" y="171"/>
                </a:cubicBezTo>
                <a:cubicBezTo>
                  <a:pt x="482" y="171"/>
                  <a:pt x="482" y="171"/>
                  <a:pt x="482" y="171"/>
                </a:cubicBezTo>
                <a:cubicBezTo>
                  <a:pt x="483" y="171"/>
                  <a:pt x="483" y="171"/>
                  <a:pt x="483" y="171"/>
                </a:cubicBezTo>
                <a:cubicBezTo>
                  <a:pt x="483" y="171"/>
                  <a:pt x="483" y="171"/>
                  <a:pt x="483" y="171"/>
                </a:cubicBezTo>
                <a:cubicBezTo>
                  <a:pt x="483" y="171"/>
                  <a:pt x="483" y="171"/>
                  <a:pt x="483" y="171"/>
                </a:cubicBezTo>
                <a:cubicBezTo>
                  <a:pt x="483" y="171"/>
                  <a:pt x="483" y="171"/>
                  <a:pt x="483" y="171"/>
                </a:cubicBezTo>
                <a:cubicBezTo>
                  <a:pt x="484" y="171"/>
                  <a:pt x="484" y="171"/>
                  <a:pt x="485" y="171"/>
                </a:cubicBezTo>
                <a:cubicBezTo>
                  <a:pt x="485" y="171"/>
                  <a:pt x="485" y="171"/>
                  <a:pt x="485" y="171"/>
                </a:cubicBezTo>
                <a:cubicBezTo>
                  <a:pt x="485" y="171"/>
                  <a:pt x="485" y="171"/>
                  <a:pt x="485" y="171"/>
                </a:cubicBezTo>
                <a:cubicBezTo>
                  <a:pt x="487" y="171"/>
                  <a:pt x="485" y="170"/>
                  <a:pt x="487" y="170"/>
                </a:cubicBezTo>
                <a:cubicBezTo>
                  <a:pt x="487" y="169"/>
                  <a:pt x="487" y="169"/>
                  <a:pt x="487" y="169"/>
                </a:cubicBezTo>
                <a:cubicBezTo>
                  <a:pt x="487" y="169"/>
                  <a:pt x="487" y="169"/>
                  <a:pt x="487" y="169"/>
                </a:cubicBezTo>
                <a:cubicBezTo>
                  <a:pt x="487" y="169"/>
                  <a:pt x="487" y="169"/>
                  <a:pt x="487" y="169"/>
                </a:cubicBezTo>
                <a:cubicBezTo>
                  <a:pt x="487" y="169"/>
                  <a:pt x="487" y="169"/>
                  <a:pt x="487" y="169"/>
                </a:cubicBezTo>
                <a:cubicBezTo>
                  <a:pt x="488" y="169"/>
                  <a:pt x="488" y="169"/>
                  <a:pt x="489" y="168"/>
                </a:cubicBezTo>
                <a:cubicBezTo>
                  <a:pt x="489" y="168"/>
                  <a:pt x="489" y="168"/>
                  <a:pt x="489" y="168"/>
                </a:cubicBezTo>
                <a:cubicBezTo>
                  <a:pt x="490" y="168"/>
                  <a:pt x="490" y="168"/>
                  <a:pt x="490" y="168"/>
                </a:cubicBezTo>
                <a:cubicBezTo>
                  <a:pt x="490" y="168"/>
                  <a:pt x="491" y="168"/>
                  <a:pt x="492" y="168"/>
                </a:cubicBezTo>
                <a:cubicBezTo>
                  <a:pt x="492" y="168"/>
                  <a:pt x="492" y="168"/>
                  <a:pt x="492" y="168"/>
                </a:cubicBezTo>
                <a:cubicBezTo>
                  <a:pt x="492" y="168"/>
                  <a:pt x="492" y="168"/>
                  <a:pt x="492" y="168"/>
                </a:cubicBezTo>
                <a:cubicBezTo>
                  <a:pt x="492" y="168"/>
                  <a:pt x="492" y="168"/>
                  <a:pt x="492" y="168"/>
                </a:cubicBezTo>
                <a:cubicBezTo>
                  <a:pt x="492" y="168"/>
                  <a:pt x="492" y="168"/>
                  <a:pt x="492" y="168"/>
                </a:cubicBezTo>
                <a:cubicBezTo>
                  <a:pt x="493" y="168"/>
                  <a:pt x="493" y="168"/>
                  <a:pt x="493" y="168"/>
                </a:cubicBezTo>
                <a:cubicBezTo>
                  <a:pt x="493" y="168"/>
                  <a:pt x="493" y="168"/>
                  <a:pt x="493" y="168"/>
                </a:cubicBezTo>
                <a:cubicBezTo>
                  <a:pt x="496" y="169"/>
                  <a:pt x="494" y="168"/>
                  <a:pt x="497" y="169"/>
                </a:cubicBezTo>
                <a:cubicBezTo>
                  <a:pt x="498" y="169"/>
                  <a:pt x="498" y="169"/>
                  <a:pt x="498" y="169"/>
                </a:cubicBezTo>
                <a:cubicBezTo>
                  <a:pt x="498" y="169"/>
                  <a:pt x="498" y="169"/>
                  <a:pt x="498" y="169"/>
                </a:cubicBezTo>
                <a:cubicBezTo>
                  <a:pt x="498" y="169"/>
                  <a:pt x="498" y="169"/>
                  <a:pt x="498" y="169"/>
                </a:cubicBezTo>
                <a:cubicBezTo>
                  <a:pt x="499" y="170"/>
                  <a:pt x="499" y="170"/>
                  <a:pt x="500" y="170"/>
                </a:cubicBezTo>
                <a:cubicBezTo>
                  <a:pt x="500" y="170"/>
                  <a:pt x="500" y="170"/>
                  <a:pt x="500" y="170"/>
                </a:cubicBezTo>
                <a:cubicBezTo>
                  <a:pt x="501" y="170"/>
                  <a:pt x="501" y="170"/>
                  <a:pt x="502" y="170"/>
                </a:cubicBezTo>
                <a:cubicBezTo>
                  <a:pt x="502" y="170"/>
                  <a:pt x="502" y="170"/>
                  <a:pt x="502" y="170"/>
                </a:cubicBezTo>
                <a:cubicBezTo>
                  <a:pt x="502" y="170"/>
                  <a:pt x="502" y="170"/>
                  <a:pt x="502" y="170"/>
                </a:cubicBezTo>
                <a:cubicBezTo>
                  <a:pt x="503" y="170"/>
                  <a:pt x="503" y="170"/>
                  <a:pt x="503" y="170"/>
                </a:cubicBezTo>
                <a:cubicBezTo>
                  <a:pt x="503" y="170"/>
                  <a:pt x="503" y="170"/>
                  <a:pt x="503" y="170"/>
                </a:cubicBezTo>
                <a:cubicBezTo>
                  <a:pt x="503" y="171"/>
                  <a:pt x="503" y="171"/>
                  <a:pt x="503" y="171"/>
                </a:cubicBezTo>
                <a:cubicBezTo>
                  <a:pt x="503" y="171"/>
                  <a:pt x="503" y="171"/>
                  <a:pt x="503" y="171"/>
                </a:cubicBezTo>
                <a:cubicBezTo>
                  <a:pt x="504" y="171"/>
                  <a:pt x="504" y="171"/>
                  <a:pt x="504" y="172"/>
                </a:cubicBezTo>
                <a:cubicBezTo>
                  <a:pt x="504" y="172"/>
                  <a:pt x="504" y="172"/>
                  <a:pt x="504" y="172"/>
                </a:cubicBezTo>
                <a:cubicBezTo>
                  <a:pt x="504" y="172"/>
                  <a:pt x="504" y="172"/>
                  <a:pt x="504" y="172"/>
                </a:cubicBezTo>
                <a:cubicBezTo>
                  <a:pt x="505" y="173"/>
                  <a:pt x="505" y="172"/>
                  <a:pt x="506" y="173"/>
                </a:cubicBezTo>
                <a:cubicBezTo>
                  <a:pt x="506" y="173"/>
                  <a:pt x="506" y="173"/>
                  <a:pt x="506" y="173"/>
                </a:cubicBezTo>
                <a:cubicBezTo>
                  <a:pt x="506" y="173"/>
                  <a:pt x="506" y="173"/>
                  <a:pt x="506" y="173"/>
                </a:cubicBezTo>
                <a:cubicBezTo>
                  <a:pt x="506" y="173"/>
                  <a:pt x="506" y="173"/>
                  <a:pt x="506" y="173"/>
                </a:cubicBezTo>
                <a:cubicBezTo>
                  <a:pt x="509" y="173"/>
                  <a:pt x="508" y="174"/>
                  <a:pt x="510" y="174"/>
                </a:cubicBezTo>
                <a:cubicBezTo>
                  <a:pt x="511" y="174"/>
                  <a:pt x="511" y="174"/>
                  <a:pt x="511" y="174"/>
                </a:cubicBezTo>
                <a:cubicBezTo>
                  <a:pt x="511" y="174"/>
                  <a:pt x="511" y="174"/>
                  <a:pt x="511" y="174"/>
                </a:cubicBezTo>
                <a:cubicBezTo>
                  <a:pt x="511" y="174"/>
                  <a:pt x="511" y="174"/>
                  <a:pt x="511" y="174"/>
                </a:cubicBezTo>
                <a:cubicBezTo>
                  <a:pt x="511" y="174"/>
                  <a:pt x="511" y="174"/>
                  <a:pt x="511" y="174"/>
                </a:cubicBezTo>
                <a:cubicBezTo>
                  <a:pt x="511" y="174"/>
                  <a:pt x="511" y="174"/>
                  <a:pt x="511" y="174"/>
                </a:cubicBezTo>
                <a:cubicBezTo>
                  <a:pt x="512" y="175"/>
                  <a:pt x="512" y="175"/>
                  <a:pt x="512" y="175"/>
                </a:cubicBezTo>
                <a:cubicBezTo>
                  <a:pt x="512" y="176"/>
                  <a:pt x="512" y="176"/>
                  <a:pt x="512" y="176"/>
                </a:cubicBezTo>
                <a:cubicBezTo>
                  <a:pt x="512" y="178"/>
                  <a:pt x="512" y="178"/>
                  <a:pt x="512" y="178"/>
                </a:cubicBezTo>
                <a:cubicBezTo>
                  <a:pt x="513" y="179"/>
                  <a:pt x="513" y="179"/>
                  <a:pt x="513" y="179"/>
                </a:cubicBezTo>
                <a:cubicBezTo>
                  <a:pt x="513" y="180"/>
                  <a:pt x="513" y="180"/>
                  <a:pt x="513" y="180"/>
                </a:cubicBezTo>
                <a:cubicBezTo>
                  <a:pt x="513" y="180"/>
                  <a:pt x="513" y="180"/>
                  <a:pt x="513" y="180"/>
                </a:cubicBezTo>
                <a:cubicBezTo>
                  <a:pt x="513" y="180"/>
                  <a:pt x="513" y="180"/>
                  <a:pt x="513" y="180"/>
                </a:cubicBezTo>
                <a:cubicBezTo>
                  <a:pt x="513" y="180"/>
                  <a:pt x="513" y="180"/>
                  <a:pt x="513" y="180"/>
                </a:cubicBezTo>
                <a:cubicBezTo>
                  <a:pt x="513" y="181"/>
                  <a:pt x="513" y="181"/>
                  <a:pt x="513" y="181"/>
                </a:cubicBezTo>
                <a:cubicBezTo>
                  <a:pt x="513" y="181"/>
                  <a:pt x="513" y="181"/>
                  <a:pt x="513" y="181"/>
                </a:cubicBezTo>
                <a:cubicBezTo>
                  <a:pt x="514" y="181"/>
                  <a:pt x="514" y="181"/>
                  <a:pt x="514" y="181"/>
                </a:cubicBezTo>
                <a:cubicBezTo>
                  <a:pt x="514" y="181"/>
                  <a:pt x="514" y="181"/>
                  <a:pt x="514" y="181"/>
                </a:cubicBezTo>
                <a:cubicBezTo>
                  <a:pt x="514" y="181"/>
                  <a:pt x="514" y="181"/>
                  <a:pt x="514" y="181"/>
                </a:cubicBezTo>
                <a:cubicBezTo>
                  <a:pt x="514" y="181"/>
                  <a:pt x="514" y="181"/>
                  <a:pt x="514" y="181"/>
                </a:cubicBezTo>
                <a:cubicBezTo>
                  <a:pt x="514" y="181"/>
                  <a:pt x="514" y="181"/>
                  <a:pt x="514" y="181"/>
                </a:cubicBezTo>
                <a:cubicBezTo>
                  <a:pt x="515" y="182"/>
                  <a:pt x="515" y="182"/>
                  <a:pt x="515" y="182"/>
                </a:cubicBezTo>
                <a:cubicBezTo>
                  <a:pt x="515" y="182"/>
                  <a:pt x="515" y="182"/>
                  <a:pt x="515" y="182"/>
                </a:cubicBezTo>
                <a:cubicBezTo>
                  <a:pt x="515" y="182"/>
                  <a:pt x="515" y="182"/>
                  <a:pt x="515" y="182"/>
                </a:cubicBezTo>
                <a:cubicBezTo>
                  <a:pt x="515" y="183"/>
                  <a:pt x="515" y="183"/>
                  <a:pt x="515" y="183"/>
                </a:cubicBezTo>
                <a:cubicBezTo>
                  <a:pt x="515" y="183"/>
                  <a:pt x="515" y="183"/>
                  <a:pt x="515" y="183"/>
                </a:cubicBezTo>
                <a:cubicBezTo>
                  <a:pt x="515" y="183"/>
                  <a:pt x="515" y="183"/>
                  <a:pt x="515" y="183"/>
                </a:cubicBezTo>
                <a:cubicBezTo>
                  <a:pt x="515" y="183"/>
                  <a:pt x="515" y="183"/>
                  <a:pt x="515" y="183"/>
                </a:cubicBezTo>
                <a:cubicBezTo>
                  <a:pt x="515" y="184"/>
                  <a:pt x="515" y="184"/>
                  <a:pt x="515" y="184"/>
                </a:cubicBezTo>
                <a:cubicBezTo>
                  <a:pt x="516" y="184"/>
                  <a:pt x="516" y="184"/>
                  <a:pt x="516" y="184"/>
                </a:cubicBezTo>
                <a:cubicBezTo>
                  <a:pt x="517" y="185"/>
                  <a:pt x="517" y="185"/>
                  <a:pt x="517" y="185"/>
                </a:cubicBezTo>
                <a:cubicBezTo>
                  <a:pt x="517" y="186"/>
                  <a:pt x="517" y="186"/>
                  <a:pt x="517" y="186"/>
                </a:cubicBezTo>
                <a:cubicBezTo>
                  <a:pt x="517" y="186"/>
                  <a:pt x="517" y="186"/>
                  <a:pt x="517" y="186"/>
                </a:cubicBezTo>
                <a:cubicBezTo>
                  <a:pt x="517" y="186"/>
                  <a:pt x="517" y="186"/>
                  <a:pt x="517" y="186"/>
                </a:cubicBezTo>
                <a:cubicBezTo>
                  <a:pt x="517" y="186"/>
                  <a:pt x="517" y="186"/>
                  <a:pt x="517" y="186"/>
                </a:cubicBezTo>
                <a:cubicBezTo>
                  <a:pt x="516" y="186"/>
                  <a:pt x="515" y="186"/>
                  <a:pt x="514" y="186"/>
                </a:cubicBezTo>
                <a:cubicBezTo>
                  <a:pt x="514" y="186"/>
                  <a:pt x="514" y="186"/>
                  <a:pt x="514" y="186"/>
                </a:cubicBezTo>
                <a:cubicBezTo>
                  <a:pt x="513" y="186"/>
                  <a:pt x="513" y="186"/>
                  <a:pt x="513" y="186"/>
                </a:cubicBezTo>
                <a:cubicBezTo>
                  <a:pt x="511" y="187"/>
                  <a:pt x="510" y="189"/>
                  <a:pt x="510" y="191"/>
                </a:cubicBezTo>
                <a:cubicBezTo>
                  <a:pt x="511" y="191"/>
                  <a:pt x="511" y="191"/>
                  <a:pt x="511" y="191"/>
                </a:cubicBezTo>
                <a:cubicBezTo>
                  <a:pt x="511" y="191"/>
                  <a:pt x="511" y="191"/>
                  <a:pt x="511" y="191"/>
                </a:cubicBezTo>
                <a:cubicBezTo>
                  <a:pt x="511" y="192"/>
                  <a:pt x="511" y="192"/>
                  <a:pt x="511" y="192"/>
                </a:cubicBezTo>
                <a:cubicBezTo>
                  <a:pt x="511" y="192"/>
                  <a:pt x="511" y="192"/>
                  <a:pt x="511" y="192"/>
                </a:cubicBezTo>
                <a:cubicBezTo>
                  <a:pt x="510" y="194"/>
                  <a:pt x="510" y="194"/>
                  <a:pt x="510" y="194"/>
                </a:cubicBezTo>
                <a:cubicBezTo>
                  <a:pt x="510" y="194"/>
                  <a:pt x="510" y="194"/>
                  <a:pt x="510" y="194"/>
                </a:cubicBezTo>
                <a:cubicBezTo>
                  <a:pt x="510" y="194"/>
                  <a:pt x="510" y="194"/>
                  <a:pt x="510" y="194"/>
                </a:cubicBezTo>
                <a:cubicBezTo>
                  <a:pt x="510" y="195"/>
                  <a:pt x="510" y="195"/>
                  <a:pt x="510" y="195"/>
                </a:cubicBezTo>
                <a:cubicBezTo>
                  <a:pt x="510" y="195"/>
                  <a:pt x="510" y="195"/>
                  <a:pt x="510" y="195"/>
                </a:cubicBezTo>
                <a:cubicBezTo>
                  <a:pt x="510" y="195"/>
                  <a:pt x="510" y="195"/>
                  <a:pt x="510" y="195"/>
                </a:cubicBezTo>
                <a:cubicBezTo>
                  <a:pt x="511" y="195"/>
                  <a:pt x="511" y="195"/>
                  <a:pt x="511" y="195"/>
                </a:cubicBezTo>
                <a:cubicBezTo>
                  <a:pt x="511" y="195"/>
                  <a:pt x="511" y="195"/>
                  <a:pt x="511" y="195"/>
                </a:cubicBezTo>
                <a:cubicBezTo>
                  <a:pt x="511" y="195"/>
                  <a:pt x="511" y="195"/>
                  <a:pt x="511" y="195"/>
                </a:cubicBezTo>
                <a:cubicBezTo>
                  <a:pt x="511" y="195"/>
                  <a:pt x="511" y="195"/>
                  <a:pt x="511" y="195"/>
                </a:cubicBezTo>
                <a:cubicBezTo>
                  <a:pt x="511" y="195"/>
                  <a:pt x="511" y="195"/>
                  <a:pt x="511" y="195"/>
                </a:cubicBezTo>
                <a:cubicBezTo>
                  <a:pt x="512" y="195"/>
                  <a:pt x="512" y="195"/>
                  <a:pt x="512" y="195"/>
                </a:cubicBezTo>
                <a:cubicBezTo>
                  <a:pt x="512" y="195"/>
                  <a:pt x="512" y="195"/>
                  <a:pt x="512" y="195"/>
                </a:cubicBezTo>
                <a:cubicBezTo>
                  <a:pt x="512" y="195"/>
                  <a:pt x="512" y="195"/>
                  <a:pt x="512" y="195"/>
                </a:cubicBezTo>
                <a:cubicBezTo>
                  <a:pt x="512" y="195"/>
                  <a:pt x="512" y="195"/>
                  <a:pt x="512" y="195"/>
                </a:cubicBezTo>
                <a:cubicBezTo>
                  <a:pt x="512" y="195"/>
                  <a:pt x="512" y="195"/>
                  <a:pt x="512" y="195"/>
                </a:cubicBezTo>
                <a:cubicBezTo>
                  <a:pt x="512" y="195"/>
                  <a:pt x="512" y="195"/>
                  <a:pt x="512" y="195"/>
                </a:cubicBezTo>
                <a:cubicBezTo>
                  <a:pt x="513" y="195"/>
                  <a:pt x="513" y="195"/>
                  <a:pt x="513" y="195"/>
                </a:cubicBezTo>
                <a:cubicBezTo>
                  <a:pt x="513" y="195"/>
                  <a:pt x="513" y="195"/>
                  <a:pt x="513" y="195"/>
                </a:cubicBezTo>
                <a:cubicBezTo>
                  <a:pt x="513" y="195"/>
                  <a:pt x="513" y="195"/>
                  <a:pt x="513" y="195"/>
                </a:cubicBezTo>
                <a:cubicBezTo>
                  <a:pt x="513" y="195"/>
                  <a:pt x="513" y="195"/>
                  <a:pt x="513" y="195"/>
                </a:cubicBezTo>
                <a:cubicBezTo>
                  <a:pt x="513" y="195"/>
                  <a:pt x="513" y="195"/>
                  <a:pt x="513" y="195"/>
                </a:cubicBezTo>
                <a:cubicBezTo>
                  <a:pt x="513" y="195"/>
                  <a:pt x="513" y="195"/>
                  <a:pt x="513" y="195"/>
                </a:cubicBezTo>
                <a:cubicBezTo>
                  <a:pt x="513" y="194"/>
                  <a:pt x="513" y="194"/>
                  <a:pt x="513" y="194"/>
                </a:cubicBezTo>
                <a:cubicBezTo>
                  <a:pt x="513" y="194"/>
                  <a:pt x="513" y="194"/>
                  <a:pt x="513" y="194"/>
                </a:cubicBezTo>
                <a:cubicBezTo>
                  <a:pt x="513" y="194"/>
                  <a:pt x="513" y="194"/>
                  <a:pt x="513" y="194"/>
                </a:cubicBezTo>
                <a:cubicBezTo>
                  <a:pt x="513" y="194"/>
                  <a:pt x="513" y="194"/>
                  <a:pt x="513" y="194"/>
                </a:cubicBezTo>
                <a:cubicBezTo>
                  <a:pt x="514" y="194"/>
                  <a:pt x="514" y="194"/>
                  <a:pt x="514" y="194"/>
                </a:cubicBezTo>
                <a:cubicBezTo>
                  <a:pt x="514" y="196"/>
                  <a:pt x="514" y="196"/>
                  <a:pt x="515" y="196"/>
                </a:cubicBezTo>
                <a:cubicBezTo>
                  <a:pt x="515" y="196"/>
                  <a:pt x="515" y="196"/>
                  <a:pt x="515" y="196"/>
                </a:cubicBezTo>
                <a:cubicBezTo>
                  <a:pt x="516" y="196"/>
                  <a:pt x="516" y="196"/>
                  <a:pt x="516" y="196"/>
                </a:cubicBezTo>
                <a:cubicBezTo>
                  <a:pt x="516" y="196"/>
                  <a:pt x="516" y="196"/>
                  <a:pt x="516" y="196"/>
                </a:cubicBezTo>
                <a:cubicBezTo>
                  <a:pt x="516" y="196"/>
                  <a:pt x="516" y="196"/>
                  <a:pt x="516" y="196"/>
                </a:cubicBezTo>
                <a:cubicBezTo>
                  <a:pt x="516" y="196"/>
                  <a:pt x="516" y="196"/>
                  <a:pt x="516" y="196"/>
                </a:cubicBezTo>
                <a:cubicBezTo>
                  <a:pt x="517" y="196"/>
                  <a:pt x="517" y="196"/>
                  <a:pt x="517" y="196"/>
                </a:cubicBezTo>
                <a:cubicBezTo>
                  <a:pt x="517" y="196"/>
                  <a:pt x="517" y="196"/>
                  <a:pt x="517" y="196"/>
                </a:cubicBezTo>
                <a:cubicBezTo>
                  <a:pt x="518" y="196"/>
                  <a:pt x="518" y="196"/>
                  <a:pt x="518" y="196"/>
                </a:cubicBezTo>
                <a:cubicBezTo>
                  <a:pt x="518" y="196"/>
                  <a:pt x="518" y="196"/>
                  <a:pt x="518" y="196"/>
                </a:cubicBezTo>
                <a:cubicBezTo>
                  <a:pt x="518" y="196"/>
                  <a:pt x="518" y="196"/>
                  <a:pt x="518" y="196"/>
                </a:cubicBezTo>
                <a:cubicBezTo>
                  <a:pt x="518" y="196"/>
                  <a:pt x="518" y="196"/>
                  <a:pt x="518" y="196"/>
                </a:cubicBezTo>
                <a:cubicBezTo>
                  <a:pt x="518" y="196"/>
                  <a:pt x="518" y="196"/>
                  <a:pt x="518" y="196"/>
                </a:cubicBezTo>
                <a:cubicBezTo>
                  <a:pt x="518" y="196"/>
                  <a:pt x="518" y="196"/>
                  <a:pt x="518" y="196"/>
                </a:cubicBezTo>
                <a:cubicBezTo>
                  <a:pt x="519" y="196"/>
                  <a:pt x="519" y="196"/>
                  <a:pt x="519" y="196"/>
                </a:cubicBezTo>
                <a:cubicBezTo>
                  <a:pt x="519" y="196"/>
                  <a:pt x="519" y="196"/>
                  <a:pt x="519" y="196"/>
                </a:cubicBezTo>
                <a:cubicBezTo>
                  <a:pt x="519" y="196"/>
                  <a:pt x="519" y="196"/>
                  <a:pt x="519" y="196"/>
                </a:cubicBezTo>
                <a:cubicBezTo>
                  <a:pt x="519" y="196"/>
                  <a:pt x="519" y="196"/>
                  <a:pt x="519" y="196"/>
                </a:cubicBezTo>
                <a:cubicBezTo>
                  <a:pt x="519" y="197"/>
                  <a:pt x="519" y="197"/>
                  <a:pt x="519" y="197"/>
                </a:cubicBezTo>
                <a:cubicBezTo>
                  <a:pt x="520" y="197"/>
                  <a:pt x="520" y="197"/>
                  <a:pt x="520" y="197"/>
                </a:cubicBezTo>
                <a:cubicBezTo>
                  <a:pt x="520" y="197"/>
                  <a:pt x="520" y="197"/>
                  <a:pt x="520" y="197"/>
                </a:cubicBezTo>
                <a:cubicBezTo>
                  <a:pt x="520" y="197"/>
                  <a:pt x="520" y="197"/>
                  <a:pt x="520" y="197"/>
                </a:cubicBezTo>
                <a:cubicBezTo>
                  <a:pt x="520" y="196"/>
                  <a:pt x="520" y="196"/>
                  <a:pt x="520" y="196"/>
                </a:cubicBezTo>
                <a:cubicBezTo>
                  <a:pt x="520" y="196"/>
                  <a:pt x="520" y="196"/>
                  <a:pt x="520" y="196"/>
                </a:cubicBezTo>
                <a:cubicBezTo>
                  <a:pt x="520" y="196"/>
                  <a:pt x="520" y="196"/>
                  <a:pt x="520" y="196"/>
                </a:cubicBezTo>
                <a:cubicBezTo>
                  <a:pt x="520" y="196"/>
                  <a:pt x="520" y="196"/>
                  <a:pt x="520" y="196"/>
                </a:cubicBezTo>
                <a:cubicBezTo>
                  <a:pt x="520" y="196"/>
                  <a:pt x="520" y="196"/>
                  <a:pt x="520" y="196"/>
                </a:cubicBezTo>
                <a:cubicBezTo>
                  <a:pt x="520" y="196"/>
                  <a:pt x="520" y="196"/>
                  <a:pt x="520" y="196"/>
                </a:cubicBezTo>
                <a:cubicBezTo>
                  <a:pt x="520" y="196"/>
                  <a:pt x="520" y="196"/>
                  <a:pt x="520" y="196"/>
                </a:cubicBezTo>
                <a:cubicBezTo>
                  <a:pt x="520" y="196"/>
                  <a:pt x="520" y="196"/>
                  <a:pt x="520" y="196"/>
                </a:cubicBezTo>
                <a:cubicBezTo>
                  <a:pt x="520" y="196"/>
                  <a:pt x="520" y="196"/>
                  <a:pt x="520" y="196"/>
                </a:cubicBezTo>
                <a:cubicBezTo>
                  <a:pt x="520" y="196"/>
                  <a:pt x="520" y="196"/>
                  <a:pt x="520" y="196"/>
                </a:cubicBezTo>
                <a:cubicBezTo>
                  <a:pt x="520" y="196"/>
                  <a:pt x="520" y="196"/>
                  <a:pt x="520" y="196"/>
                </a:cubicBezTo>
                <a:cubicBezTo>
                  <a:pt x="520" y="196"/>
                  <a:pt x="520" y="196"/>
                  <a:pt x="520" y="196"/>
                </a:cubicBezTo>
                <a:cubicBezTo>
                  <a:pt x="520" y="196"/>
                  <a:pt x="520" y="196"/>
                  <a:pt x="520" y="196"/>
                </a:cubicBezTo>
                <a:cubicBezTo>
                  <a:pt x="520" y="196"/>
                  <a:pt x="520" y="196"/>
                  <a:pt x="520" y="196"/>
                </a:cubicBezTo>
                <a:cubicBezTo>
                  <a:pt x="521" y="196"/>
                  <a:pt x="521" y="196"/>
                  <a:pt x="521" y="196"/>
                </a:cubicBezTo>
                <a:cubicBezTo>
                  <a:pt x="521" y="196"/>
                  <a:pt x="521" y="196"/>
                  <a:pt x="521" y="196"/>
                </a:cubicBezTo>
                <a:cubicBezTo>
                  <a:pt x="522" y="196"/>
                  <a:pt x="522" y="196"/>
                  <a:pt x="522" y="196"/>
                </a:cubicBezTo>
                <a:cubicBezTo>
                  <a:pt x="522" y="197"/>
                  <a:pt x="522" y="197"/>
                  <a:pt x="522" y="197"/>
                </a:cubicBezTo>
                <a:cubicBezTo>
                  <a:pt x="522" y="197"/>
                  <a:pt x="522" y="197"/>
                  <a:pt x="522" y="197"/>
                </a:cubicBezTo>
                <a:cubicBezTo>
                  <a:pt x="522" y="197"/>
                  <a:pt x="522" y="197"/>
                  <a:pt x="522" y="197"/>
                </a:cubicBezTo>
                <a:cubicBezTo>
                  <a:pt x="521" y="197"/>
                  <a:pt x="521" y="197"/>
                  <a:pt x="521" y="197"/>
                </a:cubicBezTo>
                <a:cubicBezTo>
                  <a:pt x="521" y="197"/>
                  <a:pt x="521" y="197"/>
                  <a:pt x="521" y="197"/>
                </a:cubicBezTo>
                <a:cubicBezTo>
                  <a:pt x="521" y="197"/>
                  <a:pt x="521" y="197"/>
                  <a:pt x="521" y="197"/>
                </a:cubicBezTo>
                <a:cubicBezTo>
                  <a:pt x="521" y="197"/>
                  <a:pt x="521" y="197"/>
                  <a:pt x="521" y="197"/>
                </a:cubicBezTo>
                <a:cubicBezTo>
                  <a:pt x="521" y="197"/>
                  <a:pt x="521" y="197"/>
                  <a:pt x="521" y="197"/>
                </a:cubicBezTo>
                <a:cubicBezTo>
                  <a:pt x="521" y="197"/>
                  <a:pt x="522" y="197"/>
                  <a:pt x="523" y="197"/>
                </a:cubicBezTo>
                <a:cubicBezTo>
                  <a:pt x="523" y="197"/>
                  <a:pt x="523" y="197"/>
                  <a:pt x="523" y="197"/>
                </a:cubicBezTo>
                <a:cubicBezTo>
                  <a:pt x="523" y="197"/>
                  <a:pt x="523" y="197"/>
                  <a:pt x="523" y="197"/>
                </a:cubicBezTo>
                <a:cubicBezTo>
                  <a:pt x="523" y="196"/>
                  <a:pt x="523" y="196"/>
                  <a:pt x="523" y="196"/>
                </a:cubicBezTo>
                <a:cubicBezTo>
                  <a:pt x="523" y="196"/>
                  <a:pt x="523" y="196"/>
                  <a:pt x="523" y="196"/>
                </a:cubicBezTo>
                <a:cubicBezTo>
                  <a:pt x="523" y="196"/>
                  <a:pt x="523" y="196"/>
                  <a:pt x="523" y="196"/>
                </a:cubicBezTo>
                <a:cubicBezTo>
                  <a:pt x="523" y="196"/>
                  <a:pt x="523" y="196"/>
                  <a:pt x="523" y="196"/>
                </a:cubicBezTo>
                <a:cubicBezTo>
                  <a:pt x="524" y="196"/>
                  <a:pt x="524" y="196"/>
                  <a:pt x="524" y="196"/>
                </a:cubicBezTo>
                <a:cubicBezTo>
                  <a:pt x="524" y="197"/>
                  <a:pt x="524" y="197"/>
                  <a:pt x="524" y="197"/>
                </a:cubicBezTo>
                <a:cubicBezTo>
                  <a:pt x="524" y="197"/>
                  <a:pt x="524" y="197"/>
                  <a:pt x="524" y="197"/>
                </a:cubicBezTo>
                <a:cubicBezTo>
                  <a:pt x="524" y="197"/>
                  <a:pt x="524" y="197"/>
                  <a:pt x="524" y="197"/>
                </a:cubicBezTo>
                <a:cubicBezTo>
                  <a:pt x="524" y="197"/>
                  <a:pt x="524" y="197"/>
                  <a:pt x="524" y="197"/>
                </a:cubicBezTo>
                <a:cubicBezTo>
                  <a:pt x="524" y="197"/>
                  <a:pt x="524" y="197"/>
                  <a:pt x="524" y="197"/>
                </a:cubicBezTo>
                <a:cubicBezTo>
                  <a:pt x="525" y="197"/>
                  <a:pt x="525" y="197"/>
                  <a:pt x="525" y="197"/>
                </a:cubicBezTo>
                <a:cubicBezTo>
                  <a:pt x="525" y="197"/>
                  <a:pt x="525" y="197"/>
                  <a:pt x="525" y="197"/>
                </a:cubicBezTo>
                <a:cubicBezTo>
                  <a:pt x="526" y="198"/>
                  <a:pt x="526" y="198"/>
                  <a:pt x="526" y="198"/>
                </a:cubicBezTo>
                <a:cubicBezTo>
                  <a:pt x="526" y="198"/>
                  <a:pt x="526" y="198"/>
                  <a:pt x="526" y="198"/>
                </a:cubicBezTo>
                <a:cubicBezTo>
                  <a:pt x="526" y="198"/>
                  <a:pt x="526" y="198"/>
                  <a:pt x="526" y="198"/>
                </a:cubicBezTo>
                <a:cubicBezTo>
                  <a:pt x="526" y="198"/>
                  <a:pt x="526" y="198"/>
                  <a:pt x="526" y="198"/>
                </a:cubicBezTo>
                <a:cubicBezTo>
                  <a:pt x="526" y="198"/>
                  <a:pt x="526" y="198"/>
                  <a:pt x="526" y="198"/>
                </a:cubicBezTo>
                <a:cubicBezTo>
                  <a:pt x="525" y="198"/>
                  <a:pt x="524" y="197"/>
                  <a:pt x="523" y="197"/>
                </a:cubicBezTo>
                <a:cubicBezTo>
                  <a:pt x="523" y="198"/>
                  <a:pt x="523" y="198"/>
                  <a:pt x="523" y="198"/>
                </a:cubicBezTo>
                <a:cubicBezTo>
                  <a:pt x="523" y="198"/>
                  <a:pt x="523" y="198"/>
                  <a:pt x="523" y="198"/>
                </a:cubicBezTo>
                <a:cubicBezTo>
                  <a:pt x="522" y="198"/>
                  <a:pt x="522" y="198"/>
                  <a:pt x="522" y="198"/>
                </a:cubicBezTo>
                <a:cubicBezTo>
                  <a:pt x="522" y="198"/>
                  <a:pt x="522" y="198"/>
                  <a:pt x="521" y="198"/>
                </a:cubicBezTo>
                <a:cubicBezTo>
                  <a:pt x="521" y="198"/>
                  <a:pt x="521" y="198"/>
                  <a:pt x="521" y="198"/>
                </a:cubicBezTo>
                <a:cubicBezTo>
                  <a:pt x="521" y="198"/>
                  <a:pt x="521" y="198"/>
                  <a:pt x="521" y="198"/>
                </a:cubicBezTo>
                <a:cubicBezTo>
                  <a:pt x="521" y="198"/>
                  <a:pt x="521" y="198"/>
                  <a:pt x="520" y="198"/>
                </a:cubicBezTo>
                <a:cubicBezTo>
                  <a:pt x="520" y="198"/>
                  <a:pt x="520" y="198"/>
                  <a:pt x="520" y="198"/>
                </a:cubicBezTo>
                <a:cubicBezTo>
                  <a:pt x="519" y="198"/>
                  <a:pt x="519" y="198"/>
                  <a:pt x="519" y="198"/>
                </a:cubicBezTo>
                <a:cubicBezTo>
                  <a:pt x="512" y="198"/>
                  <a:pt x="512" y="198"/>
                  <a:pt x="512" y="198"/>
                </a:cubicBezTo>
                <a:cubicBezTo>
                  <a:pt x="509" y="196"/>
                  <a:pt x="509" y="196"/>
                  <a:pt x="509" y="196"/>
                </a:cubicBezTo>
                <a:cubicBezTo>
                  <a:pt x="507" y="194"/>
                  <a:pt x="507" y="194"/>
                  <a:pt x="507" y="194"/>
                </a:cubicBezTo>
                <a:cubicBezTo>
                  <a:pt x="506" y="194"/>
                  <a:pt x="506" y="194"/>
                  <a:pt x="506" y="194"/>
                </a:cubicBezTo>
                <a:cubicBezTo>
                  <a:pt x="506" y="194"/>
                  <a:pt x="506" y="194"/>
                  <a:pt x="506" y="194"/>
                </a:cubicBezTo>
                <a:cubicBezTo>
                  <a:pt x="506" y="193"/>
                  <a:pt x="506" y="193"/>
                  <a:pt x="506" y="193"/>
                </a:cubicBezTo>
                <a:cubicBezTo>
                  <a:pt x="506" y="193"/>
                  <a:pt x="506" y="193"/>
                  <a:pt x="506" y="193"/>
                </a:cubicBezTo>
                <a:cubicBezTo>
                  <a:pt x="506" y="193"/>
                  <a:pt x="506" y="193"/>
                  <a:pt x="506" y="193"/>
                </a:cubicBezTo>
                <a:cubicBezTo>
                  <a:pt x="506" y="193"/>
                  <a:pt x="506" y="193"/>
                  <a:pt x="506" y="193"/>
                </a:cubicBezTo>
                <a:cubicBezTo>
                  <a:pt x="507" y="193"/>
                  <a:pt x="507" y="193"/>
                  <a:pt x="507" y="193"/>
                </a:cubicBezTo>
                <a:cubicBezTo>
                  <a:pt x="507" y="193"/>
                  <a:pt x="507" y="193"/>
                  <a:pt x="507" y="193"/>
                </a:cubicBezTo>
                <a:cubicBezTo>
                  <a:pt x="507" y="193"/>
                  <a:pt x="507" y="193"/>
                  <a:pt x="507" y="193"/>
                </a:cubicBezTo>
                <a:cubicBezTo>
                  <a:pt x="507" y="193"/>
                  <a:pt x="507" y="193"/>
                  <a:pt x="507" y="193"/>
                </a:cubicBezTo>
                <a:cubicBezTo>
                  <a:pt x="507" y="193"/>
                  <a:pt x="507" y="193"/>
                  <a:pt x="507" y="193"/>
                </a:cubicBezTo>
                <a:cubicBezTo>
                  <a:pt x="507" y="193"/>
                  <a:pt x="507" y="193"/>
                  <a:pt x="507" y="193"/>
                </a:cubicBezTo>
                <a:cubicBezTo>
                  <a:pt x="507" y="193"/>
                  <a:pt x="507" y="193"/>
                  <a:pt x="507" y="193"/>
                </a:cubicBezTo>
                <a:cubicBezTo>
                  <a:pt x="508" y="192"/>
                  <a:pt x="508" y="192"/>
                  <a:pt x="508" y="192"/>
                </a:cubicBezTo>
                <a:cubicBezTo>
                  <a:pt x="508" y="189"/>
                  <a:pt x="508" y="189"/>
                  <a:pt x="508" y="189"/>
                </a:cubicBezTo>
                <a:cubicBezTo>
                  <a:pt x="508" y="189"/>
                  <a:pt x="508" y="189"/>
                  <a:pt x="508" y="189"/>
                </a:cubicBezTo>
                <a:cubicBezTo>
                  <a:pt x="508" y="188"/>
                  <a:pt x="508" y="188"/>
                  <a:pt x="508" y="188"/>
                </a:cubicBezTo>
                <a:cubicBezTo>
                  <a:pt x="509" y="187"/>
                  <a:pt x="509" y="187"/>
                  <a:pt x="509" y="187"/>
                </a:cubicBezTo>
                <a:cubicBezTo>
                  <a:pt x="509" y="186"/>
                  <a:pt x="509" y="186"/>
                  <a:pt x="509" y="186"/>
                </a:cubicBezTo>
                <a:cubicBezTo>
                  <a:pt x="509" y="186"/>
                  <a:pt x="509" y="186"/>
                  <a:pt x="509" y="186"/>
                </a:cubicBezTo>
                <a:cubicBezTo>
                  <a:pt x="508" y="186"/>
                  <a:pt x="508" y="186"/>
                  <a:pt x="508" y="186"/>
                </a:cubicBezTo>
                <a:cubicBezTo>
                  <a:pt x="508" y="186"/>
                  <a:pt x="508" y="186"/>
                  <a:pt x="508" y="186"/>
                </a:cubicBezTo>
                <a:cubicBezTo>
                  <a:pt x="507" y="185"/>
                  <a:pt x="507" y="185"/>
                  <a:pt x="507" y="185"/>
                </a:cubicBezTo>
                <a:cubicBezTo>
                  <a:pt x="507" y="185"/>
                  <a:pt x="507" y="185"/>
                  <a:pt x="507" y="185"/>
                </a:cubicBezTo>
                <a:cubicBezTo>
                  <a:pt x="507" y="185"/>
                  <a:pt x="507" y="185"/>
                  <a:pt x="507" y="185"/>
                </a:cubicBezTo>
                <a:cubicBezTo>
                  <a:pt x="507" y="185"/>
                  <a:pt x="507" y="185"/>
                  <a:pt x="507" y="185"/>
                </a:cubicBezTo>
                <a:cubicBezTo>
                  <a:pt x="507" y="184"/>
                  <a:pt x="507" y="184"/>
                  <a:pt x="507" y="184"/>
                </a:cubicBezTo>
                <a:cubicBezTo>
                  <a:pt x="508" y="184"/>
                  <a:pt x="508" y="184"/>
                  <a:pt x="508" y="184"/>
                </a:cubicBezTo>
                <a:cubicBezTo>
                  <a:pt x="508" y="182"/>
                  <a:pt x="508" y="182"/>
                  <a:pt x="508" y="182"/>
                </a:cubicBezTo>
                <a:cubicBezTo>
                  <a:pt x="508" y="181"/>
                  <a:pt x="508" y="181"/>
                  <a:pt x="508" y="181"/>
                </a:cubicBezTo>
                <a:cubicBezTo>
                  <a:pt x="508" y="181"/>
                  <a:pt x="508" y="181"/>
                  <a:pt x="508" y="181"/>
                </a:cubicBezTo>
                <a:cubicBezTo>
                  <a:pt x="508" y="181"/>
                  <a:pt x="508" y="181"/>
                  <a:pt x="508" y="181"/>
                </a:cubicBezTo>
                <a:cubicBezTo>
                  <a:pt x="508" y="181"/>
                  <a:pt x="508" y="181"/>
                  <a:pt x="508" y="181"/>
                </a:cubicBezTo>
                <a:cubicBezTo>
                  <a:pt x="508" y="180"/>
                  <a:pt x="508" y="180"/>
                  <a:pt x="508" y="180"/>
                </a:cubicBezTo>
                <a:cubicBezTo>
                  <a:pt x="508" y="180"/>
                  <a:pt x="508" y="180"/>
                  <a:pt x="508" y="180"/>
                </a:cubicBezTo>
                <a:cubicBezTo>
                  <a:pt x="508" y="180"/>
                  <a:pt x="507" y="180"/>
                  <a:pt x="507" y="180"/>
                </a:cubicBezTo>
                <a:cubicBezTo>
                  <a:pt x="507" y="180"/>
                  <a:pt x="507" y="180"/>
                  <a:pt x="507" y="180"/>
                </a:cubicBezTo>
                <a:cubicBezTo>
                  <a:pt x="507" y="180"/>
                  <a:pt x="507" y="180"/>
                  <a:pt x="507" y="180"/>
                </a:cubicBezTo>
                <a:cubicBezTo>
                  <a:pt x="507" y="180"/>
                  <a:pt x="507" y="180"/>
                  <a:pt x="507" y="180"/>
                </a:cubicBezTo>
                <a:cubicBezTo>
                  <a:pt x="507" y="180"/>
                  <a:pt x="507" y="180"/>
                  <a:pt x="507" y="180"/>
                </a:cubicBezTo>
                <a:cubicBezTo>
                  <a:pt x="507" y="180"/>
                  <a:pt x="507" y="180"/>
                  <a:pt x="507" y="180"/>
                </a:cubicBezTo>
                <a:cubicBezTo>
                  <a:pt x="506" y="180"/>
                  <a:pt x="506" y="180"/>
                  <a:pt x="506" y="180"/>
                </a:cubicBezTo>
                <a:cubicBezTo>
                  <a:pt x="506" y="180"/>
                  <a:pt x="506" y="180"/>
                  <a:pt x="506" y="180"/>
                </a:cubicBezTo>
                <a:cubicBezTo>
                  <a:pt x="506" y="180"/>
                  <a:pt x="506" y="180"/>
                  <a:pt x="506" y="180"/>
                </a:cubicBezTo>
                <a:cubicBezTo>
                  <a:pt x="506" y="180"/>
                  <a:pt x="506" y="180"/>
                  <a:pt x="506" y="180"/>
                </a:cubicBezTo>
                <a:cubicBezTo>
                  <a:pt x="506" y="179"/>
                  <a:pt x="506" y="179"/>
                  <a:pt x="506" y="179"/>
                </a:cubicBezTo>
                <a:cubicBezTo>
                  <a:pt x="506" y="179"/>
                  <a:pt x="505" y="179"/>
                  <a:pt x="505" y="179"/>
                </a:cubicBezTo>
                <a:cubicBezTo>
                  <a:pt x="505" y="178"/>
                  <a:pt x="505" y="178"/>
                  <a:pt x="505" y="178"/>
                </a:cubicBezTo>
                <a:cubicBezTo>
                  <a:pt x="504" y="178"/>
                  <a:pt x="504" y="178"/>
                  <a:pt x="504" y="178"/>
                </a:cubicBezTo>
                <a:cubicBezTo>
                  <a:pt x="504" y="177"/>
                  <a:pt x="504" y="177"/>
                  <a:pt x="504" y="177"/>
                </a:cubicBezTo>
                <a:cubicBezTo>
                  <a:pt x="502" y="175"/>
                  <a:pt x="502" y="175"/>
                  <a:pt x="502" y="175"/>
                </a:cubicBezTo>
                <a:cubicBezTo>
                  <a:pt x="501" y="174"/>
                  <a:pt x="501" y="174"/>
                  <a:pt x="501" y="174"/>
                </a:cubicBezTo>
                <a:cubicBezTo>
                  <a:pt x="501" y="173"/>
                  <a:pt x="501" y="173"/>
                  <a:pt x="501" y="173"/>
                </a:cubicBezTo>
                <a:cubicBezTo>
                  <a:pt x="501" y="173"/>
                  <a:pt x="501" y="173"/>
                  <a:pt x="501" y="173"/>
                </a:cubicBezTo>
                <a:cubicBezTo>
                  <a:pt x="501" y="173"/>
                  <a:pt x="501" y="173"/>
                  <a:pt x="501" y="173"/>
                </a:cubicBezTo>
                <a:cubicBezTo>
                  <a:pt x="500" y="173"/>
                  <a:pt x="500" y="173"/>
                  <a:pt x="500" y="173"/>
                </a:cubicBezTo>
                <a:cubicBezTo>
                  <a:pt x="500" y="173"/>
                  <a:pt x="500" y="173"/>
                  <a:pt x="500" y="173"/>
                </a:cubicBezTo>
                <a:cubicBezTo>
                  <a:pt x="500" y="173"/>
                  <a:pt x="500" y="173"/>
                  <a:pt x="500" y="173"/>
                </a:cubicBezTo>
                <a:cubicBezTo>
                  <a:pt x="500" y="173"/>
                  <a:pt x="500" y="173"/>
                  <a:pt x="500" y="173"/>
                </a:cubicBezTo>
                <a:cubicBezTo>
                  <a:pt x="500" y="173"/>
                  <a:pt x="500" y="173"/>
                  <a:pt x="500" y="173"/>
                </a:cubicBezTo>
                <a:cubicBezTo>
                  <a:pt x="500" y="173"/>
                  <a:pt x="500" y="173"/>
                  <a:pt x="500" y="173"/>
                </a:cubicBezTo>
                <a:cubicBezTo>
                  <a:pt x="498" y="173"/>
                  <a:pt x="497" y="173"/>
                  <a:pt x="496" y="173"/>
                </a:cubicBezTo>
                <a:cubicBezTo>
                  <a:pt x="495" y="173"/>
                  <a:pt x="495" y="173"/>
                  <a:pt x="495" y="173"/>
                </a:cubicBezTo>
                <a:cubicBezTo>
                  <a:pt x="495" y="173"/>
                  <a:pt x="495" y="173"/>
                  <a:pt x="495" y="173"/>
                </a:cubicBezTo>
                <a:cubicBezTo>
                  <a:pt x="495" y="173"/>
                  <a:pt x="495" y="173"/>
                  <a:pt x="495" y="173"/>
                </a:cubicBezTo>
                <a:cubicBezTo>
                  <a:pt x="495" y="173"/>
                  <a:pt x="495" y="173"/>
                  <a:pt x="495" y="173"/>
                </a:cubicBezTo>
                <a:cubicBezTo>
                  <a:pt x="495" y="173"/>
                  <a:pt x="495" y="173"/>
                  <a:pt x="495" y="173"/>
                </a:cubicBezTo>
                <a:cubicBezTo>
                  <a:pt x="495" y="173"/>
                  <a:pt x="495" y="173"/>
                  <a:pt x="495" y="173"/>
                </a:cubicBezTo>
                <a:cubicBezTo>
                  <a:pt x="494" y="174"/>
                  <a:pt x="494" y="174"/>
                  <a:pt x="494" y="174"/>
                </a:cubicBezTo>
                <a:cubicBezTo>
                  <a:pt x="493" y="174"/>
                  <a:pt x="493" y="174"/>
                  <a:pt x="493" y="174"/>
                </a:cubicBezTo>
                <a:cubicBezTo>
                  <a:pt x="480" y="178"/>
                  <a:pt x="480" y="178"/>
                  <a:pt x="480" y="178"/>
                </a:cubicBezTo>
                <a:cubicBezTo>
                  <a:pt x="479" y="178"/>
                  <a:pt x="479" y="178"/>
                  <a:pt x="479" y="178"/>
                </a:cubicBezTo>
                <a:cubicBezTo>
                  <a:pt x="479" y="178"/>
                  <a:pt x="479" y="178"/>
                  <a:pt x="479" y="178"/>
                </a:cubicBezTo>
                <a:cubicBezTo>
                  <a:pt x="479" y="178"/>
                  <a:pt x="479" y="178"/>
                  <a:pt x="479" y="178"/>
                </a:cubicBezTo>
                <a:cubicBezTo>
                  <a:pt x="479" y="178"/>
                  <a:pt x="479" y="178"/>
                  <a:pt x="479" y="178"/>
                </a:cubicBezTo>
                <a:cubicBezTo>
                  <a:pt x="479" y="178"/>
                  <a:pt x="479" y="178"/>
                  <a:pt x="479" y="178"/>
                </a:cubicBezTo>
                <a:cubicBezTo>
                  <a:pt x="479" y="179"/>
                  <a:pt x="479" y="179"/>
                  <a:pt x="479" y="179"/>
                </a:cubicBezTo>
                <a:cubicBezTo>
                  <a:pt x="479" y="179"/>
                  <a:pt x="479" y="179"/>
                  <a:pt x="479" y="180"/>
                </a:cubicBezTo>
                <a:cubicBezTo>
                  <a:pt x="479" y="180"/>
                  <a:pt x="479" y="180"/>
                  <a:pt x="479" y="180"/>
                </a:cubicBezTo>
                <a:cubicBezTo>
                  <a:pt x="479" y="180"/>
                  <a:pt x="479" y="180"/>
                  <a:pt x="479" y="180"/>
                </a:cubicBezTo>
                <a:cubicBezTo>
                  <a:pt x="479" y="180"/>
                  <a:pt x="479" y="180"/>
                  <a:pt x="479" y="180"/>
                </a:cubicBezTo>
                <a:cubicBezTo>
                  <a:pt x="480" y="182"/>
                  <a:pt x="478" y="183"/>
                  <a:pt x="478" y="184"/>
                </a:cubicBezTo>
                <a:cubicBezTo>
                  <a:pt x="478" y="184"/>
                  <a:pt x="478" y="184"/>
                  <a:pt x="478" y="184"/>
                </a:cubicBezTo>
                <a:cubicBezTo>
                  <a:pt x="478" y="184"/>
                  <a:pt x="478" y="184"/>
                  <a:pt x="478" y="184"/>
                </a:cubicBezTo>
                <a:cubicBezTo>
                  <a:pt x="478" y="184"/>
                  <a:pt x="478" y="184"/>
                  <a:pt x="478" y="184"/>
                </a:cubicBezTo>
                <a:cubicBezTo>
                  <a:pt x="479" y="184"/>
                  <a:pt x="479" y="184"/>
                  <a:pt x="479" y="184"/>
                </a:cubicBezTo>
                <a:cubicBezTo>
                  <a:pt x="479" y="184"/>
                  <a:pt x="479" y="184"/>
                  <a:pt x="479" y="184"/>
                </a:cubicBezTo>
                <a:cubicBezTo>
                  <a:pt x="479" y="184"/>
                  <a:pt x="479" y="184"/>
                  <a:pt x="479" y="184"/>
                </a:cubicBezTo>
                <a:cubicBezTo>
                  <a:pt x="480" y="185"/>
                  <a:pt x="481" y="186"/>
                  <a:pt x="481" y="187"/>
                </a:cubicBezTo>
                <a:cubicBezTo>
                  <a:pt x="481" y="187"/>
                  <a:pt x="481" y="187"/>
                  <a:pt x="481" y="187"/>
                </a:cubicBezTo>
                <a:cubicBezTo>
                  <a:pt x="482" y="187"/>
                  <a:pt x="482" y="187"/>
                  <a:pt x="482" y="187"/>
                </a:cubicBezTo>
                <a:cubicBezTo>
                  <a:pt x="483" y="188"/>
                  <a:pt x="482" y="188"/>
                  <a:pt x="482" y="189"/>
                </a:cubicBezTo>
                <a:cubicBezTo>
                  <a:pt x="482" y="189"/>
                  <a:pt x="482" y="189"/>
                  <a:pt x="482" y="189"/>
                </a:cubicBezTo>
                <a:cubicBezTo>
                  <a:pt x="483" y="189"/>
                  <a:pt x="483" y="189"/>
                  <a:pt x="483" y="189"/>
                </a:cubicBezTo>
                <a:cubicBezTo>
                  <a:pt x="483" y="190"/>
                  <a:pt x="483" y="190"/>
                  <a:pt x="483" y="190"/>
                </a:cubicBezTo>
                <a:cubicBezTo>
                  <a:pt x="483" y="190"/>
                  <a:pt x="483" y="190"/>
                  <a:pt x="483" y="190"/>
                </a:cubicBezTo>
                <a:cubicBezTo>
                  <a:pt x="483" y="190"/>
                  <a:pt x="483" y="190"/>
                  <a:pt x="483" y="190"/>
                </a:cubicBezTo>
                <a:cubicBezTo>
                  <a:pt x="483" y="190"/>
                  <a:pt x="483" y="190"/>
                  <a:pt x="483" y="190"/>
                </a:cubicBezTo>
                <a:cubicBezTo>
                  <a:pt x="483" y="190"/>
                  <a:pt x="483" y="190"/>
                  <a:pt x="483" y="190"/>
                </a:cubicBezTo>
                <a:cubicBezTo>
                  <a:pt x="483" y="190"/>
                  <a:pt x="483" y="190"/>
                  <a:pt x="483" y="190"/>
                </a:cubicBezTo>
                <a:cubicBezTo>
                  <a:pt x="483" y="190"/>
                  <a:pt x="483" y="190"/>
                  <a:pt x="483" y="190"/>
                </a:cubicBezTo>
                <a:cubicBezTo>
                  <a:pt x="483" y="190"/>
                  <a:pt x="483" y="190"/>
                  <a:pt x="483" y="190"/>
                </a:cubicBezTo>
                <a:cubicBezTo>
                  <a:pt x="483" y="190"/>
                  <a:pt x="483" y="190"/>
                  <a:pt x="483" y="190"/>
                </a:cubicBezTo>
                <a:cubicBezTo>
                  <a:pt x="483" y="190"/>
                  <a:pt x="483" y="190"/>
                  <a:pt x="483" y="190"/>
                </a:cubicBezTo>
                <a:cubicBezTo>
                  <a:pt x="483" y="190"/>
                  <a:pt x="483" y="190"/>
                  <a:pt x="483" y="190"/>
                </a:cubicBezTo>
                <a:cubicBezTo>
                  <a:pt x="483" y="191"/>
                  <a:pt x="483" y="191"/>
                  <a:pt x="483" y="191"/>
                </a:cubicBezTo>
                <a:cubicBezTo>
                  <a:pt x="483" y="191"/>
                  <a:pt x="483" y="191"/>
                  <a:pt x="483" y="191"/>
                </a:cubicBezTo>
                <a:cubicBezTo>
                  <a:pt x="483" y="191"/>
                  <a:pt x="483" y="191"/>
                  <a:pt x="483" y="191"/>
                </a:cubicBezTo>
                <a:cubicBezTo>
                  <a:pt x="483" y="191"/>
                  <a:pt x="483" y="191"/>
                  <a:pt x="483" y="191"/>
                </a:cubicBezTo>
                <a:cubicBezTo>
                  <a:pt x="483" y="191"/>
                  <a:pt x="483" y="191"/>
                  <a:pt x="483" y="191"/>
                </a:cubicBezTo>
                <a:cubicBezTo>
                  <a:pt x="483" y="191"/>
                  <a:pt x="483" y="191"/>
                  <a:pt x="483" y="191"/>
                </a:cubicBezTo>
                <a:cubicBezTo>
                  <a:pt x="483" y="192"/>
                  <a:pt x="483" y="192"/>
                  <a:pt x="483" y="192"/>
                </a:cubicBezTo>
                <a:cubicBezTo>
                  <a:pt x="483" y="192"/>
                  <a:pt x="483" y="192"/>
                  <a:pt x="483" y="192"/>
                </a:cubicBezTo>
                <a:cubicBezTo>
                  <a:pt x="482" y="195"/>
                  <a:pt x="482" y="195"/>
                  <a:pt x="482" y="195"/>
                </a:cubicBezTo>
                <a:cubicBezTo>
                  <a:pt x="482" y="195"/>
                  <a:pt x="482" y="195"/>
                  <a:pt x="482" y="195"/>
                </a:cubicBezTo>
                <a:cubicBezTo>
                  <a:pt x="482" y="196"/>
                  <a:pt x="482" y="196"/>
                  <a:pt x="482" y="196"/>
                </a:cubicBezTo>
                <a:cubicBezTo>
                  <a:pt x="482" y="196"/>
                  <a:pt x="482" y="196"/>
                  <a:pt x="482" y="196"/>
                </a:cubicBezTo>
                <a:cubicBezTo>
                  <a:pt x="482" y="196"/>
                  <a:pt x="482" y="196"/>
                  <a:pt x="482" y="196"/>
                </a:cubicBezTo>
                <a:cubicBezTo>
                  <a:pt x="482" y="196"/>
                  <a:pt x="482" y="196"/>
                  <a:pt x="482" y="196"/>
                </a:cubicBezTo>
                <a:cubicBezTo>
                  <a:pt x="480" y="197"/>
                  <a:pt x="479" y="198"/>
                  <a:pt x="478" y="199"/>
                </a:cubicBezTo>
                <a:cubicBezTo>
                  <a:pt x="477" y="200"/>
                  <a:pt x="477" y="200"/>
                  <a:pt x="477" y="200"/>
                </a:cubicBezTo>
                <a:cubicBezTo>
                  <a:pt x="475" y="202"/>
                  <a:pt x="475" y="202"/>
                  <a:pt x="475" y="202"/>
                </a:cubicBezTo>
                <a:cubicBezTo>
                  <a:pt x="474" y="202"/>
                  <a:pt x="474" y="202"/>
                  <a:pt x="474" y="202"/>
                </a:cubicBezTo>
                <a:cubicBezTo>
                  <a:pt x="474" y="203"/>
                  <a:pt x="474" y="203"/>
                  <a:pt x="474" y="203"/>
                </a:cubicBezTo>
                <a:cubicBezTo>
                  <a:pt x="474" y="203"/>
                  <a:pt x="474" y="203"/>
                  <a:pt x="474" y="203"/>
                </a:cubicBezTo>
                <a:cubicBezTo>
                  <a:pt x="474" y="203"/>
                  <a:pt x="474" y="203"/>
                  <a:pt x="474" y="203"/>
                </a:cubicBezTo>
                <a:cubicBezTo>
                  <a:pt x="474" y="203"/>
                  <a:pt x="474" y="203"/>
                  <a:pt x="474" y="203"/>
                </a:cubicBezTo>
                <a:cubicBezTo>
                  <a:pt x="474" y="203"/>
                  <a:pt x="474" y="203"/>
                  <a:pt x="474" y="203"/>
                </a:cubicBezTo>
                <a:cubicBezTo>
                  <a:pt x="474" y="204"/>
                  <a:pt x="474" y="204"/>
                  <a:pt x="474" y="205"/>
                </a:cubicBezTo>
                <a:cubicBezTo>
                  <a:pt x="474" y="207"/>
                  <a:pt x="474" y="207"/>
                  <a:pt x="474" y="207"/>
                </a:cubicBezTo>
                <a:cubicBezTo>
                  <a:pt x="473" y="208"/>
                  <a:pt x="473" y="208"/>
                  <a:pt x="473" y="208"/>
                </a:cubicBezTo>
                <a:cubicBezTo>
                  <a:pt x="473" y="208"/>
                  <a:pt x="473" y="208"/>
                  <a:pt x="473" y="208"/>
                </a:cubicBezTo>
                <a:cubicBezTo>
                  <a:pt x="473" y="208"/>
                  <a:pt x="473" y="208"/>
                  <a:pt x="473" y="208"/>
                </a:cubicBezTo>
                <a:cubicBezTo>
                  <a:pt x="473" y="208"/>
                  <a:pt x="473" y="208"/>
                  <a:pt x="473" y="208"/>
                </a:cubicBezTo>
                <a:cubicBezTo>
                  <a:pt x="473" y="208"/>
                  <a:pt x="473" y="208"/>
                  <a:pt x="473" y="208"/>
                </a:cubicBezTo>
                <a:cubicBezTo>
                  <a:pt x="472" y="208"/>
                  <a:pt x="472" y="208"/>
                  <a:pt x="472" y="208"/>
                </a:cubicBezTo>
                <a:cubicBezTo>
                  <a:pt x="472" y="209"/>
                  <a:pt x="472" y="209"/>
                  <a:pt x="472" y="209"/>
                </a:cubicBezTo>
                <a:cubicBezTo>
                  <a:pt x="472" y="209"/>
                  <a:pt x="472" y="209"/>
                  <a:pt x="472" y="209"/>
                </a:cubicBezTo>
                <a:cubicBezTo>
                  <a:pt x="472" y="209"/>
                  <a:pt x="472" y="209"/>
                  <a:pt x="472" y="209"/>
                </a:cubicBezTo>
                <a:cubicBezTo>
                  <a:pt x="472" y="209"/>
                  <a:pt x="472" y="209"/>
                  <a:pt x="472" y="209"/>
                </a:cubicBezTo>
                <a:cubicBezTo>
                  <a:pt x="472" y="209"/>
                  <a:pt x="472" y="209"/>
                  <a:pt x="472" y="209"/>
                </a:cubicBezTo>
                <a:cubicBezTo>
                  <a:pt x="471" y="209"/>
                  <a:pt x="470" y="211"/>
                  <a:pt x="469" y="211"/>
                </a:cubicBezTo>
                <a:cubicBezTo>
                  <a:pt x="469" y="211"/>
                  <a:pt x="469" y="211"/>
                  <a:pt x="469" y="211"/>
                </a:cubicBezTo>
                <a:cubicBezTo>
                  <a:pt x="469" y="211"/>
                  <a:pt x="469" y="211"/>
                  <a:pt x="469" y="211"/>
                </a:cubicBezTo>
                <a:cubicBezTo>
                  <a:pt x="469" y="211"/>
                  <a:pt x="469" y="211"/>
                  <a:pt x="468" y="211"/>
                </a:cubicBezTo>
                <a:cubicBezTo>
                  <a:pt x="468" y="211"/>
                  <a:pt x="468" y="211"/>
                  <a:pt x="468" y="211"/>
                </a:cubicBezTo>
                <a:cubicBezTo>
                  <a:pt x="468" y="211"/>
                  <a:pt x="468" y="211"/>
                  <a:pt x="468" y="211"/>
                </a:cubicBezTo>
                <a:cubicBezTo>
                  <a:pt x="468" y="211"/>
                  <a:pt x="468" y="211"/>
                  <a:pt x="468" y="211"/>
                </a:cubicBezTo>
                <a:cubicBezTo>
                  <a:pt x="468" y="211"/>
                  <a:pt x="468" y="211"/>
                  <a:pt x="468" y="211"/>
                </a:cubicBezTo>
                <a:cubicBezTo>
                  <a:pt x="467" y="211"/>
                  <a:pt x="467" y="211"/>
                  <a:pt x="467" y="211"/>
                </a:cubicBezTo>
                <a:cubicBezTo>
                  <a:pt x="466" y="212"/>
                  <a:pt x="465" y="212"/>
                  <a:pt x="464" y="213"/>
                </a:cubicBezTo>
                <a:cubicBezTo>
                  <a:pt x="464" y="214"/>
                  <a:pt x="464" y="214"/>
                  <a:pt x="464" y="214"/>
                </a:cubicBezTo>
                <a:cubicBezTo>
                  <a:pt x="464" y="214"/>
                  <a:pt x="464" y="214"/>
                  <a:pt x="464" y="214"/>
                </a:cubicBezTo>
                <a:cubicBezTo>
                  <a:pt x="463" y="214"/>
                  <a:pt x="463" y="214"/>
                  <a:pt x="463" y="214"/>
                </a:cubicBezTo>
                <a:cubicBezTo>
                  <a:pt x="463" y="214"/>
                  <a:pt x="463" y="214"/>
                  <a:pt x="463" y="214"/>
                </a:cubicBezTo>
                <a:cubicBezTo>
                  <a:pt x="462" y="214"/>
                  <a:pt x="462" y="214"/>
                  <a:pt x="462" y="214"/>
                </a:cubicBezTo>
                <a:cubicBezTo>
                  <a:pt x="462" y="214"/>
                  <a:pt x="462" y="214"/>
                  <a:pt x="462" y="214"/>
                </a:cubicBezTo>
                <a:cubicBezTo>
                  <a:pt x="462" y="214"/>
                  <a:pt x="462" y="214"/>
                  <a:pt x="462" y="214"/>
                </a:cubicBezTo>
                <a:cubicBezTo>
                  <a:pt x="462" y="214"/>
                  <a:pt x="462" y="214"/>
                  <a:pt x="462" y="214"/>
                </a:cubicBezTo>
                <a:cubicBezTo>
                  <a:pt x="462" y="214"/>
                  <a:pt x="462" y="214"/>
                  <a:pt x="462" y="214"/>
                </a:cubicBezTo>
                <a:cubicBezTo>
                  <a:pt x="462" y="214"/>
                  <a:pt x="462" y="214"/>
                  <a:pt x="462" y="214"/>
                </a:cubicBezTo>
                <a:cubicBezTo>
                  <a:pt x="461" y="214"/>
                  <a:pt x="461" y="214"/>
                  <a:pt x="461" y="214"/>
                </a:cubicBezTo>
                <a:cubicBezTo>
                  <a:pt x="461" y="214"/>
                  <a:pt x="461" y="214"/>
                  <a:pt x="461" y="214"/>
                </a:cubicBezTo>
                <a:cubicBezTo>
                  <a:pt x="460" y="215"/>
                  <a:pt x="460" y="215"/>
                  <a:pt x="460" y="215"/>
                </a:cubicBezTo>
                <a:cubicBezTo>
                  <a:pt x="458" y="216"/>
                  <a:pt x="458" y="216"/>
                  <a:pt x="458" y="216"/>
                </a:cubicBezTo>
                <a:cubicBezTo>
                  <a:pt x="458" y="216"/>
                  <a:pt x="458" y="216"/>
                  <a:pt x="458" y="216"/>
                </a:cubicBezTo>
                <a:cubicBezTo>
                  <a:pt x="457" y="216"/>
                  <a:pt x="457" y="216"/>
                  <a:pt x="457" y="216"/>
                </a:cubicBezTo>
                <a:cubicBezTo>
                  <a:pt x="458" y="216"/>
                  <a:pt x="458" y="216"/>
                  <a:pt x="458" y="216"/>
                </a:cubicBezTo>
                <a:cubicBezTo>
                  <a:pt x="458" y="216"/>
                  <a:pt x="458" y="216"/>
                  <a:pt x="458" y="216"/>
                </a:cubicBezTo>
                <a:cubicBezTo>
                  <a:pt x="458" y="216"/>
                  <a:pt x="458" y="216"/>
                  <a:pt x="458" y="216"/>
                </a:cubicBezTo>
                <a:cubicBezTo>
                  <a:pt x="458" y="216"/>
                  <a:pt x="458" y="216"/>
                  <a:pt x="458" y="216"/>
                </a:cubicBezTo>
                <a:cubicBezTo>
                  <a:pt x="458" y="216"/>
                  <a:pt x="458" y="216"/>
                  <a:pt x="458" y="216"/>
                </a:cubicBezTo>
                <a:cubicBezTo>
                  <a:pt x="458" y="216"/>
                  <a:pt x="458" y="216"/>
                  <a:pt x="458" y="216"/>
                </a:cubicBezTo>
                <a:cubicBezTo>
                  <a:pt x="458" y="217"/>
                  <a:pt x="458" y="217"/>
                  <a:pt x="458" y="217"/>
                </a:cubicBezTo>
                <a:cubicBezTo>
                  <a:pt x="458" y="217"/>
                  <a:pt x="458" y="217"/>
                  <a:pt x="458" y="217"/>
                </a:cubicBezTo>
                <a:cubicBezTo>
                  <a:pt x="458" y="217"/>
                  <a:pt x="458" y="217"/>
                  <a:pt x="458" y="217"/>
                </a:cubicBezTo>
                <a:cubicBezTo>
                  <a:pt x="458" y="217"/>
                  <a:pt x="458" y="217"/>
                  <a:pt x="458" y="217"/>
                </a:cubicBezTo>
                <a:cubicBezTo>
                  <a:pt x="458" y="218"/>
                  <a:pt x="458" y="218"/>
                  <a:pt x="458" y="218"/>
                </a:cubicBezTo>
                <a:cubicBezTo>
                  <a:pt x="458" y="219"/>
                  <a:pt x="458" y="219"/>
                  <a:pt x="458" y="219"/>
                </a:cubicBezTo>
                <a:cubicBezTo>
                  <a:pt x="458" y="220"/>
                  <a:pt x="458" y="220"/>
                  <a:pt x="458" y="220"/>
                </a:cubicBezTo>
                <a:cubicBezTo>
                  <a:pt x="457" y="220"/>
                  <a:pt x="457" y="220"/>
                  <a:pt x="457" y="220"/>
                </a:cubicBezTo>
                <a:cubicBezTo>
                  <a:pt x="457" y="220"/>
                  <a:pt x="457" y="220"/>
                  <a:pt x="457" y="220"/>
                </a:cubicBezTo>
                <a:cubicBezTo>
                  <a:pt x="457" y="220"/>
                  <a:pt x="457" y="220"/>
                  <a:pt x="457" y="220"/>
                </a:cubicBezTo>
                <a:cubicBezTo>
                  <a:pt x="456" y="220"/>
                  <a:pt x="456" y="220"/>
                  <a:pt x="456" y="220"/>
                </a:cubicBezTo>
                <a:cubicBezTo>
                  <a:pt x="456" y="220"/>
                  <a:pt x="456" y="220"/>
                  <a:pt x="456" y="220"/>
                </a:cubicBezTo>
                <a:cubicBezTo>
                  <a:pt x="456" y="220"/>
                  <a:pt x="456" y="220"/>
                  <a:pt x="456" y="220"/>
                </a:cubicBezTo>
                <a:cubicBezTo>
                  <a:pt x="455" y="221"/>
                  <a:pt x="455" y="221"/>
                  <a:pt x="455" y="221"/>
                </a:cubicBezTo>
                <a:cubicBezTo>
                  <a:pt x="455" y="221"/>
                  <a:pt x="455" y="221"/>
                  <a:pt x="455" y="221"/>
                </a:cubicBezTo>
                <a:cubicBezTo>
                  <a:pt x="454" y="221"/>
                  <a:pt x="454" y="221"/>
                  <a:pt x="454" y="221"/>
                </a:cubicBezTo>
                <a:cubicBezTo>
                  <a:pt x="454" y="221"/>
                  <a:pt x="454" y="221"/>
                  <a:pt x="454" y="221"/>
                </a:cubicBezTo>
                <a:cubicBezTo>
                  <a:pt x="454" y="221"/>
                  <a:pt x="454" y="221"/>
                  <a:pt x="454" y="221"/>
                </a:cubicBezTo>
                <a:cubicBezTo>
                  <a:pt x="454" y="221"/>
                  <a:pt x="454" y="221"/>
                  <a:pt x="454" y="221"/>
                </a:cubicBezTo>
                <a:cubicBezTo>
                  <a:pt x="454" y="221"/>
                  <a:pt x="454" y="221"/>
                  <a:pt x="454" y="221"/>
                </a:cubicBezTo>
                <a:cubicBezTo>
                  <a:pt x="454" y="221"/>
                  <a:pt x="454" y="221"/>
                  <a:pt x="454" y="221"/>
                </a:cubicBezTo>
                <a:cubicBezTo>
                  <a:pt x="454" y="221"/>
                  <a:pt x="454" y="221"/>
                  <a:pt x="454" y="221"/>
                </a:cubicBezTo>
                <a:cubicBezTo>
                  <a:pt x="453" y="220"/>
                  <a:pt x="453" y="221"/>
                  <a:pt x="452" y="221"/>
                </a:cubicBezTo>
                <a:cubicBezTo>
                  <a:pt x="452" y="221"/>
                  <a:pt x="452" y="221"/>
                  <a:pt x="452" y="221"/>
                </a:cubicBezTo>
                <a:cubicBezTo>
                  <a:pt x="452" y="221"/>
                  <a:pt x="452" y="221"/>
                  <a:pt x="452" y="221"/>
                </a:cubicBezTo>
                <a:cubicBezTo>
                  <a:pt x="452" y="220"/>
                  <a:pt x="452" y="220"/>
                  <a:pt x="452" y="220"/>
                </a:cubicBezTo>
                <a:cubicBezTo>
                  <a:pt x="451" y="220"/>
                  <a:pt x="451" y="220"/>
                  <a:pt x="451" y="220"/>
                </a:cubicBezTo>
                <a:cubicBezTo>
                  <a:pt x="451" y="219"/>
                  <a:pt x="451" y="219"/>
                  <a:pt x="451" y="219"/>
                </a:cubicBezTo>
                <a:cubicBezTo>
                  <a:pt x="451" y="219"/>
                  <a:pt x="451" y="219"/>
                  <a:pt x="451" y="219"/>
                </a:cubicBezTo>
                <a:cubicBezTo>
                  <a:pt x="451" y="219"/>
                  <a:pt x="451" y="219"/>
                  <a:pt x="451" y="219"/>
                </a:cubicBezTo>
                <a:cubicBezTo>
                  <a:pt x="451" y="219"/>
                  <a:pt x="451" y="219"/>
                  <a:pt x="451" y="219"/>
                </a:cubicBezTo>
                <a:cubicBezTo>
                  <a:pt x="449" y="219"/>
                  <a:pt x="449" y="219"/>
                  <a:pt x="447" y="219"/>
                </a:cubicBezTo>
                <a:cubicBezTo>
                  <a:pt x="447" y="219"/>
                  <a:pt x="447" y="219"/>
                  <a:pt x="447" y="219"/>
                </a:cubicBezTo>
                <a:cubicBezTo>
                  <a:pt x="447" y="219"/>
                  <a:pt x="447" y="219"/>
                  <a:pt x="447" y="219"/>
                </a:cubicBezTo>
                <a:cubicBezTo>
                  <a:pt x="445" y="219"/>
                  <a:pt x="444" y="218"/>
                  <a:pt x="443" y="219"/>
                </a:cubicBezTo>
                <a:cubicBezTo>
                  <a:pt x="443" y="219"/>
                  <a:pt x="443" y="219"/>
                  <a:pt x="443" y="219"/>
                </a:cubicBezTo>
                <a:cubicBezTo>
                  <a:pt x="443" y="219"/>
                  <a:pt x="443" y="219"/>
                  <a:pt x="443" y="219"/>
                </a:cubicBezTo>
                <a:cubicBezTo>
                  <a:pt x="443" y="219"/>
                  <a:pt x="443" y="219"/>
                  <a:pt x="443" y="219"/>
                </a:cubicBezTo>
                <a:cubicBezTo>
                  <a:pt x="443" y="219"/>
                  <a:pt x="443" y="219"/>
                  <a:pt x="443" y="219"/>
                </a:cubicBezTo>
                <a:cubicBezTo>
                  <a:pt x="442" y="219"/>
                  <a:pt x="442" y="219"/>
                  <a:pt x="442" y="219"/>
                </a:cubicBezTo>
                <a:cubicBezTo>
                  <a:pt x="438" y="219"/>
                  <a:pt x="439" y="220"/>
                  <a:pt x="435" y="218"/>
                </a:cubicBezTo>
                <a:cubicBezTo>
                  <a:pt x="434" y="218"/>
                  <a:pt x="434" y="218"/>
                  <a:pt x="434" y="218"/>
                </a:cubicBezTo>
                <a:cubicBezTo>
                  <a:pt x="434" y="218"/>
                  <a:pt x="434" y="218"/>
                  <a:pt x="434" y="218"/>
                </a:cubicBezTo>
                <a:cubicBezTo>
                  <a:pt x="434" y="218"/>
                  <a:pt x="434" y="218"/>
                  <a:pt x="434" y="218"/>
                </a:cubicBezTo>
                <a:cubicBezTo>
                  <a:pt x="432" y="218"/>
                  <a:pt x="433" y="217"/>
                  <a:pt x="431" y="217"/>
                </a:cubicBezTo>
                <a:cubicBezTo>
                  <a:pt x="431" y="216"/>
                  <a:pt x="431" y="216"/>
                  <a:pt x="431" y="216"/>
                </a:cubicBezTo>
                <a:cubicBezTo>
                  <a:pt x="430" y="216"/>
                  <a:pt x="430" y="216"/>
                  <a:pt x="430" y="216"/>
                </a:cubicBezTo>
                <a:cubicBezTo>
                  <a:pt x="429" y="216"/>
                  <a:pt x="428" y="216"/>
                  <a:pt x="427" y="215"/>
                </a:cubicBezTo>
                <a:cubicBezTo>
                  <a:pt x="426" y="215"/>
                  <a:pt x="426" y="215"/>
                  <a:pt x="426" y="215"/>
                </a:cubicBezTo>
                <a:cubicBezTo>
                  <a:pt x="425" y="214"/>
                  <a:pt x="425" y="214"/>
                  <a:pt x="425" y="214"/>
                </a:cubicBezTo>
                <a:cubicBezTo>
                  <a:pt x="424" y="211"/>
                  <a:pt x="424" y="211"/>
                  <a:pt x="424" y="211"/>
                </a:cubicBezTo>
                <a:cubicBezTo>
                  <a:pt x="423" y="211"/>
                  <a:pt x="423" y="211"/>
                  <a:pt x="423" y="211"/>
                </a:cubicBezTo>
                <a:cubicBezTo>
                  <a:pt x="427" y="211"/>
                  <a:pt x="427" y="211"/>
                  <a:pt x="427" y="211"/>
                </a:cubicBezTo>
                <a:cubicBezTo>
                  <a:pt x="432" y="210"/>
                  <a:pt x="432" y="210"/>
                  <a:pt x="432" y="210"/>
                </a:cubicBezTo>
                <a:cubicBezTo>
                  <a:pt x="433" y="210"/>
                  <a:pt x="433" y="210"/>
                  <a:pt x="433" y="210"/>
                </a:cubicBezTo>
                <a:cubicBezTo>
                  <a:pt x="433" y="210"/>
                  <a:pt x="433" y="210"/>
                  <a:pt x="433" y="210"/>
                </a:cubicBezTo>
                <a:cubicBezTo>
                  <a:pt x="433" y="210"/>
                  <a:pt x="433" y="210"/>
                  <a:pt x="433" y="210"/>
                </a:cubicBezTo>
                <a:cubicBezTo>
                  <a:pt x="433" y="210"/>
                  <a:pt x="433" y="210"/>
                  <a:pt x="433" y="210"/>
                </a:cubicBezTo>
                <a:cubicBezTo>
                  <a:pt x="433" y="210"/>
                  <a:pt x="433" y="210"/>
                  <a:pt x="433" y="210"/>
                </a:cubicBezTo>
                <a:cubicBezTo>
                  <a:pt x="434" y="211"/>
                  <a:pt x="434" y="211"/>
                  <a:pt x="434" y="211"/>
                </a:cubicBezTo>
                <a:cubicBezTo>
                  <a:pt x="435" y="211"/>
                  <a:pt x="435" y="211"/>
                  <a:pt x="435" y="211"/>
                </a:cubicBezTo>
                <a:cubicBezTo>
                  <a:pt x="436" y="212"/>
                  <a:pt x="436" y="212"/>
                  <a:pt x="436" y="212"/>
                </a:cubicBezTo>
                <a:cubicBezTo>
                  <a:pt x="437" y="213"/>
                  <a:pt x="437" y="213"/>
                  <a:pt x="437" y="213"/>
                </a:cubicBezTo>
                <a:cubicBezTo>
                  <a:pt x="438" y="213"/>
                  <a:pt x="438" y="213"/>
                  <a:pt x="438" y="213"/>
                </a:cubicBezTo>
                <a:cubicBezTo>
                  <a:pt x="438" y="213"/>
                  <a:pt x="438" y="213"/>
                  <a:pt x="438" y="213"/>
                </a:cubicBezTo>
                <a:cubicBezTo>
                  <a:pt x="438" y="213"/>
                  <a:pt x="438" y="213"/>
                  <a:pt x="438" y="213"/>
                </a:cubicBezTo>
                <a:cubicBezTo>
                  <a:pt x="438" y="213"/>
                  <a:pt x="438" y="213"/>
                  <a:pt x="438" y="213"/>
                </a:cubicBezTo>
                <a:cubicBezTo>
                  <a:pt x="439" y="213"/>
                  <a:pt x="439" y="213"/>
                  <a:pt x="439" y="213"/>
                </a:cubicBezTo>
                <a:cubicBezTo>
                  <a:pt x="439" y="213"/>
                  <a:pt x="439" y="213"/>
                  <a:pt x="439" y="213"/>
                </a:cubicBezTo>
                <a:cubicBezTo>
                  <a:pt x="439" y="213"/>
                  <a:pt x="439" y="213"/>
                  <a:pt x="439" y="213"/>
                </a:cubicBezTo>
                <a:cubicBezTo>
                  <a:pt x="439" y="213"/>
                  <a:pt x="439" y="213"/>
                  <a:pt x="439" y="213"/>
                </a:cubicBezTo>
                <a:cubicBezTo>
                  <a:pt x="439" y="213"/>
                  <a:pt x="439" y="213"/>
                  <a:pt x="439" y="213"/>
                </a:cubicBezTo>
                <a:cubicBezTo>
                  <a:pt x="439" y="213"/>
                  <a:pt x="439" y="213"/>
                  <a:pt x="439" y="213"/>
                </a:cubicBezTo>
                <a:cubicBezTo>
                  <a:pt x="439" y="213"/>
                  <a:pt x="439" y="213"/>
                  <a:pt x="439" y="213"/>
                </a:cubicBezTo>
                <a:cubicBezTo>
                  <a:pt x="439" y="213"/>
                  <a:pt x="439" y="213"/>
                  <a:pt x="439" y="213"/>
                </a:cubicBezTo>
                <a:cubicBezTo>
                  <a:pt x="439" y="213"/>
                  <a:pt x="439" y="213"/>
                  <a:pt x="439" y="213"/>
                </a:cubicBezTo>
                <a:cubicBezTo>
                  <a:pt x="439" y="212"/>
                  <a:pt x="439" y="212"/>
                  <a:pt x="439" y="212"/>
                </a:cubicBezTo>
                <a:cubicBezTo>
                  <a:pt x="439" y="212"/>
                  <a:pt x="440" y="212"/>
                  <a:pt x="440" y="212"/>
                </a:cubicBezTo>
                <a:cubicBezTo>
                  <a:pt x="440" y="212"/>
                  <a:pt x="440" y="212"/>
                  <a:pt x="440" y="212"/>
                </a:cubicBezTo>
                <a:cubicBezTo>
                  <a:pt x="440" y="212"/>
                  <a:pt x="440" y="212"/>
                  <a:pt x="440" y="212"/>
                </a:cubicBezTo>
                <a:cubicBezTo>
                  <a:pt x="440" y="212"/>
                  <a:pt x="440" y="212"/>
                  <a:pt x="440" y="212"/>
                </a:cubicBezTo>
                <a:cubicBezTo>
                  <a:pt x="439" y="212"/>
                  <a:pt x="439" y="212"/>
                  <a:pt x="439" y="212"/>
                </a:cubicBezTo>
                <a:cubicBezTo>
                  <a:pt x="439" y="212"/>
                  <a:pt x="439" y="212"/>
                  <a:pt x="439" y="212"/>
                </a:cubicBezTo>
                <a:cubicBezTo>
                  <a:pt x="440" y="212"/>
                  <a:pt x="440" y="212"/>
                  <a:pt x="440" y="212"/>
                </a:cubicBezTo>
                <a:cubicBezTo>
                  <a:pt x="440" y="212"/>
                  <a:pt x="440" y="212"/>
                  <a:pt x="440" y="212"/>
                </a:cubicBezTo>
                <a:cubicBezTo>
                  <a:pt x="440" y="212"/>
                  <a:pt x="440" y="212"/>
                  <a:pt x="440" y="212"/>
                </a:cubicBezTo>
                <a:cubicBezTo>
                  <a:pt x="440" y="212"/>
                  <a:pt x="440" y="212"/>
                  <a:pt x="440" y="212"/>
                </a:cubicBezTo>
                <a:cubicBezTo>
                  <a:pt x="441" y="212"/>
                  <a:pt x="441" y="212"/>
                  <a:pt x="441" y="212"/>
                </a:cubicBezTo>
                <a:cubicBezTo>
                  <a:pt x="441" y="212"/>
                  <a:pt x="441" y="212"/>
                  <a:pt x="441" y="212"/>
                </a:cubicBezTo>
                <a:cubicBezTo>
                  <a:pt x="441" y="212"/>
                  <a:pt x="441" y="212"/>
                  <a:pt x="441" y="212"/>
                </a:cubicBezTo>
                <a:cubicBezTo>
                  <a:pt x="441" y="212"/>
                  <a:pt x="441" y="212"/>
                  <a:pt x="441" y="212"/>
                </a:cubicBezTo>
                <a:cubicBezTo>
                  <a:pt x="442" y="212"/>
                  <a:pt x="442" y="212"/>
                  <a:pt x="442" y="212"/>
                </a:cubicBezTo>
                <a:cubicBezTo>
                  <a:pt x="452" y="209"/>
                  <a:pt x="452" y="209"/>
                  <a:pt x="452" y="209"/>
                </a:cubicBezTo>
                <a:cubicBezTo>
                  <a:pt x="452" y="209"/>
                  <a:pt x="452" y="209"/>
                  <a:pt x="452" y="209"/>
                </a:cubicBezTo>
                <a:cubicBezTo>
                  <a:pt x="452" y="209"/>
                  <a:pt x="452" y="209"/>
                  <a:pt x="452" y="209"/>
                </a:cubicBezTo>
                <a:cubicBezTo>
                  <a:pt x="452" y="208"/>
                  <a:pt x="453" y="208"/>
                  <a:pt x="453" y="208"/>
                </a:cubicBezTo>
                <a:cubicBezTo>
                  <a:pt x="453" y="208"/>
                  <a:pt x="453" y="208"/>
                  <a:pt x="453" y="208"/>
                </a:cubicBezTo>
                <a:cubicBezTo>
                  <a:pt x="453" y="208"/>
                  <a:pt x="453" y="208"/>
                  <a:pt x="453" y="208"/>
                </a:cubicBezTo>
                <a:cubicBezTo>
                  <a:pt x="453" y="208"/>
                  <a:pt x="453" y="208"/>
                  <a:pt x="453" y="208"/>
                </a:cubicBezTo>
                <a:cubicBezTo>
                  <a:pt x="453" y="208"/>
                  <a:pt x="453" y="208"/>
                  <a:pt x="453" y="208"/>
                </a:cubicBezTo>
                <a:cubicBezTo>
                  <a:pt x="454" y="207"/>
                  <a:pt x="455" y="207"/>
                  <a:pt x="455" y="206"/>
                </a:cubicBezTo>
                <a:cubicBezTo>
                  <a:pt x="456" y="205"/>
                  <a:pt x="456" y="205"/>
                  <a:pt x="456" y="205"/>
                </a:cubicBezTo>
                <a:cubicBezTo>
                  <a:pt x="456" y="205"/>
                  <a:pt x="456" y="205"/>
                  <a:pt x="456" y="205"/>
                </a:cubicBezTo>
                <a:cubicBezTo>
                  <a:pt x="457" y="205"/>
                  <a:pt x="457" y="205"/>
                  <a:pt x="457" y="205"/>
                </a:cubicBezTo>
                <a:cubicBezTo>
                  <a:pt x="457" y="205"/>
                  <a:pt x="457" y="205"/>
                  <a:pt x="457" y="205"/>
                </a:cubicBezTo>
                <a:cubicBezTo>
                  <a:pt x="457" y="204"/>
                  <a:pt x="457" y="204"/>
                  <a:pt x="457" y="204"/>
                </a:cubicBezTo>
                <a:cubicBezTo>
                  <a:pt x="457" y="204"/>
                  <a:pt x="457" y="204"/>
                  <a:pt x="457" y="204"/>
                </a:cubicBezTo>
                <a:cubicBezTo>
                  <a:pt x="457" y="204"/>
                  <a:pt x="457" y="204"/>
                  <a:pt x="457" y="204"/>
                </a:cubicBezTo>
                <a:cubicBezTo>
                  <a:pt x="457" y="204"/>
                  <a:pt x="457" y="204"/>
                  <a:pt x="457" y="204"/>
                </a:cubicBezTo>
                <a:cubicBezTo>
                  <a:pt x="456" y="204"/>
                  <a:pt x="456" y="204"/>
                  <a:pt x="456" y="204"/>
                </a:cubicBezTo>
                <a:cubicBezTo>
                  <a:pt x="456" y="204"/>
                  <a:pt x="456" y="204"/>
                  <a:pt x="456" y="204"/>
                </a:cubicBezTo>
                <a:cubicBezTo>
                  <a:pt x="457" y="204"/>
                  <a:pt x="457" y="204"/>
                  <a:pt x="457" y="204"/>
                </a:cubicBezTo>
                <a:cubicBezTo>
                  <a:pt x="457" y="203"/>
                  <a:pt x="457" y="203"/>
                  <a:pt x="457" y="203"/>
                </a:cubicBezTo>
                <a:cubicBezTo>
                  <a:pt x="458" y="203"/>
                  <a:pt x="458" y="203"/>
                  <a:pt x="458" y="203"/>
                </a:cubicBezTo>
                <a:cubicBezTo>
                  <a:pt x="458" y="202"/>
                  <a:pt x="458" y="202"/>
                  <a:pt x="458" y="202"/>
                </a:cubicBezTo>
                <a:cubicBezTo>
                  <a:pt x="458" y="202"/>
                  <a:pt x="458" y="202"/>
                  <a:pt x="458" y="202"/>
                </a:cubicBezTo>
                <a:cubicBezTo>
                  <a:pt x="459" y="202"/>
                  <a:pt x="459" y="202"/>
                  <a:pt x="459" y="202"/>
                </a:cubicBezTo>
                <a:cubicBezTo>
                  <a:pt x="459" y="202"/>
                  <a:pt x="459" y="202"/>
                  <a:pt x="459" y="202"/>
                </a:cubicBezTo>
                <a:cubicBezTo>
                  <a:pt x="459" y="202"/>
                  <a:pt x="459" y="202"/>
                  <a:pt x="459" y="202"/>
                </a:cubicBezTo>
                <a:cubicBezTo>
                  <a:pt x="459" y="201"/>
                  <a:pt x="459" y="201"/>
                  <a:pt x="459" y="201"/>
                </a:cubicBezTo>
                <a:cubicBezTo>
                  <a:pt x="459" y="201"/>
                  <a:pt x="459" y="201"/>
                  <a:pt x="459" y="201"/>
                </a:cubicBezTo>
                <a:cubicBezTo>
                  <a:pt x="459" y="201"/>
                  <a:pt x="459" y="201"/>
                  <a:pt x="459" y="201"/>
                </a:cubicBezTo>
                <a:cubicBezTo>
                  <a:pt x="459" y="200"/>
                  <a:pt x="459" y="200"/>
                  <a:pt x="459" y="200"/>
                </a:cubicBezTo>
                <a:cubicBezTo>
                  <a:pt x="459" y="200"/>
                  <a:pt x="459" y="200"/>
                  <a:pt x="459" y="200"/>
                </a:cubicBezTo>
                <a:cubicBezTo>
                  <a:pt x="461" y="199"/>
                  <a:pt x="461" y="199"/>
                  <a:pt x="461" y="199"/>
                </a:cubicBezTo>
                <a:cubicBezTo>
                  <a:pt x="464" y="197"/>
                  <a:pt x="464" y="197"/>
                  <a:pt x="464" y="197"/>
                </a:cubicBezTo>
                <a:cubicBezTo>
                  <a:pt x="465" y="196"/>
                  <a:pt x="465" y="196"/>
                  <a:pt x="465" y="196"/>
                </a:cubicBezTo>
                <a:cubicBezTo>
                  <a:pt x="466" y="195"/>
                  <a:pt x="466" y="195"/>
                  <a:pt x="466" y="195"/>
                </a:cubicBezTo>
                <a:cubicBezTo>
                  <a:pt x="466" y="195"/>
                  <a:pt x="466" y="195"/>
                  <a:pt x="466" y="195"/>
                </a:cubicBezTo>
                <a:cubicBezTo>
                  <a:pt x="466" y="195"/>
                  <a:pt x="466" y="195"/>
                  <a:pt x="466" y="195"/>
                </a:cubicBezTo>
                <a:cubicBezTo>
                  <a:pt x="466" y="195"/>
                  <a:pt x="466" y="195"/>
                  <a:pt x="466" y="195"/>
                </a:cubicBezTo>
                <a:cubicBezTo>
                  <a:pt x="466" y="195"/>
                  <a:pt x="466" y="195"/>
                  <a:pt x="466" y="195"/>
                </a:cubicBezTo>
                <a:cubicBezTo>
                  <a:pt x="466" y="194"/>
                  <a:pt x="465" y="194"/>
                  <a:pt x="465" y="194"/>
                </a:cubicBezTo>
                <a:cubicBezTo>
                  <a:pt x="465" y="194"/>
                  <a:pt x="465" y="194"/>
                  <a:pt x="465" y="194"/>
                </a:cubicBezTo>
                <a:cubicBezTo>
                  <a:pt x="466" y="194"/>
                  <a:pt x="466" y="194"/>
                  <a:pt x="466" y="194"/>
                </a:cubicBezTo>
                <a:cubicBezTo>
                  <a:pt x="466" y="193"/>
                  <a:pt x="466" y="193"/>
                  <a:pt x="466" y="193"/>
                </a:cubicBezTo>
                <a:cubicBezTo>
                  <a:pt x="466" y="193"/>
                  <a:pt x="466" y="193"/>
                  <a:pt x="466" y="193"/>
                </a:cubicBezTo>
                <a:cubicBezTo>
                  <a:pt x="467" y="193"/>
                  <a:pt x="467" y="193"/>
                  <a:pt x="467" y="192"/>
                </a:cubicBezTo>
                <a:cubicBezTo>
                  <a:pt x="467" y="192"/>
                  <a:pt x="467" y="192"/>
                  <a:pt x="467" y="192"/>
                </a:cubicBezTo>
                <a:cubicBezTo>
                  <a:pt x="467" y="192"/>
                  <a:pt x="467" y="192"/>
                  <a:pt x="467" y="192"/>
                </a:cubicBezTo>
                <a:cubicBezTo>
                  <a:pt x="467" y="192"/>
                  <a:pt x="467" y="192"/>
                  <a:pt x="467" y="192"/>
                </a:cubicBezTo>
                <a:cubicBezTo>
                  <a:pt x="467" y="192"/>
                  <a:pt x="467" y="192"/>
                  <a:pt x="467" y="192"/>
                </a:cubicBezTo>
                <a:cubicBezTo>
                  <a:pt x="467" y="191"/>
                  <a:pt x="467" y="191"/>
                  <a:pt x="467" y="191"/>
                </a:cubicBezTo>
                <a:cubicBezTo>
                  <a:pt x="467" y="191"/>
                  <a:pt x="467" y="191"/>
                  <a:pt x="467" y="191"/>
                </a:cubicBezTo>
                <a:cubicBezTo>
                  <a:pt x="467" y="191"/>
                  <a:pt x="467" y="191"/>
                  <a:pt x="467" y="191"/>
                </a:cubicBezTo>
                <a:cubicBezTo>
                  <a:pt x="467" y="191"/>
                  <a:pt x="467" y="191"/>
                  <a:pt x="467" y="191"/>
                </a:cubicBezTo>
                <a:cubicBezTo>
                  <a:pt x="467" y="191"/>
                  <a:pt x="467" y="191"/>
                  <a:pt x="467" y="191"/>
                </a:cubicBezTo>
                <a:cubicBezTo>
                  <a:pt x="467" y="191"/>
                  <a:pt x="467" y="191"/>
                  <a:pt x="467" y="191"/>
                </a:cubicBezTo>
                <a:cubicBezTo>
                  <a:pt x="466" y="191"/>
                  <a:pt x="466" y="191"/>
                  <a:pt x="466" y="191"/>
                </a:cubicBezTo>
                <a:cubicBezTo>
                  <a:pt x="466" y="190"/>
                  <a:pt x="466" y="190"/>
                  <a:pt x="466" y="190"/>
                </a:cubicBezTo>
                <a:cubicBezTo>
                  <a:pt x="466" y="190"/>
                  <a:pt x="466" y="190"/>
                  <a:pt x="466" y="190"/>
                </a:cubicBezTo>
                <a:cubicBezTo>
                  <a:pt x="466" y="190"/>
                  <a:pt x="466" y="190"/>
                  <a:pt x="466" y="190"/>
                </a:cubicBezTo>
                <a:cubicBezTo>
                  <a:pt x="466" y="190"/>
                  <a:pt x="466" y="190"/>
                  <a:pt x="466" y="190"/>
                </a:cubicBezTo>
                <a:cubicBezTo>
                  <a:pt x="466" y="190"/>
                  <a:pt x="466" y="190"/>
                  <a:pt x="466" y="190"/>
                </a:cubicBezTo>
                <a:cubicBezTo>
                  <a:pt x="466" y="190"/>
                  <a:pt x="466" y="190"/>
                  <a:pt x="466" y="190"/>
                </a:cubicBezTo>
                <a:cubicBezTo>
                  <a:pt x="466" y="190"/>
                  <a:pt x="466" y="190"/>
                  <a:pt x="466" y="190"/>
                </a:cubicBezTo>
                <a:cubicBezTo>
                  <a:pt x="466" y="190"/>
                  <a:pt x="466" y="190"/>
                  <a:pt x="466" y="190"/>
                </a:cubicBezTo>
                <a:cubicBezTo>
                  <a:pt x="466" y="190"/>
                  <a:pt x="466" y="190"/>
                  <a:pt x="466" y="190"/>
                </a:cubicBezTo>
                <a:cubicBezTo>
                  <a:pt x="466" y="190"/>
                  <a:pt x="466" y="190"/>
                  <a:pt x="466" y="190"/>
                </a:cubicBezTo>
                <a:cubicBezTo>
                  <a:pt x="466" y="190"/>
                  <a:pt x="466" y="190"/>
                  <a:pt x="466" y="190"/>
                </a:cubicBezTo>
                <a:cubicBezTo>
                  <a:pt x="466" y="189"/>
                  <a:pt x="465" y="189"/>
                  <a:pt x="466" y="188"/>
                </a:cubicBezTo>
                <a:cubicBezTo>
                  <a:pt x="466" y="188"/>
                  <a:pt x="466" y="188"/>
                  <a:pt x="466" y="188"/>
                </a:cubicBezTo>
                <a:cubicBezTo>
                  <a:pt x="466" y="187"/>
                  <a:pt x="466" y="187"/>
                  <a:pt x="466" y="187"/>
                </a:cubicBezTo>
                <a:cubicBezTo>
                  <a:pt x="467" y="186"/>
                  <a:pt x="467" y="186"/>
                  <a:pt x="467" y="186"/>
                </a:cubicBezTo>
                <a:cubicBezTo>
                  <a:pt x="470" y="184"/>
                  <a:pt x="470" y="184"/>
                  <a:pt x="470" y="184"/>
                </a:cubicBezTo>
                <a:cubicBezTo>
                  <a:pt x="471" y="183"/>
                  <a:pt x="471" y="183"/>
                  <a:pt x="471" y="183"/>
                </a:cubicBezTo>
                <a:cubicBezTo>
                  <a:pt x="471" y="182"/>
                  <a:pt x="471" y="182"/>
                  <a:pt x="471" y="182"/>
                </a:cubicBezTo>
                <a:cubicBezTo>
                  <a:pt x="471" y="181"/>
                  <a:pt x="471" y="181"/>
                  <a:pt x="471" y="181"/>
                </a:cubicBezTo>
                <a:cubicBezTo>
                  <a:pt x="470" y="180"/>
                  <a:pt x="470" y="180"/>
                  <a:pt x="470" y="180"/>
                </a:cubicBezTo>
                <a:cubicBezTo>
                  <a:pt x="470" y="180"/>
                  <a:pt x="470" y="180"/>
                  <a:pt x="470" y="180"/>
                </a:cubicBezTo>
                <a:cubicBezTo>
                  <a:pt x="469" y="179"/>
                  <a:pt x="469" y="180"/>
                  <a:pt x="468" y="179"/>
                </a:cubicBezTo>
                <a:cubicBezTo>
                  <a:pt x="468" y="179"/>
                  <a:pt x="468" y="179"/>
                  <a:pt x="468" y="179"/>
                </a:cubicBezTo>
                <a:cubicBezTo>
                  <a:pt x="468" y="179"/>
                  <a:pt x="468" y="179"/>
                  <a:pt x="468" y="179"/>
                </a:cubicBezTo>
                <a:cubicBezTo>
                  <a:pt x="468" y="179"/>
                  <a:pt x="468" y="179"/>
                  <a:pt x="468" y="179"/>
                </a:cubicBezTo>
                <a:cubicBezTo>
                  <a:pt x="465" y="177"/>
                  <a:pt x="465" y="177"/>
                  <a:pt x="462" y="176"/>
                </a:cubicBezTo>
                <a:cubicBezTo>
                  <a:pt x="462" y="176"/>
                  <a:pt x="462" y="176"/>
                  <a:pt x="462" y="176"/>
                </a:cubicBezTo>
                <a:cubicBezTo>
                  <a:pt x="462" y="176"/>
                  <a:pt x="462" y="176"/>
                  <a:pt x="462" y="176"/>
                </a:cubicBezTo>
                <a:cubicBezTo>
                  <a:pt x="462" y="175"/>
                  <a:pt x="462" y="175"/>
                  <a:pt x="462" y="175"/>
                </a:cubicBezTo>
                <a:cubicBezTo>
                  <a:pt x="462" y="175"/>
                  <a:pt x="462" y="175"/>
                  <a:pt x="462" y="175"/>
                </a:cubicBezTo>
                <a:cubicBezTo>
                  <a:pt x="462" y="175"/>
                  <a:pt x="462" y="175"/>
                  <a:pt x="462" y="175"/>
                </a:cubicBezTo>
                <a:cubicBezTo>
                  <a:pt x="461" y="175"/>
                  <a:pt x="461" y="175"/>
                  <a:pt x="461" y="175"/>
                </a:cubicBezTo>
                <a:cubicBezTo>
                  <a:pt x="461" y="175"/>
                  <a:pt x="461" y="175"/>
                  <a:pt x="461" y="175"/>
                </a:cubicBezTo>
                <a:cubicBezTo>
                  <a:pt x="461" y="175"/>
                  <a:pt x="460" y="174"/>
                  <a:pt x="460" y="174"/>
                </a:cubicBezTo>
                <a:cubicBezTo>
                  <a:pt x="460" y="173"/>
                  <a:pt x="460" y="173"/>
                  <a:pt x="460" y="173"/>
                </a:cubicBezTo>
                <a:cubicBezTo>
                  <a:pt x="460" y="173"/>
                  <a:pt x="460" y="173"/>
                  <a:pt x="460" y="173"/>
                </a:cubicBezTo>
                <a:cubicBezTo>
                  <a:pt x="460" y="173"/>
                  <a:pt x="460" y="172"/>
                  <a:pt x="460" y="172"/>
                </a:cubicBezTo>
                <a:cubicBezTo>
                  <a:pt x="460" y="172"/>
                  <a:pt x="460" y="172"/>
                  <a:pt x="460" y="172"/>
                </a:cubicBezTo>
                <a:cubicBezTo>
                  <a:pt x="460" y="172"/>
                  <a:pt x="460" y="172"/>
                  <a:pt x="460" y="172"/>
                </a:cubicBezTo>
                <a:cubicBezTo>
                  <a:pt x="460" y="172"/>
                  <a:pt x="460" y="172"/>
                  <a:pt x="460" y="172"/>
                </a:cubicBezTo>
                <a:cubicBezTo>
                  <a:pt x="460" y="172"/>
                  <a:pt x="460" y="172"/>
                  <a:pt x="460" y="172"/>
                </a:cubicBezTo>
                <a:cubicBezTo>
                  <a:pt x="460" y="172"/>
                  <a:pt x="460" y="172"/>
                  <a:pt x="460" y="172"/>
                </a:cubicBezTo>
                <a:cubicBezTo>
                  <a:pt x="460" y="170"/>
                  <a:pt x="461" y="169"/>
                  <a:pt x="461" y="167"/>
                </a:cubicBezTo>
                <a:cubicBezTo>
                  <a:pt x="461" y="167"/>
                  <a:pt x="461" y="167"/>
                  <a:pt x="461" y="167"/>
                </a:cubicBezTo>
                <a:cubicBezTo>
                  <a:pt x="461" y="167"/>
                  <a:pt x="461" y="167"/>
                  <a:pt x="461" y="167"/>
                </a:cubicBezTo>
                <a:cubicBezTo>
                  <a:pt x="461" y="167"/>
                  <a:pt x="461" y="167"/>
                  <a:pt x="461" y="166"/>
                </a:cubicBezTo>
                <a:cubicBezTo>
                  <a:pt x="461" y="166"/>
                  <a:pt x="461" y="166"/>
                  <a:pt x="461" y="166"/>
                </a:cubicBezTo>
                <a:cubicBezTo>
                  <a:pt x="461" y="166"/>
                  <a:pt x="461" y="166"/>
                  <a:pt x="461" y="166"/>
                </a:cubicBezTo>
                <a:cubicBezTo>
                  <a:pt x="461" y="166"/>
                  <a:pt x="461" y="166"/>
                  <a:pt x="461" y="166"/>
                </a:cubicBezTo>
                <a:cubicBezTo>
                  <a:pt x="461" y="165"/>
                  <a:pt x="461" y="164"/>
                  <a:pt x="461" y="163"/>
                </a:cubicBezTo>
                <a:cubicBezTo>
                  <a:pt x="461" y="163"/>
                  <a:pt x="461" y="163"/>
                  <a:pt x="461" y="163"/>
                </a:cubicBezTo>
                <a:cubicBezTo>
                  <a:pt x="461" y="163"/>
                  <a:pt x="461" y="163"/>
                  <a:pt x="461" y="163"/>
                </a:cubicBezTo>
                <a:cubicBezTo>
                  <a:pt x="460" y="163"/>
                  <a:pt x="460" y="163"/>
                  <a:pt x="460" y="163"/>
                </a:cubicBezTo>
                <a:cubicBezTo>
                  <a:pt x="460" y="163"/>
                  <a:pt x="460" y="163"/>
                  <a:pt x="460" y="163"/>
                </a:cubicBezTo>
                <a:cubicBezTo>
                  <a:pt x="460" y="163"/>
                  <a:pt x="460" y="163"/>
                  <a:pt x="460" y="163"/>
                </a:cubicBezTo>
                <a:cubicBezTo>
                  <a:pt x="460" y="162"/>
                  <a:pt x="460" y="162"/>
                  <a:pt x="460" y="162"/>
                </a:cubicBezTo>
                <a:cubicBezTo>
                  <a:pt x="460" y="162"/>
                  <a:pt x="460" y="162"/>
                  <a:pt x="460" y="162"/>
                </a:cubicBezTo>
                <a:cubicBezTo>
                  <a:pt x="460" y="162"/>
                  <a:pt x="460" y="162"/>
                  <a:pt x="460" y="162"/>
                </a:cubicBezTo>
                <a:cubicBezTo>
                  <a:pt x="460" y="162"/>
                  <a:pt x="460" y="162"/>
                  <a:pt x="460" y="162"/>
                </a:cubicBezTo>
                <a:cubicBezTo>
                  <a:pt x="460" y="162"/>
                  <a:pt x="460" y="162"/>
                  <a:pt x="460" y="162"/>
                </a:cubicBezTo>
                <a:cubicBezTo>
                  <a:pt x="460" y="161"/>
                  <a:pt x="460" y="161"/>
                  <a:pt x="460" y="161"/>
                </a:cubicBezTo>
                <a:cubicBezTo>
                  <a:pt x="461" y="160"/>
                  <a:pt x="461" y="160"/>
                  <a:pt x="461" y="160"/>
                </a:cubicBezTo>
                <a:cubicBezTo>
                  <a:pt x="461" y="159"/>
                  <a:pt x="461" y="159"/>
                  <a:pt x="461" y="159"/>
                </a:cubicBezTo>
                <a:cubicBezTo>
                  <a:pt x="461" y="159"/>
                  <a:pt x="461" y="159"/>
                  <a:pt x="461" y="159"/>
                </a:cubicBezTo>
                <a:cubicBezTo>
                  <a:pt x="461" y="158"/>
                  <a:pt x="461" y="158"/>
                  <a:pt x="461" y="158"/>
                </a:cubicBezTo>
                <a:cubicBezTo>
                  <a:pt x="461" y="158"/>
                  <a:pt x="461" y="158"/>
                  <a:pt x="461" y="158"/>
                </a:cubicBezTo>
                <a:cubicBezTo>
                  <a:pt x="461" y="158"/>
                  <a:pt x="461" y="158"/>
                  <a:pt x="461" y="158"/>
                </a:cubicBezTo>
                <a:cubicBezTo>
                  <a:pt x="461" y="157"/>
                  <a:pt x="461" y="157"/>
                  <a:pt x="461" y="157"/>
                </a:cubicBezTo>
                <a:cubicBezTo>
                  <a:pt x="461" y="157"/>
                  <a:pt x="461" y="156"/>
                  <a:pt x="461" y="156"/>
                </a:cubicBezTo>
                <a:cubicBezTo>
                  <a:pt x="461" y="156"/>
                  <a:pt x="461" y="156"/>
                  <a:pt x="461" y="156"/>
                </a:cubicBezTo>
                <a:cubicBezTo>
                  <a:pt x="460" y="156"/>
                  <a:pt x="460" y="156"/>
                  <a:pt x="460" y="156"/>
                </a:cubicBezTo>
                <a:cubicBezTo>
                  <a:pt x="460" y="156"/>
                  <a:pt x="460" y="156"/>
                  <a:pt x="460" y="156"/>
                </a:cubicBezTo>
                <a:cubicBezTo>
                  <a:pt x="460" y="155"/>
                  <a:pt x="460" y="155"/>
                  <a:pt x="460" y="155"/>
                </a:cubicBezTo>
                <a:cubicBezTo>
                  <a:pt x="460" y="155"/>
                  <a:pt x="460" y="155"/>
                  <a:pt x="460" y="155"/>
                </a:cubicBezTo>
                <a:cubicBezTo>
                  <a:pt x="460" y="155"/>
                  <a:pt x="460" y="155"/>
                  <a:pt x="460" y="155"/>
                </a:cubicBezTo>
                <a:cubicBezTo>
                  <a:pt x="460" y="155"/>
                  <a:pt x="460" y="155"/>
                  <a:pt x="460" y="155"/>
                </a:cubicBezTo>
                <a:cubicBezTo>
                  <a:pt x="460" y="155"/>
                  <a:pt x="460" y="155"/>
                  <a:pt x="460" y="155"/>
                </a:cubicBezTo>
                <a:cubicBezTo>
                  <a:pt x="460" y="155"/>
                  <a:pt x="460" y="155"/>
                  <a:pt x="460" y="155"/>
                </a:cubicBezTo>
                <a:cubicBezTo>
                  <a:pt x="460" y="155"/>
                  <a:pt x="460" y="155"/>
                  <a:pt x="460" y="155"/>
                </a:cubicBezTo>
                <a:cubicBezTo>
                  <a:pt x="460" y="154"/>
                  <a:pt x="460" y="154"/>
                  <a:pt x="460" y="154"/>
                </a:cubicBezTo>
                <a:cubicBezTo>
                  <a:pt x="460" y="153"/>
                  <a:pt x="460" y="153"/>
                  <a:pt x="460" y="153"/>
                </a:cubicBezTo>
                <a:cubicBezTo>
                  <a:pt x="460" y="152"/>
                  <a:pt x="461" y="152"/>
                  <a:pt x="461" y="151"/>
                </a:cubicBezTo>
                <a:cubicBezTo>
                  <a:pt x="460" y="151"/>
                  <a:pt x="460" y="151"/>
                  <a:pt x="460" y="151"/>
                </a:cubicBezTo>
                <a:cubicBezTo>
                  <a:pt x="460" y="151"/>
                  <a:pt x="460" y="151"/>
                  <a:pt x="460" y="151"/>
                </a:cubicBezTo>
                <a:cubicBezTo>
                  <a:pt x="460" y="151"/>
                  <a:pt x="460" y="151"/>
                  <a:pt x="460" y="151"/>
                </a:cubicBezTo>
                <a:cubicBezTo>
                  <a:pt x="460" y="151"/>
                  <a:pt x="460" y="151"/>
                  <a:pt x="460" y="151"/>
                </a:cubicBezTo>
                <a:cubicBezTo>
                  <a:pt x="460" y="151"/>
                  <a:pt x="460" y="151"/>
                  <a:pt x="460" y="151"/>
                </a:cubicBezTo>
                <a:cubicBezTo>
                  <a:pt x="460" y="150"/>
                  <a:pt x="460" y="150"/>
                  <a:pt x="460" y="150"/>
                </a:cubicBezTo>
                <a:cubicBezTo>
                  <a:pt x="459" y="150"/>
                  <a:pt x="459" y="150"/>
                  <a:pt x="459" y="150"/>
                </a:cubicBezTo>
                <a:cubicBezTo>
                  <a:pt x="459" y="149"/>
                  <a:pt x="459" y="149"/>
                  <a:pt x="459" y="149"/>
                </a:cubicBezTo>
                <a:cubicBezTo>
                  <a:pt x="459" y="149"/>
                  <a:pt x="459" y="149"/>
                  <a:pt x="459" y="149"/>
                </a:cubicBezTo>
                <a:cubicBezTo>
                  <a:pt x="459" y="149"/>
                  <a:pt x="459" y="149"/>
                  <a:pt x="459" y="149"/>
                </a:cubicBezTo>
                <a:cubicBezTo>
                  <a:pt x="459" y="149"/>
                  <a:pt x="459" y="149"/>
                  <a:pt x="459" y="149"/>
                </a:cubicBezTo>
                <a:cubicBezTo>
                  <a:pt x="459" y="149"/>
                  <a:pt x="460" y="148"/>
                  <a:pt x="460" y="148"/>
                </a:cubicBezTo>
                <a:cubicBezTo>
                  <a:pt x="460" y="148"/>
                  <a:pt x="460" y="148"/>
                  <a:pt x="460" y="148"/>
                </a:cubicBezTo>
                <a:cubicBezTo>
                  <a:pt x="460" y="148"/>
                  <a:pt x="460" y="148"/>
                  <a:pt x="460" y="148"/>
                </a:cubicBezTo>
                <a:cubicBezTo>
                  <a:pt x="461" y="147"/>
                  <a:pt x="461" y="147"/>
                  <a:pt x="461" y="147"/>
                </a:cubicBezTo>
                <a:cubicBezTo>
                  <a:pt x="462" y="147"/>
                  <a:pt x="462" y="147"/>
                  <a:pt x="462" y="147"/>
                </a:cubicBezTo>
                <a:cubicBezTo>
                  <a:pt x="462" y="147"/>
                  <a:pt x="462" y="147"/>
                  <a:pt x="462" y="147"/>
                </a:cubicBezTo>
                <a:cubicBezTo>
                  <a:pt x="462" y="147"/>
                  <a:pt x="462" y="147"/>
                  <a:pt x="462" y="147"/>
                </a:cubicBezTo>
                <a:cubicBezTo>
                  <a:pt x="462" y="146"/>
                  <a:pt x="462" y="146"/>
                  <a:pt x="462" y="146"/>
                </a:cubicBezTo>
                <a:cubicBezTo>
                  <a:pt x="462" y="146"/>
                  <a:pt x="462" y="146"/>
                  <a:pt x="462" y="146"/>
                </a:cubicBezTo>
                <a:cubicBezTo>
                  <a:pt x="462" y="146"/>
                  <a:pt x="462" y="146"/>
                  <a:pt x="462" y="146"/>
                </a:cubicBezTo>
                <a:cubicBezTo>
                  <a:pt x="462" y="146"/>
                  <a:pt x="462" y="146"/>
                  <a:pt x="462" y="146"/>
                </a:cubicBezTo>
                <a:cubicBezTo>
                  <a:pt x="462" y="146"/>
                  <a:pt x="462" y="146"/>
                  <a:pt x="462" y="146"/>
                </a:cubicBezTo>
                <a:cubicBezTo>
                  <a:pt x="462" y="146"/>
                  <a:pt x="462" y="145"/>
                  <a:pt x="462" y="144"/>
                </a:cubicBezTo>
                <a:cubicBezTo>
                  <a:pt x="462" y="144"/>
                  <a:pt x="462" y="144"/>
                  <a:pt x="462" y="144"/>
                </a:cubicBezTo>
                <a:cubicBezTo>
                  <a:pt x="462" y="144"/>
                  <a:pt x="462" y="144"/>
                  <a:pt x="462" y="144"/>
                </a:cubicBezTo>
                <a:cubicBezTo>
                  <a:pt x="462" y="144"/>
                  <a:pt x="462" y="144"/>
                  <a:pt x="462" y="144"/>
                </a:cubicBezTo>
                <a:cubicBezTo>
                  <a:pt x="462" y="144"/>
                  <a:pt x="462" y="144"/>
                  <a:pt x="462" y="144"/>
                </a:cubicBezTo>
                <a:cubicBezTo>
                  <a:pt x="462" y="144"/>
                  <a:pt x="462" y="144"/>
                  <a:pt x="462" y="144"/>
                </a:cubicBezTo>
                <a:cubicBezTo>
                  <a:pt x="462" y="143"/>
                  <a:pt x="462" y="143"/>
                  <a:pt x="462" y="143"/>
                </a:cubicBezTo>
                <a:cubicBezTo>
                  <a:pt x="462" y="142"/>
                  <a:pt x="462" y="142"/>
                  <a:pt x="462" y="142"/>
                </a:cubicBezTo>
                <a:cubicBezTo>
                  <a:pt x="462" y="142"/>
                  <a:pt x="462" y="142"/>
                  <a:pt x="462" y="142"/>
                </a:cubicBezTo>
                <a:cubicBezTo>
                  <a:pt x="462" y="141"/>
                  <a:pt x="462" y="141"/>
                  <a:pt x="462" y="141"/>
                </a:cubicBezTo>
                <a:cubicBezTo>
                  <a:pt x="462" y="141"/>
                  <a:pt x="462" y="141"/>
                  <a:pt x="462" y="141"/>
                </a:cubicBezTo>
                <a:cubicBezTo>
                  <a:pt x="462" y="141"/>
                  <a:pt x="462" y="141"/>
                  <a:pt x="462" y="141"/>
                </a:cubicBezTo>
                <a:cubicBezTo>
                  <a:pt x="462" y="141"/>
                  <a:pt x="462" y="141"/>
                  <a:pt x="462" y="141"/>
                </a:cubicBezTo>
                <a:cubicBezTo>
                  <a:pt x="463" y="140"/>
                  <a:pt x="463" y="140"/>
                  <a:pt x="463" y="140"/>
                </a:cubicBezTo>
                <a:cubicBezTo>
                  <a:pt x="463" y="140"/>
                  <a:pt x="463" y="140"/>
                  <a:pt x="463" y="140"/>
                </a:cubicBezTo>
                <a:cubicBezTo>
                  <a:pt x="463" y="139"/>
                  <a:pt x="463" y="139"/>
                  <a:pt x="463" y="139"/>
                </a:cubicBezTo>
                <a:cubicBezTo>
                  <a:pt x="463" y="139"/>
                  <a:pt x="463" y="139"/>
                  <a:pt x="463" y="138"/>
                </a:cubicBezTo>
                <a:cubicBezTo>
                  <a:pt x="463" y="138"/>
                  <a:pt x="463" y="138"/>
                  <a:pt x="463" y="138"/>
                </a:cubicBezTo>
                <a:cubicBezTo>
                  <a:pt x="462" y="138"/>
                  <a:pt x="462" y="138"/>
                  <a:pt x="462" y="138"/>
                </a:cubicBezTo>
                <a:cubicBezTo>
                  <a:pt x="462" y="137"/>
                  <a:pt x="462" y="137"/>
                  <a:pt x="461" y="137"/>
                </a:cubicBezTo>
                <a:cubicBezTo>
                  <a:pt x="461" y="136"/>
                  <a:pt x="461" y="136"/>
                  <a:pt x="461" y="136"/>
                </a:cubicBezTo>
                <a:cubicBezTo>
                  <a:pt x="461" y="136"/>
                  <a:pt x="461" y="136"/>
                  <a:pt x="461" y="136"/>
                </a:cubicBezTo>
                <a:cubicBezTo>
                  <a:pt x="461" y="136"/>
                  <a:pt x="461" y="136"/>
                  <a:pt x="461" y="136"/>
                </a:cubicBezTo>
                <a:cubicBezTo>
                  <a:pt x="461" y="136"/>
                  <a:pt x="461" y="136"/>
                  <a:pt x="461" y="136"/>
                </a:cubicBezTo>
                <a:cubicBezTo>
                  <a:pt x="461" y="136"/>
                  <a:pt x="461" y="136"/>
                  <a:pt x="461" y="136"/>
                </a:cubicBezTo>
                <a:cubicBezTo>
                  <a:pt x="461" y="136"/>
                  <a:pt x="461" y="136"/>
                  <a:pt x="461" y="136"/>
                </a:cubicBezTo>
                <a:cubicBezTo>
                  <a:pt x="461" y="135"/>
                  <a:pt x="462" y="134"/>
                  <a:pt x="461" y="133"/>
                </a:cubicBezTo>
                <a:cubicBezTo>
                  <a:pt x="461" y="133"/>
                  <a:pt x="461" y="133"/>
                  <a:pt x="461" y="133"/>
                </a:cubicBezTo>
                <a:cubicBezTo>
                  <a:pt x="460" y="133"/>
                  <a:pt x="460" y="133"/>
                  <a:pt x="460" y="133"/>
                </a:cubicBezTo>
                <a:cubicBezTo>
                  <a:pt x="460" y="133"/>
                  <a:pt x="459" y="133"/>
                  <a:pt x="458" y="132"/>
                </a:cubicBezTo>
                <a:cubicBezTo>
                  <a:pt x="458" y="132"/>
                  <a:pt x="458" y="132"/>
                  <a:pt x="458" y="132"/>
                </a:cubicBezTo>
                <a:cubicBezTo>
                  <a:pt x="458" y="132"/>
                  <a:pt x="458" y="132"/>
                  <a:pt x="458" y="132"/>
                </a:cubicBezTo>
                <a:cubicBezTo>
                  <a:pt x="458" y="132"/>
                  <a:pt x="458" y="132"/>
                  <a:pt x="458" y="132"/>
                </a:cubicBezTo>
                <a:cubicBezTo>
                  <a:pt x="456" y="131"/>
                  <a:pt x="455" y="131"/>
                  <a:pt x="454" y="129"/>
                </a:cubicBezTo>
                <a:cubicBezTo>
                  <a:pt x="454" y="129"/>
                  <a:pt x="454" y="129"/>
                  <a:pt x="454" y="129"/>
                </a:cubicBezTo>
                <a:cubicBezTo>
                  <a:pt x="454" y="129"/>
                  <a:pt x="454" y="129"/>
                  <a:pt x="454" y="129"/>
                </a:cubicBezTo>
                <a:cubicBezTo>
                  <a:pt x="454" y="129"/>
                  <a:pt x="454" y="129"/>
                  <a:pt x="454" y="129"/>
                </a:cubicBezTo>
                <a:cubicBezTo>
                  <a:pt x="454" y="129"/>
                  <a:pt x="454" y="129"/>
                  <a:pt x="454" y="129"/>
                </a:cubicBezTo>
                <a:cubicBezTo>
                  <a:pt x="453" y="129"/>
                  <a:pt x="453" y="129"/>
                  <a:pt x="453" y="129"/>
                </a:cubicBezTo>
                <a:cubicBezTo>
                  <a:pt x="453" y="129"/>
                  <a:pt x="453" y="129"/>
                  <a:pt x="453" y="129"/>
                </a:cubicBezTo>
                <a:cubicBezTo>
                  <a:pt x="453" y="129"/>
                  <a:pt x="453" y="129"/>
                  <a:pt x="453" y="129"/>
                </a:cubicBezTo>
                <a:cubicBezTo>
                  <a:pt x="453" y="127"/>
                  <a:pt x="452" y="126"/>
                  <a:pt x="453" y="126"/>
                </a:cubicBezTo>
                <a:cubicBezTo>
                  <a:pt x="454" y="126"/>
                  <a:pt x="454" y="126"/>
                  <a:pt x="454" y="126"/>
                </a:cubicBezTo>
                <a:cubicBezTo>
                  <a:pt x="454" y="126"/>
                  <a:pt x="454" y="126"/>
                  <a:pt x="454" y="126"/>
                </a:cubicBezTo>
                <a:cubicBezTo>
                  <a:pt x="454" y="125"/>
                  <a:pt x="454" y="126"/>
                  <a:pt x="456" y="125"/>
                </a:cubicBezTo>
                <a:cubicBezTo>
                  <a:pt x="456" y="125"/>
                  <a:pt x="456" y="125"/>
                  <a:pt x="456" y="125"/>
                </a:cubicBezTo>
                <a:cubicBezTo>
                  <a:pt x="456" y="124"/>
                  <a:pt x="456" y="124"/>
                  <a:pt x="456" y="124"/>
                </a:cubicBezTo>
                <a:cubicBezTo>
                  <a:pt x="457" y="123"/>
                  <a:pt x="457" y="123"/>
                  <a:pt x="457" y="123"/>
                </a:cubicBezTo>
                <a:cubicBezTo>
                  <a:pt x="457" y="121"/>
                  <a:pt x="457" y="121"/>
                  <a:pt x="457" y="121"/>
                </a:cubicBezTo>
                <a:cubicBezTo>
                  <a:pt x="458" y="120"/>
                  <a:pt x="458" y="120"/>
                  <a:pt x="458" y="120"/>
                </a:cubicBezTo>
                <a:cubicBezTo>
                  <a:pt x="458" y="120"/>
                  <a:pt x="458" y="120"/>
                  <a:pt x="458" y="120"/>
                </a:cubicBezTo>
                <a:cubicBezTo>
                  <a:pt x="458" y="120"/>
                  <a:pt x="458" y="120"/>
                  <a:pt x="458" y="120"/>
                </a:cubicBezTo>
                <a:cubicBezTo>
                  <a:pt x="458" y="120"/>
                  <a:pt x="458" y="120"/>
                  <a:pt x="458" y="120"/>
                </a:cubicBezTo>
                <a:cubicBezTo>
                  <a:pt x="458" y="120"/>
                  <a:pt x="458" y="120"/>
                  <a:pt x="458" y="120"/>
                </a:cubicBezTo>
                <a:cubicBezTo>
                  <a:pt x="458" y="120"/>
                  <a:pt x="458" y="120"/>
                  <a:pt x="458" y="120"/>
                </a:cubicBezTo>
                <a:cubicBezTo>
                  <a:pt x="458" y="120"/>
                  <a:pt x="458" y="120"/>
                  <a:pt x="458" y="120"/>
                </a:cubicBezTo>
                <a:cubicBezTo>
                  <a:pt x="458" y="119"/>
                  <a:pt x="458" y="119"/>
                  <a:pt x="458" y="119"/>
                </a:cubicBezTo>
                <a:cubicBezTo>
                  <a:pt x="459" y="119"/>
                  <a:pt x="459" y="119"/>
                  <a:pt x="459" y="119"/>
                </a:cubicBezTo>
                <a:cubicBezTo>
                  <a:pt x="459" y="119"/>
                  <a:pt x="459" y="119"/>
                  <a:pt x="459" y="119"/>
                </a:cubicBezTo>
                <a:cubicBezTo>
                  <a:pt x="459" y="119"/>
                  <a:pt x="459" y="119"/>
                  <a:pt x="459" y="119"/>
                </a:cubicBezTo>
                <a:cubicBezTo>
                  <a:pt x="460" y="117"/>
                  <a:pt x="460" y="117"/>
                  <a:pt x="460" y="117"/>
                </a:cubicBezTo>
                <a:cubicBezTo>
                  <a:pt x="460" y="117"/>
                  <a:pt x="460" y="117"/>
                  <a:pt x="460" y="117"/>
                </a:cubicBezTo>
                <a:cubicBezTo>
                  <a:pt x="460" y="116"/>
                  <a:pt x="460" y="116"/>
                  <a:pt x="460" y="116"/>
                </a:cubicBezTo>
                <a:cubicBezTo>
                  <a:pt x="461" y="116"/>
                  <a:pt x="461" y="116"/>
                  <a:pt x="461" y="116"/>
                </a:cubicBezTo>
                <a:cubicBezTo>
                  <a:pt x="461" y="115"/>
                  <a:pt x="461" y="115"/>
                  <a:pt x="461" y="115"/>
                </a:cubicBezTo>
                <a:cubicBezTo>
                  <a:pt x="463" y="113"/>
                  <a:pt x="463" y="113"/>
                  <a:pt x="463" y="113"/>
                </a:cubicBezTo>
                <a:cubicBezTo>
                  <a:pt x="463" y="112"/>
                  <a:pt x="463" y="112"/>
                  <a:pt x="463" y="112"/>
                </a:cubicBezTo>
                <a:cubicBezTo>
                  <a:pt x="463" y="112"/>
                  <a:pt x="463" y="112"/>
                  <a:pt x="463" y="112"/>
                </a:cubicBezTo>
                <a:cubicBezTo>
                  <a:pt x="463" y="111"/>
                  <a:pt x="463" y="111"/>
                  <a:pt x="463" y="111"/>
                </a:cubicBezTo>
                <a:cubicBezTo>
                  <a:pt x="463" y="111"/>
                  <a:pt x="463" y="111"/>
                  <a:pt x="463" y="111"/>
                </a:cubicBezTo>
                <a:cubicBezTo>
                  <a:pt x="463" y="111"/>
                  <a:pt x="463" y="111"/>
                  <a:pt x="463" y="111"/>
                </a:cubicBezTo>
                <a:cubicBezTo>
                  <a:pt x="463" y="111"/>
                  <a:pt x="463" y="111"/>
                  <a:pt x="463" y="111"/>
                </a:cubicBezTo>
                <a:cubicBezTo>
                  <a:pt x="463" y="111"/>
                  <a:pt x="463" y="111"/>
                  <a:pt x="463" y="111"/>
                </a:cubicBezTo>
                <a:cubicBezTo>
                  <a:pt x="463" y="111"/>
                  <a:pt x="463" y="111"/>
                  <a:pt x="463" y="111"/>
                </a:cubicBezTo>
                <a:cubicBezTo>
                  <a:pt x="463" y="111"/>
                  <a:pt x="463" y="111"/>
                  <a:pt x="463" y="111"/>
                </a:cubicBezTo>
                <a:cubicBezTo>
                  <a:pt x="463" y="110"/>
                  <a:pt x="463" y="110"/>
                  <a:pt x="463" y="110"/>
                </a:cubicBezTo>
                <a:cubicBezTo>
                  <a:pt x="463" y="110"/>
                  <a:pt x="463" y="110"/>
                  <a:pt x="463" y="110"/>
                </a:cubicBezTo>
                <a:cubicBezTo>
                  <a:pt x="463" y="110"/>
                  <a:pt x="463" y="110"/>
                  <a:pt x="463" y="110"/>
                </a:cubicBezTo>
                <a:cubicBezTo>
                  <a:pt x="463" y="110"/>
                  <a:pt x="463" y="110"/>
                  <a:pt x="463" y="110"/>
                </a:cubicBezTo>
                <a:cubicBezTo>
                  <a:pt x="463" y="110"/>
                  <a:pt x="463" y="110"/>
                  <a:pt x="463" y="110"/>
                </a:cubicBezTo>
                <a:cubicBezTo>
                  <a:pt x="462" y="110"/>
                  <a:pt x="462" y="110"/>
                  <a:pt x="462" y="110"/>
                </a:cubicBezTo>
                <a:cubicBezTo>
                  <a:pt x="462" y="110"/>
                  <a:pt x="462" y="110"/>
                  <a:pt x="462" y="110"/>
                </a:cubicBezTo>
                <a:cubicBezTo>
                  <a:pt x="463" y="109"/>
                  <a:pt x="463" y="109"/>
                  <a:pt x="463" y="109"/>
                </a:cubicBezTo>
                <a:cubicBezTo>
                  <a:pt x="463" y="109"/>
                  <a:pt x="463" y="109"/>
                  <a:pt x="463" y="109"/>
                </a:cubicBezTo>
                <a:cubicBezTo>
                  <a:pt x="463" y="107"/>
                  <a:pt x="463" y="107"/>
                  <a:pt x="463" y="107"/>
                </a:cubicBezTo>
                <a:cubicBezTo>
                  <a:pt x="463" y="106"/>
                  <a:pt x="463" y="106"/>
                  <a:pt x="463" y="106"/>
                </a:cubicBezTo>
                <a:cubicBezTo>
                  <a:pt x="463" y="104"/>
                  <a:pt x="463" y="104"/>
                  <a:pt x="463" y="104"/>
                </a:cubicBezTo>
                <a:cubicBezTo>
                  <a:pt x="463" y="104"/>
                  <a:pt x="463" y="104"/>
                  <a:pt x="463" y="104"/>
                </a:cubicBezTo>
                <a:cubicBezTo>
                  <a:pt x="462" y="103"/>
                  <a:pt x="462" y="103"/>
                  <a:pt x="462" y="103"/>
                </a:cubicBezTo>
                <a:cubicBezTo>
                  <a:pt x="461" y="103"/>
                  <a:pt x="461" y="103"/>
                  <a:pt x="460" y="102"/>
                </a:cubicBezTo>
                <a:cubicBezTo>
                  <a:pt x="460" y="102"/>
                  <a:pt x="460" y="102"/>
                  <a:pt x="460" y="102"/>
                </a:cubicBezTo>
                <a:cubicBezTo>
                  <a:pt x="459" y="102"/>
                  <a:pt x="459" y="102"/>
                  <a:pt x="459" y="102"/>
                </a:cubicBezTo>
                <a:cubicBezTo>
                  <a:pt x="459" y="102"/>
                  <a:pt x="459" y="102"/>
                  <a:pt x="459" y="102"/>
                </a:cubicBezTo>
                <a:cubicBezTo>
                  <a:pt x="459" y="102"/>
                  <a:pt x="459" y="102"/>
                  <a:pt x="459" y="102"/>
                </a:cubicBezTo>
                <a:cubicBezTo>
                  <a:pt x="458" y="102"/>
                  <a:pt x="457" y="102"/>
                  <a:pt x="456" y="102"/>
                </a:cubicBezTo>
                <a:cubicBezTo>
                  <a:pt x="456" y="101"/>
                  <a:pt x="456" y="101"/>
                  <a:pt x="456" y="101"/>
                </a:cubicBezTo>
                <a:cubicBezTo>
                  <a:pt x="456" y="101"/>
                  <a:pt x="456" y="101"/>
                  <a:pt x="456" y="101"/>
                </a:cubicBezTo>
                <a:cubicBezTo>
                  <a:pt x="455" y="101"/>
                  <a:pt x="455" y="101"/>
                  <a:pt x="454" y="102"/>
                </a:cubicBezTo>
                <a:cubicBezTo>
                  <a:pt x="454" y="102"/>
                  <a:pt x="454" y="102"/>
                  <a:pt x="454" y="102"/>
                </a:cubicBezTo>
                <a:cubicBezTo>
                  <a:pt x="454" y="102"/>
                  <a:pt x="454" y="102"/>
                  <a:pt x="454" y="102"/>
                </a:cubicBezTo>
                <a:cubicBezTo>
                  <a:pt x="453" y="102"/>
                  <a:pt x="453" y="102"/>
                  <a:pt x="453" y="102"/>
                </a:cubicBezTo>
                <a:cubicBezTo>
                  <a:pt x="453" y="102"/>
                  <a:pt x="453" y="102"/>
                  <a:pt x="453" y="102"/>
                </a:cubicBezTo>
                <a:cubicBezTo>
                  <a:pt x="453" y="102"/>
                  <a:pt x="453" y="102"/>
                  <a:pt x="453" y="102"/>
                </a:cubicBezTo>
                <a:cubicBezTo>
                  <a:pt x="453" y="101"/>
                  <a:pt x="453" y="101"/>
                  <a:pt x="453" y="101"/>
                </a:cubicBezTo>
                <a:cubicBezTo>
                  <a:pt x="453" y="101"/>
                  <a:pt x="453" y="101"/>
                  <a:pt x="453" y="101"/>
                </a:cubicBezTo>
                <a:cubicBezTo>
                  <a:pt x="454" y="101"/>
                  <a:pt x="454" y="101"/>
                  <a:pt x="454" y="101"/>
                </a:cubicBezTo>
                <a:cubicBezTo>
                  <a:pt x="454" y="101"/>
                  <a:pt x="454" y="101"/>
                  <a:pt x="454" y="101"/>
                </a:cubicBezTo>
                <a:cubicBezTo>
                  <a:pt x="454" y="101"/>
                  <a:pt x="454" y="101"/>
                  <a:pt x="454" y="101"/>
                </a:cubicBezTo>
                <a:cubicBezTo>
                  <a:pt x="454" y="101"/>
                  <a:pt x="454" y="101"/>
                  <a:pt x="454" y="101"/>
                </a:cubicBezTo>
                <a:cubicBezTo>
                  <a:pt x="454" y="101"/>
                  <a:pt x="454" y="101"/>
                  <a:pt x="454" y="101"/>
                </a:cubicBezTo>
                <a:cubicBezTo>
                  <a:pt x="453" y="101"/>
                  <a:pt x="453" y="101"/>
                  <a:pt x="453" y="101"/>
                </a:cubicBezTo>
                <a:cubicBezTo>
                  <a:pt x="451" y="101"/>
                  <a:pt x="451" y="99"/>
                  <a:pt x="448" y="100"/>
                </a:cubicBezTo>
                <a:cubicBezTo>
                  <a:pt x="448" y="100"/>
                  <a:pt x="448" y="100"/>
                  <a:pt x="448" y="100"/>
                </a:cubicBezTo>
                <a:cubicBezTo>
                  <a:pt x="448" y="100"/>
                  <a:pt x="448" y="100"/>
                  <a:pt x="448" y="100"/>
                </a:cubicBezTo>
                <a:cubicBezTo>
                  <a:pt x="447" y="100"/>
                  <a:pt x="447" y="100"/>
                  <a:pt x="447" y="100"/>
                </a:cubicBezTo>
                <a:cubicBezTo>
                  <a:pt x="446" y="100"/>
                  <a:pt x="446" y="100"/>
                  <a:pt x="445" y="100"/>
                </a:cubicBezTo>
                <a:cubicBezTo>
                  <a:pt x="445" y="100"/>
                  <a:pt x="445" y="100"/>
                  <a:pt x="445" y="100"/>
                </a:cubicBezTo>
                <a:cubicBezTo>
                  <a:pt x="445" y="100"/>
                  <a:pt x="445" y="100"/>
                  <a:pt x="445" y="100"/>
                </a:cubicBezTo>
                <a:cubicBezTo>
                  <a:pt x="444" y="100"/>
                  <a:pt x="443" y="100"/>
                  <a:pt x="442" y="100"/>
                </a:cubicBezTo>
                <a:cubicBezTo>
                  <a:pt x="442" y="100"/>
                  <a:pt x="442" y="100"/>
                  <a:pt x="442" y="100"/>
                </a:cubicBezTo>
                <a:cubicBezTo>
                  <a:pt x="442" y="100"/>
                  <a:pt x="442" y="100"/>
                  <a:pt x="442" y="100"/>
                </a:cubicBezTo>
                <a:cubicBezTo>
                  <a:pt x="442" y="100"/>
                  <a:pt x="442" y="100"/>
                  <a:pt x="442" y="100"/>
                </a:cubicBezTo>
                <a:cubicBezTo>
                  <a:pt x="442" y="100"/>
                  <a:pt x="442" y="100"/>
                  <a:pt x="442" y="100"/>
                </a:cubicBezTo>
                <a:cubicBezTo>
                  <a:pt x="441" y="100"/>
                  <a:pt x="441" y="100"/>
                  <a:pt x="441" y="100"/>
                </a:cubicBezTo>
                <a:cubicBezTo>
                  <a:pt x="439" y="100"/>
                  <a:pt x="438" y="100"/>
                  <a:pt x="436" y="100"/>
                </a:cubicBezTo>
                <a:cubicBezTo>
                  <a:pt x="436" y="100"/>
                  <a:pt x="436" y="100"/>
                  <a:pt x="436" y="100"/>
                </a:cubicBezTo>
                <a:cubicBezTo>
                  <a:pt x="435" y="100"/>
                  <a:pt x="435" y="100"/>
                  <a:pt x="435" y="100"/>
                </a:cubicBezTo>
                <a:cubicBezTo>
                  <a:pt x="435" y="100"/>
                  <a:pt x="435" y="100"/>
                  <a:pt x="435" y="100"/>
                </a:cubicBezTo>
                <a:cubicBezTo>
                  <a:pt x="435" y="100"/>
                  <a:pt x="434" y="100"/>
                  <a:pt x="433" y="100"/>
                </a:cubicBezTo>
                <a:cubicBezTo>
                  <a:pt x="433" y="100"/>
                  <a:pt x="433" y="100"/>
                  <a:pt x="433" y="100"/>
                </a:cubicBezTo>
                <a:cubicBezTo>
                  <a:pt x="432" y="100"/>
                  <a:pt x="431" y="100"/>
                  <a:pt x="430" y="100"/>
                </a:cubicBezTo>
                <a:cubicBezTo>
                  <a:pt x="430" y="100"/>
                  <a:pt x="430" y="100"/>
                  <a:pt x="430" y="100"/>
                </a:cubicBezTo>
                <a:cubicBezTo>
                  <a:pt x="430" y="100"/>
                  <a:pt x="430" y="100"/>
                  <a:pt x="430" y="100"/>
                </a:cubicBezTo>
                <a:cubicBezTo>
                  <a:pt x="429" y="100"/>
                  <a:pt x="429" y="100"/>
                  <a:pt x="429" y="100"/>
                </a:cubicBezTo>
                <a:cubicBezTo>
                  <a:pt x="429" y="100"/>
                  <a:pt x="429" y="100"/>
                  <a:pt x="429" y="100"/>
                </a:cubicBezTo>
                <a:cubicBezTo>
                  <a:pt x="429" y="100"/>
                  <a:pt x="429" y="100"/>
                  <a:pt x="429" y="100"/>
                </a:cubicBezTo>
                <a:cubicBezTo>
                  <a:pt x="430" y="99"/>
                  <a:pt x="431" y="99"/>
                  <a:pt x="431" y="99"/>
                </a:cubicBezTo>
                <a:cubicBezTo>
                  <a:pt x="432" y="99"/>
                  <a:pt x="432" y="99"/>
                  <a:pt x="432" y="99"/>
                </a:cubicBezTo>
                <a:cubicBezTo>
                  <a:pt x="431" y="99"/>
                  <a:pt x="431" y="99"/>
                  <a:pt x="431" y="99"/>
                </a:cubicBezTo>
                <a:cubicBezTo>
                  <a:pt x="431" y="98"/>
                  <a:pt x="431" y="98"/>
                  <a:pt x="431" y="98"/>
                </a:cubicBezTo>
                <a:cubicBezTo>
                  <a:pt x="431" y="98"/>
                  <a:pt x="431" y="98"/>
                  <a:pt x="431" y="98"/>
                </a:cubicBezTo>
                <a:cubicBezTo>
                  <a:pt x="431" y="98"/>
                  <a:pt x="431" y="98"/>
                  <a:pt x="431" y="98"/>
                </a:cubicBezTo>
                <a:cubicBezTo>
                  <a:pt x="430" y="98"/>
                  <a:pt x="427" y="98"/>
                  <a:pt x="427" y="100"/>
                </a:cubicBezTo>
                <a:cubicBezTo>
                  <a:pt x="427" y="100"/>
                  <a:pt x="427" y="100"/>
                  <a:pt x="427" y="100"/>
                </a:cubicBezTo>
                <a:cubicBezTo>
                  <a:pt x="427" y="100"/>
                  <a:pt x="427" y="100"/>
                  <a:pt x="427" y="100"/>
                </a:cubicBezTo>
                <a:cubicBezTo>
                  <a:pt x="427" y="100"/>
                  <a:pt x="427" y="100"/>
                  <a:pt x="427" y="100"/>
                </a:cubicBezTo>
                <a:cubicBezTo>
                  <a:pt x="427" y="100"/>
                  <a:pt x="427" y="101"/>
                  <a:pt x="426" y="101"/>
                </a:cubicBezTo>
                <a:cubicBezTo>
                  <a:pt x="426" y="101"/>
                  <a:pt x="426" y="101"/>
                  <a:pt x="426" y="101"/>
                </a:cubicBezTo>
                <a:cubicBezTo>
                  <a:pt x="426" y="101"/>
                  <a:pt x="426" y="101"/>
                  <a:pt x="426" y="101"/>
                </a:cubicBezTo>
                <a:cubicBezTo>
                  <a:pt x="426" y="102"/>
                  <a:pt x="426" y="102"/>
                  <a:pt x="425" y="102"/>
                </a:cubicBezTo>
                <a:cubicBezTo>
                  <a:pt x="425" y="103"/>
                  <a:pt x="425" y="103"/>
                  <a:pt x="425" y="103"/>
                </a:cubicBezTo>
                <a:cubicBezTo>
                  <a:pt x="425" y="103"/>
                  <a:pt x="425" y="103"/>
                  <a:pt x="425" y="103"/>
                </a:cubicBezTo>
                <a:cubicBezTo>
                  <a:pt x="425" y="103"/>
                  <a:pt x="425" y="103"/>
                  <a:pt x="425" y="103"/>
                </a:cubicBezTo>
                <a:cubicBezTo>
                  <a:pt x="424" y="103"/>
                  <a:pt x="424" y="103"/>
                  <a:pt x="424" y="103"/>
                </a:cubicBezTo>
                <a:cubicBezTo>
                  <a:pt x="424" y="103"/>
                  <a:pt x="424" y="103"/>
                  <a:pt x="424" y="103"/>
                </a:cubicBezTo>
                <a:cubicBezTo>
                  <a:pt x="424" y="103"/>
                  <a:pt x="424" y="103"/>
                  <a:pt x="424" y="103"/>
                </a:cubicBezTo>
                <a:cubicBezTo>
                  <a:pt x="424" y="104"/>
                  <a:pt x="424" y="104"/>
                  <a:pt x="424" y="104"/>
                </a:cubicBezTo>
                <a:cubicBezTo>
                  <a:pt x="424" y="104"/>
                  <a:pt x="424" y="104"/>
                  <a:pt x="424" y="104"/>
                </a:cubicBezTo>
                <a:cubicBezTo>
                  <a:pt x="424" y="104"/>
                  <a:pt x="424" y="104"/>
                  <a:pt x="424" y="104"/>
                </a:cubicBezTo>
                <a:cubicBezTo>
                  <a:pt x="424" y="105"/>
                  <a:pt x="424" y="105"/>
                  <a:pt x="424" y="105"/>
                </a:cubicBezTo>
                <a:cubicBezTo>
                  <a:pt x="424" y="105"/>
                  <a:pt x="424" y="105"/>
                  <a:pt x="424" y="105"/>
                </a:cubicBezTo>
                <a:cubicBezTo>
                  <a:pt x="424" y="105"/>
                  <a:pt x="424" y="105"/>
                  <a:pt x="424" y="105"/>
                </a:cubicBezTo>
                <a:cubicBezTo>
                  <a:pt x="424" y="105"/>
                  <a:pt x="424" y="105"/>
                  <a:pt x="424" y="105"/>
                </a:cubicBezTo>
                <a:cubicBezTo>
                  <a:pt x="423" y="105"/>
                  <a:pt x="423" y="105"/>
                  <a:pt x="423" y="105"/>
                </a:cubicBezTo>
                <a:cubicBezTo>
                  <a:pt x="423" y="105"/>
                  <a:pt x="423" y="105"/>
                  <a:pt x="423" y="105"/>
                </a:cubicBezTo>
                <a:cubicBezTo>
                  <a:pt x="423" y="105"/>
                  <a:pt x="423" y="105"/>
                  <a:pt x="423" y="105"/>
                </a:cubicBezTo>
                <a:cubicBezTo>
                  <a:pt x="423" y="105"/>
                  <a:pt x="423" y="106"/>
                  <a:pt x="423" y="106"/>
                </a:cubicBezTo>
                <a:cubicBezTo>
                  <a:pt x="423" y="106"/>
                  <a:pt x="423" y="106"/>
                  <a:pt x="423" y="106"/>
                </a:cubicBezTo>
                <a:cubicBezTo>
                  <a:pt x="423" y="106"/>
                  <a:pt x="423" y="106"/>
                  <a:pt x="423" y="106"/>
                </a:cubicBezTo>
                <a:cubicBezTo>
                  <a:pt x="423" y="106"/>
                  <a:pt x="423" y="106"/>
                  <a:pt x="423" y="106"/>
                </a:cubicBezTo>
                <a:cubicBezTo>
                  <a:pt x="423" y="107"/>
                  <a:pt x="423" y="107"/>
                  <a:pt x="423" y="107"/>
                </a:cubicBezTo>
                <a:cubicBezTo>
                  <a:pt x="423" y="107"/>
                  <a:pt x="423" y="107"/>
                  <a:pt x="423" y="107"/>
                </a:cubicBezTo>
                <a:cubicBezTo>
                  <a:pt x="423" y="107"/>
                  <a:pt x="423" y="107"/>
                  <a:pt x="423" y="107"/>
                </a:cubicBezTo>
                <a:cubicBezTo>
                  <a:pt x="423" y="108"/>
                  <a:pt x="423" y="108"/>
                  <a:pt x="423" y="108"/>
                </a:cubicBezTo>
                <a:cubicBezTo>
                  <a:pt x="423" y="108"/>
                  <a:pt x="423" y="108"/>
                  <a:pt x="423" y="108"/>
                </a:cubicBezTo>
                <a:cubicBezTo>
                  <a:pt x="423" y="108"/>
                  <a:pt x="423" y="108"/>
                  <a:pt x="423" y="108"/>
                </a:cubicBezTo>
                <a:cubicBezTo>
                  <a:pt x="422" y="108"/>
                  <a:pt x="422" y="108"/>
                  <a:pt x="422" y="108"/>
                </a:cubicBezTo>
                <a:cubicBezTo>
                  <a:pt x="422" y="108"/>
                  <a:pt x="422" y="108"/>
                  <a:pt x="422" y="108"/>
                </a:cubicBezTo>
                <a:cubicBezTo>
                  <a:pt x="422" y="108"/>
                  <a:pt x="422" y="108"/>
                  <a:pt x="422" y="108"/>
                </a:cubicBezTo>
                <a:cubicBezTo>
                  <a:pt x="422" y="108"/>
                  <a:pt x="422" y="108"/>
                  <a:pt x="422" y="108"/>
                </a:cubicBezTo>
                <a:cubicBezTo>
                  <a:pt x="422" y="109"/>
                  <a:pt x="422" y="109"/>
                  <a:pt x="422" y="109"/>
                </a:cubicBezTo>
                <a:cubicBezTo>
                  <a:pt x="422" y="109"/>
                  <a:pt x="422" y="109"/>
                  <a:pt x="422" y="109"/>
                </a:cubicBezTo>
                <a:cubicBezTo>
                  <a:pt x="422" y="109"/>
                  <a:pt x="422" y="109"/>
                  <a:pt x="422" y="109"/>
                </a:cubicBezTo>
                <a:cubicBezTo>
                  <a:pt x="422" y="109"/>
                  <a:pt x="422" y="109"/>
                  <a:pt x="422" y="109"/>
                </a:cubicBezTo>
                <a:cubicBezTo>
                  <a:pt x="422" y="109"/>
                  <a:pt x="422" y="109"/>
                  <a:pt x="422" y="109"/>
                </a:cubicBezTo>
                <a:cubicBezTo>
                  <a:pt x="422" y="109"/>
                  <a:pt x="422" y="109"/>
                  <a:pt x="422" y="109"/>
                </a:cubicBezTo>
                <a:cubicBezTo>
                  <a:pt x="422" y="109"/>
                  <a:pt x="422" y="109"/>
                  <a:pt x="422" y="109"/>
                </a:cubicBezTo>
                <a:cubicBezTo>
                  <a:pt x="422" y="109"/>
                  <a:pt x="422" y="109"/>
                  <a:pt x="422" y="109"/>
                </a:cubicBezTo>
                <a:cubicBezTo>
                  <a:pt x="422" y="110"/>
                  <a:pt x="422" y="110"/>
                  <a:pt x="422" y="110"/>
                </a:cubicBezTo>
                <a:cubicBezTo>
                  <a:pt x="422" y="110"/>
                  <a:pt x="422" y="110"/>
                  <a:pt x="422" y="110"/>
                </a:cubicBezTo>
                <a:cubicBezTo>
                  <a:pt x="422" y="110"/>
                  <a:pt x="422" y="110"/>
                  <a:pt x="422" y="110"/>
                </a:cubicBezTo>
                <a:cubicBezTo>
                  <a:pt x="422" y="110"/>
                  <a:pt x="422" y="110"/>
                  <a:pt x="422" y="110"/>
                </a:cubicBezTo>
                <a:cubicBezTo>
                  <a:pt x="422" y="110"/>
                  <a:pt x="422" y="110"/>
                  <a:pt x="422" y="110"/>
                </a:cubicBezTo>
                <a:cubicBezTo>
                  <a:pt x="422" y="110"/>
                  <a:pt x="422" y="110"/>
                  <a:pt x="422" y="110"/>
                </a:cubicBezTo>
                <a:cubicBezTo>
                  <a:pt x="422" y="110"/>
                  <a:pt x="422" y="110"/>
                  <a:pt x="422" y="110"/>
                </a:cubicBezTo>
                <a:cubicBezTo>
                  <a:pt x="422" y="110"/>
                  <a:pt x="422" y="110"/>
                  <a:pt x="422" y="110"/>
                </a:cubicBezTo>
                <a:cubicBezTo>
                  <a:pt x="422" y="110"/>
                  <a:pt x="422" y="110"/>
                  <a:pt x="422" y="110"/>
                </a:cubicBezTo>
                <a:cubicBezTo>
                  <a:pt x="422" y="111"/>
                  <a:pt x="422" y="111"/>
                  <a:pt x="422" y="111"/>
                </a:cubicBezTo>
                <a:cubicBezTo>
                  <a:pt x="422" y="111"/>
                  <a:pt x="422" y="111"/>
                  <a:pt x="422" y="111"/>
                </a:cubicBezTo>
                <a:cubicBezTo>
                  <a:pt x="422" y="111"/>
                  <a:pt x="421" y="111"/>
                  <a:pt x="421" y="112"/>
                </a:cubicBezTo>
                <a:cubicBezTo>
                  <a:pt x="421" y="112"/>
                  <a:pt x="421" y="112"/>
                  <a:pt x="421" y="112"/>
                </a:cubicBezTo>
                <a:cubicBezTo>
                  <a:pt x="421" y="112"/>
                  <a:pt x="421" y="112"/>
                  <a:pt x="421" y="112"/>
                </a:cubicBezTo>
                <a:cubicBezTo>
                  <a:pt x="421" y="112"/>
                  <a:pt x="421" y="113"/>
                  <a:pt x="421" y="113"/>
                </a:cubicBezTo>
                <a:cubicBezTo>
                  <a:pt x="421" y="113"/>
                  <a:pt x="421" y="113"/>
                  <a:pt x="421" y="113"/>
                </a:cubicBezTo>
                <a:cubicBezTo>
                  <a:pt x="421" y="113"/>
                  <a:pt x="421" y="113"/>
                  <a:pt x="421" y="113"/>
                </a:cubicBezTo>
                <a:cubicBezTo>
                  <a:pt x="421" y="113"/>
                  <a:pt x="421" y="113"/>
                  <a:pt x="421" y="113"/>
                </a:cubicBezTo>
                <a:cubicBezTo>
                  <a:pt x="421" y="114"/>
                  <a:pt x="421" y="114"/>
                  <a:pt x="421" y="114"/>
                </a:cubicBezTo>
                <a:cubicBezTo>
                  <a:pt x="421" y="114"/>
                  <a:pt x="420" y="114"/>
                  <a:pt x="420" y="115"/>
                </a:cubicBezTo>
                <a:cubicBezTo>
                  <a:pt x="420" y="115"/>
                  <a:pt x="420" y="115"/>
                  <a:pt x="420" y="115"/>
                </a:cubicBezTo>
                <a:cubicBezTo>
                  <a:pt x="420" y="115"/>
                  <a:pt x="420" y="115"/>
                  <a:pt x="420" y="116"/>
                </a:cubicBezTo>
                <a:cubicBezTo>
                  <a:pt x="420" y="116"/>
                  <a:pt x="420" y="116"/>
                  <a:pt x="420" y="116"/>
                </a:cubicBezTo>
                <a:cubicBezTo>
                  <a:pt x="420" y="116"/>
                  <a:pt x="420" y="116"/>
                  <a:pt x="420" y="116"/>
                </a:cubicBezTo>
                <a:cubicBezTo>
                  <a:pt x="420" y="116"/>
                  <a:pt x="420" y="116"/>
                  <a:pt x="420" y="116"/>
                </a:cubicBezTo>
                <a:cubicBezTo>
                  <a:pt x="420" y="117"/>
                  <a:pt x="420" y="117"/>
                  <a:pt x="420" y="117"/>
                </a:cubicBezTo>
                <a:cubicBezTo>
                  <a:pt x="420" y="117"/>
                  <a:pt x="420" y="117"/>
                  <a:pt x="420" y="117"/>
                </a:cubicBezTo>
                <a:cubicBezTo>
                  <a:pt x="420" y="117"/>
                  <a:pt x="419" y="117"/>
                  <a:pt x="419" y="118"/>
                </a:cubicBezTo>
                <a:cubicBezTo>
                  <a:pt x="419" y="118"/>
                  <a:pt x="419" y="118"/>
                  <a:pt x="419" y="118"/>
                </a:cubicBezTo>
                <a:cubicBezTo>
                  <a:pt x="419" y="118"/>
                  <a:pt x="419" y="118"/>
                  <a:pt x="419" y="118"/>
                </a:cubicBezTo>
                <a:cubicBezTo>
                  <a:pt x="419" y="118"/>
                  <a:pt x="419" y="118"/>
                  <a:pt x="419" y="119"/>
                </a:cubicBezTo>
                <a:cubicBezTo>
                  <a:pt x="419" y="119"/>
                  <a:pt x="419" y="119"/>
                  <a:pt x="419" y="119"/>
                </a:cubicBezTo>
                <a:cubicBezTo>
                  <a:pt x="419" y="119"/>
                  <a:pt x="419" y="119"/>
                  <a:pt x="419" y="119"/>
                </a:cubicBezTo>
                <a:cubicBezTo>
                  <a:pt x="419" y="119"/>
                  <a:pt x="419" y="119"/>
                  <a:pt x="419" y="119"/>
                </a:cubicBezTo>
                <a:cubicBezTo>
                  <a:pt x="418" y="121"/>
                  <a:pt x="418" y="121"/>
                  <a:pt x="417" y="122"/>
                </a:cubicBezTo>
                <a:cubicBezTo>
                  <a:pt x="417" y="122"/>
                  <a:pt x="417" y="122"/>
                  <a:pt x="417" y="122"/>
                </a:cubicBezTo>
                <a:cubicBezTo>
                  <a:pt x="417" y="123"/>
                  <a:pt x="417" y="123"/>
                  <a:pt x="417" y="123"/>
                </a:cubicBezTo>
                <a:cubicBezTo>
                  <a:pt x="417" y="123"/>
                  <a:pt x="417" y="123"/>
                  <a:pt x="417" y="123"/>
                </a:cubicBezTo>
                <a:cubicBezTo>
                  <a:pt x="417" y="123"/>
                  <a:pt x="417" y="123"/>
                  <a:pt x="417" y="123"/>
                </a:cubicBezTo>
                <a:cubicBezTo>
                  <a:pt x="417" y="123"/>
                  <a:pt x="417" y="123"/>
                  <a:pt x="417" y="123"/>
                </a:cubicBezTo>
                <a:cubicBezTo>
                  <a:pt x="417" y="123"/>
                  <a:pt x="417" y="123"/>
                  <a:pt x="417" y="123"/>
                </a:cubicBezTo>
                <a:cubicBezTo>
                  <a:pt x="417" y="123"/>
                  <a:pt x="417" y="123"/>
                  <a:pt x="417" y="123"/>
                </a:cubicBezTo>
                <a:cubicBezTo>
                  <a:pt x="416" y="123"/>
                  <a:pt x="416" y="123"/>
                  <a:pt x="416" y="123"/>
                </a:cubicBezTo>
                <a:cubicBezTo>
                  <a:pt x="416" y="123"/>
                  <a:pt x="416" y="123"/>
                  <a:pt x="416" y="123"/>
                </a:cubicBezTo>
                <a:cubicBezTo>
                  <a:pt x="416" y="123"/>
                  <a:pt x="415" y="124"/>
                  <a:pt x="414" y="125"/>
                </a:cubicBezTo>
                <a:cubicBezTo>
                  <a:pt x="414" y="125"/>
                  <a:pt x="414" y="125"/>
                  <a:pt x="414" y="125"/>
                </a:cubicBezTo>
                <a:cubicBezTo>
                  <a:pt x="414" y="125"/>
                  <a:pt x="414" y="125"/>
                  <a:pt x="414" y="125"/>
                </a:cubicBezTo>
                <a:cubicBezTo>
                  <a:pt x="414" y="125"/>
                  <a:pt x="414" y="125"/>
                  <a:pt x="414" y="125"/>
                </a:cubicBezTo>
                <a:cubicBezTo>
                  <a:pt x="414" y="125"/>
                  <a:pt x="413" y="125"/>
                  <a:pt x="413" y="126"/>
                </a:cubicBezTo>
                <a:cubicBezTo>
                  <a:pt x="413" y="126"/>
                  <a:pt x="413" y="126"/>
                  <a:pt x="413" y="126"/>
                </a:cubicBezTo>
                <a:cubicBezTo>
                  <a:pt x="413" y="126"/>
                  <a:pt x="413" y="126"/>
                  <a:pt x="413" y="126"/>
                </a:cubicBezTo>
                <a:cubicBezTo>
                  <a:pt x="413" y="126"/>
                  <a:pt x="413" y="126"/>
                  <a:pt x="412" y="126"/>
                </a:cubicBezTo>
                <a:cubicBezTo>
                  <a:pt x="412" y="126"/>
                  <a:pt x="412" y="126"/>
                  <a:pt x="412" y="126"/>
                </a:cubicBezTo>
                <a:cubicBezTo>
                  <a:pt x="412" y="126"/>
                  <a:pt x="412" y="126"/>
                  <a:pt x="412" y="126"/>
                </a:cubicBezTo>
                <a:cubicBezTo>
                  <a:pt x="412" y="127"/>
                  <a:pt x="412" y="127"/>
                  <a:pt x="412" y="127"/>
                </a:cubicBezTo>
                <a:cubicBezTo>
                  <a:pt x="412" y="127"/>
                  <a:pt x="412" y="127"/>
                  <a:pt x="412" y="127"/>
                </a:cubicBezTo>
                <a:cubicBezTo>
                  <a:pt x="412" y="127"/>
                  <a:pt x="412" y="127"/>
                  <a:pt x="412" y="127"/>
                </a:cubicBezTo>
                <a:cubicBezTo>
                  <a:pt x="411" y="127"/>
                  <a:pt x="411" y="127"/>
                  <a:pt x="411" y="127"/>
                </a:cubicBezTo>
                <a:cubicBezTo>
                  <a:pt x="411" y="127"/>
                  <a:pt x="411" y="127"/>
                  <a:pt x="410" y="127"/>
                </a:cubicBezTo>
                <a:cubicBezTo>
                  <a:pt x="410" y="127"/>
                  <a:pt x="410" y="127"/>
                  <a:pt x="410" y="127"/>
                </a:cubicBezTo>
                <a:cubicBezTo>
                  <a:pt x="410" y="128"/>
                  <a:pt x="410" y="128"/>
                  <a:pt x="410" y="128"/>
                </a:cubicBezTo>
                <a:cubicBezTo>
                  <a:pt x="410" y="128"/>
                  <a:pt x="410" y="128"/>
                  <a:pt x="409" y="128"/>
                </a:cubicBezTo>
                <a:cubicBezTo>
                  <a:pt x="409" y="128"/>
                  <a:pt x="409" y="128"/>
                  <a:pt x="409" y="128"/>
                </a:cubicBezTo>
                <a:cubicBezTo>
                  <a:pt x="409" y="128"/>
                  <a:pt x="409" y="128"/>
                  <a:pt x="409" y="128"/>
                </a:cubicBezTo>
                <a:cubicBezTo>
                  <a:pt x="409" y="128"/>
                  <a:pt x="409" y="128"/>
                  <a:pt x="409" y="128"/>
                </a:cubicBezTo>
                <a:cubicBezTo>
                  <a:pt x="409" y="128"/>
                  <a:pt x="409" y="128"/>
                  <a:pt x="409" y="128"/>
                </a:cubicBezTo>
                <a:cubicBezTo>
                  <a:pt x="409" y="128"/>
                  <a:pt x="408" y="128"/>
                  <a:pt x="408" y="129"/>
                </a:cubicBezTo>
                <a:cubicBezTo>
                  <a:pt x="408" y="129"/>
                  <a:pt x="408" y="129"/>
                  <a:pt x="408" y="129"/>
                </a:cubicBezTo>
                <a:cubicBezTo>
                  <a:pt x="408" y="129"/>
                  <a:pt x="408" y="129"/>
                  <a:pt x="408" y="129"/>
                </a:cubicBezTo>
                <a:cubicBezTo>
                  <a:pt x="407" y="129"/>
                  <a:pt x="407" y="129"/>
                  <a:pt x="407" y="129"/>
                </a:cubicBezTo>
                <a:cubicBezTo>
                  <a:pt x="407" y="129"/>
                  <a:pt x="407" y="129"/>
                  <a:pt x="407" y="129"/>
                </a:cubicBezTo>
                <a:cubicBezTo>
                  <a:pt x="406" y="129"/>
                  <a:pt x="406" y="129"/>
                  <a:pt x="406" y="129"/>
                </a:cubicBezTo>
                <a:cubicBezTo>
                  <a:pt x="406" y="130"/>
                  <a:pt x="406" y="130"/>
                  <a:pt x="406" y="130"/>
                </a:cubicBezTo>
                <a:cubicBezTo>
                  <a:pt x="406" y="130"/>
                  <a:pt x="406" y="130"/>
                  <a:pt x="406" y="130"/>
                </a:cubicBezTo>
                <a:cubicBezTo>
                  <a:pt x="406" y="130"/>
                  <a:pt x="406" y="130"/>
                  <a:pt x="406" y="130"/>
                </a:cubicBezTo>
                <a:cubicBezTo>
                  <a:pt x="406" y="130"/>
                  <a:pt x="406" y="130"/>
                  <a:pt x="406" y="130"/>
                </a:cubicBezTo>
                <a:cubicBezTo>
                  <a:pt x="406" y="130"/>
                  <a:pt x="406" y="130"/>
                  <a:pt x="406" y="130"/>
                </a:cubicBezTo>
                <a:cubicBezTo>
                  <a:pt x="405" y="130"/>
                  <a:pt x="404" y="130"/>
                  <a:pt x="403" y="131"/>
                </a:cubicBezTo>
                <a:cubicBezTo>
                  <a:pt x="403" y="131"/>
                  <a:pt x="403" y="131"/>
                  <a:pt x="403" y="131"/>
                </a:cubicBezTo>
                <a:cubicBezTo>
                  <a:pt x="403" y="131"/>
                  <a:pt x="403" y="131"/>
                  <a:pt x="403" y="131"/>
                </a:cubicBezTo>
                <a:cubicBezTo>
                  <a:pt x="402" y="130"/>
                  <a:pt x="402" y="131"/>
                  <a:pt x="402" y="132"/>
                </a:cubicBezTo>
                <a:cubicBezTo>
                  <a:pt x="402" y="132"/>
                  <a:pt x="402" y="132"/>
                  <a:pt x="402" y="132"/>
                </a:cubicBezTo>
                <a:cubicBezTo>
                  <a:pt x="402" y="132"/>
                  <a:pt x="402" y="132"/>
                  <a:pt x="402" y="132"/>
                </a:cubicBezTo>
                <a:cubicBezTo>
                  <a:pt x="402" y="132"/>
                  <a:pt x="402" y="132"/>
                  <a:pt x="402" y="132"/>
                </a:cubicBezTo>
                <a:cubicBezTo>
                  <a:pt x="402" y="132"/>
                  <a:pt x="402" y="132"/>
                  <a:pt x="402" y="132"/>
                </a:cubicBezTo>
                <a:cubicBezTo>
                  <a:pt x="401" y="133"/>
                  <a:pt x="401" y="133"/>
                  <a:pt x="401" y="133"/>
                </a:cubicBezTo>
                <a:cubicBezTo>
                  <a:pt x="401" y="133"/>
                  <a:pt x="401" y="133"/>
                  <a:pt x="401" y="133"/>
                </a:cubicBezTo>
                <a:cubicBezTo>
                  <a:pt x="401" y="133"/>
                  <a:pt x="401" y="133"/>
                  <a:pt x="401" y="133"/>
                </a:cubicBezTo>
                <a:cubicBezTo>
                  <a:pt x="401" y="133"/>
                  <a:pt x="401" y="133"/>
                  <a:pt x="401" y="133"/>
                </a:cubicBezTo>
                <a:cubicBezTo>
                  <a:pt x="401" y="133"/>
                  <a:pt x="401" y="133"/>
                  <a:pt x="401" y="133"/>
                </a:cubicBezTo>
                <a:cubicBezTo>
                  <a:pt x="401" y="133"/>
                  <a:pt x="401" y="133"/>
                  <a:pt x="401" y="133"/>
                </a:cubicBezTo>
                <a:cubicBezTo>
                  <a:pt x="401" y="133"/>
                  <a:pt x="401" y="133"/>
                  <a:pt x="401" y="133"/>
                </a:cubicBezTo>
                <a:cubicBezTo>
                  <a:pt x="401" y="133"/>
                  <a:pt x="401" y="133"/>
                  <a:pt x="401" y="133"/>
                </a:cubicBezTo>
                <a:cubicBezTo>
                  <a:pt x="400" y="134"/>
                  <a:pt x="400" y="134"/>
                  <a:pt x="400" y="134"/>
                </a:cubicBezTo>
                <a:cubicBezTo>
                  <a:pt x="400" y="135"/>
                  <a:pt x="400" y="135"/>
                  <a:pt x="400" y="135"/>
                </a:cubicBezTo>
                <a:cubicBezTo>
                  <a:pt x="399" y="136"/>
                  <a:pt x="399" y="136"/>
                  <a:pt x="399" y="136"/>
                </a:cubicBezTo>
                <a:cubicBezTo>
                  <a:pt x="399" y="136"/>
                  <a:pt x="399" y="136"/>
                  <a:pt x="399" y="136"/>
                </a:cubicBezTo>
                <a:cubicBezTo>
                  <a:pt x="400" y="136"/>
                  <a:pt x="400" y="136"/>
                  <a:pt x="400" y="136"/>
                </a:cubicBezTo>
                <a:cubicBezTo>
                  <a:pt x="400" y="136"/>
                  <a:pt x="400" y="136"/>
                  <a:pt x="400" y="136"/>
                </a:cubicBezTo>
                <a:cubicBezTo>
                  <a:pt x="400" y="136"/>
                  <a:pt x="400" y="136"/>
                  <a:pt x="400" y="136"/>
                </a:cubicBezTo>
                <a:cubicBezTo>
                  <a:pt x="400" y="136"/>
                  <a:pt x="400" y="136"/>
                  <a:pt x="400" y="136"/>
                </a:cubicBezTo>
                <a:cubicBezTo>
                  <a:pt x="400" y="136"/>
                  <a:pt x="400" y="136"/>
                  <a:pt x="400" y="136"/>
                </a:cubicBezTo>
                <a:cubicBezTo>
                  <a:pt x="400" y="136"/>
                  <a:pt x="400" y="136"/>
                  <a:pt x="400" y="136"/>
                </a:cubicBezTo>
                <a:cubicBezTo>
                  <a:pt x="400" y="136"/>
                  <a:pt x="400" y="136"/>
                  <a:pt x="400" y="136"/>
                </a:cubicBezTo>
                <a:cubicBezTo>
                  <a:pt x="401" y="136"/>
                  <a:pt x="401" y="136"/>
                  <a:pt x="401" y="136"/>
                </a:cubicBezTo>
                <a:cubicBezTo>
                  <a:pt x="401" y="136"/>
                  <a:pt x="401" y="136"/>
                  <a:pt x="401" y="136"/>
                </a:cubicBezTo>
                <a:cubicBezTo>
                  <a:pt x="401" y="135"/>
                  <a:pt x="401" y="135"/>
                  <a:pt x="401" y="135"/>
                </a:cubicBezTo>
                <a:cubicBezTo>
                  <a:pt x="401" y="135"/>
                  <a:pt x="401" y="135"/>
                  <a:pt x="401" y="135"/>
                </a:cubicBezTo>
                <a:cubicBezTo>
                  <a:pt x="401" y="135"/>
                  <a:pt x="401" y="135"/>
                  <a:pt x="401" y="135"/>
                </a:cubicBezTo>
                <a:cubicBezTo>
                  <a:pt x="401" y="135"/>
                  <a:pt x="401" y="135"/>
                  <a:pt x="401" y="135"/>
                </a:cubicBezTo>
                <a:cubicBezTo>
                  <a:pt x="402" y="135"/>
                  <a:pt x="402" y="135"/>
                  <a:pt x="402" y="135"/>
                </a:cubicBezTo>
                <a:cubicBezTo>
                  <a:pt x="402" y="135"/>
                  <a:pt x="402" y="135"/>
                  <a:pt x="402" y="135"/>
                </a:cubicBezTo>
                <a:cubicBezTo>
                  <a:pt x="402" y="135"/>
                  <a:pt x="402" y="135"/>
                  <a:pt x="402" y="135"/>
                </a:cubicBezTo>
                <a:cubicBezTo>
                  <a:pt x="402" y="135"/>
                  <a:pt x="402" y="135"/>
                  <a:pt x="402" y="135"/>
                </a:cubicBezTo>
                <a:cubicBezTo>
                  <a:pt x="402" y="135"/>
                  <a:pt x="402" y="135"/>
                  <a:pt x="402" y="135"/>
                </a:cubicBezTo>
                <a:cubicBezTo>
                  <a:pt x="402" y="135"/>
                  <a:pt x="402" y="135"/>
                  <a:pt x="402" y="135"/>
                </a:cubicBezTo>
                <a:cubicBezTo>
                  <a:pt x="402" y="135"/>
                  <a:pt x="402" y="135"/>
                  <a:pt x="402" y="135"/>
                </a:cubicBezTo>
                <a:cubicBezTo>
                  <a:pt x="402" y="136"/>
                  <a:pt x="402" y="136"/>
                  <a:pt x="401" y="136"/>
                </a:cubicBezTo>
                <a:cubicBezTo>
                  <a:pt x="401" y="136"/>
                  <a:pt x="401" y="136"/>
                  <a:pt x="401" y="136"/>
                </a:cubicBezTo>
                <a:cubicBezTo>
                  <a:pt x="401" y="136"/>
                  <a:pt x="401" y="136"/>
                  <a:pt x="401" y="136"/>
                </a:cubicBezTo>
                <a:cubicBezTo>
                  <a:pt x="401" y="137"/>
                  <a:pt x="400" y="137"/>
                  <a:pt x="400" y="138"/>
                </a:cubicBezTo>
                <a:cubicBezTo>
                  <a:pt x="399" y="138"/>
                  <a:pt x="399" y="138"/>
                  <a:pt x="399" y="138"/>
                </a:cubicBezTo>
                <a:cubicBezTo>
                  <a:pt x="399" y="139"/>
                  <a:pt x="399" y="139"/>
                  <a:pt x="399" y="139"/>
                </a:cubicBezTo>
                <a:cubicBezTo>
                  <a:pt x="399" y="139"/>
                  <a:pt x="399" y="139"/>
                  <a:pt x="399" y="139"/>
                </a:cubicBezTo>
                <a:cubicBezTo>
                  <a:pt x="400" y="139"/>
                  <a:pt x="400" y="139"/>
                  <a:pt x="400" y="139"/>
                </a:cubicBezTo>
                <a:cubicBezTo>
                  <a:pt x="400" y="139"/>
                  <a:pt x="400" y="139"/>
                  <a:pt x="400" y="139"/>
                </a:cubicBezTo>
                <a:cubicBezTo>
                  <a:pt x="400" y="139"/>
                  <a:pt x="400" y="139"/>
                  <a:pt x="400" y="139"/>
                </a:cubicBezTo>
                <a:cubicBezTo>
                  <a:pt x="400" y="139"/>
                  <a:pt x="400" y="139"/>
                  <a:pt x="400" y="139"/>
                </a:cubicBezTo>
                <a:cubicBezTo>
                  <a:pt x="400" y="140"/>
                  <a:pt x="400" y="140"/>
                  <a:pt x="400" y="140"/>
                </a:cubicBezTo>
                <a:cubicBezTo>
                  <a:pt x="400" y="140"/>
                  <a:pt x="400" y="140"/>
                  <a:pt x="400" y="140"/>
                </a:cubicBezTo>
                <a:cubicBezTo>
                  <a:pt x="400" y="140"/>
                  <a:pt x="400" y="140"/>
                  <a:pt x="400" y="140"/>
                </a:cubicBezTo>
                <a:cubicBezTo>
                  <a:pt x="400" y="140"/>
                  <a:pt x="400" y="140"/>
                  <a:pt x="400" y="140"/>
                </a:cubicBezTo>
                <a:cubicBezTo>
                  <a:pt x="400" y="140"/>
                  <a:pt x="400" y="140"/>
                  <a:pt x="400" y="140"/>
                </a:cubicBezTo>
                <a:cubicBezTo>
                  <a:pt x="400" y="140"/>
                  <a:pt x="400" y="140"/>
                  <a:pt x="400" y="140"/>
                </a:cubicBezTo>
                <a:cubicBezTo>
                  <a:pt x="400" y="140"/>
                  <a:pt x="400" y="140"/>
                  <a:pt x="400" y="140"/>
                </a:cubicBezTo>
                <a:cubicBezTo>
                  <a:pt x="401" y="140"/>
                  <a:pt x="401" y="140"/>
                  <a:pt x="401" y="140"/>
                </a:cubicBezTo>
                <a:cubicBezTo>
                  <a:pt x="401" y="140"/>
                  <a:pt x="402" y="140"/>
                  <a:pt x="402" y="140"/>
                </a:cubicBezTo>
                <a:cubicBezTo>
                  <a:pt x="403" y="140"/>
                  <a:pt x="403" y="140"/>
                  <a:pt x="403" y="140"/>
                </a:cubicBezTo>
                <a:cubicBezTo>
                  <a:pt x="403" y="140"/>
                  <a:pt x="403" y="140"/>
                  <a:pt x="403" y="140"/>
                </a:cubicBezTo>
                <a:cubicBezTo>
                  <a:pt x="403" y="140"/>
                  <a:pt x="403" y="140"/>
                  <a:pt x="403" y="140"/>
                </a:cubicBezTo>
                <a:cubicBezTo>
                  <a:pt x="403" y="140"/>
                  <a:pt x="403" y="140"/>
                  <a:pt x="403" y="140"/>
                </a:cubicBezTo>
                <a:cubicBezTo>
                  <a:pt x="403" y="140"/>
                  <a:pt x="403" y="140"/>
                  <a:pt x="403" y="140"/>
                </a:cubicBezTo>
                <a:cubicBezTo>
                  <a:pt x="403" y="140"/>
                  <a:pt x="403" y="140"/>
                  <a:pt x="403" y="140"/>
                </a:cubicBezTo>
                <a:cubicBezTo>
                  <a:pt x="404" y="139"/>
                  <a:pt x="404" y="139"/>
                  <a:pt x="405" y="139"/>
                </a:cubicBezTo>
                <a:cubicBezTo>
                  <a:pt x="405" y="139"/>
                  <a:pt x="405" y="139"/>
                  <a:pt x="405" y="139"/>
                </a:cubicBezTo>
                <a:cubicBezTo>
                  <a:pt x="405" y="139"/>
                  <a:pt x="405" y="139"/>
                  <a:pt x="405" y="139"/>
                </a:cubicBezTo>
                <a:cubicBezTo>
                  <a:pt x="406" y="140"/>
                  <a:pt x="407" y="140"/>
                  <a:pt x="407" y="141"/>
                </a:cubicBezTo>
                <a:cubicBezTo>
                  <a:pt x="407" y="142"/>
                  <a:pt x="407" y="142"/>
                  <a:pt x="407" y="142"/>
                </a:cubicBezTo>
                <a:cubicBezTo>
                  <a:pt x="406" y="142"/>
                  <a:pt x="406" y="142"/>
                  <a:pt x="406" y="142"/>
                </a:cubicBezTo>
                <a:cubicBezTo>
                  <a:pt x="406" y="142"/>
                  <a:pt x="406" y="142"/>
                  <a:pt x="406" y="142"/>
                </a:cubicBezTo>
                <a:cubicBezTo>
                  <a:pt x="406" y="142"/>
                  <a:pt x="406" y="142"/>
                  <a:pt x="406" y="142"/>
                </a:cubicBezTo>
                <a:cubicBezTo>
                  <a:pt x="406" y="142"/>
                  <a:pt x="406" y="143"/>
                  <a:pt x="406" y="143"/>
                </a:cubicBezTo>
                <a:cubicBezTo>
                  <a:pt x="406" y="143"/>
                  <a:pt x="406" y="143"/>
                  <a:pt x="406" y="143"/>
                </a:cubicBezTo>
                <a:cubicBezTo>
                  <a:pt x="406" y="143"/>
                  <a:pt x="406" y="143"/>
                  <a:pt x="406" y="143"/>
                </a:cubicBezTo>
                <a:cubicBezTo>
                  <a:pt x="406" y="144"/>
                  <a:pt x="405" y="144"/>
                  <a:pt x="406" y="145"/>
                </a:cubicBezTo>
                <a:cubicBezTo>
                  <a:pt x="406" y="145"/>
                  <a:pt x="406" y="145"/>
                  <a:pt x="406" y="145"/>
                </a:cubicBezTo>
                <a:cubicBezTo>
                  <a:pt x="406" y="146"/>
                  <a:pt x="406" y="146"/>
                  <a:pt x="406" y="146"/>
                </a:cubicBezTo>
                <a:cubicBezTo>
                  <a:pt x="406" y="146"/>
                  <a:pt x="406" y="146"/>
                  <a:pt x="406" y="146"/>
                </a:cubicBezTo>
                <a:cubicBezTo>
                  <a:pt x="406" y="146"/>
                  <a:pt x="406" y="146"/>
                  <a:pt x="406" y="146"/>
                </a:cubicBezTo>
                <a:cubicBezTo>
                  <a:pt x="406" y="146"/>
                  <a:pt x="406" y="146"/>
                  <a:pt x="406" y="146"/>
                </a:cubicBezTo>
                <a:cubicBezTo>
                  <a:pt x="406" y="146"/>
                  <a:pt x="406" y="146"/>
                  <a:pt x="406" y="146"/>
                </a:cubicBezTo>
                <a:cubicBezTo>
                  <a:pt x="406" y="147"/>
                  <a:pt x="406" y="147"/>
                  <a:pt x="406" y="147"/>
                </a:cubicBezTo>
                <a:cubicBezTo>
                  <a:pt x="406" y="147"/>
                  <a:pt x="405" y="147"/>
                  <a:pt x="405" y="148"/>
                </a:cubicBezTo>
                <a:cubicBezTo>
                  <a:pt x="405" y="148"/>
                  <a:pt x="405" y="148"/>
                  <a:pt x="405" y="148"/>
                </a:cubicBezTo>
                <a:cubicBezTo>
                  <a:pt x="405" y="148"/>
                  <a:pt x="405" y="148"/>
                  <a:pt x="405" y="148"/>
                </a:cubicBezTo>
                <a:cubicBezTo>
                  <a:pt x="405" y="148"/>
                  <a:pt x="405" y="149"/>
                  <a:pt x="405" y="149"/>
                </a:cubicBezTo>
                <a:cubicBezTo>
                  <a:pt x="404" y="150"/>
                  <a:pt x="404" y="150"/>
                  <a:pt x="404" y="150"/>
                </a:cubicBezTo>
                <a:cubicBezTo>
                  <a:pt x="404" y="151"/>
                  <a:pt x="404" y="151"/>
                  <a:pt x="404" y="151"/>
                </a:cubicBezTo>
                <a:cubicBezTo>
                  <a:pt x="404" y="151"/>
                  <a:pt x="404" y="151"/>
                  <a:pt x="404" y="151"/>
                </a:cubicBezTo>
                <a:cubicBezTo>
                  <a:pt x="404" y="151"/>
                  <a:pt x="404" y="151"/>
                  <a:pt x="404" y="151"/>
                </a:cubicBezTo>
                <a:cubicBezTo>
                  <a:pt x="405" y="151"/>
                  <a:pt x="405" y="151"/>
                  <a:pt x="405" y="151"/>
                </a:cubicBezTo>
                <a:cubicBezTo>
                  <a:pt x="405" y="151"/>
                  <a:pt x="405" y="151"/>
                  <a:pt x="405" y="151"/>
                </a:cubicBezTo>
                <a:cubicBezTo>
                  <a:pt x="405" y="151"/>
                  <a:pt x="405" y="151"/>
                  <a:pt x="405" y="151"/>
                </a:cubicBezTo>
                <a:cubicBezTo>
                  <a:pt x="406" y="152"/>
                  <a:pt x="406" y="152"/>
                  <a:pt x="406" y="152"/>
                </a:cubicBezTo>
                <a:cubicBezTo>
                  <a:pt x="406" y="152"/>
                  <a:pt x="406" y="152"/>
                  <a:pt x="406" y="152"/>
                </a:cubicBezTo>
                <a:cubicBezTo>
                  <a:pt x="406" y="152"/>
                  <a:pt x="406" y="152"/>
                  <a:pt x="406" y="152"/>
                </a:cubicBezTo>
                <a:cubicBezTo>
                  <a:pt x="407" y="153"/>
                  <a:pt x="407" y="153"/>
                  <a:pt x="407" y="153"/>
                </a:cubicBezTo>
                <a:cubicBezTo>
                  <a:pt x="407" y="153"/>
                  <a:pt x="407" y="153"/>
                  <a:pt x="407" y="153"/>
                </a:cubicBezTo>
                <a:cubicBezTo>
                  <a:pt x="406" y="153"/>
                  <a:pt x="406" y="153"/>
                  <a:pt x="406" y="153"/>
                </a:cubicBezTo>
                <a:cubicBezTo>
                  <a:pt x="406" y="153"/>
                  <a:pt x="406" y="153"/>
                  <a:pt x="406" y="153"/>
                </a:cubicBezTo>
                <a:cubicBezTo>
                  <a:pt x="406" y="153"/>
                  <a:pt x="406" y="153"/>
                  <a:pt x="406" y="153"/>
                </a:cubicBezTo>
                <a:cubicBezTo>
                  <a:pt x="406" y="154"/>
                  <a:pt x="406" y="154"/>
                  <a:pt x="406" y="154"/>
                </a:cubicBezTo>
                <a:cubicBezTo>
                  <a:pt x="406" y="154"/>
                  <a:pt x="406" y="154"/>
                  <a:pt x="406" y="154"/>
                </a:cubicBezTo>
                <a:cubicBezTo>
                  <a:pt x="405" y="154"/>
                  <a:pt x="405" y="154"/>
                  <a:pt x="405" y="154"/>
                </a:cubicBezTo>
                <a:cubicBezTo>
                  <a:pt x="405" y="155"/>
                  <a:pt x="405" y="155"/>
                  <a:pt x="405" y="155"/>
                </a:cubicBezTo>
                <a:cubicBezTo>
                  <a:pt x="405" y="155"/>
                  <a:pt x="405" y="155"/>
                  <a:pt x="405" y="155"/>
                </a:cubicBezTo>
                <a:cubicBezTo>
                  <a:pt x="405" y="155"/>
                  <a:pt x="405" y="155"/>
                  <a:pt x="405" y="155"/>
                </a:cubicBezTo>
                <a:cubicBezTo>
                  <a:pt x="405" y="155"/>
                  <a:pt x="405" y="155"/>
                  <a:pt x="405" y="155"/>
                </a:cubicBezTo>
                <a:cubicBezTo>
                  <a:pt x="404" y="155"/>
                  <a:pt x="404" y="154"/>
                  <a:pt x="403" y="154"/>
                </a:cubicBezTo>
                <a:cubicBezTo>
                  <a:pt x="403" y="154"/>
                  <a:pt x="403" y="154"/>
                  <a:pt x="403" y="154"/>
                </a:cubicBezTo>
                <a:cubicBezTo>
                  <a:pt x="403" y="154"/>
                  <a:pt x="403" y="154"/>
                  <a:pt x="403" y="154"/>
                </a:cubicBezTo>
                <a:cubicBezTo>
                  <a:pt x="402" y="154"/>
                  <a:pt x="402" y="154"/>
                  <a:pt x="402" y="154"/>
                </a:cubicBezTo>
                <a:cubicBezTo>
                  <a:pt x="402" y="154"/>
                  <a:pt x="402" y="154"/>
                  <a:pt x="402" y="154"/>
                </a:cubicBezTo>
                <a:cubicBezTo>
                  <a:pt x="402" y="154"/>
                  <a:pt x="402" y="154"/>
                  <a:pt x="402" y="154"/>
                </a:cubicBezTo>
                <a:cubicBezTo>
                  <a:pt x="402" y="154"/>
                  <a:pt x="402" y="154"/>
                  <a:pt x="402" y="154"/>
                </a:cubicBezTo>
                <a:cubicBezTo>
                  <a:pt x="402" y="154"/>
                  <a:pt x="402" y="154"/>
                  <a:pt x="402" y="154"/>
                </a:cubicBezTo>
                <a:cubicBezTo>
                  <a:pt x="402" y="154"/>
                  <a:pt x="402" y="154"/>
                  <a:pt x="402" y="154"/>
                </a:cubicBezTo>
                <a:cubicBezTo>
                  <a:pt x="402" y="154"/>
                  <a:pt x="402" y="154"/>
                  <a:pt x="402" y="154"/>
                </a:cubicBezTo>
                <a:cubicBezTo>
                  <a:pt x="402" y="154"/>
                  <a:pt x="402" y="154"/>
                  <a:pt x="402" y="154"/>
                </a:cubicBezTo>
                <a:cubicBezTo>
                  <a:pt x="402" y="155"/>
                  <a:pt x="402" y="155"/>
                  <a:pt x="402" y="155"/>
                </a:cubicBezTo>
                <a:cubicBezTo>
                  <a:pt x="402" y="155"/>
                  <a:pt x="402" y="155"/>
                  <a:pt x="402" y="155"/>
                </a:cubicBezTo>
                <a:cubicBezTo>
                  <a:pt x="402" y="155"/>
                  <a:pt x="402" y="155"/>
                  <a:pt x="402" y="155"/>
                </a:cubicBezTo>
                <a:cubicBezTo>
                  <a:pt x="402" y="155"/>
                  <a:pt x="402" y="155"/>
                  <a:pt x="402" y="155"/>
                </a:cubicBezTo>
                <a:cubicBezTo>
                  <a:pt x="402" y="158"/>
                  <a:pt x="400" y="158"/>
                  <a:pt x="401" y="162"/>
                </a:cubicBezTo>
                <a:cubicBezTo>
                  <a:pt x="401" y="162"/>
                  <a:pt x="401" y="162"/>
                  <a:pt x="401" y="162"/>
                </a:cubicBezTo>
                <a:cubicBezTo>
                  <a:pt x="401" y="162"/>
                  <a:pt x="401" y="162"/>
                  <a:pt x="401" y="162"/>
                </a:cubicBezTo>
                <a:cubicBezTo>
                  <a:pt x="401" y="162"/>
                  <a:pt x="401" y="162"/>
                  <a:pt x="401" y="162"/>
                </a:cubicBezTo>
                <a:cubicBezTo>
                  <a:pt x="401" y="162"/>
                  <a:pt x="401" y="162"/>
                  <a:pt x="401" y="162"/>
                </a:cubicBezTo>
                <a:cubicBezTo>
                  <a:pt x="402" y="162"/>
                  <a:pt x="402" y="162"/>
                  <a:pt x="402" y="162"/>
                </a:cubicBezTo>
                <a:cubicBezTo>
                  <a:pt x="402" y="162"/>
                  <a:pt x="402" y="162"/>
                  <a:pt x="402" y="162"/>
                </a:cubicBezTo>
                <a:cubicBezTo>
                  <a:pt x="402" y="162"/>
                  <a:pt x="402" y="162"/>
                  <a:pt x="402" y="162"/>
                </a:cubicBezTo>
                <a:cubicBezTo>
                  <a:pt x="402" y="161"/>
                  <a:pt x="402" y="161"/>
                  <a:pt x="402" y="161"/>
                </a:cubicBezTo>
                <a:cubicBezTo>
                  <a:pt x="402" y="161"/>
                  <a:pt x="402" y="161"/>
                  <a:pt x="402" y="161"/>
                </a:cubicBezTo>
                <a:cubicBezTo>
                  <a:pt x="402" y="161"/>
                  <a:pt x="402" y="161"/>
                  <a:pt x="402" y="161"/>
                </a:cubicBezTo>
                <a:cubicBezTo>
                  <a:pt x="402" y="161"/>
                  <a:pt x="402" y="161"/>
                  <a:pt x="402" y="161"/>
                </a:cubicBezTo>
                <a:cubicBezTo>
                  <a:pt x="402" y="161"/>
                  <a:pt x="402" y="161"/>
                  <a:pt x="402" y="161"/>
                </a:cubicBezTo>
                <a:cubicBezTo>
                  <a:pt x="402" y="161"/>
                  <a:pt x="402" y="161"/>
                  <a:pt x="402" y="161"/>
                </a:cubicBezTo>
                <a:cubicBezTo>
                  <a:pt x="403" y="161"/>
                  <a:pt x="403" y="161"/>
                  <a:pt x="403" y="161"/>
                </a:cubicBezTo>
                <a:cubicBezTo>
                  <a:pt x="403" y="161"/>
                  <a:pt x="403" y="161"/>
                  <a:pt x="403" y="161"/>
                </a:cubicBezTo>
                <a:cubicBezTo>
                  <a:pt x="403" y="161"/>
                  <a:pt x="403" y="161"/>
                  <a:pt x="403" y="161"/>
                </a:cubicBezTo>
                <a:cubicBezTo>
                  <a:pt x="403" y="160"/>
                  <a:pt x="403" y="160"/>
                  <a:pt x="403" y="160"/>
                </a:cubicBezTo>
                <a:cubicBezTo>
                  <a:pt x="403" y="160"/>
                  <a:pt x="403" y="160"/>
                  <a:pt x="403" y="160"/>
                </a:cubicBezTo>
                <a:cubicBezTo>
                  <a:pt x="403" y="160"/>
                  <a:pt x="403" y="160"/>
                  <a:pt x="403" y="160"/>
                </a:cubicBezTo>
                <a:cubicBezTo>
                  <a:pt x="403" y="160"/>
                  <a:pt x="403" y="160"/>
                  <a:pt x="403" y="160"/>
                </a:cubicBezTo>
                <a:cubicBezTo>
                  <a:pt x="403" y="160"/>
                  <a:pt x="403" y="160"/>
                  <a:pt x="403" y="160"/>
                </a:cubicBezTo>
                <a:cubicBezTo>
                  <a:pt x="403" y="160"/>
                  <a:pt x="403" y="160"/>
                  <a:pt x="403" y="160"/>
                </a:cubicBezTo>
                <a:cubicBezTo>
                  <a:pt x="404" y="160"/>
                  <a:pt x="404" y="160"/>
                  <a:pt x="404" y="160"/>
                </a:cubicBezTo>
                <a:cubicBezTo>
                  <a:pt x="404" y="160"/>
                  <a:pt x="404" y="160"/>
                  <a:pt x="404" y="160"/>
                </a:cubicBezTo>
                <a:cubicBezTo>
                  <a:pt x="404" y="160"/>
                  <a:pt x="405" y="161"/>
                  <a:pt x="405" y="161"/>
                </a:cubicBezTo>
                <a:cubicBezTo>
                  <a:pt x="406" y="161"/>
                  <a:pt x="406" y="161"/>
                  <a:pt x="406" y="161"/>
                </a:cubicBezTo>
                <a:cubicBezTo>
                  <a:pt x="406" y="161"/>
                  <a:pt x="406" y="161"/>
                  <a:pt x="406" y="161"/>
                </a:cubicBezTo>
                <a:cubicBezTo>
                  <a:pt x="406" y="161"/>
                  <a:pt x="406" y="161"/>
                  <a:pt x="406" y="161"/>
                </a:cubicBezTo>
                <a:cubicBezTo>
                  <a:pt x="406" y="161"/>
                  <a:pt x="406" y="161"/>
                  <a:pt x="406" y="161"/>
                </a:cubicBezTo>
                <a:cubicBezTo>
                  <a:pt x="407" y="161"/>
                  <a:pt x="407" y="161"/>
                  <a:pt x="408" y="161"/>
                </a:cubicBezTo>
                <a:cubicBezTo>
                  <a:pt x="408" y="161"/>
                  <a:pt x="408" y="161"/>
                  <a:pt x="408" y="161"/>
                </a:cubicBezTo>
                <a:cubicBezTo>
                  <a:pt x="408" y="161"/>
                  <a:pt x="408" y="161"/>
                  <a:pt x="408" y="161"/>
                </a:cubicBezTo>
                <a:cubicBezTo>
                  <a:pt x="409" y="162"/>
                  <a:pt x="409" y="162"/>
                  <a:pt x="410" y="162"/>
                </a:cubicBezTo>
                <a:cubicBezTo>
                  <a:pt x="410" y="162"/>
                  <a:pt x="410" y="162"/>
                  <a:pt x="410" y="162"/>
                </a:cubicBezTo>
                <a:cubicBezTo>
                  <a:pt x="410" y="162"/>
                  <a:pt x="410" y="162"/>
                  <a:pt x="410" y="162"/>
                </a:cubicBezTo>
                <a:cubicBezTo>
                  <a:pt x="410" y="162"/>
                  <a:pt x="410" y="162"/>
                  <a:pt x="410" y="162"/>
                </a:cubicBezTo>
                <a:cubicBezTo>
                  <a:pt x="410" y="162"/>
                  <a:pt x="410" y="162"/>
                  <a:pt x="410" y="162"/>
                </a:cubicBezTo>
                <a:cubicBezTo>
                  <a:pt x="410" y="163"/>
                  <a:pt x="410" y="163"/>
                  <a:pt x="410" y="163"/>
                </a:cubicBezTo>
                <a:cubicBezTo>
                  <a:pt x="410" y="163"/>
                  <a:pt x="410" y="163"/>
                  <a:pt x="410" y="163"/>
                </a:cubicBezTo>
                <a:cubicBezTo>
                  <a:pt x="410" y="163"/>
                  <a:pt x="410" y="163"/>
                  <a:pt x="410" y="163"/>
                </a:cubicBezTo>
                <a:cubicBezTo>
                  <a:pt x="411" y="163"/>
                  <a:pt x="411" y="163"/>
                  <a:pt x="411" y="163"/>
                </a:cubicBezTo>
                <a:cubicBezTo>
                  <a:pt x="411" y="163"/>
                  <a:pt x="411" y="163"/>
                  <a:pt x="411" y="163"/>
                </a:cubicBezTo>
                <a:cubicBezTo>
                  <a:pt x="411" y="163"/>
                  <a:pt x="411" y="163"/>
                  <a:pt x="411" y="163"/>
                </a:cubicBezTo>
                <a:cubicBezTo>
                  <a:pt x="411" y="163"/>
                  <a:pt x="411" y="163"/>
                  <a:pt x="411" y="163"/>
                </a:cubicBezTo>
                <a:cubicBezTo>
                  <a:pt x="411" y="163"/>
                  <a:pt x="411" y="163"/>
                  <a:pt x="411" y="163"/>
                </a:cubicBezTo>
                <a:cubicBezTo>
                  <a:pt x="411" y="163"/>
                  <a:pt x="411" y="163"/>
                  <a:pt x="411" y="163"/>
                </a:cubicBezTo>
                <a:cubicBezTo>
                  <a:pt x="411" y="163"/>
                  <a:pt x="411" y="163"/>
                  <a:pt x="411" y="163"/>
                </a:cubicBezTo>
                <a:cubicBezTo>
                  <a:pt x="412" y="163"/>
                  <a:pt x="412" y="163"/>
                  <a:pt x="412" y="163"/>
                </a:cubicBezTo>
                <a:cubicBezTo>
                  <a:pt x="412" y="163"/>
                  <a:pt x="412" y="163"/>
                  <a:pt x="412" y="163"/>
                </a:cubicBezTo>
                <a:cubicBezTo>
                  <a:pt x="412" y="164"/>
                  <a:pt x="412" y="164"/>
                  <a:pt x="412" y="164"/>
                </a:cubicBezTo>
                <a:cubicBezTo>
                  <a:pt x="412" y="164"/>
                  <a:pt x="412" y="164"/>
                  <a:pt x="412" y="164"/>
                </a:cubicBezTo>
                <a:cubicBezTo>
                  <a:pt x="413" y="164"/>
                  <a:pt x="413" y="164"/>
                  <a:pt x="413" y="164"/>
                </a:cubicBezTo>
                <a:cubicBezTo>
                  <a:pt x="413" y="164"/>
                  <a:pt x="413" y="164"/>
                  <a:pt x="413" y="164"/>
                </a:cubicBezTo>
                <a:cubicBezTo>
                  <a:pt x="413" y="164"/>
                  <a:pt x="413" y="164"/>
                  <a:pt x="413" y="164"/>
                </a:cubicBezTo>
                <a:cubicBezTo>
                  <a:pt x="413" y="164"/>
                  <a:pt x="413" y="164"/>
                  <a:pt x="413" y="164"/>
                </a:cubicBezTo>
                <a:cubicBezTo>
                  <a:pt x="413" y="164"/>
                  <a:pt x="413" y="164"/>
                  <a:pt x="413" y="164"/>
                </a:cubicBezTo>
                <a:cubicBezTo>
                  <a:pt x="413" y="164"/>
                  <a:pt x="413" y="164"/>
                  <a:pt x="413" y="164"/>
                </a:cubicBezTo>
                <a:cubicBezTo>
                  <a:pt x="413" y="164"/>
                  <a:pt x="413" y="164"/>
                  <a:pt x="413" y="164"/>
                </a:cubicBezTo>
                <a:cubicBezTo>
                  <a:pt x="414" y="163"/>
                  <a:pt x="414" y="163"/>
                  <a:pt x="414" y="163"/>
                </a:cubicBezTo>
                <a:cubicBezTo>
                  <a:pt x="414" y="163"/>
                  <a:pt x="414" y="163"/>
                  <a:pt x="414" y="163"/>
                </a:cubicBezTo>
                <a:cubicBezTo>
                  <a:pt x="414" y="163"/>
                  <a:pt x="414" y="163"/>
                  <a:pt x="414" y="163"/>
                </a:cubicBezTo>
                <a:cubicBezTo>
                  <a:pt x="414" y="163"/>
                  <a:pt x="414" y="163"/>
                  <a:pt x="414" y="163"/>
                </a:cubicBezTo>
                <a:cubicBezTo>
                  <a:pt x="414" y="163"/>
                  <a:pt x="414" y="163"/>
                  <a:pt x="414" y="163"/>
                </a:cubicBezTo>
                <a:cubicBezTo>
                  <a:pt x="414" y="163"/>
                  <a:pt x="414" y="163"/>
                  <a:pt x="414" y="163"/>
                </a:cubicBezTo>
                <a:cubicBezTo>
                  <a:pt x="414" y="164"/>
                  <a:pt x="414" y="164"/>
                  <a:pt x="414" y="164"/>
                </a:cubicBezTo>
                <a:cubicBezTo>
                  <a:pt x="414" y="164"/>
                  <a:pt x="414" y="164"/>
                  <a:pt x="414" y="164"/>
                </a:cubicBezTo>
                <a:cubicBezTo>
                  <a:pt x="414" y="164"/>
                  <a:pt x="414" y="164"/>
                  <a:pt x="414" y="164"/>
                </a:cubicBezTo>
                <a:cubicBezTo>
                  <a:pt x="414" y="164"/>
                  <a:pt x="414" y="164"/>
                  <a:pt x="414" y="164"/>
                </a:cubicBezTo>
                <a:cubicBezTo>
                  <a:pt x="414" y="164"/>
                  <a:pt x="414" y="164"/>
                  <a:pt x="414" y="164"/>
                </a:cubicBezTo>
                <a:cubicBezTo>
                  <a:pt x="414" y="164"/>
                  <a:pt x="414" y="164"/>
                  <a:pt x="414" y="164"/>
                </a:cubicBezTo>
                <a:cubicBezTo>
                  <a:pt x="414" y="165"/>
                  <a:pt x="414" y="165"/>
                  <a:pt x="414" y="165"/>
                </a:cubicBezTo>
                <a:cubicBezTo>
                  <a:pt x="414" y="165"/>
                  <a:pt x="414" y="165"/>
                  <a:pt x="414" y="165"/>
                </a:cubicBezTo>
                <a:cubicBezTo>
                  <a:pt x="414" y="165"/>
                  <a:pt x="414" y="165"/>
                  <a:pt x="414" y="165"/>
                </a:cubicBezTo>
                <a:cubicBezTo>
                  <a:pt x="414" y="165"/>
                  <a:pt x="414" y="165"/>
                  <a:pt x="414" y="165"/>
                </a:cubicBezTo>
                <a:cubicBezTo>
                  <a:pt x="414" y="166"/>
                  <a:pt x="414" y="166"/>
                  <a:pt x="414" y="166"/>
                </a:cubicBezTo>
                <a:cubicBezTo>
                  <a:pt x="414" y="166"/>
                  <a:pt x="414" y="166"/>
                  <a:pt x="414" y="166"/>
                </a:cubicBezTo>
                <a:cubicBezTo>
                  <a:pt x="414" y="167"/>
                  <a:pt x="414" y="167"/>
                  <a:pt x="414" y="167"/>
                </a:cubicBezTo>
                <a:cubicBezTo>
                  <a:pt x="414" y="167"/>
                  <a:pt x="414" y="167"/>
                  <a:pt x="414" y="167"/>
                </a:cubicBezTo>
                <a:cubicBezTo>
                  <a:pt x="414" y="167"/>
                  <a:pt x="414" y="167"/>
                  <a:pt x="414" y="167"/>
                </a:cubicBezTo>
                <a:cubicBezTo>
                  <a:pt x="414" y="167"/>
                  <a:pt x="414" y="167"/>
                  <a:pt x="414" y="167"/>
                </a:cubicBezTo>
                <a:cubicBezTo>
                  <a:pt x="414" y="167"/>
                  <a:pt x="414" y="167"/>
                  <a:pt x="414" y="167"/>
                </a:cubicBezTo>
                <a:cubicBezTo>
                  <a:pt x="414" y="167"/>
                  <a:pt x="414" y="167"/>
                  <a:pt x="414" y="167"/>
                </a:cubicBezTo>
                <a:cubicBezTo>
                  <a:pt x="414" y="167"/>
                  <a:pt x="414" y="167"/>
                  <a:pt x="414" y="167"/>
                </a:cubicBezTo>
                <a:cubicBezTo>
                  <a:pt x="414" y="168"/>
                  <a:pt x="414" y="168"/>
                  <a:pt x="414" y="168"/>
                </a:cubicBezTo>
                <a:cubicBezTo>
                  <a:pt x="414" y="168"/>
                  <a:pt x="414" y="168"/>
                  <a:pt x="414" y="168"/>
                </a:cubicBezTo>
                <a:cubicBezTo>
                  <a:pt x="414" y="168"/>
                  <a:pt x="415" y="169"/>
                  <a:pt x="416" y="170"/>
                </a:cubicBezTo>
                <a:cubicBezTo>
                  <a:pt x="416" y="170"/>
                  <a:pt x="416" y="170"/>
                  <a:pt x="416" y="170"/>
                </a:cubicBezTo>
                <a:cubicBezTo>
                  <a:pt x="416" y="170"/>
                  <a:pt x="416" y="170"/>
                  <a:pt x="416" y="170"/>
                </a:cubicBezTo>
                <a:cubicBezTo>
                  <a:pt x="417" y="171"/>
                  <a:pt x="417" y="171"/>
                  <a:pt x="418" y="172"/>
                </a:cubicBezTo>
                <a:cubicBezTo>
                  <a:pt x="418" y="172"/>
                  <a:pt x="418" y="172"/>
                  <a:pt x="418" y="172"/>
                </a:cubicBezTo>
                <a:cubicBezTo>
                  <a:pt x="418" y="172"/>
                  <a:pt x="418" y="172"/>
                  <a:pt x="418" y="172"/>
                </a:cubicBezTo>
                <a:cubicBezTo>
                  <a:pt x="418" y="172"/>
                  <a:pt x="418" y="172"/>
                  <a:pt x="418" y="172"/>
                </a:cubicBezTo>
                <a:cubicBezTo>
                  <a:pt x="418" y="173"/>
                  <a:pt x="418" y="173"/>
                  <a:pt x="418" y="173"/>
                </a:cubicBezTo>
                <a:cubicBezTo>
                  <a:pt x="418" y="173"/>
                  <a:pt x="418" y="173"/>
                  <a:pt x="418" y="173"/>
                </a:cubicBezTo>
                <a:cubicBezTo>
                  <a:pt x="418" y="173"/>
                  <a:pt x="418" y="173"/>
                  <a:pt x="418" y="173"/>
                </a:cubicBezTo>
                <a:cubicBezTo>
                  <a:pt x="418" y="173"/>
                  <a:pt x="418" y="173"/>
                  <a:pt x="418" y="173"/>
                </a:cubicBezTo>
                <a:cubicBezTo>
                  <a:pt x="418" y="173"/>
                  <a:pt x="418" y="173"/>
                  <a:pt x="418" y="173"/>
                </a:cubicBezTo>
                <a:cubicBezTo>
                  <a:pt x="418" y="173"/>
                  <a:pt x="418" y="173"/>
                  <a:pt x="418" y="173"/>
                </a:cubicBezTo>
                <a:cubicBezTo>
                  <a:pt x="418" y="173"/>
                  <a:pt x="418" y="173"/>
                  <a:pt x="418" y="173"/>
                </a:cubicBezTo>
                <a:cubicBezTo>
                  <a:pt x="418" y="173"/>
                  <a:pt x="418" y="173"/>
                  <a:pt x="418" y="173"/>
                </a:cubicBezTo>
                <a:cubicBezTo>
                  <a:pt x="418" y="173"/>
                  <a:pt x="418" y="173"/>
                  <a:pt x="418" y="173"/>
                </a:cubicBezTo>
                <a:cubicBezTo>
                  <a:pt x="419" y="173"/>
                  <a:pt x="419" y="173"/>
                  <a:pt x="419" y="173"/>
                </a:cubicBezTo>
                <a:cubicBezTo>
                  <a:pt x="419" y="173"/>
                  <a:pt x="419" y="173"/>
                  <a:pt x="419" y="173"/>
                </a:cubicBezTo>
                <a:cubicBezTo>
                  <a:pt x="419" y="173"/>
                  <a:pt x="419" y="173"/>
                  <a:pt x="419" y="173"/>
                </a:cubicBezTo>
                <a:cubicBezTo>
                  <a:pt x="420" y="174"/>
                  <a:pt x="420" y="174"/>
                  <a:pt x="421" y="174"/>
                </a:cubicBezTo>
                <a:cubicBezTo>
                  <a:pt x="421" y="174"/>
                  <a:pt x="421" y="174"/>
                  <a:pt x="421" y="174"/>
                </a:cubicBezTo>
                <a:cubicBezTo>
                  <a:pt x="421" y="174"/>
                  <a:pt x="421" y="174"/>
                  <a:pt x="421" y="174"/>
                </a:cubicBezTo>
                <a:cubicBezTo>
                  <a:pt x="421" y="174"/>
                  <a:pt x="421" y="174"/>
                  <a:pt x="421" y="174"/>
                </a:cubicBezTo>
                <a:cubicBezTo>
                  <a:pt x="421" y="174"/>
                  <a:pt x="421" y="174"/>
                  <a:pt x="421" y="174"/>
                </a:cubicBezTo>
                <a:cubicBezTo>
                  <a:pt x="422" y="174"/>
                  <a:pt x="422" y="174"/>
                  <a:pt x="423" y="174"/>
                </a:cubicBezTo>
                <a:cubicBezTo>
                  <a:pt x="423" y="173"/>
                  <a:pt x="423" y="173"/>
                  <a:pt x="423" y="173"/>
                </a:cubicBezTo>
                <a:cubicBezTo>
                  <a:pt x="423" y="173"/>
                  <a:pt x="423" y="173"/>
                  <a:pt x="423" y="173"/>
                </a:cubicBezTo>
                <a:cubicBezTo>
                  <a:pt x="423" y="173"/>
                  <a:pt x="423" y="173"/>
                  <a:pt x="423" y="173"/>
                </a:cubicBezTo>
                <a:cubicBezTo>
                  <a:pt x="423" y="173"/>
                  <a:pt x="423" y="173"/>
                  <a:pt x="423" y="173"/>
                </a:cubicBezTo>
                <a:cubicBezTo>
                  <a:pt x="424" y="173"/>
                  <a:pt x="424" y="173"/>
                  <a:pt x="424" y="173"/>
                </a:cubicBezTo>
                <a:cubicBezTo>
                  <a:pt x="424" y="173"/>
                  <a:pt x="424" y="173"/>
                  <a:pt x="424" y="173"/>
                </a:cubicBezTo>
                <a:cubicBezTo>
                  <a:pt x="424" y="173"/>
                  <a:pt x="424" y="173"/>
                  <a:pt x="424" y="173"/>
                </a:cubicBezTo>
                <a:cubicBezTo>
                  <a:pt x="424" y="173"/>
                  <a:pt x="424" y="173"/>
                  <a:pt x="424" y="173"/>
                </a:cubicBezTo>
                <a:cubicBezTo>
                  <a:pt x="424" y="174"/>
                  <a:pt x="424" y="174"/>
                  <a:pt x="424" y="174"/>
                </a:cubicBezTo>
                <a:cubicBezTo>
                  <a:pt x="424" y="174"/>
                  <a:pt x="424" y="174"/>
                  <a:pt x="424" y="174"/>
                </a:cubicBezTo>
                <a:cubicBezTo>
                  <a:pt x="424" y="174"/>
                  <a:pt x="424" y="174"/>
                  <a:pt x="424" y="174"/>
                </a:cubicBezTo>
                <a:cubicBezTo>
                  <a:pt x="425" y="173"/>
                  <a:pt x="425" y="173"/>
                  <a:pt x="425" y="173"/>
                </a:cubicBezTo>
                <a:cubicBezTo>
                  <a:pt x="425" y="173"/>
                  <a:pt x="425" y="173"/>
                  <a:pt x="425" y="173"/>
                </a:cubicBezTo>
                <a:cubicBezTo>
                  <a:pt x="425" y="173"/>
                  <a:pt x="425" y="173"/>
                  <a:pt x="425" y="173"/>
                </a:cubicBezTo>
                <a:cubicBezTo>
                  <a:pt x="426" y="173"/>
                  <a:pt x="426" y="173"/>
                  <a:pt x="426" y="173"/>
                </a:cubicBezTo>
                <a:cubicBezTo>
                  <a:pt x="426" y="173"/>
                  <a:pt x="426" y="173"/>
                  <a:pt x="426" y="173"/>
                </a:cubicBezTo>
                <a:cubicBezTo>
                  <a:pt x="426" y="173"/>
                  <a:pt x="426" y="173"/>
                  <a:pt x="426" y="173"/>
                </a:cubicBezTo>
                <a:cubicBezTo>
                  <a:pt x="424" y="174"/>
                  <a:pt x="426" y="174"/>
                  <a:pt x="423" y="174"/>
                </a:cubicBezTo>
                <a:cubicBezTo>
                  <a:pt x="423" y="175"/>
                  <a:pt x="423" y="175"/>
                  <a:pt x="423" y="175"/>
                </a:cubicBezTo>
                <a:cubicBezTo>
                  <a:pt x="423" y="175"/>
                  <a:pt x="423" y="175"/>
                  <a:pt x="423" y="175"/>
                </a:cubicBezTo>
                <a:cubicBezTo>
                  <a:pt x="423" y="175"/>
                  <a:pt x="423" y="175"/>
                  <a:pt x="423" y="175"/>
                </a:cubicBezTo>
                <a:cubicBezTo>
                  <a:pt x="424" y="175"/>
                  <a:pt x="424" y="175"/>
                  <a:pt x="424" y="175"/>
                </a:cubicBezTo>
                <a:cubicBezTo>
                  <a:pt x="424" y="175"/>
                  <a:pt x="424" y="175"/>
                  <a:pt x="424" y="175"/>
                </a:cubicBezTo>
                <a:cubicBezTo>
                  <a:pt x="424" y="175"/>
                  <a:pt x="424" y="175"/>
                  <a:pt x="424" y="175"/>
                </a:cubicBezTo>
                <a:cubicBezTo>
                  <a:pt x="425" y="175"/>
                  <a:pt x="425" y="175"/>
                  <a:pt x="425" y="175"/>
                </a:cubicBezTo>
                <a:cubicBezTo>
                  <a:pt x="425" y="175"/>
                  <a:pt x="425" y="175"/>
                  <a:pt x="425" y="175"/>
                </a:cubicBezTo>
                <a:cubicBezTo>
                  <a:pt x="425" y="175"/>
                  <a:pt x="425" y="175"/>
                  <a:pt x="425" y="175"/>
                </a:cubicBezTo>
                <a:cubicBezTo>
                  <a:pt x="425" y="175"/>
                  <a:pt x="425" y="175"/>
                  <a:pt x="425" y="175"/>
                </a:cubicBezTo>
                <a:cubicBezTo>
                  <a:pt x="425" y="176"/>
                  <a:pt x="425" y="176"/>
                  <a:pt x="425" y="176"/>
                </a:cubicBezTo>
                <a:cubicBezTo>
                  <a:pt x="425" y="176"/>
                  <a:pt x="425" y="176"/>
                  <a:pt x="425" y="176"/>
                </a:cubicBezTo>
                <a:cubicBezTo>
                  <a:pt x="424" y="176"/>
                  <a:pt x="424" y="176"/>
                  <a:pt x="424" y="176"/>
                </a:cubicBezTo>
                <a:cubicBezTo>
                  <a:pt x="424" y="176"/>
                  <a:pt x="424" y="176"/>
                  <a:pt x="424" y="176"/>
                </a:cubicBezTo>
                <a:cubicBezTo>
                  <a:pt x="424" y="176"/>
                  <a:pt x="424" y="176"/>
                  <a:pt x="424" y="176"/>
                </a:cubicBezTo>
                <a:cubicBezTo>
                  <a:pt x="424" y="176"/>
                  <a:pt x="424" y="176"/>
                  <a:pt x="424" y="176"/>
                </a:cubicBezTo>
                <a:cubicBezTo>
                  <a:pt x="424" y="176"/>
                  <a:pt x="424" y="176"/>
                  <a:pt x="424" y="176"/>
                </a:cubicBezTo>
                <a:cubicBezTo>
                  <a:pt x="424" y="176"/>
                  <a:pt x="424" y="176"/>
                  <a:pt x="424" y="176"/>
                </a:cubicBezTo>
                <a:cubicBezTo>
                  <a:pt x="424" y="176"/>
                  <a:pt x="424" y="176"/>
                  <a:pt x="424" y="176"/>
                </a:cubicBezTo>
                <a:cubicBezTo>
                  <a:pt x="424" y="176"/>
                  <a:pt x="424" y="176"/>
                  <a:pt x="424" y="176"/>
                </a:cubicBezTo>
                <a:cubicBezTo>
                  <a:pt x="424" y="177"/>
                  <a:pt x="424" y="177"/>
                  <a:pt x="424" y="177"/>
                </a:cubicBezTo>
                <a:cubicBezTo>
                  <a:pt x="424" y="177"/>
                  <a:pt x="424" y="177"/>
                  <a:pt x="424" y="177"/>
                </a:cubicBezTo>
                <a:cubicBezTo>
                  <a:pt x="424" y="177"/>
                  <a:pt x="424" y="177"/>
                  <a:pt x="424" y="177"/>
                </a:cubicBezTo>
                <a:cubicBezTo>
                  <a:pt x="424" y="177"/>
                  <a:pt x="424" y="177"/>
                  <a:pt x="424" y="177"/>
                </a:cubicBezTo>
                <a:cubicBezTo>
                  <a:pt x="423" y="178"/>
                  <a:pt x="423" y="179"/>
                  <a:pt x="423" y="180"/>
                </a:cubicBezTo>
                <a:cubicBezTo>
                  <a:pt x="422" y="180"/>
                  <a:pt x="422" y="180"/>
                  <a:pt x="422" y="180"/>
                </a:cubicBezTo>
                <a:cubicBezTo>
                  <a:pt x="422" y="180"/>
                  <a:pt x="422" y="180"/>
                  <a:pt x="422" y="180"/>
                </a:cubicBezTo>
                <a:cubicBezTo>
                  <a:pt x="422" y="180"/>
                  <a:pt x="422" y="180"/>
                  <a:pt x="422" y="180"/>
                </a:cubicBezTo>
                <a:cubicBezTo>
                  <a:pt x="422" y="180"/>
                  <a:pt x="422" y="180"/>
                  <a:pt x="422" y="180"/>
                </a:cubicBezTo>
                <a:cubicBezTo>
                  <a:pt x="421" y="181"/>
                  <a:pt x="421" y="181"/>
                  <a:pt x="420" y="182"/>
                </a:cubicBezTo>
                <a:cubicBezTo>
                  <a:pt x="420" y="183"/>
                  <a:pt x="420" y="183"/>
                  <a:pt x="420" y="183"/>
                </a:cubicBezTo>
                <a:cubicBezTo>
                  <a:pt x="420" y="183"/>
                  <a:pt x="420" y="183"/>
                  <a:pt x="420" y="183"/>
                </a:cubicBezTo>
                <a:cubicBezTo>
                  <a:pt x="420" y="183"/>
                  <a:pt x="420" y="183"/>
                  <a:pt x="420" y="183"/>
                </a:cubicBezTo>
                <a:cubicBezTo>
                  <a:pt x="420" y="183"/>
                  <a:pt x="420" y="183"/>
                  <a:pt x="420" y="183"/>
                </a:cubicBezTo>
                <a:cubicBezTo>
                  <a:pt x="420" y="183"/>
                  <a:pt x="420" y="183"/>
                  <a:pt x="420" y="183"/>
                </a:cubicBezTo>
                <a:cubicBezTo>
                  <a:pt x="420" y="183"/>
                  <a:pt x="420" y="183"/>
                  <a:pt x="420" y="183"/>
                </a:cubicBezTo>
                <a:cubicBezTo>
                  <a:pt x="420" y="184"/>
                  <a:pt x="420" y="184"/>
                  <a:pt x="420" y="184"/>
                </a:cubicBezTo>
                <a:cubicBezTo>
                  <a:pt x="420" y="184"/>
                  <a:pt x="420" y="184"/>
                  <a:pt x="420" y="184"/>
                </a:cubicBezTo>
                <a:cubicBezTo>
                  <a:pt x="420" y="185"/>
                  <a:pt x="420" y="185"/>
                  <a:pt x="420" y="185"/>
                </a:cubicBezTo>
                <a:cubicBezTo>
                  <a:pt x="420" y="185"/>
                  <a:pt x="420" y="185"/>
                  <a:pt x="420" y="185"/>
                </a:cubicBezTo>
                <a:cubicBezTo>
                  <a:pt x="420" y="185"/>
                  <a:pt x="420" y="185"/>
                  <a:pt x="420" y="185"/>
                </a:cubicBezTo>
                <a:cubicBezTo>
                  <a:pt x="419" y="185"/>
                  <a:pt x="419" y="185"/>
                  <a:pt x="419" y="185"/>
                </a:cubicBezTo>
                <a:cubicBezTo>
                  <a:pt x="419" y="185"/>
                  <a:pt x="419" y="185"/>
                  <a:pt x="419" y="186"/>
                </a:cubicBezTo>
                <a:cubicBezTo>
                  <a:pt x="418" y="186"/>
                  <a:pt x="418" y="186"/>
                  <a:pt x="418" y="186"/>
                </a:cubicBezTo>
                <a:cubicBezTo>
                  <a:pt x="418" y="186"/>
                  <a:pt x="418" y="186"/>
                  <a:pt x="418" y="186"/>
                </a:cubicBezTo>
                <a:cubicBezTo>
                  <a:pt x="418" y="186"/>
                  <a:pt x="418" y="186"/>
                  <a:pt x="418" y="186"/>
                </a:cubicBezTo>
                <a:cubicBezTo>
                  <a:pt x="417" y="186"/>
                  <a:pt x="417" y="186"/>
                  <a:pt x="417" y="186"/>
                </a:cubicBezTo>
                <a:cubicBezTo>
                  <a:pt x="404" y="175"/>
                  <a:pt x="404" y="175"/>
                  <a:pt x="404" y="175"/>
                </a:cubicBezTo>
                <a:cubicBezTo>
                  <a:pt x="404" y="175"/>
                  <a:pt x="404" y="175"/>
                  <a:pt x="404" y="175"/>
                </a:cubicBezTo>
                <a:cubicBezTo>
                  <a:pt x="403" y="175"/>
                  <a:pt x="402" y="175"/>
                  <a:pt x="402" y="175"/>
                </a:cubicBezTo>
                <a:cubicBezTo>
                  <a:pt x="401" y="175"/>
                  <a:pt x="401" y="175"/>
                  <a:pt x="401" y="175"/>
                </a:cubicBezTo>
                <a:cubicBezTo>
                  <a:pt x="401" y="175"/>
                  <a:pt x="401" y="175"/>
                  <a:pt x="401" y="175"/>
                </a:cubicBezTo>
                <a:cubicBezTo>
                  <a:pt x="399" y="175"/>
                  <a:pt x="398" y="174"/>
                  <a:pt x="396" y="173"/>
                </a:cubicBezTo>
                <a:cubicBezTo>
                  <a:pt x="392" y="172"/>
                  <a:pt x="392" y="172"/>
                  <a:pt x="392" y="172"/>
                </a:cubicBezTo>
                <a:cubicBezTo>
                  <a:pt x="391" y="171"/>
                  <a:pt x="391" y="171"/>
                  <a:pt x="391" y="171"/>
                </a:cubicBezTo>
                <a:cubicBezTo>
                  <a:pt x="391" y="170"/>
                  <a:pt x="391" y="170"/>
                  <a:pt x="391" y="170"/>
                </a:cubicBezTo>
                <a:cubicBezTo>
                  <a:pt x="391" y="170"/>
                  <a:pt x="391" y="170"/>
                  <a:pt x="391" y="170"/>
                </a:cubicBezTo>
                <a:cubicBezTo>
                  <a:pt x="391" y="170"/>
                  <a:pt x="391" y="170"/>
                  <a:pt x="391" y="170"/>
                </a:cubicBezTo>
                <a:cubicBezTo>
                  <a:pt x="390" y="170"/>
                  <a:pt x="390" y="170"/>
                  <a:pt x="390" y="170"/>
                </a:cubicBezTo>
                <a:cubicBezTo>
                  <a:pt x="383" y="168"/>
                  <a:pt x="383" y="168"/>
                  <a:pt x="383" y="168"/>
                </a:cubicBezTo>
                <a:cubicBezTo>
                  <a:pt x="383" y="168"/>
                  <a:pt x="383" y="168"/>
                  <a:pt x="383" y="168"/>
                </a:cubicBezTo>
                <a:cubicBezTo>
                  <a:pt x="383" y="168"/>
                  <a:pt x="383" y="168"/>
                  <a:pt x="383" y="168"/>
                </a:cubicBezTo>
                <a:cubicBezTo>
                  <a:pt x="383" y="168"/>
                  <a:pt x="383" y="168"/>
                  <a:pt x="383" y="168"/>
                </a:cubicBezTo>
                <a:cubicBezTo>
                  <a:pt x="383" y="168"/>
                  <a:pt x="383" y="168"/>
                  <a:pt x="383" y="168"/>
                </a:cubicBezTo>
                <a:cubicBezTo>
                  <a:pt x="383" y="168"/>
                  <a:pt x="382" y="169"/>
                  <a:pt x="382" y="169"/>
                </a:cubicBezTo>
                <a:cubicBezTo>
                  <a:pt x="382" y="169"/>
                  <a:pt x="382" y="169"/>
                  <a:pt x="382" y="169"/>
                </a:cubicBezTo>
                <a:cubicBezTo>
                  <a:pt x="382" y="169"/>
                  <a:pt x="382" y="169"/>
                  <a:pt x="382" y="169"/>
                </a:cubicBezTo>
                <a:cubicBezTo>
                  <a:pt x="381" y="170"/>
                  <a:pt x="381" y="170"/>
                  <a:pt x="381" y="170"/>
                </a:cubicBezTo>
                <a:cubicBezTo>
                  <a:pt x="381" y="170"/>
                  <a:pt x="381" y="168"/>
                  <a:pt x="381" y="167"/>
                </a:cubicBezTo>
                <a:cubicBezTo>
                  <a:pt x="381" y="167"/>
                  <a:pt x="383" y="168"/>
                  <a:pt x="383" y="167"/>
                </a:cubicBezTo>
                <a:cubicBezTo>
                  <a:pt x="383" y="167"/>
                  <a:pt x="381" y="166"/>
                  <a:pt x="381" y="166"/>
                </a:cubicBezTo>
                <a:cubicBezTo>
                  <a:pt x="379" y="165"/>
                  <a:pt x="377" y="164"/>
                  <a:pt x="375" y="163"/>
                </a:cubicBezTo>
                <a:cubicBezTo>
                  <a:pt x="370" y="161"/>
                  <a:pt x="364" y="160"/>
                  <a:pt x="358" y="159"/>
                </a:cubicBezTo>
                <a:cubicBezTo>
                  <a:pt x="354" y="159"/>
                  <a:pt x="350" y="158"/>
                  <a:pt x="346" y="158"/>
                </a:cubicBezTo>
                <a:cubicBezTo>
                  <a:pt x="345" y="158"/>
                  <a:pt x="344" y="157"/>
                  <a:pt x="343" y="157"/>
                </a:cubicBezTo>
                <a:cubicBezTo>
                  <a:pt x="341" y="158"/>
                  <a:pt x="338" y="160"/>
                  <a:pt x="336" y="161"/>
                </a:cubicBezTo>
                <a:cubicBezTo>
                  <a:pt x="335" y="161"/>
                  <a:pt x="333" y="160"/>
                  <a:pt x="334" y="162"/>
                </a:cubicBezTo>
                <a:cubicBezTo>
                  <a:pt x="334" y="164"/>
                  <a:pt x="335" y="164"/>
                  <a:pt x="336" y="165"/>
                </a:cubicBezTo>
                <a:cubicBezTo>
                  <a:pt x="337" y="166"/>
                  <a:pt x="338" y="167"/>
                  <a:pt x="338" y="168"/>
                </a:cubicBezTo>
                <a:cubicBezTo>
                  <a:pt x="338" y="168"/>
                  <a:pt x="338" y="172"/>
                  <a:pt x="339" y="170"/>
                </a:cubicBezTo>
                <a:cubicBezTo>
                  <a:pt x="340" y="169"/>
                  <a:pt x="341" y="171"/>
                  <a:pt x="341" y="172"/>
                </a:cubicBezTo>
                <a:cubicBezTo>
                  <a:pt x="341" y="173"/>
                  <a:pt x="341" y="174"/>
                  <a:pt x="340" y="174"/>
                </a:cubicBezTo>
                <a:cubicBezTo>
                  <a:pt x="338" y="176"/>
                  <a:pt x="335" y="177"/>
                  <a:pt x="332" y="178"/>
                </a:cubicBezTo>
                <a:cubicBezTo>
                  <a:pt x="332" y="178"/>
                  <a:pt x="332" y="178"/>
                  <a:pt x="332" y="178"/>
                </a:cubicBezTo>
                <a:cubicBezTo>
                  <a:pt x="332" y="178"/>
                  <a:pt x="332" y="178"/>
                  <a:pt x="332" y="178"/>
                </a:cubicBezTo>
                <a:cubicBezTo>
                  <a:pt x="331" y="179"/>
                  <a:pt x="331" y="180"/>
                  <a:pt x="331" y="180"/>
                </a:cubicBezTo>
                <a:cubicBezTo>
                  <a:pt x="331" y="181"/>
                  <a:pt x="331" y="181"/>
                  <a:pt x="331" y="181"/>
                </a:cubicBezTo>
                <a:cubicBezTo>
                  <a:pt x="331" y="182"/>
                  <a:pt x="331" y="183"/>
                  <a:pt x="330" y="184"/>
                </a:cubicBezTo>
                <a:cubicBezTo>
                  <a:pt x="328" y="185"/>
                  <a:pt x="326" y="184"/>
                  <a:pt x="324" y="183"/>
                </a:cubicBezTo>
                <a:cubicBezTo>
                  <a:pt x="321" y="183"/>
                  <a:pt x="323" y="182"/>
                  <a:pt x="323" y="181"/>
                </a:cubicBezTo>
                <a:cubicBezTo>
                  <a:pt x="323" y="180"/>
                  <a:pt x="322" y="180"/>
                  <a:pt x="322" y="180"/>
                </a:cubicBezTo>
                <a:cubicBezTo>
                  <a:pt x="322" y="179"/>
                  <a:pt x="323" y="178"/>
                  <a:pt x="323" y="178"/>
                </a:cubicBezTo>
                <a:cubicBezTo>
                  <a:pt x="324" y="178"/>
                  <a:pt x="326" y="178"/>
                  <a:pt x="326" y="177"/>
                </a:cubicBezTo>
                <a:cubicBezTo>
                  <a:pt x="326" y="176"/>
                  <a:pt x="324" y="175"/>
                  <a:pt x="323" y="175"/>
                </a:cubicBezTo>
                <a:cubicBezTo>
                  <a:pt x="322" y="174"/>
                  <a:pt x="322" y="174"/>
                  <a:pt x="320" y="174"/>
                </a:cubicBezTo>
                <a:cubicBezTo>
                  <a:pt x="321" y="173"/>
                  <a:pt x="323" y="173"/>
                  <a:pt x="324" y="173"/>
                </a:cubicBezTo>
                <a:cubicBezTo>
                  <a:pt x="320" y="172"/>
                  <a:pt x="317" y="174"/>
                  <a:pt x="314" y="176"/>
                </a:cubicBezTo>
                <a:cubicBezTo>
                  <a:pt x="315" y="176"/>
                  <a:pt x="316" y="177"/>
                  <a:pt x="316" y="177"/>
                </a:cubicBezTo>
                <a:cubicBezTo>
                  <a:pt x="315" y="177"/>
                  <a:pt x="314" y="176"/>
                  <a:pt x="313" y="176"/>
                </a:cubicBezTo>
                <a:cubicBezTo>
                  <a:pt x="313" y="175"/>
                  <a:pt x="315" y="174"/>
                  <a:pt x="313" y="175"/>
                </a:cubicBezTo>
                <a:cubicBezTo>
                  <a:pt x="310" y="176"/>
                  <a:pt x="307" y="177"/>
                  <a:pt x="306" y="179"/>
                </a:cubicBezTo>
                <a:cubicBezTo>
                  <a:pt x="305" y="180"/>
                  <a:pt x="306" y="180"/>
                  <a:pt x="304" y="180"/>
                </a:cubicBezTo>
                <a:cubicBezTo>
                  <a:pt x="303" y="180"/>
                  <a:pt x="301" y="180"/>
                  <a:pt x="300" y="180"/>
                </a:cubicBezTo>
                <a:cubicBezTo>
                  <a:pt x="298" y="179"/>
                  <a:pt x="297" y="179"/>
                  <a:pt x="295" y="179"/>
                </a:cubicBezTo>
                <a:cubicBezTo>
                  <a:pt x="293" y="180"/>
                  <a:pt x="293" y="179"/>
                  <a:pt x="291" y="179"/>
                </a:cubicBezTo>
                <a:cubicBezTo>
                  <a:pt x="290" y="178"/>
                  <a:pt x="286" y="181"/>
                  <a:pt x="285" y="182"/>
                </a:cubicBezTo>
                <a:cubicBezTo>
                  <a:pt x="283" y="183"/>
                  <a:pt x="282" y="184"/>
                  <a:pt x="280" y="185"/>
                </a:cubicBezTo>
                <a:cubicBezTo>
                  <a:pt x="280" y="185"/>
                  <a:pt x="280" y="186"/>
                  <a:pt x="280" y="186"/>
                </a:cubicBezTo>
                <a:cubicBezTo>
                  <a:pt x="279" y="187"/>
                  <a:pt x="279" y="187"/>
                  <a:pt x="278" y="186"/>
                </a:cubicBezTo>
                <a:cubicBezTo>
                  <a:pt x="277" y="186"/>
                  <a:pt x="276" y="185"/>
                  <a:pt x="275" y="185"/>
                </a:cubicBezTo>
                <a:cubicBezTo>
                  <a:pt x="273" y="186"/>
                  <a:pt x="272" y="187"/>
                  <a:pt x="272" y="185"/>
                </a:cubicBezTo>
                <a:cubicBezTo>
                  <a:pt x="271" y="186"/>
                  <a:pt x="271" y="187"/>
                  <a:pt x="269" y="186"/>
                </a:cubicBezTo>
                <a:cubicBezTo>
                  <a:pt x="267" y="186"/>
                  <a:pt x="265" y="185"/>
                  <a:pt x="264" y="184"/>
                </a:cubicBezTo>
                <a:cubicBezTo>
                  <a:pt x="265" y="184"/>
                  <a:pt x="266" y="184"/>
                  <a:pt x="267" y="184"/>
                </a:cubicBezTo>
                <a:cubicBezTo>
                  <a:pt x="267" y="184"/>
                  <a:pt x="266" y="183"/>
                  <a:pt x="266" y="183"/>
                </a:cubicBezTo>
                <a:cubicBezTo>
                  <a:pt x="267" y="183"/>
                  <a:pt x="269" y="183"/>
                  <a:pt x="270" y="183"/>
                </a:cubicBezTo>
                <a:cubicBezTo>
                  <a:pt x="269" y="182"/>
                  <a:pt x="269" y="181"/>
                  <a:pt x="269" y="180"/>
                </a:cubicBezTo>
                <a:cubicBezTo>
                  <a:pt x="267" y="179"/>
                  <a:pt x="268" y="179"/>
                  <a:pt x="269" y="177"/>
                </a:cubicBezTo>
                <a:cubicBezTo>
                  <a:pt x="269" y="177"/>
                  <a:pt x="269" y="177"/>
                  <a:pt x="270" y="176"/>
                </a:cubicBezTo>
                <a:cubicBezTo>
                  <a:pt x="270" y="175"/>
                  <a:pt x="271" y="176"/>
                  <a:pt x="270" y="175"/>
                </a:cubicBezTo>
                <a:cubicBezTo>
                  <a:pt x="269" y="174"/>
                  <a:pt x="267" y="175"/>
                  <a:pt x="266" y="174"/>
                </a:cubicBezTo>
                <a:cubicBezTo>
                  <a:pt x="267" y="174"/>
                  <a:pt x="267" y="174"/>
                  <a:pt x="268" y="174"/>
                </a:cubicBezTo>
                <a:cubicBezTo>
                  <a:pt x="264" y="175"/>
                  <a:pt x="262" y="176"/>
                  <a:pt x="258" y="177"/>
                </a:cubicBezTo>
                <a:cubicBezTo>
                  <a:pt x="257" y="177"/>
                  <a:pt x="256" y="178"/>
                  <a:pt x="255" y="178"/>
                </a:cubicBezTo>
                <a:cubicBezTo>
                  <a:pt x="254" y="179"/>
                  <a:pt x="252" y="179"/>
                  <a:pt x="254" y="180"/>
                </a:cubicBezTo>
                <a:cubicBezTo>
                  <a:pt x="254" y="180"/>
                  <a:pt x="255" y="180"/>
                  <a:pt x="255" y="180"/>
                </a:cubicBezTo>
                <a:cubicBezTo>
                  <a:pt x="256" y="180"/>
                  <a:pt x="256" y="181"/>
                  <a:pt x="257" y="181"/>
                </a:cubicBezTo>
                <a:cubicBezTo>
                  <a:pt x="257" y="182"/>
                  <a:pt x="258" y="182"/>
                  <a:pt x="257" y="183"/>
                </a:cubicBezTo>
                <a:cubicBezTo>
                  <a:pt x="256" y="183"/>
                  <a:pt x="254" y="184"/>
                  <a:pt x="254" y="184"/>
                </a:cubicBezTo>
                <a:cubicBezTo>
                  <a:pt x="253" y="184"/>
                  <a:pt x="253" y="184"/>
                  <a:pt x="253" y="183"/>
                </a:cubicBezTo>
                <a:cubicBezTo>
                  <a:pt x="253" y="183"/>
                  <a:pt x="253" y="182"/>
                  <a:pt x="254" y="182"/>
                </a:cubicBezTo>
                <a:cubicBezTo>
                  <a:pt x="253" y="181"/>
                  <a:pt x="252" y="181"/>
                  <a:pt x="251" y="181"/>
                </a:cubicBezTo>
                <a:cubicBezTo>
                  <a:pt x="252" y="181"/>
                  <a:pt x="252" y="181"/>
                  <a:pt x="252" y="180"/>
                </a:cubicBezTo>
                <a:cubicBezTo>
                  <a:pt x="250" y="180"/>
                  <a:pt x="247" y="181"/>
                  <a:pt x="245" y="182"/>
                </a:cubicBezTo>
                <a:cubicBezTo>
                  <a:pt x="245" y="182"/>
                  <a:pt x="246" y="182"/>
                  <a:pt x="246" y="183"/>
                </a:cubicBezTo>
                <a:cubicBezTo>
                  <a:pt x="245" y="183"/>
                  <a:pt x="245" y="183"/>
                  <a:pt x="245" y="183"/>
                </a:cubicBezTo>
                <a:cubicBezTo>
                  <a:pt x="244" y="183"/>
                  <a:pt x="243" y="183"/>
                  <a:pt x="242" y="184"/>
                </a:cubicBezTo>
                <a:cubicBezTo>
                  <a:pt x="241" y="184"/>
                  <a:pt x="240" y="184"/>
                  <a:pt x="239" y="184"/>
                </a:cubicBezTo>
                <a:cubicBezTo>
                  <a:pt x="237" y="184"/>
                  <a:pt x="237" y="185"/>
                  <a:pt x="235" y="186"/>
                </a:cubicBezTo>
                <a:cubicBezTo>
                  <a:pt x="234" y="187"/>
                  <a:pt x="233" y="187"/>
                  <a:pt x="231" y="188"/>
                </a:cubicBezTo>
                <a:cubicBezTo>
                  <a:pt x="230" y="188"/>
                  <a:pt x="230" y="189"/>
                  <a:pt x="229" y="190"/>
                </a:cubicBezTo>
                <a:cubicBezTo>
                  <a:pt x="228" y="190"/>
                  <a:pt x="227" y="190"/>
                  <a:pt x="225" y="191"/>
                </a:cubicBezTo>
                <a:cubicBezTo>
                  <a:pt x="224" y="191"/>
                  <a:pt x="223" y="192"/>
                  <a:pt x="222" y="192"/>
                </a:cubicBezTo>
                <a:cubicBezTo>
                  <a:pt x="221" y="193"/>
                  <a:pt x="220" y="193"/>
                  <a:pt x="220" y="193"/>
                </a:cubicBezTo>
                <a:cubicBezTo>
                  <a:pt x="219" y="193"/>
                  <a:pt x="219" y="193"/>
                  <a:pt x="218" y="193"/>
                </a:cubicBezTo>
                <a:cubicBezTo>
                  <a:pt x="217" y="193"/>
                  <a:pt x="218" y="193"/>
                  <a:pt x="217" y="194"/>
                </a:cubicBezTo>
                <a:cubicBezTo>
                  <a:pt x="217" y="195"/>
                  <a:pt x="217" y="195"/>
                  <a:pt x="219" y="195"/>
                </a:cubicBezTo>
                <a:cubicBezTo>
                  <a:pt x="219" y="196"/>
                  <a:pt x="220" y="196"/>
                  <a:pt x="220" y="197"/>
                </a:cubicBezTo>
                <a:cubicBezTo>
                  <a:pt x="218" y="197"/>
                  <a:pt x="215" y="196"/>
                  <a:pt x="212" y="196"/>
                </a:cubicBezTo>
                <a:cubicBezTo>
                  <a:pt x="211" y="196"/>
                  <a:pt x="211" y="197"/>
                  <a:pt x="210" y="197"/>
                </a:cubicBezTo>
                <a:cubicBezTo>
                  <a:pt x="210" y="197"/>
                  <a:pt x="208" y="197"/>
                  <a:pt x="207" y="198"/>
                </a:cubicBezTo>
                <a:cubicBezTo>
                  <a:pt x="207" y="198"/>
                  <a:pt x="209" y="199"/>
                  <a:pt x="209" y="200"/>
                </a:cubicBezTo>
                <a:cubicBezTo>
                  <a:pt x="209" y="201"/>
                  <a:pt x="207" y="201"/>
                  <a:pt x="207" y="202"/>
                </a:cubicBezTo>
                <a:cubicBezTo>
                  <a:pt x="207" y="203"/>
                  <a:pt x="207" y="203"/>
                  <a:pt x="207" y="204"/>
                </a:cubicBezTo>
                <a:cubicBezTo>
                  <a:pt x="207" y="204"/>
                  <a:pt x="206" y="204"/>
                  <a:pt x="206" y="204"/>
                </a:cubicBezTo>
                <a:cubicBezTo>
                  <a:pt x="206" y="205"/>
                  <a:pt x="206" y="205"/>
                  <a:pt x="206" y="205"/>
                </a:cubicBezTo>
                <a:cubicBezTo>
                  <a:pt x="206" y="206"/>
                  <a:pt x="207" y="207"/>
                  <a:pt x="206" y="208"/>
                </a:cubicBezTo>
                <a:cubicBezTo>
                  <a:pt x="206" y="208"/>
                  <a:pt x="205" y="208"/>
                  <a:pt x="205" y="209"/>
                </a:cubicBezTo>
                <a:cubicBezTo>
                  <a:pt x="204" y="210"/>
                  <a:pt x="205" y="210"/>
                  <a:pt x="204" y="210"/>
                </a:cubicBezTo>
                <a:cubicBezTo>
                  <a:pt x="202" y="210"/>
                  <a:pt x="200" y="210"/>
                  <a:pt x="198" y="210"/>
                </a:cubicBezTo>
                <a:cubicBezTo>
                  <a:pt x="197" y="210"/>
                  <a:pt x="196" y="210"/>
                  <a:pt x="195" y="211"/>
                </a:cubicBezTo>
                <a:cubicBezTo>
                  <a:pt x="194" y="211"/>
                  <a:pt x="194" y="212"/>
                  <a:pt x="193" y="212"/>
                </a:cubicBezTo>
                <a:cubicBezTo>
                  <a:pt x="194" y="211"/>
                  <a:pt x="196" y="210"/>
                  <a:pt x="193" y="210"/>
                </a:cubicBezTo>
                <a:cubicBezTo>
                  <a:pt x="192" y="210"/>
                  <a:pt x="190" y="211"/>
                  <a:pt x="189" y="211"/>
                </a:cubicBezTo>
                <a:cubicBezTo>
                  <a:pt x="188" y="210"/>
                  <a:pt x="186" y="209"/>
                  <a:pt x="186" y="207"/>
                </a:cubicBezTo>
                <a:cubicBezTo>
                  <a:pt x="184" y="205"/>
                  <a:pt x="182" y="204"/>
                  <a:pt x="180" y="203"/>
                </a:cubicBezTo>
                <a:cubicBezTo>
                  <a:pt x="179" y="202"/>
                  <a:pt x="177" y="202"/>
                  <a:pt x="178" y="200"/>
                </a:cubicBezTo>
                <a:cubicBezTo>
                  <a:pt x="178" y="199"/>
                  <a:pt x="180" y="198"/>
                  <a:pt x="181" y="198"/>
                </a:cubicBezTo>
                <a:cubicBezTo>
                  <a:pt x="182" y="197"/>
                  <a:pt x="183" y="197"/>
                  <a:pt x="182" y="195"/>
                </a:cubicBezTo>
                <a:cubicBezTo>
                  <a:pt x="182" y="195"/>
                  <a:pt x="185" y="194"/>
                  <a:pt x="185" y="194"/>
                </a:cubicBezTo>
                <a:cubicBezTo>
                  <a:pt x="187" y="194"/>
                  <a:pt x="189" y="194"/>
                  <a:pt x="191" y="194"/>
                </a:cubicBezTo>
                <a:cubicBezTo>
                  <a:pt x="192" y="193"/>
                  <a:pt x="193" y="193"/>
                  <a:pt x="194" y="193"/>
                </a:cubicBezTo>
                <a:cubicBezTo>
                  <a:pt x="194" y="194"/>
                  <a:pt x="196" y="194"/>
                  <a:pt x="196" y="193"/>
                </a:cubicBezTo>
                <a:cubicBezTo>
                  <a:pt x="197" y="192"/>
                  <a:pt x="195" y="191"/>
                  <a:pt x="195" y="190"/>
                </a:cubicBezTo>
                <a:cubicBezTo>
                  <a:pt x="194" y="189"/>
                  <a:pt x="194" y="188"/>
                  <a:pt x="193" y="187"/>
                </a:cubicBezTo>
                <a:cubicBezTo>
                  <a:pt x="192" y="186"/>
                  <a:pt x="190" y="185"/>
                  <a:pt x="189" y="184"/>
                </a:cubicBezTo>
                <a:cubicBezTo>
                  <a:pt x="188" y="183"/>
                  <a:pt x="188" y="182"/>
                  <a:pt x="189" y="182"/>
                </a:cubicBezTo>
                <a:cubicBezTo>
                  <a:pt x="180" y="181"/>
                  <a:pt x="170" y="180"/>
                  <a:pt x="161" y="179"/>
                </a:cubicBezTo>
                <a:cubicBezTo>
                  <a:pt x="163" y="180"/>
                  <a:pt x="165" y="182"/>
                  <a:pt x="167" y="183"/>
                </a:cubicBezTo>
                <a:cubicBezTo>
                  <a:pt x="168" y="183"/>
                  <a:pt x="169" y="184"/>
                  <a:pt x="170" y="185"/>
                </a:cubicBezTo>
                <a:cubicBezTo>
                  <a:pt x="171" y="185"/>
                  <a:pt x="171" y="186"/>
                  <a:pt x="171" y="187"/>
                </a:cubicBezTo>
                <a:cubicBezTo>
                  <a:pt x="171" y="187"/>
                  <a:pt x="172" y="188"/>
                  <a:pt x="172" y="189"/>
                </a:cubicBezTo>
                <a:cubicBezTo>
                  <a:pt x="172" y="190"/>
                  <a:pt x="172" y="189"/>
                  <a:pt x="171" y="190"/>
                </a:cubicBezTo>
                <a:cubicBezTo>
                  <a:pt x="171" y="190"/>
                  <a:pt x="170" y="190"/>
                  <a:pt x="170" y="190"/>
                </a:cubicBezTo>
                <a:cubicBezTo>
                  <a:pt x="169" y="191"/>
                  <a:pt x="171" y="191"/>
                  <a:pt x="171" y="191"/>
                </a:cubicBezTo>
                <a:cubicBezTo>
                  <a:pt x="171" y="192"/>
                  <a:pt x="170" y="192"/>
                  <a:pt x="169" y="193"/>
                </a:cubicBezTo>
                <a:cubicBezTo>
                  <a:pt x="169" y="193"/>
                  <a:pt x="169" y="195"/>
                  <a:pt x="169" y="196"/>
                </a:cubicBezTo>
                <a:cubicBezTo>
                  <a:pt x="168" y="198"/>
                  <a:pt x="166" y="200"/>
                  <a:pt x="166" y="202"/>
                </a:cubicBezTo>
                <a:cubicBezTo>
                  <a:pt x="166" y="204"/>
                  <a:pt x="168" y="204"/>
                  <a:pt x="169" y="205"/>
                </a:cubicBezTo>
                <a:cubicBezTo>
                  <a:pt x="170" y="205"/>
                  <a:pt x="170" y="206"/>
                  <a:pt x="171" y="206"/>
                </a:cubicBezTo>
                <a:cubicBezTo>
                  <a:pt x="172" y="207"/>
                  <a:pt x="172" y="206"/>
                  <a:pt x="172" y="207"/>
                </a:cubicBezTo>
                <a:cubicBezTo>
                  <a:pt x="173" y="207"/>
                  <a:pt x="173" y="208"/>
                  <a:pt x="173" y="209"/>
                </a:cubicBezTo>
                <a:cubicBezTo>
                  <a:pt x="174" y="210"/>
                  <a:pt x="174" y="213"/>
                  <a:pt x="173" y="214"/>
                </a:cubicBezTo>
                <a:cubicBezTo>
                  <a:pt x="172" y="216"/>
                  <a:pt x="168" y="219"/>
                  <a:pt x="169" y="222"/>
                </a:cubicBezTo>
                <a:cubicBezTo>
                  <a:pt x="169" y="223"/>
                  <a:pt x="170" y="223"/>
                  <a:pt x="170" y="223"/>
                </a:cubicBezTo>
                <a:cubicBezTo>
                  <a:pt x="170" y="224"/>
                  <a:pt x="169" y="224"/>
                  <a:pt x="170" y="225"/>
                </a:cubicBezTo>
                <a:cubicBezTo>
                  <a:pt x="170" y="226"/>
                  <a:pt x="170" y="226"/>
                  <a:pt x="170" y="227"/>
                </a:cubicBezTo>
                <a:cubicBezTo>
                  <a:pt x="170" y="226"/>
                  <a:pt x="169" y="225"/>
                  <a:pt x="169" y="225"/>
                </a:cubicBezTo>
                <a:cubicBezTo>
                  <a:pt x="168" y="224"/>
                  <a:pt x="169" y="224"/>
                  <a:pt x="168" y="223"/>
                </a:cubicBezTo>
                <a:cubicBezTo>
                  <a:pt x="167" y="221"/>
                  <a:pt x="164" y="222"/>
                  <a:pt x="163" y="224"/>
                </a:cubicBezTo>
                <a:cubicBezTo>
                  <a:pt x="163" y="224"/>
                  <a:pt x="164" y="224"/>
                  <a:pt x="163" y="225"/>
                </a:cubicBezTo>
                <a:cubicBezTo>
                  <a:pt x="163" y="225"/>
                  <a:pt x="161" y="224"/>
                  <a:pt x="161" y="223"/>
                </a:cubicBezTo>
                <a:cubicBezTo>
                  <a:pt x="161" y="223"/>
                  <a:pt x="162" y="223"/>
                  <a:pt x="162" y="222"/>
                </a:cubicBezTo>
                <a:cubicBezTo>
                  <a:pt x="163" y="222"/>
                  <a:pt x="165" y="221"/>
                  <a:pt x="165" y="221"/>
                </a:cubicBezTo>
                <a:cubicBezTo>
                  <a:pt x="165" y="220"/>
                  <a:pt x="163" y="219"/>
                  <a:pt x="163" y="219"/>
                </a:cubicBezTo>
                <a:cubicBezTo>
                  <a:pt x="162" y="219"/>
                  <a:pt x="162" y="219"/>
                  <a:pt x="162" y="219"/>
                </a:cubicBezTo>
                <a:cubicBezTo>
                  <a:pt x="162" y="219"/>
                  <a:pt x="162" y="218"/>
                  <a:pt x="162" y="218"/>
                </a:cubicBezTo>
                <a:cubicBezTo>
                  <a:pt x="161" y="217"/>
                  <a:pt x="160" y="217"/>
                  <a:pt x="159" y="217"/>
                </a:cubicBezTo>
                <a:cubicBezTo>
                  <a:pt x="157" y="217"/>
                  <a:pt x="155" y="217"/>
                  <a:pt x="153" y="217"/>
                </a:cubicBezTo>
                <a:cubicBezTo>
                  <a:pt x="152" y="216"/>
                  <a:pt x="151" y="216"/>
                  <a:pt x="150" y="216"/>
                </a:cubicBezTo>
                <a:cubicBezTo>
                  <a:pt x="148" y="217"/>
                  <a:pt x="147" y="219"/>
                  <a:pt x="145" y="221"/>
                </a:cubicBezTo>
                <a:cubicBezTo>
                  <a:pt x="144" y="222"/>
                  <a:pt x="142" y="223"/>
                  <a:pt x="140" y="223"/>
                </a:cubicBezTo>
                <a:cubicBezTo>
                  <a:pt x="137" y="224"/>
                  <a:pt x="135" y="225"/>
                  <a:pt x="132" y="227"/>
                </a:cubicBezTo>
                <a:cubicBezTo>
                  <a:pt x="130" y="228"/>
                  <a:pt x="128" y="230"/>
                  <a:pt x="126" y="231"/>
                </a:cubicBezTo>
                <a:cubicBezTo>
                  <a:pt x="122" y="234"/>
                  <a:pt x="127" y="238"/>
                  <a:pt x="129" y="240"/>
                </a:cubicBezTo>
                <a:cubicBezTo>
                  <a:pt x="131" y="242"/>
                  <a:pt x="131" y="243"/>
                  <a:pt x="132" y="245"/>
                </a:cubicBezTo>
                <a:cubicBezTo>
                  <a:pt x="132" y="246"/>
                  <a:pt x="133" y="249"/>
                  <a:pt x="133" y="249"/>
                </a:cubicBezTo>
                <a:cubicBezTo>
                  <a:pt x="132" y="249"/>
                  <a:pt x="131" y="249"/>
                  <a:pt x="130" y="249"/>
                </a:cubicBezTo>
                <a:cubicBezTo>
                  <a:pt x="123" y="248"/>
                  <a:pt x="116" y="247"/>
                  <a:pt x="109" y="246"/>
                </a:cubicBezTo>
                <a:cubicBezTo>
                  <a:pt x="109" y="246"/>
                  <a:pt x="109" y="247"/>
                  <a:pt x="109" y="247"/>
                </a:cubicBezTo>
                <a:cubicBezTo>
                  <a:pt x="108" y="247"/>
                  <a:pt x="107" y="247"/>
                  <a:pt x="107" y="246"/>
                </a:cubicBezTo>
                <a:cubicBezTo>
                  <a:pt x="108" y="245"/>
                  <a:pt x="110" y="245"/>
                  <a:pt x="111" y="245"/>
                </a:cubicBezTo>
                <a:cubicBezTo>
                  <a:pt x="111" y="244"/>
                  <a:pt x="111" y="245"/>
                  <a:pt x="111" y="244"/>
                </a:cubicBezTo>
                <a:cubicBezTo>
                  <a:pt x="109" y="243"/>
                  <a:pt x="106" y="242"/>
                  <a:pt x="104" y="240"/>
                </a:cubicBezTo>
                <a:cubicBezTo>
                  <a:pt x="102" y="240"/>
                  <a:pt x="101" y="239"/>
                  <a:pt x="99" y="239"/>
                </a:cubicBezTo>
                <a:cubicBezTo>
                  <a:pt x="98" y="238"/>
                  <a:pt x="98" y="238"/>
                  <a:pt x="97" y="238"/>
                </a:cubicBezTo>
                <a:cubicBezTo>
                  <a:pt x="95" y="238"/>
                  <a:pt x="95" y="239"/>
                  <a:pt x="95" y="241"/>
                </a:cubicBezTo>
                <a:cubicBezTo>
                  <a:pt x="95" y="241"/>
                  <a:pt x="94" y="243"/>
                  <a:pt x="93" y="243"/>
                </a:cubicBezTo>
                <a:cubicBezTo>
                  <a:pt x="92" y="243"/>
                  <a:pt x="92" y="242"/>
                  <a:pt x="91" y="242"/>
                </a:cubicBezTo>
                <a:cubicBezTo>
                  <a:pt x="93" y="245"/>
                  <a:pt x="95" y="248"/>
                  <a:pt x="98" y="250"/>
                </a:cubicBezTo>
                <a:cubicBezTo>
                  <a:pt x="98" y="251"/>
                  <a:pt x="99" y="252"/>
                  <a:pt x="100" y="252"/>
                </a:cubicBezTo>
                <a:cubicBezTo>
                  <a:pt x="101" y="252"/>
                  <a:pt x="101" y="252"/>
                  <a:pt x="102" y="252"/>
                </a:cubicBezTo>
                <a:cubicBezTo>
                  <a:pt x="103" y="252"/>
                  <a:pt x="103" y="252"/>
                  <a:pt x="103" y="252"/>
                </a:cubicBezTo>
                <a:cubicBezTo>
                  <a:pt x="104" y="251"/>
                  <a:pt x="104" y="250"/>
                  <a:pt x="105" y="251"/>
                </a:cubicBezTo>
                <a:cubicBezTo>
                  <a:pt x="105" y="251"/>
                  <a:pt x="105" y="251"/>
                  <a:pt x="105" y="252"/>
                </a:cubicBezTo>
                <a:cubicBezTo>
                  <a:pt x="106" y="252"/>
                  <a:pt x="106" y="252"/>
                  <a:pt x="107" y="253"/>
                </a:cubicBezTo>
                <a:cubicBezTo>
                  <a:pt x="107" y="253"/>
                  <a:pt x="107" y="254"/>
                  <a:pt x="107" y="255"/>
                </a:cubicBezTo>
                <a:cubicBezTo>
                  <a:pt x="107" y="256"/>
                  <a:pt x="108" y="256"/>
                  <a:pt x="108" y="258"/>
                </a:cubicBezTo>
                <a:cubicBezTo>
                  <a:pt x="107" y="258"/>
                  <a:pt x="106" y="259"/>
                  <a:pt x="105" y="259"/>
                </a:cubicBezTo>
                <a:cubicBezTo>
                  <a:pt x="105" y="260"/>
                  <a:pt x="104" y="259"/>
                  <a:pt x="103" y="260"/>
                </a:cubicBezTo>
                <a:cubicBezTo>
                  <a:pt x="103" y="260"/>
                  <a:pt x="103" y="260"/>
                  <a:pt x="103" y="260"/>
                </a:cubicBezTo>
                <a:cubicBezTo>
                  <a:pt x="102" y="261"/>
                  <a:pt x="102" y="261"/>
                  <a:pt x="100" y="261"/>
                </a:cubicBezTo>
                <a:cubicBezTo>
                  <a:pt x="99" y="260"/>
                  <a:pt x="97" y="260"/>
                  <a:pt x="95" y="259"/>
                </a:cubicBezTo>
                <a:cubicBezTo>
                  <a:pt x="92" y="258"/>
                  <a:pt x="92" y="258"/>
                  <a:pt x="90" y="256"/>
                </a:cubicBezTo>
                <a:cubicBezTo>
                  <a:pt x="89" y="255"/>
                  <a:pt x="88" y="254"/>
                  <a:pt x="88" y="254"/>
                </a:cubicBezTo>
                <a:cubicBezTo>
                  <a:pt x="84" y="251"/>
                  <a:pt x="80" y="252"/>
                  <a:pt x="76" y="251"/>
                </a:cubicBezTo>
                <a:cubicBezTo>
                  <a:pt x="76" y="250"/>
                  <a:pt x="74" y="250"/>
                  <a:pt x="74" y="249"/>
                </a:cubicBezTo>
                <a:cubicBezTo>
                  <a:pt x="74" y="249"/>
                  <a:pt x="74" y="249"/>
                  <a:pt x="74" y="248"/>
                </a:cubicBezTo>
                <a:cubicBezTo>
                  <a:pt x="74" y="247"/>
                  <a:pt x="74" y="246"/>
                  <a:pt x="75" y="246"/>
                </a:cubicBezTo>
                <a:cubicBezTo>
                  <a:pt x="75" y="246"/>
                  <a:pt x="76" y="246"/>
                  <a:pt x="76" y="245"/>
                </a:cubicBezTo>
                <a:cubicBezTo>
                  <a:pt x="76" y="245"/>
                  <a:pt x="75" y="245"/>
                  <a:pt x="74" y="245"/>
                </a:cubicBezTo>
                <a:cubicBezTo>
                  <a:pt x="75" y="245"/>
                  <a:pt x="75" y="245"/>
                  <a:pt x="76" y="244"/>
                </a:cubicBezTo>
                <a:cubicBezTo>
                  <a:pt x="74" y="242"/>
                  <a:pt x="73" y="241"/>
                  <a:pt x="73" y="239"/>
                </a:cubicBezTo>
                <a:cubicBezTo>
                  <a:pt x="72" y="237"/>
                  <a:pt x="71" y="236"/>
                  <a:pt x="69" y="235"/>
                </a:cubicBezTo>
                <a:cubicBezTo>
                  <a:pt x="70" y="235"/>
                  <a:pt x="70" y="235"/>
                  <a:pt x="70" y="235"/>
                </a:cubicBezTo>
                <a:cubicBezTo>
                  <a:pt x="71" y="234"/>
                  <a:pt x="71" y="234"/>
                  <a:pt x="71" y="234"/>
                </a:cubicBezTo>
                <a:cubicBezTo>
                  <a:pt x="72" y="234"/>
                  <a:pt x="72" y="234"/>
                  <a:pt x="72" y="234"/>
                </a:cubicBezTo>
                <a:cubicBezTo>
                  <a:pt x="73" y="234"/>
                  <a:pt x="73" y="232"/>
                  <a:pt x="73" y="231"/>
                </a:cubicBezTo>
                <a:cubicBezTo>
                  <a:pt x="73" y="230"/>
                  <a:pt x="73" y="229"/>
                  <a:pt x="73" y="228"/>
                </a:cubicBezTo>
                <a:cubicBezTo>
                  <a:pt x="73" y="228"/>
                  <a:pt x="74" y="228"/>
                  <a:pt x="74" y="229"/>
                </a:cubicBezTo>
                <a:cubicBezTo>
                  <a:pt x="74" y="229"/>
                  <a:pt x="76" y="230"/>
                  <a:pt x="76" y="229"/>
                </a:cubicBezTo>
                <a:cubicBezTo>
                  <a:pt x="75" y="226"/>
                  <a:pt x="74" y="225"/>
                  <a:pt x="72" y="223"/>
                </a:cubicBezTo>
                <a:cubicBezTo>
                  <a:pt x="71" y="222"/>
                  <a:pt x="67" y="222"/>
                  <a:pt x="66" y="221"/>
                </a:cubicBezTo>
                <a:cubicBezTo>
                  <a:pt x="64" y="221"/>
                  <a:pt x="61" y="220"/>
                  <a:pt x="59" y="219"/>
                </a:cubicBezTo>
                <a:cubicBezTo>
                  <a:pt x="60" y="219"/>
                  <a:pt x="64" y="218"/>
                  <a:pt x="63" y="217"/>
                </a:cubicBezTo>
                <a:cubicBezTo>
                  <a:pt x="62" y="216"/>
                  <a:pt x="57" y="216"/>
                  <a:pt x="56" y="216"/>
                </a:cubicBezTo>
                <a:cubicBezTo>
                  <a:pt x="57" y="216"/>
                  <a:pt x="57" y="215"/>
                  <a:pt x="58" y="215"/>
                </a:cubicBezTo>
                <a:cubicBezTo>
                  <a:pt x="57" y="215"/>
                  <a:pt x="56" y="215"/>
                  <a:pt x="55" y="215"/>
                </a:cubicBezTo>
                <a:cubicBezTo>
                  <a:pt x="56" y="214"/>
                  <a:pt x="58" y="214"/>
                  <a:pt x="59" y="214"/>
                </a:cubicBezTo>
                <a:cubicBezTo>
                  <a:pt x="58" y="213"/>
                  <a:pt x="57" y="213"/>
                  <a:pt x="56" y="213"/>
                </a:cubicBezTo>
                <a:cubicBezTo>
                  <a:pt x="55" y="213"/>
                  <a:pt x="55" y="213"/>
                  <a:pt x="54" y="212"/>
                </a:cubicBezTo>
                <a:cubicBezTo>
                  <a:pt x="54" y="212"/>
                  <a:pt x="55" y="212"/>
                  <a:pt x="55" y="212"/>
                </a:cubicBezTo>
                <a:cubicBezTo>
                  <a:pt x="54" y="211"/>
                  <a:pt x="53" y="211"/>
                  <a:pt x="53" y="211"/>
                </a:cubicBezTo>
                <a:cubicBezTo>
                  <a:pt x="52" y="211"/>
                  <a:pt x="49" y="210"/>
                  <a:pt x="50" y="208"/>
                </a:cubicBezTo>
                <a:cubicBezTo>
                  <a:pt x="51" y="207"/>
                  <a:pt x="51" y="208"/>
                  <a:pt x="50" y="207"/>
                </a:cubicBezTo>
                <a:cubicBezTo>
                  <a:pt x="48" y="205"/>
                  <a:pt x="47" y="206"/>
                  <a:pt x="45" y="205"/>
                </a:cubicBezTo>
                <a:cubicBezTo>
                  <a:pt x="45" y="205"/>
                  <a:pt x="46" y="205"/>
                  <a:pt x="47" y="205"/>
                </a:cubicBezTo>
                <a:cubicBezTo>
                  <a:pt x="48" y="205"/>
                  <a:pt x="49" y="205"/>
                  <a:pt x="50" y="205"/>
                </a:cubicBezTo>
                <a:cubicBezTo>
                  <a:pt x="50" y="205"/>
                  <a:pt x="52" y="205"/>
                  <a:pt x="52" y="206"/>
                </a:cubicBezTo>
                <a:cubicBezTo>
                  <a:pt x="53" y="206"/>
                  <a:pt x="55" y="206"/>
                  <a:pt x="55" y="206"/>
                </a:cubicBezTo>
                <a:cubicBezTo>
                  <a:pt x="54" y="207"/>
                  <a:pt x="54" y="207"/>
                  <a:pt x="55" y="208"/>
                </a:cubicBezTo>
                <a:cubicBezTo>
                  <a:pt x="55" y="209"/>
                  <a:pt x="56" y="209"/>
                  <a:pt x="57" y="210"/>
                </a:cubicBezTo>
                <a:cubicBezTo>
                  <a:pt x="58" y="211"/>
                  <a:pt x="60" y="212"/>
                  <a:pt x="61" y="212"/>
                </a:cubicBezTo>
                <a:cubicBezTo>
                  <a:pt x="62" y="213"/>
                  <a:pt x="64" y="213"/>
                  <a:pt x="65" y="213"/>
                </a:cubicBezTo>
                <a:cubicBezTo>
                  <a:pt x="66" y="213"/>
                  <a:pt x="66" y="212"/>
                  <a:pt x="67" y="212"/>
                </a:cubicBezTo>
                <a:cubicBezTo>
                  <a:pt x="68" y="212"/>
                  <a:pt x="69" y="213"/>
                  <a:pt x="70" y="213"/>
                </a:cubicBezTo>
                <a:cubicBezTo>
                  <a:pt x="72" y="214"/>
                  <a:pt x="71" y="214"/>
                  <a:pt x="71" y="214"/>
                </a:cubicBezTo>
                <a:cubicBezTo>
                  <a:pt x="71" y="216"/>
                  <a:pt x="71" y="216"/>
                  <a:pt x="72" y="216"/>
                </a:cubicBezTo>
                <a:cubicBezTo>
                  <a:pt x="74" y="216"/>
                  <a:pt x="75" y="215"/>
                  <a:pt x="76" y="215"/>
                </a:cubicBezTo>
                <a:cubicBezTo>
                  <a:pt x="79" y="216"/>
                  <a:pt x="81" y="216"/>
                  <a:pt x="83" y="217"/>
                </a:cubicBezTo>
                <a:cubicBezTo>
                  <a:pt x="91" y="219"/>
                  <a:pt x="99" y="221"/>
                  <a:pt x="107" y="223"/>
                </a:cubicBezTo>
                <a:cubicBezTo>
                  <a:pt x="111" y="224"/>
                  <a:pt x="113" y="224"/>
                  <a:pt x="116" y="223"/>
                </a:cubicBezTo>
                <a:cubicBezTo>
                  <a:pt x="117" y="223"/>
                  <a:pt x="119" y="223"/>
                  <a:pt x="120" y="223"/>
                </a:cubicBezTo>
                <a:cubicBezTo>
                  <a:pt x="121" y="222"/>
                  <a:pt x="122" y="222"/>
                  <a:pt x="123" y="221"/>
                </a:cubicBezTo>
                <a:cubicBezTo>
                  <a:pt x="126" y="221"/>
                  <a:pt x="129" y="220"/>
                  <a:pt x="132" y="218"/>
                </a:cubicBezTo>
                <a:cubicBezTo>
                  <a:pt x="134" y="216"/>
                  <a:pt x="136" y="213"/>
                  <a:pt x="138" y="211"/>
                </a:cubicBezTo>
                <a:cubicBezTo>
                  <a:pt x="140" y="209"/>
                  <a:pt x="142" y="208"/>
                  <a:pt x="142" y="206"/>
                </a:cubicBezTo>
                <a:cubicBezTo>
                  <a:pt x="142" y="204"/>
                  <a:pt x="141" y="204"/>
                  <a:pt x="140" y="204"/>
                </a:cubicBezTo>
                <a:cubicBezTo>
                  <a:pt x="139" y="203"/>
                  <a:pt x="139" y="204"/>
                  <a:pt x="139" y="202"/>
                </a:cubicBezTo>
                <a:cubicBezTo>
                  <a:pt x="139" y="201"/>
                  <a:pt x="139" y="201"/>
                  <a:pt x="139" y="200"/>
                </a:cubicBezTo>
                <a:cubicBezTo>
                  <a:pt x="138" y="199"/>
                  <a:pt x="138" y="200"/>
                  <a:pt x="138" y="198"/>
                </a:cubicBezTo>
                <a:cubicBezTo>
                  <a:pt x="138" y="198"/>
                  <a:pt x="138" y="195"/>
                  <a:pt x="138" y="195"/>
                </a:cubicBezTo>
                <a:cubicBezTo>
                  <a:pt x="136" y="195"/>
                  <a:pt x="135" y="195"/>
                  <a:pt x="133" y="195"/>
                </a:cubicBezTo>
                <a:cubicBezTo>
                  <a:pt x="132" y="195"/>
                  <a:pt x="132" y="194"/>
                  <a:pt x="131" y="193"/>
                </a:cubicBezTo>
                <a:cubicBezTo>
                  <a:pt x="129" y="192"/>
                  <a:pt x="128" y="190"/>
                  <a:pt x="126" y="189"/>
                </a:cubicBezTo>
                <a:cubicBezTo>
                  <a:pt x="126" y="189"/>
                  <a:pt x="125" y="187"/>
                  <a:pt x="125" y="188"/>
                </a:cubicBezTo>
                <a:cubicBezTo>
                  <a:pt x="125" y="188"/>
                  <a:pt x="125" y="188"/>
                  <a:pt x="125" y="188"/>
                </a:cubicBezTo>
                <a:cubicBezTo>
                  <a:pt x="122" y="188"/>
                  <a:pt x="119" y="187"/>
                  <a:pt x="116" y="186"/>
                </a:cubicBezTo>
                <a:cubicBezTo>
                  <a:pt x="115" y="185"/>
                  <a:pt x="113" y="185"/>
                  <a:pt x="112" y="184"/>
                </a:cubicBezTo>
                <a:cubicBezTo>
                  <a:pt x="111" y="184"/>
                  <a:pt x="110" y="183"/>
                  <a:pt x="110" y="183"/>
                </a:cubicBezTo>
                <a:cubicBezTo>
                  <a:pt x="108" y="181"/>
                  <a:pt x="107" y="180"/>
                  <a:pt x="104" y="179"/>
                </a:cubicBezTo>
                <a:cubicBezTo>
                  <a:pt x="101" y="177"/>
                  <a:pt x="97" y="176"/>
                  <a:pt x="94" y="174"/>
                </a:cubicBezTo>
                <a:cubicBezTo>
                  <a:pt x="90" y="172"/>
                  <a:pt x="86" y="171"/>
                  <a:pt x="83" y="169"/>
                </a:cubicBezTo>
                <a:cubicBezTo>
                  <a:pt x="81" y="168"/>
                  <a:pt x="80" y="168"/>
                  <a:pt x="78" y="168"/>
                </a:cubicBezTo>
                <a:cubicBezTo>
                  <a:pt x="74" y="168"/>
                  <a:pt x="69" y="166"/>
                  <a:pt x="65" y="167"/>
                </a:cubicBezTo>
                <a:cubicBezTo>
                  <a:pt x="63" y="167"/>
                  <a:pt x="62" y="166"/>
                  <a:pt x="62" y="168"/>
                </a:cubicBezTo>
                <a:cubicBezTo>
                  <a:pt x="61" y="169"/>
                  <a:pt x="62" y="169"/>
                  <a:pt x="61" y="170"/>
                </a:cubicBezTo>
                <a:cubicBezTo>
                  <a:pt x="60" y="170"/>
                  <a:pt x="60" y="171"/>
                  <a:pt x="60" y="171"/>
                </a:cubicBezTo>
                <a:cubicBezTo>
                  <a:pt x="59" y="171"/>
                  <a:pt x="59" y="171"/>
                  <a:pt x="58" y="171"/>
                </a:cubicBezTo>
                <a:cubicBezTo>
                  <a:pt x="57" y="171"/>
                  <a:pt x="57" y="172"/>
                  <a:pt x="56" y="173"/>
                </a:cubicBezTo>
                <a:cubicBezTo>
                  <a:pt x="56" y="172"/>
                  <a:pt x="56" y="171"/>
                  <a:pt x="58" y="171"/>
                </a:cubicBezTo>
                <a:cubicBezTo>
                  <a:pt x="59" y="171"/>
                  <a:pt x="60" y="170"/>
                  <a:pt x="61" y="169"/>
                </a:cubicBezTo>
                <a:cubicBezTo>
                  <a:pt x="60" y="169"/>
                  <a:pt x="58" y="168"/>
                  <a:pt x="59" y="168"/>
                </a:cubicBezTo>
                <a:cubicBezTo>
                  <a:pt x="59" y="167"/>
                  <a:pt x="60" y="167"/>
                  <a:pt x="60" y="167"/>
                </a:cubicBezTo>
                <a:cubicBezTo>
                  <a:pt x="60" y="166"/>
                  <a:pt x="60" y="165"/>
                  <a:pt x="60" y="165"/>
                </a:cubicBezTo>
                <a:cubicBezTo>
                  <a:pt x="58" y="166"/>
                  <a:pt x="56" y="167"/>
                  <a:pt x="54" y="167"/>
                </a:cubicBezTo>
                <a:cubicBezTo>
                  <a:pt x="55" y="166"/>
                  <a:pt x="53" y="166"/>
                  <a:pt x="53" y="166"/>
                </a:cubicBezTo>
                <a:cubicBezTo>
                  <a:pt x="51" y="166"/>
                  <a:pt x="49" y="165"/>
                  <a:pt x="48" y="165"/>
                </a:cubicBezTo>
                <a:cubicBezTo>
                  <a:pt x="48" y="164"/>
                  <a:pt x="46" y="163"/>
                  <a:pt x="46" y="162"/>
                </a:cubicBezTo>
                <a:cubicBezTo>
                  <a:pt x="46" y="162"/>
                  <a:pt x="47" y="160"/>
                  <a:pt x="47" y="159"/>
                </a:cubicBezTo>
                <a:cubicBezTo>
                  <a:pt x="48" y="159"/>
                  <a:pt x="47" y="160"/>
                  <a:pt x="48" y="160"/>
                </a:cubicBezTo>
                <a:cubicBezTo>
                  <a:pt x="48" y="161"/>
                  <a:pt x="51" y="161"/>
                  <a:pt x="52" y="161"/>
                </a:cubicBezTo>
                <a:cubicBezTo>
                  <a:pt x="53" y="162"/>
                  <a:pt x="55" y="162"/>
                  <a:pt x="55" y="162"/>
                </a:cubicBezTo>
                <a:cubicBezTo>
                  <a:pt x="56" y="162"/>
                  <a:pt x="57" y="160"/>
                  <a:pt x="57" y="159"/>
                </a:cubicBezTo>
                <a:cubicBezTo>
                  <a:pt x="57" y="159"/>
                  <a:pt x="55" y="158"/>
                  <a:pt x="54" y="158"/>
                </a:cubicBezTo>
                <a:cubicBezTo>
                  <a:pt x="53" y="158"/>
                  <a:pt x="52" y="159"/>
                  <a:pt x="51" y="158"/>
                </a:cubicBezTo>
                <a:cubicBezTo>
                  <a:pt x="51" y="158"/>
                  <a:pt x="51" y="157"/>
                  <a:pt x="50" y="157"/>
                </a:cubicBezTo>
                <a:cubicBezTo>
                  <a:pt x="50" y="157"/>
                  <a:pt x="49" y="157"/>
                  <a:pt x="49" y="157"/>
                </a:cubicBezTo>
                <a:cubicBezTo>
                  <a:pt x="48" y="157"/>
                  <a:pt x="47" y="155"/>
                  <a:pt x="46" y="155"/>
                </a:cubicBezTo>
                <a:cubicBezTo>
                  <a:pt x="44" y="155"/>
                  <a:pt x="46" y="157"/>
                  <a:pt x="46" y="157"/>
                </a:cubicBezTo>
                <a:cubicBezTo>
                  <a:pt x="46" y="158"/>
                  <a:pt x="47" y="158"/>
                  <a:pt x="47" y="158"/>
                </a:cubicBezTo>
                <a:cubicBezTo>
                  <a:pt x="46" y="159"/>
                  <a:pt x="46" y="158"/>
                  <a:pt x="46" y="158"/>
                </a:cubicBezTo>
                <a:cubicBezTo>
                  <a:pt x="45" y="158"/>
                  <a:pt x="44" y="157"/>
                  <a:pt x="44" y="157"/>
                </a:cubicBezTo>
                <a:cubicBezTo>
                  <a:pt x="42" y="157"/>
                  <a:pt x="43" y="158"/>
                  <a:pt x="43" y="159"/>
                </a:cubicBezTo>
                <a:cubicBezTo>
                  <a:pt x="42" y="160"/>
                  <a:pt x="38" y="159"/>
                  <a:pt x="35" y="159"/>
                </a:cubicBezTo>
                <a:cubicBezTo>
                  <a:pt x="35" y="159"/>
                  <a:pt x="35" y="159"/>
                  <a:pt x="35" y="159"/>
                </a:cubicBezTo>
                <a:cubicBezTo>
                  <a:pt x="35" y="160"/>
                  <a:pt x="36" y="161"/>
                  <a:pt x="35" y="162"/>
                </a:cubicBezTo>
                <a:cubicBezTo>
                  <a:pt x="35" y="163"/>
                  <a:pt x="34" y="163"/>
                  <a:pt x="33" y="163"/>
                </a:cubicBezTo>
                <a:cubicBezTo>
                  <a:pt x="33" y="163"/>
                  <a:pt x="33" y="163"/>
                  <a:pt x="33" y="163"/>
                </a:cubicBezTo>
                <a:cubicBezTo>
                  <a:pt x="33" y="163"/>
                  <a:pt x="33" y="163"/>
                  <a:pt x="33" y="163"/>
                </a:cubicBezTo>
                <a:cubicBezTo>
                  <a:pt x="32" y="163"/>
                  <a:pt x="32" y="163"/>
                  <a:pt x="32" y="163"/>
                </a:cubicBezTo>
                <a:cubicBezTo>
                  <a:pt x="32" y="163"/>
                  <a:pt x="32" y="163"/>
                  <a:pt x="32" y="163"/>
                </a:cubicBezTo>
                <a:cubicBezTo>
                  <a:pt x="32" y="163"/>
                  <a:pt x="32" y="163"/>
                  <a:pt x="31" y="163"/>
                </a:cubicBezTo>
                <a:cubicBezTo>
                  <a:pt x="30" y="163"/>
                  <a:pt x="29" y="163"/>
                  <a:pt x="29" y="162"/>
                </a:cubicBezTo>
                <a:cubicBezTo>
                  <a:pt x="28" y="162"/>
                  <a:pt x="28" y="162"/>
                  <a:pt x="28" y="162"/>
                </a:cubicBezTo>
                <a:cubicBezTo>
                  <a:pt x="28" y="162"/>
                  <a:pt x="28" y="162"/>
                  <a:pt x="28" y="162"/>
                </a:cubicBezTo>
                <a:cubicBezTo>
                  <a:pt x="28" y="162"/>
                  <a:pt x="27" y="163"/>
                  <a:pt x="27" y="163"/>
                </a:cubicBezTo>
                <a:cubicBezTo>
                  <a:pt x="26" y="165"/>
                  <a:pt x="25" y="166"/>
                  <a:pt x="23" y="167"/>
                </a:cubicBezTo>
                <a:cubicBezTo>
                  <a:pt x="22" y="167"/>
                  <a:pt x="22" y="167"/>
                  <a:pt x="22" y="167"/>
                </a:cubicBezTo>
                <a:cubicBezTo>
                  <a:pt x="22" y="167"/>
                  <a:pt x="21" y="167"/>
                  <a:pt x="20" y="167"/>
                </a:cubicBezTo>
                <a:cubicBezTo>
                  <a:pt x="20" y="167"/>
                  <a:pt x="20" y="167"/>
                  <a:pt x="20" y="167"/>
                </a:cubicBezTo>
                <a:cubicBezTo>
                  <a:pt x="20" y="167"/>
                  <a:pt x="20" y="167"/>
                  <a:pt x="20" y="167"/>
                </a:cubicBezTo>
                <a:cubicBezTo>
                  <a:pt x="19" y="168"/>
                  <a:pt x="18" y="170"/>
                  <a:pt x="17" y="171"/>
                </a:cubicBezTo>
                <a:cubicBezTo>
                  <a:pt x="16" y="172"/>
                  <a:pt x="16" y="172"/>
                  <a:pt x="16" y="172"/>
                </a:cubicBezTo>
                <a:cubicBezTo>
                  <a:pt x="16" y="173"/>
                  <a:pt x="15" y="174"/>
                  <a:pt x="14" y="174"/>
                </a:cubicBezTo>
                <a:cubicBezTo>
                  <a:pt x="14" y="174"/>
                  <a:pt x="14" y="174"/>
                  <a:pt x="14" y="174"/>
                </a:cubicBezTo>
                <a:cubicBezTo>
                  <a:pt x="14" y="175"/>
                  <a:pt x="14" y="175"/>
                  <a:pt x="14" y="175"/>
                </a:cubicBezTo>
                <a:cubicBezTo>
                  <a:pt x="13" y="176"/>
                  <a:pt x="13" y="177"/>
                  <a:pt x="13" y="178"/>
                </a:cubicBezTo>
                <a:cubicBezTo>
                  <a:pt x="12" y="179"/>
                  <a:pt x="12" y="179"/>
                  <a:pt x="12" y="179"/>
                </a:cubicBezTo>
                <a:cubicBezTo>
                  <a:pt x="12" y="179"/>
                  <a:pt x="12" y="180"/>
                  <a:pt x="12" y="180"/>
                </a:cubicBezTo>
                <a:cubicBezTo>
                  <a:pt x="12" y="181"/>
                  <a:pt x="11" y="182"/>
                  <a:pt x="11" y="182"/>
                </a:cubicBezTo>
                <a:cubicBezTo>
                  <a:pt x="12" y="182"/>
                  <a:pt x="12" y="183"/>
                  <a:pt x="12" y="184"/>
                </a:cubicBezTo>
                <a:cubicBezTo>
                  <a:pt x="12" y="184"/>
                  <a:pt x="13" y="186"/>
                  <a:pt x="13" y="186"/>
                </a:cubicBezTo>
                <a:cubicBezTo>
                  <a:pt x="13" y="186"/>
                  <a:pt x="15" y="187"/>
                  <a:pt x="16" y="187"/>
                </a:cubicBezTo>
                <a:cubicBezTo>
                  <a:pt x="16" y="187"/>
                  <a:pt x="17" y="187"/>
                  <a:pt x="17" y="187"/>
                </a:cubicBezTo>
                <a:cubicBezTo>
                  <a:pt x="17" y="187"/>
                  <a:pt x="17" y="187"/>
                  <a:pt x="18" y="187"/>
                </a:cubicBezTo>
                <a:cubicBezTo>
                  <a:pt x="20" y="188"/>
                  <a:pt x="21" y="189"/>
                  <a:pt x="22" y="191"/>
                </a:cubicBezTo>
                <a:cubicBezTo>
                  <a:pt x="22" y="192"/>
                  <a:pt x="23" y="192"/>
                  <a:pt x="23" y="193"/>
                </a:cubicBezTo>
                <a:cubicBezTo>
                  <a:pt x="23" y="193"/>
                  <a:pt x="23" y="193"/>
                  <a:pt x="24" y="193"/>
                </a:cubicBezTo>
                <a:cubicBezTo>
                  <a:pt x="25" y="194"/>
                  <a:pt x="26" y="195"/>
                  <a:pt x="26" y="196"/>
                </a:cubicBezTo>
                <a:cubicBezTo>
                  <a:pt x="26" y="196"/>
                  <a:pt x="26" y="196"/>
                  <a:pt x="26" y="196"/>
                </a:cubicBezTo>
                <a:cubicBezTo>
                  <a:pt x="26" y="197"/>
                  <a:pt x="26" y="197"/>
                  <a:pt x="26" y="197"/>
                </a:cubicBezTo>
                <a:cubicBezTo>
                  <a:pt x="17" y="209"/>
                  <a:pt x="17" y="209"/>
                  <a:pt x="17" y="209"/>
                </a:cubicBezTo>
                <a:cubicBezTo>
                  <a:pt x="17" y="209"/>
                  <a:pt x="17" y="209"/>
                  <a:pt x="17" y="209"/>
                </a:cubicBezTo>
                <a:cubicBezTo>
                  <a:pt x="17" y="209"/>
                  <a:pt x="17" y="210"/>
                  <a:pt x="17" y="210"/>
                </a:cubicBezTo>
                <a:cubicBezTo>
                  <a:pt x="17" y="210"/>
                  <a:pt x="18" y="210"/>
                  <a:pt x="18" y="210"/>
                </a:cubicBezTo>
                <a:cubicBezTo>
                  <a:pt x="18" y="211"/>
                  <a:pt x="18" y="211"/>
                  <a:pt x="19" y="211"/>
                </a:cubicBezTo>
                <a:cubicBezTo>
                  <a:pt x="19" y="211"/>
                  <a:pt x="19" y="212"/>
                  <a:pt x="20" y="212"/>
                </a:cubicBezTo>
                <a:cubicBezTo>
                  <a:pt x="21" y="214"/>
                  <a:pt x="21" y="215"/>
                  <a:pt x="22" y="217"/>
                </a:cubicBezTo>
                <a:cubicBezTo>
                  <a:pt x="28" y="231"/>
                  <a:pt x="28" y="231"/>
                  <a:pt x="28" y="231"/>
                </a:cubicBezTo>
                <a:cubicBezTo>
                  <a:pt x="27" y="232"/>
                  <a:pt x="27" y="232"/>
                  <a:pt x="27" y="232"/>
                </a:cubicBezTo>
                <a:cubicBezTo>
                  <a:pt x="26" y="232"/>
                  <a:pt x="26" y="232"/>
                  <a:pt x="26" y="232"/>
                </a:cubicBezTo>
                <a:cubicBezTo>
                  <a:pt x="25" y="232"/>
                  <a:pt x="25" y="232"/>
                  <a:pt x="25" y="232"/>
                </a:cubicBezTo>
                <a:cubicBezTo>
                  <a:pt x="25" y="232"/>
                  <a:pt x="25" y="232"/>
                  <a:pt x="24" y="232"/>
                </a:cubicBezTo>
                <a:cubicBezTo>
                  <a:pt x="24" y="232"/>
                  <a:pt x="24" y="232"/>
                  <a:pt x="24" y="232"/>
                </a:cubicBezTo>
                <a:cubicBezTo>
                  <a:pt x="24" y="233"/>
                  <a:pt x="24" y="235"/>
                  <a:pt x="23" y="236"/>
                </a:cubicBezTo>
                <a:cubicBezTo>
                  <a:pt x="23" y="236"/>
                  <a:pt x="23" y="236"/>
                  <a:pt x="23" y="236"/>
                </a:cubicBezTo>
                <a:cubicBezTo>
                  <a:pt x="23" y="236"/>
                  <a:pt x="23" y="237"/>
                  <a:pt x="23" y="237"/>
                </a:cubicBezTo>
                <a:cubicBezTo>
                  <a:pt x="23" y="237"/>
                  <a:pt x="23" y="237"/>
                  <a:pt x="24" y="237"/>
                </a:cubicBezTo>
                <a:cubicBezTo>
                  <a:pt x="24" y="238"/>
                  <a:pt x="25" y="238"/>
                  <a:pt x="25" y="239"/>
                </a:cubicBezTo>
                <a:cubicBezTo>
                  <a:pt x="25" y="240"/>
                  <a:pt x="24" y="241"/>
                  <a:pt x="23" y="241"/>
                </a:cubicBezTo>
                <a:cubicBezTo>
                  <a:pt x="23" y="242"/>
                  <a:pt x="23" y="242"/>
                  <a:pt x="23" y="242"/>
                </a:cubicBezTo>
                <a:cubicBezTo>
                  <a:pt x="23" y="243"/>
                  <a:pt x="24" y="243"/>
                  <a:pt x="24" y="244"/>
                </a:cubicBezTo>
                <a:cubicBezTo>
                  <a:pt x="26" y="244"/>
                  <a:pt x="27" y="244"/>
                  <a:pt x="28" y="246"/>
                </a:cubicBezTo>
                <a:cubicBezTo>
                  <a:pt x="29" y="246"/>
                  <a:pt x="29" y="247"/>
                  <a:pt x="29" y="248"/>
                </a:cubicBezTo>
                <a:cubicBezTo>
                  <a:pt x="28" y="248"/>
                  <a:pt x="28" y="249"/>
                  <a:pt x="27" y="249"/>
                </a:cubicBezTo>
                <a:cubicBezTo>
                  <a:pt x="27" y="250"/>
                  <a:pt x="28" y="251"/>
                  <a:pt x="28" y="251"/>
                </a:cubicBezTo>
                <a:cubicBezTo>
                  <a:pt x="28" y="251"/>
                  <a:pt x="28" y="251"/>
                  <a:pt x="28" y="251"/>
                </a:cubicBezTo>
                <a:cubicBezTo>
                  <a:pt x="29" y="251"/>
                  <a:pt x="29" y="251"/>
                  <a:pt x="29" y="251"/>
                </a:cubicBezTo>
                <a:cubicBezTo>
                  <a:pt x="30" y="252"/>
                  <a:pt x="32" y="252"/>
                  <a:pt x="32" y="254"/>
                </a:cubicBezTo>
                <a:cubicBezTo>
                  <a:pt x="34" y="256"/>
                  <a:pt x="33" y="258"/>
                  <a:pt x="31" y="259"/>
                </a:cubicBezTo>
                <a:cubicBezTo>
                  <a:pt x="31" y="260"/>
                  <a:pt x="31" y="260"/>
                  <a:pt x="31" y="260"/>
                </a:cubicBezTo>
                <a:cubicBezTo>
                  <a:pt x="30" y="261"/>
                  <a:pt x="29" y="261"/>
                  <a:pt x="28" y="262"/>
                </a:cubicBezTo>
                <a:cubicBezTo>
                  <a:pt x="28" y="263"/>
                  <a:pt x="29" y="263"/>
                  <a:pt x="30" y="264"/>
                </a:cubicBezTo>
                <a:cubicBezTo>
                  <a:pt x="34" y="266"/>
                  <a:pt x="38" y="269"/>
                  <a:pt x="41" y="272"/>
                </a:cubicBezTo>
                <a:cubicBezTo>
                  <a:pt x="41" y="273"/>
                  <a:pt x="41" y="273"/>
                  <a:pt x="41" y="273"/>
                </a:cubicBezTo>
                <a:cubicBezTo>
                  <a:pt x="41" y="273"/>
                  <a:pt x="41" y="273"/>
                  <a:pt x="41" y="273"/>
                </a:cubicBezTo>
                <a:cubicBezTo>
                  <a:pt x="42" y="274"/>
                  <a:pt x="43" y="275"/>
                  <a:pt x="42" y="277"/>
                </a:cubicBezTo>
                <a:cubicBezTo>
                  <a:pt x="41" y="278"/>
                  <a:pt x="41" y="279"/>
                  <a:pt x="41" y="279"/>
                </a:cubicBezTo>
                <a:cubicBezTo>
                  <a:pt x="40" y="280"/>
                  <a:pt x="40" y="281"/>
                  <a:pt x="39" y="282"/>
                </a:cubicBezTo>
                <a:cubicBezTo>
                  <a:pt x="39" y="283"/>
                  <a:pt x="37" y="284"/>
                  <a:pt x="36" y="285"/>
                </a:cubicBezTo>
                <a:cubicBezTo>
                  <a:pt x="36" y="286"/>
                  <a:pt x="35" y="286"/>
                  <a:pt x="35" y="286"/>
                </a:cubicBezTo>
                <a:cubicBezTo>
                  <a:pt x="33" y="288"/>
                  <a:pt x="31" y="290"/>
                  <a:pt x="29" y="292"/>
                </a:cubicBezTo>
                <a:cubicBezTo>
                  <a:pt x="28" y="293"/>
                  <a:pt x="27" y="294"/>
                  <a:pt x="26" y="295"/>
                </a:cubicBezTo>
                <a:cubicBezTo>
                  <a:pt x="23" y="298"/>
                  <a:pt x="20" y="301"/>
                  <a:pt x="17" y="303"/>
                </a:cubicBezTo>
                <a:cubicBezTo>
                  <a:pt x="13" y="306"/>
                  <a:pt x="9" y="309"/>
                  <a:pt x="5" y="312"/>
                </a:cubicBezTo>
                <a:cubicBezTo>
                  <a:pt x="6" y="312"/>
                  <a:pt x="7" y="312"/>
                  <a:pt x="8" y="312"/>
                </a:cubicBezTo>
                <a:cubicBezTo>
                  <a:pt x="9" y="310"/>
                  <a:pt x="11" y="311"/>
                  <a:pt x="12" y="310"/>
                </a:cubicBezTo>
                <a:cubicBezTo>
                  <a:pt x="13" y="312"/>
                  <a:pt x="9" y="310"/>
                  <a:pt x="11" y="313"/>
                </a:cubicBezTo>
                <a:cubicBezTo>
                  <a:pt x="13" y="315"/>
                  <a:pt x="10" y="313"/>
                  <a:pt x="9" y="312"/>
                </a:cubicBezTo>
                <a:cubicBezTo>
                  <a:pt x="11" y="316"/>
                  <a:pt x="16" y="317"/>
                  <a:pt x="19" y="318"/>
                </a:cubicBezTo>
                <a:cubicBezTo>
                  <a:pt x="20" y="319"/>
                  <a:pt x="21" y="319"/>
                  <a:pt x="23" y="319"/>
                </a:cubicBezTo>
                <a:cubicBezTo>
                  <a:pt x="23" y="320"/>
                  <a:pt x="25" y="320"/>
                  <a:pt x="26" y="321"/>
                </a:cubicBezTo>
                <a:cubicBezTo>
                  <a:pt x="27" y="323"/>
                  <a:pt x="27" y="323"/>
                  <a:pt x="27" y="323"/>
                </a:cubicBezTo>
                <a:cubicBezTo>
                  <a:pt x="25" y="323"/>
                  <a:pt x="25" y="323"/>
                  <a:pt x="25" y="323"/>
                </a:cubicBezTo>
                <a:cubicBezTo>
                  <a:pt x="24" y="322"/>
                  <a:pt x="23" y="322"/>
                  <a:pt x="22" y="322"/>
                </a:cubicBezTo>
                <a:cubicBezTo>
                  <a:pt x="21" y="321"/>
                  <a:pt x="18" y="321"/>
                  <a:pt x="17" y="321"/>
                </a:cubicBezTo>
                <a:cubicBezTo>
                  <a:pt x="16" y="322"/>
                  <a:pt x="14" y="323"/>
                  <a:pt x="13" y="324"/>
                </a:cubicBezTo>
                <a:cubicBezTo>
                  <a:pt x="13" y="325"/>
                  <a:pt x="11" y="324"/>
                  <a:pt x="11" y="323"/>
                </a:cubicBezTo>
                <a:cubicBezTo>
                  <a:pt x="9" y="323"/>
                  <a:pt x="7" y="325"/>
                  <a:pt x="6" y="324"/>
                </a:cubicBezTo>
                <a:cubicBezTo>
                  <a:pt x="5" y="325"/>
                  <a:pt x="5" y="326"/>
                  <a:pt x="5" y="328"/>
                </a:cubicBezTo>
                <a:cubicBezTo>
                  <a:pt x="8" y="329"/>
                  <a:pt x="8" y="329"/>
                  <a:pt x="8" y="329"/>
                </a:cubicBezTo>
                <a:cubicBezTo>
                  <a:pt x="7" y="330"/>
                  <a:pt x="7" y="330"/>
                  <a:pt x="7" y="330"/>
                </a:cubicBezTo>
                <a:cubicBezTo>
                  <a:pt x="7" y="331"/>
                  <a:pt x="7" y="331"/>
                  <a:pt x="7" y="331"/>
                </a:cubicBezTo>
                <a:cubicBezTo>
                  <a:pt x="9" y="332"/>
                  <a:pt x="9" y="332"/>
                  <a:pt x="9" y="332"/>
                </a:cubicBezTo>
                <a:cubicBezTo>
                  <a:pt x="6" y="333"/>
                  <a:pt x="6" y="333"/>
                  <a:pt x="6" y="333"/>
                </a:cubicBezTo>
                <a:cubicBezTo>
                  <a:pt x="6" y="333"/>
                  <a:pt x="5" y="333"/>
                  <a:pt x="4" y="335"/>
                </a:cubicBezTo>
                <a:cubicBezTo>
                  <a:pt x="3" y="337"/>
                  <a:pt x="1" y="339"/>
                  <a:pt x="1" y="339"/>
                </a:cubicBezTo>
                <a:cubicBezTo>
                  <a:pt x="1" y="339"/>
                  <a:pt x="0" y="340"/>
                  <a:pt x="1" y="341"/>
                </a:cubicBezTo>
                <a:cubicBezTo>
                  <a:pt x="1" y="342"/>
                  <a:pt x="1" y="344"/>
                  <a:pt x="1" y="345"/>
                </a:cubicBezTo>
                <a:cubicBezTo>
                  <a:pt x="1" y="345"/>
                  <a:pt x="1" y="346"/>
                  <a:pt x="1" y="346"/>
                </a:cubicBezTo>
                <a:cubicBezTo>
                  <a:pt x="1" y="346"/>
                  <a:pt x="0" y="348"/>
                  <a:pt x="2" y="349"/>
                </a:cubicBezTo>
                <a:cubicBezTo>
                  <a:pt x="3" y="350"/>
                  <a:pt x="4" y="352"/>
                  <a:pt x="4" y="353"/>
                </a:cubicBezTo>
                <a:cubicBezTo>
                  <a:pt x="4" y="353"/>
                  <a:pt x="4" y="354"/>
                  <a:pt x="4" y="354"/>
                </a:cubicBezTo>
                <a:cubicBezTo>
                  <a:pt x="3" y="355"/>
                  <a:pt x="3" y="355"/>
                  <a:pt x="3" y="355"/>
                </a:cubicBezTo>
                <a:cubicBezTo>
                  <a:pt x="3" y="355"/>
                  <a:pt x="3" y="355"/>
                  <a:pt x="3" y="355"/>
                </a:cubicBezTo>
                <a:cubicBezTo>
                  <a:pt x="3" y="355"/>
                  <a:pt x="2" y="355"/>
                  <a:pt x="2" y="355"/>
                </a:cubicBezTo>
                <a:cubicBezTo>
                  <a:pt x="2" y="355"/>
                  <a:pt x="2" y="355"/>
                  <a:pt x="2" y="355"/>
                </a:cubicBezTo>
                <a:cubicBezTo>
                  <a:pt x="2" y="355"/>
                  <a:pt x="2" y="355"/>
                  <a:pt x="2" y="355"/>
                </a:cubicBezTo>
                <a:cubicBezTo>
                  <a:pt x="2" y="355"/>
                  <a:pt x="2" y="355"/>
                  <a:pt x="2" y="355"/>
                </a:cubicBezTo>
                <a:cubicBezTo>
                  <a:pt x="2" y="355"/>
                  <a:pt x="1" y="355"/>
                  <a:pt x="1" y="355"/>
                </a:cubicBezTo>
                <a:cubicBezTo>
                  <a:pt x="1" y="355"/>
                  <a:pt x="1" y="355"/>
                  <a:pt x="1" y="355"/>
                </a:cubicBezTo>
                <a:cubicBezTo>
                  <a:pt x="1" y="355"/>
                  <a:pt x="1" y="355"/>
                  <a:pt x="1" y="355"/>
                </a:cubicBezTo>
                <a:cubicBezTo>
                  <a:pt x="1" y="355"/>
                  <a:pt x="1" y="355"/>
                  <a:pt x="1" y="355"/>
                </a:cubicBezTo>
                <a:cubicBezTo>
                  <a:pt x="1" y="355"/>
                  <a:pt x="1" y="355"/>
                  <a:pt x="1" y="355"/>
                </a:cubicBezTo>
                <a:cubicBezTo>
                  <a:pt x="1" y="356"/>
                  <a:pt x="0" y="356"/>
                  <a:pt x="0" y="356"/>
                </a:cubicBezTo>
                <a:cubicBezTo>
                  <a:pt x="0" y="356"/>
                  <a:pt x="0" y="356"/>
                  <a:pt x="0" y="356"/>
                </a:cubicBezTo>
                <a:cubicBezTo>
                  <a:pt x="0" y="356"/>
                  <a:pt x="0" y="356"/>
                  <a:pt x="0" y="356"/>
                </a:cubicBezTo>
                <a:cubicBezTo>
                  <a:pt x="0" y="356"/>
                  <a:pt x="0" y="356"/>
                  <a:pt x="0" y="356"/>
                </a:cubicBezTo>
                <a:cubicBezTo>
                  <a:pt x="0" y="356"/>
                  <a:pt x="0" y="357"/>
                  <a:pt x="0" y="357"/>
                </a:cubicBezTo>
                <a:cubicBezTo>
                  <a:pt x="0" y="357"/>
                  <a:pt x="0" y="357"/>
                  <a:pt x="0" y="357"/>
                </a:cubicBezTo>
                <a:cubicBezTo>
                  <a:pt x="0" y="357"/>
                  <a:pt x="0" y="357"/>
                  <a:pt x="0" y="357"/>
                </a:cubicBezTo>
                <a:cubicBezTo>
                  <a:pt x="0" y="357"/>
                  <a:pt x="0" y="357"/>
                  <a:pt x="0" y="358"/>
                </a:cubicBezTo>
                <a:cubicBezTo>
                  <a:pt x="0" y="358"/>
                  <a:pt x="0" y="358"/>
                  <a:pt x="0" y="358"/>
                </a:cubicBezTo>
                <a:cubicBezTo>
                  <a:pt x="0" y="358"/>
                  <a:pt x="0" y="358"/>
                  <a:pt x="0" y="358"/>
                </a:cubicBezTo>
                <a:cubicBezTo>
                  <a:pt x="0" y="358"/>
                  <a:pt x="0" y="358"/>
                  <a:pt x="0" y="358"/>
                </a:cubicBezTo>
                <a:cubicBezTo>
                  <a:pt x="0" y="358"/>
                  <a:pt x="0" y="358"/>
                  <a:pt x="0" y="358"/>
                </a:cubicBezTo>
                <a:cubicBezTo>
                  <a:pt x="1" y="358"/>
                  <a:pt x="1" y="358"/>
                  <a:pt x="1" y="358"/>
                </a:cubicBezTo>
                <a:cubicBezTo>
                  <a:pt x="2" y="359"/>
                  <a:pt x="3" y="360"/>
                  <a:pt x="3" y="360"/>
                </a:cubicBezTo>
                <a:cubicBezTo>
                  <a:pt x="4" y="360"/>
                  <a:pt x="4" y="360"/>
                  <a:pt x="4" y="361"/>
                </a:cubicBezTo>
                <a:cubicBezTo>
                  <a:pt x="5" y="362"/>
                  <a:pt x="4" y="363"/>
                  <a:pt x="3" y="364"/>
                </a:cubicBezTo>
                <a:cubicBezTo>
                  <a:pt x="3" y="364"/>
                  <a:pt x="3" y="364"/>
                  <a:pt x="3" y="364"/>
                </a:cubicBezTo>
                <a:cubicBezTo>
                  <a:pt x="4" y="365"/>
                  <a:pt x="4" y="366"/>
                  <a:pt x="3" y="366"/>
                </a:cubicBezTo>
                <a:cubicBezTo>
                  <a:pt x="3" y="366"/>
                  <a:pt x="3" y="366"/>
                  <a:pt x="3" y="366"/>
                </a:cubicBezTo>
                <a:cubicBezTo>
                  <a:pt x="3" y="367"/>
                  <a:pt x="3" y="367"/>
                  <a:pt x="3" y="367"/>
                </a:cubicBezTo>
                <a:cubicBezTo>
                  <a:pt x="5" y="367"/>
                  <a:pt x="6" y="368"/>
                  <a:pt x="6" y="370"/>
                </a:cubicBezTo>
                <a:cubicBezTo>
                  <a:pt x="7" y="372"/>
                  <a:pt x="7" y="372"/>
                  <a:pt x="7" y="373"/>
                </a:cubicBezTo>
                <a:cubicBezTo>
                  <a:pt x="7" y="373"/>
                  <a:pt x="7" y="373"/>
                  <a:pt x="7" y="373"/>
                </a:cubicBezTo>
                <a:cubicBezTo>
                  <a:pt x="7" y="373"/>
                  <a:pt x="8" y="373"/>
                  <a:pt x="8" y="373"/>
                </a:cubicBezTo>
                <a:cubicBezTo>
                  <a:pt x="8" y="374"/>
                  <a:pt x="8" y="374"/>
                  <a:pt x="8" y="374"/>
                </a:cubicBezTo>
                <a:cubicBezTo>
                  <a:pt x="8" y="374"/>
                  <a:pt x="8" y="374"/>
                  <a:pt x="8" y="374"/>
                </a:cubicBezTo>
                <a:cubicBezTo>
                  <a:pt x="8" y="374"/>
                  <a:pt x="8" y="374"/>
                  <a:pt x="8" y="374"/>
                </a:cubicBezTo>
                <a:cubicBezTo>
                  <a:pt x="8" y="375"/>
                  <a:pt x="8" y="375"/>
                  <a:pt x="8" y="375"/>
                </a:cubicBezTo>
                <a:cubicBezTo>
                  <a:pt x="8" y="375"/>
                  <a:pt x="8" y="375"/>
                  <a:pt x="8" y="375"/>
                </a:cubicBezTo>
                <a:cubicBezTo>
                  <a:pt x="8" y="377"/>
                  <a:pt x="8" y="377"/>
                  <a:pt x="8" y="377"/>
                </a:cubicBezTo>
                <a:cubicBezTo>
                  <a:pt x="8" y="377"/>
                  <a:pt x="8" y="377"/>
                  <a:pt x="8" y="377"/>
                </a:cubicBezTo>
                <a:cubicBezTo>
                  <a:pt x="8" y="377"/>
                  <a:pt x="8" y="377"/>
                  <a:pt x="8" y="377"/>
                </a:cubicBezTo>
                <a:cubicBezTo>
                  <a:pt x="9" y="378"/>
                  <a:pt x="9" y="378"/>
                  <a:pt x="9" y="378"/>
                </a:cubicBezTo>
                <a:cubicBezTo>
                  <a:pt x="9" y="378"/>
                  <a:pt x="9" y="378"/>
                  <a:pt x="9" y="378"/>
                </a:cubicBezTo>
                <a:cubicBezTo>
                  <a:pt x="10" y="378"/>
                  <a:pt x="10" y="378"/>
                  <a:pt x="10" y="378"/>
                </a:cubicBezTo>
                <a:cubicBezTo>
                  <a:pt x="10" y="378"/>
                  <a:pt x="10" y="378"/>
                  <a:pt x="10" y="378"/>
                </a:cubicBezTo>
                <a:cubicBezTo>
                  <a:pt x="12" y="379"/>
                  <a:pt x="12" y="379"/>
                  <a:pt x="12" y="379"/>
                </a:cubicBezTo>
                <a:cubicBezTo>
                  <a:pt x="12" y="379"/>
                  <a:pt x="12" y="379"/>
                  <a:pt x="12" y="379"/>
                </a:cubicBezTo>
                <a:cubicBezTo>
                  <a:pt x="13" y="380"/>
                  <a:pt x="13" y="380"/>
                  <a:pt x="13" y="380"/>
                </a:cubicBezTo>
                <a:cubicBezTo>
                  <a:pt x="13" y="380"/>
                  <a:pt x="13" y="380"/>
                  <a:pt x="13" y="380"/>
                </a:cubicBezTo>
                <a:cubicBezTo>
                  <a:pt x="13" y="380"/>
                  <a:pt x="14" y="380"/>
                  <a:pt x="14" y="380"/>
                </a:cubicBezTo>
                <a:cubicBezTo>
                  <a:pt x="14" y="380"/>
                  <a:pt x="14" y="380"/>
                  <a:pt x="14" y="380"/>
                </a:cubicBezTo>
                <a:cubicBezTo>
                  <a:pt x="14" y="380"/>
                  <a:pt x="15" y="380"/>
                  <a:pt x="15" y="380"/>
                </a:cubicBezTo>
                <a:cubicBezTo>
                  <a:pt x="15" y="379"/>
                  <a:pt x="15" y="379"/>
                  <a:pt x="15" y="379"/>
                </a:cubicBezTo>
                <a:cubicBezTo>
                  <a:pt x="16" y="379"/>
                  <a:pt x="16" y="379"/>
                  <a:pt x="17" y="379"/>
                </a:cubicBezTo>
                <a:cubicBezTo>
                  <a:pt x="17" y="379"/>
                  <a:pt x="17" y="379"/>
                  <a:pt x="18" y="379"/>
                </a:cubicBezTo>
                <a:cubicBezTo>
                  <a:pt x="18" y="379"/>
                  <a:pt x="18" y="379"/>
                  <a:pt x="18" y="379"/>
                </a:cubicBezTo>
                <a:cubicBezTo>
                  <a:pt x="18" y="379"/>
                  <a:pt x="19" y="380"/>
                  <a:pt x="19" y="380"/>
                </a:cubicBezTo>
                <a:cubicBezTo>
                  <a:pt x="19" y="381"/>
                  <a:pt x="19" y="381"/>
                  <a:pt x="19" y="381"/>
                </a:cubicBezTo>
                <a:cubicBezTo>
                  <a:pt x="20" y="380"/>
                  <a:pt x="20" y="380"/>
                  <a:pt x="20" y="380"/>
                </a:cubicBezTo>
                <a:cubicBezTo>
                  <a:pt x="20" y="381"/>
                  <a:pt x="20" y="382"/>
                  <a:pt x="20" y="382"/>
                </a:cubicBezTo>
                <a:cubicBezTo>
                  <a:pt x="20" y="382"/>
                  <a:pt x="20" y="383"/>
                  <a:pt x="20" y="383"/>
                </a:cubicBezTo>
                <a:cubicBezTo>
                  <a:pt x="20" y="383"/>
                  <a:pt x="20" y="383"/>
                  <a:pt x="20" y="383"/>
                </a:cubicBezTo>
                <a:cubicBezTo>
                  <a:pt x="21" y="383"/>
                  <a:pt x="21" y="383"/>
                  <a:pt x="21" y="383"/>
                </a:cubicBezTo>
                <a:cubicBezTo>
                  <a:pt x="22" y="382"/>
                  <a:pt x="22" y="382"/>
                  <a:pt x="23" y="382"/>
                </a:cubicBezTo>
                <a:cubicBezTo>
                  <a:pt x="23" y="382"/>
                  <a:pt x="23" y="382"/>
                  <a:pt x="23" y="382"/>
                </a:cubicBezTo>
                <a:cubicBezTo>
                  <a:pt x="23" y="381"/>
                  <a:pt x="23" y="381"/>
                  <a:pt x="23" y="381"/>
                </a:cubicBezTo>
                <a:cubicBezTo>
                  <a:pt x="24" y="381"/>
                  <a:pt x="24" y="381"/>
                  <a:pt x="24" y="381"/>
                </a:cubicBezTo>
                <a:cubicBezTo>
                  <a:pt x="24" y="381"/>
                  <a:pt x="24" y="381"/>
                  <a:pt x="24" y="381"/>
                </a:cubicBezTo>
                <a:cubicBezTo>
                  <a:pt x="24" y="381"/>
                  <a:pt x="25" y="381"/>
                  <a:pt x="25" y="381"/>
                </a:cubicBezTo>
                <a:cubicBezTo>
                  <a:pt x="25" y="381"/>
                  <a:pt x="25" y="381"/>
                  <a:pt x="26" y="381"/>
                </a:cubicBezTo>
                <a:cubicBezTo>
                  <a:pt x="26" y="381"/>
                  <a:pt x="26" y="381"/>
                  <a:pt x="26" y="381"/>
                </a:cubicBezTo>
                <a:cubicBezTo>
                  <a:pt x="27" y="381"/>
                  <a:pt x="27" y="381"/>
                  <a:pt x="28" y="381"/>
                </a:cubicBezTo>
                <a:cubicBezTo>
                  <a:pt x="28" y="381"/>
                  <a:pt x="28" y="381"/>
                  <a:pt x="28" y="381"/>
                </a:cubicBezTo>
                <a:cubicBezTo>
                  <a:pt x="29" y="382"/>
                  <a:pt x="30" y="382"/>
                  <a:pt x="31" y="382"/>
                </a:cubicBezTo>
                <a:cubicBezTo>
                  <a:pt x="34" y="384"/>
                  <a:pt x="35" y="385"/>
                  <a:pt x="36" y="385"/>
                </a:cubicBezTo>
                <a:cubicBezTo>
                  <a:pt x="36" y="385"/>
                  <a:pt x="36" y="385"/>
                  <a:pt x="36" y="385"/>
                </a:cubicBezTo>
                <a:cubicBezTo>
                  <a:pt x="36" y="389"/>
                  <a:pt x="36" y="389"/>
                  <a:pt x="36" y="389"/>
                </a:cubicBezTo>
                <a:cubicBezTo>
                  <a:pt x="35" y="390"/>
                  <a:pt x="35" y="390"/>
                  <a:pt x="35" y="390"/>
                </a:cubicBezTo>
                <a:cubicBezTo>
                  <a:pt x="35" y="391"/>
                  <a:pt x="35" y="391"/>
                  <a:pt x="35" y="391"/>
                </a:cubicBezTo>
                <a:cubicBezTo>
                  <a:pt x="36" y="391"/>
                  <a:pt x="38" y="393"/>
                  <a:pt x="37" y="395"/>
                </a:cubicBezTo>
                <a:cubicBezTo>
                  <a:pt x="37" y="395"/>
                  <a:pt x="37" y="395"/>
                  <a:pt x="37" y="395"/>
                </a:cubicBezTo>
                <a:cubicBezTo>
                  <a:pt x="36" y="395"/>
                  <a:pt x="36" y="396"/>
                  <a:pt x="35" y="397"/>
                </a:cubicBezTo>
                <a:cubicBezTo>
                  <a:pt x="37" y="397"/>
                  <a:pt x="39" y="399"/>
                  <a:pt x="39" y="400"/>
                </a:cubicBezTo>
                <a:cubicBezTo>
                  <a:pt x="39" y="401"/>
                  <a:pt x="40" y="404"/>
                  <a:pt x="42" y="405"/>
                </a:cubicBezTo>
                <a:cubicBezTo>
                  <a:pt x="44" y="406"/>
                  <a:pt x="45" y="407"/>
                  <a:pt x="45" y="409"/>
                </a:cubicBezTo>
                <a:cubicBezTo>
                  <a:pt x="45" y="409"/>
                  <a:pt x="45" y="410"/>
                  <a:pt x="45" y="411"/>
                </a:cubicBezTo>
                <a:cubicBezTo>
                  <a:pt x="46" y="411"/>
                  <a:pt x="48" y="411"/>
                  <a:pt x="51" y="411"/>
                </a:cubicBezTo>
                <a:cubicBezTo>
                  <a:pt x="54" y="412"/>
                  <a:pt x="54" y="412"/>
                  <a:pt x="54" y="412"/>
                </a:cubicBezTo>
                <a:cubicBezTo>
                  <a:pt x="51" y="414"/>
                  <a:pt x="51" y="414"/>
                  <a:pt x="51" y="414"/>
                </a:cubicBezTo>
                <a:cubicBezTo>
                  <a:pt x="51" y="414"/>
                  <a:pt x="51" y="414"/>
                  <a:pt x="51" y="414"/>
                </a:cubicBezTo>
                <a:cubicBezTo>
                  <a:pt x="52" y="414"/>
                  <a:pt x="52" y="414"/>
                  <a:pt x="52" y="414"/>
                </a:cubicBezTo>
                <a:cubicBezTo>
                  <a:pt x="53" y="415"/>
                  <a:pt x="53" y="415"/>
                  <a:pt x="53" y="415"/>
                </a:cubicBezTo>
                <a:cubicBezTo>
                  <a:pt x="54" y="416"/>
                  <a:pt x="55" y="416"/>
                  <a:pt x="55" y="417"/>
                </a:cubicBezTo>
                <a:cubicBezTo>
                  <a:pt x="55" y="418"/>
                  <a:pt x="55" y="418"/>
                  <a:pt x="54" y="419"/>
                </a:cubicBezTo>
                <a:cubicBezTo>
                  <a:pt x="54" y="419"/>
                  <a:pt x="54" y="419"/>
                  <a:pt x="54" y="419"/>
                </a:cubicBezTo>
                <a:cubicBezTo>
                  <a:pt x="53" y="419"/>
                  <a:pt x="53" y="420"/>
                  <a:pt x="52" y="420"/>
                </a:cubicBezTo>
                <a:cubicBezTo>
                  <a:pt x="52" y="420"/>
                  <a:pt x="52" y="420"/>
                  <a:pt x="51" y="420"/>
                </a:cubicBezTo>
                <a:cubicBezTo>
                  <a:pt x="51" y="421"/>
                  <a:pt x="51" y="421"/>
                  <a:pt x="51" y="421"/>
                </a:cubicBezTo>
                <a:cubicBezTo>
                  <a:pt x="51" y="421"/>
                  <a:pt x="51" y="421"/>
                  <a:pt x="51" y="421"/>
                </a:cubicBezTo>
                <a:cubicBezTo>
                  <a:pt x="51" y="421"/>
                  <a:pt x="51" y="421"/>
                  <a:pt x="50" y="421"/>
                </a:cubicBezTo>
                <a:cubicBezTo>
                  <a:pt x="49" y="422"/>
                  <a:pt x="49" y="422"/>
                  <a:pt x="49" y="422"/>
                </a:cubicBezTo>
                <a:cubicBezTo>
                  <a:pt x="49" y="422"/>
                  <a:pt x="49" y="422"/>
                  <a:pt x="49" y="422"/>
                </a:cubicBezTo>
                <a:cubicBezTo>
                  <a:pt x="49" y="422"/>
                  <a:pt x="49" y="422"/>
                  <a:pt x="49" y="422"/>
                </a:cubicBezTo>
                <a:cubicBezTo>
                  <a:pt x="48" y="422"/>
                  <a:pt x="48" y="422"/>
                  <a:pt x="48" y="422"/>
                </a:cubicBezTo>
                <a:cubicBezTo>
                  <a:pt x="48" y="422"/>
                  <a:pt x="48" y="422"/>
                  <a:pt x="48" y="422"/>
                </a:cubicBezTo>
                <a:cubicBezTo>
                  <a:pt x="47" y="422"/>
                  <a:pt x="46" y="423"/>
                  <a:pt x="45" y="422"/>
                </a:cubicBezTo>
                <a:cubicBezTo>
                  <a:pt x="44" y="422"/>
                  <a:pt x="43" y="422"/>
                  <a:pt x="43" y="422"/>
                </a:cubicBezTo>
                <a:cubicBezTo>
                  <a:pt x="43" y="422"/>
                  <a:pt x="43" y="422"/>
                  <a:pt x="43" y="422"/>
                </a:cubicBezTo>
                <a:cubicBezTo>
                  <a:pt x="42" y="422"/>
                  <a:pt x="42" y="422"/>
                  <a:pt x="41" y="422"/>
                </a:cubicBezTo>
                <a:cubicBezTo>
                  <a:pt x="41" y="422"/>
                  <a:pt x="41" y="422"/>
                  <a:pt x="41" y="422"/>
                </a:cubicBezTo>
                <a:cubicBezTo>
                  <a:pt x="41" y="422"/>
                  <a:pt x="40" y="422"/>
                  <a:pt x="40" y="422"/>
                </a:cubicBezTo>
                <a:cubicBezTo>
                  <a:pt x="40" y="422"/>
                  <a:pt x="40" y="422"/>
                  <a:pt x="40" y="422"/>
                </a:cubicBezTo>
                <a:cubicBezTo>
                  <a:pt x="40" y="422"/>
                  <a:pt x="40" y="422"/>
                  <a:pt x="40" y="422"/>
                </a:cubicBezTo>
                <a:cubicBezTo>
                  <a:pt x="40" y="423"/>
                  <a:pt x="41" y="423"/>
                  <a:pt x="41" y="424"/>
                </a:cubicBezTo>
                <a:cubicBezTo>
                  <a:pt x="42" y="424"/>
                  <a:pt x="43" y="426"/>
                  <a:pt x="43" y="430"/>
                </a:cubicBezTo>
                <a:cubicBezTo>
                  <a:pt x="43" y="431"/>
                  <a:pt x="43" y="432"/>
                  <a:pt x="43" y="432"/>
                </a:cubicBezTo>
                <a:cubicBezTo>
                  <a:pt x="44" y="432"/>
                  <a:pt x="44" y="432"/>
                  <a:pt x="44" y="432"/>
                </a:cubicBezTo>
                <a:cubicBezTo>
                  <a:pt x="44" y="432"/>
                  <a:pt x="44" y="433"/>
                  <a:pt x="44" y="433"/>
                </a:cubicBezTo>
                <a:cubicBezTo>
                  <a:pt x="44" y="433"/>
                  <a:pt x="44" y="433"/>
                  <a:pt x="44" y="433"/>
                </a:cubicBezTo>
                <a:cubicBezTo>
                  <a:pt x="44" y="433"/>
                  <a:pt x="44" y="433"/>
                  <a:pt x="44" y="433"/>
                </a:cubicBezTo>
                <a:cubicBezTo>
                  <a:pt x="45" y="434"/>
                  <a:pt x="45" y="434"/>
                  <a:pt x="45" y="434"/>
                </a:cubicBezTo>
                <a:cubicBezTo>
                  <a:pt x="46" y="434"/>
                  <a:pt x="47" y="434"/>
                  <a:pt x="48" y="434"/>
                </a:cubicBezTo>
                <a:cubicBezTo>
                  <a:pt x="48" y="434"/>
                  <a:pt x="48" y="434"/>
                  <a:pt x="48" y="434"/>
                </a:cubicBezTo>
                <a:cubicBezTo>
                  <a:pt x="49" y="432"/>
                  <a:pt x="50" y="430"/>
                  <a:pt x="53" y="431"/>
                </a:cubicBezTo>
                <a:cubicBezTo>
                  <a:pt x="55" y="431"/>
                  <a:pt x="57" y="431"/>
                  <a:pt x="59" y="430"/>
                </a:cubicBezTo>
                <a:cubicBezTo>
                  <a:pt x="61" y="430"/>
                  <a:pt x="64" y="429"/>
                  <a:pt x="65" y="431"/>
                </a:cubicBezTo>
                <a:cubicBezTo>
                  <a:pt x="65" y="431"/>
                  <a:pt x="65" y="431"/>
                  <a:pt x="65" y="431"/>
                </a:cubicBezTo>
                <a:cubicBezTo>
                  <a:pt x="68" y="433"/>
                  <a:pt x="69" y="434"/>
                  <a:pt x="68" y="435"/>
                </a:cubicBezTo>
                <a:cubicBezTo>
                  <a:pt x="68" y="435"/>
                  <a:pt x="68" y="435"/>
                  <a:pt x="68" y="436"/>
                </a:cubicBezTo>
                <a:cubicBezTo>
                  <a:pt x="68" y="436"/>
                  <a:pt x="69" y="436"/>
                  <a:pt x="69" y="436"/>
                </a:cubicBezTo>
                <a:cubicBezTo>
                  <a:pt x="70" y="437"/>
                  <a:pt x="71" y="437"/>
                  <a:pt x="71" y="438"/>
                </a:cubicBezTo>
                <a:cubicBezTo>
                  <a:pt x="72" y="439"/>
                  <a:pt x="72" y="439"/>
                  <a:pt x="72" y="439"/>
                </a:cubicBezTo>
                <a:cubicBezTo>
                  <a:pt x="72" y="440"/>
                  <a:pt x="72" y="440"/>
                  <a:pt x="72" y="440"/>
                </a:cubicBezTo>
                <a:cubicBezTo>
                  <a:pt x="71" y="441"/>
                  <a:pt x="71" y="441"/>
                  <a:pt x="71" y="441"/>
                </a:cubicBezTo>
                <a:cubicBezTo>
                  <a:pt x="70" y="441"/>
                  <a:pt x="69" y="441"/>
                  <a:pt x="69" y="441"/>
                </a:cubicBezTo>
                <a:cubicBezTo>
                  <a:pt x="70" y="442"/>
                  <a:pt x="70" y="444"/>
                  <a:pt x="70" y="445"/>
                </a:cubicBezTo>
                <a:cubicBezTo>
                  <a:pt x="70" y="445"/>
                  <a:pt x="70" y="445"/>
                  <a:pt x="70" y="445"/>
                </a:cubicBezTo>
                <a:cubicBezTo>
                  <a:pt x="71" y="445"/>
                  <a:pt x="72" y="445"/>
                  <a:pt x="73" y="446"/>
                </a:cubicBezTo>
                <a:cubicBezTo>
                  <a:pt x="73" y="446"/>
                  <a:pt x="74" y="446"/>
                  <a:pt x="75" y="446"/>
                </a:cubicBezTo>
                <a:cubicBezTo>
                  <a:pt x="76" y="446"/>
                  <a:pt x="77" y="446"/>
                  <a:pt x="79" y="447"/>
                </a:cubicBezTo>
                <a:cubicBezTo>
                  <a:pt x="80" y="448"/>
                  <a:pt x="81" y="448"/>
                  <a:pt x="81" y="448"/>
                </a:cubicBezTo>
                <a:cubicBezTo>
                  <a:pt x="82" y="449"/>
                  <a:pt x="82" y="449"/>
                  <a:pt x="82" y="449"/>
                </a:cubicBezTo>
                <a:cubicBezTo>
                  <a:pt x="81" y="450"/>
                  <a:pt x="81" y="450"/>
                  <a:pt x="81" y="450"/>
                </a:cubicBezTo>
                <a:cubicBezTo>
                  <a:pt x="81" y="450"/>
                  <a:pt x="81" y="451"/>
                  <a:pt x="81" y="451"/>
                </a:cubicBezTo>
                <a:cubicBezTo>
                  <a:pt x="82" y="453"/>
                  <a:pt x="82" y="455"/>
                  <a:pt x="82" y="456"/>
                </a:cubicBezTo>
                <a:cubicBezTo>
                  <a:pt x="82" y="456"/>
                  <a:pt x="83" y="457"/>
                  <a:pt x="83" y="457"/>
                </a:cubicBezTo>
                <a:cubicBezTo>
                  <a:pt x="83" y="457"/>
                  <a:pt x="84" y="457"/>
                  <a:pt x="85" y="457"/>
                </a:cubicBezTo>
                <a:cubicBezTo>
                  <a:pt x="87" y="456"/>
                  <a:pt x="89" y="456"/>
                  <a:pt x="90" y="458"/>
                </a:cubicBezTo>
                <a:cubicBezTo>
                  <a:pt x="91" y="458"/>
                  <a:pt x="94" y="459"/>
                  <a:pt x="96" y="458"/>
                </a:cubicBezTo>
                <a:cubicBezTo>
                  <a:pt x="98" y="457"/>
                  <a:pt x="101" y="456"/>
                  <a:pt x="101" y="456"/>
                </a:cubicBezTo>
                <a:cubicBezTo>
                  <a:pt x="101" y="456"/>
                  <a:pt x="101" y="456"/>
                  <a:pt x="101" y="456"/>
                </a:cubicBezTo>
                <a:cubicBezTo>
                  <a:pt x="102" y="456"/>
                  <a:pt x="103" y="456"/>
                  <a:pt x="104" y="458"/>
                </a:cubicBezTo>
                <a:cubicBezTo>
                  <a:pt x="105" y="459"/>
                  <a:pt x="107" y="462"/>
                  <a:pt x="107" y="463"/>
                </a:cubicBezTo>
                <a:cubicBezTo>
                  <a:pt x="108" y="462"/>
                  <a:pt x="109" y="461"/>
                  <a:pt x="110" y="461"/>
                </a:cubicBezTo>
                <a:cubicBezTo>
                  <a:pt x="110" y="461"/>
                  <a:pt x="111" y="461"/>
                  <a:pt x="112" y="461"/>
                </a:cubicBezTo>
                <a:cubicBezTo>
                  <a:pt x="112" y="462"/>
                  <a:pt x="112" y="462"/>
                  <a:pt x="113" y="462"/>
                </a:cubicBezTo>
                <a:cubicBezTo>
                  <a:pt x="115" y="462"/>
                  <a:pt x="116" y="463"/>
                  <a:pt x="116" y="464"/>
                </a:cubicBezTo>
                <a:cubicBezTo>
                  <a:pt x="117" y="464"/>
                  <a:pt x="117" y="464"/>
                  <a:pt x="117" y="465"/>
                </a:cubicBezTo>
                <a:cubicBezTo>
                  <a:pt x="117" y="465"/>
                  <a:pt x="117" y="464"/>
                  <a:pt x="117" y="464"/>
                </a:cubicBezTo>
                <a:cubicBezTo>
                  <a:pt x="118" y="464"/>
                  <a:pt x="120" y="463"/>
                  <a:pt x="123" y="465"/>
                </a:cubicBezTo>
                <a:cubicBezTo>
                  <a:pt x="123" y="466"/>
                  <a:pt x="123" y="466"/>
                  <a:pt x="123" y="466"/>
                </a:cubicBezTo>
                <a:cubicBezTo>
                  <a:pt x="125" y="468"/>
                  <a:pt x="126" y="469"/>
                  <a:pt x="128" y="467"/>
                </a:cubicBezTo>
                <a:cubicBezTo>
                  <a:pt x="130" y="467"/>
                  <a:pt x="130" y="467"/>
                  <a:pt x="130" y="467"/>
                </a:cubicBezTo>
                <a:cubicBezTo>
                  <a:pt x="130" y="468"/>
                  <a:pt x="130" y="468"/>
                  <a:pt x="130" y="468"/>
                </a:cubicBezTo>
                <a:cubicBezTo>
                  <a:pt x="131" y="471"/>
                  <a:pt x="130" y="472"/>
                  <a:pt x="130" y="473"/>
                </a:cubicBezTo>
                <a:cubicBezTo>
                  <a:pt x="130" y="474"/>
                  <a:pt x="130" y="474"/>
                  <a:pt x="130" y="474"/>
                </a:cubicBezTo>
                <a:cubicBezTo>
                  <a:pt x="129" y="475"/>
                  <a:pt x="128" y="476"/>
                  <a:pt x="126" y="477"/>
                </a:cubicBezTo>
                <a:cubicBezTo>
                  <a:pt x="127" y="477"/>
                  <a:pt x="128" y="477"/>
                  <a:pt x="128" y="477"/>
                </a:cubicBezTo>
                <a:cubicBezTo>
                  <a:pt x="136" y="479"/>
                  <a:pt x="136" y="479"/>
                  <a:pt x="136" y="479"/>
                </a:cubicBezTo>
                <a:cubicBezTo>
                  <a:pt x="128" y="480"/>
                  <a:pt x="128" y="480"/>
                  <a:pt x="128" y="480"/>
                </a:cubicBezTo>
                <a:cubicBezTo>
                  <a:pt x="127" y="480"/>
                  <a:pt x="126" y="481"/>
                  <a:pt x="125" y="481"/>
                </a:cubicBezTo>
                <a:cubicBezTo>
                  <a:pt x="127" y="481"/>
                  <a:pt x="127" y="483"/>
                  <a:pt x="127" y="483"/>
                </a:cubicBezTo>
                <a:cubicBezTo>
                  <a:pt x="128" y="484"/>
                  <a:pt x="128" y="485"/>
                  <a:pt x="128" y="486"/>
                </a:cubicBezTo>
                <a:cubicBezTo>
                  <a:pt x="128" y="487"/>
                  <a:pt x="128" y="487"/>
                  <a:pt x="128" y="487"/>
                </a:cubicBezTo>
                <a:cubicBezTo>
                  <a:pt x="128" y="488"/>
                  <a:pt x="127" y="490"/>
                  <a:pt x="126" y="491"/>
                </a:cubicBezTo>
                <a:cubicBezTo>
                  <a:pt x="126" y="491"/>
                  <a:pt x="126" y="492"/>
                  <a:pt x="126" y="492"/>
                </a:cubicBezTo>
                <a:cubicBezTo>
                  <a:pt x="125" y="493"/>
                  <a:pt x="124" y="493"/>
                  <a:pt x="122" y="493"/>
                </a:cubicBezTo>
                <a:cubicBezTo>
                  <a:pt x="121" y="493"/>
                  <a:pt x="118" y="492"/>
                  <a:pt x="118" y="493"/>
                </a:cubicBezTo>
                <a:cubicBezTo>
                  <a:pt x="117" y="494"/>
                  <a:pt x="115" y="495"/>
                  <a:pt x="113" y="495"/>
                </a:cubicBezTo>
                <a:cubicBezTo>
                  <a:pt x="112" y="495"/>
                  <a:pt x="111" y="496"/>
                  <a:pt x="111" y="498"/>
                </a:cubicBezTo>
                <a:cubicBezTo>
                  <a:pt x="111" y="498"/>
                  <a:pt x="111" y="498"/>
                  <a:pt x="111" y="499"/>
                </a:cubicBezTo>
                <a:cubicBezTo>
                  <a:pt x="111" y="500"/>
                  <a:pt x="111" y="500"/>
                  <a:pt x="111" y="500"/>
                </a:cubicBezTo>
                <a:cubicBezTo>
                  <a:pt x="111" y="500"/>
                  <a:pt x="111" y="500"/>
                  <a:pt x="111" y="501"/>
                </a:cubicBezTo>
                <a:cubicBezTo>
                  <a:pt x="111" y="501"/>
                  <a:pt x="112" y="500"/>
                  <a:pt x="113" y="500"/>
                </a:cubicBezTo>
                <a:cubicBezTo>
                  <a:pt x="112" y="500"/>
                  <a:pt x="112" y="501"/>
                  <a:pt x="112" y="501"/>
                </a:cubicBezTo>
                <a:cubicBezTo>
                  <a:pt x="113" y="501"/>
                  <a:pt x="115" y="501"/>
                  <a:pt x="116" y="500"/>
                </a:cubicBezTo>
                <a:cubicBezTo>
                  <a:pt x="116" y="500"/>
                  <a:pt x="116" y="499"/>
                  <a:pt x="117" y="499"/>
                </a:cubicBezTo>
                <a:cubicBezTo>
                  <a:pt x="118" y="499"/>
                  <a:pt x="119" y="500"/>
                  <a:pt x="120" y="500"/>
                </a:cubicBezTo>
                <a:cubicBezTo>
                  <a:pt x="120" y="501"/>
                  <a:pt x="120" y="502"/>
                  <a:pt x="121" y="501"/>
                </a:cubicBezTo>
                <a:cubicBezTo>
                  <a:pt x="119" y="502"/>
                  <a:pt x="116" y="504"/>
                  <a:pt x="113" y="504"/>
                </a:cubicBezTo>
                <a:cubicBezTo>
                  <a:pt x="112" y="505"/>
                  <a:pt x="112" y="504"/>
                  <a:pt x="111" y="505"/>
                </a:cubicBezTo>
                <a:cubicBezTo>
                  <a:pt x="111" y="505"/>
                  <a:pt x="113" y="506"/>
                  <a:pt x="113" y="507"/>
                </a:cubicBezTo>
                <a:cubicBezTo>
                  <a:pt x="113" y="507"/>
                  <a:pt x="108" y="507"/>
                  <a:pt x="107" y="507"/>
                </a:cubicBezTo>
                <a:cubicBezTo>
                  <a:pt x="106" y="508"/>
                  <a:pt x="105" y="507"/>
                  <a:pt x="105" y="507"/>
                </a:cubicBezTo>
                <a:cubicBezTo>
                  <a:pt x="104" y="507"/>
                  <a:pt x="105" y="508"/>
                  <a:pt x="105" y="509"/>
                </a:cubicBezTo>
                <a:cubicBezTo>
                  <a:pt x="105" y="509"/>
                  <a:pt x="106" y="510"/>
                  <a:pt x="107" y="510"/>
                </a:cubicBezTo>
                <a:cubicBezTo>
                  <a:pt x="108" y="511"/>
                  <a:pt x="113" y="513"/>
                  <a:pt x="113" y="515"/>
                </a:cubicBezTo>
                <a:cubicBezTo>
                  <a:pt x="112" y="515"/>
                  <a:pt x="111" y="515"/>
                  <a:pt x="110" y="514"/>
                </a:cubicBezTo>
                <a:cubicBezTo>
                  <a:pt x="110" y="514"/>
                  <a:pt x="110" y="514"/>
                  <a:pt x="110" y="514"/>
                </a:cubicBezTo>
                <a:cubicBezTo>
                  <a:pt x="108" y="514"/>
                  <a:pt x="108" y="516"/>
                  <a:pt x="108" y="518"/>
                </a:cubicBezTo>
                <a:cubicBezTo>
                  <a:pt x="108" y="517"/>
                  <a:pt x="108" y="515"/>
                  <a:pt x="107" y="515"/>
                </a:cubicBezTo>
                <a:cubicBezTo>
                  <a:pt x="108" y="515"/>
                  <a:pt x="108" y="515"/>
                  <a:pt x="108" y="515"/>
                </a:cubicBezTo>
                <a:cubicBezTo>
                  <a:pt x="107" y="515"/>
                  <a:pt x="107" y="515"/>
                  <a:pt x="106" y="515"/>
                </a:cubicBezTo>
                <a:cubicBezTo>
                  <a:pt x="106" y="516"/>
                  <a:pt x="103" y="521"/>
                  <a:pt x="103" y="520"/>
                </a:cubicBezTo>
                <a:cubicBezTo>
                  <a:pt x="103" y="520"/>
                  <a:pt x="106" y="524"/>
                  <a:pt x="103" y="524"/>
                </a:cubicBezTo>
                <a:cubicBezTo>
                  <a:pt x="101" y="524"/>
                  <a:pt x="99" y="524"/>
                  <a:pt x="97" y="523"/>
                </a:cubicBezTo>
                <a:cubicBezTo>
                  <a:pt x="95" y="523"/>
                  <a:pt x="95" y="523"/>
                  <a:pt x="93" y="524"/>
                </a:cubicBezTo>
                <a:cubicBezTo>
                  <a:pt x="95" y="523"/>
                  <a:pt x="95" y="524"/>
                  <a:pt x="96" y="524"/>
                </a:cubicBezTo>
                <a:cubicBezTo>
                  <a:pt x="95" y="526"/>
                  <a:pt x="94" y="525"/>
                  <a:pt x="93" y="526"/>
                </a:cubicBezTo>
                <a:cubicBezTo>
                  <a:pt x="94" y="526"/>
                  <a:pt x="96" y="527"/>
                  <a:pt x="97" y="528"/>
                </a:cubicBezTo>
                <a:cubicBezTo>
                  <a:pt x="99" y="528"/>
                  <a:pt x="100" y="531"/>
                  <a:pt x="102" y="532"/>
                </a:cubicBezTo>
                <a:cubicBezTo>
                  <a:pt x="102" y="532"/>
                  <a:pt x="104" y="532"/>
                  <a:pt x="105" y="532"/>
                </a:cubicBezTo>
                <a:cubicBezTo>
                  <a:pt x="106" y="532"/>
                  <a:pt x="106" y="532"/>
                  <a:pt x="107" y="533"/>
                </a:cubicBezTo>
                <a:cubicBezTo>
                  <a:pt x="107" y="534"/>
                  <a:pt x="108" y="535"/>
                  <a:pt x="109" y="536"/>
                </a:cubicBezTo>
                <a:cubicBezTo>
                  <a:pt x="110" y="536"/>
                  <a:pt x="112" y="536"/>
                  <a:pt x="113" y="537"/>
                </a:cubicBezTo>
                <a:cubicBezTo>
                  <a:pt x="115" y="537"/>
                  <a:pt x="117" y="539"/>
                  <a:pt x="118" y="540"/>
                </a:cubicBezTo>
                <a:cubicBezTo>
                  <a:pt x="121" y="542"/>
                  <a:pt x="124" y="545"/>
                  <a:pt x="126" y="548"/>
                </a:cubicBezTo>
                <a:cubicBezTo>
                  <a:pt x="127" y="546"/>
                  <a:pt x="128" y="545"/>
                  <a:pt x="128" y="545"/>
                </a:cubicBezTo>
                <a:cubicBezTo>
                  <a:pt x="129" y="545"/>
                  <a:pt x="129" y="545"/>
                  <a:pt x="130" y="545"/>
                </a:cubicBezTo>
                <a:cubicBezTo>
                  <a:pt x="130" y="545"/>
                  <a:pt x="130" y="545"/>
                  <a:pt x="130" y="545"/>
                </a:cubicBezTo>
                <a:cubicBezTo>
                  <a:pt x="131" y="545"/>
                  <a:pt x="132" y="546"/>
                  <a:pt x="133" y="545"/>
                </a:cubicBezTo>
                <a:cubicBezTo>
                  <a:pt x="134" y="545"/>
                  <a:pt x="137" y="546"/>
                  <a:pt x="138" y="547"/>
                </a:cubicBezTo>
                <a:cubicBezTo>
                  <a:pt x="138" y="547"/>
                  <a:pt x="138" y="547"/>
                  <a:pt x="139" y="547"/>
                </a:cubicBezTo>
                <a:cubicBezTo>
                  <a:pt x="142" y="548"/>
                  <a:pt x="148" y="550"/>
                  <a:pt x="150" y="549"/>
                </a:cubicBezTo>
                <a:cubicBezTo>
                  <a:pt x="154" y="548"/>
                  <a:pt x="157" y="550"/>
                  <a:pt x="159" y="551"/>
                </a:cubicBezTo>
                <a:cubicBezTo>
                  <a:pt x="159" y="552"/>
                  <a:pt x="164" y="554"/>
                  <a:pt x="165" y="554"/>
                </a:cubicBezTo>
                <a:cubicBezTo>
                  <a:pt x="166" y="554"/>
                  <a:pt x="166" y="555"/>
                  <a:pt x="167" y="555"/>
                </a:cubicBezTo>
                <a:cubicBezTo>
                  <a:pt x="167" y="556"/>
                  <a:pt x="167" y="556"/>
                  <a:pt x="167" y="557"/>
                </a:cubicBezTo>
                <a:cubicBezTo>
                  <a:pt x="167" y="557"/>
                  <a:pt x="167" y="557"/>
                  <a:pt x="168" y="557"/>
                </a:cubicBezTo>
                <a:cubicBezTo>
                  <a:pt x="168" y="557"/>
                  <a:pt x="169" y="557"/>
                  <a:pt x="170" y="556"/>
                </a:cubicBezTo>
                <a:cubicBezTo>
                  <a:pt x="172" y="555"/>
                  <a:pt x="174" y="555"/>
                  <a:pt x="175" y="555"/>
                </a:cubicBezTo>
                <a:cubicBezTo>
                  <a:pt x="175" y="555"/>
                  <a:pt x="176" y="555"/>
                  <a:pt x="176" y="556"/>
                </a:cubicBezTo>
                <a:cubicBezTo>
                  <a:pt x="177" y="556"/>
                  <a:pt x="177" y="555"/>
                  <a:pt x="177" y="555"/>
                </a:cubicBezTo>
                <a:cubicBezTo>
                  <a:pt x="178" y="555"/>
                  <a:pt x="179" y="555"/>
                  <a:pt x="180" y="556"/>
                </a:cubicBezTo>
                <a:cubicBezTo>
                  <a:pt x="181" y="557"/>
                  <a:pt x="185" y="558"/>
                  <a:pt x="186" y="558"/>
                </a:cubicBezTo>
                <a:cubicBezTo>
                  <a:pt x="189" y="558"/>
                  <a:pt x="189" y="558"/>
                  <a:pt x="189" y="558"/>
                </a:cubicBezTo>
                <a:cubicBezTo>
                  <a:pt x="187" y="560"/>
                  <a:pt x="187" y="560"/>
                  <a:pt x="187" y="560"/>
                </a:cubicBezTo>
                <a:cubicBezTo>
                  <a:pt x="187" y="561"/>
                  <a:pt x="186" y="562"/>
                  <a:pt x="187" y="562"/>
                </a:cubicBezTo>
                <a:cubicBezTo>
                  <a:pt x="188" y="563"/>
                  <a:pt x="191" y="564"/>
                  <a:pt x="191" y="564"/>
                </a:cubicBezTo>
                <a:cubicBezTo>
                  <a:pt x="191" y="564"/>
                  <a:pt x="191" y="564"/>
                  <a:pt x="191" y="564"/>
                </a:cubicBezTo>
                <a:cubicBezTo>
                  <a:pt x="192" y="564"/>
                  <a:pt x="192" y="564"/>
                  <a:pt x="192" y="564"/>
                </a:cubicBezTo>
                <a:cubicBezTo>
                  <a:pt x="192" y="565"/>
                  <a:pt x="193" y="565"/>
                  <a:pt x="193" y="565"/>
                </a:cubicBezTo>
                <a:cubicBezTo>
                  <a:pt x="193" y="565"/>
                  <a:pt x="193" y="565"/>
                  <a:pt x="193" y="565"/>
                </a:cubicBezTo>
                <a:cubicBezTo>
                  <a:pt x="193" y="565"/>
                  <a:pt x="193" y="565"/>
                  <a:pt x="193" y="565"/>
                </a:cubicBezTo>
                <a:cubicBezTo>
                  <a:pt x="194" y="565"/>
                  <a:pt x="195" y="565"/>
                  <a:pt x="195" y="566"/>
                </a:cubicBezTo>
                <a:cubicBezTo>
                  <a:pt x="195" y="566"/>
                  <a:pt x="195" y="566"/>
                  <a:pt x="196" y="566"/>
                </a:cubicBezTo>
                <a:cubicBezTo>
                  <a:pt x="197" y="566"/>
                  <a:pt x="199" y="567"/>
                  <a:pt x="199" y="569"/>
                </a:cubicBezTo>
                <a:cubicBezTo>
                  <a:pt x="200" y="569"/>
                  <a:pt x="200" y="570"/>
                  <a:pt x="200" y="570"/>
                </a:cubicBezTo>
                <a:cubicBezTo>
                  <a:pt x="202" y="570"/>
                  <a:pt x="203" y="572"/>
                  <a:pt x="203" y="572"/>
                </a:cubicBezTo>
                <a:cubicBezTo>
                  <a:pt x="203" y="572"/>
                  <a:pt x="203" y="573"/>
                  <a:pt x="205" y="574"/>
                </a:cubicBezTo>
                <a:cubicBezTo>
                  <a:pt x="207" y="574"/>
                  <a:pt x="207" y="574"/>
                  <a:pt x="208" y="573"/>
                </a:cubicBezTo>
                <a:cubicBezTo>
                  <a:pt x="209" y="571"/>
                  <a:pt x="209" y="571"/>
                  <a:pt x="210" y="570"/>
                </a:cubicBezTo>
                <a:cubicBezTo>
                  <a:pt x="210" y="570"/>
                  <a:pt x="210" y="570"/>
                  <a:pt x="210" y="570"/>
                </a:cubicBezTo>
                <a:cubicBezTo>
                  <a:pt x="211" y="570"/>
                  <a:pt x="211" y="570"/>
                  <a:pt x="211" y="569"/>
                </a:cubicBezTo>
                <a:cubicBezTo>
                  <a:pt x="212" y="569"/>
                  <a:pt x="214" y="568"/>
                  <a:pt x="214" y="567"/>
                </a:cubicBezTo>
                <a:cubicBezTo>
                  <a:pt x="214" y="566"/>
                  <a:pt x="214" y="566"/>
                  <a:pt x="214" y="566"/>
                </a:cubicBezTo>
                <a:cubicBezTo>
                  <a:pt x="214" y="566"/>
                  <a:pt x="214" y="566"/>
                  <a:pt x="214" y="566"/>
                </a:cubicBezTo>
                <a:cubicBezTo>
                  <a:pt x="212" y="565"/>
                  <a:pt x="211" y="562"/>
                  <a:pt x="209" y="560"/>
                </a:cubicBezTo>
                <a:cubicBezTo>
                  <a:pt x="208" y="559"/>
                  <a:pt x="207" y="558"/>
                  <a:pt x="206" y="556"/>
                </a:cubicBezTo>
                <a:cubicBezTo>
                  <a:pt x="206" y="556"/>
                  <a:pt x="206" y="555"/>
                  <a:pt x="206" y="555"/>
                </a:cubicBezTo>
                <a:cubicBezTo>
                  <a:pt x="205" y="554"/>
                  <a:pt x="204" y="554"/>
                  <a:pt x="204" y="553"/>
                </a:cubicBezTo>
                <a:cubicBezTo>
                  <a:pt x="205" y="550"/>
                  <a:pt x="205" y="547"/>
                  <a:pt x="206" y="544"/>
                </a:cubicBezTo>
                <a:cubicBezTo>
                  <a:pt x="206" y="544"/>
                  <a:pt x="206" y="543"/>
                  <a:pt x="206" y="542"/>
                </a:cubicBezTo>
                <a:cubicBezTo>
                  <a:pt x="204" y="542"/>
                  <a:pt x="204" y="545"/>
                  <a:pt x="204" y="546"/>
                </a:cubicBezTo>
                <a:cubicBezTo>
                  <a:pt x="203" y="546"/>
                  <a:pt x="203" y="546"/>
                  <a:pt x="203" y="546"/>
                </a:cubicBezTo>
                <a:cubicBezTo>
                  <a:pt x="203" y="545"/>
                  <a:pt x="204" y="544"/>
                  <a:pt x="204" y="544"/>
                </a:cubicBezTo>
                <a:cubicBezTo>
                  <a:pt x="204" y="543"/>
                  <a:pt x="204" y="542"/>
                  <a:pt x="203" y="541"/>
                </a:cubicBezTo>
                <a:cubicBezTo>
                  <a:pt x="202" y="539"/>
                  <a:pt x="201" y="538"/>
                  <a:pt x="199" y="537"/>
                </a:cubicBezTo>
                <a:cubicBezTo>
                  <a:pt x="198" y="536"/>
                  <a:pt x="197" y="536"/>
                  <a:pt x="196" y="536"/>
                </a:cubicBezTo>
                <a:cubicBezTo>
                  <a:pt x="195" y="534"/>
                  <a:pt x="197" y="532"/>
                  <a:pt x="198" y="531"/>
                </a:cubicBezTo>
                <a:cubicBezTo>
                  <a:pt x="200" y="529"/>
                  <a:pt x="201" y="528"/>
                  <a:pt x="202" y="525"/>
                </a:cubicBezTo>
                <a:cubicBezTo>
                  <a:pt x="203" y="524"/>
                  <a:pt x="203" y="523"/>
                  <a:pt x="204" y="521"/>
                </a:cubicBezTo>
                <a:cubicBezTo>
                  <a:pt x="204" y="521"/>
                  <a:pt x="204" y="521"/>
                  <a:pt x="204" y="521"/>
                </a:cubicBezTo>
                <a:cubicBezTo>
                  <a:pt x="204" y="521"/>
                  <a:pt x="204" y="521"/>
                  <a:pt x="204" y="521"/>
                </a:cubicBezTo>
                <a:cubicBezTo>
                  <a:pt x="204" y="521"/>
                  <a:pt x="204" y="521"/>
                  <a:pt x="204" y="521"/>
                </a:cubicBezTo>
                <a:cubicBezTo>
                  <a:pt x="204" y="520"/>
                  <a:pt x="204" y="520"/>
                  <a:pt x="204" y="520"/>
                </a:cubicBezTo>
                <a:cubicBezTo>
                  <a:pt x="205" y="520"/>
                  <a:pt x="205" y="521"/>
                  <a:pt x="206" y="521"/>
                </a:cubicBezTo>
                <a:cubicBezTo>
                  <a:pt x="206" y="520"/>
                  <a:pt x="205" y="519"/>
                  <a:pt x="205" y="518"/>
                </a:cubicBezTo>
                <a:cubicBezTo>
                  <a:pt x="206" y="519"/>
                  <a:pt x="207" y="520"/>
                  <a:pt x="207" y="520"/>
                </a:cubicBezTo>
                <a:cubicBezTo>
                  <a:pt x="208" y="519"/>
                  <a:pt x="208" y="519"/>
                  <a:pt x="210" y="519"/>
                </a:cubicBezTo>
                <a:cubicBezTo>
                  <a:pt x="211" y="519"/>
                  <a:pt x="211" y="519"/>
                  <a:pt x="212" y="518"/>
                </a:cubicBezTo>
                <a:cubicBezTo>
                  <a:pt x="213" y="518"/>
                  <a:pt x="214" y="517"/>
                  <a:pt x="215" y="516"/>
                </a:cubicBezTo>
                <a:cubicBezTo>
                  <a:pt x="215" y="516"/>
                  <a:pt x="217" y="517"/>
                  <a:pt x="217" y="517"/>
                </a:cubicBezTo>
                <a:cubicBezTo>
                  <a:pt x="217" y="517"/>
                  <a:pt x="217" y="515"/>
                  <a:pt x="216" y="515"/>
                </a:cubicBezTo>
                <a:cubicBezTo>
                  <a:pt x="216" y="513"/>
                  <a:pt x="219" y="514"/>
                  <a:pt x="220" y="514"/>
                </a:cubicBezTo>
                <a:cubicBezTo>
                  <a:pt x="221" y="513"/>
                  <a:pt x="221" y="513"/>
                  <a:pt x="221" y="512"/>
                </a:cubicBezTo>
                <a:cubicBezTo>
                  <a:pt x="220" y="512"/>
                  <a:pt x="220" y="512"/>
                  <a:pt x="220" y="512"/>
                </a:cubicBezTo>
                <a:cubicBezTo>
                  <a:pt x="219" y="511"/>
                  <a:pt x="219" y="511"/>
                  <a:pt x="218" y="511"/>
                </a:cubicBezTo>
                <a:cubicBezTo>
                  <a:pt x="217" y="512"/>
                  <a:pt x="217" y="512"/>
                  <a:pt x="217" y="512"/>
                </a:cubicBezTo>
                <a:cubicBezTo>
                  <a:pt x="218" y="510"/>
                  <a:pt x="218" y="510"/>
                  <a:pt x="218" y="510"/>
                </a:cubicBezTo>
                <a:cubicBezTo>
                  <a:pt x="217" y="510"/>
                  <a:pt x="217" y="510"/>
                  <a:pt x="217" y="510"/>
                </a:cubicBezTo>
                <a:cubicBezTo>
                  <a:pt x="217" y="510"/>
                  <a:pt x="216" y="510"/>
                  <a:pt x="216" y="510"/>
                </a:cubicBezTo>
                <a:cubicBezTo>
                  <a:pt x="216" y="509"/>
                  <a:pt x="216" y="509"/>
                  <a:pt x="216" y="509"/>
                </a:cubicBezTo>
                <a:cubicBezTo>
                  <a:pt x="216" y="509"/>
                  <a:pt x="216" y="509"/>
                  <a:pt x="215" y="509"/>
                </a:cubicBezTo>
                <a:cubicBezTo>
                  <a:pt x="215" y="509"/>
                  <a:pt x="215" y="509"/>
                  <a:pt x="215" y="509"/>
                </a:cubicBezTo>
                <a:cubicBezTo>
                  <a:pt x="215" y="509"/>
                  <a:pt x="215" y="509"/>
                  <a:pt x="215" y="509"/>
                </a:cubicBezTo>
                <a:cubicBezTo>
                  <a:pt x="215" y="509"/>
                  <a:pt x="215" y="509"/>
                  <a:pt x="215" y="509"/>
                </a:cubicBezTo>
                <a:cubicBezTo>
                  <a:pt x="214" y="509"/>
                  <a:pt x="214" y="508"/>
                  <a:pt x="214" y="508"/>
                </a:cubicBezTo>
                <a:cubicBezTo>
                  <a:pt x="213" y="508"/>
                  <a:pt x="213" y="508"/>
                  <a:pt x="213" y="508"/>
                </a:cubicBezTo>
                <a:cubicBezTo>
                  <a:pt x="213" y="507"/>
                  <a:pt x="213" y="507"/>
                  <a:pt x="213" y="507"/>
                </a:cubicBezTo>
                <a:cubicBezTo>
                  <a:pt x="213" y="506"/>
                  <a:pt x="213" y="506"/>
                  <a:pt x="213" y="506"/>
                </a:cubicBezTo>
                <a:cubicBezTo>
                  <a:pt x="213" y="506"/>
                  <a:pt x="213" y="506"/>
                  <a:pt x="214" y="505"/>
                </a:cubicBezTo>
                <a:cubicBezTo>
                  <a:pt x="214" y="505"/>
                  <a:pt x="214" y="505"/>
                  <a:pt x="214" y="505"/>
                </a:cubicBezTo>
                <a:cubicBezTo>
                  <a:pt x="215" y="504"/>
                  <a:pt x="216" y="505"/>
                  <a:pt x="217" y="505"/>
                </a:cubicBezTo>
                <a:cubicBezTo>
                  <a:pt x="217" y="505"/>
                  <a:pt x="217" y="505"/>
                  <a:pt x="218" y="505"/>
                </a:cubicBezTo>
                <a:cubicBezTo>
                  <a:pt x="218" y="505"/>
                  <a:pt x="218" y="505"/>
                  <a:pt x="218" y="505"/>
                </a:cubicBezTo>
                <a:cubicBezTo>
                  <a:pt x="218" y="505"/>
                  <a:pt x="218" y="505"/>
                  <a:pt x="218" y="505"/>
                </a:cubicBezTo>
                <a:cubicBezTo>
                  <a:pt x="218" y="505"/>
                  <a:pt x="218" y="505"/>
                  <a:pt x="218" y="505"/>
                </a:cubicBezTo>
                <a:cubicBezTo>
                  <a:pt x="218" y="505"/>
                  <a:pt x="218" y="505"/>
                  <a:pt x="218" y="505"/>
                </a:cubicBezTo>
                <a:cubicBezTo>
                  <a:pt x="218" y="505"/>
                  <a:pt x="218" y="505"/>
                  <a:pt x="218" y="505"/>
                </a:cubicBezTo>
                <a:cubicBezTo>
                  <a:pt x="218" y="505"/>
                  <a:pt x="218" y="505"/>
                  <a:pt x="218" y="505"/>
                </a:cubicBezTo>
                <a:cubicBezTo>
                  <a:pt x="218" y="505"/>
                  <a:pt x="218" y="504"/>
                  <a:pt x="218" y="504"/>
                </a:cubicBezTo>
                <a:cubicBezTo>
                  <a:pt x="218" y="504"/>
                  <a:pt x="217" y="504"/>
                  <a:pt x="217" y="504"/>
                </a:cubicBezTo>
                <a:cubicBezTo>
                  <a:pt x="217" y="504"/>
                  <a:pt x="217" y="504"/>
                  <a:pt x="217" y="504"/>
                </a:cubicBezTo>
                <a:cubicBezTo>
                  <a:pt x="217" y="504"/>
                  <a:pt x="217" y="503"/>
                  <a:pt x="217" y="503"/>
                </a:cubicBezTo>
                <a:cubicBezTo>
                  <a:pt x="216" y="503"/>
                  <a:pt x="216" y="502"/>
                  <a:pt x="216" y="502"/>
                </a:cubicBezTo>
                <a:cubicBezTo>
                  <a:pt x="215" y="501"/>
                  <a:pt x="215" y="500"/>
                  <a:pt x="214" y="499"/>
                </a:cubicBezTo>
                <a:cubicBezTo>
                  <a:pt x="212" y="497"/>
                  <a:pt x="212" y="497"/>
                  <a:pt x="212" y="497"/>
                </a:cubicBezTo>
                <a:cubicBezTo>
                  <a:pt x="212" y="496"/>
                  <a:pt x="212" y="496"/>
                  <a:pt x="211" y="496"/>
                </a:cubicBezTo>
                <a:cubicBezTo>
                  <a:pt x="211" y="495"/>
                  <a:pt x="210" y="494"/>
                  <a:pt x="210" y="494"/>
                </a:cubicBezTo>
                <a:cubicBezTo>
                  <a:pt x="210" y="494"/>
                  <a:pt x="210" y="494"/>
                  <a:pt x="210" y="494"/>
                </a:cubicBezTo>
                <a:cubicBezTo>
                  <a:pt x="210" y="494"/>
                  <a:pt x="210" y="494"/>
                  <a:pt x="210" y="494"/>
                </a:cubicBezTo>
                <a:cubicBezTo>
                  <a:pt x="209" y="494"/>
                  <a:pt x="209" y="494"/>
                  <a:pt x="208" y="494"/>
                </a:cubicBezTo>
                <a:cubicBezTo>
                  <a:pt x="208" y="494"/>
                  <a:pt x="207" y="494"/>
                  <a:pt x="207" y="494"/>
                </a:cubicBezTo>
                <a:cubicBezTo>
                  <a:pt x="206" y="494"/>
                  <a:pt x="206" y="495"/>
                  <a:pt x="205" y="495"/>
                </a:cubicBezTo>
                <a:cubicBezTo>
                  <a:pt x="203" y="495"/>
                  <a:pt x="202" y="495"/>
                  <a:pt x="201" y="494"/>
                </a:cubicBezTo>
                <a:cubicBezTo>
                  <a:pt x="199" y="493"/>
                  <a:pt x="199" y="492"/>
                  <a:pt x="199" y="490"/>
                </a:cubicBezTo>
                <a:cubicBezTo>
                  <a:pt x="199" y="490"/>
                  <a:pt x="199" y="489"/>
                  <a:pt x="199" y="489"/>
                </a:cubicBezTo>
                <a:cubicBezTo>
                  <a:pt x="199" y="488"/>
                  <a:pt x="199" y="488"/>
                  <a:pt x="199" y="487"/>
                </a:cubicBezTo>
                <a:cubicBezTo>
                  <a:pt x="199" y="487"/>
                  <a:pt x="199" y="487"/>
                  <a:pt x="199" y="487"/>
                </a:cubicBezTo>
                <a:cubicBezTo>
                  <a:pt x="199" y="487"/>
                  <a:pt x="199" y="487"/>
                  <a:pt x="198" y="487"/>
                </a:cubicBezTo>
                <a:cubicBezTo>
                  <a:pt x="198" y="487"/>
                  <a:pt x="198" y="487"/>
                  <a:pt x="198" y="487"/>
                </a:cubicBezTo>
                <a:cubicBezTo>
                  <a:pt x="197" y="487"/>
                  <a:pt x="197" y="486"/>
                  <a:pt x="196" y="486"/>
                </a:cubicBezTo>
                <a:cubicBezTo>
                  <a:pt x="195" y="486"/>
                  <a:pt x="195" y="486"/>
                  <a:pt x="195" y="486"/>
                </a:cubicBezTo>
                <a:cubicBezTo>
                  <a:pt x="195" y="486"/>
                  <a:pt x="195" y="486"/>
                  <a:pt x="195" y="486"/>
                </a:cubicBezTo>
                <a:cubicBezTo>
                  <a:pt x="194" y="486"/>
                  <a:pt x="194" y="486"/>
                  <a:pt x="194" y="486"/>
                </a:cubicBezTo>
                <a:cubicBezTo>
                  <a:pt x="193" y="485"/>
                  <a:pt x="193" y="485"/>
                  <a:pt x="193" y="484"/>
                </a:cubicBezTo>
                <a:cubicBezTo>
                  <a:pt x="193" y="484"/>
                  <a:pt x="193" y="484"/>
                  <a:pt x="193" y="484"/>
                </a:cubicBezTo>
                <a:cubicBezTo>
                  <a:pt x="193" y="483"/>
                  <a:pt x="193" y="483"/>
                  <a:pt x="193" y="483"/>
                </a:cubicBezTo>
                <a:cubicBezTo>
                  <a:pt x="193" y="482"/>
                  <a:pt x="194" y="481"/>
                  <a:pt x="194" y="480"/>
                </a:cubicBezTo>
                <a:cubicBezTo>
                  <a:pt x="194" y="480"/>
                  <a:pt x="194" y="480"/>
                  <a:pt x="194" y="480"/>
                </a:cubicBezTo>
                <a:cubicBezTo>
                  <a:pt x="195" y="478"/>
                  <a:pt x="196" y="477"/>
                  <a:pt x="197" y="476"/>
                </a:cubicBezTo>
                <a:cubicBezTo>
                  <a:pt x="198" y="476"/>
                  <a:pt x="198" y="475"/>
                  <a:pt x="198" y="475"/>
                </a:cubicBezTo>
                <a:cubicBezTo>
                  <a:pt x="198" y="475"/>
                  <a:pt x="198" y="475"/>
                  <a:pt x="198" y="475"/>
                </a:cubicBezTo>
                <a:cubicBezTo>
                  <a:pt x="198" y="474"/>
                  <a:pt x="198" y="474"/>
                  <a:pt x="198" y="474"/>
                </a:cubicBezTo>
                <a:cubicBezTo>
                  <a:pt x="198" y="474"/>
                  <a:pt x="198" y="474"/>
                  <a:pt x="197" y="474"/>
                </a:cubicBezTo>
                <a:cubicBezTo>
                  <a:pt x="197" y="473"/>
                  <a:pt x="197" y="473"/>
                  <a:pt x="197" y="473"/>
                </a:cubicBezTo>
                <a:cubicBezTo>
                  <a:pt x="196" y="473"/>
                  <a:pt x="196" y="473"/>
                  <a:pt x="196" y="473"/>
                </a:cubicBezTo>
                <a:cubicBezTo>
                  <a:pt x="196" y="472"/>
                  <a:pt x="196" y="472"/>
                  <a:pt x="196" y="471"/>
                </a:cubicBezTo>
                <a:cubicBezTo>
                  <a:pt x="196" y="471"/>
                  <a:pt x="196" y="471"/>
                  <a:pt x="196" y="470"/>
                </a:cubicBezTo>
                <a:cubicBezTo>
                  <a:pt x="196" y="470"/>
                  <a:pt x="196" y="470"/>
                  <a:pt x="196" y="469"/>
                </a:cubicBezTo>
                <a:cubicBezTo>
                  <a:pt x="197" y="467"/>
                  <a:pt x="197" y="467"/>
                  <a:pt x="197" y="467"/>
                </a:cubicBezTo>
                <a:cubicBezTo>
                  <a:pt x="197" y="467"/>
                  <a:pt x="197" y="467"/>
                  <a:pt x="197" y="467"/>
                </a:cubicBezTo>
                <a:cubicBezTo>
                  <a:pt x="197" y="466"/>
                  <a:pt x="197" y="466"/>
                  <a:pt x="197" y="466"/>
                </a:cubicBezTo>
                <a:cubicBezTo>
                  <a:pt x="197" y="466"/>
                  <a:pt x="197" y="465"/>
                  <a:pt x="197" y="465"/>
                </a:cubicBezTo>
                <a:cubicBezTo>
                  <a:pt x="198" y="464"/>
                  <a:pt x="199" y="464"/>
                  <a:pt x="199" y="463"/>
                </a:cubicBezTo>
                <a:cubicBezTo>
                  <a:pt x="200" y="463"/>
                  <a:pt x="200" y="463"/>
                  <a:pt x="200" y="463"/>
                </a:cubicBezTo>
                <a:cubicBezTo>
                  <a:pt x="200" y="463"/>
                  <a:pt x="200" y="463"/>
                  <a:pt x="200" y="463"/>
                </a:cubicBezTo>
                <a:cubicBezTo>
                  <a:pt x="201" y="463"/>
                  <a:pt x="201" y="463"/>
                  <a:pt x="201" y="463"/>
                </a:cubicBezTo>
                <a:cubicBezTo>
                  <a:pt x="201" y="462"/>
                  <a:pt x="201" y="462"/>
                  <a:pt x="201" y="462"/>
                </a:cubicBezTo>
                <a:cubicBezTo>
                  <a:pt x="201" y="461"/>
                  <a:pt x="201" y="461"/>
                  <a:pt x="202" y="460"/>
                </a:cubicBezTo>
                <a:cubicBezTo>
                  <a:pt x="202" y="459"/>
                  <a:pt x="202" y="459"/>
                  <a:pt x="202" y="459"/>
                </a:cubicBezTo>
                <a:cubicBezTo>
                  <a:pt x="202" y="459"/>
                  <a:pt x="202" y="459"/>
                  <a:pt x="202" y="459"/>
                </a:cubicBezTo>
                <a:cubicBezTo>
                  <a:pt x="202" y="459"/>
                  <a:pt x="202" y="458"/>
                  <a:pt x="202" y="458"/>
                </a:cubicBezTo>
                <a:cubicBezTo>
                  <a:pt x="203" y="457"/>
                  <a:pt x="204" y="457"/>
                  <a:pt x="205" y="457"/>
                </a:cubicBezTo>
                <a:cubicBezTo>
                  <a:pt x="205" y="457"/>
                  <a:pt x="206" y="457"/>
                  <a:pt x="206" y="457"/>
                </a:cubicBezTo>
                <a:cubicBezTo>
                  <a:pt x="206" y="457"/>
                  <a:pt x="206" y="457"/>
                  <a:pt x="206" y="457"/>
                </a:cubicBezTo>
                <a:cubicBezTo>
                  <a:pt x="208" y="458"/>
                  <a:pt x="209" y="459"/>
                  <a:pt x="210" y="460"/>
                </a:cubicBezTo>
                <a:cubicBezTo>
                  <a:pt x="211" y="461"/>
                  <a:pt x="211" y="461"/>
                  <a:pt x="211" y="461"/>
                </a:cubicBezTo>
                <a:cubicBezTo>
                  <a:pt x="211" y="461"/>
                  <a:pt x="211" y="461"/>
                  <a:pt x="211" y="462"/>
                </a:cubicBezTo>
                <a:cubicBezTo>
                  <a:pt x="212" y="462"/>
                  <a:pt x="212" y="462"/>
                  <a:pt x="212" y="462"/>
                </a:cubicBezTo>
                <a:cubicBezTo>
                  <a:pt x="212" y="463"/>
                  <a:pt x="213" y="463"/>
                  <a:pt x="213" y="464"/>
                </a:cubicBezTo>
                <a:cubicBezTo>
                  <a:pt x="214" y="464"/>
                  <a:pt x="214" y="464"/>
                  <a:pt x="214" y="464"/>
                </a:cubicBezTo>
                <a:cubicBezTo>
                  <a:pt x="214" y="464"/>
                  <a:pt x="214" y="464"/>
                  <a:pt x="214" y="464"/>
                </a:cubicBezTo>
                <a:cubicBezTo>
                  <a:pt x="214" y="464"/>
                  <a:pt x="215" y="464"/>
                  <a:pt x="215" y="464"/>
                </a:cubicBezTo>
                <a:cubicBezTo>
                  <a:pt x="215" y="464"/>
                  <a:pt x="215" y="464"/>
                  <a:pt x="215" y="464"/>
                </a:cubicBezTo>
                <a:cubicBezTo>
                  <a:pt x="215" y="464"/>
                  <a:pt x="216" y="463"/>
                  <a:pt x="217" y="463"/>
                </a:cubicBezTo>
                <a:cubicBezTo>
                  <a:pt x="217" y="463"/>
                  <a:pt x="217" y="463"/>
                  <a:pt x="217" y="463"/>
                </a:cubicBezTo>
                <a:cubicBezTo>
                  <a:pt x="217" y="463"/>
                  <a:pt x="217" y="463"/>
                  <a:pt x="217" y="463"/>
                </a:cubicBezTo>
                <a:cubicBezTo>
                  <a:pt x="216" y="462"/>
                  <a:pt x="216" y="462"/>
                  <a:pt x="216" y="462"/>
                </a:cubicBezTo>
                <a:cubicBezTo>
                  <a:pt x="216" y="462"/>
                  <a:pt x="216" y="461"/>
                  <a:pt x="216" y="461"/>
                </a:cubicBezTo>
                <a:cubicBezTo>
                  <a:pt x="216" y="461"/>
                  <a:pt x="216" y="461"/>
                  <a:pt x="216" y="461"/>
                </a:cubicBezTo>
                <a:cubicBezTo>
                  <a:pt x="216" y="461"/>
                  <a:pt x="216" y="461"/>
                  <a:pt x="216" y="461"/>
                </a:cubicBezTo>
                <a:cubicBezTo>
                  <a:pt x="216" y="461"/>
                  <a:pt x="216" y="460"/>
                  <a:pt x="216" y="460"/>
                </a:cubicBezTo>
                <a:cubicBezTo>
                  <a:pt x="216" y="460"/>
                  <a:pt x="215" y="459"/>
                  <a:pt x="215" y="459"/>
                </a:cubicBezTo>
                <a:cubicBezTo>
                  <a:pt x="215" y="458"/>
                  <a:pt x="215" y="458"/>
                  <a:pt x="215" y="457"/>
                </a:cubicBezTo>
                <a:cubicBezTo>
                  <a:pt x="215" y="457"/>
                  <a:pt x="215" y="457"/>
                  <a:pt x="215" y="457"/>
                </a:cubicBezTo>
                <a:cubicBezTo>
                  <a:pt x="215" y="456"/>
                  <a:pt x="214" y="455"/>
                  <a:pt x="214" y="455"/>
                </a:cubicBezTo>
                <a:cubicBezTo>
                  <a:pt x="214" y="453"/>
                  <a:pt x="214" y="453"/>
                  <a:pt x="214" y="453"/>
                </a:cubicBezTo>
                <a:cubicBezTo>
                  <a:pt x="215" y="453"/>
                  <a:pt x="215" y="453"/>
                  <a:pt x="215" y="453"/>
                </a:cubicBezTo>
                <a:cubicBezTo>
                  <a:pt x="216" y="453"/>
                  <a:pt x="216" y="453"/>
                  <a:pt x="216" y="453"/>
                </a:cubicBezTo>
                <a:cubicBezTo>
                  <a:pt x="217" y="454"/>
                  <a:pt x="217" y="454"/>
                  <a:pt x="218" y="453"/>
                </a:cubicBezTo>
                <a:cubicBezTo>
                  <a:pt x="219" y="453"/>
                  <a:pt x="219" y="452"/>
                  <a:pt x="219" y="452"/>
                </a:cubicBezTo>
                <a:cubicBezTo>
                  <a:pt x="219" y="452"/>
                  <a:pt x="220" y="452"/>
                  <a:pt x="220" y="452"/>
                </a:cubicBezTo>
                <a:cubicBezTo>
                  <a:pt x="220" y="452"/>
                  <a:pt x="220" y="452"/>
                  <a:pt x="220" y="452"/>
                </a:cubicBezTo>
                <a:cubicBezTo>
                  <a:pt x="220" y="452"/>
                  <a:pt x="221" y="452"/>
                  <a:pt x="221" y="452"/>
                </a:cubicBezTo>
                <a:cubicBezTo>
                  <a:pt x="221" y="452"/>
                  <a:pt x="221" y="452"/>
                  <a:pt x="221" y="452"/>
                </a:cubicBezTo>
                <a:cubicBezTo>
                  <a:pt x="221" y="451"/>
                  <a:pt x="222" y="451"/>
                  <a:pt x="222" y="451"/>
                </a:cubicBezTo>
                <a:cubicBezTo>
                  <a:pt x="222" y="451"/>
                  <a:pt x="222" y="451"/>
                  <a:pt x="222" y="451"/>
                </a:cubicBezTo>
                <a:cubicBezTo>
                  <a:pt x="221" y="449"/>
                  <a:pt x="221" y="449"/>
                  <a:pt x="221" y="449"/>
                </a:cubicBezTo>
                <a:cubicBezTo>
                  <a:pt x="230" y="446"/>
                  <a:pt x="230" y="446"/>
                  <a:pt x="230" y="446"/>
                </a:cubicBezTo>
                <a:cubicBezTo>
                  <a:pt x="230" y="445"/>
                  <a:pt x="231" y="445"/>
                  <a:pt x="231" y="445"/>
                </a:cubicBezTo>
                <a:cubicBezTo>
                  <a:pt x="231" y="445"/>
                  <a:pt x="231" y="445"/>
                  <a:pt x="231" y="445"/>
                </a:cubicBezTo>
                <a:cubicBezTo>
                  <a:pt x="232" y="445"/>
                  <a:pt x="232" y="445"/>
                  <a:pt x="232" y="445"/>
                </a:cubicBezTo>
                <a:cubicBezTo>
                  <a:pt x="232" y="445"/>
                  <a:pt x="232" y="445"/>
                  <a:pt x="232" y="445"/>
                </a:cubicBezTo>
                <a:cubicBezTo>
                  <a:pt x="233" y="444"/>
                  <a:pt x="233" y="444"/>
                  <a:pt x="233" y="444"/>
                </a:cubicBezTo>
                <a:cubicBezTo>
                  <a:pt x="233" y="444"/>
                  <a:pt x="233" y="444"/>
                  <a:pt x="233" y="443"/>
                </a:cubicBezTo>
                <a:cubicBezTo>
                  <a:pt x="233" y="443"/>
                  <a:pt x="233" y="443"/>
                  <a:pt x="233" y="443"/>
                </a:cubicBezTo>
                <a:cubicBezTo>
                  <a:pt x="234" y="442"/>
                  <a:pt x="235" y="441"/>
                  <a:pt x="236" y="441"/>
                </a:cubicBezTo>
                <a:cubicBezTo>
                  <a:pt x="237" y="441"/>
                  <a:pt x="237" y="441"/>
                  <a:pt x="237" y="441"/>
                </a:cubicBezTo>
                <a:cubicBezTo>
                  <a:pt x="237" y="441"/>
                  <a:pt x="237" y="441"/>
                  <a:pt x="237" y="441"/>
                </a:cubicBezTo>
                <a:cubicBezTo>
                  <a:pt x="237" y="440"/>
                  <a:pt x="237" y="440"/>
                  <a:pt x="237" y="440"/>
                </a:cubicBezTo>
                <a:cubicBezTo>
                  <a:pt x="236" y="438"/>
                  <a:pt x="236" y="438"/>
                  <a:pt x="236" y="438"/>
                </a:cubicBezTo>
                <a:cubicBezTo>
                  <a:pt x="238" y="438"/>
                  <a:pt x="238" y="438"/>
                  <a:pt x="238" y="438"/>
                </a:cubicBezTo>
                <a:cubicBezTo>
                  <a:pt x="239" y="438"/>
                  <a:pt x="240" y="439"/>
                  <a:pt x="241" y="439"/>
                </a:cubicBezTo>
                <a:cubicBezTo>
                  <a:pt x="241" y="439"/>
                  <a:pt x="241" y="439"/>
                  <a:pt x="241" y="439"/>
                </a:cubicBezTo>
                <a:cubicBezTo>
                  <a:pt x="242" y="439"/>
                  <a:pt x="243" y="440"/>
                  <a:pt x="243" y="440"/>
                </a:cubicBezTo>
                <a:cubicBezTo>
                  <a:pt x="244" y="440"/>
                  <a:pt x="245" y="440"/>
                  <a:pt x="245" y="441"/>
                </a:cubicBezTo>
                <a:cubicBezTo>
                  <a:pt x="245" y="440"/>
                  <a:pt x="245" y="440"/>
                  <a:pt x="245" y="440"/>
                </a:cubicBezTo>
                <a:cubicBezTo>
                  <a:pt x="245" y="442"/>
                  <a:pt x="245" y="442"/>
                  <a:pt x="245" y="442"/>
                </a:cubicBezTo>
                <a:cubicBezTo>
                  <a:pt x="245" y="442"/>
                  <a:pt x="245" y="442"/>
                  <a:pt x="245" y="442"/>
                </a:cubicBezTo>
                <a:cubicBezTo>
                  <a:pt x="246" y="442"/>
                  <a:pt x="246" y="442"/>
                  <a:pt x="246" y="442"/>
                </a:cubicBezTo>
                <a:cubicBezTo>
                  <a:pt x="246" y="442"/>
                  <a:pt x="246" y="442"/>
                  <a:pt x="246" y="442"/>
                </a:cubicBezTo>
                <a:cubicBezTo>
                  <a:pt x="246" y="442"/>
                  <a:pt x="246" y="442"/>
                  <a:pt x="247" y="442"/>
                </a:cubicBezTo>
                <a:cubicBezTo>
                  <a:pt x="247" y="442"/>
                  <a:pt x="247" y="442"/>
                  <a:pt x="247" y="442"/>
                </a:cubicBezTo>
                <a:cubicBezTo>
                  <a:pt x="247" y="442"/>
                  <a:pt x="247" y="442"/>
                  <a:pt x="247" y="442"/>
                </a:cubicBezTo>
                <a:cubicBezTo>
                  <a:pt x="247" y="442"/>
                  <a:pt x="247" y="442"/>
                  <a:pt x="247" y="442"/>
                </a:cubicBezTo>
                <a:cubicBezTo>
                  <a:pt x="247" y="441"/>
                  <a:pt x="247" y="440"/>
                  <a:pt x="249" y="440"/>
                </a:cubicBezTo>
                <a:cubicBezTo>
                  <a:pt x="251" y="439"/>
                  <a:pt x="251" y="439"/>
                  <a:pt x="253" y="438"/>
                </a:cubicBezTo>
                <a:cubicBezTo>
                  <a:pt x="254" y="438"/>
                  <a:pt x="254" y="438"/>
                  <a:pt x="254" y="438"/>
                </a:cubicBezTo>
                <a:cubicBezTo>
                  <a:pt x="255" y="439"/>
                  <a:pt x="255" y="439"/>
                  <a:pt x="255" y="439"/>
                </a:cubicBezTo>
                <a:cubicBezTo>
                  <a:pt x="255" y="439"/>
                  <a:pt x="255" y="439"/>
                  <a:pt x="255" y="440"/>
                </a:cubicBezTo>
                <a:cubicBezTo>
                  <a:pt x="255" y="440"/>
                  <a:pt x="256" y="441"/>
                  <a:pt x="256" y="441"/>
                </a:cubicBezTo>
                <a:cubicBezTo>
                  <a:pt x="256" y="442"/>
                  <a:pt x="256" y="442"/>
                  <a:pt x="256" y="442"/>
                </a:cubicBezTo>
                <a:cubicBezTo>
                  <a:pt x="256" y="442"/>
                  <a:pt x="256" y="442"/>
                  <a:pt x="256" y="442"/>
                </a:cubicBezTo>
                <a:cubicBezTo>
                  <a:pt x="256" y="442"/>
                  <a:pt x="256" y="442"/>
                  <a:pt x="256" y="442"/>
                </a:cubicBezTo>
                <a:cubicBezTo>
                  <a:pt x="256" y="442"/>
                  <a:pt x="256" y="442"/>
                  <a:pt x="256" y="442"/>
                </a:cubicBezTo>
                <a:cubicBezTo>
                  <a:pt x="256" y="442"/>
                  <a:pt x="256" y="442"/>
                  <a:pt x="256" y="442"/>
                </a:cubicBezTo>
                <a:cubicBezTo>
                  <a:pt x="256" y="442"/>
                  <a:pt x="257" y="442"/>
                  <a:pt x="257" y="442"/>
                </a:cubicBezTo>
                <a:cubicBezTo>
                  <a:pt x="257" y="442"/>
                  <a:pt x="257" y="442"/>
                  <a:pt x="257" y="442"/>
                </a:cubicBezTo>
                <a:cubicBezTo>
                  <a:pt x="256" y="440"/>
                  <a:pt x="256" y="440"/>
                  <a:pt x="256" y="440"/>
                </a:cubicBezTo>
                <a:cubicBezTo>
                  <a:pt x="257" y="442"/>
                  <a:pt x="257" y="442"/>
                  <a:pt x="257" y="442"/>
                </a:cubicBezTo>
                <a:cubicBezTo>
                  <a:pt x="258" y="442"/>
                  <a:pt x="258" y="442"/>
                  <a:pt x="258" y="442"/>
                </a:cubicBezTo>
                <a:cubicBezTo>
                  <a:pt x="259" y="442"/>
                  <a:pt x="260" y="442"/>
                  <a:pt x="261" y="442"/>
                </a:cubicBezTo>
                <a:cubicBezTo>
                  <a:pt x="262" y="442"/>
                  <a:pt x="264" y="442"/>
                  <a:pt x="265" y="442"/>
                </a:cubicBezTo>
                <a:cubicBezTo>
                  <a:pt x="268" y="444"/>
                  <a:pt x="270" y="446"/>
                  <a:pt x="273" y="448"/>
                </a:cubicBezTo>
                <a:cubicBezTo>
                  <a:pt x="273" y="448"/>
                  <a:pt x="273" y="448"/>
                  <a:pt x="273" y="448"/>
                </a:cubicBezTo>
                <a:cubicBezTo>
                  <a:pt x="274" y="449"/>
                  <a:pt x="274" y="449"/>
                  <a:pt x="275" y="450"/>
                </a:cubicBezTo>
                <a:cubicBezTo>
                  <a:pt x="275" y="450"/>
                  <a:pt x="275" y="450"/>
                  <a:pt x="275" y="450"/>
                </a:cubicBezTo>
                <a:cubicBezTo>
                  <a:pt x="275" y="449"/>
                  <a:pt x="275" y="449"/>
                  <a:pt x="275" y="449"/>
                </a:cubicBezTo>
                <a:cubicBezTo>
                  <a:pt x="276" y="448"/>
                  <a:pt x="276" y="448"/>
                  <a:pt x="276" y="448"/>
                </a:cubicBezTo>
                <a:cubicBezTo>
                  <a:pt x="276" y="448"/>
                  <a:pt x="276" y="448"/>
                  <a:pt x="277" y="448"/>
                </a:cubicBezTo>
                <a:cubicBezTo>
                  <a:pt x="277" y="448"/>
                  <a:pt x="278" y="448"/>
                  <a:pt x="278" y="448"/>
                </a:cubicBezTo>
                <a:cubicBezTo>
                  <a:pt x="278" y="448"/>
                  <a:pt x="278" y="448"/>
                  <a:pt x="278" y="448"/>
                </a:cubicBezTo>
                <a:cubicBezTo>
                  <a:pt x="278" y="448"/>
                  <a:pt x="278" y="448"/>
                  <a:pt x="278" y="448"/>
                </a:cubicBezTo>
                <a:cubicBezTo>
                  <a:pt x="278" y="448"/>
                  <a:pt x="278" y="448"/>
                  <a:pt x="279" y="448"/>
                </a:cubicBezTo>
                <a:cubicBezTo>
                  <a:pt x="279" y="449"/>
                  <a:pt x="280" y="449"/>
                  <a:pt x="280" y="450"/>
                </a:cubicBezTo>
                <a:cubicBezTo>
                  <a:pt x="282" y="451"/>
                  <a:pt x="282" y="451"/>
                  <a:pt x="282" y="451"/>
                </a:cubicBezTo>
                <a:cubicBezTo>
                  <a:pt x="283" y="452"/>
                  <a:pt x="284" y="453"/>
                  <a:pt x="286" y="453"/>
                </a:cubicBezTo>
                <a:cubicBezTo>
                  <a:pt x="287" y="454"/>
                  <a:pt x="288" y="455"/>
                  <a:pt x="288" y="455"/>
                </a:cubicBezTo>
                <a:cubicBezTo>
                  <a:pt x="288" y="455"/>
                  <a:pt x="288" y="454"/>
                  <a:pt x="288" y="454"/>
                </a:cubicBezTo>
                <a:cubicBezTo>
                  <a:pt x="288" y="454"/>
                  <a:pt x="288" y="454"/>
                  <a:pt x="288" y="454"/>
                </a:cubicBezTo>
                <a:cubicBezTo>
                  <a:pt x="289" y="454"/>
                  <a:pt x="289" y="454"/>
                  <a:pt x="289" y="454"/>
                </a:cubicBezTo>
                <a:cubicBezTo>
                  <a:pt x="289" y="454"/>
                  <a:pt x="290" y="454"/>
                  <a:pt x="290" y="453"/>
                </a:cubicBezTo>
                <a:cubicBezTo>
                  <a:pt x="290" y="453"/>
                  <a:pt x="290" y="453"/>
                  <a:pt x="291" y="453"/>
                </a:cubicBezTo>
                <a:cubicBezTo>
                  <a:pt x="291" y="453"/>
                  <a:pt x="291" y="453"/>
                  <a:pt x="291" y="453"/>
                </a:cubicBezTo>
                <a:cubicBezTo>
                  <a:pt x="291" y="453"/>
                  <a:pt x="291" y="453"/>
                  <a:pt x="291" y="453"/>
                </a:cubicBezTo>
                <a:cubicBezTo>
                  <a:pt x="291" y="452"/>
                  <a:pt x="291" y="452"/>
                  <a:pt x="291" y="452"/>
                </a:cubicBezTo>
                <a:cubicBezTo>
                  <a:pt x="291" y="452"/>
                  <a:pt x="291" y="452"/>
                  <a:pt x="291" y="452"/>
                </a:cubicBezTo>
                <a:cubicBezTo>
                  <a:pt x="292" y="451"/>
                  <a:pt x="293" y="451"/>
                  <a:pt x="293" y="450"/>
                </a:cubicBezTo>
                <a:cubicBezTo>
                  <a:pt x="293" y="450"/>
                  <a:pt x="294" y="450"/>
                  <a:pt x="294" y="450"/>
                </a:cubicBezTo>
                <a:cubicBezTo>
                  <a:pt x="294" y="450"/>
                  <a:pt x="294" y="450"/>
                  <a:pt x="294" y="450"/>
                </a:cubicBezTo>
                <a:cubicBezTo>
                  <a:pt x="295" y="449"/>
                  <a:pt x="295" y="448"/>
                  <a:pt x="297" y="448"/>
                </a:cubicBezTo>
                <a:cubicBezTo>
                  <a:pt x="298" y="448"/>
                  <a:pt x="300" y="448"/>
                  <a:pt x="301" y="447"/>
                </a:cubicBezTo>
                <a:cubicBezTo>
                  <a:pt x="303" y="447"/>
                  <a:pt x="304" y="447"/>
                  <a:pt x="304" y="448"/>
                </a:cubicBezTo>
                <a:cubicBezTo>
                  <a:pt x="304" y="449"/>
                  <a:pt x="305" y="449"/>
                  <a:pt x="305" y="449"/>
                </a:cubicBezTo>
                <a:cubicBezTo>
                  <a:pt x="305" y="449"/>
                  <a:pt x="305" y="449"/>
                  <a:pt x="305" y="449"/>
                </a:cubicBezTo>
                <a:cubicBezTo>
                  <a:pt x="305" y="450"/>
                  <a:pt x="306" y="450"/>
                  <a:pt x="306" y="450"/>
                </a:cubicBezTo>
                <a:cubicBezTo>
                  <a:pt x="306" y="450"/>
                  <a:pt x="306" y="450"/>
                  <a:pt x="307" y="450"/>
                </a:cubicBezTo>
                <a:cubicBezTo>
                  <a:pt x="307" y="450"/>
                  <a:pt x="307" y="450"/>
                  <a:pt x="308" y="450"/>
                </a:cubicBezTo>
                <a:cubicBezTo>
                  <a:pt x="308" y="450"/>
                  <a:pt x="308" y="450"/>
                  <a:pt x="308" y="450"/>
                </a:cubicBezTo>
                <a:cubicBezTo>
                  <a:pt x="308" y="450"/>
                  <a:pt x="308" y="450"/>
                  <a:pt x="308" y="450"/>
                </a:cubicBezTo>
                <a:cubicBezTo>
                  <a:pt x="308" y="450"/>
                  <a:pt x="308" y="449"/>
                  <a:pt x="308" y="449"/>
                </a:cubicBezTo>
                <a:cubicBezTo>
                  <a:pt x="308" y="448"/>
                  <a:pt x="309" y="447"/>
                  <a:pt x="311" y="447"/>
                </a:cubicBezTo>
                <a:cubicBezTo>
                  <a:pt x="311" y="447"/>
                  <a:pt x="311" y="447"/>
                  <a:pt x="311" y="447"/>
                </a:cubicBezTo>
                <a:cubicBezTo>
                  <a:pt x="314" y="447"/>
                  <a:pt x="318" y="447"/>
                  <a:pt x="319" y="451"/>
                </a:cubicBezTo>
                <a:cubicBezTo>
                  <a:pt x="319" y="451"/>
                  <a:pt x="319" y="451"/>
                  <a:pt x="319" y="451"/>
                </a:cubicBezTo>
                <a:cubicBezTo>
                  <a:pt x="319" y="451"/>
                  <a:pt x="319" y="452"/>
                  <a:pt x="319" y="452"/>
                </a:cubicBezTo>
                <a:cubicBezTo>
                  <a:pt x="319" y="452"/>
                  <a:pt x="320" y="452"/>
                  <a:pt x="320" y="452"/>
                </a:cubicBezTo>
                <a:cubicBezTo>
                  <a:pt x="320" y="453"/>
                  <a:pt x="321" y="453"/>
                  <a:pt x="321" y="453"/>
                </a:cubicBezTo>
                <a:cubicBezTo>
                  <a:pt x="321" y="453"/>
                  <a:pt x="321" y="453"/>
                  <a:pt x="321" y="453"/>
                </a:cubicBezTo>
                <a:cubicBezTo>
                  <a:pt x="321" y="453"/>
                  <a:pt x="321" y="453"/>
                  <a:pt x="321" y="453"/>
                </a:cubicBezTo>
                <a:cubicBezTo>
                  <a:pt x="321" y="453"/>
                  <a:pt x="321" y="453"/>
                  <a:pt x="321" y="453"/>
                </a:cubicBezTo>
                <a:cubicBezTo>
                  <a:pt x="322" y="453"/>
                  <a:pt x="322" y="453"/>
                  <a:pt x="322" y="453"/>
                </a:cubicBezTo>
                <a:cubicBezTo>
                  <a:pt x="323" y="453"/>
                  <a:pt x="323" y="453"/>
                  <a:pt x="323" y="453"/>
                </a:cubicBezTo>
                <a:cubicBezTo>
                  <a:pt x="323" y="453"/>
                  <a:pt x="323" y="453"/>
                  <a:pt x="324" y="453"/>
                </a:cubicBezTo>
                <a:cubicBezTo>
                  <a:pt x="325" y="453"/>
                  <a:pt x="326" y="454"/>
                  <a:pt x="327" y="454"/>
                </a:cubicBezTo>
                <a:cubicBezTo>
                  <a:pt x="328" y="454"/>
                  <a:pt x="328" y="454"/>
                  <a:pt x="328" y="455"/>
                </a:cubicBezTo>
                <a:cubicBezTo>
                  <a:pt x="328" y="455"/>
                  <a:pt x="329" y="455"/>
                  <a:pt x="329" y="455"/>
                </a:cubicBezTo>
                <a:cubicBezTo>
                  <a:pt x="329" y="455"/>
                  <a:pt x="329" y="455"/>
                  <a:pt x="329" y="455"/>
                </a:cubicBezTo>
                <a:cubicBezTo>
                  <a:pt x="329" y="455"/>
                  <a:pt x="329" y="455"/>
                  <a:pt x="329" y="455"/>
                </a:cubicBezTo>
                <a:cubicBezTo>
                  <a:pt x="329" y="455"/>
                  <a:pt x="329" y="455"/>
                  <a:pt x="329" y="455"/>
                </a:cubicBezTo>
                <a:cubicBezTo>
                  <a:pt x="330" y="454"/>
                  <a:pt x="330" y="454"/>
                  <a:pt x="330" y="454"/>
                </a:cubicBezTo>
                <a:cubicBezTo>
                  <a:pt x="330" y="453"/>
                  <a:pt x="330" y="452"/>
                  <a:pt x="330" y="452"/>
                </a:cubicBezTo>
                <a:cubicBezTo>
                  <a:pt x="330" y="452"/>
                  <a:pt x="330" y="452"/>
                  <a:pt x="330" y="452"/>
                </a:cubicBezTo>
                <a:cubicBezTo>
                  <a:pt x="331" y="452"/>
                  <a:pt x="331" y="451"/>
                  <a:pt x="331" y="451"/>
                </a:cubicBezTo>
                <a:cubicBezTo>
                  <a:pt x="331" y="450"/>
                  <a:pt x="331" y="450"/>
                  <a:pt x="331" y="450"/>
                </a:cubicBezTo>
                <a:cubicBezTo>
                  <a:pt x="334" y="452"/>
                  <a:pt x="334" y="452"/>
                  <a:pt x="334" y="452"/>
                </a:cubicBezTo>
                <a:cubicBezTo>
                  <a:pt x="335" y="452"/>
                  <a:pt x="335" y="452"/>
                  <a:pt x="335" y="452"/>
                </a:cubicBezTo>
                <a:cubicBezTo>
                  <a:pt x="336" y="453"/>
                  <a:pt x="338" y="453"/>
                  <a:pt x="339" y="453"/>
                </a:cubicBezTo>
                <a:cubicBezTo>
                  <a:pt x="340" y="453"/>
                  <a:pt x="340" y="453"/>
                  <a:pt x="340" y="453"/>
                </a:cubicBezTo>
                <a:cubicBezTo>
                  <a:pt x="340" y="453"/>
                  <a:pt x="340" y="453"/>
                  <a:pt x="340" y="453"/>
                </a:cubicBezTo>
                <a:cubicBezTo>
                  <a:pt x="340" y="453"/>
                  <a:pt x="341" y="453"/>
                  <a:pt x="341" y="453"/>
                </a:cubicBezTo>
                <a:cubicBezTo>
                  <a:pt x="342" y="453"/>
                  <a:pt x="344" y="452"/>
                  <a:pt x="345" y="452"/>
                </a:cubicBezTo>
                <a:cubicBezTo>
                  <a:pt x="345" y="452"/>
                  <a:pt x="345" y="452"/>
                  <a:pt x="345" y="452"/>
                </a:cubicBezTo>
                <a:cubicBezTo>
                  <a:pt x="345" y="452"/>
                  <a:pt x="345" y="452"/>
                  <a:pt x="345" y="452"/>
                </a:cubicBezTo>
                <a:cubicBezTo>
                  <a:pt x="345" y="451"/>
                  <a:pt x="345" y="451"/>
                  <a:pt x="345" y="451"/>
                </a:cubicBezTo>
                <a:cubicBezTo>
                  <a:pt x="346" y="450"/>
                  <a:pt x="346" y="450"/>
                  <a:pt x="346" y="450"/>
                </a:cubicBezTo>
                <a:cubicBezTo>
                  <a:pt x="346" y="450"/>
                  <a:pt x="346" y="450"/>
                  <a:pt x="346" y="450"/>
                </a:cubicBezTo>
                <a:cubicBezTo>
                  <a:pt x="346" y="449"/>
                  <a:pt x="346" y="449"/>
                  <a:pt x="346" y="449"/>
                </a:cubicBezTo>
                <a:cubicBezTo>
                  <a:pt x="346" y="448"/>
                  <a:pt x="347" y="447"/>
                  <a:pt x="347" y="447"/>
                </a:cubicBezTo>
                <a:cubicBezTo>
                  <a:pt x="342" y="444"/>
                  <a:pt x="342" y="444"/>
                  <a:pt x="342" y="444"/>
                </a:cubicBezTo>
                <a:cubicBezTo>
                  <a:pt x="338" y="443"/>
                  <a:pt x="338" y="443"/>
                  <a:pt x="338" y="443"/>
                </a:cubicBezTo>
                <a:cubicBezTo>
                  <a:pt x="337" y="442"/>
                  <a:pt x="337" y="442"/>
                  <a:pt x="337" y="442"/>
                </a:cubicBezTo>
                <a:cubicBezTo>
                  <a:pt x="336" y="442"/>
                  <a:pt x="336" y="442"/>
                  <a:pt x="336" y="442"/>
                </a:cubicBezTo>
                <a:cubicBezTo>
                  <a:pt x="335" y="441"/>
                  <a:pt x="335" y="441"/>
                  <a:pt x="335" y="441"/>
                </a:cubicBezTo>
                <a:cubicBezTo>
                  <a:pt x="334" y="441"/>
                  <a:pt x="334" y="441"/>
                  <a:pt x="334" y="441"/>
                </a:cubicBezTo>
                <a:cubicBezTo>
                  <a:pt x="334" y="440"/>
                  <a:pt x="334" y="440"/>
                  <a:pt x="334" y="440"/>
                </a:cubicBezTo>
                <a:cubicBezTo>
                  <a:pt x="333" y="440"/>
                  <a:pt x="333" y="440"/>
                  <a:pt x="332" y="439"/>
                </a:cubicBezTo>
                <a:cubicBezTo>
                  <a:pt x="332" y="439"/>
                  <a:pt x="332" y="439"/>
                  <a:pt x="332" y="439"/>
                </a:cubicBezTo>
                <a:cubicBezTo>
                  <a:pt x="332" y="438"/>
                  <a:pt x="332" y="438"/>
                  <a:pt x="332" y="438"/>
                </a:cubicBezTo>
                <a:cubicBezTo>
                  <a:pt x="331" y="438"/>
                  <a:pt x="331" y="438"/>
                  <a:pt x="331" y="438"/>
                </a:cubicBezTo>
                <a:cubicBezTo>
                  <a:pt x="330" y="437"/>
                  <a:pt x="330" y="437"/>
                  <a:pt x="330" y="437"/>
                </a:cubicBezTo>
                <a:cubicBezTo>
                  <a:pt x="331" y="436"/>
                  <a:pt x="331" y="436"/>
                  <a:pt x="331" y="436"/>
                </a:cubicBezTo>
                <a:cubicBezTo>
                  <a:pt x="331" y="435"/>
                  <a:pt x="331" y="435"/>
                  <a:pt x="331" y="435"/>
                </a:cubicBezTo>
                <a:cubicBezTo>
                  <a:pt x="332" y="435"/>
                  <a:pt x="332" y="435"/>
                  <a:pt x="332" y="435"/>
                </a:cubicBezTo>
                <a:cubicBezTo>
                  <a:pt x="334" y="435"/>
                  <a:pt x="334" y="435"/>
                  <a:pt x="334" y="435"/>
                </a:cubicBezTo>
                <a:cubicBezTo>
                  <a:pt x="334" y="435"/>
                  <a:pt x="334" y="435"/>
                  <a:pt x="334" y="435"/>
                </a:cubicBezTo>
                <a:cubicBezTo>
                  <a:pt x="334" y="435"/>
                  <a:pt x="334" y="435"/>
                  <a:pt x="334" y="435"/>
                </a:cubicBezTo>
                <a:cubicBezTo>
                  <a:pt x="334" y="434"/>
                  <a:pt x="335" y="434"/>
                  <a:pt x="335" y="434"/>
                </a:cubicBezTo>
                <a:cubicBezTo>
                  <a:pt x="336" y="433"/>
                  <a:pt x="336" y="433"/>
                  <a:pt x="336" y="433"/>
                </a:cubicBezTo>
                <a:cubicBezTo>
                  <a:pt x="337" y="433"/>
                  <a:pt x="337" y="433"/>
                  <a:pt x="338" y="433"/>
                </a:cubicBezTo>
                <a:cubicBezTo>
                  <a:pt x="338" y="433"/>
                  <a:pt x="338" y="433"/>
                  <a:pt x="339" y="433"/>
                </a:cubicBezTo>
                <a:cubicBezTo>
                  <a:pt x="339" y="432"/>
                  <a:pt x="339" y="432"/>
                  <a:pt x="339" y="432"/>
                </a:cubicBezTo>
                <a:cubicBezTo>
                  <a:pt x="339" y="432"/>
                  <a:pt x="339" y="432"/>
                  <a:pt x="340" y="432"/>
                </a:cubicBezTo>
                <a:cubicBezTo>
                  <a:pt x="340" y="432"/>
                  <a:pt x="340" y="432"/>
                  <a:pt x="341" y="431"/>
                </a:cubicBezTo>
                <a:cubicBezTo>
                  <a:pt x="341" y="431"/>
                  <a:pt x="341" y="431"/>
                  <a:pt x="341" y="431"/>
                </a:cubicBezTo>
                <a:cubicBezTo>
                  <a:pt x="338" y="428"/>
                  <a:pt x="338" y="428"/>
                  <a:pt x="338" y="428"/>
                </a:cubicBezTo>
                <a:cubicBezTo>
                  <a:pt x="330" y="426"/>
                  <a:pt x="330" y="426"/>
                  <a:pt x="330" y="426"/>
                </a:cubicBezTo>
                <a:cubicBezTo>
                  <a:pt x="338" y="426"/>
                  <a:pt x="338" y="426"/>
                  <a:pt x="338" y="426"/>
                </a:cubicBezTo>
                <a:cubicBezTo>
                  <a:pt x="338" y="425"/>
                  <a:pt x="338" y="425"/>
                  <a:pt x="338" y="425"/>
                </a:cubicBezTo>
                <a:cubicBezTo>
                  <a:pt x="338" y="425"/>
                  <a:pt x="338" y="425"/>
                  <a:pt x="338" y="425"/>
                </a:cubicBezTo>
                <a:cubicBezTo>
                  <a:pt x="339" y="425"/>
                  <a:pt x="339" y="425"/>
                  <a:pt x="339" y="425"/>
                </a:cubicBezTo>
                <a:cubicBezTo>
                  <a:pt x="339" y="424"/>
                  <a:pt x="340" y="424"/>
                  <a:pt x="340" y="423"/>
                </a:cubicBezTo>
                <a:cubicBezTo>
                  <a:pt x="341" y="423"/>
                  <a:pt x="341" y="423"/>
                  <a:pt x="341" y="423"/>
                </a:cubicBezTo>
                <a:cubicBezTo>
                  <a:pt x="341" y="422"/>
                  <a:pt x="341" y="422"/>
                  <a:pt x="341" y="422"/>
                </a:cubicBezTo>
                <a:cubicBezTo>
                  <a:pt x="342" y="422"/>
                  <a:pt x="342" y="422"/>
                  <a:pt x="342" y="422"/>
                </a:cubicBezTo>
                <a:cubicBezTo>
                  <a:pt x="342" y="422"/>
                  <a:pt x="342" y="422"/>
                  <a:pt x="342" y="422"/>
                </a:cubicBezTo>
                <a:cubicBezTo>
                  <a:pt x="342" y="421"/>
                  <a:pt x="343" y="421"/>
                  <a:pt x="343" y="421"/>
                </a:cubicBezTo>
                <a:cubicBezTo>
                  <a:pt x="343" y="421"/>
                  <a:pt x="343" y="421"/>
                  <a:pt x="343" y="421"/>
                </a:cubicBezTo>
                <a:cubicBezTo>
                  <a:pt x="344" y="421"/>
                  <a:pt x="344" y="421"/>
                  <a:pt x="344" y="421"/>
                </a:cubicBezTo>
                <a:cubicBezTo>
                  <a:pt x="344" y="421"/>
                  <a:pt x="345" y="421"/>
                  <a:pt x="345" y="421"/>
                </a:cubicBezTo>
                <a:cubicBezTo>
                  <a:pt x="345" y="421"/>
                  <a:pt x="345" y="421"/>
                  <a:pt x="346" y="421"/>
                </a:cubicBezTo>
                <a:cubicBezTo>
                  <a:pt x="346" y="421"/>
                  <a:pt x="346" y="421"/>
                  <a:pt x="347" y="421"/>
                </a:cubicBezTo>
                <a:cubicBezTo>
                  <a:pt x="347" y="421"/>
                  <a:pt x="347" y="421"/>
                  <a:pt x="347" y="421"/>
                </a:cubicBezTo>
                <a:cubicBezTo>
                  <a:pt x="347" y="421"/>
                  <a:pt x="347" y="421"/>
                  <a:pt x="347" y="421"/>
                </a:cubicBezTo>
                <a:cubicBezTo>
                  <a:pt x="347" y="421"/>
                  <a:pt x="348" y="421"/>
                  <a:pt x="348" y="421"/>
                </a:cubicBezTo>
                <a:cubicBezTo>
                  <a:pt x="348" y="421"/>
                  <a:pt x="348" y="421"/>
                  <a:pt x="348" y="421"/>
                </a:cubicBezTo>
                <a:cubicBezTo>
                  <a:pt x="347" y="421"/>
                  <a:pt x="347" y="421"/>
                  <a:pt x="347" y="421"/>
                </a:cubicBezTo>
                <a:cubicBezTo>
                  <a:pt x="347" y="421"/>
                  <a:pt x="347" y="421"/>
                  <a:pt x="346" y="421"/>
                </a:cubicBezTo>
                <a:cubicBezTo>
                  <a:pt x="346" y="420"/>
                  <a:pt x="346" y="420"/>
                  <a:pt x="346" y="420"/>
                </a:cubicBezTo>
                <a:cubicBezTo>
                  <a:pt x="346" y="420"/>
                  <a:pt x="345" y="420"/>
                  <a:pt x="345" y="420"/>
                </a:cubicBezTo>
                <a:cubicBezTo>
                  <a:pt x="345" y="420"/>
                  <a:pt x="345" y="420"/>
                  <a:pt x="344" y="420"/>
                </a:cubicBezTo>
                <a:cubicBezTo>
                  <a:pt x="344" y="420"/>
                  <a:pt x="344" y="420"/>
                  <a:pt x="344" y="420"/>
                </a:cubicBezTo>
                <a:cubicBezTo>
                  <a:pt x="343" y="420"/>
                  <a:pt x="343" y="420"/>
                  <a:pt x="343" y="420"/>
                </a:cubicBezTo>
                <a:cubicBezTo>
                  <a:pt x="343" y="419"/>
                  <a:pt x="343" y="419"/>
                  <a:pt x="343" y="419"/>
                </a:cubicBezTo>
                <a:cubicBezTo>
                  <a:pt x="341" y="420"/>
                  <a:pt x="341" y="420"/>
                  <a:pt x="341" y="420"/>
                </a:cubicBezTo>
                <a:cubicBezTo>
                  <a:pt x="342" y="419"/>
                  <a:pt x="342" y="419"/>
                  <a:pt x="342" y="419"/>
                </a:cubicBezTo>
                <a:cubicBezTo>
                  <a:pt x="340" y="420"/>
                  <a:pt x="340" y="420"/>
                  <a:pt x="340" y="420"/>
                </a:cubicBezTo>
                <a:cubicBezTo>
                  <a:pt x="342" y="418"/>
                  <a:pt x="342" y="418"/>
                  <a:pt x="342" y="418"/>
                </a:cubicBezTo>
                <a:cubicBezTo>
                  <a:pt x="342" y="418"/>
                  <a:pt x="342" y="418"/>
                  <a:pt x="342" y="418"/>
                </a:cubicBezTo>
                <a:cubicBezTo>
                  <a:pt x="343" y="416"/>
                  <a:pt x="343" y="416"/>
                  <a:pt x="343" y="416"/>
                </a:cubicBezTo>
                <a:cubicBezTo>
                  <a:pt x="343" y="416"/>
                  <a:pt x="343" y="416"/>
                  <a:pt x="343" y="416"/>
                </a:cubicBezTo>
                <a:cubicBezTo>
                  <a:pt x="343" y="416"/>
                  <a:pt x="343" y="416"/>
                  <a:pt x="343" y="416"/>
                </a:cubicBezTo>
                <a:cubicBezTo>
                  <a:pt x="343" y="416"/>
                  <a:pt x="343" y="416"/>
                  <a:pt x="343" y="416"/>
                </a:cubicBezTo>
                <a:cubicBezTo>
                  <a:pt x="342" y="415"/>
                  <a:pt x="342" y="415"/>
                  <a:pt x="342" y="415"/>
                </a:cubicBezTo>
                <a:cubicBezTo>
                  <a:pt x="342" y="415"/>
                  <a:pt x="342" y="415"/>
                  <a:pt x="341" y="415"/>
                </a:cubicBezTo>
                <a:cubicBezTo>
                  <a:pt x="340" y="415"/>
                  <a:pt x="340" y="415"/>
                  <a:pt x="340" y="415"/>
                </a:cubicBezTo>
                <a:cubicBezTo>
                  <a:pt x="340" y="414"/>
                  <a:pt x="340" y="414"/>
                  <a:pt x="340" y="414"/>
                </a:cubicBezTo>
                <a:cubicBezTo>
                  <a:pt x="340" y="413"/>
                  <a:pt x="340" y="413"/>
                  <a:pt x="340" y="413"/>
                </a:cubicBezTo>
                <a:cubicBezTo>
                  <a:pt x="340" y="412"/>
                  <a:pt x="340" y="412"/>
                  <a:pt x="340" y="412"/>
                </a:cubicBezTo>
                <a:cubicBezTo>
                  <a:pt x="341" y="412"/>
                  <a:pt x="341" y="412"/>
                  <a:pt x="341" y="412"/>
                </a:cubicBezTo>
                <a:cubicBezTo>
                  <a:pt x="341" y="412"/>
                  <a:pt x="341" y="412"/>
                  <a:pt x="342" y="412"/>
                </a:cubicBezTo>
                <a:cubicBezTo>
                  <a:pt x="342" y="412"/>
                  <a:pt x="342" y="412"/>
                  <a:pt x="342" y="412"/>
                </a:cubicBezTo>
                <a:cubicBezTo>
                  <a:pt x="342" y="412"/>
                  <a:pt x="342" y="412"/>
                  <a:pt x="342" y="412"/>
                </a:cubicBezTo>
                <a:cubicBezTo>
                  <a:pt x="339" y="409"/>
                  <a:pt x="339" y="409"/>
                  <a:pt x="339" y="409"/>
                </a:cubicBezTo>
                <a:cubicBezTo>
                  <a:pt x="341" y="409"/>
                  <a:pt x="341" y="409"/>
                  <a:pt x="341" y="409"/>
                </a:cubicBezTo>
                <a:cubicBezTo>
                  <a:pt x="342" y="408"/>
                  <a:pt x="342" y="408"/>
                  <a:pt x="342" y="408"/>
                </a:cubicBezTo>
                <a:cubicBezTo>
                  <a:pt x="342" y="408"/>
                  <a:pt x="342" y="408"/>
                  <a:pt x="343" y="408"/>
                </a:cubicBezTo>
                <a:cubicBezTo>
                  <a:pt x="343" y="408"/>
                  <a:pt x="343" y="408"/>
                  <a:pt x="343" y="408"/>
                </a:cubicBezTo>
                <a:cubicBezTo>
                  <a:pt x="343" y="407"/>
                  <a:pt x="344" y="407"/>
                  <a:pt x="345" y="407"/>
                </a:cubicBezTo>
                <a:cubicBezTo>
                  <a:pt x="345" y="406"/>
                  <a:pt x="346" y="406"/>
                  <a:pt x="346" y="406"/>
                </a:cubicBezTo>
                <a:cubicBezTo>
                  <a:pt x="346" y="406"/>
                  <a:pt x="346" y="406"/>
                  <a:pt x="346" y="406"/>
                </a:cubicBezTo>
                <a:cubicBezTo>
                  <a:pt x="346" y="406"/>
                  <a:pt x="346" y="406"/>
                  <a:pt x="346" y="406"/>
                </a:cubicBezTo>
                <a:cubicBezTo>
                  <a:pt x="347" y="407"/>
                  <a:pt x="347" y="407"/>
                  <a:pt x="347" y="407"/>
                </a:cubicBezTo>
                <a:cubicBezTo>
                  <a:pt x="348" y="407"/>
                  <a:pt x="349" y="407"/>
                  <a:pt x="350" y="407"/>
                </a:cubicBezTo>
                <a:cubicBezTo>
                  <a:pt x="350" y="407"/>
                  <a:pt x="350" y="407"/>
                  <a:pt x="350" y="407"/>
                </a:cubicBezTo>
                <a:cubicBezTo>
                  <a:pt x="350" y="407"/>
                  <a:pt x="350" y="407"/>
                  <a:pt x="350" y="407"/>
                </a:cubicBezTo>
                <a:cubicBezTo>
                  <a:pt x="353" y="407"/>
                  <a:pt x="353" y="407"/>
                  <a:pt x="353" y="407"/>
                </a:cubicBezTo>
                <a:cubicBezTo>
                  <a:pt x="353" y="406"/>
                  <a:pt x="353" y="406"/>
                  <a:pt x="353" y="406"/>
                </a:cubicBezTo>
                <a:cubicBezTo>
                  <a:pt x="354" y="407"/>
                  <a:pt x="354" y="407"/>
                  <a:pt x="354" y="407"/>
                </a:cubicBezTo>
                <a:cubicBezTo>
                  <a:pt x="354" y="407"/>
                  <a:pt x="354" y="407"/>
                  <a:pt x="354" y="407"/>
                </a:cubicBezTo>
                <a:cubicBezTo>
                  <a:pt x="354" y="407"/>
                  <a:pt x="354" y="407"/>
                  <a:pt x="355" y="407"/>
                </a:cubicBezTo>
                <a:cubicBezTo>
                  <a:pt x="355" y="407"/>
                  <a:pt x="355" y="407"/>
                  <a:pt x="355" y="407"/>
                </a:cubicBezTo>
                <a:cubicBezTo>
                  <a:pt x="355" y="407"/>
                  <a:pt x="355" y="407"/>
                  <a:pt x="355" y="407"/>
                </a:cubicBezTo>
                <a:cubicBezTo>
                  <a:pt x="356" y="407"/>
                  <a:pt x="356" y="407"/>
                  <a:pt x="356" y="407"/>
                </a:cubicBezTo>
                <a:cubicBezTo>
                  <a:pt x="357" y="407"/>
                  <a:pt x="357" y="407"/>
                  <a:pt x="357" y="407"/>
                </a:cubicBezTo>
                <a:cubicBezTo>
                  <a:pt x="357" y="407"/>
                  <a:pt x="357" y="407"/>
                  <a:pt x="357" y="407"/>
                </a:cubicBezTo>
                <a:cubicBezTo>
                  <a:pt x="358" y="406"/>
                  <a:pt x="358" y="406"/>
                  <a:pt x="358" y="406"/>
                </a:cubicBezTo>
                <a:cubicBezTo>
                  <a:pt x="358" y="406"/>
                  <a:pt x="358" y="406"/>
                  <a:pt x="358" y="406"/>
                </a:cubicBezTo>
                <a:cubicBezTo>
                  <a:pt x="358" y="406"/>
                  <a:pt x="358" y="406"/>
                  <a:pt x="358" y="406"/>
                </a:cubicBezTo>
                <a:cubicBezTo>
                  <a:pt x="359" y="406"/>
                  <a:pt x="359" y="406"/>
                  <a:pt x="359" y="406"/>
                </a:cubicBezTo>
                <a:cubicBezTo>
                  <a:pt x="359" y="406"/>
                  <a:pt x="359" y="406"/>
                  <a:pt x="359" y="406"/>
                </a:cubicBezTo>
                <a:cubicBezTo>
                  <a:pt x="360" y="406"/>
                  <a:pt x="360" y="406"/>
                  <a:pt x="360" y="406"/>
                </a:cubicBezTo>
                <a:cubicBezTo>
                  <a:pt x="360" y="406"/>
                  <a:pt x="360" y="406"/>
                  <a:pt x="360" y="406"/>
                </a:cubicBezTo>
                <a:cubicBezTo>
                  <a:pt x="360" y="406"/>
                  <a:pt x="360" y="406"/>
                  <a:pt x="360" y="406"/>
                </a:cubicBezTo>
                <a:cubicBezTo>
                  <a:pt x="358" y="406"/>
                  <a:pt x="358" y="406"/>
                  <a:pt x="358" y="406"/>
                </a:cubicBezTo>
                <a:cubicBezTo>
                  <a:pt x="364" y="405"/>
                  <a:pt x="364" y="405"/>
                  <a:pt x="364" y="405"/>
                </a:cubicBezTo>
                <a:cubicBezTo>
                  <a:pt x="364" y="402"/>
                  <a:pt x="364" y="402"/>
                  <a:pt x="364" y="402"/>
                </a:cubicBezTo>
                <a:cubicBezTo>
                  <a:pt x="364" y="405"/>
                  <a:pt x="364" y="405"/>
                  <a:pt x="364" y="405"/>
                </a:cubicBezTo>
                <a:cubicBezTo>
                  <a:pt x="369" y="404"/>
                  <a:pt x="369" y="404"/>
                  <a:pt x="369" y="404"/>
                </a:cubicBezTo>
                <a:cubicBezTo>
                  <a:pt x="369" y="404"/>
                  <a:pt x="369" y="404"/>
                  <a:pt x="370" y="404"/>
                </a:cubicBezTo>
                <a:cubicBezTo>
                  <a:pt x="370" y="403"/>
                  <a:pt x="370" y="403"/>
                  <a:pt x="370" y="403"/>
                </a:cubicBezTo>
                <a:cubicBezTo>
                  <a:pt x="371" y="404"/>
                  <a:pt x="371" y="404"/>
                  <a:pt x="371" y="404"/>
                </a:cubicBezTo>
                <a:cubicBezTo>
                  <a:pt x="372" y="403"/>
                  <a:pt x="372" y="403"/>
                  <a:pt x="372" y="403"/>
                </a:cubicBezTo>
                <a:cubicBezTo>
                  <a:pt x="372" y="403"/>
                  <a:pt x="372" y="403"/>
                  <a:pt x="372" y="403"/>
                </a:cubicBezTo>
                <a:cubicBezTo>
                  <a:pt x="373" y="403"/>
                  <a:pt x="373" y="403"/>
                  <a:pt x="373" y="403"/>
                </a:cubicBezTo>
                <a:cubicBezTo>
                  <a:pt x="373" y="403"/>
                  <a:pt x="373" y="403"/>
                  <a:pt x="373" y="403"/>
                </a:cubicBezTo>
                <a:cubicBezTo>
                  <a:pt x="373" y="403"/>
                  <a:pt x="373" y="403"/>
                  <a:pt x="373" y="403"/>
                </a:cubicBezTo>
                <a:cubicBezTo>
                  <a:pt x="374" y="403"/>
                  <a:pt x="374" y="403"/>
                  <a:pt x="374" y="403"/>
                </a:cubicBezTo>
                <a:cubicBezTo>
                  <a:pt x="374" y="403"/>
                  <a:pt x="374" y="403"/>
                  <a:pt x="374" y="403"/>
                </a:cubicBezTo>
                <a:cubicBezTo>
                  <a:pt x="376" y="402"/>
                  <a:pt x="376" y="402"/>
                  <a:pt x="376" y="402"/>
                </a:cubicBezTo>
                <a:cubicBezTo>
                  <a:pt x="376" y="403"/>
                  <a:pt x="376" y="403"/>
                  <a:pt x="376" y="403"/>
                </a:cubicBezTo>
                <a:cubicBezTo>
                  <a:pt x="376" y="402"/>
                  <a:pt x="376" y="402"/>
                  <a:pt x="377" y="402"/>
                </a:cubicBezTo>
                <a:cubicBezTo>
                  <a:pt x="377" y="402"/>
                  <a:pt x="377" y="402"/>
                  <a:pt x="377" y="402"/>
                </a:cubicBezTo>
                <a:cubicBezTo>
                  <a:pt x="377" y="402"/>
                  <a:pt x="377" y="402"/>
                  <a:pt x="377" y="402"/>
                </a:cubicBezTo>
                <a:cubicBezTo>
                  <a:pt x="378" y="402"/>
                  <a:pt x="378" y="402"/>
                  <a:pt x="378" y="402"/>
                </a:cubicBezTo>
                <a:cubicBezTo>
                  <a:pt x="378" y="402"/>
                  <a:pt x="378" y="402"/>
                  <a:pt x="379" y="402"/>
                </a:cubicBezTo>
                <a:cubicBezTo>
                  <a:pt x="379" y="402"/>
                  <a:pt x="379" y="402"/>
                  <a:pt x="379" y="402"/>
                </a:cubicBezTo>
                <a:cubicBezTo>
                  <a:pt x="379" y="402"/>
                  <a:pt x="379" y="402"/>
                  <a:pt x="380" y="402"/>
                </a:cubicBezTo>
                <a:cubicBezTo>
                  <a:pt x="380" y="402"/>
                  <a:pt x="380" y="402"/>
                  <a:pt x="380" y="402"/>
                </a:cubicBezTo>
                <a:cubicBezTo>
                  <a:pt x="380" y="402"/>
                  <a:pt x="380" y="402"/>
                  <a:pt x="380" y="402"/>
                </a:cubicBezTo>
                <a:cubicBezTo>
                  <a:pt x="381" y="402"/>
                  <a:pt x="381" y="402"/>
                  <a:pt x="381" y="402"/>
                </a:cubicBezTo>
                <a:cubicBezTo>
                  <a:pt x="381" y="402"/>
                  <a:pt x="382" y="401"/>
                  <a:pt x="383" y="402"/>
                </a:cubicBezTo>
                <a:cubicBezTo>
                  <a:pt x="383" y="402"/>
                  <a:pt x="383" y="401"/>
                  <a:pt x="383" y="401"/>
                </a:cubicBezTo>
                <a:cubicBezTo>
                  <a:pt x="383" y="401"/>
                  <a:pt x="383" y="401"/>
                  <a:pt x="383" y="401"/>
                </a:cubicBezTo>
                <a:cubicBezTo>
                  <a:pt x="384" y="401"/>
                  <a:pt x="384" y="401"/>
                  <a:pt x="384" y="401"/>
                </a:cubicBezTo>
                <a:cubicBezTo>
                  <a:pt x="384" y="401"/>
                  <a:pt x="384" y="401"/>
                  <a:pt x="384" y="401"/>
                </a:cubicBezTo>
                <a:cubicBezTo>
                  <a:pt x="384" y="400"/>
                  <a:pt x="384" y="400"/>
                  <a:pt x="384" y="400"/>
                </a:cubicBezTo>
                <a:cubicBezTo>
                  <a:pt x="381" y="399"/>
                  <a:pt x="381" y="399"/>
                  <a:pt x="381" y="399"/>
                </a:cubicBezTo>
                <a:cubicBezTo>
                  <a:pt x="388" y="398"/>
                  <a:pt x="388" y="398"/>
                  <a:pt x="388" y="398"/>
                </a:cubicBezTo>
                <a:cubicBezTo>
                  <a:pt x="389" y="398"/>
                  <a:pt x="389" y="398"/>
                  <a:pt x="389" y="398"/>
                </a:cubicBezTo>
                <a:cubicBezTo>
                  <a:pt x="390" y="398"/>
                  <a:pt x="390" y="398"/>
                  <a:pt x="390" y="398"/>
                </a:cubicBezTo>
                <a:cubicBezTo>
                  <a:pt x="391" y="398"/>
                  <a:pt x="391" y="398"/>
                  <a:pt x="391" y="398"/>
                </a:cubicBezTo>
                <a:cubicBezTo>
                  <a:pt x="392" y="398"/>
                  <a:pt x="392" y="397"/>
                  <a:pt x="392" y="397"/>
                </a:cubicBezTo>
                <a:cubicBezTo>
                  <a:pt x="392" y="397"/>
                  <a:pt x="392" y="397"/>
                  <a:pt x="393" y="397"/>
                </a:cubicBezTo>
                <a:cubicBezTo>
                  <a:pt x="393" y="397"/>
                  <a:pt x="393" y="397"/>
                  <a:pt x="393" y="398"/>
                </a:cubicBezTo>
                <a:cubicBezTo>
                  <a:pt x="394" y="398"/>
                  <a:pt x="394" y="398"/>
                  <a:pt x="394" y="398"/>
                </a:cubicBezTo>
                <a:cubicBezTo>
                  <a:pt x="395" y="398"/>
                  <a:pt x="395" y="398"/>
                  <a:pt x="395" y="398"/>
                </a:cubicBezTo>
                <a:cubicBezTo>
                  <a:pt x="396" y="398"/>
                  <a:pt x="396" y="398"/>
                  <a:pt x="397" y="398"/>
                </a:cubicBezTo>
                <a:cubicBezTo>
                  <a:pt x="397" y="397"/>
                  <a:pt x="397" y="397"/>
                  <a:pt x="397" y="397"/>
                </a:cubicBezTo>
                <a:cubicBezTo>
                  <a:pt x="398" y="397"/>
                  <a:pt x="399" y="397"/>
                  <a:pt x="399" y="397"/>
                </a:cubicBezTo>
                <a:cubicBezTo>
                  <a:pt x="398" y="397"/>
                  <a:pt x="398" y="397"/>
                  <a:pt x="398" y="397"/>
                </a:cubicBezTo>
                <a:cubicBezTo>
                  <a:pt x="402" y="396"/>
                  <a:pt x="402" y="396"/>
                  <a:pt x="402" y="396"/>
                </a:cubicBezTo>
                <a:cubicBezTo>
                  <a:pt x="403" y="396"/>
                  <a:pt x="403" y="396"/>
                  <a:pt x="403" y="396"/>
                </a:cubicBezTo>
                <a:cubicBezTo>
                  <a:pt x="404" y="396"/>
                  <a:pt x="404" y="396"/>
                  <a:pt x="405" y="396"/>
                </a:cubicBezTo>
                <a:cubicBezTo>
                  <a:pt x="406" y="395"/>
                  <a:pt x="406" y="395"/>
                  <a:pt x="406" y="395"/>
                </a:cubicBezTo>
                <a:cubicBezTo>
                  <a:pt x="406" y="395"/>
                  <a:pt x="406" y="395"/>
                  <a:pt x="406" y="395"/>
                </a:cubicBezTo>
                <a:cubicBezTo>
                  <a:pt x="407" y="395"/>
                  <a:pt x="407" y="395"/>
                  <a:pt x="407" y="395"/>
                </a:cubicBezTo>
                <a:cubicBezTo>
                  <a:pt x="411" y="394"/>
                  <a:pt x="411" y="394"/>
                  <a:pt x="411" y="394"/>
                </a:cubicBezTo>
                <a:cubicBezTo>
                  <a:pt x="411" y="394"/>
                  <a:pt x="411" y="394"/>
                  <a:pt x="411" y="394"/>
                </a:cubicBezTo>
                <a:cubicBezTo>
                  <a:pt x="411" y="394"/>
                  <a:pt x="411" y="394"/>
                  <a:pt x="411" y="394"/>
                </a:cubicBezTo>
                <a:cubicBezTo>
                  <a:pt x="412" y="394"/>
                  <a:pt x="412" y="394"/>
                  <a:pt x="412" y="394"/>
                </a:cubicBezTo>
                <a:cubicBezTo>
                  <a:pt x="413" y="393"/>
                  <a:pt x="413" y="393"/>
                  <a:pt x="414" y="394"/>
                </a:cubicBezTo>
                <a:cubicBezTo>
                  <a:pt x="414" y="394"/>
                  <a:pt x="414" y="394"/>
                  <a:pt x="414" y="394"/>
                </a:cubicBezTo>
                <a:cubicBezTo>
                  <a:pt x="414" y="394"/>
                  <a:pt x="414" y="394"/>
                  <a:pt x="414" y="394"/>
                </a:cubicBezTo>
                <a:cubicBezTo>
                  <a:pt x="414" y="394"/>
                  <a:pt x="414" y="394"/>
                  <a:pt x="415" y="394"/>
                </a:cubicBezTo>
                <a:cubicBezTo>
                  <a:pt x="415" y="393"/>
                  <a:pt x="415" y="393"/>
                  <a:pt x="415" y="393"/>
                </a:cubicBezTo>
                <a:cubicBezTo>
                  <a:pt x="415" y="393"/>
                  <a:pt x="415" y="393"/>
                  <a:pt x="416" y="393"/>
                </a:cubicBezTo>
                <a:cubicBezTo>
                  <a:pt x="416" y="393"/>
                  <a:pt x="416" y="393"/>
                  <a:pt x="416" y="393"/>
                </a:cubicBezTo>
                <a:cubicBezTo>
                  <a:pt x="416" y="392"/>
                  <a:pt x="417" y="392"/>
                  <a:pt x="417" y="392"/>
                </a:cubicBezTo>
                <a:cubicBezTo>
                  <a:pt x="418" y="392"/>
                  <a:pt x="419" y="391"/>
                  <a:pt x="419" y="391"/>
                </a:cubicBezTo>
                <a:cubicBezTo>
                  <a:pt x="419" y="390"/>
                  <a:pt x="419" y="390"/>
                  <a:pt x="419" y="390"/>
                </a:cubicBezTo>
                <a:cubicBezTo>
                  <a:pt x="420" y="389"/>
                  <a:pt x="420" y="389"/>
                  <a:pt x="420" y="389"/>
                </a:cubicBezTo>
                <a:cubicBezTo>
                  <a:pt x="420" y="388"/>
                  <a:pt x="421" y="388"/>
                  <a:pt x="422" y="388"/>
                </a:cubicBezTo>
                <a:cubicBezTo>
                  <a:pt x="422" y="388"/>
                  <a:pt x="422" y="388"/>
                  <a:pt x="422" y="388"/>
                </a:cubicBezTo>
                <a:cubicBezTo>
                  <a:pt x="422" y="388"/>
                  <a:pt x="422" y="388"/>
                  <a:pt x="422" y="388"/>
                </a:cubicBezTo>
                <a:cubicBezTo>
                  <a:pt x="424" y="388"/>
                  <a:pt x="424" y="388"/>
                  <a:pt x="424" y="388"/>
                </a:cubicBezTo>
                <a:cubicBezTo>
                  <a:pt x="425" y="388"/>
                  <a:pt x="425" y="388"/>
                  <a:pt x="425" y="388"/>
                </a:cubicBezTo>
                <a:cubicBezTo>
                  <a:pt x="425" y="388"/>
                  <a:pt x="425" y="388"/>
                  <a:pt x="425" y="388"/>
                </a:cubicBezTo>
                <a:cubicBezTo>
                  <a:pt x="426" y="388"/>
                  <a:pt x="426" y="388"/>
                  <a:pt x="426" y="388"/>
                </a:cubicBezTo>
                <a:cubicBezTo>
                  <a:pt x="426" y="388"/>
                  <a:pt x="426" y="388"/>
                  <a:pt x="426" y="388"/>
                </a:cubicBezTo>
                <a:cubicBezTo>
                  <a:pt x="426" y="388"/>
                  <a:pt x="426" y="388"/>
                  <a:pt x="426" y="388"/>
                </a:cubicBezTo>
                <a:cubicBezTo>
                  <a:pt x="426" y="388"/>
                  <a:pt x="426" y="388"/>
                  <a:pt x="427" y="388"/>
                </a:cubicBezTo>
                <a:cubicBezTo>
                  <a:pt x="430" y="388"/>
                  <a:pt x="430" y="388"/>
                  <a:pt x="430" y="388"/>
                </a:cubicBezTo>
                <a:cubicBezTo>
                  <a:pt x="431" y="388"/>
                  <a:pt x="431" y="389"/>
                  <a:pt x="432" y="389"/>
                </a:cubicBezTo>
                <a:cubicBezTo>
                  <a:pt x="433" y="389"/>
                  <a:pt x="433" y="389"/>
                  <a:pt x="433" y="389"/>
                </a:cubicBezTo>
                <a:cubicBezTo>
                  <a:pt x="433" y="390"/>
                  <a:pt x="433" y="390"/>
                  <a:pt x="434" y="390"/>
                </a:cubicBezTo>
                <a:cubicBezTo>
                  <a:pt x="434" y="390"/>
                  <a:pt x="434" y="390"/>
                  <a:pt x="434" y="390"/>
                </a:cubicBezTo>
                <a:cubicBezTo>
                  <a:pt x="434" y="390"/>
                  <a:pt x="434" y="390"/>
                  <a:pt x="434" y="391"/>
                </a:cubicBezTo>
                <a:cubicBezTo>
                  <a:pt x="435" y="391"/>
                  <a:pt x="435" y="391"/>
                  <a:pt x="436" y="391"/>
                </a:cubicBezTo>
                <a:cubicBezTo>
                  <a:pt x="436" y="391"/>
                  <a:pt x="436" y="391"/>
                  <a:pt x="436" y="391"/>
                </a:cubicBezTo>
                <a:cubicBezTo>
                  <a:pt x="437" y="391"/>
                  <a:pt x="438" y="390"/>
                  <a:pt x="439" y="389"/>
                </a:cubicBezTo>
                <a:cubicBezTo>
                  <a:pt x="439" y="389"/>
                  <a:pt x="439" y="389"/>
                  <a:pt x="439" y="389"/>
                </a:cubicBezTo>
                <a:cubicBezTo>
                  <a:pt x="442" y="389"/>
                  <a:pt x="442" y="389"/>
                  <a:pt x="442" y="389"/>
                </a:cubicBezTo>
                <a:cubicBezTo>
                  <a:pt x="442" y="389"/>
                  <a:pt x="442" y="389"/>
                  <a:pt x="442" y="389"/>
                </a:cubicBezTo>
                <a:cubicBezTo>
                  <a:pt x="443" y="389"/>
                  <a:pt x="443" y="390"/>
                  <a:pt x="444" y="390"/>
                </a:cubicBezTo>
                <a:cubicBezTo>
                  <a:pt x="444" y="392"/>
                  <a:pt x="445" y="393"/>
                  <a:pt x="446" y="394"/>
                </a:cubicBezTo>
                <a:cubicBezTo>
                  <a:pt x="448" y="398"/>
                  <a:pt x="448" y="398"/>
                  <a:pt x="448" y="398"/>
                </a:cubicBezTo>
                <a:cubicBezTo>
                  <a:pt x="448" y="399"/>
                  <a:pt x="448" y="399"/>
                  <a:pt x="448" y="400"/>
                </a:cubicBezTo>
                <a:cubicBezTo>
                  <a:pt x="448" y="400"/>
                  <a:pt x="448" y="400"/>
                  <a:pt x="448" y="400"/>
                </a:cubicBezTo>
                <a:cubicBezTo>
                  <a:pt x="447" y="401"/>
                  <a:pt x="447" y="401"/>
                  <a:pt x="447" y="401"/>
                </a:cubicBezTo>
                <a:cubicBezTo>
                  <a:pt x="447" y="401"/>
                  <a:pt x="447" y="401"/>
                  <a:pt x="447" y="401"/>
                </a:cubicBezTo>
                <a:cubicBezTo>
                  <a:pt x="447" y="401"/>
                  <a:pt x="447" y="402"/>
                  <a:pt x="447" y="402"/>
                </a:cubicBezTo>
                <a:cubicBezTo>
                  <a:pt x="447" y="402"/>
                  <a:pt x="447" y="402"/>
                  <a:pt x="447" y="402"/>
                </a:cubicBezTo>
                <a:cubicBezTo>
                  <a:pt x="447" y="402"/>
                  <a:pt x="447" y="402"/>
                  <a:pt x="447" y="402"/>
                </a:cubicBezTo>
                <a:cubicBezTo>
                  <a:pt x="447" y="402"/>
                  <a:pt x="447" y="402"/>
                  <a:pt x="447" y="402"/>
                </a:cubicBezTo>
                <a:cubicBezTo>
                  <a:pt x="448" y="403"/>
                  <a:pt x="448" y="403"/>
                  <a:pt x="448" y="403"/>
                </a:cubicBezTo>
                <a:cubicBezTo>
                  <a:pt x="448" y="404"/>
                  <a:pt x="447" y="405"/>
                  <a:pt x="447" y="405"/>
                </a:cubicBezTo>
                <a:cubicBezTo>
                  <a:pt x="447" y="405"/>
                  <a:pt x="446" y="405"/>
                  <a:pt x="446" y="405"/>
                </a:cubicBezTo>
                <a:cubicBezTo>
                  <a:pt x="446" y="406"/>
                  <a:pt x="446" y="406"/>
                  <a:pt x="446" y="406"/>
                </a:cubicBezTo>
                <a:cubicBezTo>
                  <a:pt x="447" y="406"/>
                  <a:pt x="447" y="406"/>
                  <a:pt x="447" y="406"/>
                </a:cubicBezTo>
                <a:cubicBezTo>
                  <a:pt x="447" y="406"/>
                  <a:pt x="447" y="406"/>
                  <a:pt x="447" y="406"/>
                </a:cubicBezTo>
                <a:cubicBezTo>
                  <a:pt x="448" y="406"/>
                  <a:pt x="449" y="406"/>
                  <a:pt x="449" y="406"/>
                </a:cubicBezTo>
                <a:cubicBezTo>
                  <a:pt x="451" y="405"/>
                  <a:pt x="451" y="405"/>
                  <a:pt x="451" y="405"/>
                </a:cubicBezTo>
                <a:cubicBezTo>
                  <a:pt x="454" y="405"/>
                  <a:pt x="454" y="405"/>
                  <a:pt x="454" y="405"/>
                </a:cubicBezTo>
                <a:cubicBezTo>
                  <a:pt x="454" y="405"/>
                  <a:pt x="454" y="405"/>
                  <a:pt x="454" y="405"/>
                </a:cubicBezTo>
                <a:cubicBezTo>
                  <a:pt x="454" y="404"/>
                  <a:pt x="454" y="404"/>
                  <a:pt x="454" y="404"/>
                </a:cubicBezTo>
                <a:cubicBezTo>
                  <a:pt x="454" y="403"/>
                  <a:pt x="454" y="403"/>
                  <a:pt x="454" y="403"/>
                </a:cubicBezTo>
                <a:cubicBezTo>
                  <a:pt x="456" y="402"/>
                  <a:pt x="456" y="402"/>
                  <a:pt x="456" y="402"/>
                </a:cubicBezTo>
                <a:cubicBezTo>
                  <a:pt x="457" y="402"/>
                  <a:pt x="457" y="402"/>
                  <a:pt x="457" y="402"/>
                </a:cubicBezTo>
                <a:cubicBezTo>
                  <a:pt x="457" y="403"/>
                  <a:pt x="457" y="403"/>
                  <a:pt x="457" y="403"/>
                </a:cubicBezTo>
                <a:cubicBezTo>
                  <a:pt x="459" y="404"/>
                  <a:pt x="459" y="404"/>
                  <a:pt x="459" y="404"/>
                </a:cubicBezTo>
                <a:cubicBezTo>
                  <a:pt x="459" y="405"/>
                  <a:pt x="459" y="405"/>
                  <a:pt x="459" y="406"/>
                </a:cubicBezTo>
                <a:cubicBezTo>
                  <a:pt x="459" y="406"/>
                  <a:pt x="459" y="406"/>
                  <a:pt x="460" y="406"/>
                </a:cubicBezTo>
                <a:cubicBezTo>
                  <a:pt x="460" y="406"/>
                  <a:pt x="460" y="406"/>
                  <a:pt x="460" y="406"/>
                </a:cubicBezTo>
                <a:cubicBezTo>
                  <a:pt x="460" y="405"/>
                  <a:pt x="461" y="405"/>
                  <a:pt x="461" y="406"/>
                </a:cubicBezTo>
                <a:cubicBezTo>
                  <a:pt x="462" y="406"/>
                  <a:pt x="462" y="406"/>
                  <a:pt x="462" y="406"/>
                </a:cubicBezTo>
                <a:cubicBezTo>
                  <a:pt x="462" y="406"/>
                  <a:pt x="462" y="406"/>
                  <a:pt x="462" y="406"/>
                </a:cubicBezTo>
                <a:cubicBezTo>
                  <a:pt x="462" y="406"/>
                  <a:pt x="463" y="406"/>
                  <a:pt x="463" y="406"/>
                </a:cubicBezTo>
                <a:cubicBezTo>
                  <a:pt x="463" y="406"/>
                  <a:pt x="463" y="406"/>
                  <a:pt x="463" y="406"/>
                </a:cubicBezTo>
                <a:cubicBezTo>
                  <a:pt x="464" y="407"/>
                  <a:pt x="465" y="407"/>
                  <a:pt x="466" y="408"/>
                </a:cubicBezTo>
                <a:cubicBezTo>
                  <a:pt x="466" y="408"/>
                  <a:pt x="466" y="408"/>
                  <a:pt x="466" y="408"/>
                </a:cubicBezTo>
                <a:cubicBezTo>
                  <a:pt x="475" y="406"/>
                  <a:pt x="475" y="406"/>
                  <a:pt x="475" y="406"/>
                </a:cubicBezTo>
                <a:cubicBezTo>
                  <a:pt x="473" y="408"/>
                  <a:pt x="473" y="408"/>
                  <a:pt x="473" y="408"/>
                </a:cubicBezTo>
                <a:cubicBezTo>
                  <a:pt x="473" y="409"/>
                  <a:pt x="473" y="409"/>
                  <a:pt x="473" y="409"/>
                </a:cubicBezTo>
                <a:cubicBezTo>
                  <a:pt x="472" y="410"/>
                  <a:pt x="472" y="410"/>
                  <a:pt x="472" y="410"/>
                </a:cubicBezTo>
                <a:cubicBezTo>
                  <a:pt x="471" y="410"/>
                  <a:pt x="471" y="411"/>
                  <a:pt x="471" y="411"/>
                </a:cubicBezTo>
                <a:cubicBezTo>
                  <a:pt x="470" y="412"/>
                  <a:pt x="470" y="412"/>
                  <a:pt x="470" y="412"/>
                </a:cubicBezTo>
                <a:cubicBezTo>
                  <a:pt x="470" y="412"/>
                  <a:pt x="470" y="412"/>
                  <a:pt x="470" y="412"/>
                </a:cubicBezTo>
                <a:cubicBezTo>
                  <a:pt x="469" y="412"/>
                  <a:pt x="469" y="413"/>
                  <a:pt x="469" y="413"/>
                </a:cubicBezTo>
                <a:cubicBezTo>
                  <a:pt x="468" y="413"/>
                  <a:pt x="468" y="413"/>
                  <a:pt x="468" y="413"/>
                </a:cubicBezTo>
                <a:cubicBezTo>
                  <a:pt x="469" y="415"/>
                  <a:pt x="469" y="415"/>
                  <a:pt x="469" y="415"/>
                </a:cubicBezTo>
                <a:cubicBezTo>
                  <a:pt x="470" y="414"/>
                  <a:pt x="470" y="414"/>
                  <a:pt x="470" y="414"/>
                </a:cubicBezTo>
                <a:cubicBezTo>
                  <a:pt x="471" y="413"/>
                  <a:pt x="472" y="413"/>
                  <a:pt x="473" y="413"/>
                </a:cubicBezTo>
                <a:cubicBezTo>
                  <a:pt x="476" y="413"/>
                  <a:pt x="476" y="413"/>
                  <a:pt x="476" y="413"/>
                </a:cubicBezTo>
                <a:cubicBezTo>
                  <a:pt x="477" y="414"/>
                  <a:pt x="477" y="414"/>
                  <a:pt x="477" y="414"/>
                </a:cubicBezTo>
                <a:cubicBezTo>
                  <a:pt x="478" y="414"/>
                  <a:pt x="478" y="414"/>
                  <a:pt x="478" y="414"/>
                </a:cubicBezTo>
                <a:cubicBezTo>
                  <a:pt x="478" y="414"/>
                  <a:pt x="478" y="414"/>
                  <a:pt x="478" y="414"/>
                </a:cubicBezTo>
                <a:cubicBezTo>
                  <a:pt x="478" y="413"/>
                  <a:pt x="478" y="413"/>
                  <a:pt x="478" y="413"/>
                </a:cubicBezTo>
                <a:cubicBezTo>
                  <a:pt x="478" y="413"/>
                  <a:pt x="479" y="412"/>
                  <a:pt x="479" y="412"/>
                </a:cubicBezTo>
                <a:cubicBezTo>
                  <a:pt x="479" y="412"/>
                  <a:pt x="479" y="412"/>
                  <a:pt x="479" y="412"/>
                </a:cubicBezTo>
                <a:cubicBezTo>
                  <a:pt x="484" y="410"/>
                  <a:pt x="484" y="410"/>
                  <a:pt x="484" y="410"/>
                </a:cubicBezTo>
                <a:cubicBezTo>
                  <a:pt x="485" y="409"/>
                  <a:pt x="487" y="408"/>
                  <a:pt x="488" y="408"/>
                </a:cubicBezTo>
                <a:cubicBezTo>
                  <a:pt x="489" y="407"/>
                  <a:pt x="491" y="406"/>
                  <a:pt x="492" y="406"/>
                </a:cubicBezTo>
                <a:cubicBezTo>
                  <a:pt x="512" y="398"/>
                  <a:pt x="512" y="398"/>
                  <a:pt x="512" y="398"/>
                </a:cubicBezTo>
                <a:cubicBezTo>
                  <a:pt x="504" y="404"/>
                  <a:pt x="504" y="404"/>
                  <a:pt x="504" y="404"/>
                </a:cubicBezTo>
                <a:cubicBezTo>
                  <a:pt x="504" y="405"/>
                  <a:pt x="504" y="405"/>
                  <a:pt x="504" y="405"/>
                </a:cubicBezTo>
                <a:cubicBezTo>
                  <a:pt x="504" y="405"/>
                  <a:pt x="504" y="406"/>
                  <a:pt x="504" y="406"/>
                </a:cubicBezTo>
                <a:cubicBezTo>
                  <a:pt x="504" y="407"/>
                  <a:pt x="504" y="407"/>
                  <a:pt x="504" y="407"/>
                </a:cubicBezTo>
                <a:cubicBezTo>
                  <a:pt x="504" y="407"/>
                  <a:pt x="504" y="407"/>
                  <a:pt x="504" y="407"/>
                </a:cubicBezTo>
                <a:cubicBezTo>
                  <a:pt x="504" y="407"/>
                  <a:pt x="504" y="407"/>
                  <a:pt x="504" y="407"/>
                </a:cubicBezTo>
                <a:cubicBezTo>
                  <a:pt x="503" y="407"/>
                  <a:pt x="503" y="407"/>
                  <a:pt x="503" y="407"/>
                </a:cubicBezTo>
                <a:cubicBezTo>
                  <a:pt x="503" y="407"/>
                  <a:pt x="503" y="408"/>
                  <a:pt x="503" y="408"/>
                </a:cubicBezTo>
                <a:cubicBezTo>
                  <a:pt x="503" y="408"/>
                  <a:pt x="503" y="408"/>
                  <a:pt x="503" y="408"/>
                </a:cubicBezTo>
                <a:cubicBezTo>
                  <a:pt x="503" y="408"/>
                  <a:pt x="504" y="409"/>
                  <a:pt x="504" y="409"/>
                </a:cubicBezTo>
                <a:cubicBezTo>
                  <a:pt x="506" y="411"/>
                  <a:pt x="506" y="411"/>
                  <a:pt x="506" y="411"/>
                </a:cubicBezTo>
                <a:cubicBezTo>
                  <a:pt x="512" y="415"/>
                  <a:pt x="512" y="415"/>
                  <a:pt x="512" y="415"/>
                </a:cubicBezTo>
                <a:cubicBezTo>
                  <a:pt x="514" y="416"/>
                  <a:pt x="515" y="418"/>
                  <a:pt x="516" y="419"/>
                </a:cubicBezTo>
                <a:cubicBezTo>
                  <a:pt x="521" y="425"/>
                  <a:pt x="521" y="425"/>
                  <a:pt x="521" y="425"/>
                </a:cubicBezTo>
                <a:cubicBezTo>
                  <a:pt x="522" y="428"/>
                  <a:pt x="522" y="428"/>
                  <a:pt x="522" y="428"/>
                </a:cubicBezTo>
                <a:cubicBezTo>
                  <a:pt x="525" y="432"/>
                  <a:pt x="528" y="436"/>
                  <a:pt x="530" y="440"/>
                </a:cubicBezTo>
                <a:cubicBezTo>
                  <a:pt x="532" y="443"/>
                  <a:pt x="534" y="447"/>
                  <a:pt x="536" y="450"/>
                </a:cubicBezTo>
                <a:cubicBezTo>
                  <a:pt x="537" y="451"/>
                  <a:pt x="537" y="451"/>
                  <a:pt x="537" y="451"/>
                </a:cubicBezTo>
                <a:cubicBezTo>
                  <a:pt x="537" y="451"/>
                  <a:pt x="537" y="450"/>
                  <a:pt x="538" y="450"/>
                </a:cubicBezTo>
                <a:cubicBezTo>
                  <a:pt x="538" y="450"/>
                  <a:pt x="538" y="450"/>
                  <a:pt x="538" y="450"/>
                </a:cubicBezTo>
                <a:cubicBezTo>
                  <a:pt x="538" y="450"/>
                  <a:pt x="539" y="450"/>
                  <a:pt x="539" y="450"/>
                </a:cubicBezTo>
                <a:cubicBezTo>
                  <a:pt x="540" y="450"/>
                  <a:pt x="540" y="450"/>
                  <a:pt x="540" y="450"/>
                </a:cubicBezTo>
                <a:cubicBezTo>
                  <a:pt x="540" y="449"/>
                  <a:pt x="540" y="449"/>
                  <a:pt x="540" y="449"/>
                </a:cubicBezTo>
                <a:cubicBezTo>
                  <a:pt x="540" y="449"/>
                  <a:pt x="540" y="449"/>
                  <a:pt x="540" y="449"/>
                </a:cubicBezTo>
                <a:cubicBezTo>
                  <a:pt x="539" y="449"/>
                  <a:pt x="539" y="449"/>
                  <a:pt x="539" y="449"/>
                </a:cubicBezTo>
                <a:cubicBezTo>
                  <a:pt x="539" y="449"/>
                  <a:pt x="539" y="449"/>
                  <a:pt x="539" y="448"/>
                </a:cubicBezTo>
                <a:cubicBezTo>
                  <a:pt x="539" y="448"/>
                  <a:pt x="539" y="448"/>
                  <a:pt x="539" y="448"/>
                </a:cubicBezTo>
                <a:cubicBezTo>
                  <a:pt x="539" y="448"/>
                  <a:pt x="539" y="448"/>
                  <a:pt x="539" y="448"/>
                </a:cubicBezTo>
                <a:cubicBezTo>
                  <a:pt x="539" y="448"/>
                  <a:pt x="539" y="448"/>
                  <a:pt x="539" y="448"/>
                </a:cubicBezTo>
                <a:cubicBezTo>
                  <a:pt x="539" y="447"/>
                  <a:pt x="539" y="447"/>
                  <a:pt x="539" y="447"/>
                </a:cubicBezTo>
                <a:cubicBezTo>
                  <a:pt x="539" y="447"/>
                  <a:pt x="539" y="447"/>
                  <a:pt x="539" y="447"/>
                </a:cubicBezTo>
                <a:cubicBezTo>
                  <a:pt x="540" y="446"/>
                  <a:pt x="540" y="446"/>
                  <a:pt x="540" y="446"/>
                </a:cubicBezTo>
                <a:cubicBezTo>
                  <a:pt x="540" y="446"/>
                  <a:pt x="541" y="446"/>
                  <a:pt x="541" y="446"/>
                </a:cubicBezTo>
                <a:cubicBezTo>
                  <a:pt x="541" y="446"/>
                  <a:pt x="541" y="446"/>
                  <a:pt x="541" y="446"/>
                </a:cubicBezTo>
                <a:cubicBezTo>
                  <a:pt x="541" y="446"/>
                  <a:pt x="541" y="446"/>
                  <a:pt x="541" y="446"/>
                </a:cubicBezTo>
                <a:cubicBezTo>
                  <a:pt x="541" y="446"/>
                  <a:pt x="542" y="446"/>
                  <a:pt x="542" y="446"/>
                </a:cubicBezTo>
                <a:cubicBezTo>
                  <a:pt x="542" y="446"/>
                  <a:pt x="542" y="446"/>
                  <a:pt x="542" y="446"/>
                </a:cubicBezTo>
                <a:cubicBezTo>
                  <a:pt x="542" y="445"/>
                  <a:pt x="542" y="444"/>
                  <a:pt x="544" y="445"/>
                </a:cubicBezTo>
                <a:cubicBezTo>
                  <a:pt x="547" y="446"/>
                  <a:pt x="547" y="446"/>
                  <a:pt x="547" y="446"/>
                </a:cubicBezTo>
                <a:cubicBezTo>
                  <a:pt x="549" y="446"/>
                  <a:pt x="549" y="447"/>
                  <a:pt x="549" y="448"/>
                </a:cubicBezTo>
                <a:cubicBezTo>
                  <a:pt x="549" y="448"/>
                  <a:pt x="549" y="448"/>
                  <a:pt x="549" y="448"/>
                </a:cubicBezTo>
                <a:cubicBezTo>
                  <a:pt x="549" y="449"/>
                  <a:pt x="549" y="449"/>
                  <a:pt x="549" y="449"/>
                </a:cubicBezTo>
                <a:cubicBezTo>
                  <a:pt x="549" y="449"/>
                  <a:pt x="548" y="449"/>
                  <a:pt x="548" y="449"/>
                </a:cubicBezTo>
                <a:cubicBezTo>
                  <a:pt x="548" y="449"/>
                  <a:pt x="548" y="449"/>
                  <a:pt x="548" y="449"/>
                </a:cubicBezTo>
                <a:cubicBezTo>
                  <a:pt x="549" y="450"/>
                  <a:pt x="549" y="450"/>
                  <a:pt x="549" y="450"/>
                </a:cubicBezTo>
                <a:cubicBezTo>
                  <a:pt x="549" y="450"/>
                  <a:pt x="550" y="450"/>
                  <a:pt x="550" y="451"/>
                </a:cubicBezTo>
                <a:cubicBezTo>
                  <a:pt x="550" y="451"/>
                  <a:pt x="550" y="451"/>
                  <a:pt x="550" y="451"/>
                </a:cubicBezTo>
                <a:cubicBezTo>
                  <a:pt x="550" y="451"/>
                  <a:pt x="551" y="452"/>
                  <a:pt x="551" y="452"/>
                </a:cubicBezTo>
                <a:cubicBezTo>
                  <a:pt x="552" y="452"/>
                  <a:pt x="552" y="452"/>
                  <a:pt x="552" y="452"/>
                </a:cubicBezTo>
                <a:cubicBezTo>
                  <a:pt x="552" y="452"/>
                  <a:pt x="552" y="452"/>
                  <a:pt x="552" y="452"/>
                </a:cubicBezTo>
                <a:cubicBezTo>
                  <a:pt x="552" y="452"/>
                  <a:pt x="552" y="452"/>
                  <a:pt x="553" y="452"/>
                </a:cubicBezTo>
                <a:cubicBezTo>
                  <a:pt x="553" y="452"/>
                  <a:pt x="553" y="452"/>
                  <a:pt x="553" y="452"/>
                </a:cubicBezTo>
                <a:cubicBezTo>
                  <a:pt x="553" y="452"/>
                  <a:pt x="553" y="452"/>
                  <a:pt x="553" y="452"/>
                </a:cubicBezTo>
                <a:cubicBezTo>
                  <a:pt x="554" y="452"/>
                  <a:pt x="554" y="452"/>
                  <a:pt x="554" y="452"/>
                </a:cubicBezTo>
                <a:cubicBezTo>
                  <a:pt x="554" y="452"/>
                  <a:pt x="555" y="452"/>
                  <a:pt x="556" y="452"/>
                </a:cubicBezTo>
                <a:cubicBezTo>
                  <a:pt x="561" y="452"/>
                  <a:pt x="561" y="452"/>
                  <a:pt x="561" y="452"/>
                </a:cubicBezTo>
                <a:cubicBezTo>
                  <a:pt x="562" y="452"/>
                  <a:pt x="562" y="452"/>
                  <a:pt x="562" y="452"/>
                </a:cubicBezTo>
                <a:cubicBezTo>
                  <a:pt x="562" y="452"/>
                  <a:pt x="562" y="452"/>
                  <a:pt x="562" y="452"/>
                </a:cubicBezTo>
                <a:cubicBezTo>
                  <a:pt x="563" y="452"/>
                  <a:pt x="563" y="452"/>
                  <a:pt x="563" y="452"/>
                </a:cubicBezTo>
                <a:cubicBezTo>
                  <a:pt x="563" y="452"/>
                  <a:pt x="563" y="452"/>
                  <a:pt x="563" y="452"/>
                </a:cubicBezTo>
                <a:cubicBezTo>
                  <a:pt x="563" y="451"/>
                  <a:pt x="563" y="451"/>
                  <a:pt x="563" y="451"/>
                </a:cubicBezTo>
                <a:cubicBezTo>
                  <a:pt x="563" y="451"/>
                  <a:pt x="564" y="450"/>
                  <a:pt x="564" y="450"/>
                </a:cubicBezTo>
                <a:cubicBezTo>
                  <a:pt x="564" y="450"/>
                  <a:pt x="564" y="450"/>
                  <a:pt x="564" y="450"/>
                </a:cubicBezTo>
                <a:cubicBezTo>
                  <a:pt x="568" y="449"/>
                  <a:pt x="568" y="449"/>
                  <a:pt x="568" y="449"/>
                </a:cubicBezTo>
                <a:cubicBezTo>
                  <a:pt x="568" y="449"/>
                  <a:pt x="568" y="449"/>
                  <a:pt x="569" y="449"/>
                </a:cubicBezTo>
                <a:cubicBezTo>
                  <a:pt x="569" y="449"/>
                  <a:pt x="569" y="449"/>
                  <a:pt x="569" y="449"/>
                </a:cubicBezTo>
                <a:cubicBezTo>
                  <a:pt x="573" y="450"/>
                  <a:pt x="573" y="450"/>
                  <a:pt x="573" y="450"/>
                </a:cubicBezTo>
                <a:cubicBezTo>
                  <a:pt x="574" y="450"/>
                  <a:pt x="574" y="450"/>
                  <a:pt x="575" y="450"/>
                </a:cubicBezTo>
                <a:cubicBezTo>
                  <a:pt x="575" y="450"/>
                  <a:pt x="576" y="450"/>
                  <a:pt x="576" y="451"/>
                </a:cubicBezTo>
                <a:cubicBezTo>
                  <a:pt x="576" y="451"/>
                  <a:pt x="576" y="451"/>
                  <a:pt x="576" y="451"/>
                </a:cubicBezTo>
                <a:cubicBezTo>
                  <a:pt x="577" y="451"/>
                  <a:pt x="577" y="451"/>
                  <a:pt x="577" y="451"/>
                </a:cubicBezTo>
                <a:cubicBezTo>
                  <a:pt x="578" y="452"/>
                  <a:pt x="578" y="452"/>
                  <a:pt x="578" y="452"/>
                </a:cubicBezTo>
                <a:cubicBezTo>
                  <a:pt x="579" y="454"/>
                  <a:pt x="579" y="454"/>
                  <a:pt x="579" y="454"/>
                </a:cubicBezTo>
                <a:cubicBezTo>
                  <a:pt x="579" y="455"/>
                  <a:pt x="580" y="455"/>
                  <a:pt x="580" y="456"/>
                </a:cubicBezTo>
                <a:cubicBezTo>
                  <a:pt x="580" y="457"/>
                  <a:pt x="580" y="457"/>
                  <a:pt x="580" y="457"/>
                </a:cubicBezTo>
                <a:cubicBezTo>
                  <a:pt x="580" y="457"/>
                  <a:pt x="580" y="457"/>
                  <a:pt x="580" y="458"/>
                </a:cubicBezTo>
                <a:cubicBezTo>
                  <a:pt x="580" y="458"/>
                  <a:pt x="580" y="458"/>
                  <a:pt x="580" y="458"/>
                </a:cubicBezTo>
                <a:cubicBezTo>
                  <a:pt x="580" y="458"/>
                  <a:pt x="581" y="458"/>
                  <a:pt x="581" y="458"/>
                </a:cubicBezTo>
                <a:cubicBezTo>
                  <a:pt x="581" y="458"/>
                  <a:pt x="581" y="458"/>
                  <a:pt x="581" y="458"/>
                </a:cubicBezTo>
                <a:cubicBezTo>
                  <a:pt x="582" y="459"/>
                  <a:pt x="582" y="459"/>
                  <a:pt x="582" y="459"/>
                </a:cubicBezTo>
                <a:cubicBezTo>
                  <a:pt x="582" y="459"/>
                  <a:pt x="582" y="459"/>
                  <a:pt x="582" y="459"/>
                </a:cubicBezTo>
                <a:cubicBezTo>
                  <a:pt x="589" y="462"/>
                  <a:pt x="589" y="462"/>
                  <a:pt x="589" y="462"/>
                </a:cubicBezTo>
                <a:cubicBezTo>
                  <a:pt x="589" y="463"/>
                  <a:pt x="589" y="463"/>
                  <a:pt x="589" y="463"/>
                </a:cubicBezTo>
                <a:cubicBezTo>
                  <a:pt x="589" y="463"/>
                  <a:pt x="589" y="463"/>
                  <a:pt x="589" y="463"/>
                </a:cubicBezTo>
                <a:cubicBezTo>
                  <a:pt x="591" y="463"/>
                  <a:pt x="591" y="463"/>
                  <a:pt x="591" y="463"/>
                </a:cubicBezTo>
                <a:cubicBezTo>
                  <a:pt x="589" y="464"/>
                  <a:pt x="589" y="464"/>
                  <a:pt x="589" y="464"/>
                </a:cubicBezTo>
                <a:cubicBezTo>
                  <a:pt x="589" y="464"/>
                  <a:pt x="589" y="464"/>
                  <a:pt x="589" y="464"/>
                </a:cubicBezTo>
                <a:cubicBezTo>
                  <a:pt x="589" y="464"/>
                  <a:pt x="589" y="464"/>
                  <a:pt x="589" y="464"/>
                </a:cubicBezTo>
                <a:cubicBezTo>
                  <a:pt x="589" y="464"/>
                  <a:pt x="589" y="464"/>
                  <a:pt x="589" y="464"/>
                </a:cubicBezTo>
                <a:cubicBezTo>
                  <a:pt x="589" y="465"/>
                  <a:pt x="589" y="465"/>
                  <a:pt x="589" y="465"/>
                </a:cubicBezTo>
                <a:cubicBezTo>
                  <a:pt x="589" y="465"/>
                  <a:pt x="589" y="465"/>
                  <a:pt x="589" y="465"/>
                </a:cubicBezTo>
                <a:cubicBezTo>
                  <a:pt x="590" y="465"/>
                  <a:pt x="590" y="465"/>
                  <a:pt x="590" y="465"/>
                </a:cubicBezTo>
                <a:cubicBezTo>
                  <a:pt x="590" y="466"/>
                  <a:pt x="590" y="466"/>
                  <a:pt x="590" y="466"/>
                </a:cubicBezTo>
                <a:cubicBezTo>
                  <a:pt x="590" y="466"/>
                  <a:pt x="590" y="466"/>
                  <a:pt x="590" y="466"/>
                </a:cubicBezTo>
                <a:cubicBezTo>
                  <a:pt x="590" y="466"/>
                  <a:pt x="590" y="466"/>
                  <a:pt x="590" y="467"/>
                </a:cubicBezTo>
                <a:cubicBezTo>
                  <a:pt x="591" y="467"/>
                  <a:pt x="591" y="467"/>
                  <a:pt x="591" y="467"/>
                </a:cubicBezTo>
                <a:cubicBezTo>
                  <a:pt x="591" y="467"/>
                  <a:pt x="591" y="467"/>
                  <a:pt x="591" y="467"/>
                </a:cubicBezTo>
                <a:cubicBezTo>
                  <a:pt x="592" y="467"/>
                  <a:pt x="592" y="467"/>
                  <a:pt x="592" y="467"/>
                </a:cubicBezTo>
                <a:cubicBezTo>
                  <a:pt x="591" y="468"/>
                  <a:pt x="591" y="468"/>
                  <a:pt x="591" y="468"/>
                </a:cubicBezTo>
                <a:cubicBezTo>
                  <a:pt x="596" y="468"/>
                  <a:pt x="596" y="468"/>
                  <a:pt x="596" y="468"/>
                </a:cubicBezTo>
                <a:cubicBezTo>
                  <a:pt x="596" y="468"/>
                  <a:pt x="596" y="468"/>
                  <a:pt x="596" y="468"/>
                </a:cubicBezTo>
                <a:cubicBezTo>
                  <a:pt x="599" y="468"/>
                  <a:pt x="599" y="468"/>
                  <a:pt x="599" y="468"/>
                </a:cubicBezTo>
                <a:cubicBezTo>
                  <a:pt x="598" y="469"/>
                  <a:pt x="598" y="469"/>
                  <a:pt x="598" y="469"/>
                </a:cubicBezTo>
                <a:cubicBezTo>
                  <a:pt x="599" y="469"/>
                  <a:pt x="599" y="469"/>
                  <a:pt x="599" y="469"/>
                </a:cubicBezTo>
                <a:cubicBezTo>
                  <a:pt x="600" y="468"/>
                  <a:pt x="600" y="468"/>
                  <a:pt x="600" y="468"/>
                </a:cubicBezTo>
                <a:cubicBezTo>
                  <a:pt x="601" y="467"/>
                  <a:pt x="601" y="467"/>
                  <a:pt x="602" y="466"/>
                </a:cubicBezTo>
                <a:cubicBezTo>
                  <a:pt x="605" y="463"/>
                  <a:pt x="605" y="463"/>
                  <a:pt x="605" y="463"/>
                </a:cubicBezTo>
                <a:cubicBezTo>
                  <a:pt x="605" y="466"/>
                  <a:pt x="605" y="466"/>
                  <a:pt x="605" y="466"/>
                </a:cubicBezTo>
                <a:cubicBezTo>
                  <a:pt x="605" y="466"/>
                  <a:pt x="605" y="467"/>
                  <a:pt x="605" y="467"/>
                </a:cubicBezTo>
                <a:cubicBezTo>
                  <a:pt x="605" y="467"/>
                  <a:pt x="605" y="468"/>
                  <a:pt x="605" y="468"/>
                </a:cubicBezTo>
                <a:cubicBezTo>
                  <a:pt x="605" y="468"/>
                  <a:pt x="605" y="468"/>
                  <a:pt x="605" y="468"/>
                </a:cubicBezTo>
                <a:cubicBezTo>
                  <a:pt x="605" y="469"/>
                  <a:pt x="605" y="469"/>
                  <a:pt x="605" y="469"/>
                </a:cubicBezTo>
                <a:cubicBezTo>
                  <a:pt x="607" y="470"/>
                  <a:pt x="609" y="472"/>
                  <a:pt x="610" y="473"/>
                </a:cubicBezTo>
                <a:cubicBezTo>
                  <a:pt x="611" y="474"/>
                  <a:pt x="611" y="474"/>
                  <a:pt x="611" y="474"/>
                </a:cubicBezTo>
                <a:cubicBezTo>
                  <a:pt x="612" y="474"/>
                  <a:pt x="613" y="474"/>
                  <a:pt x="613" y="474"/>
                </a:cubicBezTo>
                <a:cubicBezTo>
                  <a:pt x="613" y="473"/>
                  <a:pt x="614" y="473"/>
                  <a:pt x="614" y="473"/>
                </a:cubicBezTo>
                <a:cubicBezTo>
                  <a:pt x="614" y="473"/>
                  <a:pt x="614" y="473"/>
                  <a:pt x="614" y="473"/>
                </a:cubicBezTo>
                <a:cubicBezTo>
                  <a:pt x="616" y="473"/>
                  <a:pt x="616" y="473"/>
                  <a:pt x="616" y="473"/>
                </a:cubicBezTo>
                <a:cubicBezTo>
                  <a:pt x="618" y="472"/>
                  <a:pt x="618" y="472"/>
                  <a:pt x="618" y="472"/>
                </a:cubicBezTo>
                <a:cubicBezTo>
                  <a:pt x="619" y="472"/>
                  <a:pt x="619" y="472"/>
                  <a:pt x="619" y="471"/>
                </a:cubicBezTo>
                <a:cubicBezTo>
                  <a:pt x="619" y="470"/>
                  <a:pt x="619" y="470"/>
                  <a:pt x="619" y="470"/>
                </a:cubicBezTo>
                <a:cubicBezTo>
                  <a:pt x="619" y="470"/>
                  <a:pt x="619" y="470"/>
                  <a:pt x="619" y="469"/>
                </a:cubicBezTo>
                <a:cubicBezTo>
                  <a:pt x="620" y="469"/>
                  <a:pt x="620" y="469"/>
                  <a:pt x="620" y="469"/>
                </a:cubicBezTo>
                <a:cubicBezTo>
                  <a:pt x="620" y="469"/>
                  <a:pt x="620" y="469"/>
                  <a:pt x="620" y="469"/>
                </a:cubicBezTo>
                <a:cubicBezTo>
                  <a:pt x="620" y="469"/>
                  <a:pt x="620" y="469"/>
                  <a:pt x="620" y="469"/>
                </a:cubicBezTo>
                <a:cubicBezTo>
                  <a:pt x="620" y="469"/>
                  <a:pt x="620" y="469"/>
                  <a:pt x="620" y="469"/>
                </a:cubicBezTo>
                <a:cubicBezTo>
                  <a:pt x="620" y="469"/>
                  <a:pt x="620" y="469"/>
                  <a:pt x="621" y="469"/>
                </a:cubicBezTo>
                <a:cubicBezTo>
                  <a:pt x="621" y="469"/>
                  <a:pt x="621" y="469"/>
                  <a:pt x="621" y="469"/>
                </a:cubicBezTo>
                <a:cubicBezTo>
                  <a:pt x="621" y="469"/>
                  <a:pt x="621" y="469"/>
                  <a:pt x="621" y="469"/>
                </a:cubicBezTo>
                <a:cubicBezTo>
                  <a:pt x="621" y="469"/>
                  <a:pt x="621" y="469"/>
                  <a:pt x="621" y="469"/>
                </a:cubicBezTo>
                <a:cubicBezTo>
                  <a:pt x="622" y="469"/>
                  <a:pt x="622" y="469"/>
                  <a:pt x="622" y="469"/>
                </a:cubicBezTo>
                <a:cubicBezTo>
                  <a:pt x="622" y="469"/>
                  <a:pt x="622" y="469"/>
                  <a:pt x="622" y="469"/>
                </a:cubicBezTo>
                <a:cubicBezTo>
                  <a:pt x="622" y="469"/>
                  <a:pt x="622" y="469"/>
                  <a:pt x="623" y="469"/>
                </a:cubicBezTo>
                <a:cubicBezTo>
                  <a:pt x="623" y="469"/>
                  <a:pt x="623" y="469"/>
                  <a:pt x="624" y="469"/>
                </a:cubicBezTo>
                <a:cubicBezTo>
                  <a:pt x="624" y="469"/>
                  <a:pt x="625" y="469"/>
                  <a:pt x="625" y="469"/>
                </a:cubicBezTo>
                <a:cubicBezTo>
                  <a:pt x="627" y="468"/>
                  <a:pt x="627" y="468"/>
                  <a:pt x="627" y="468"/>
                </a:cubicBezTo>
                <a:cubicBezTo>
                  <a:pt x="630" y="468"/>
                  <a:pt x="631" y="468"/>
                  <a:pt x="633" y="466"/>
                </a:cubicBezTo>
                <a:cubicBezTo>
                  <a:pt x="634" y="467"/>
                  <a:pt x="634" y="467"/>
                  <a:pt x="634" y="467"/>
                </a:cubicBezTo>
                <a:cubicBezTo>
                  <a:pt x="634" y="467"/>
                  <a:pt x="634" y="467"/>
                  <a:pt x="634" y="467"/>
                </a:cubicBezTo>
                <a:cubicBezTo>
                  <a:pt x="634" y="466"/>
                  <a:pt x="634" y="466"/>
                  <a:pt x="634" y="466"/>
                </a:cubicBezTo>
                <a:cubicBezTo>
                  <a:pt x="634" y="466"/>
                  <a:pt x="634" y="466"/>
                  <a:pt x="634" y="466"/>
                </a:cubicBezTo>
                <a:cubicBezTo>
                  <a:pt x="634" y="466"/>
                  <a:pt x="634" y="466"/>
                  <a:pt x="634" y="466"/>
                </a:cubicBezTo>
                <a:cubicBezTo>
                  <a:pt x="633" y="465"/>
                  <a:pt x="633" y="465"/>
                  <a:pt x="633" y="465"/>
                </a:cubicBezTo>
                <a:cubicBezTo>
                  <a:pt x="632" y="461"/>
                  <a:pt x="632" y="461"/>
                  <a:pt x="632" y="461"/>
                </a:cubicBezTo>
                <a:cubicBezTo>
                  <a:pt x="635" y="463"/>
                  <a:pt x="635" y="463"/>
                  <a:pt x="635" y="463"/>
                </a:cubicBezTo>
                <a:cubicBezTo>
                  <a:pt x="636" y="463"/>
                  <a:pt x="636" y="463"/>
                  <a:pt x="637" y="463"/>
                </a:cubicBezTo>
                <a:cubicBezTo>
                  <a:pt x="637" y="462"/>
                  <a:pt x="637" y="462"/>
                  <a:pt x="638" y="462"/>
                </a:cubicBezTo>
                <a:cubicBezTo>
                  <a:pt x="638" y="462"/>
                  <a:pt x="638" y="462"/>
                  <a:pt x="638" y="462"/>
                </a:cubicBezTo>
                <a:cubicBezTo>
                  <a:pt x="639" y="462"/>
                  <a:pt x="639" y="462"/>
                  <a:pt x="639" y="462"/>
                </a:cubicBezTo>
                <a:cubicBezTo>
                  <a:pt x="638" y="462"/>
                  <a:pt x="638" y="462"/>
                  <a:pt x="638" y="462"/>
                </a:cubicBezTo>
                <a:cubicBezTo>
                  <a:pt x="639" y="461"/>
                  <a:pt x="639" y="461"/>
                  <a:pt x="639" y="461"/>
                </a:cubicBezTo>
                <a:cubicBezTo>
                  <a:pt x="639" y="461"/>
                  <a:pt x="639" y="461"/>
                  <a:pt x="639" y="461"/>
                </a:cubicBezTo>
                <a:cubicBezTo>
                  <a:pt x="640" y="461"/>
                  <a:pt x="640" y="461"/>
                  <a:pt x="640" y="461"/>
                </a:cubicBezTo>
                <a:cubicBezTo>
                  <a:pt x="640" y="461"/>
                  <a:pt x="641" y="460"/>
                  <a:pt x="641" y="460"/>
                </a:cubicBezTo>
                <a:cubicBezTo>
                  <a:pt x="643" y="459"/>
                  <a:pt x="645" y="458"/>
                  <a:pt x="647" y="457"/>
                </a:cubicBezTo>
                <a:cubicBezTo>
                  <a:pt x="650" y="456"/>
                  <a:pt x="650" y="456"/>
                  <a:pt x="650" y="456"/>
                </a:cubicBezTo>
                <a:cubicBezTo>
                  <a:pt x="651" y="455"/>
                  <a:pt x="652" y="455"/>
                  <a:pt x="653" y="454"/>
                </a:cubicBezTo>
                <a:cubicBezTo>
                  <a:pt x="655" y="453"/>
                  <a:pt x="655" y="453"/>
                  <a:pt x="655" y="453"/>
                </a:cubicBezTo>
                <a:cubicBezTo>
                  <a:pt x="656" y="453"/>
                  <a:pt x="657" y="453"/>
                  <a:pt x="658" y="453"/>
                </a:cubicBezTo>
                <a:cubicBezTo>
                  <a:pt x="658" y="453"/>
                  <a:pt x="658" y="453"/>
                  <a:pt x="658" y="453"/>
                </a:cubicBezTo>
                <a:cubicBezTo>
                  <a:pt x="659" y="453"/>
                  <a:pt x="659" y="453"/>
                  <a:pt x="660" y="453"/>
                </a:cubicBezTo>
                <a:cubicBezTo>
                  <a:pt x="660" y="453"/>
                  <a:pt x="660" y="453"/>
                  <a:pt x="660" y="453"/>
                </a:cubicBezTo>
                <a:cubicBezTo>
                  <a:pt x="660" y="453"/>
                  <a:pt x="661" y="452"/>
                  <a:pt x="661" y="452"/>
                </a:cubicBezTo>
                <a:cubicBezTo>
                  <a:pt x="661" y="452"/>
                  <a:pt x="661" y="451"/>
                  <a:pt x="661" y="451"/>
                </a:cubicBezTo>
                <a:cubicBezTo>
                  <a:pt x="662" y="451"/>
                  <a:pt x="662" y="450"/>
                  <a:pt x="663" y="450"/>
                </a:cubicBezTo>
                <a:cubicBezTo>
                  <a:pt x="663" y="450"/>
                  <a:pt x="664" y="450"/>
                  <a:pt x="664" y="451"/>
                </a:cubicBezTo>
                <a:cubicBezTo>
                  <a:pt x="664" y="451"/>
                  <a:pt x="664" y="451"/>
                  <a:pt x="664" y="451"/>
                </a:cubicBezTo>
                <a:cubicBezTo>
                  <a:pt x="664" y="451"/>
                  <a:pt x="665" y="451"/>
                  <a:pt x="665" y="451"/>
                </a:cubicBezTo>
                <a:cubicBezTo>
                  <a:pt x="665" y="451"/>
                  <a:pt x="665" y="451"/>
                  <a:pt x="665" y="451"/>
                </a:cubicBezTo>
                <a:cubicBezTo>
                  <a:pt x="666" y="451"/>
                  <a:pt x="666" y="451"/>
                  <a:pt x="667" y="451"/>
                </a:cubicBezTo>
                <a:cubicBezTo>
                  <a:pt x="667" y="451"/>
                  <a:pt x="667" y="451"/>
                  <a:pt x="667" y="451"/>
                </a:cubicBezTo>
                <a:cubicBezTo>
                  <a:pt x="667" y="451"/>
                  <a:pt x="667" y="451"/>
                  <a:pt x="668" y="451"/>
                </a:cubicBezTo>
                <a:cubicBezTo>
                  <a:pt x="668" y="451"/>
                  <a:pt x="668" y="451"/>
                  <a:pt x="668" y="451"/>
                </a:cubicBezTo>
                <a:cubicBezTo>
                  <a:pt x="669" y="451"/>
                  <a:pt x="669" y="452"/>
                  <a:pt x="669" y="452"/>
                </a:cubicBezTo>
                <a:cubicBezTo>
                  <a:pt x="670" y="452"/>
                  <a:pt x="670" y="452"/>
                  <a:pt x="670" y="452"/>
                </a:cubicBezTo>
                <a:cubicBezTo>
                  <a:pt x="671" y="453"/>
                  <a:pt x="671" y="453"/>
                  <a:pt x="671" y="453"/>
                </a:cubicBezTo>
                <a:cubicBezTo>
                  <a:pt x="672" y="453"/>
                  <a:pt x="672" y="453"/>
                  <a:pt x="672" y="453"/>
                </a:cubicBezTo>
                <a:cubicBezTo>
                  <a:pt x="672" y="453"/>
                  <a:pt x="672" y="453"/>
                  <a:pt x="672" y="453"/>
                </a:cubicBezTo>
                <a:cubicBezTo>
                  <a:pt x="673" y="453"/>
                  <a:pt x="673" y="453"/>
                  <a:pt x="673" y="453"/>
                </a:cubicBezTo>
                <a:cubicBezTo>
                  <a:pt x="674" y="454"/>
                  <a:pt x="675" y="454"/>
                  <a:pt x="676" y="454"/>
                </a:cubicBezTo>
                <a:cubicBezTo>
                  <a:pt x="681" y="454"/>
                  <a:pt x="681" y="454"/>
                  <a:pt x="681" y="454"/>
                </a:cubicBezTo>
                <a:cubicBezTo>
                  <a:pt x="681" y="454"/>
                  <a:pt x="682" y="454"/>
                  <a:pt x="682" y="455"/>
                </a:cubicBezTo>
                <a:cubicBezTo>
                  <a:pt x="683" y="455"/>
                  <a:pt x="683" y="455"/>
                  <a:pt x="683" y="456"/>
                </a:cubicBezTo>
                <a:cubicBezTo>
                  <a:pt x="684" y="456"/>
                  <a:pt x="684" y="457"/>
                  <a:pt x="684" y="458"/>
                </a:cubicBezTo>
                <a:cubicBezTo>
                  <a:pt x="685" y="459"/>
                  <a:pt x="685" y="459"/>
                  <a:pt x="685" y="459"/>
                </a:cubicBezTo>
                <a:cubicBezTo>
                  <a:pt x="685" y="459"/>
                  <a:pt x="685" y="460"/>
                  <a:pt x="685" y="460"/>
                </a:cubicBezTo>
                <a:cubicBezTo>
                  <a:pt x="685" y="461"/>
                  <a:pt x="685" y="461"/>
                  <a:pt x="685" y="461"/>
                </a:cubicBezTo>
                <a:cubicBezTo>
                  <a:pt x="686" y="462"/>
                  <a:pt x="686" y="462"/>
                  <a:pt x="687" y="462"/>
                </a:cubicBezTo>
                <a:cubicBezTo>
                  <a:pt x="693" y="463"/>
                  <a:pt x="693" y="463"/>
                  <a:pt x="693" y="463"/>
                </a:cubicBezTo>
                <a:cubicBezTo>
                  <a:pt x="693" y="463"/>
                  <a:pt x="694" y="463"/>
                  <a:pt x="694" y="463"/>
                </a:cubicBezTo>
                <a:cubicBezTo>
                  <a:pt x="694" y="463"/>
                  <a:pt x="694" y="463"/>
                  <a:pt x="694" y="463"/>
                </a:cubicBezTo>
                <a:cubicBezTo>
                  <a:pt x="695" y="463"/>
                  <a:pt x="695" y="463"/>
                  <a:pt x="695" y="463"/>
                </a:cubicBezTo>
                <a:cubicBezTo>
                  <a:pt x="695" y="463"/>
                  <a:pt x="695" y="463"/>
                  <a:pt x="695" y="463"/>
                </a:cubicBezTo>
                <a:cubicBezTo>
                  <a:pt x="695" y="463"/>
                  <a:pt x="695" y="463"/>
                  <a:pt x="695" y="463"/>
                </a:cubicBezTo>
                <a:cubicBezTo>
                  <a:pt x="696" y="462"/>
                  <a:pt x="697" y="462"/>
                  <a:pt x="698" y="462"/>
                </a:cubicBezTo>
                <a:cubicBezTo>
                  <a:pt x="699" y="462"/>
                  <a:pt x="699" y="462"/>
                  <a:pt x="699" y="462"/>
                </a:cubicBezTo>
                <a:cubicBezTo>
                  <a:pt x="699" y="462"/>
                  <a:pt x="699" y="462"/>
                  <a:pt x="699" y="462"/>
                </a:cubicBezTo>
                <a:cubicBezTo>
                  <a:pt x="699" y="462"/>
                  <a:pt x="699" y="462"/>
                  <a:pt x="700" y="462"/>
                </a:cubicBezTo>
                <a:cubicBezTo>
                  <a:pt x="700" y="462"/>
                  <a:pt x="700" y="462"/>
                  <a:pt x="701" y="462"/>
                </a:cubicBezTo>
                <a:cubicBezTo>
                  <a:pt x="702" y="462"/>
                  <a:pt x="702" y="462"/>
                  <a:pt x="703" y="463"/>
                </a:cubicBezTo>
                <a:cubicBezTo>
                  <a:pt x="703" y="463"/>
                  <a:pt x="703" y="463"/>
                  <a:pt x="703" y="463"/>
                </a:cubicBezTo>
                <a:cubicBezTo>
                  <a:pt x="704" y="463"/>
                  <a:pt x="704" y="463"/>
                  <a:pt x="705" y="463"/>
                </a:cubicBezTo>
                <a:cubicBezTo>
                  <a:pt x="705" y="463"/>
                  <a:pt x="705" y="463"/>
                  <a:pt x="706" y="463"/>
                </a:cubicBezTo>
                <a:cubicBezTo>
                  <a:pt x="707" y="464"/>
                  <a:pt x="707" y="464"/>
                  <a:pt x="707" y="464"/>
                </a:cubicBezTo>
                <a:cubicBezTo>
                  <a:pt x="708" y="464"/>
                  <a:pt x="709" y="464"/>
                  <a:pt x="710" y="464"/>
                </a:cubicBezTo>
                <a:cubicBezTo>
                  <a:pt x="710" y="464"/>
                  <a:pt x="711" y="465"/>
                  <a:pt x="711" y="465"/>
                </a:cubicBezTo>
                <a:cubicBezTo>
                  <a:pt x="711" y="465"/>
                  <a:pt x="711" y="465"/>
                  <a:pt x="711" y="465"/>
                </a:cubicBezTo>
                <a:cubicBezTo>
                  <a:pt x="712" y="465"/>
                  <a:pt x="713" y="465"/>
                  <a:pt x="713" y="465"/>
                </a:cubicBezTo>
                <a:cubicBezTo>
                  <a:pt x="714" y="465"/>
                  <a:pt x="714" y="465"/>
                  <a:pt x="714" y="464"/>
                </a:cubicBezTo>
                <a:cubicBezTo>
                  <a:pt x="714" y="464"/>
                  <a:pt x="715" y="464"/>
                  <a:pt x="715" y="464"/>
                </a:cubicBezTo>
                <a:cubicBezTo>
                  <a:pt x="715" y="464"/>
                  <a:pt x="715" y="463"/>
                  <a:pt x="715" y="463"/>
                </a:cubicBezTo>
                <a:cubicBezTo>
                  <a:pt x="715" y="463"/>
                  <a:pt x="716" y="463"/>
                  <a:pt x="716" y="463"/>
                </a:cubicBezTo>
                <a:cubicBezTo>
                  <a:pt x="716" y="463"/>
                  <a:pt x="716" y="463"/>
                  <a:pt x="716" y="463"/>
                </a:cubicBezTo>
                <a:cubicBezTo>
                  <a:pt x="716" y="463"/>
                  <a:pt x="716" y="463"/>
                  <a:pt x="716" y="463"/>
                </a:cubicBezTo>
                <a:cubicBezTo>
                  <a:pt x="717" y="463"/>
                  <a:pt x="717" y="463"/>
                  <a:pt x="717" y="463"/>
                </a:cubicBezTo>
                <a:cubicBezTo>
                  <a:pt x="717" y="462"/>
                  <a:pt x="718" y="462"/>
                  <a:pt x="718" y="462"/>
                </a:cubicBezTo>
                <a:cubicBezTo>
                  <a:pt x="719" y="462"/>
                  <a:pt x="720" y="462"/>
                  <a:pt x="720" y="461"/>
                </a:cubicBezTo>
                <a:cubicBezTo>
                  <a:pt x="721" y="459"/>
                  <a:pt x="721" y="459"/>
                  <a:pt x="721" y="459"/>
                </a:cubicBezTo>
                <a:cubicBezTo>
                  <a:pt x="721" y="459"/>
                  <a:pt x="721" y="458"/>
                  <a:pt x="721" y="458"/>
                </a:cubicBezTo>
                <a:cubicBezTo>
                  <a:pt x="722" y="457"/>
                  <a:pt x="722" y="457"/>
                  <a:pt x="722" y="457"/>
                </a:cubicBezTo>
                <a:cubicBezTo>
                  <a:pt x="722" y="457"/>
                  <a:pt x="722" y="457"/>
                  <a:pt x="722" y="457"/>
                </a:cubicBezTo>
                <a:cubicBezTo>
                  <a:pt x="722" y="457"/>
                  <a:pt x="722" y="457"/>
                  <a:pt x="722" y="457"/>
                </a:cubicBezTo>
                <a:cubicBezTo>
                  <a:pt x="721" y="457"/>
                  <a:pt x="721" y="456"/>
                  <a:pt x="720" y="456"/>
                </a:cubicBezTo>
                <a:cubicBezTo>
                  <a:pt x="719" y="455"/>
                  <a:pt x="719" y="454"/>
                  <a:pt x="718" y="453"/>
                </a:cubicBezTo>
                <a:cubicBezTo>
                  <a:pt x="718" y="452"/>
                  <a:pt x="718" y="451"/>
                  <a:pt x="718" y="449"/>
                </a:cubicBezTo>
                <a:cubicBezTo>
                  <a:pt x="718" y="449"/>
                  <a:pt x="718" y="449"/>
                  <a:pt x="718" y="449"/>
                </a:cubicBezTo>
                <a:cubicBezTo>
                  <a:pt x="718" y="449"/>
                  <a:pt x="718" y="448"/>
                  <a:pt x="718" y="448"/>
                </a:cubicBezTo>
                <a:cubicBezTo>
                  <a:pt x="718" y="448"/>
                  <a:pt x="718" y="447"/>
                  <a:pt x="718" y="447"/>
                </a:cubicBezTo>
                <a:cubicBezTo>
                  <a:pt x="718" y="447"/>
                  <a:pt x="718" y="447"/>
                  <a:pt x="718" y="446"/>
                </a:cubicBezTo>
                <a:cubicBezTo>
                  <a:pt x="718" y="446"/>
                  <a:pt x="718" y="446"/>
                  <a:pt x="718" y="446"/>
                </a:cubicBezTo>
                <a:cubicBezTo>
                  <a:pt x="718" y="445"/>
                  <a:pt x="719" y="444"/>
                  <a:pt x="719" y="443"/>
                </a:cubicBezTo>
                <a:cubicBezTo>
                  <a:pt x="719" y="443"/>
                  <a:pt x="720" y="443"/>
                  <a:pt x="720" y="443"/>
                </a:cubicBezTo>
                <a:cubicBezTo>
                  <a:pt x="720" y="442"/>
                  <a:pt x="721" y="442"/>
                  <a:pt x="721" y="442"/>
                </a:cubicBezTo>
                <a:cubicBezTo>
                  <a:pt x="721" y="442"/>
                  <a:pt x="721" y="442"/>
                  <a:pt x="721" y="442"/>
                </a:cubicBezTo>
                <a:cubicBezTo>
                  <a:pt x="721" y="442"/>
                  <a:pt x="721" y="442"/>
                  <a:pt x="721" y="442"/>
                </a:cubicBezTo>
                <a:cubicBezTo>
                  <a:pt x="721" y="442"/>
                  <a:pt x="722" y="441"/>
                  <a:pt x="722" y="440"/>
                </a:cubicBezTo>
                <a:cubicBezTo>
                  <a:pt x="722" y="440"/>
                  <a:pt x="722" y="440"/>
                  <a:pt x="722" y="440"/>
                </a:cubicBezTo>
                <a:cubicBezTo>
                  <a:pt x="722" y="440"/>
                  <a:pt x="722" y="440"/>
                  <a:pt x="722" y="439"/>
                </a:cubicBezTo>
                <a:cubicBezTo>
                  <a:pt x="722" y="439"/>
                  <a:pt x="722" y="439"/>
                  <a:pt x="722" y="439"/>
                </a:cubicBezTo>
                <a:cubicBezTo>
                  <a:pt x="723" y="439"/>
                  <a:pt x="723" y="439"/>
                  <a:pt x="723" y="439"/>
                </a:cubicBezTo>
                <a:cubicBezTo>
                  <a:pt x="723" y="439"/>
                  <a:pt x="723" y="439"/>
                  <a:pt x="723" y="438"/>
                </a:cubicBezTo>
                <a:cubicBezTo>
                  <a:pt x="724" y="438"/>
                  <a:pt x="724" y="438"/>
                  <a:pt x="724" y="438"/>
                </a:cubicBezTo>
                <a:cubicBezTo>
                  <a:pt x="724" y="437"/>
                  <a:pt x="725" y="437"/>
                  <a:pt x="726" y="436"/>
                </a:cubicBezTo>
                <a:cubicBezTo>
                  <a:pt x="729" y="433"/>
                  <a:pt x="729" y="433"/>
                  <a:pt x="729" y="433"/>
                </a:cubicBezTo>
                <a:cubicBezTo>
                  <a:pt x="731" y="434"/>
                  <a:pt x="731" y="434"/>
                  <a:pt x="731" y="434"/>
                </a:cubicBezTo>
                <a:cubicBezTo>
                  <a:pt x="732" y="432"/>
                  <a:pt x="732" y="432"/>
                  <a:pt x="732" y="432"/>
                </a:cubicBezTo>
                <a:cubicBezTo>
                  <a:pt x="731" y="434"/>
                  <a:pt x="731" y="434"/>
                  <a:pt x="731" y="434"/>
                </a:cubicBezTo>
                <a:cubicBezTo>
                  <a:pt x="737" y="437"/>
                  <a:pt x="737" y="437"/>
                  <a:pt x="737" y="437"/>
                </a:cubicBezTo>
                <a:cubicBezTo>
                  <a:pt x="740" y="438"/>
                  <a:pt x="742" y="438"/>
                  <a:pt x="745" y="439"/>
                </a:cubicBezTo>
                <a:cubicBezTo>
                  <a:pt x="745" y="439"/>
                  <a:pt x="745" y="439"/>
                  <a:pt x="745" y="439"/>
                </a:cubicBezTo>
                <a:cubicBezTo>
                  <a:pt x="745" y="439"/>
                  <a:pt x="745" y="439"/>
                  <a:pt x="745" y="439"/>
                </a:cubicBezTo>
                <a:cubicBezTo>
                  <a:pt x="746" y="439"/>
                  <a:pt x="746" y="439"/>
                  <a:pt x="746" y="439"/>
                </a:cubicBezTo>
                <a:cubicBezTo>
                  <a:pt x="746" y="439"/>
                  <a:pt x="747" y="439"/>
                  <a:pt x="747" y="439"/>
                </a:cubicBezTo>
                <a:cubicBezTo>
                  <a:pt x="748" y="439"/>
                  <a:pt x="750" y="440"/>
                  <a:pt x="751" y="441"/>
                </a:cubicBezTo>
                <a:cubicBezTo>
                  <a:pt x="752" y="441"/>
                  <a:pt x="753" y="441"/>
                  <a:pt x="754" y="442"/>
                </a:cubicBezTo>
                <a:cubicBezTo>
                  <a:pt x="760" y="443"/>
                  <a:pt x="760" y="443"/>
                  <a:pt x="760" y="443"/>
                </a:cubicBezTo>
                <a:cubicBezTo>
                  <a:pt x="760" y="443"/>
                  <a:pt x="760" y="443"/>
                  <a:pt x="760" y="443"/>
                </a:cubicBezTo>
                <a:cubicBezTo>
                  <a:pt x="763" y="444"/>
                  <a:pt x="764" y="444"/>
                  <a:pt x="764" y="445"/>
                </a:cubicBezTo>
                <a:cubicBezTo>
                  <a:pt x="764" y="445"/>
                  <a:pt x="764" y="445"/>
                  <a:pt x="764" y="445"/>
                </a:cubicBezTo>
                <a:cubicBezTo>
                  <a:pt x="764" y="446"/>
                  <a:pt x="764" y="447"/>
                  <a:pt x="764" y="447"/>
                </a:cubicBezTo>
                <a:cubicBezTo>
                  <a:pt x="764" y="447"/>
                  <a:pt x="764" y="447"/>
                  <a:pt x="764" y="447"/>
                </a:cubicBezTo>
                <a:cubicBezTo>
                  <a:pt x="764" y="447"/>
                  <a:pt x="764" y="448"/>
                  <a:pt x="764" y="448"/>
                </a:cubicBezTo>
                <a:cubicBezTo>
                  <a:pt x="764" y="449"/>
                  <a:pt x="764" y="450"/>
                  <a:pt x="764" y="450"/>
                </a:cubicBezTo>
                <a:cubicBezTo>
                  <a:pt x="764" y="450"/>
                  <a:pt x="764" y="451"/>
                  <a:pt x="764" y="451"/>
                </a:cubicBezTo>
                <a:cubicBezTo>
                  <a:pt x="764" y="452"/>
                  <a:pt x="764" y="452"/>
                  <a:pt x="764" y="452"/>
                </a:cubicBezTo>
                <a:cubicBezTo>
                  <a:pt x="765" y="453"/>
                  <a:pt x="765" y="453"/>
                  <a:pt x="765" y="454"/>
                </a:cubicBezTo>
                <a:cubicBezTo>
                  <a:pt x="765" y="454"/>
                  <a:pt x="765" y="454"/>
                  <a:pt x="765" y="455"/>
                </a:cubicBezTo>
                <a:cubicBezTo>
                  <a:pt x="765" y="455"/>
                  <a:pt x="765" y="455"/>
                  <a:pt x="765" y="455"/>
                </a:cubicBezTo>
                <a:cubicBezTo>
                  <a:pt x="766" y="455"/>
                  <a:pt x="766" y="456"/>
                  <a:pt x="767" y="456"/>
                </a:cubicBezTo>
                <a:cubicBezTo>
                  <a:pt x="767" y="456"/>
                  <a:pt x="768" y="457"/>
                  <a:pt x="769" y="457"/>
                </a:cubicBezTo>
                <a:cubicBezTo>
                  <a:pt x="781" y="460"/>
                  <a:pt x="781" y="460"/>
                  <a:pt x="781" y="460"/>
                </a:cubicBezTo>
                <a:cubicBezTo>
                  <a:pt x="781" y="460"/>
                  <a:pt x="781" y="460"/>
                  <a:pt x="781" y="460"/>
                </a:cubicBezTo>
                <a:cubicBezTo>
                  <a:pt x="781" y="460"/>
                  <a:pt x="781" y="460"/>
                  <a:pt x="781" y="460"/>
                </a:cubicBezTo>
                <a:cubicBezTo>
                  <a:pt x="781" y="460"/>
                  <a:pt x="782" y="460"/>
                  <a:pt x="782" y="460"/>
                </a:cubicBezTo>
                <a:cubicBezTo>
                  <a:pt x="782" y="460"/>
                  <a:pt x="782" y="460"/>
                  <a:pt x="782" y="460"/>
                </a:cubicBezTo>
                <a:cubicBezTo>
                  <a:pt x="782" y="460"/>
                  <a:pt x="782" y="460"/>
                  <a:pt x="782" y="460"/>
                </a:cubicBezTo>
                <a:cubicBezTo>
                  <a:pt x="783" y="459"/>
                  <a:pt x="783" y="459"/>
                  <a:pt x="783" y="459"/>
                </a:cubicBezTo>
                <a:cubicBezTo>
                  <a:pt x="783" y="459"/>
                  <a:pt x="783" y="459"/>
                  <a:pt x="783" y="459"/>
                </a:cubicBezTo>
                <a:cubicBezTo>
                  <a:pt x="784" y="459"/>
                  <a:pt x="784" y="459"/>
                  <a:pt x="784" y="459"/>
                </a:cubicBezTo>
                <a:cubicBezTo>
                  <a:pt x="785" y="458"/>
                  <a:pt x="785" y="458"/>
                  <a:pt x="785" y="458"/>
                </a:cubicBezTo>
                <a:cubicBezTo>
                  <a:pt x="785" y="458"/>
                  <a:pt x="785" y="458"/>
                  <a:pt x="785" y="458"/>
                </a:cubicBezTo>
                <a:cubicBezTo>
                  <a:pt x="787" y="457"/>
                  <a:pt x="789" y="457"/>
                  <a:pt x="790" y="457"/>
                </a:cubicBezTo>
                <a:cubicBezTo>
                  <a:pt x="792" y="456"/>
                  <a:pt x="794" y="456"/>
                  <a:pt x="796" y="456"/>
                </a:cubicBezTo>
                <a:cubicBezTo>
                  <a:pt x="796" y="456"/>
                  <a:pt x="797" y="456"/>
                  <a:pt x="798" y="456"/>
                </a:cubicBezTo>
                <a:cubicBezTo>
                  <a:pt x="800" y="456"/>
                  <a:pt x="802" y="456"/>
                  <a:pt x="803" y="457"/>
                </a:cubicBezTo>
                <a:cubicBezTo>
                  <a:pt x="803" y="457"/>
                  <a:pt x="803" y="457"/>
                  <a:pt x="804" y="458"/>
                </a:cubicBezTo>
                <a:cubicBezTo>
                  <a:pt x="807" y="458"/>
                  <a:pt x="807" y="458"/>
                  <a:pt x="807" y="458"/>
                </a:cubicBezTo>
                <a:cubicBezTo>
                  <a:pt x="807" y="458"/>
                  <a:pt x="807" y="458"/>
                  <a:pt x="807" y="458"/>
                </a:cubicBezTo>
                <a:cubicBezTo>
                  <a:pt x="808" y="458"/>
                  <a:pt x="808" y="458"/>
                  <a:pt x="808" y="458"/>
                </a:cubicBezTo>
                <a:cubicBezTo>
                  <a:pt x="808" y="458"/>
                  <a:pt x="808" y="458"/>
                  <a:pt x="808" y="458"/>
                </a:cubicBezTo>
                <a:cubicBezTo>
                  <a:pt x="809" y="458"/>
                  <a:pt x="809" y="458"/>
                  <a:pt x="809" y="458"/>
                </a:cubicBezTo>
                <a:cubicBezTo>
                  <a:pt x="809" y="458"/>
                  <a:pt x="810" y="458"/>
                  <a:pt x="810" y="458"/>
                </a:cubicBezTo>
                <a:cubicBezTo>
                  <a:pt x="811" y="458"/>
                  <a:pt x="812" y="459"/>
                  <a:pt x="813" y="460"/>
                </a:cubicBezTo>
                <a:cubicBezTo>
                  <a:pt x="815" y="461"/>
                  <a:pt x="816" y="462"/>
                  <a:pt x="817" y="462"/>
                </a:cubicBezTo>
                <a:cubicBezTo>
                  <a:pt x="818" y="462"/>
                  <a:pt x="818" y="462"/>
                  <a:pt x="818" y="462"/>
                </a:cubicBezTo>
                <a:cubicBezTo>
                  <a:pt x="818" y="462"/>
                  <a:pt x="818" y="462"/>
                  <a:pt x="819" y="462"/>
                </a:cubicBezTo>
                <a:cubicBezTo>
                  <a:pt x="819" y="462"/>
                  <a:pt x="819" y="462"/>
                  <a:pt x="819" y="462"/>
                </a:cubicBezTo>
                <a:cubicBezTo>
                  <a:pt x="821" y="463"/>
                  <a:pt x="821" y="463"/>
                  <a:pt x="821" y="463"/>
                </a:cubicBezTo>
                <a:cubicBezTo>
                  <a:pt x="821" y="463"/>
                  <a:pt x="821" y="463"/>
                  <a:pt x="821" y="463"/>
                </a:cubicBezTo>
                <a:cubicBezTo>
                  <a:pt x="821" y="463"/>
                  <a:pt x="822" y="463"/>
                  <a:pt x="822" y="463"/>
                </a:cubicBezTo>
                <a:cubicBezTo>
                  <a:pt x="822" y="463"/>
                  <a:pt x="822" y="463"/>
                  <a:pt x="822" y="463"/>
                </a:cubicBezTo>
                <a:cubicBezTo>
                  <a:pt x="823" y="463"/>
                  <a:pt x="823" y="463"/>
                  <a:pt x="823" y="463"/>
                </a:cubicBezTo>
                <a:cubicBezTo>
                  <a:pt x="823" y="464"/>
                  <a:pt x="823" y="464"/>
                  <a:pt x="823" y="464"/>
                </a:cubicBezTo>
                <a:cubicBezTo>
                  <a:pt x="823" y="465"/>
                  <a:pt x="823" y="465"/>
                  <a:pt x="823" y="465"/>
                </a:cubicBezTo>
                <a:cubicBezTo>
                  <a:pt x="824" y="468"/>
                  <a:pt x="824" y="468"/>
                  <a:pt x="824" y="468"/>
                </a:cubicBezTo>
                <a:cubicBezTo>
                  <a:pt x="828" y="471"/>
                  <a:pt x="828" y="471"/>
                  <a:pt x="828" y="471"/>
                </a:cubicBezTo>
                <a:cubicBezTo>
                  <a:pt x="834" y="471"/>
                  <a:pt x="834" y="471"/>
                  <a:pt x="834" y="471"/>
                </a:cubicBezTo>
                <a:cubicBezTo>
                  <a:pt x="836" y="471"/>
                  <a:pt x="836" y="471"/>
                  <a:pt x="836" y="471"/>
                </a:cubicBezTo>
                <a:cubicBezTo>
                  <a:pt x="836" y="471"/>
                  <a:pt x="836" y="471"/>
                  <a:pt x="836" y="471"/>
                </a:cubicBezTo>
                <a:cubicBezTo>
                  <a:pt x="837" y="471"/>
                  <a:pt x="837" y="471"/>
                  <a:pt x="837" y="471"/>
                </a:cubicBezTo>
                <a:cubicBezTo>
                  <a:pt x="851" y="473"/>
                  <a:pt x="851" y="473"/>
                  <a:pt x="851" y="473"/>
                </a:cubicBezTo>
                <a:cubicBezTo>
                  <a:pt x="851" y="473"/>
                  <a:pt x="851" y="473"/>
                  <a:pt x="851" y="473"/>
                </a:cubicBezTo>
                <a:cubicBezTo>
                  <a:pt x="864" y="470"/>
                  <a:pt x="864" y="470"/>
                  <a:pt x="864" y="470"/>
                </a:cubicBezTo>
                <a:cubicBezTo>
                  <a:pt x="871" y="468"/>
                  <a:pt x="871" y="468"/>
                  <a:pt x="871" y="468"/>
                </a:cubicBezTo>
                <a:cubicBezTo>
                  <a:pt x="871" y="468"/>
                  <a:pt x="871" y="468"/>
                  <a:pt x="871" y="468"/>
                </a:cubicBezTo>
                <a:cubicBezTo>
                  <a:pt x="876" y="464"/>
                  <a:pt x="876" y="464"/>
                  <a:pt x="876" y="464"/>
                </a:cubicBezTo>
                <a:cubicBezTo>
                  <a:pt x="878" y="462"/>
                  <a:pt x="878" y="462"/>
                  <a:pt x="878" y="462"/>
                </a:cubicBezTo>
                <a:cubicBezTo>
                  <a:pt x="880" y="461"/>
                  <a:pt x="880" y="461"/>
                  <a:pt x="880" y="461"/>
                </a:cubicBezTo>
                <a:cubicBezTo>
                  <a:pt x="880" y="461"/>
                  <a:pt x="880" y="461"/>
                  <a:pt x="881" y="461"/>
                </a:cubicBezTo>
                <a:cubicBezTo>
                  <a:pt x="881" y="461"/>
                  <a:pt x="881" y="461"/>
                  <a:pt x="881" y="461"/>
                </a:cubicBezTo>
                <a:cubicBezTo>
                  <a:pt x="881" y="460"/>
                  <a:pt x="882" y="460"/>
                  <a:pt x="882" y="460"/>
                </a:cubicBezTo>
                <a:cubicBezTo>
                  <a:pt x="883" y="460"/>
                  <a:pt x="884" y="459"/>
                  <a:pt x="885" y="459"/>
                </a:cubicBezTo>
                <a:cubicBezTo>
                  <a:pt x="885" y="459"/>
                  <a:pt x="885" y="459"/>
                  <a:pt x="885" y="459"/>
                </a:cubicBezTo>
                <a:cubicBezTo>
                  <a:pt x="885" y="459"/>
                  <a:pt x="886" y="459"/>
                  <a:pt x="886" y="459"/>
                </a:cubicBezTo>
                <a:cubicBezTo>
                  <a:pt x="887" y="459"/>
                  <a:pt x="887" y="459"/>
                  <a:pt x="887" y="459"/>
                </a:cubicBezTo>
                <a:cubicBezTo>
                  <a:pt x="888" y="459"/>
                  <a:pt x="889" y="459"/>
                  <a:pt x="891" y="459"/>
                </a:cubicBezTo>
                <a:cubicBezTo>
                  <a:pt x="892" y="459"/>
                  <a:pt x="892" y="459"/>
                  <a:pt x="892" y="459"/>
                </a:cubicBezTo>
                <a:cubicBezTo>
                  <a:pt x="899" y="463"/>
                  <a:pt x="899" y="463"/>
                  <a:pt x="899" y="463"/>
                </a:cubicBezTo>
                <a:cubicBezTo>
                  <a:pt x="899" y="463"/>
                  <a:pt x="899" y="463"/>
                  <a:pt x="899" y="463"/>
                </a:cubicBezTo>
                <a:cubicBezTo>
                  <a:pt x="899" y="463"/>
                  <a:pt x="899" y="463"/>
                  <a:pt x="899" y="463"/>
                </a:cubicBezTo>
                <a:cubicBezTo>
                  <a:pt x="899" y="463"/>
                  <a:pt x="899" y="463"/>
                  <a:pt x="899" y="463"/>
                </a:cubicBezTo>
                <a:cubicBezTo>
                  <a:pt x="899" y="463"/>
                  <a:pt x="899" y="463"/>
                  <a:pt x="899" y="463"/>
                </a:cubicBezTo>
                <a:cubicBezTo>
                  <a:pt x="906" y="462"/>
                  <a:pt x="906" y="462"/>
                  <a:pt x="906" y="462"/>
                </a:cubicBezTo>
                <a:cubicBezTo>
                  <a:pt x="906" y="462"/>
                  <a:pt x="906" y="462"/>
                  <a:pt x="906" y="462"/>
                </a:cubicBezTo>
                <a:cubicBezTo>
                  <a:pt x="907" y="462"/>
                  <a:pt x="908" y="463"/>
                  <a:pt x="910" y="463"/>
                </a:cubicBezTo>
                <a:cubicBezTo>
                  <a:pt x="910" y="464"/>
                  <a:pt x="910" y="464"/>
                  <a:pt x="910" y="464"/>
                </a:cubicBezTo>
                <a:cubicBezTo>
                  <a:pt x="910" y="464"/>
                  <a:pt x="911" y="464"/>
                  <a:pt x="911" y="464"/>
                </a:cubicBezTo>
                <a:cubicBezTo>
                  <a:pt x="911" y="464"/>
                  <a:pt x="911" y="464"/>
                  <a:pt x="911" y="464"/>
                </a:cubicBezTo>
                <a:cubicBezTo>
                  <a:pt x="911" y="464"/>
                  <a:pt x="911" y="464"/>
                  <a:pt x="911" y="465"/>
                </a:cubicBezTo>
                <a:cubicBezTo>
                  <a:pt x="912" y="465"/>
                  <a:pt x="913" y="465"/>
                  <a:pt x="914" y="465"/>
                </a:cubicBezTo>
                <a:cubicBezTo>
                  <a:pt x="919" y="467"/>
                  <a:pt x="919" y="467"/>
                  <a:pt x="919" y="467"/>
                </a:cubicBezTo>
                <a:cubicBezTo>
                  <a:pt x="919" y="467"/>
                  <a:pt x="919" y="467"/>
                  <a:pt x="919" y="467"/>
                </a:cubicBezTo>
                <a:cubicBezTo>
                  <a:pt x="923" y="468"/>
                  <a:pt x="923" y="468"/>
                  <a:pt x="923" y="468"/>
                </a:cubicBezTo>
                <a:cubicBezTo>
                  <a:pt x="926" y="466"/>
                  <a:pt x="926" y="466"/>
                  <a:pt x="926" y="466"/>
                </a:cubicBezTo>
                <a:cubicBezTo>
                  <a:pt x="927" y="465"/>
                  <a:pt x="928" y="464"/>
                  <a:pt x="930" y="463"/>
                </a:cubicBezTo>
                <a:cubicBezTo>
                  <a:pt x="930" y="463"/>
                  <a:pt x="930" y="463"/>
                  <a:pt x="930" y="463"/>
                </a:cubicBezTo>
                <a:cubicBezTo>
                  <a:pt x="934" y="462"/>
                  <a:pt x="934" y="462"/>
                  <a:pt x="934" y="462"/>
                </a:cubicBezTo>
                <a:cubicBezTo>
                  <a:pt x="937" y="461"/>
                  <a:pt x="937" y="461"/>
                  <a:pt x="937" y="461"/>
                </a:cubicBezTo>
                <a:cubicBezTo>
                  <a:pt x="936" y="461"/>
                  <a:pt x="936" y="461"/>
                  <a:pt x="936" y="461"/>
                </a:cubicBezTo>
                <a:cubicBezTo>
                  <a:pt x="936" y="460"/>
                  <a:pt x="937" y="460"/>
                  <a:pt x="937" y="460"/>
                </a:cubicBezTo>
                <a:cubicBezTo>
                  <a:pt x="937" y="460"/>
                  <a:pt x="937" y="460"/>
                  <a:pt x="937" y="459"/>
                </a:cubicBezTo>
                <a:cubicBezTo>
                  <a:pt x="937" y="458"/>
                  <a:pt x="937" y="458"/>
                  <a:pt x="937" y="458"/>
                </a:cubicBezTo>
                <a:cubicBezTo>
                  <a:pt x="937" y="454"/>
                  <a:pt x="937" y="454"/>
                  <a:pt x="937" y="454"/>
                </a:cubicBezTo>
                <a:cubicBezTo>
                  <a:pt x="939" y="450"/>
                  <a:pt x="939" y="450"/>
                  <a:pt x="939" y="450"/>
                </a:cubicBezTo>
                <a:cubicBezTo>
                  <a:pt x="941" y="447"/>
                  <a:pt x="941" y="447"/>
                  <a:pt x="941" y="447"/>
                </a:cubicBezTo>
                <a:cubicBezTo>
                  <a:pt x="941" y="446"/>
                  <a:pt x="942" y="445"/>
                  <a:pt x="943" y="444"/>
                </a:cubicBezTo>
                <a:cubicBezTo>
                  <a:pt x="944" y="442"/>
                  <a:pt x="944" y="442"/>
                  <a:pt x="944" y="442"/>
                </a:cubicBezTo>
                <a:cubicBezTo>
                  <a:pt x="949" y="437"/>
                  <a:pt x="949" y="437"/>
                  <a:pt x="949" y="437"/>
                </a:cubicBezTo>
                <a:cubicBezTo>
                  <a:pt x="950" y="436"/>
                  <a:pt x="950" y="435"/>
                  <a:pt x="951" y="434"/>
                </a:cubicBezTo>
                <a:cubicBezTo>
                  <a:pt x="951" y="434"/>
                  <a:pt x="951" y="434"/>
                  <a:pt x="951" y="434"/>
                </a:cubicBezTo>
                <a:cubicBezTo>
                  <a:pt x="951" y="434"/>
                  <a:pt x="951" y="434"/>
                  <a:pt x="951" y="433"/>
                </a:cubicBezTo>
                <a:cubicBezTo>
                  <a:pt x="950" y="433"/>
                  <a:pt x="950" y="433"/>
                  <a:pt x="950" y="433"/>
                </a:cubicBezTo>
                <a:cubicBezTo>
                  <a:pt x="950" y="432"/>
                  <a:pt x="950" y="432"/>
                  <a:pt x="950" y="432"/>
                </a:cubicBezTo>
                <a:cubicBezTo>
                  <a:pt x="950" y="431"/>
                  <a:pt x="950" y="431"/>
                  <a:pt x="950" y="431"/>
                </a:cubicBezTo>
                <a:cubicBezTo>
                  <a:pt x="951" y="430"/>
                  <a:pt x="951" y="430"/>
                  <a:pt x="951" y="430"/>
                </a:cubicBezTo>
                <a:cubicBezTo>
                  <a:pt x="950" y="430"/>
                  <a:pt x="950" y="429"/>
                  <a:pt x="950" y="429"/>
                </a:cubicBezTo>
                <a:cubicBezTo>
                  <a:pt x="950" y="429"/>
                  <a:pt x="950" y="429"/>
                  <a:pt x="950" y="429"/>
                </a:cubicBezTo>
                <a:cubicBezTo>
                  <a:pt x="950" y="429"/>
                  <a:pt x="949" y="429"/>
                  <a:pt x="949" y="429"/>
                </a:cubicBezTo>
                <a:cubicBezTo>
                  <a:pt x="949" y="429"/>
                  <a:pt x="949" y="429"/>
                  <a:pt x="949" y="429"/>
                </a:cubicBezTo>
                <a:cubicBezTo>
                  <a:pt x="949" y="429"/>
                  <a:pt x="948" y="429"/>
                  <a:pt x="948" y="429"/>
                </a:cubicBezTo>
                <a:cubicBezTo>
                  <a:pt x="948" y="429"/>
                  <a:pt x="948" y="429"/>
                  <a:pt x="948" y="429"/>
                </a:cubicBezTo>
                <a:cubicBezTo>
                  <a:pt x="947" y="429"/>
                  <a:pt x="947" y="429"/>
                  <a:pt x="946" y="429"/>
                </a:cubicBezTo>
                <a:cubicBezTo>
                  <a:pt x="945" y="430"/>
                  <a:pt x="945" y="430"/>
                  <a:pt x="945" y="430"/>
                </a:cubicBezTo>
                <a:cubicBezTo>
                  <a:pt x="944" y="429"/>
                  <a:pt x="944" y="429"/>
                  <a:pt x="944" y="429"/>
                </a:cubicBezTo>
                <a:cubicBezTo>
                  <a:pt x="944" y="428"/>
                  <a:pt x="943" y="427"/>
                  <a:pt x="944" y="426"/>
                </a:cubicBezTo>
                <a:cubicBezTo>
                  <a:pt x="944" y="425"/>
                  <a:pt x="944" y="425"/>
                  <a:pt x="944" y="425"/>
                </a:cubicBezTo>
                <a:cubicBezTo>
                  <a:pt x="945" y="424"/>
                  <a:pt x="945" y="424"/>
                  <a:pt x="945" y="424"/>
                </a:cubicBezTo>
                <a:cubicBezTo>
                  <a:pt x="945" y="424"/>
                  <a:pt x="946" y="424"/>
                  <a:pt x="947" y="423"/>
                </a:cubicBezTo>
                <a:cubicBezTo>
                  <a:pt x="947" y="423"/>
                  <a:pt x="947" y="423"/>
                  <a:pt x="947" y="422"/>
                </a:cubicBezTo>
                <a:cubicBezTo>
                  <a:pt x="949" y="421"/>
                  <a:pt x="949" y="421"/>
                  <a:pt x="949" y="421"/>
                </a:cubicBezTo>
                <a:cubicBezTo>
                  <a:pt x="950" y="420"/>
                  <a:pt x="951" y="419"/>
                  <a:pt x="952" y="419"/>
                </a:cubicBezTo>
                <a:cubicBezTo>
                  <a:pt x="952" y="418"/>
                  <a:pt x="952" y="418"/>
                  <a:pt x="952" y="418"/>
                </a:cubicBezTo>
                <a:cubicBezTo>
                  <a:pt x="953" y="418"/>
                  <a:pt x="953" y="418"/>
                  <a:pt x="953" y="418"/>
                </a:cubicBezTo>
                <a:cubicBezTo>
                  <a:pt x="953" y="417"/>
                  <a:pt x="953" y="417"/>
                  <a:pt x="953" y="417"/>
                </a:cubicBezTo>
                <a:cubicBezTo>
                  <a:pt x="954" y="417"/>
                  <a:pt x="954" y="417"/>
                  <a:pt x="954" y="417"/>
                </a:cubicBezTo>
                <a:cubicBezTo>
                  <a:pt x="954" y="417"/>
                  <a:pt x="954" y="417"/>
                  <a:pt x="954" y="417"/>
                </a:cubicBezTo>
                <a:cubicBezTo>
                  <a:pt x="955" y="417"/>
                  <a:pt x="955" y="417"/>
                  <a:pt x="956" y="417"/>
                </a:cubicBezTo>
                <a:cubicBezTo>
                  <a:pt x="956" y="417"/>
                  <a:pt x="956" y="417"/>
                  <a:pt x="957" y="417"/>
                </a:cubicBezTo>
                <a:cubicBezTo>
                  <a:pt x="959" y="417"/>
                  <a:pt x="961" y="416"/>
                  <a:pt x="963" y="416"/>
                </a:cubicBezTo>
                <a:cubicBezTo>
                  <a:pt x="965" y="416"/>
                  <a:pt x="965" y="416"/>
                  <a:pt x="965" y="416"/>
                </a:cubicBezTo>
                <a:cubicBezTo>
                  <a:pt x="970" y="415"/>
                  <a:pt x="970" y="415"/>
                  <a:pt x="970" y="415"/>
                </a:cubicBezTo>
                <a:cubicBezTo>
                  <a:pt x="972" y="415"/>
                  <a:pt x="973" y="415"/>
                  <a:pt x="975" y="415"/>
                </a:cubicBezTo>
                <a:cubicBezTo>
                  <a:pt x="975" y="414"/>
                  <a:pt x="975" y="414"/>
                  <a:pt x="975" y="414"/>
                </a:cubicBezTo>
                <a:cubicBezTo>
                  <a:pt x="976" y="414"/>
                  <a:pt x="976" y="414"/>
                  <a:pt x="977" y="414"/>
                </a:cubicBezTo>
                <a:cubicBezTo>
                  <a:pt x="977" y="414"/>
                  <a:pt x="978" y="414"/>
                  <a:pt x="978" y="414"/>
                </a:cubicBezTo>
                <a:cubicBezTo>
                  <a:pt x="980" y="414"/>
                  <a:pt x="980" y="414"/>
                  <a:pt x="980" y="414"/>
                </a:cubicBezTo>
                <a:cubicBezTo>
                  <a:pt x="980" y="414"/>
                  <a:pt x="980" y="414"/>
                  <a:pt x="980" y="414"/>
                </a:cubicBezTo>
                <a:cubicBezTo>
                  <a:pt x="982" y="414"/>
                  <a:pt x="982" y="414"/>
                  <a:pt x="982" y="414"/>
                </a:cubicBezTo>
                <a:cubicBezTo>
                  <a:pt x="983" y="414"/>
                  <a:pt x="983" y="414"/>
                  <a:pt x="983" y="414"/>
                </a:cubicBezTo>
                <a:cubicBezTo>
                  <a:pt x="984" y="415"/>
                  <a:pt x="986" y="416"/>
                  <a:pt x="987" y="416"/>
                </a:cubicBezTo>
                <a:cubicBezTo>
                  <a:pt x="992" y="419"/>
                  <a:pt x="992" y="419"/>
                  <a:pt x="992" y="419"/>
                </a:cubicBezTo>
                <a:cubicBezTo>
                  <a:pt x="994" y="419"/>
                  <a:pt x="994" y="419"/>
                  <a:pt x="994" y="419"/>
                </a:cubicBezTo>
                <a:cubicBezTo>
                  <a:pt x="994" y="419"/>
                  <a:pt x="994" y="419"/>
                  <a:pt x="994" y="419"/>
                </a:cubicBezTo>
                <a:cubicBezTo>
                  <a:pt x="995" y="419"/>
                  <a:pt x="995" y="419"/>
                  <a:pt x="995" y="419"/>
                </a:cubicBezTo>
                <a:cubicBezTo>
                  <a:pt x="996" y="419"/>
                  <a:pt x="997" y="419"/>
                  <a:pt x="997" y="419"/>
                </a:cubicBezTo>
                <a:cubicBezTo>
                  <a:pt x="998" y="419"/>
                  <a:pt x="998" y="419"/>
                  <a:pt x="998" y="419"/>
                </a:cubicBezTo>
                <a:cubicBezTo>
                  <a:pt x="998" y="419"/>
                  <a:pt x="998" y="419"/>
                  <a:pt x="998" y="419"/>
                </a:cubicBezTo>
                <a:cubicBezTo>
                  <a:pt x="998" y="419"/>
                  <a:pt x="998" y="419"/>
                  <a:pt x="998" y="419"/>
                </a:cubicBezTo>
                <a:cubicBezTo>
                  <a:pt x="999" y="419"/>
                  <a:pt x="999" y="419"/>
                  <a:pt x="999" y="419"/>
                </a:cubicBezTo>
                <a:cubicBezTo>
                  <a:pt x="999" y="419"/>
                  <a:pt x="999" y="419"/>
                  <a:pt x="999" y="419"/>
                </a:cubicBezTo>
                <a:cubicBezTo>
                  <a:pt x="999" y="419"/>
                  <a:pt x="999" y="419"/>
                  <a:pt x="999" y="419"/>
                </a:cubicBezTo>
                <a:cubicBezTo>
                  <a:pt x="1000" y="420"/>
                  <a:pt x="1000" y="420"/>
                  <a:pt x="1000" y="420"/>
                </a:cubicBezTo>
                <a:cubicBezTo>
                  <a:pt x="1000" y="420"/>
                  <a:pt x="1000" y="420"/>
                  <a:pt x="1000" y="420"/>
                </a:cubicBezTo>
                <a:cubicBezTo>
                  <a:pt x="1001" y="420"/>
                  <a:pt x="1001" y="420"/>
                  <a:pt x="1001" y="420"/>
                </a:cubicBezTo>
                <a:cubicBezTo>
                  <a:pt x="1001" y="421"/>
                  <a:pt x="1001" y="421"/>
                  <a:pt x="1001" y="421"/>
                </a:cubicBezTo>
                <a:cubicBezTo>
                  <a:pt x="1001" y="421"/>
                  <a:pt x="1001" y="421"/>
                  <a:pt x="1001" y="421"/>
                </a:cubicBezTo>
                <a:cubicBezTo>
                  <a:pt x="1002" y="421"/>
                  <a:pt x="1002" y="421"/>
                  <a:pt x="1002" y="421"/>
                </a:cubicBezTo>
                <a:cubicBezTo>
                  <a:pt x="1003" y="421"/>
                  <a:pt x="1003" y="421"/>
                  <a:pt x="1003" y="421"/>
                </a:cubicBezTo>
                <a:cubicBezTo>
                  <a:pt x="1005" y="423"/>
                  <a:pt x="1005" y="423"/>
                  <a:pt x="1005" y="423"/>
                </a:cubicBezTo>
                <a:cubicBezTo>
                  <a:pt x="1006" y="422"/>
                  <a:pt x="1006" y="422"/>
                  <a:pt x="1006" y="422"/>
                </a:cubicBezTo>
                <a:cubicBezTo>
                  <a:pt x="1006" y="423"/>
                  <a:pt x="1006" y="423"/>
                  <a:pt x="1006" y="423"/>
                </a:cubicBezTo>
                <a:cubicBezTo>
                  <a:pt x="1006" y="424"/>
                  <a:pt x="1006" y="424"/>
                  <a:pt x="1006" y="424"/>
                </a:cubicBezTo>
                <a:cubicBezTo>
                  <a:pt x="1006" y="424"/>
                  <a:pt x="1006" y="424"/>
                  <a:pt x="1006" y="424"/>
                </a:cubicBezTo>
                <a:cubicBezTo>
                  <a:pt x="1007" y="424"/>
                  <a:pt x="1007" y="424"/>
                  <a:pt x="1007" y="424"/>
                </a:cubicBezTo>
                <a:cubicBezTo>
                  <a:pt x="1007" y="424"/>
                  <a:pt x="1007" y="424"/>
                  <a:pt x="1007" y="424"/>
                </a:cubicBezTo>
                <a:cubicBezTo>
                  <a:pt x="1008" y="425"/>
                  <a:pt x="1008" y="425"/>
                  <a:pt x="1008" y="425"/>
                </a:cubicBezTo>
                <a:cubicBezTo>
                  <a:pt x="1008" y="426"/>
                  <a:pt x="1008" y="426"/>
                  <a:pt x="1008" y="426"/>
                </a:cubicBezTo>
                <a:cubicBezTo>
                  <a:pt x="1008" y="426"/>
                  <a:pt x="1008" y="426"/>
                  <a:pt x="1008" y="426"/>
                </a:cubicBezTo>
                <a:cubicBezTo>
                  <a:pt x="1008" y="427"/>
                  <a:pt x="1008" y="427"/>
                  <a:pt x="1007" y="428"/>
                </a:cubicBezTo>
                <a:cubicBezTo>
                  <a:pt x="1007" y="428"/>
                  <a:pt x="1007" y="428"/>
                  <a:pt x="1007" y="428"/>
                </a:cubicBezTo>
                <a:cubicBezTo>
                  <a:pt x="1008" y="428"/>
                  <a:pt x="1008" y="428"/>
                  <a:pt x="1008" y="428"/>
                </a:cubicBezTo>
                <a:cubicBezTo>
                  <a:pt x="1008" y="429"/>
                  <a:pt x="1008" y="429"/>
                  <a:pt x="1008" y="429"/>
                </a:cubicBezTo>
                <a:cubicBezTo>
                  <a:pt x="1009" y="430"/>
                  <a:pt x="1011" y="432"/>
                  <a:pt x="1012" y="433"/>
                </a:cubicBezTo>
                <a:cubicBezTo>
                  <a:pt x="1012" y="434"/>
                  <a:pt x="1012" y="434"/>
                  <a:pt x="1012" y="434"/>
                </a:cubicBezTo>
                <a:cubicBezTo>
                  <a:pt x="1012" y="435"/>
                  <a:pt x="1012" y="435"/>
                  <a:pt x="1012" y="435"/>
                </a:cubicBezTo>
                <a:cubicBezTo>
                  <a:pt x="1012" y="436"/>
                  <a:pt x="1012" y="436"/>
                  <a:pt x="1012" y="436"/>
                </a:cubicBezTo>
                <a:cubicBezTo>
                  <a:pt x="1012" y="437"/>
                  <a:pt x="1012" y="437"/>
                  <a:pt x="1012" y="437"/>
                </a:cubicBezTo>
                <a:cubicBezTo>
                  <a:pt x="1012" y="437"/>
                  <a:pt x="1012" y="437"/>
                  <a:pt x="1012" y="437"/>
                </a:cubicBezTo>
                <a:cubicBezTo>
                  <a:pt x="1012" y="437"/>
                  <a:pt x="1012" y="437"/>
                  <a:pt x="1012" y="437"/>
                </a:cubicBezTo>
                <a:cubicBezTo>
                  <a:pt x="1013" y="439"/>
                  <a:pt x="1014" y="442"/>
                  <a:pt x="1015" y="443"/>
                </a:cubicBezTo>
                <a:cubicBezTo>
                  <a:pt x="1015" y="445"/>
                  <a:pt x="1015" y="445"/>
                  <a:pt x="1015" y="445"/>
                </a:cubicBezTo>
                <a:cubicBezTo>
                  <a:pt x="1015" y="445"/>
                  <a:pt x="1015" y="445"/>
                  <a:pt x="1016" y="445"/>
                </a:cubicBezTo>
                <a:cubicBezTo>
                  <a:pt x="1017" y="444"/>
                  <a:pt x="1017" y="444"/>
                  <a:pt x="1017" y="444"/>
                </a:cubicBezTo>
                <a:cubicBezTo>
                  <a:pt x="1018" y="450"/>
                  <a:pt x="1018" y="450"/>
                  <a:pt x="1018" y="450"/>
                </a:cubicBezTo>
                <a:cubicBezTo>
                  <a:pt x="1018" y="450"/>
                  <a:pt x="1018" y="450"/>
                  <a:pt x="1018" y="450"/>
                </a:cubicBezTo>
                <a:cubicBezTo>
                  <a:pt x="1018" y="450"/>
                  <a:pt x="1018" y="450"/>
                  <a:pt x="1018" y="450"/>
                </a:cubicBezTo>
                <a:cubicBezTo>
                  <a:pt x="1018" y="450"/>
                  <a:pt x="1018" y="450"/>
                  <a:pt x="1018" y="450"/>
                </a:cubicBezTo>
                <a:cubicBezTo>
                  <a:pt x="1019" y="451"/>
                  <a:pt x="1019" y="451"/>
                  <a:pt x="1019" y="451"/>
                </a:cubicBezTo>
                <a:cubicBezTo>
                  <a:pt x="1022" y="458"/>
                  <a:pt x="1022" y="458"/>
                  <a:pt x="1022" y="458"/>
                </a:cubicBezTo>
                <a:cubicBezTo>
                  <a:pt x="1022" y="458"/>
                  <a:pt x="1022" y="458"/>
                  <a:pt x="1022" y="459"/>
                </a:cubicBezTo>
                <a:cubicBezTo>
                  <a:pt x="1022" y="459"/>
                  <a:pt x="1022" y="459"/>
                  <a:pt x="1022" y="459"/>
                </a:cubicBezTo>
                <a:cubicBezTo>
                  <a:pt x="1022" y="459"/>
                  <a:pt x="1022" y="459"/>
                  <a:pt x="1022" y="459"/>
                </a:cubicBezTo>
                <a:cubicBezTo>
                  <a:pt x="1022" y="459"/>
                  <a:pt x="1023" y="459"/>
                  <a:pt x="1023" y="459"/>
                </a:cubicBezTo>
                <a:cubicBezTo>
                  <a:pt x="1023" y="460"/>
                  <a:pt x="1023" y="460"/>
                  <a:pt x="1023" y="460"/>
                </a:cubicBezTo>
                <a:cubicBezTo>
                  <a:pt x="1023" y="460"/>
                  <a:pt x="1023" y="460"/>
                  <a:pt x="1023" y="460"/>
                </a:cubicBezTo>
                <a:cubicBezTo>
                  <a:pt x="1023" y="462"/>
                  <a:pt x="1023" y="462"/>
                  <a:pt x="1023" y="462"/>
                </a:cubicBezTo>
                <a:cubicBezTo>
                  <a:pt x="1023" y="462"/>
                  <a:pt x="1023" y="462"/>
                  <a:pt x="1023" y="463"/>
                </a:cubicBezTo>
                <a:cubicBezTo>
                  <a:pt x="1023" y="463"/>
                  <a:pt x="1023" y="463"/>
                  <a:pt x="1023" y="463"/>
                </a:cubicBezTo>
                <a:cubicBezTo>
                  <a:pt x="1023" y="463"/>
                  <a:pt x="1023" y="464"/>
                  <a:pt x="1023" y="464"/>
                </a:cubicBezTo>
                <a:cubicBezTo>
                  <a:pt x="1025" y="467"/>
                  <a:pt x="1025" y="467"/>
                  <a:pt x="1025" y="467"/>
                </a:cubicBezTo>
                <a:cubicBezTo>
                  <a:pt x="1025" y="467"/>
                  <a:pt x="1025" y="468"/>
                  <a:pt x="1026" y="468"/>
                </a:cubicBezTo>
                <a:cubicBezTo>
                  <a:pt x="1032" y="468"/>
                  <a:pt x="1032" y="468"/>
                  <a:pt x="1032" y="468"/>
                </a:cubicBezTo>
                <a:cubicBezTo>
                  <a:pt x="1033" y="468"/>
                  <a:pt x="1034" y="468"/>
                  <a:pt x="1035" y="469"/>
                </a:cubicBezTo>
                <a:cubicBezTo>
                  <a:pt x="1035" y="469"/>
                  <a:pt x="1035" y="469"/>
                  <a:pt x="1035" y="469"/>
                </a:cubicBezTo>
                <a:cubicBezTo>
                  <a:pt x="1035" y="469"/>
                  <a:pt x="1036" y="469"/>
                  <a:pt x="1036" y="469"/>
                </a:cubicBezTo>
                <a:cubicBezTo>
                  <a:pt x="1039" y="470"/>
                  <a:pt x="1039" y="470"/>
                  <a:pt x="1039" y="470"/>
                </a:cubicBezTo>
                <a:cubicBezTo>
                  <a:pt x="1040" y="470"/>
                  <a:pt x="1040" y="470"/>
                  <a:pt x="1040" y="470"/>
                </a:cubicBezTo>
                <a:cubicBezTo>
                  <a:pt x="1042" y="470"/>
                  <a:pt x="1042" y="470"/>
                  <a:pt x="1042" y="470"/>
                </a:cubicBezTo>
                <a:cubicBezTo>
                  <a:pt x="1050" y="477"/>
                  <a:pt x="1050" y="477"/>
                  <a:pt x="1050" y="477"/>
                </a:cubicBezTo>
                <a:cubicBezTo>
                  <a:pt x="1050" y="477"/>
                  <a:pt x="1050" y="477"/>
                  <a:pt x="1050" y="477"/>
                </a:cubicBezTo>
                <a:cubicBezTo>
                  <a:pt x="1050" y="477"/>
                  <a:pt x="1050" y="477"/>
                  <a:pt x="1050" y="477"/>
                </a:cubicBezTo>
                <a:cubicBezTo>
                  <a:pt x="1051" y="477"/>
                  <a:pt x="1051" y="477"/>
                  <a:pt x="1051" y="477"/>
                </a:cubicBezTo>
                <a:cubicBezTo>
                  <a:pt x="1055" y="477"/>
                  <a:pt x="1055" y="477"/>
                  <a:pt x="1055" y="477"/>
                </a:cubicBezTo>
                <a:cubicBezTo>
                  <a:pt x="1054" y="481"/>
                  <a:pt x="1054" y="481"/>
                  <a:pt x="1054" y="481"/>
                </a:cubicBezTo>
                <a:cubicBezTo>
                  <a:pt x="1054" y="481"/>
                  <a:pt x="1054" y="481"/>
                  <a:pt x="1054" y="481"/>
                </a:cubicBezTo>
                <a:cubicBezTo>
                  <a:pt x="1054" y="481"/>
                  <a:pt x="1054" y="482"/>
                  <a:pt x="1054" y="482"/>
                </a:cubicBezTo>
                <a:cubicBezTo>
                  <a:pt x="1055" y="482"/>
                  <a:pt x="1055" y="482"/>
                  <a:pt x="1055" y="482"/>
                </a:cubicBezTo>
                <a:cubicBezTo>
                  <a:pt x="1055" y="482"/>
                  <a:pt x="1055" y="483"/>
                  <a:pt x="1056" y="483"/>
                </a:cubicBezTo>
                <a:cubicBezTo>
                  <a:pt x="1056" y="483"/>
                  <a:pt x="1056" y="484"/>
                  <a:pt x="1056" y="484"/>
                </a:cubicBezTo>
                <a:cubicBezTo>
                  <a:pt x="1056" y="485"/>
                  <a:pt x="1056" y="485"/>
                  <a:pt x="1056" y="485"/>
                </a:cubicBezTo>
                <a:cubicBezTo>
                  <a:pt x="1056" y="485"/>
                  <a:pt x="1057" y="486"/>
                  <a:pt x="1056" y="487"/>
                </a:cubicBezTo>
                <a:cubicBezTo>
                  <a:pt x="1056" y="487"/>
                  <a:pt x="1056" y="488"/>
                  <a:pt x="1055" y="488"/>
                </a:cubicBezTo>
                <a:cubicBezTo>
                  <a:pt x="1055" y="488"/>
                  <a:pt x="1055" y="488"/>
                  <a:pt x="1055" y="488"/>
                </a:cubicBezTo>
                <a:cubicBezTo>
                  <a:pt x="1055" y="489"/>
                  <a:pt x="1055" y="489"/>
                  <a:pt x="1056" y="489"/>
                </a:cubicBezTo>
                <a:cubicBezTo>
                  <a:pt x="1056" y="489"/>
                  <a:pt x="1056" y="489"/>
                  <a:pt x="1056" y="489"/>
                </a:cubicBezTo>
                <a:cubicBezTo>
                  <a:pt x="1056" y="489"/>
                  <a:pt x="1056" y="489"/>
                  <a:pt x="1056" y="489"/>
                </a:cubicBezTo>
                <a:cubicBezTo>
                  <a:pt x="1056" y="490"/>
                  <a:pt x="1057" y="490"/>
                  <a:pt x="1057" y="490"/>
                </a:cubicBezTo>
                <a:cubicBezTo>
                  <a:pt x="1057" y="490"/>
                  <a:pt x="1057" y="490"/>
                  <a:pt x="1057" y="490"/>
                </a:cubicBezTo>
                <a:cubicBezTo>
                  <a:pt x="1057" y="491"/>
                  <a:pt x="1057" y="491"/>
                  <a:pt x="1057" y="491"/>
                </a:cubicBezTo>
                <a:cubicBezTo>
                  <a:pt x="1057" y="491"/>
                  <a:pt x="1057" y="491"/>
                  <a:pt x="1057" y="492"/>
                </a:cubicBezTo>
                <a:cubicBezTo>
                  <a:pt x="1058" y="492"/>
                  <a:pt x="1058" y="492"/>
                  <a:pt x="1058" y="492"/>
                </a:cubicBezTo>
                <a:cubicBezTo>
                  <a:pt x="1058" y="492"/>
                  <a:pt x="1058" y="492"/>
                  <a:pt x="1058" y="492"/>
                </a:cubicBezTo>
                <a:cubicBezTo>
                  <a:pt x="1059" y="493"/>
                  <a:pt x="1060" y="492"/>
                  <a:pt x="1062" y="492"/>
                </a:cubicBezTo>
                <a:cubicBezTo>
                  <a:pt x="1065" y="493"/>
                  <a:pt x="1068" y="493"/>
                  <a:pt x="1071" y="492"/>
                </a:cubicBezTo>
                <a:cubicBezTo>
                  <a:pt x="1072" y="492"/>
                  <a:pt x="1072" y="492"/>
                  <a:pt x="1072" y="492"/>
                </a:cubicBezTo>
                <a:cubicBezTo>
                  <a:pt x="1072" y="491"/>
                  <a:pt x="1072" y="491"/>
                  <a:pt x="1073" y="490"/>
                </a:cubicBezTo>
                <a:cubicBezTo>
                  <a:pt x="1073" y="489"/>
                  <a:pt x="1075" y="489"/>
                  <a:pt x="1075" y="488"/>
                </a:cubicBezTo>
                <a:cubicBezTo>
                  <a:pt x="1076" y="488"/>
                  <a:pt x="1078" y="487"/>
                  <a:pt x="1079" y="487"/>
                </a:cubicBezTo>
                <a:cubicBezTo>
                  <a:pt x="1080" y="487"/>
                  <a:pt x="1081" y="487"/>
                  <a:pt x="1082" y="487"/>
                </a:cubicBezTo>
                <a:cubicBezTo>
                  <a:pt x="1084" y="486"/>
                  <a:pt x="1084" y="486"/>
                  <a:pt x="1084" y="486"/>
                </a:cubicBezTo>
                <a:cubicBezTo>
                  <a:pt x="1085" y="485"/>
                  <a:pt x="1087" y="484"/>
                  <a:pt x="1088" y="484"/>
                </a:cubicBezTo>
                <a:cubicBezTo>
                  <a:pt x="1087" y="484"/>
                  <a:pt x="1087" y="484"/>
                  <a:pt x="1087" y="484"/>
                </a:cubicBezTo>
                <a:cubicBezTo>
                  <a:pt x="1093" y="483"/>
                  <a:pt x="1093" y="483"/>
                  <a:pt x="1093" y="483"/>
                </a:cubicBezTo>
                <a:cubicBezTo>
                  <a:pt x="1094" y="483"/>
                  <a:pt x="1095" y="483"/>
                  <a:pt x="1097" y="483"/>
                </a:cubicBezTo>
                <a:cubicBezTo>
                  <a:pt x="1097" y="483"/>
                  <a:pt x="1097" y="483"/>
                  <a:pt x="1098" y="483"/>
                </a:cubicBezTo>
                <a:cubicBezTo>
                  <a:pt x="1098" y="483"/>
                  <a:pt x="1098" y="483"/>
                  <a:pt x="1098" y="483"/>
                </a:cubicBezTo>
                <a:cubicBezTo>
                  <a:pt x="1101" y="483"/>
                  <a:pt x="1101" y="483"/>
                  <a:pt x="1101" y="483"/>
                </a:cubicBezTo>
                <a:cubicBezTo>
                  <a:pt x="1099" y="485"/>
                  <a:pt x="1099" y="485"/>
                  <a:pt x="1099" y="485"/>
                </a:cubicBezTo>
                <a:cubicBezTo>
                  <a:pt x="1098" y="485"/>
                  <a:pt x="1098" y="485"/>
                  <a:pt x="1098" y="486"/>
                </a:cubicBezTo>
                <a:cubicBezTo>
                  <a:pt x="1097" y="486"/>
                  <a:pt x="1097" y="487"/>
                  <a:pt x="1096" y="487"/>
                </a:cubicBezTo>
                <a:cubicBezTo>
                  <a:pt x="1096" y="487"/>
                  <a:pt x="1096" y="487"/>
                  <a:pt x="1096" y="487"/>
                </a:cubicBezTo>
                <a:cubicBezTo>
                  <a:pt x="1095" y="488"/>
                  <a:pt x="1095" y="489"/>
                  <a:pt x="1095" y="490"/>
                </a:cubicBezTo>
                <a:cubicBezTo>
                  <a:pt x="1095" y="490"/>
                  <a:pt x="1095" y="490"/>
                  <a:pt x="1095" y="491"/>
                </a:cubicBezTo>
                <a:cubicBezTo>
                  <a:pt x="1096" y="491"/>
                  <a:pt x="1096" y="492"/>
                  <a:pt x="1096" y="492"/>
                </a:cubicBezTo>
                <a:cubicBezTo>
                  <a:pt x="1096" y="492"/>
                  <a:pt x="1096" y="492"/>
                  <a:pt x="1096" y="492"/>
                </a:cubicBezTo>
                <a:cubicBezTo>
                  <a:pt x="1097" y="493"/>
                  <a:pt x="1097" y="493"/>
                  <a:pt x="1097" y="493"/>
                </a:cubicBezTo>
                <a:cubicBezTo>
                  <a:pt x="1097" y="493"/>
                  <a:pt x="1097" y="493"/>
                  <a:pt x="1097" y="493"/>
                </a:cubicBezTo>
                <a:cubicBezTo>
                  <a:pt x="1097" y="495"/>
                  <a:pt x="1094" y="497"/>
                  <a:pt x="1093" y="497"/>
                </a:cubicBezTo>
                <a:cubicBezTo>
                  <a:pt x="1093" y="498"/>
                  <a:pt x="1093" y="498"/>
                  <a:pt x="1093" y="498"/>
                </a:cubicBezTo>
                <a:cubicBezTo>
                  <a:pt x="1092" y="498"/>
                  <a:pt x="1092" y="498"/>
                  <a:pt x="1092" y="498"/>
                </a:cubicBezTo>
                <a:cubicBezTo>
                  <a:pt x="1092" y="498"/>
                  <a:pt x="1091" y="498"/>
                  <a:pt x="1091" y="498"/>
                </a:cubicBezTo>
                <a:cubicBezTo>
                  <a:pt x="1091" y="498"/>
                  <a:pt x="1091" y="499"/>
                  <a:pt x="1091" y="499"/>
                </a:cubicBezTo>
                <a:cubicBezTo>
                  <a:pt x="1091" y="499"/>
                  <a:pt x="1091" y="499"/>
                  <a:pt x="1091" y="499"/>
                </a:cubicBezTo>
                <a:cubicBezTo>
                  <a:pt x="1091" y="500"/>
                  <a:pt x="1091" y="500"/>
                  <a:pt x="1091" y="501"/>
                </a:cubicBezTo>
                <a:cubicBezTo>
                  <a:pt x="1091" y="501"/>
                  <a:pt x="1091" y="501"/>
                  <a:pt x="1091" y="501"/>
                </a:cubicBezTo>
                <a:cubicBezTo>
                  <a:pt x="1090" y="502"/>
                  <a:pt x="1090" y="503"/>
                  <a:pt x="1090" y="503"/>
                </a:cubicBezTo>
                <a:cubicBezTo>
                  <a:pt x="1090" y="504"/>
                  <a:pt x="1090" y="504"/>
                  <a:pt x="1090" y="504"/>
                </a:cubicBezTo>
                <a:cubicBezTo>
                  <a:pt x="1090" y="504"/>
                  <a:pt x="1090" y="504"/>
                  <a:pt x="1090" y="505"/>
                </a:cubicBezTo>
                <a:cubicBezTo>
                  <a:pt x="1089" y="505"/>
                  <a:pt x="1089" y="505"/>
                  <a:pt x="1089" y="505"/>
                </a:cubicBezTo>
                <a:cubicBezTo>
                  <a:pt x="1089" y="506"/>
                  <a:pt x="1089" y="506"/>
                  <a:pt x="1089" y="507"/>
                </a:cubicBezTo>
                <a:cubicBezTo>
                  <a:pt x="1089" y="507"/>
                  <a:pt x="1089" y="507"/>
                  <a:pt x="1089" y="508"/>
                </a:cubicBezTo>
                <a:cubicBezTo>
                  <a:pt x="1089" y="508"/>
                  <a:pt x="1088" y="508"/>
                  <a:pt x="1088" y="509"/>
                </a:cubicBezTo>
                <a:cubicBezTo>
                  <a:pt x="1088" y="509"/>
                  <a:pt x="1088" y="509"/>
                  <a:pt x="1088" y="509"/>
                </a:cubicBezTo>
                <a:cubicBezTo>
                  <a:pt x="1088" y="509"/>
                  <a:pt x="1088" y="509"/>
                  <a:pt x="1088" y="509"/>
                </a:cubicBezTo>
                <a:cubicBezTo>
                  <a:pt x="1088" y="509"/>
                  <a:pt x="1088" y="510"/>
                  <a:pt x="1088" y="510"/>
                </a:cubicBezTo>
                <a:cubicBezTo>
                  <a:pt x="1088" y="510"/>
                  <a:pt x="1088" y="510"/>
                  <a:pt x="1088" y="510"/>
                </a:cubicBezTo>
                <a:cubicBezTo>
                  <a:pt x="1088" y="511"/>
                  <a:pt x="1088" y="512"/>
                  <a:pt x="1087" y="513"/>
                </a:cubicBezTo>
                <a:cubicBezTo>
                  <a:pt x="1087" y="514"/>
                  <a:pt x="1086" y="515"/>
                  <a:pt x="1085" y="516"/>
                </a:cubicBezTo>
                <a:cubicBezTo>
                  <a:pt x="1085" y="517"/>
                  <a:pt x="1084" y="517"/>
                  <a:pt x="1084" y="517"/>
                </a:cubicBezTo>
                <a:cubicBezTo>
                  <a:pt x="1084" y="518"/>
                  <a:pt x="1084" y="518"/>
                  <a:pt x="1084" y="519"/>
                </a:cubicBezTo>
                <a:cubicBezTo>
                  <a:pt x="1084" y="519"/>
                  <a:pt x="1084" y="519"/>
                  <a:pt x="1084" y="519"/>
                </a:cubicBezTo>
                <a:cubicBezTo>
                  <a:pt x="1086" y="519"/>
                  <a:pt x="1086" y="519"/>
                  <a:pt x="1086" y="519"/>
                </a:cubicBezTo>
                <a:cubicBezTo>
                  <a:pt x="1084" y="520"/>
                  <a:pt x="1084" y="520"/>
                  <a:pt x="1084" y="520"/>
                </a:cubicBezTo>
                <a:cubicBezTo>
                  <a:pt x="1084" y="520"/>
                  <a:pt x="1084" y="520"/>
                  <a:pt x="1084" y="520"/>
                </a:cubicBezTo>
                <a:cubicBezTo>
                  <a:pt x="1084" y="520"/>
                  <a:pt x="1083" y="520"/>
                  <a:pt x="1083" y="520"/>
                </a:cubicBezTo>
                <a:cubicBezTo>
                  <a:pt x="1083" y="520"/>
                  <a:pt x="1083" y="520"/>
                  <a:pt x="1083" y="520"/>
                </a:cubicBezTo>
                <a:cubicBezTo>
                  <a:pt x="1083" y="521"/>
                  <a:pt x="1083" y="521"/>
                  <a:pt x="1083" y="521"/>
                </a:cubicBezTo>
                <a:cubicBezTo>
                  <a:pt x="1083" y="521"/>
                  <a:pt x="1083" y="521"/>
                  <a:pt x="1083" y="521"/>
                </a:cubicBezTo>
                <a:cubicBezTo>
                  <a:pt x="1082" y="522"/>
                  <a:pt x="1081" y="522"/>
                  <a:pt x="1081" y="523"/>
                </a:cubicBezTo>
                <a:cubicBezTo>
                  <a:pt x="1080" y="523"/>
                  <a:pt x="1080" y="523"/>
                  <a:pt x="1080" y="523"/>
                </a:cubicBezTo>
                <a:cubicBezTo>
                  <a:pt x="1080" y="523"/>
                  <a:pt x="1080" y="524"/>
                  <a:pt x="1080" y="524"/>
                </a:cubicBezTo>
                <a:cubicBezTo>
                  <a:pt x="1080" y="524"/>
                  <a:pt x="1080" y="525"/>
                  <a:pt x="1080" y="525"/>
                </a:cubicBezTo>
                <a:cubicBezTo>
                  <a:pt x="1080" y="526"/>
                  <a:pt x="1080" y="526"/>
                  <a:pt x="1080" y="526"/>
                </a:cubicBezTo>
                <a:cubicBezTo>
                  <a:pt x="1080" y="526"/>
                  <a:pt x="1080" y="527"/>
                  <a:pt x="1079" y="527"/>
                </a:cubicBezTo>
                <a:cubicBezTo>
                  <a:pt x="1078" y="528"/>
                  <a:pt x="1077" y="529"/>
                  <a:pt x="1076" y="529"/>
                </a:cubicBezTo>
                <a:cubicBezTo>
                  <a:pt x="1075" y="529"/>
                  <a:pt x="1074" y="528"/>
                  <a:pt x="1072" y="528"/>
                </a:cubicBezTo>
                <a:cubicBezTo>
                  <a:pt x="1072" y="528"/>
                  <a:pt x="1072" y="528"/>
                  <a:pt x="1072" y="528"/>
                </a:cubicBezTo>
                <a:cubicBezTo>
                  <a:pt x="1072" y="528"/>
                  <a:pt x="1072" y="528"/>
                  <a:pt x="1071" y="528"/>
                </a:cubicBezTo>
                <a:cubicBezTo>
                  <a:pt x="1071" y="527"/>
                  <a:pt x="1071" y="527"/>
                  <a:pt x="1070" y="527"/>
                </a:cubicBezTo>
                <a:cubicBezTo>
                  <a:pt x="1069" y="527"/>
                  <a:pt x="1067" y="527"/>
                  <a:pt x="1066" y="526"/>
                </a:cubicBezTo>
                <a:cubicBezTo>
                  <a:pt x="1066" y="526"/>
                  <a:pt x="1066" y="526"/>
                  <a:pt x="1066" y="526"/>
                </a:cubicBezTo>
                <a:cubicBezTo>
                  <a:pt x="1066" y="526"/>
                  <a:pt x="1066" y="526"/>
                  <a:pt x="1066" y="526"/>
                </a:cubicBezTo>
                <a:cubicBezTo>
                  <a:pt x="1067" y="528"/>
                  <a:pt x="1067" y="528"/>
                  <a:pt x="1067" y="528"/>
                </a:cubicBezTo>
                <a:cubicBezTo>
                  <a:pt x="1065" y="527"/>
                  <a:pt x="1065" y="527"/>
                  <a:pt x="1065" y="527"/>
                </a:cubicBezTo>
                <a:cubicBezTo>
                  <a:pt x="1065" y="527"/>
                  <a:pt x="1064" y="528"/>
                  <a:pt x="1063" y="529"/>
                </a:cubicBezTo>
                <a:cubicBezTo>
                  <a:pt x="1063" y="529"/>
                  <a:pt x="1063" y="529"/>
                  <a:pt x="1063" y="529"/>
                </a:cubicBezTo>
                <a:cubicBezTo>
                  <a:pt x="1062" y="530"/>
                  <a:pt x="1060" y="530"/>
                  <a:pt x="1059" y="531"/>
                </a:cubicBezTo>
                <a:cubicBezTo>
                  <a:pt x="1058" y="531"/>
                  <a:pt x="1058" y="531"/>
                  <a:pt x="1058" y="531"/>
                </a:cubicBezTo>
                <a:cubicBezTo>
                  <a:pt x="1060" y="534"/>
                  <a:pt x="1061" y="537"/>
                  <a:pt x="1061" y="541"/>
                </a:cubicBezTo>
                <a:cubicBezTo>
                  <a:pt x="1061" y="542"/>
                  <a:pt x="1061" y="543"/>
                  <a:pt x="1061" y="545"/>
                </a:cubicBezTo>
                <a:cubicBezTo>
                  <a:pt x="1061" y="545"/>
                  <a:pt x="1061" y="546"/>
                  <a:pt x="1061" y="547"/>
                </a:cubicBezTo>
                <a:cubicBezTo>
                  <a:pt x="1061" y="549"/>
                  <a:pt x="1061" y="550"/>
                  <a:pt x="1060" y="552"/>
                </a:cubicBezTo>
                <a:cubicBezTo>
                  <a:pt x="1060" y="553"/>
                  <a:pt x="1060" y="553"/>
                  <a:pt x="1060" y="553"/>
                </a:cubicBezTo>
                <a:cubicBezTo>
                  <a:pt x="1059" y="555"/>
                  <a:pt x="1059" y="556"/>
                  <a:pt x="1056" y="556"/>
                </a:cubicBezTo>
                <a:cubicBezTo>
                  <a:pt x="1055" y="556"/>
                  <a:pt x="1054" y="556"/>
                  <a:pt x="1054" y="557"/>
                </a:cubicBezTo>
                <a:cubicBezTo>
                  <a:pt x="1054" y="557"/>
                  <a:pt x="1054" y="558"/>
                  <a:pt x="1054" y="558"/>
                </a:cubicBezTo>
                <a:cubicBezTo>
                  <a:pt x="1054" y="559"/>
                  <a:pt x="1054" y="559"/>
                  <a:pt x="1054" y="559"/>
                </a:cubicBezTo>
                <a:cubicBezTo>
                  <a:pt x="1053" y="559"/>
                  <a:pt x="1053" y="559"/>
                  <a:pt x="1053" y="559"/>
                </a:cubicBezTo>
                <a:cubicBezTo>
                  <a:pt x="1054" y="559"/>
                  <a:pt x="1054" y="560"/>
                  <a:pt x="1054" y="561"/>
                </a:cubicBezTo>
                <a:cubicBezTo>
                  <a:pt x="1055" y="560"/>
                  <a:pt x="1056" y="559"/>
                  <a:pt x="1055" y="559"/>
                </a:cubicBezTo>
                <a:cubicBezTo>
                  <a:pt x="1055" y="558"/>
                  <a:pt x="1054" y="558"/>
                  <a:pt x="1054" y="557"/>
                </a:cubicBezTo>
                <a:cubicBezTo>
                  <a:pt x="1054" y="557"/>
                  <a:pt x="1055" y="557"/>
                  <a:pt x="1055" y="557"/>
                </a:cubicBezTo>
                <a:cubicBezTo>
                  <a:pt x="1055" y="557"/>
                  <a:pt x="1055" y="557"/>
                  <a:pt x="1055" y="558"/>
                </a:cubicBezTo>
                <a:cubicBezTo>
                  <a:pt x="1055" y="558"/>
                  <a:pt x="1056" y="558"/>
                  <a:pt x="1056" y="558"/>
                </a:cubicBezTo>
                <a:cubicBezTo>
                  <a:pt x="1056" y="558"/>
                  <a:pt x="1056" y="558"/>
                  <a:pt x="1055" y="558"/>
                </a:cubicBezTo>
                <a:cubicBezTo>
                  <a:pt x="1056" y="558"/>
                  <a:pt x="1056" y="558"/>
                  <a:pt x="1057" y="558"/>
                </a:cubicBezTo>
                <a:cubicBezTo>
                  <a:pt x="1058" y="557"/>
                  <a:pt x="1058" y="558"/>
                  <a:pt x="1059" y="558"/>
                </a:cubicBezTo>
                <a:cubicBezTo>
                  <a:pt x="1059" y="557"/>
                  <a:pt x="1061" y="555"/>
                  <a:pt x="1062" y="554"/>
                </a:cubicBezTo>
                <a:cubicBezTo>
                  <a:pt x="1062" y="554"/>
                  <a:pt x="1063" y="553"/>
                  <a:pt x="1063" y="552"/>
                </a:cubicBezTo>
                <a:cubicBezTo>
                  <a:pt x="1063" y="552"/>
                  <a:pt x="1063" y="552"/>
                  <a:pt x="1063" y="551"/>
                </a:cubicBezTo>
                <a:cubicBezTo>
                  <a:pt x="1063" y="550"/>
                  <a:pt x="1065" y="549"/>
                  <a:pt x="1066" y="549"/>
                </a:cubicBezTo>
                <a:cubicBezTo>
                  <a:pt x="1067" y="549"/>
                  <a:pt x="1067" y="549"/>
                  <a:pt x="1068" y="549"/>
                </a:cubicBezTo>
                <a:cubicBezTo>
                  <a:pt x="1068" y="549"/>
                  <a:pt x="1068" y="549"/>
                  <a:pt x="1068" y="549"/>
                </a:cubicBezTo>
                <a:cubicBezTo>
                  <a:pt x="1068" y="550"/>
                  <a:pt x="1069" y="550"/>
                  <a:pt x="1069" y="551"/>
                </a:cubicBezTo>
                <a:cubicBezTo>
                  <a:pt x="1070" y="550"/>
                  <a:pt x="1070" y="550"/>
                  <a:pt x="1070" y="549"/>
                </a:cubicBezTo>
                <a:cubicBezTo>
                  <a:pt x="1070" y="550"/>
                  <a:pt x="1070" y="554"/>
                  <a:pt x="1071" y="555"/>
                </a:cubicBezTo>
                <a:cubicBezTo>
                  <a:pt x="1071" y="555"/>
                  <a:pt x="1071" y="554"/>
                  <a:pt x="1071" y="554"/>
                </a:cubicBezTo>
                <a:cubicBezTo>
                  <a:pt x="1071" y="554"/>
                  <a:pt x="1072" y="555"/>
                  <a:pt x="1072" y="555"/>
                </a:cubicBezTo>
                <a:cubicBezTo>
                  <a:pt x="1073" y="555"/>
                  <a:pt x="1074" y="554"/>
                  <a:pt x="1075" y="554"/>
                </a:cubicBezTo>
                <a:cubicBezTo>
                  <a:pt x="1076" y="554"/>
                  <a:pt x="1077" y="557"/>
                  <a:pt x="1079" y="557"/>
                </a:cubicBezTo>
                <a:cubicBezTo>
                  <a:pt x="1079" y="557"/>
                  <a:pt x="1080" y="556"/>
                  <a:pt x="1081" y="556"/>
                </a:cubicBezTo>
                <a:cubicBezTo>
                  <a:pt x="1082" y="555"/>
                  <a:pt x="1084" y="555"/>
                  <a:pt x="1085" y="555"/>
                </a:cubicBezTo>
                <a:cubicBezTo>
                  <a:pt x="1088" y="554"/>
                  <a:pt x="1091" y="552"/>
                  <a:pt x="1093" y="551"/>
                </a:cubicBezTo>
                <a:cubicBezTo>
                  <a:pt x="1095" y="549"/>
                  <a:pt x="1097" y="548"/>
                  <a:pt x="1099" y="547"/>
                </a:cubicBezTo>
                <a:cubicBezTo>
                  <a:pt x="1101" y="546"/>
                  <a:pt x="1102" y="543"/>
                  <a:pt x="1103" y="542"/>
                </a:cubicBezTo>
                <a:cubicBezTo>
                  <a:pt x="1104" y="541"/>
                  <a:pt x="1104" y="539"/>
                  <a:pt x="1105" y="538"/>
                </a:cubicBezTo>
                <a:cubicBezTo>
                  <a:pt x="1106" y="537"/>
                  <a:pt x="1108" y="536"/>
                  <a:pt x="1109" y="535"/>
                </a:cubicBezTo>
                <a:cubicBezTo>
                  <a:pt x="1111" y="533"/>
                  <a:pt x="1113" y="530"/>
                  <a:pt x="1114" y="528"/>
                </a:cubicBezTo>
                <a:cubicBezTo>
                  <a:pt x="1117" y="526"/>
                  <a:pt x="1119" y="524"/>
                  <a:pt x="1122" y="521"/>
                </a:cubicBezTo>
                <a:cubicBezTo>
                  <a:pt x="1124" y="519"/>
                  <a:pt x="1125" y="518"/>
                  <a:pt x="1127" y="516"/>
                </a:cubicBezTo>
                <a:cubicBezTo>
                  <a:pt x="1129" y="513"/>
                  <a:pt x="1131" y="511"/>
                  <a:pt x="1132" y="508"/>
                </a:cubicBezTo>
                <a:cubicBezTo>
                  <a:pt x="1133" y="506"/>
                  <a:pt x="1133" y="503"/>
                  <a:pt x="1135" y="502"/>
                </a:cubicBezTo>
                <a:cubicBezTo>
                  <a:pt x="1136" y="499"/>
                  <a:pt x="1139" y="498"/>
                  <a:pt x="1140" y="496"/>
                </a:cubicBezTo>
                <a:cubicBezTo>
                  <a:pt x="1141" y="494"/>
                  <a:pt x="1141" y="492"/>
                  <a:pt x="1143" y="491"/>
                </a:cubicBezTo>
                <a:cubicBezTo>
                  <a:pt x="1145" y="489"/>
                  <a:pt x="1147" y="487"/>
                  <a:pt x="1149" y="485"/>
                </a:cubicBezTo>
                <a:cubicBezTo>
                  <a:pt x="1150" y="483"/>
                  <a:pt x="1151" y="481"/>
                  <a:pt x="1152" y="478"/>
                </a:cubicBezTo>
                <a:cubicBezTo>
                  <a:pt x="1153" y="477"/>
                  <a:pt x="1153" y="476"/>
                  <a:pt x="1151" y="476"/>
                </a:cubicBezTo>
                <a:cubicBezTo>
                  <a:pt x="1152" y="474"/>
                  <a:pt x="1154" y="471"/>
                  <a:pt x="1155" y="469"/>
                </a:cubicBezTo>
                <a:cubicBezTo>
                  <a:pt x="1155" y="468"/>
                  <a:pt x="1154" y="468"/>
                  <a:pt x="1154" y="467"/>
                </a:cubicBezTo>
                <a:cubicBezTo>
                  <a:pt x="1154" y="466"/>
                  <a:pt x="1153" y="466"/>
                  <a:pt x="1154" y="464"/>
                </a:cubicBezTo>
                <a:cubicBezTo>
                  <a:pt x="1154" y="463"/>
                  <a:pt x="1155" y="463"/>
                  <a:pt x="1156" y="462"/>
                </a:cubicBezTo>
                <a:cubicBezTo>
                  <a:pt x="1155" y="462"/>
                  <a:pt x="1154" y="462"/>
                  <a:pt x="1154" y="460"/>
                </a:cubicBezTo>
                <a:cubicBezTo>
                  <a:pt x="1154" y="459"/>
                  <a:pt x="1154" y="458"/>
                  <a:pt x="1154" y="457"/>
                </a:cubicBezTo>
                <a:cubicBezTo>
                  <a:pt x="1154" y="455"/>
                  <a:pt x="1154" y="454"/>
                  <a:pt x="1155" y="452"/>
                </a:cubicBezTo>
                <a:cubicBezTo>
                  <a:pt x="1156" y="450"/>
                  <a:pt x="1156" y="448"/>
                  <a:pt x="1156" y="446"/>
                </a:cubicBezTo>
                <a:cubicBezTo>
                  <a:pt x="1156" y="445"/>
                  <a:pt x="1157" y="445"/>
                  <a:pt x="1157" y="445"/>
                </a:cubicBezTo>
                <a:cubicBezTo>
                  <a:pt x="1158" y="444"/>
                  <a:pt x="1157" y="444"/>
                  <a:pt x="1157" y="444"/>
                </a:cubicBezTo>
                <a:cubicBezTo>
                  <a:pt x="1158" y="441"/>
                  <a:pt x="1162" y="439"/>
                  <a:pt x="1163" y="437"/>
                </a:cubicBezTo>
                <a:cubicBezTo>
                  <a:pt x="1161" y="435"/>
                  <a:pt x="1163" y="435"/>
                  <a:pt x="1165" y="433"/>
                </a:cubicBezTo>
                <a:cubicBezTo>
                  <a:pt x="1163" y="434"/>
                  <a:pt x="1161" y="431"/>
                  <a:pt x="1160" y="430"/>
                </a:cubicBezTo>
                <a:cubicBezTo>
                  <a:pt x="1160" y="430"/>
                  <a:pt x="1161" y="430"/>
                  <a:pt x="1161" y="429"/>
                </a:cubicBezTo>
                <a:cubicBezTo>
                  <a:pt x="1162" y="428"/>
                  <a:pt x="1162" y="426"/>
                  <a:pt x="1162" y="425"/>
                </a:cubicBezTo>
                <a:cubicBezTo>
                  <a:pt x="1161" y="425"/>
                  <a:pt x="1160" y="424"/>
                  <a:pt x="1159" y="424"/>
                </a:cubicBezTo>
                <a:cubicBezTo>
                  <a:pt x="1159" y="423"/>
                  <a:pt x="1159" y="423"/>
                  <a:pt x="1158" y="422"/>
                </a:cubicBezTo>
                <a:cubicBezTo>
                  <a:pt x="1158" y="422"/>
                  <a:pt x="1157" y="422"/>
                  <a:pt x="1156" y="421"/>
                </a:cubicBezTo>
                <a:cubicBezTo>
                  <a:pt x="1158" y="421"/>
                  <a:pt x="1159" y="422"/>
                  <a:pt x="1161" y="423"/>
                </a:cubicBezTo>
                <a:cubicBezTo>
                  <a:pt x="1161" y="423"/>
                  <a:pt x="1162" y="422"/>
                  <a:pt x="1161" y="422"/>
                </a:cubicBezTo>
                <a:cubicBezTo>
                  <a:pt x="1163" y="422"/>
                  <a:pt x="1163" y="421"/>
                  <a:pt x="1163" y="420"/>
                </a:cubicBezTo>
                <a:cubicBezTo>
                  <a:pt x="1163" y="417"/>
                  <a:pt x="1160" y="416"/>
                  <a:pt x="1158" y="415"/>
                </a:cubicBezTo>
                <a:cubicBezTo>
                  <a:pt x="1156" y="415"/>
                  <a:pt x="1155" y="414"/>
                  <a:pt x="1154" y="413"/>
                </a:cubicBezTo>
                <a:cubicBezTo>
                  <a:pt x="1151" y="411"/>
                  <a:pt x="1149" y="408"/>
                  <a:pt x="1147" y="405"/>
                </a:cubicBezTo>
                <a:cubicBezTo>
                  <a:pt x="1147" y="404"/>
                  <a:pt x="1144" y="405"/>
                  <a:pt x="1142" y="405"/>
                </a:cubicBezTo>
                <a:cubicBezTo>
                  <a:pt x="1140" y="405"/>
                  <a:pt x="1138" y="405"/>
                  <a:pt x="1135" y="405"/>
                </a:cubicBezTo>
                <a:cubicBezTo>
                  <a:pt x="1137" y="405"/>
                  <a:pt x="1136" y="407"/>
                  <a:pt x="1135" y="408"/>
                </a:cubicBezTo>
                <a:cubicBezTo>
                  <a:pt x="1137" y="406"/>
                  <a:pt x="1136" y="410"/>
                  <a:pt x="1135" y="410"/>
                </a:cubicBezTo>
                <a:cubicBezTo>
                  <a:pt x="1135" y="411"/>
                  <a:pt x="1136" y="411"/>
                  <a:pt x="1136" y="411"/>
                </a:cubicBezTo>
                <a:cubicBezTo>
                  <a:pt x="1135" y="412"/>
                  <a:pt x="1134" y="413"/>
                  <a:pt x="1134" y="414"/>
                </a:cubicBezTo>
                <a:cubicBezTo>
                  <a:pt x="1133" y="416"/>
                  <a:pt x="1132" y="415"/>
                  <a:pt x="1131" y="416"/>
                </a:cubicBezTo>
                <a:cubicBezTo>
                  <a:pt x="1131" y="415"/>
                  <a:pt x="1132" y="414"/>
                  <a:pt x="1132" y="414"/>
                </a:cubicBezTo>
                <a:cubicBezTo>
                  <a:pt x="1133" y="413"/>
                  <a:pt x="1133" y="412"/>
                  <a:pt x="1134" y="412"/>
                </a:cubicBezTo>
                <a:cubicBezTo>
                  <a:pt x="1134" y="411"/>
                  <a:pt x="1135" y="409"/>
                  <a:pt x="1134" y="409"/>
                </a:cubicBezTo>
                <a:cubicBezTo>
                  <a:pt x="1133" y="409"/>
                  <a:pt x="1130" y="412"/>
                  <a:pt x="1129" y="413"/>
                </a:cubicBezTo>
                <a:cubicBezTo>
                  <a:pt x="1128" y="414"/>
                  <a:pt x="1127" y="415"/>
                  <a:pt x="1125" y="415"/>
                </a:cubicBezTo>
                <a:cubicBezTo>
                  <a:pt x="1124" y="415"/>
                  <a:pt x="1120" y="415"/>
                  <a:pt x="1121" y="414"/>
                </a:cubicBezTo>
                <a:cubicBezTo>
                  <a:pt x="1121" y="413"/>
                  <a:pt x="1123" y="413"/>
                  <a:pt x="1123" y="413"/>
                </a:cubicBezTo>
                <a:cubicBezTo>
                  <a:pt x="1124" y="412"/>
                  <a:pt x="1124" y="412"/>
                  <a:pt x="1124" y="411"/>
                </a:cubicBezTo>
                <a:cubicBezTo>
                  <a:pt x="1125" y="411"/>
                  <a:pt x="1127" y="410"/>
                  <a:pt x="1126" y="410"/>
                </a:cubicBezTo>
                <a:cubicBezTo>
                  <a:pt x="1125" y="409"/>
                  <a:pt x="1124" y="409"/>
                  <a:pt x="1123" y="409"/>
                </a:cubicBezTo>
                <a:cubicBezTo>
                  <a:pt x="1122" y="408"/>
                  <a:pt x="1120" y="408"/>
                  <a:pt x="1123" y="407"/>
                </a:cubicBezTo>
                <a:cubicBezTo>
                  <a:pt x="1123" y="407"/>
                  <a:pt x="1124" y="406"/>
                  <a:pt x="1124" y="406"/>
                </a:cubicBezTo>
                <a:cubicBezTo>
                  <a:pt x="1122" y="404"/>
                  <a:pt x="1122" y="405"/>
                  <a:pt x="1120" y="406"/>
                </a:cubicBezTo>
                <a:cubicBezTo>
                  <a:pt x="1119" y="406"/>
                  <a:pt x="1119" y="407"/>
                  <a:pt x="1120" y="408"/>
                </a:cubicBezTo>
                <a:cubicBezTo>
                  <a:pt x="1120" y="408"/>
                  <a:pt x="1121" y="408"/>
                  <a:pt x="1121" y="409"/>
                </a:cubicBezTo>
                <a:cubicBezTo>
                  <a:pt x="1121" y="410"/>
                  <a:pt x="1116" y="412"/>
                  <a:pt x="1115" y="411"/>
                </a:cubicBezTo>
                <a:cubicBezTo>
                  <a:pt x="1114" y="410"/>
                  <a:pt x="1115" y="409"/>
                  <a:pt x="1116" y="408"/>
                </a:cubicBezTo>
                <a:cubicBezTo>
                  <a:pt x="1116" y="407"/>
                  <a:pt x="1116" y="406"/>
                  <a:pt x="1116" y="406"/>
                </a:cubicBezTo>
                <a:cubicBezTo>
                  <a:pt x="1116" y="406"/>
                  <a:pt x="1116" y="405"/>
                  <a:pt x="1116" y="405"/>
                </a:cubicBezTo>
                <a:cubicBezTo>
                  <a:pt x="1116" y="405"/>
                  <a:pt x="1116" y="405"/>
                  <a:pt x="1116" y="405"/>
                </a:cubicBezTo>
                <a:cubicBezTo>
                  <a:pt x="1116" y="404"/>
                  <a:pt x="1116" y="404"/>
                  <a:pt x="1116" y="404"/>
                </a:cubicBezTo>
                <a:cubicBezTo>
                  <a:pt x="1116" y="404"/>
                  <a:pt x="1116" y="404"/>
                  <a:pt x="1116" y="404"/>
                </a:cubicBezTo>
                <a:cubicBezTo>
                  <a:pt x="1116" y="404"/>
                  <a:pt x="1116" y="403"/>
                  <a:pt x="1116" y="403"/>
                </a:cubicBezTo>
                <a:cubicBezTo>
                  <a:pt x="1116" y="403"/>
                  <a:pt x="1116" y="403"/>
                  <a:pt x="1116" y="403"/>
                </a:cubicBezTo>
                <a:cubicBezTo>
                  <a:pt x="1116" y="403"/>
                  <a:pt x="1116" y="402"/>
                  <a:pt x="1116" y="402"/>
                </a:cubicBezTo>
                <a:cubicBezTo>
                  <a:pt x="1117" y="401"/>
                  <a:pt x="1116" y="401"/>
                  <a:pt x="1116" y="400"/>
                </a:cubicBezTo>
                <a:cubicBezTo>
                  <a:pt x="1114" y="399"/>
                  <a:pt x="1111" y="399"/>
                  <a:pt x="1109" y="399"/>
                </a:cubicBezTo>
                <a:cubicBezTo>
                  <a:pt x="1106" y="399"/>
                  <a:pt x="1103" y="399"/>
                  <a:pt x="1100" y="399"/>
                </a:cubicBezTo>
                <a:cubicBezTo>
                  <a:pt x="1101" y="398"/>
                  <a:pt x="1099" y="397"/>
                  <a:pt x="1099" y="397"/>
                </a:cubicBezTo>
                <a:cubicBezTo>
                  <a:pt x="1099" y="396"/>
                  <a:pt x="1101" y="395"/>
                  <a:pt x="1101" y="395"/>
                </a:cubicBezTo>
                <a:cubicBezTo>
                  <a:pt x="1103" y="393"/>
                  <a:pt x="1104" y="393"/>
                  <a:pt x="1106" y="392"/>
                </a:cubicBezTo>
                <a:cubicBezTo>
                  <a:pt x="1108" y="391"/>
                  <a:pt x="1109" y="390"/>
                  <a:pt x="1111" y="388"/>
                </a:cubicBezTo>
                <a:cubicBezTo>
                  <a:pt x="1113" y="386"/>
                  <a:pt x="1117" y="385"/>
                  <a:pt x="1119" y="383"/>
                </a:cubicBezTo>
                <a:cubicBezTo>
                  <a:pt x="1122" y="382"/>
                  <a:pt x="1123" y="380"/>
                  <a:pt x="1125" y="379"/>
                </a:cubicBezTo>
                <a:cubicBezTo>
                  <a:pt x="1126" y="378"/>
                  <a:pt x="1131" y="375"/>
                  <a:pt x="1131" y="373"/>
                </a:cubicBezTo>
                <a:cubicBezTo>
                  <a:pt x="1131" y="373"/>
                  <a:pt x="1130" y="373"/>
                  <a:pt x="1130" y="373"/>
                </a:cubicBezTo>
                <a:cubicBezTo>
                  <a:pt x="1130" y="372"/>
                  <a:pt x="1131" y="371"/>
                  <a:pt x="1132" y="370"/>
                </a:cubicBezTo>
                <a:cubicBezTo>
                  <a:pt x="1134" y="368"/>
                  <a:pt x="1135" y="366"/>
                  <a:pt x="1137" y="364"/>
                </a:cubicBezTo>
                <a:cubicBezTo>
                  <a:pt x="1140" y="362"/>
                  <a:pt x="1144" y="359"/>
                  <a:pt x="1147" y="357"/>
                </a:cubicBezTo>
                <a:cubicBezTo>
                  <a:pt x="1149" y="355"/>
                  <a:pt x="1151" y="355"/>
                  <a:pt x="1153" y="354"/>
                </a:cubicBezTo>
                <a:cubicBezTo>
                  <a:pt x="1154" y="353"/>
                  <a:pt x="1154" y="353"/>
                  <a:pt x="1154" y="352"/>
                </a:cubicBezTo>
                <a:cubicBezTo>
                  <a:pt x="1155" y="350"/>
                  <a:pt x="1156" y="349"/>
                  <a:pt x="1156" y="347"/>
                </a:cubicBezTo>
                <a:cubicBezTo>
                  <a:pt x="1157" y="346"/>
                  <a:pt x="1158" y="346"/>
                  <a:pt x="1159" y="345"/>
                </a:cubicBezTo>
                <a:cubicBezTo>
                  <a:pt x="1162" y="342"/>
                  <a:pt x="1165" y="340"/>
                  <a:pt x="1168" y="337"/>
                </a:cubicBezTo>
                <a:cubicBezTo>
                  <a:pt x="1170" y="336"/>
                  <a:pt x="1172" y="334"/>
                  <a:pt x="1174" y="333"/>
                </a:cubicBezTo>
                <a:cubicBezTo>
                  <a:pt x="1176" y="332"/>
                  <a:pt x="1180" y="330"/>
                  <a:pt x="1182" y="330"/>
                </a:cubicBezTo>
                <a:cubicBezTo>
                  <a:pt x="1183" y="330"/>
                  <a:pt x="1183" y="331"/>
                  <a:pt x="1184" y="331"/>
                </a:cubicBezTo>
                <a:cubicBezTo>
                  <a:pt x="1186" y="331"/>
                  <a:pt x="1187" y="330"/>
                  <a:pt x="1189" y="330"/>
                </a:cubicBezTo>
                <a:cubicBezTo>
                  <a:pt x="1190" y="330"/>
                  <a:pt x="1192" y="330"/>
                  <a:pt x="1194" y="330"/>
                </a:cubicBezTo>
                <a:cubicBezTo>
                  <a:pt x="1194" y="331"/>
                  <a:pt x="1196" y="330"/>
                  <a:pt x="1196" y="330"/>
                </a:cubicBezTo>
                <a:cubicBezTo>
                  <a:pt x="1198" y="330"/>
                  <a:pt x="1198" y="330"/>
                  <a:pt x="1199" y="330"/>
                </a:cubicBezTo>
                <a:cubicBezTo>
                  <a:pt x="1200" y="330"/>
                  <a:pt x="1202" y="330"/>
                  <a:pt x="1203" y="330"/>
                </a:cubicBezTo>
                <a:cubicBezTo>
                  <a:pt x="1203" y="330"/>
                  <a:pt x="1204" y="330"/>
                  <a:pt x="1204" y="330"/>
                </a:cubicBezTo>
                <a:cubicBezTo>
                  <a:pt x="1205" y="330"/>
                  <a:pt x="1205" y="330"/>
                  <a:pt x="1206" y="330"/>
                </a:cubicBezTo>
                <a:cubicBezTo>
                  <a:pt x="1206" y="330"/>
                  <a:pt x="1209" y="330"/>
                  <a:pt x="1209" y="330"/>
                </a:cubicBezTo>
                <a:cubicBezTo>
                  <a:pt x="1210" y="331"/>
                  <a:pt x="1208" y="331"/>
                  <a:pt x="1208" y="332"/>
                </a:cubicBezTo>
                <a:cubicBezTo>
                  <a:pt x="1209" y="333"/>
                  <a:pt x="1213" y="334"/>
                  <a:pt x="1213" y="333"/>
                </a:cubicBezTo>
                <a:cubicBezTo>
                  <a:pt x="1214" y="333"/>
                  <a:pt x="1213" y="333"/>
                  <a:pt x="1213" y="332"/>
                </a:cubicBezTo>
                <a:cubicBezTo>
                  <a:pt x="1214" y="331"/>
                  <a:pt x="1214" y="331"/>
                  <a:pt x="1215" y="330"/>
                </a:cubicBezTo>
                <a:cubicBezTo>
                  <a:pt x="1215" y="329"/>
                  <a:pt x="1217" y="329"/>
                  <a:pt x="1219" y="331"/>
                </a:cubicBezTo>
                <a:cubicBezTo>
                  <a:pt x="1222" y="332"/>
                  <a:pt x="1226" y="333"/>
                  <a:pt x="1229" y="332"/>
                </a:cubicBezTo>
                <a:cubicBezTo>
                  <a:pt x="1230" y="331"/>
                  <a:pt x="1232" y="330"/>
                  <a:pt x="1233" y="330"/>
                </a:cubicBezTo>
                <a:cubicBezTo>
                  <a:pt x="1234" y="330"/>
                  <a:pt x="1236" y="331"/>
                  <a:pt x="1237" y="331"/>
                </a:cubicBezTo>
                <a:cubicBezTo>
                  <a:pt x="1237" y="332"/>
                  <a:pt x="1239" y="332"/>
                  <a:pt x="1239" y="332"/>
                </a:cubicBezTo>
                <a:cubicBezTo>
                  <a:pt x="1241" y="332"/>
                  <a:pt x="1240" y="332"/>
                  <a:pt x="1240" y="332"/>
                </a:cubicBezTo>
                <a:cubicBezTo>
                  <a:pt x="1240" y="331"/>
                  <a:pt x="1240" y="331"/>
                  <a:pt x="1239" y="331"/>
                </a:cubicBezTo>
                <a:cubicBezTo>
                  <a:pt x="1238" y="330"/>
                  <a:pt x="1237" y="330"/>
                  <a:pt x="1238" y="329"/>
                </a:cubicBezTo>
                <a:cubicBezTo>
                  <a:pt x="1239" y="328"/>
                  <a:pt x="1241" y="329"/>
                  <a:pt x="1243" y="329"/>
                </a:cubicBezTo>
                <a:cubicBezTo>
                  <a:pt x="1243" y="328"/>
                  <a:pt x="1242" y="328"/>
                  <a:pt x="1242" y="327"/>
                </a:cubicBezTo>
                <a:cubicBezTo>
                  <a:pt x="1241" y="326"/>
                  <a:pt x="1244" y="325"/>
                  <a:pt x="1246" y="325"/>
                </a:cubicBezTo>
                <a:cubicBezTo>
                  <a:pt x="1247" y="324"/>
                  <a:pt x="1248" y="325"/>
                  <a:pt x="1250" y="325"/>
                </a:cubicBezTo>
                <a:cubicBezTo>
                  <a:pt x="1251" y="326"/>
                  <a:pt x="1252" y="326"/>
                  <a:pt x="1253" y="326"/>
                </a:cubicBezTo>
                <a:cubicBezTo>
                  <a:pt x="1254" y="327"/>
                  <a:pt x="1255" y="327"/>
                  <a:pt x="1256" y="327"/>
                </a:cubicBezTo>
                <a:cubicBezTo>
                  <a:pt x="1256" y="327"/>
                  <a:pt x="1257" y="329"/>
                  <a:pt x="1258" y="329"/>
                </a:cubicBezTo>
                <a:cubicBezTo>
                  <a:pt x="1258" y="329"/>
                  <a:pt x="1260" y="330"/>
                  <a:pt x="1262" y="327"/>
                </a:cubicBezTo>
                <a:cubicBezTo>
                  <a:pt x="1262" y="327"/>
                  <a:pt x="1263" y="328"/>
                  <a:pt x="1263" y="328"/>
                </a:cubicBezTo>
                <a:cubicBezTo>
                  <a:pt x="1265" y="328"/>
                  <a:pt x="1266" y="329"/>
                  <a:pt x="1267" y="330"/>
                </a:cubicBezTo>
                <a:cubicBezTo>
                  <a:pt x="1268" y="330"/>
                  <a:pt x="1268" y="330"/>
                  <a:pt x="1268" y="331"/>
                </a:cubicBezTo>
                <a:cubicBezTo>
                  <a:pt x="1269" y="331"/>
                  <a:pt x="1268" y="331"/>
                  <a:pt x="1268" y="332"/>
                </a:cubicBezTo>
                <a:cubicBezTo>
                  <a:pt x="1269" y="333"/>
                  <a:pt x="1273" y="332"/>
                  <a:pt x="1274" y="333"/>
                </a:cubicBezTo>
                <a:cubicBezTo>
                  <a:pt x="1273" y="334"/>
                  <a:pt x="1271" y="334"/>
                  <a:pt x="1269" y="334"/>
                </a:cubicBezTo>
                <a:cubicBezTo>
                  <a:pt x="1268" y="334"/>
                  <a:pt x="1266" y="334"/>
                  <a:pt x="1265" y="334"/>
                </a:cubicBezTo>
                <a:cubicBezTo>
                  <a:pt x="1264" y="334"/>
                  <a:pt x="1263" y="335"/>
                  <a:pt x="1262" y="335"/>
                </a:cubicBezTo>
                <a:cubicBezTo>
                  <a:pt x="1263" y="336"/>
                  <a:pt x="1264" y="337"/>
                  <a:pt x="1264" y="339"/>
                </a:cubicBezTo>
                <a:cubicBezTo>
                  <a:pt x="1268" y="338"/>
                  <a:pt x="1271" y="337"/>
                  <a:pt x="1275" y="336"/>
                </a:cubicBezTo>
                <a:cubicBezTo>
                  <a:pt x="1275" y="336"/>
                  <a:pt x="1275" y="336"/>
                  <a:pt x="1275" y="335"/>
                </a:cubicBezTo>
                <a:cubicBezTo>
                  <a:pt x="1276" y="336"/>
                  <a:pt x="1279" y="338"/>
                  <a:pt x="1281" y="337"/>
                </a:cubicBezTo>
                <a:cubicBezTo>
                  <a:pt x="1281" y="337"/>
                  <a:pt x="1281" y="336"/>
                  <a:pt x="1281" y="335"/>
                </a:cubicBezTo>
                <a:cubicBezTo>
                  <a:pt x="1282" y="334"/>
                  <a:pt x="1284" y="335"/>
                  <a:pt x="1285" y="334"/>
                </a:cubicBezTo>
                <a:cubicBezTo>
                  <a:pt x="1284" y="334"/>
                  <a:pt x="1285" y="332"/>
                  <a:pt x="1286" y="333"/>
                </a:cubicBezTo>
                <a:cubicBezTo>
                  <a:pt x="1287" y="333"/>
                  <a:pt x="1288" y="333"/>
                  <a:pt x="1289" y="334"/>
                </a:cubicBezTo>
                <a:cubicBezTo>
                  <a:pt x="1290" y="334"/>
                  <a:pt x="1291" y="335"/>
                  <a:pt x="1292" y="335"/>
                </a:cubicBezTo>
                <a:cubicBezTo>
                  <a:pt x="1293" y="335"/>
                  <a:pt x="1294" y="333"/>
                  <a:pt x="1296" y="333"/>
                </a:cubicBezTo>
                <a:cubicBezTo>
                  <a:pt x="1299" y="333"/>
                  <a:pt x="1301" y="333"/>
                  <a:pt x="1304" y="334"/>
                </a:cubicBezTo>
                <a:cubicBezTo>
                  <a:pt x="1304" y="333"/>
                  <a:pt x="1304" y="331"/>
                  <a:pt x="1304" y="331"/>
                </a:cubicBezTo>
                <a:cubicBezTo>
                  <a:pt x="1303" y="330"/>
                  <a:pt x="1302" y="329"/>
                  <a:pt x="1301" y="329"/>
                </a:cubicBezTo>
                <a:cubicBezTo>
                  <a:pt x="1301" y="329"/>
                  <a:pt x="1301" y="329"/>
                  <a:pt x="1300" y="329"/>
                </a:cubicBezTo>
                <a:cubicBezTo>
                  <a:pt x="1299" y="329"/>
                  <a:pt x="1299" y="328"/>
                  <a:pt x="1299" y="328"/>
                </a:cubicBezTo>
                <a:cubicBezTo>
                  <a:pt x="1298" y="328"/>
                  <a:pt x="1296" y="328"/>
                  <a:pt x="1296" y="328"/>
                </a:cubicBezTo>
                <a:cubicBezTo>
                  <a:pt x="1296" y="329"/>
                  <a:pt x="1297" y="329"/>
                  <a:pt x="1296" y="330"/>
                </a:cubicBezTo>
                <a:cubicBezTo>
                  <a:pt x="1296" y="330"/>
                  <a:pt x="1296" y="329"/>
                  <a:pt x="1295" y="329"/>
                </a:cubicBezTo>
                <a:cubicBezTo>
                  <a:pt x="1295" y="329"/>
                  <a:pt x="1294" y="330"/>
                  <a:pt x="1294" y="329"/>
                </a:cubicBezTo>
                <a:cubicBezTo>
                  <a:pt x="1292" y="329"/>
                  <a:pt x="1294" y="327"/>
                  <a:pt x="1295" y="327"/>
                </a:cubicBezTo>
                <a:cubicBezTo>
                  <a:pt x="1295" y="326"/>
                  <a:pt x="1294" y="326"/>
                  <a:pt x="1294" y="324"/>
                </a:cubicBezTo>
                <a:cubicBezTo>
                  <a:pt x="1294" y="324"/>
                  <a:pt x="1294" y="323"/>
                  <a:pt x="1294" y="323"/>
                </a:cubicBezTo>
                <a:cubicBezTo>
                  <a:pt x="1295" y="323"/>
                  <a:pt x="1296" y="323"/>
                  <a:pt x="1296" y="323"/>
                </a:cubicBezTo>
                <a:cubicBezTo>
                  <a:pt x="1296" y="323"/>
                  <a:pt x="1297" y="321"/>
                  <a:pt x="1297" y="321"/>
                </a:cubicBezTo>
                <a:cubicBezTo>
                  <a:pt x="1297" y="321"/>
                  <a:pt x="1298" y="320"/>
                  <a:pt x="1298" y="320"/>
                </a:cubicBezTo>
                <a:cubicBezTo>
                  <a:pt x="1301" y="318"/>
                  <a:pt x="1304" y="316"/>
                  <a:pt x="1307" y="313"/>
                </a:cubicBezTo>
                <a:cubicBezTo>
                  <a:pt x="1308" y="312"/>
                  <a:pt x="1309" y="311"/>
                  <a:pt x="1310" y="311"/>
                </a:cubicBezTo>
                <a:cubicBezTo>
                  <a:pt x="1310" y="310"/>
                  <a:pt x="1311" y="310"/>
                  <a:pt x="1311" y="310"/>
                </a:cubicBezTo>
                <a:cubicBezTo>
                  <a:pt x="1312" y="309"/>
                  <a:pt x="1312" y="307"/>
                  <a:pt x="1313" y="306"/>
                </a:cubicBezTo>
                <a:cubicBezTo>
                  <a:pt x="1314" y="305"/>
                  <a:pt x="1316" y="304"/>
                  <a:pt x="1317" y="303"/>
                </a:cubicBezTo>
                <a:cubicBezTo>
                  <a:pt x="1318" y="303"/>
                  <a:pt x="1319" y="302"/>
                  <a:pt x="1319" y="301"/>
                </a:cubicBezTo>
                <a:cubicBezTo>
                  <a:pt x="1319" y="300"/>
                  <a:pt x="1319" y="300"/>
                  <a:pt x="1319" y="299"/>
                </a:cubicBezTo>
                <a:cubicBezTo>
                  <a:pt x="1319" y="298"/>
                  <a:pt x="1320" y="297"/>
                  <a:pt x="1321" y="296"/>
                </a:cubicBezTo>
                <a:cubicBezTo>
                  <a:pt x="1326" y="294"/>
                  <a:pt x="1332" y="293"/>
                  <a:pt x="1338" y="293"/>
                </a:cubicBezTo>
                <a:cubicBezTo>
                  <a:pt x="1339" y="293"/>
                  <a:pt x="1340" y="293"/>
                  <a:pt x="1341" y="292"/>
                </a:cubicBezTo>
                <a:cubicBezTo>
                  <a:pt x="1342" y="292"/>
                  <a:pt x="1342" y="292"/>
                  <a:pt x="1342" y="292"/>
                </a:cubicBezTo>
                <a:cubicBezTo>
                  <a:pt x="1344" y="291"/>
                  <a:pt x="1345" y="291"/>
                  <a:pt x="1346" y="292"/>
                </a:cubicBezTo>
                <a:cubicBezTo>
                  <a:pt x="1346" y="293"/>
                  <a:pt x="1347" y="293"/>
                  <a:pt x="1348" y="294"/>
                </a:cubicBezTo>
                <a:cubicBezTo>
                  <a:pt x="1348" y="294"/>
                  <a:pt x="1348" y="294"/>
                  <a:pt x="1348" y="294"/>
                </a:cubicBezTo>
                <a:cubicBezTo>
                  <a:pt x="1348" y="294"/>
                  <a:pt x="1348" y="295"/>
                  <a:pt x="1348" y="295"/>
                </a:cubicBezTo>
                <a:cubicBezTo>
                  <a:pt x="1349" y="296"/>
                  <a:pt x="1352" y="294"/>
                  <a:pt x="1353" y="293"/>
                </a:cubicBezTo>
                <a:cubicBezTo>
                  <a:pt x="1353" y="292"/>
                  <a:pt x="1354" y="292"/>
                  <a:pt x="1355" y="291"/>
                </a:cubicBezTo>
                <a:cubicBezTo>
                  <a:pt x="1356" y="291"/>
                  <a:pt x="1356" y="291"/>
                  <a:pt x="1357" y="292"/>
                </a:cubicBezTo>
                <a:cubicBezTo>
                  <a:pt x="1357" y="292"/>
                  <a:pt x="1357" y="293"/>
                  <a:pt x="1357" y="293"/>
                </a:cubicBezTo>
                <a:cubicBezTo>
                  <a:pt x="1357" y="294"/>
                  <a:pt x="1356" y="294"/>
                  <a:pt x="1356" y="294"/>
                </a:cubicBezTo>
                <a:cubicBezTo>
                  <a:pt x="1356" y="295"/>
                  <a:pt x="1356" y="295"/>
                  <a:pt x="1356" y="295"/>
                </a:cubicBezTo>
                <a:cubicBezTo>
                  <a:pt x="1356" y="295"/>
                  <a:pt x="1356" y="296"/>
                  <a:pt x="1356" y="296"/>
                </a:cubicBezTo>
                <a:cubicBezTo>
                  <a:pt x="1355" y="296"/>
                  <a:pt x="1355" y="297"/>
                  <a:pt x="1355" y="297"/>
                </a:cubicBezTo>
                <a:cubicBezTo>
                  <a:pt x="1355" y="297"/>
                  <a:pt x="1354" y="297"/>
                  <a:pt x="1354" y="298"/>
                </a:cubicBezTo>
                <a:cubicBezTo>
                  <a:pt x="1354" y="298"/>
                  <a:pt x="1353" y="298"/>
                  <a:pt x="1353" y="298"/>
                </a:cubicBezTo>
                <a:cubicBezTo>
                  <a:pt x="1355" y="299"/>
                  <a:pt x="1351" y="301"/>
                  <a:pt x="1353" y="301"/>
                </a:cubicBezTo>
                <a:cubicBezTo>
                  <a:pt x="1352" y="301"/>
                  <a:pt x="1351" y="301"/>
                  <a:pt x="1351" y="302"/>
                </a:cubicBezTo>
                <a:cubicBezTo>
                  <a:pt x="1352" y="302"/>
                  <a:pt x="1353" y="303"/>
                  <a:pt x="1352" y="304"/>
                </a:cubicBezTo>
                <a:cubicBezTo>
                  <a:pt x="1352" y="306"/>
                  <a:pt x="1350" y="307"/>
                  <a:pt x="1353" y="307"/>
                </a:cubicBezTo>
                <a:cubicBezTo>
                  <a:pt x="1354" y="307"/>
                  <a:pt x="1355" y="306"/>
                  <a:pt x="1356" y="307"/>
                </a:cubicBezTo>
                <a:cubicBezTo>
                  <a:pt x="1357" y="307"/>
                  <a:pt x="1356" y="307"/>
                  <a:pt x="1356" y="307"/>
                </a:cubicBezTo>
                <a:cubicBezTo>
                  <a:pt x="1356" y="307"/>
                  <a:pt x="1355" y="308"/>
                  <a:pt x="1355" y="308"/>
                </a:cubicBezTo>
                <a:cubicBezTo>
                  <a:pt x="1355" y="309"/>
                  <a:pt x="1355" y="309"/>
                  <a:pt x="1355" y="309"/>
                </a:cubicBezTo>
                <a:cubicBezTo>
                  <a:pt x="1355" y="310"/>
                  <a:pt x="1355" y="310"/>
                  <a:pt x="1355" y="310"/>
                </a:cubicBezTo>
                <a:cubicBezTo>
                  <a:pt x="1355" y="311"/>
                  <a:pt x="1354" y="311"/>
                  <a:pt x="1354" y="312"/>
                </a:cubicBezTo>
                <a:cubicBezTo>
                  <a:pt x="1356" y="312"/>
                  <a:pt x="1357" y="311"/>
                  <a:pt x="1358" y="311"/>
                </a:cubicBezTo>
                <a:cubicBezTo>
                  <a:pt x="1359" y="310"/>
                  <a:pt x="1360" y="310"/>
                  <a:pt x="1361" y="310"/>
                </a:cubicBezTo>
                <a:cubicBezTo>
                  <a:pt x="1362" y="309"/>
                  <a:pt x="1362" y="308"/>
                  <a:pt x="1362" y="307"/>
                </a:cubicBezTo>
                <a:cubicBezTo>
                  <a:pt x="1363" y="306"/>
                  <a:pt x="1364" y="306"/>
                  <a:pt x="1364" y="306"/>
                </a:cubicBezTo>
                <a:cubicBezTo>
                  <a:pt x="1367" y="303"/>
                  <a:pt x="1370" y="301"/>
                  <a:pt x="1373" y="299"/>
                </a:cubicBezTo>
                <a:cubicBezTo>
                  <a:pt x="1374" y="298"/>
                  <a:pt x="1378" y="297"/>
                  <a:pt x="1378" y="295"/>
                </a:cubicBezTo>
                <a:cubicBezTo>
                  <a:pt x="1379" y="295"/>
                  <a:pt x="1379" y="295"/>
                  <a:pt x="1379" y="295"/>
                </a:cubicBezTo>
                <a:cubicBezTo>
                  <a:pt x="1381" y="296"/>
                  <a:pt x="1381" y="296"/>
                  <a:pt x="1381" y="296"/>
                </a:cubicBezTo>
                <a:cubicBezTo>
                  <a:pt x="1382" y="296"/>
                  <a:pt x="1382" y="294"/>
                  <a:pt x="1383" y="295"/>
                </a:cubicBezTo>
                <a:cubicBezTo>
                  <a:pt x="1383" y="295"/>
                  <a:pt x="1383" y="297"/>
                  <a:pt x="1384" y="297"/>
                </a:cubicBezTo>
                <a:cubicBezTo>
                  <a:pt x="1384" y="298"/>
                  <a:pt x="1387" y="295"/>
                  <a:pt x="1387" y="294"/>
                </a:cubicBezTo>
                <a:cubicBezTo>
                  <a:pt x="1386" y="293"/>
                  <a:pt x="1384" y="294"/>
                  <a:pt x="1384" y="293"/>
                </a:cubicBezTo>
                <a:cubicBezTo>
                  <a:pt x="1383" y="293"/>
                  <a:pt x="1384" y="291"/>
                  <a:pt x="1385" y="291"/>
                </a:cubicBezTo>
                <a:cubicBezTo>
                  <a:pt x="1385" y="290"/>
                  <a:pt x="1385" y="289"/>
                  <a:pt x="1385" y="288"/>
                </a:cubicBezTo>
                <a:cubicBezTo>
                  <a:pt x="1386" y="287"/>
                  <a:pt x="1387" y="286"/>
                  <a:pt x="1387" y="285"/>
                </a:cubicBezTo>
                <a:cubicBezTo>
                  <a:pt x="1387" y="284"/>
                  <a:pt x="1387" y="284"/>
                  <a:pt x="1387" y="283"/>
                </a:cubicBezTo>
                <a:cubicBezTo>
                  <a:pt x="1387" y="281"/>
                  <a:pt x="1388" y="281"/>
                  <a:pt x="1389" y="281"/>
                </a:cubicBezTo>
                <a:cubicBezTo>
                  <a:pt x="1391" y="280"/>
                  <a:pt x="1393" y="280"/>
                  <a:pt x="1395" y="279"/>
                </a:cubicBezTo>
                <a:cubicBezTo>
                  <a:pt x="1397" y="279"/>
                  <a:pt x="1399" y="278"/>
                  <a:pt x="1400" y="280"/>
                </a:cubicBezTo>
                <a:cubicBezTo>
                  <a:pt x="1401" y="280"/>
                  <a:pt x="1401" y="281"/>
                  <a:pt x="1402" y="281"/>
                </a:cubicBezTo>
                <a:cubicBezTo>
                  <a:pt x="1403" y="281"/>
                  <a:pt x="1404" y="282"/>
                  <a:pt x="1404" y="282"/>
                </a:cubicBezTo>
                <a:cubicBezTo>
                  <a:pt x="1407" y="282"/>
                  <a:pt x="1409" y="282"/>
                  <a:pt x="1411" y="283"/>
                </a:cubicBezTo>
                <a:cubicBezTo>
                  <a:pt x="1409" y="283"/>
                  <a:pt x="1407" y="282"/>
                  <a:pt x="1405" y="283"/>
                </a:cubicBezTo>
                <a:cubicBezTo>
                  <a:pt x="1406" y="283"/>
                  <a:pt x="1407" y="284"/>
                  <a:pt x="1407" y="285"/>
                </a:cubicBezTo>
                <a:cubicBezTo>
                  <a:pt x="1406" y="284"/>
                  <a:pt x="1406" y="284"/>
                  <a:pt x="1404" y="283"/>
                </a:cubicBezTo>
                <a:cubicBezTo>
                  <a:pt x="1403" y="283"/>
                  <a:pt x="1402" y="283"/>
                  <a:pt x="1401" y="283"/>
                </a:cubicBezTo>
                <a:cubicBezTo>
                  <a:pt x="1399" y="282"/>
                  <a:pt x="1399" y="283"/>
                  <a:pt x="1398" y="284"/>
                </a:cubicBezTo>
                <a:cubicBezTo>
                  <a:pt x="1397" y="285"/>
                  <a:pt x="1396" y="285"/>
                  <a:pt x="1395" y="286"/>
                </a:cubicBezTo>
                <a:cubicBezTo>
                  <a:pt x="1395" y="287"/>
                  <a:pt x="1395" y="288"/>
                  <a:pt x="1395" y="289"/>
                </a:cubicBezTo>
                <a:cubicBezTo>
                  <a:pt x="1395" y="289"/>
                  <a:pt x="1395" y="290"/>
                  <a:pt x="1395" y="291"/>
                </a:cubicBezTo>
                <a:cubicBezTo>
                  <a:pt x="1395" y="292"/>
                  <a:pt x="1395" y="293"/>
                  <a:pt x="1395" y="294"/>
                </a:cubicBezTo>
                <a:cubicBezTo>
                  <a:pt x="1394" y="295"/>
                  <a:pt x="1393" y="295"/>
                  <a:pt x="1393" y="296"/>
                </a:cubicBezTo>
                <a:cubicBezTo>
                  <a:pt x="1392" y="296"/>
                  <a:pt x="1392" y="297"/>
                  <a:pt x="1393" y="298"/>
                </a:cubicBezTo>
                <a:cubicBezTo>
                  <a:pt x="1394" y="299"/>
                  <a:pt x="1394" y="300"/>
                  <a:pt x="1394" y="301"/>
                </a:cubicBezTo>
                <a:cubicBezTo>
                  <a:pt x="1393" y="303"/>
                  <a:pt x="1391" y="302"/>
                  <a:pt x="1390" y="304"/>
                </a:cubicBezTo>
                <a:cubicBezTo>
                  <a:pt x="1390" y="305"/>
                  <a:pt x="1391" y="308"/>
                  <a:pt x="1390" y="308"/>
                </a:cubicBezTo>
                <a:cubicBezTo>
                  <a:pt x="1388" y="309"/>
                  <a:pt x="1385" y="310"/>
                  <a:pt x="1382" y="311"/>
                </a:cubicBezTo>
                <a:cubicBezTo>
                  <a:pt x="1379" y="312"/>
                  <a:pt x="1376" y="313"/>
                  <a:pt x="1373" y="314"/>
                </a:cubicBezTo>
                <a:cubicBezTo>
                  <a:pt x="1372" y="315"/>
                  <a:pt x="1373" y="315"/>
                  <a:pt x="1372" y="316"/>
                </a:cubicBezTo>
                <a:cubicBezTo>
                  <a:pt x="1372" y="316"/>
                  <a:pt x="1373" y="316"/>
                  <a:pt x="1373" y="316"/>
                </a:cubicBezTo>
                <a:cubicBezTo>
                  <a:pt x="1370" y="320"/>
                  <a:pt x="1366" y="322"/>
                  <a:pt x="1363" y="325"/>
                </a:cubicBezTo>
                <a:cubicBezTo>
                  <a:pt x="1359" y="328"/>
                  <a:pt x="1355" y="331"/>
                  <a:pt x="1352" y="334"/>
                </a:cubicBezTo>
                <a:cubicBezTo>
                  <a:pt x="1350" y="337"/>
                  <a:pt x="1349" y="340"/>
                  <a:pt x="1347" y="342"/>
                </a:cubicBezTo>
                <a:cubicBezTo>
                  <a:pt x="1346" y="343"/>
                  <a:pt x="1346" y="344"/>
                  <a:pt x="1345" y="344"/>
                </a:cubicBezTo>
                <a:cubicBezTo>
                  <a:pt x="1345" y="344"/>
                  <a:pt x="1345" y="344"/>
                  <a:pt x="1344" y="344"/>
                </a:cubicBezTo>
                <a:cubicBezTo>
                  <a:pt x="1341" y="346"/>
                  <a:pt x="1338" y="348"/>
                  <a:pt x="1335" y="351"/>
                </a:cubicBezTo>
                <a:cubicBezTo>
                  <a:pt x="1336" y="351"/>
                  <a:pt x="1336" y="351"/>
                  <a:pt x="1336" y="352"/>
                </a:cubicBezTo>
                <a:cubicBezTo>
                  <a:pt x="1335" y="350"/>
                  <a:pt x="1333" y="351"/>
                  <a:pt x="1332" y="351"/>
                </a:cubicBezTo>
                <a:cubicBezTo>
                  <a:pt x="1331" y="351"/>
                  <a:pt x="1330" y="351"/>
                  <a:pt x="1330" y="351"/>
                </a:cubicBezTo>
                <a:cubicBezTo>
                  <a:pt x="1328" y="351"/>
                  <a:pt x="1328" y="353"/>
                  <a:pt x="1328" y="354"/>
                </a:cubicBezTo>
                <a:cubicBezTo>
                  <a:pt x="1327" y="354"/>
                  <a:pt x="1325" y="354"/>
                  <a:pt x="1324" y="354"/>
                </a:cubicBezTo>
                <a:cubicBezTo>
                  <a:pt x="1323" y="355"/>
                  <a:pt x="1321" y="355"/>
                  <a:pt x="1320" y="355"/>
                </a:cubicBezTo>
                <a:cubicBezTo>
                  <a:pt x="1321" y="356"/>
                  <a:pt x="1322" y="358"/>
                  <a:pt x="1322" y="360"/>
                </a:cubicBezTo>
                <a:cubicBezTo>
                  <a:pt x="1322" y="360"/>
                  <a:pt x="1321" y="361"/>
                  <a:pt x="1321" y="361"/>
                </a:cubicBezTo>
                <a:cubicBezTo>
                  <a:pt x="1320" y="363"/>
                  <a:pt x="1320" y="364"/>
                  <a:pt x="1319" y="365"/>
                </a:cubicBezTo>
                <a:cubicBezTo>
                  <a:pt x="1318" y="363"/>
                  <a:pt x="1317" y="366"/>
                  <a:pt x="1317" y="366"/>
                </a:cubicBezTo>
                <a:cubicBezTo>
                  <a:pt x="1316" y="367"/>
                  <a:pt x="1316" y="367"/>
                  <a:pt x="1315" y="367"/>
                </a:cubicBezTo>
                <a:cubicBezTo>
                  <a:pt x="1315" y="368"/>
                  <a:pt x="1314" y="369"/>
                  <a:pt x="1313" y="369"/>
                </a:cubicBezTo>
                <a:cubicBezTo>
                  <a:pt x="1311" y="371"/>
                  <a:pt x="1311" y="373"/>
                  <a:pt x="1310" y="376"/>
                </a:cubicBezTo>
                <a:cubicBezTo>
                  <a:pt x="1308" y="384"/>
                  <a:pt x="1308" y="393"/>
                  <a:pt x="1309" y="401"/>
                </a:cubicBezTo>
                <a:cubicBezTo>
                  <a:pt x="1310" y="406"/>
                  <a:pt x="1312" y="411"/>
                  <a:pt x="1312" y="417"/>
                </a:cubicBezTo>
                <a:cubicBezTo>
                  <a:pt x="1313" y="420"/>
                  <a:pt x="1313" y="424"/>
                  <a:pt x="1314" y="427"/>
                </a:cubicBezTo>
                <a:cubicBezTo>
                  <a:pt x="1315" y="428"/>
                  <a:pt x="1315" y="428"/>
                  <a:pt x="1316" y="429"/>
                </a:cubicBezTo>
                <a:cubicBezTo>
                  <a:pt x="1316" y="429"/>
                  <a:pt x="1316" y="429"/>
                  <a:pt x="1317" y="430"/>
                </a:cubicBezTo>
                <a:cubicBezTo>
                  <a:pt x="1317" y="430"/>
                  <a:pt x="1316" y="430"/>
                  <a:pt x="1316" y="430"/>
                </a:cubicBezTo>
                <a:cubicBezTo>
                  <a:pt x="1316" y="433"/>
                  <a:pt x="1317" y="437"/>
                  <a:pt x="1317" y="440"/>
                </a:cubicBezTo>
                <a:cubicBezTo>
                  <a:pt x="1317" y="442"/>
                  <a:pt x="1317" y="445"/>
                  <a:pt x="1318" y="446"/>
                </a:cubicBezTo>
                <a:cubicBezTo>
                  <a:pt x="1318" y="447"/>
                  <a:pt x="1319" y="447"/>
                  <a:pt x="1319" y="448"/>
                </a:cubicBezTo>
                <a:cubicBezTo>
                  <a:pt x="1320" y="449"/>
                  <a:pt x="1319" y="450"/>
                  <a:pt x="1319" y="451"/>
                </a:cubicBezTo>
                <a:cubicBezTo>
                  <a:pt x="1322" y="449"/>
                  <a:pt x="1324" y="447"/>
                  <a:pt x="1327" y="445"/>
                </a:cubicBezTo>
                <a:cubicBezTo>
                  <a:pt x="1329" y="444"/>
                  <a:pt x="1330" y="442"/>
                  <a:pt x="1332" y="440"/>
                </a:cubicBezTo>
                <a:cubicBezTo>
                  <a:pt x="1334" y="437"/>
                  <a:pt x="1336" y="435"/>
                  <a:pt x="1338" y="432"/>
                </a:cubicBezTo>
                <a:cubicBezTo>
                  <a:pt x="1339" y="431"/>
                  <a:pt x="1338" y="430"/>
                  <a:pt x="1338" y="429"/>
                </a:cubicBezTo>
                <a:cubicBezTo>
                  <a:pt x="1338" y="429"/>
                  <a:pt x="1338" y="429"/>
                  <a:pt x="1338" y="428"/>
                </a:cubicBezTo>
                <a:cubicBezTo>
                  <a:pt x="1338" y="428"/>
                  <a:pt x="1337" y="428"/>
                  <a:pt x="1338" y="427"/>
                </a:cubicBezTo>
                <a:cubicBezTo>
                  <a:pt x="1338" y="427"/>
                  <a:pt x="1339" y="427"/>
                  <a:pt x="1339" y="427"/>
                </a:cubicBezTo>
                <a:cubicBezTo>
                  <a:pt x="1339" y="426"/>
                  <a:pt x="1339" y="426"/>
                  <a:pt x="1339" y="425"/>
                </a:cubicBezTo>
                <a:cubicBezTo>
                  <a:pt x="1338" y="425"/>
                  <a:pt x="1337" y="424"/>
                  <a:pt x="1337" y="422"/>
                </a:cubicBezTo>
                <a:cubicBezTo>
                  <a:pt x="1337" y="421"/>
                  <a:pt x="1338" y="420"/>
                  <a:pt x="1339" y="420"/>
                </a:cubicBezTo>
                <a:cubicBezTo>
                  <a:pt x="1341" y="420"/>
                  <a:pt x="1342" y="421"/>
                  <a:pt x="1342" y="422"/>
                </a:cubicBezTo>
                <a:cubicBezTo>
                  <a:pt x="1342" y="422"/>
                  <a:pt x="1342" y="422"/>
                  <a:pt x="1342" y="422"/>
                </a:cubicBezTo>
                <a:cubicBezTo>
                  <a:pt x="1343" y="421"/>
                  <a:pt x="1344" y="421"/>
                  <a:pt x="1345" y="421"/>
                </a:cubicBezTo>
                <a:cubicBezTo>
                  <a:pt x="1346" y="420"/>
                  <a:pt x="1347" y="420"/>
                  <a:pt x="1348" y="419"/>
                </a:cubicBezTo>
                <a:cubicBezTo>
                  <a:pt x="1349" y="419"/>
                  <a:pt x="1350" y="419"/>
                  <a:pt x="1351" y="419"/>
                </a:cubicBezTo>
                <a:cubicBezTo>
                  <a:pt x="1350" y="420"/>
                  <a:pt x="1353" y="421"/>
                  <a:pt x="1354" y="421"/>
                </a:cubicBezTo>
                <a:cubicBezTo>
                  <a:pt x="1354" y="420"/>
                  <a:pt x="1353" y="420"/>
                  <a:pt x="1353" y="419"/>
                </a:cubicBezTo>
                <a:cubicBezTo>
                  <a:pt x="1352" y="420"/>
                  <a:pt x="1353" y="419"/>
                  <a:pt x="1353" y="419"/>
                </a:cubicBezTo>
                <a:cubicBezTo>
                  <a:pt x="1353" y="418"/>
                  <a:pt x="1353" y="418"/>
                  <a:pt x="1353" y="418"/>
                </a:cubicBezTo>
                <a:cubicBezTo>
                  <a:pt x="1353" y="418"/>
                  <a:pt x="1352" y="418"/>
                  <a:pt x="1352" y="418"/>
                </a:cubicBezTo>
                <a:cubicBezTo>
                  <a:pt x="1352" y="417"/>
                  <a:pt x="1351" y="416"/>
                  <a:pt x="1351" y="415"/>
                </a:cubicBezTo>
                <a:cubicBezTo>
                  <a:pt x="1352" y="416"/>
                  <a:pt x="1354" y="416"/>
                  <a:pt x="1353" y="414"/>
                </a:cubicBezTo>
                <a:cubicBezTo>
                  <a:pt x="1353" y="414"/>
                  <a:pt x="1352" y="414"/>
                  <a:pt x="1352" y="414"/>
                </a:cubicBezTo>
                <a:cubicBezTo>
                  <a:pt x="1352" y="413"/>
                  <a:pt x="1351" y="412"/>
                  <a:pt x="1352" y="412"/>
                </a:cubicBezTo>
                <a:cubicBezTo>
                  <a:pt x="1352" y="410"/>
                  <a:pt x="1352" y="408"/>
                  <a:pt x="1354" y="406"/>
                </a:cubicBezTo>
                <a:cubicBezTo>
                  <a:pt x="1354" y="405"/>
                  <a:pt x="1356" y="404"/>
                  <a:pt x="1357" y="404"/>
                </a:cubicBezTo>
                <a:cubicBezTo>
                  <a:pt x="1359" y="402"/>
                  <a:pt x="1361" y="401"/>
                  <a:pt x="1363" y="400"/>
                </a:cubicBezTo>
                <a:cubicBezTo>
                  <a:pt x="1364" y="400"/>
                  <a:pt x="1364" y="400"/>
                  <a:pt x="1365" y="400"/>
                </a:cubicBezTo>
                <a:cubicBezTo>
                  <a:pt x="1365" y="401"/>
                  <a:pt x="1365" y="401"/>
                  <a:pt x="1366" y="401"/>
                </a:cubicBezTo>
                <a:cubicBezTo>
                  <a:pt x="1367" y="402"/>
                  <a:pt x="1367" y="402"/>
                  <a:pt x="1368" y="401"/>
                </a:cubicBezTo>
                <a:cubicBezTo>
                  <a:pt x="1370" y="401"/>
                  <a:pt x="1372" y="400"/>
                  <a:pt x="1374" y="398"/>
                </a:cubicBezTo>
                <a:cubicBezTo>
                  <a:pt x="1376" y="397"/>
                  <a:pt x="1375" y="397"/>
                  <a:pt x="1374" y="396"/>
                </a:cubicBezTo>
                <a:cubicBezTo>
                  <a:pt x="1374" y="395"/>
                  <a:pt x="1373" y="394"/>
                  <a:pt x="1373" y="394"/>
                </a:cubicBezTo>
                <a:cubicBezTo>
                  <a:pt x="1371" y="392"/>
                  <a:pt x="1371" y="388"/>
                  <a:pt x="1371" y="386"/>
                </a:cubicBezTo>
                <a:cubicBezTo>
                  <a:pt x="1371" y="385"/>
                  <a:pt x="1373" y="383"/>
                  <a:pt x="1373" y="382"/>
                </a:cubicBezTo>
                <a:cubicBezTo>
                  <a:pt x="1374" y="380"/>
                  <a:pt x="1374" y="379"/>
                  <a:pt x="1376" y="378"/>
                </a:cubicBezTo>
                <a:cubicBezTo>
                  <a:pt x="1377" y="378"/>
                  <a:pt x="1379" y="377"/>
                  <a:pt x="1379" y="376"/>
                </a:cubicBezTo>
                <a:cubicBezTo>
                  <a:pt x="1379" y="375"/>
                  <a:pt x="1377" y="375"/>
                  <a:pt x="1379" y="374"/>
                </a:cubicBezTo>
                <a:cubicBezTo>
                  <a:pt x="1380" y="373"/>
                  <a:pt x="1380" y="373"/>
                  <a:pt x="1382" y="373"/>
                </a:cubicBezTo>
                <a:cubicBezTo>
                  <a:pt x="1382" y="373"/>
                  <a:pt x="1382" y="373"/>
                  <a:pt x="1383" y="373"/>
                </a:cubicBezTo>
                <a:cubicBezTo>
                  <a:pt x="1383" y="373"/>
                  <a:pt x="1384" y="372"/>
                  <a:pt x="1384" y="373"/>
                </a:cubicBezTo>
                <a:cubicBezTo>
                  <a:pt x="1384" y="373"/>
                  <a:pt x="1383" y="374"/>
                  <a:pt x="1383" y="375"/>
                </a:cubicBezTo>
                <a:cubicBezTo>
                  <a:pt x="1381" y="375"/>
                  <a:pt x="1380" y="376"/>
                  <a:pt x="1379" y="377"/>
                </a:cubicBezTo>
                <a:cubicBezTo>
                  <a:pt x="1380" y="377"/>
                  <a:pt x="1381" y="378"/>
                  <a:pt x="1381" y="379"/>
                </a:cubicBezTo>
                <a:cubicBezTo>
                  <a:pt x="1383" y="380"/>
                  <a:pt x="1385" y="379"/>
                  <a:pt x="1386" y="378"/>
                </a:cubicBezTo>
                <a:cubicBezTo>
                  <a:pt x="1388" y="377"/>
                  <a:pt x="1387" y="376"/>
                  <a:pt x="1387" y="375"/>
                </a:cubicBezTo>
                <a:cubicBezTo>
                  <a:pt x="1387" y="373"/>
                  <a:pt x="1386" y="371"/>
                  <a:pt x="1386" y="370"/>
                </a:cubicBezTo>
                <a:cubicBezTo>
                  <a:pt x="1386" y="369"/>
                  <a:pt x="1383" y="370"/>
                  <a:pt x="1382" y="369"/>
                </a:cubicBezTo>
                <a:cubicBezTo>
                  <a:pt x="1381" y="368"/>
                  <a:pt x="1382" y="368"/>
                  <a:pt x="1382" y="366"/>
                </a:cubicBezTo>
                <a:cubicBezTo>
                  <a:pt x="1382" y="365"/>
                  <a:pt x="1382" y="363"/>
                  <a:pt x="1382" y="362"/>
                </a:cubicBezTo>
                <a:cubicBezTo>
                  <a:pt x="1381" y="359"/>
                  <a:pt x="1385" y="357"/>
                  <a:pt x="1386" y="355"/>
                </a:cubicBezTo>
                <a:cubicBezTo>
                  <a:pt x="1387" y="353"/>
                  <a:pt x="1385" y="354"/>
                  <a:pt x="1384" y="353"/>
                </a:cubicBezTo>
                <a:cubicBezTo>
                  <a:pt x="1382" y="353"/>
                  <a:pt x="1381" y="351"/>
                  <a:pt x="1379" y="352"/>
                </a:cubicBezTo>
                <a:cubicBezTo>
                  <a:pt x="1377" y="353"/>
                  <a:pt x="1379" y="355"/>
                  <a:pt x="1377" y="355"/>
                </a:cubicBezTo>
                <a:cubicBezTo>
                  <a:pt x="1378" y="354"/>
                  <a:pt x="1378" y="354"/>
                  <a:pt x="1376" y="353"/>
                </a:cubicBezTo>
                <a:cubicBezTo>
                  <a:pt x="1375" y="352"/>
                  <a:pt x="1373" y="352"/>
                  <a:pt x="1373" y="350"/>
                </a:cubicBezTo>
                <a:cubicBezTo>
                  <a:pt x="1373" y="349"/>
                  <a:pt x="1374" y="346"/>
                  <a:pt x="1375" y="345"/>
                </a:cubicBezTo>
                <a:cubicBezTo>
                  <a:pt x="1376" y="343"/>
                  <a:pt x="1377" y="342"/>
                  <a:pt x="1378" y="341"/>
                </a:cubicBezTo>
                <a:cubicBezTo>
                  <a:pt x="1378" y="341"/>
                  <a:pt x="1379" y="340"/>
                  <a:pt x="1379" y="340"/>
                </a:cubicBezTo>
                <a:cubicBezTo>
                  <a:pt x="1380" y="339"/>
                  <a:pt x="1382" y="338"/>
                  <a:pt x="1381" y="338"/>
                </a:cubicBezTo>
                <a:cubicBezTo>
                  <a:pt x="1382" y="338"/>
                  <a:pt x="1384" y="337"/>
                  <a:pt x="1384" y="336"/>
                </a:cubicBezTo>
                <a:cubicBezTo>
                  <a:pt x="1383" y="336"/>
                  <a:pt x="1383" y="335"/>
                  <a:pt x="1383" y="334"/>
                </a:cubicBezTo>
                <a:cubicBezTo>
                  <a:pt x="1384" y="333"/>
                  <a:pt x="1384" y="334"/>
                  <a:pt x="1384" y="334"/>
                </a:cubicBezTo>
                <a:cubicBezTo>
                  <a:pt x="1385" y="335"/>
                  <a:pt x="1386" y="335"/>
                  <a:pt x="1385" y="334"/>
                </a:cubicBezTo>
                <a:cubicBezTo>
                  <a:pt x="1384" y="332"/>
                  <a:pt x="1384" y="332"/>
                  <a:pt x="1386" y="332"/>
                </a:cubicBezTo>
                <a:cubicBezTo>
                  <a:pt x="1387" y="331"/>
                  <a:pt x="1387" y="331"/>
                  <a:pt x="1387" y="329"/>
                </a:cubicBezTo>
                <a:cubicBezTo>
                  <a:pt x="1386" y="329"/>
                  <a:pt x="1386" y="328"/>
                  <a:pt x="1386" y="328"/>
                </a:cubicBezTo>
                <a:cubicBezTo>
                  <a:pt x="1386" y="327"/>
                  <a:pt x="1387" y="326"/>
                  <a:pt x="1387" y="325"/>
                </a:cubicBezTo>
                <a:cubicBezTo>
                  <a:pt x="1387" y="324"/>
                  <a:pt x="1388" y="323"/>
                  <a:pt x="1389" y="323"/>
                </a:cubicBezTo>
                <a:cubicBezTo>
                  <a:pt x="1390" y="322"/>
                  <a:pt x="1391" y="323"/>
                  <a:pt x="1392" y="321"/>
                </a:cubicBezTo>
                <a:cubicBezTo>
                  <a:pt x="1391" y="322"/>
                  <a:pt x="1390" y="321"/>
                  <a:pt x="1390" y="320"/>
                </a:cubicBezTo>
                <a:cubicBezTo>
                  <a:pt x="1392" y="320"/>
                  <a:pt x="1393" y="320"/>
                  <a:pt x="1394" y="321"/>
                </a:cubicBezTo>
                <a:cubicBezTo>
                  <a:pt x="1394" y="321"/>
                  <a:pt x="1395" y="321"/>
                  <a:pt x="1395" y="321"/>
                </a:cubicBezTo>
                <a:cubicBezTo>
                  <a:pt x="1395" y="322"/>
                  <a:pt x="1393" y="323"/>
                  <a:pt x="1396" y="323"/>
                </a:cubicBezTo>
                <a:cubicBezTo>
                  <a:pt x="1394" y="322"/>
                  <a:pt x="1397" y="321"/>
                  <a:pt x="1398" y="321"/>
                </a:cubicBezTo>
                <a:cubicBezTo>
                  <a:pt x="1399" y="320"/>
                  <a:pt x="1400" y="320"/>
                  <a:pt x="1401" y="321"/>
                </a:cubicBezTo>
                <a:cubicBezTo>
                  <a:pt x="1402" y="323"/>
                  <a:pt x="1402" y="325"/>
                  <a:pt x="1404" y="323"/>
                </a:cubicBezTo>
                <a:cubicBezTo>
                  <a:pt x="1405" y="323"/>
                  <a:pt x="1405" y="322"/>
                  <a:pt x="1406" y="321"/>
                </a:cubicBezTo>
                <a:cubicBezTo>
                  <a:pt x="1406" y="321"/>
                  <a:pt x="1406" y="321"/>
                  <a:pt x="1406" y="321"/>
                </a:cubicBezTo>
                <a:cubicBezTo>
                  <a:pt x="1406" y="320"/>
                  <a:pt x="1405" y="320"/>
                  <a:pt x="1406" y="320"/>
                </a:cubicBezTo>
                <a:cubicBezTo>
                  <a:pt x="1407" y="319"/>
                  <a:pt x="1408" y="318"/>
                  <a:pt x="1410" y="318"/>
                </a:cubicBezTo>
                <a:cubicBezTo>
                  <a:pt x="1412" y="316"/>
                  <a:pt x="1415" y="315"/>
                  <a:pt x="1418" y="313"/>
                </a:cubicBezTo>
                <a:cubicBezTo>
                  <a:pt x="1418" y="314"/>
                  <a:pt x="1418" y="315"/>
                  <a:pt x="1417" y="315"/>
                </a:cubicBezTo>
                <a:cubicBezTo>
                  <a:pt x="1417" y="316"/>
                  <a:pt x="1417" y="317"/>
                  <a:pt x="1417" y="317"/>
                </a:cubicBezTo>
                <a:cubicBezTo>
                  <a:pt x="1417" y="318"/>
                  <a:pt x="1417" y="318"/>
                  <a:pt x="1416" y="319"/>
                </a:cubicBezTo>
                <a:cubicBezTo>
                  <a:pt x="1416" y="320"/>
                  <a:pt x="1415" y="324"/>
                  <a:pt x="1417" y="323"/>
                </a:cubicBezTo>
                <a:cubicBezTo>
                  <a:pt x="1418" y="323"/>
                  <a:pt x="1420" y="321"/>
                  <a:pt x="1421" y="320"/>
                </a:cubicBezTo>
                <a:cubicBezTo>
                  <a:pt x="1421" y="319"/>
                  <a:pt x="1424" y="317"/>
                  <a:pt x="1424" y="317"/>
                </a:cubicBezTo>
                <a:cubicBezTo>
                  <a:pt x="1425" y="316"/>
                  <a:pt x="1427" y="315"/>
                  <a:pt x="1429" y="315"/>
                </a:cubicBezTo>
                <a:cubicBezTo>
                  <a:pt x="1431" y="313"/>
                  <a:pt x="1433" y="313"/>
                  <a:pt x="1435" y="312"/>
                </a:cubicBezTo>
                <a:cubicBezTo>
                  <a:pt x="1439" y="312"/>
                  <a:pt x="1443" y="312"/>
                  <a:pt x="1446" y="311"/>
                </a:cubicBezTo>
                <a:cubicBezTo>
                  <a:pt x="1447" y="311"/>
                  <a:pt x="1450" y="312"/>
                  <a:pt x="1448" y="312"/>
                </a:cubicBezTo>
                <a:cubicBezTo>
                  <a:pt x="1449" y="313"/>
                  <a:pt x="1451" y="314"/>
                  <a:pt x="1452" y="314"/>
                </a:cubicBezTo>
                <a:cubicBezTo>
                  <a:pt x="1452" y="315"/>
                  <a:pt x="1452" y="316"/>
                  <a:pt x="1453" y="316"/>
                </a:cubicBezTo>
                <a:cubicBezTo>
                  <a:pt x="1453" y="317"/>
                  <a:pt x="1454" y="317"/>
                  <a:pt x="1455" y="317"/>
                </a:cubicBezTo>
                <a:cubicBezTo>
                  <a:pt x="1453" y="318"/>
                  <a:pt x="1454" y="319"/>
                  <a:pt x="1454" y="319"/>
                </a:cubicBezTo>
                <a:cubicBezTo>
                  <a:pt x="1455" y="320"/>
                  <a:pt x="1456" y="321"/>
                  <a:pt x="1457" y="322"/>
                </a:cubicBezTo>
                <a:cubicBezTo>
                  <a:pt x="1459" y="324"/>
                  <a:pt x="1460" y="319"/>
                  <a:pt x="1460" y="318"/>
                </a:cubicBezTo>
                <a:cubicBezTo>
                  <a:pt x="1460" y="317"/>
                  <a:pt x="1460" y="317"/>
                  <a:pt x="1461" y="316"/>
                </a:cubicBezTo>
                <a:cubicBezTo>
                  <a:pt x="1462" y="316"/>
                  <a:pt x="1462" y="316"/>
                  <a:pt x="1462" y="315"/>
                </a:cubicBezTo>
                <a:cubicBezTo>
                  <a:pt x="1462" y="315"/>
                  <a:pt x="1461" y="315"/>
                  <a:pt x="1462" y="315"/>
                </a:cubicBezTo>
                <a:cubicBezTo>
                  <a:pt x="1462" y="315"/>
                  <a:pt x="1462" y="315"/>
                  <a:pt x="1462" y="315"/>
                </a:cubicBezTo>
                <a:cubicBezTo>
                  <a:pt x="1463" y="314"/>
                  <a:pt x="1463" y="314"/>
                  <a:pt x="1463" y="314"/>
                </a:cubicBezTo>
                <a:cubicBezTo>
                  <a:pt x="1463" y="314"/>
                  <a:pt x="1463" y="314"/>
                  <a:pt x="1463" y="314"/>
                </a:cubicBezTo>
                <a:cubicBezTo>
                  <a:pt x="1464" y="313"/>
                  <a:pt x="1464" y="313"/>
                  <a:pt x="1465" y="313"/>
                </a:cubicBezTo>
                <a:cubicBezTo>
                  <a:pt x="1466" y="313"/>
                  <a:pt x="1468" y="312"/>
                  <a:pt x="1469" y="312"/>
                </a:cubicBezTo>
                <a:cubicBezTo>
                  <a:pt x="1469" y="311"/>
                  <a:pt x="1469" y="311"/>
                  <a:pt x="1470" y="310"/>
                </a:cubicBezTo>
                <a:cubicBezTo>
                  <a:pt x="1470" y="310"/>
                  <a:pt x="1473" y="309"/>
                  <a:pt x="1474" y="309"/>
                </a:cubicBezTo>
                <a:cubicBezTo>
                  <a:pt x="1474" y="308"/>
                  <a:pt x="1478" y="307"/>
                  <a:pt x="1478" y="306"/>
                </a:cubicBezTo>
                <a:cubicBezTo>
                  <a:pt x="1478" y="305"/>
                  <a:pt x="1477" y="305"/>
                  <a:pt x="1476" y="304"/>
                </a:cubicBezTo>
                <a:cubicBezTo>
                  <a:pt x="1477" y="305"/>
                  <a:pt x="1479" y="305"/>
                  <a:pt x="1481" y="304"/>
                </a:cubicBezTo>
                <a:cubicBezTo>
                  <a:pt x="1480" y="304"/>
                  <a:pt x="1479" y="304"/>
                  <a:pt x="1479" y="304"/>
                </a:cubicBezTo>
                <a:cubicBezTo>
                  <a:pt x="1480" y="304"/>
                  <a:pt x="1480" y="303"/>
                  <a:pt x="1480" y="302"/>
                </a:cubicBezTo>
                <a:cubicBezTo>
                  <a:pt x="1481" y="303"/>
                  <a:pt x="1484" y="302"/>
                  <a:pt x="1483" y="300"/>
                </a:cubicBezTo>
                <a:cubicBezTo>
                  <a:pt x="1484" y="301"/>
                  <a:pt x="1484" y="301"/>
                  <a:pt x="1485" y="301"/>
                </a:cubicBezTo>
                <a:cubicBezTo>
                  <a:pt x="1485" y="300"/>
                  <a:pt x="1482" y="298"/>
                  <a:pt x="1485" y="298"/>
                </a:cubicBezTo>
                <a:cubicBezTo>
                  <a:pt x="1485" y="298"/>
                  <a:pt x="1485" y="299"/>
                  <a:pt x="1486" y="299"/>
                </a:cubicBezTo>
                <a:cubicBezTo>
                  <a:pt x="1486" y="299"/>
                  <a:pt x="1487" y="298"/>
                  <a:pt x="1488" y="298"/>
                </a:cubicBezTo>
                <a:cubicBezTo>
                  <a:pt x="1489" y="298"/>
                  <a:pt x="1490" y="298"/>
                  <a:pt x="1490" y="297"/>
                </a:cubicBezTo>
                <a:cubicBezTo>
                  <a:pt x="1491" y="296"/>
                  <a:pt x="1491" y="296"/>
                  <a:pt x="1491" y="296"/>
                </a:cubicBezTo>
                <a:cubicBezTo>
                  <a:pt x="1491" y="295"/>
                  <a:pt x="1491" y="294"/>
                  <a:pt x="1492" y="294"/>
                </a:cubicBezTo>
                <a:cubicBezTo>
                  <a:pt x="1492" y="294"/>
                  <a:pt x="1492" y="294"/>
                  <a:pt x="1493" y="294"/>
                </a:cubicBezTo>
                <a:cubicBezTo>
                  <a:pt x="1494" y="294"/>
                  <a:pt x="1495" y="293"/>
                  <a:pt x="1496" y="293"/>
                </a:cubicBezTo>
                <a:cubicBezTo>
                  <a:pt x="1498" y="292"/>
                  <a:pt x="1498" y="293"/>
                  <a:pt x="1499" y="293"/>
                </a:cubicBezTo>
                <a:cubicBezTo>
                  <a:pt x="1501" y="293"/>
                  <a:pt x="1502" y="293"/>
                  <a:pt x="1504" y="292"/>
                </a:cubicBezTo>
                <a:cubicBezTo>
                  <a:pt x="1503" y="291"/>
                  <a:pt x="1502" y="290"/>
                  <a:pt x="1503" y="290"/>
                </a:cubicBezTo>
                <a:cubicBezTo>
                  <a:pt x="1504" y="290"/>
                  <a:pt x="1506" y="290"/>
                  <a:pt x="1507" y="290"/>
                </a:cubicBezTo>
                <a:cubicBezTo>
                  <a:pt x="1509" y="289"/>
                  <a:pt x="1508" y="289"/>
                  <a:pt x="1509" y="287"/>
                </a:cubicBezTo>
                <a:cubicBezTo>
                  <a:pt x="1510" y="287"/>
                  <a:pt x="1512" y="286"/>
                  <a:pt x="1512" y="286"/>
                </a:cubicBezTo>
                <a:cubicBezTo>
                  <a:pt x="1516" y="285"/>
                  <a:pt x="1519" y="283"/>
                  <a:pt x="1523" y="282"/>
                </a:cubicBezTo>
                <a:cubicBezTo>
                  <a:pt x="1525" y="281"/>
                  <a:pt x="1527" y="281"/>
                  <a:pt x="1529" y="281"/>
                </a:cubicBezTo>
                <a:cubicBezTo>
                  <a:pt x="1528" y="281"/>
                  <a:pt x="1527" y="281"/>
                  <a:pt x="1526" y="280"/>
                </a:cubicBezTo>
                <a:cubicBezTo>
                  <a:pt x="1526" y="279"/>
                  <a:pt x="1527" y="279"/>
                  <a:pt x="1527" y="278"/>
                </a:cubicBezTo>
                <a:cubicBezTo>
                  <a:pt x="1527" y="277"/>
                  <a:pt x="1527" y="277"/>
                  <a:pt x="1527" y="276"/>
                </a:cubicBezTo>
                <a:cubicBezTo>
                  <a:pt x="1527" y="277"/>
                  <a:pt x="1528" y="277"/>
                  <a:pt x="1529" y="277"/>
                </a:cubicBezTo>
                <a:cubicBezTo>
                  <a:pt x="1529" y="277"/>
                  <a:pt x="1533" y="277"/>
                  <a:pt x="1531" y="278"/>
                </a:cubicBezTo>
                <a:cubicBezTo>
                  <a:pt x="1530" y="278"/>
                  <a:pt x="1530" y="280"/>
                  <a:pt x="1530" y="281"/>
                </a:cubicBezTo>
                <a:cubicBezTo>
                  <a:pt x="1532" y="281"/>
                  <a:pt x="1535" y="281"/>
                  <a:pt x="1537" y="281"/>
                </a:cubicBezTo>
                <a:cubicBezTo>
                  <a:pt x="1539" y="282"/>
                  <a:pt x="1541" y="283"/>
                  <a:pt x="1544" y="283"/>
                </a:cubicBezTo>
                <a:cubicBezTo>
                  <a:pt x="1545" y="284"/>
                  <a:pt x="1546" y="285"/>
                  <a:pt x="1548" y="285"/>
                </a:cubicBezTo>
                <a:cubicBezTo>
                  <a:pt x="1549" y="286"/>
                  <a:pt x="1549" y="283"/>
                  <a:pt x="1549" y="283"/>
                </a:cubicBezTo>
                <a:cubicBezTo>
                  <a:pt x="1550" y="281"/>
                  <a:pt x="1554" y="281"/>
                  <a:pt x="1553" y="278"/>
                </a:cubicBezTo>
                <a:cubicBezTo>
                  <a:pt x="1553" y="277"/>
                  <a:pt x="1553" y="276"/>
                  <a:pt x="1552" y="276"/>
                </a:cubicBezTo>
                <a:cubicBezTo>
                  <a:pt x="1550" y="275"/>
                  <a:pt x="1551" y="275"/>
                  <a:pt x="1551" y="273"/>
                </a:cubicBezTo>
                <a:cubicBezTo>
                  <a:pt x="1552" y="272"/>
                  <a:pt x="1551" y="271"/>
                  <a:pt x="1550" y="271"/>
                </a:cubicBezTo>
                <a:cubicBezTo>
                  <a:pt x="1549" y="270"/>
                  <a:pt x="1546" y="270"/>
                  <a:pt x="1546" y="268"/>
                </a:cubicBezTo>
                <a:cubicBezTo>
                  <a:pt x="1546" y="268"/>
                  <a:pt x="1547" y="268"/>
                  <a:pt x="1547" y="269"/>
                </a:cubicBezTo>
                <a:cubicBezTo>
                  <a:pt x="1546" y="268"/>
                  <a:pt x="1546" y="266"/>
                  <a:pt x="1545" y="265"/>
                </a:cubicBezTo>
                <a:cubicBezTo>
                  <a:pt x="1544" y="266"/>
                  <a:pt x="1546" y="268"/>
                  <a:pt x="1544" y="268"/>
                </a:cubicBezTo>
                <a:cubicBezTo>
                  <a:pt x="1543" y="268"/>
                  <a:pt x="1545" y="266"/>
                  <a:pt x="1544" y="265"/>
                </a:cubicBezTo>
                <a:cubicBezTo>
                  <a:pt x="1543" y="264"/>
                  <a:pt x="1540" y="267"/>
                  <a:pt x="1540" y="265"/>
                </a:cubicBezTo>
                <a:cubicBezTo>
                  <a:pt x="1541" y="263"/>
                  <a:pt x="1543" y="264"/>
                  <a:pt x="1544" y="264"/>
                </a:cubicBezTo>
                <a:cubicBezTo>
                  <a:pt x="1544" y="264"/>
                  <a:pt x="1544" y="264"/>
                  <a:pt x="1544" y="264"/>
                </a:cubicBezTo>
                <a:cubicBezTo>
                  <a:pt x="1544" y="264"/>
                  <a:pt x="1544" y="264"/>
                  <a:pt x="1545" y="264"/>
                </a:cubicBezTo>
                <a:cubicBezTo>
                  <a:pt x="1545" y="263"/>
                  <a:pt x="1544" y="262"/>
                  <a:pt x="1544" y="260"/>
                </a:cubicBezTo>
                <a:cubicBezTo>
                  <a:pt x="1544" y="260"/>
                  <a:pt x="1544" y="259"/>
                  <a:pt x="1544" y="259"/>
                </a:cubicBezTo>
                <a:cubicBezTo>
                  <a:pt x="1544" y="259"/>
                  <a:pt x="1543" y="259"/>
                  <a:pt x="1543" y="258"/>
                </a:cubicBezTo>
                <a:cubicBezTo>
                  <a:pt x="1543" y="257"/>
                  <a:pt x="1542" y="256"/>
                  <a:pt x="1541" y="255"/>
                </a:cubicBezTo>
                <a:cubicBezTo>
                  <a:pt x="1541" y="254"/>
                  <a:pt x="1540" y="251"/>
                  <a:pt x="1539" y="253"/>
                </a:cubicBezTo>
                <a:cubicBezTo>
                  <a:pt x="1538" y="254"/>
                  <a:pt x="1539" y="255"/>
                  <a:pt x="1538" y="255"/>
                </a:cubicBezTo>
                <a:cubicBezTo>
                  <a:pt x="1537" y="255"/>
                  <a:pt x="1536" y="254"/>
                  <a:pt x="1536" y="254"/>
                </a:cubicBezTo>
                <a:cubicBezTo>
                  <a:pt x="1535" y="254"/>
                  <a:pt x="1534" y="253"/>
                  <a:pt x="1533" y="252"/>
                </a:cubicBezTo>
                <a:cubicBezTo>
                  <a:pt x="1532" y="252"/>
                  <a:pt x="1532" y="251"/>
                  <a:pt x="1532" y="250"/>
                </a:cubicBezTo>
                <a:cubicBezTo>
                  <a:pt x="1531" y="249"/>
                  <a:pt x="1531" y="245"/>
                  <a:pt x="1530" y="245"/>
                </a:cubicBezTo>
                <a:cubicBezTo>
                  <a:pt x="1530" y="245"/>
                  <a:pt x="1527" y="246"/>
                  <a:pt x="1527" y="246"/>
                </a:cubicBezTo>
                <a:cubicBezTo>
                  <a:pt x="1526" y="246"/>
                  <a:pt x="1526" y="247"/>
                  <a:pt x="1525" y="247"/>
                </a:cubicBezTo>
                <a:cubicBezTo>
                  <a:pt x="1524" y="247"/>
                  <a:pt x="1522" y="246"/>
                  <a:pt x="1521" y="247"/>
                </a:cubicBezTo>
                <a:cubicBezTo>
                  <a:pt x="1521" y="247"/>
                  <a:pt x="1521" y="247"/>
                  <a:pt x="1520" y="248"/>
                </a:cubicBezTo>
                <a:cubicBezTo>
                  <a:pt x="1519" y="248"/>
                  <a:pt x="1519" y="248"/>
                  <a:pt x="1518" y="249"/>
                </a:cubicBezTo>
                <a:cubicBezTo>
                  <a:pt x="1518" y="247"/>
                  <a:pt x="1519" y="247"/>
                  <a:pt x="1520" y="247"/>
                </a:cubicBezTo>
                <a:cubicBezTo>
                  <a:pt x="1519" y="246"/>
                  <a:pt x="1516" y="243"/>
                  <a:pt x="1517" y="243"/>
                </a:cubicBezTo>
                <a:cubicBezTo>
                  <a:pt x="1517" y="242"/>
                  <a:pt x="1519" y="243"/>
                  <a:pt x="1520" y="243"/>
                </a:cubicBezTo>
                <a:cubicBezTo>
                  <a:pt x="1521" y="244"/>
                  <a:pt x="1521" y="245"/>
                  <a:pt x="1522" y="244"/>
                </a:cubicBezTo>
                <a:cubicBezTo>
                  <a:pt x="1523" y="244"/>
                  <a:pt x="1525" y="244"/>
                  <a:pt x="1525" y="244"/>
                </a:cubicBezTo>
                <a:cubicBezTo>
                  <a:pt x="1526" y="244"/>
                  <a:pt x="1527" y="246"/>
                  <a:pt x="1528" y="245"/>
                </a:cubicBezTo>
                <a:cubicBezTo>
                  <a:pt x="1530" y="244"/>
                  <a:pt x="1528" y="242"/>
                  <a:pt x="1527" y="241"/>
                </a:cubicBezTo>
                <a:cubicBezTo>
                  <a:pt x="1526" y="240"/>
                  <a:pt x="1525" y="241"/>
                  <a:pt x="1524" y="241"/>
                </a:cubicBezTo>
                <a:cubicBezTo>
                  <a:pt x="1523" y="241"/>
                  <a:pt x="1522" y="241"/>
                  <a:pt x="1521" y="240"/>
                </a:cubicBezTo>
                <a:cubicBezTo>
                  <a:pt x="1522" y="241"/>
                  <a:pt x="1522" y="241"/>
                  <a:pt x="1523" y="241"/>
                </a:cubicBezTo>
                <a:cubicBezTo>
                  <a:pt x="1524" y="241"/>
                  <a:pt x="1525" y="240"/>
                  <a:pt x="1526" y="240"/>
                </a:cubicBezTo>
                <a:cubicBezTo>
                  <a:pt x="1527" y="240"/>
                  <a:pt x="1528" y="241"/>
                  <a:pt x="1529" y="241"/>
                </a:cubicBezTo>
                <a:cubicBezTo>
                  <a:pt x="1529" y="242"/>
                  <a:pt x="1529" y="242"/>
                  <a:pt x="1529" y="242"/>
                </a:cubicBezTo>
                <a:cubicBezTo>
                  <a:pt x="1530" y="243"/>
                  <a:pt x="1530" y="242"/>
                  <a:pt x="1530" y="243"/>
                </a:cubicBezTo>
                <a:cubicBezTo>
                  <a:pt x="1531" y="243"/>
                  <a:pt x="1532" y="243"/>
                  <a:pt x="1531" y="244"/>
                </a:cubicBezTo>
                <a:cubicBezTo>
                  <a:pt x="1530" y="245"/>
                  <a:pt x="1534" y="245"/>
                  <a:pt x="1533" y="246"/>
                </a:cubicBezTo>
                <a:cubicBezTo>
                  <a:pt x="1536" y="247"/>
                  <a:pt x="1539" y="247"/>
                  <a:pt x="1542" y="246"/>
                </a:cubicBezTo>
                <a:cubicBezTo>
                  <a:pt x="1546" y="245"/>
                  <a:pt x="1550" y="244"/>
                  <a:pt x="1554" y="242"/>
                </a:cubicBezTo>
                <a:cubicBezTo>
                  <a:pt x="1555" y="242"/>
                  <a:pt x="1557" y="241"/>
                  <a:pt x="1557" y="240"/>
                </a:cubicBezTo>
                <a:cubicBezTo>
                  <a:pt x="1557" y="240"/>
                  <a:pt x="1557" y="240"/>
                  <a:pt x="1557" y="240"/>
                </a:cubicBezTo>
                <a:cubicBezTo>
                  <a:pt x="1558" y="240"/>
                  <a:pt x="1558" y="240"/>
                  <a:pt x="1558" y="240"/>
                </a:cubicBezTo>
                <a:cubicBezTo>
                  <a:pt x="1559" y="240"/>
                  <a:pt x="1560" y="239"/>
                  <a:pt x="1561" y="239"/>
                </a:cubicBezTo>
                <a:cubicBezTo>
                  <a:pt x="1561" y="239"/>
                  <a:pt x="1561" y="239"/>
                  <a:pt x="1561" y="239"/>
                </a:cubicBezTo>
                <a:cubicBezTo>
                  <a:pt x="1562" y="238"/>
                  <a:pt x="1562" y="236"/>
                  <a:pt x="1563" y="235"/>
                </a:cubicBezTo>
                <a:cubicBezTo>
                  <a:pt x="1562" y="235"/>
                  <a:pt x="1562" y="235"/>
                  <a:pt x="1561" y="235"/>
                </a:cubicBezTo>
                <a:cubicBezTo>
                  <a:pt x="1560" y="235"/>
                  <a:pt x="1559" y="236"/>
                  <a:pt x="1557" y="236"/>
                </a:cubicBezTo>
                <a:cubicBezTo>
                  <a:pt x="1557" y="236"/>
                  <a:pt x="1557" y="236"/>
                  <a:pt x="1557" y="236"/>
                </a:cubicBezTo>
                <a:cubicBezTo>
                  <a:pt x="1557" y="236"/>
                  <a:pt x="1556" y="236"/>
                  <a:pt x="1556" y="236"/>
                </a:cubicBezTo>
                <a:cubicBezTo>
                  <a:pt x="1556" y="235"/>
                  <a:pt x="1557" y="235"/>
                  <a:pt x="1557" y="235"/>
                </a:cubicBezTo>
                <a:cubicBezTo>
                  <a:pt x="1559" y="234"/>
                  <a:pt x="1562" y="233"/>
                  <a:pt x="1565" y="232"/>
                </a:cubicBezTo>
                <a:cubicBezTo>
                  <a:pt x="1564" y="231"/>
                  <a:pt x="1565" y="231"/>
                  <a:pt x="1564" y="230"/>
                </a:cubicBezTo>
                <a:cubicBezTo>
                  <a:pt x="1563" y="230"/>
                  <a:pt x="1562" y="229"/>
                  <a:pt x="1561" y="229"/>
                </a:cubicBezTo>
                <a:cubicBezTo>
                  <a:pt x="1560" y="228"/>
                  <a:pt x="1560" y="227"/>
                  <a:pt x="1560" y="225"/>
                </a:cubicBezTo>
                <a:cubicBezTo>
                  <a:pt x="1560" y="225"/>
                  <a:pt x="1560" y="220"/>
                  <a:pt x="1561" y="222"/>
                </a:cubicBezTo>
                <a:cubicBezTo>
                  <a:pt x="1561" y="222"/>
                  <a:pt x="1561" y="222"/>
                  <a:pt x="1561" y="222"/>
                </a:cubicBezTo>
                <a:cubicBezTo>
                  <a:pt x="1561" y="223"/>
                  <a:pt x="1563" y="223"/>
                  <a:pt x="1563" y="222"/>
                </a:cubicBezTo>
                <a:cubicBezTo>
                  <a:pt x="1565" y="221"/>
                  <a:pt x="1565" y="221"/>
                  <a:pt x="1564" y="219"/>
                </a:cubicBezTo>
                <a:cubicBezTo>
                  <a:pt x="1563" y="219"/>
                  <a:pt x="1566" y="217"/>
                  <a:pt x="1567" y="219"/>
                </a:cubicBezTo>
                <a:cubicBezTo>
                  <a:pt x="1567" y="219"/>
                  <a:pt x="1566" y="220"/>
                  <a:pt x="1566" y="220"/>
                </a:cubicBezTo>
                <a:cubicBezTo>
                  <a:pt x="1566" y="221"/>
                  <a:pt x="1567" y="221"/>
                  <a:pt x="1567" y="221"/>
                </a:cubicBezTo>
                <a:cubicBezTo>
                  <a:pt x="1569" y="220"/>
                  <a:pt x="1571" y="219"/>
                  <a:pt x="1573" y="218"/>
                </a:cubicBezTo>
                <a:cubicBezTo>
                  <a:pt x="1573" y="219"/>
                  <a:pt x="1573" y="221"/>
                  <a:pt x="1572" y="222"/>
                </a:cubicBezTo>
                <a:cubicBezTo>
                  <a:pt x="1572" y="223"/>
                  <a:pt x="1571" y="223"/>
                  <a:pt x="1571" y="223"/>
                </a:cubicBezTo>
                <a:cubicBezTo>
                  <a:pt x="1571" y="223"/>
                  <a:pt x="1571" y="224"/>
                  <a:pt x="1570" y="224"/>
                </a:cubicBezTo>
                <a:cubicBezTo>
                  <a:pt x="1570" y="225"/>
                  <a:pt x="1569" y="224"/>
                  <a:pt x="1568" y="224"/>
                </a:cubicBezTo>
                <a:cubicBezTo>
                  <a:pt x="1568" y="224"/>
                  <a:pt x="1569" y="225"/>
                  <a:pt x="1569" y="225"/>
                </a:cubicBezTo>
                <a:cubicBezTo>
                  <a:pt x="1569" y="225"/>
                  <a:pt x="1569" y="226"/>
                  <a:pt x="1569" y="226"/>
                </a:cubicBezTo>
                <a:cubicBezTo>
                  <a:pt x="1569" y="227"/>
                  <a:pt x="1571" y="228"/>
                  <a:pt x="1571" y="229"/>
                </a:cubicBezTo>
                <a:cubicBezTo>
                  <a:pt x="1572" y="229"/>
                  <a:pt x="1573" y="229"/>
                  <a:pt x="1573" y="230"/>
                </a:cubicBezTo>
                <a:cubicBezTo>
                  <a:pt x="1573" y="231"/>
                  <a:pt x="1572" y="231"/>
                  <a:pt x="1572" y="231"/>
                </a:cubicBezTo>
                <a:cubicBezTo>
                  <a:pt x="1573" y="232"/>
                  <a:pt x="1574" y="232"/>
                  <a:pt x="1574" y="232"/>
                </a:cubicBezTo>
                <a:cubicBezTo>
                  <a:pt x="1581" y="232"/>
                  <a:pt x="1588" y="231"/>
                  <a:pt x="1594" y="233"/>
                </a:cubicBezTo>
                <a:cubicBezTo>
                  <a:pt x="1596" y="234"/>
                  <a:pt x="1599" y="234"/>
                  <a:pt x="1599" y="236"/>
                </a:cubicBezTo>
                <a:cubicBezTo>
                  <a:pt x="1599" y="237"/>
                  <a:pt x="1600" y="237"/>
                  <a:pt x="1600" y="238"/>
                </a:cubicBezTo>
                <a:cubicBezTo>
                  <a:pt x="1600" y="239"/>
                  <a:pt x="1600" y="239"/>
                  <a:pt x="1600" y="239"/>
                </a:cubicBezTo>
                <a:cubicBezTo>
                  <a:pt x="1601" y="241"/>
                  <a:pt x="1601" y="242"/>
                  <a:pt x="1602" y="243"/>
                </a:cubicBezTo>
                <a:cubicBezTo>
                  <a:pt x="1602" y="243"/>
                  <a:pt x="1603" y="245"/>
                  <a:pt x="1604" y="245"/>
                </a:cubicBezTo>
                <a:cubicBezTo>
                  <a:pt x="1604" y="245"/>
                  <a:pt x="1605" y="245"/>
                  <a:pt x="1605" y="245"/>
                </a:cubicBezTo>
                <a:cubicBezTo>
                  <a:pt x="1606" y="245"/>
                  <a:pt x="1607" y="245"/>
                  <a:pt x="1608" y="245"/>
                </a:cubicBezTo>
                <a:cubicBezTo>
                  <a:pt x="1609" y="245"/>
                  <a:pt x="1612" y="246"/>
                  <a:pt x="1614" y="246"/>
                </a:cubicBezTo>
                <a:cubicBezTo>
                  <a:pt x="1617" y="248"/>
                  <a:pt x="1618" y="252"/>
                  <a:pt x="1622" y="252"/>
                </a:cubicBezTo>
                <a:cubicBezTo>
                  <a:pt x="1623" y="252"/>
                  <a:pt x="1624" y="252"/>
                  <a:pt x="1624" y="251"/>
                </a:cubicBezTo>
                <a:cubicBezTo>
                  <a:pt x="1626" y="250"/>
                  <a:pt x="1625" y="249"/>
                  <a:pt x="1625" y="248"/>
                </a:cubicBezTo>
                <a:cubicBezTo>
                  <a:pt x="1627" y="249"/>
                  <a:pt x="1625" y="253"/>
                  <a:pt x="1627" y="254"/>
                </a:cubicBezTo>
                <a:cubicBezTo>
                  <a:pt x="1628" y="254"/>
                  <a:pt x="1629" y="253"/>
                  <a:pt x="1630" y="253"/>
                </a:cubicBezTo>
                <a:cubicBezTo>
                  <a:pt x="1630" y="251"/>
                  <a:pt x="1630" y="251"/>
                  <a:pt x="1628" y="250"/>
                </a:cubicBezTo>
                <a:cubicBezTo>
                  <a:pt x="1630" y="250"/>
                  <a:pt x="1631" y="251"/>
                  <a:pt x="1632" y="251"/>
                </a:cubicBezTo>
                <a:cubicBezTo>
                  <a:pt x="1634" y="252"/>
                  <a:pt x="1635" y="251"/>
                  <a:pt x="1636" y="251"/>
                </a:cubicBezTo>
                <a:cubicBezTo>
                  <a:pt x="1634" y="250"/>
                  <a:pt x="1631" y="250"/>
                  <a:pt x="1629" y="248"/>
                </a:cubicBezTo>
                <a:cubicBezTo>
                  <a:pt x="1628" y="247"/>
                  <a:pt x="1628" y="247"/>
                  <a:pt x="1629" y="246"/>
                </a:cubicBezTo>
                <a:cubicBezTo>
                  <a:pt x="1631" y="246"/>
                  <a:pt x="1632" y="245"/>
                  <a:pt x="1630" y="244"/>
                </a:cubicBezTo>
                <a:cubicBezTo>
                  <a:pt x="1629" y="244"/>
                  <a:pt x="1628" y="244"/>
                  <a:pt x="1628" y="245"/>
                </a:cubicBezTo>
                <a:cubicBezTo>
                  <a:pt x="1628" y="244"/>
                  <a:pt x="1628" y="244"/>
                  <a:pt x="1629" y="244"/>
                </a:cubicBezTo>
                <a:cubicBezTo>
                  <a:pt x="1630" y="243"/>
                  <a:pt x="1630" y="244"/>
                  <a:pt x="1631" y="244"/>
                </a:cubicBezTo>
                <a:cubicBezTo>
                  <a:pt x="1632" y="244"/>
                  <a:pt x="1632" y="243"/>
                  <a:pt x="1633" y="243"/>
                </a:cubicBezTo>
                <a:cubicBezTo>
                  <a:pt x="1634" y="243"/>
                  <a:pt x="1634" y="243"/>
                  <a:pt x="1635" y="242"/>
                </a:cubicBezTo>
                <a:cubicBezTo>
                  <a:pt x="1636" y="242"/>
                  <a:pt x="1638" y="240"/>
                  <a:pt x="1637" y="239"/>
                </a:cubicBezTo>
                <a:cubicBezTo>
                  <a:pt x="1636" y="237"/>
                  <a:pt x="1633" y="239"/>
                  <a:pt x="1632" y="237"/>
                </a:cubicBezTo>
                <a:cubicBezTo>
                  <a:pt x="1633" y="237"/>
                  <a:pt x="1633" y="237"/>
                  <a:pt x="1633" y="237"/>
                </a:cubicBezTo>
                <a:cubicBezTo>
                  <a:pt x="1634" y="237"/>
                  <a:pt x="1634" y="237"/>
                  <a:pt x="1635" y="237"/>
                </a:cubicBezTo>
                <a:cubicBezTo>
                  <a:pt x="1635" y="237"/>
                  <a:pt x="1636" y="237"/>
                  <a:pt x="1636" y="237"/>
                </a:cubicBezTo>
                <a:cubicBezTo>
                  <a:pt x="1637" y="236"/>
                  <a:pt x="1637" y="234"/>
                  <a:pt x="1637" y="233"/>
                </a:cubicBezTo>
                <a:cubicBezTo>
                  <a:pt x="1636" y="234"/>
                  <a:pt x="1636" y="234"/>
                  <a:pt x="1634" y="234"/>
                </a:cubicBezTo>
                <a:cubicBezTo>
                  <a:pt x="1636" y="233"/>
                  <a:pt x="1635" y="232"/>
                  <a:pt x="1634" y="231"/>
                </a:cubicBezTo>
                <a:cubicBezTo>
                  <a:pt x="1633" y="231"/>
                  <a:pt x="1632" y="230"/>
                  <a:pt x="1631" y="230"/>
                </a:cubicBezTo>
                <a:cubicBezTo>
                  <a:pt x="1632" y="230"/>
                  <a:pt x="1633" y="230"/>
                  <a:pt x="1634" y="230"/>
                </a:cubicBezTo>
                <a:cubicBezTo>
                  <a:pt x="1635" y="230"/>
                  <a:pt x="1636" y="231"/>
                  <a:pt x="1636" y="232"/>
                </a:cubicBezTo>
                <a:cubicBezTo>
                  <a:pt x="1639" y="232"/>
                  <a:pt x="1643" y="233"/>
                  <a:pt x="1646" y="233"/>
                </a:cubicBezTo>
                <a:cubicBezTo>
                  <a:pt x="1647" y="233"/>
                  <a:pt x="1650" y="234"/>
                  <a:pt x="1649" y="232"/>
                </a:cubicBezTo>
                <a:cubicBezTo>
                  <a:pt x="1649" y="231"/>
                  <a:pt x="1647" y="231"/>
                  <a:pt x="1646" y="230"/>
                </a:cubicBezTo>
                <a:cubicBezTo>
                  <a:pt x="1646" y="230"/>
                  <a:pt x="1646" y="230"/>
                  <a:pt x="1645" y="229"/>
                </a:cubicBezTo>
                <a:cubicBezTo>
                  <a:pt x="1645" y="229"/>
                  <a:pt x="1644" y="228"/>
                  <a:pt x="1644" y="228"/>
                </a:cubicBezTo>
                <a:cubicBezTo>
                  <a:pt x="1646" y="228"/>
                  <a:pt x="1646" y="229"/>
                  <a:pt x="1647" y="229"/>
                </a:cubicBezTo>
                <a:cubicBezTo>
                  <a:pt x="1649" y="230"/>
                  <a:pt x="1652" y="231"/>
                  <a:pt x="1653" y="231"/>
                </a:cubicBezTo>
                <a:cubicBezTo>
                  <a:pt x="1654" y="231"/>
                  <a:pt x="1654" y="230"/>
                  <a:pt x="1654" y="230"/>
                </a:cubicBezTo>
                <a:cubicBezTo>
                  <a:pt x="1655" y="229"/>
                  <a:pt x="1655" y="228"/>
                  <a:pt x="1656" y="228"/>
                </a:cubicBezTo>
                <a:cubicBezTo>
                  <a:pt x="1658" y="227"/>
                  <a:pt x="1663" y="225"/>
                  <a:pt x="1663" y="223"/>
                </a:cubicBezTo>
                <a:cubicBezTo>
                  <a:pt x="1663" y="222"/>
                  <a:pt x="1661" y="222"/>
                  <a:pt x="1660" y="222"/>
                </a:cubicBezTo>
                <a:close/>
                <a:moveTo>
                  <a:pt x="54" y="314"/>
                </a:moveTo>
                <a:cubicBezTo>
                  <a:pt x="53" y="313"/>
                  <a:pt x="52" y="312"/>
                  <a:pt x="52" y="314"/>
                </a:cubicBezTo>
                <a:cubicBezTo>
                  <a:pt x="53" y="315"/>
                  <a:pt x="53" y="315"/>
                  <a:pt x="52" y="316"/>
                </a:cubicBezTo>
                <a:cubicBezTo>
                  <a:pt x="52" y="316"/>
                  <a:pt x="52" y="316"/>
                  <a:pt x="52" y="317"/>
                </a:cubicBezTo>
                <a:cubicBezTo>
                  <a:pt x="52" y="317"/>
                  <a:pt x="52" y="317"/>
                  <a:pt x="52" y="317"/>
                </a:cubicBezTo>
                <a:cubicBezTo>
                  <a:pt x="52" y="318"/>
                  <a:pt x="51" y="318"/>
                  <a:pt x="51" y="318"/>
                </a:cubicBezTo>
                <a:cubicBezTo>
                  <a:pt x="49" y="318"/>
                  <a:pt x="47" y="318"/>
                  <a:pt x="45" y="318"/>
                </a:cubicBezTo>
                <a:cubicBezTo>
                  <a:pt x="45" y="318"/>
                  <a:pt x="44" y="317"/>
                  <a:pt x="43" y="317"/>
                </a:cubicBezTo>
                <a:cubicBezTo>
                  <a:pt x="42" y="318"/>
                  <a:pt x="42" y="320"/>
                  <a:pt x="41" y="321"/>
                </a:cubicBezTo>
                <a:cubicBezTo>
                  <a:pt x="41" y="321"/>
                  <a:pt x="41" y="321"/>
                  <a:pt x="41" y="321"/>
                </a:cubicBezTo>
                <a:cubicBezTo>
                  <a:pt x="41" y="321"/>
                  <a:pt x="41" y="322"/>
                  <a:pt x="40" y="323"/>
                </a:cubicBezTo>
                <a:cubicBezTo>
                  <a:pt x="39" y="323"/>
                  <a:pt x="37" y="322"/>
                  <a:pt x="36" y="322"/>
                </a:cubicBezTo>
                <a:cubicBezTo>
                  <a:pt x="36" y="322"/>
                  <a:pt x="37" y="321"/>
                  <a:pt x="37" y="321"/>
                </a:cubicBezTo>
                <a:cubicBezTo>
                  <a:pt x="36" y="318"/>
                  <a:pt x="34" y="316"/>
                  <a:pt x="33" y="313"/>
                </a:cubicBezTo>
                <a:cubicBezTo>
                  <a:pt x="32" y="311"/>
                  <a:pt x="31" y="309"/>
                  <a:pt x="30" y="307"/>
                </a:cubicBezTo>
                <a:cubicBezTo>
                  <a:pt x="29" y="306"/>
                  <a:pt x="24" y="304"/>
                  <a:pt x="24" y="303"/>
                </a:cubicBezTo>
                <a:cubicBezTo>
                  <a:pt x="24" y="301"/>
                  <a:pt x="25" y="302"/>
                  <a:pt x="26" y="302"/>
                </a:cubicBezTo>
                <a:cubicBezTo>
                  <a:pt x="26" y="302"/>
                  <a:pt x="28" y="300"/>
                  <a:pt x="28" y="299"/>
                </a:cubicBezTo>
                <a:cubicBezTo>
                  <a:pt x="28" y="299"/>
                  <a:pt x="28" y="298"/>
                  <a:pt x="28" y="298"/>
                </a:cubicBezTo>
                <a:cubicBezTo>
                  <a:pt x="28" y="297"/>
                  <a:pt x="30" y="298"/>
                  <a:pt x="31" y="297"/>
                </a:cubicBezTo>
                <a:cubicBezTo>
                  <a:pt x="32" y="297"/>
                  <a:pt x="33" y="295"/>
                  <a:pt x="34" y="294"/>
                </a:cubicBezTo>
                <a:cubicBezTo>
                  <a:pt x="34" y="293"/>
                  <a:pt x="35" y="294"/>
                  <a:pt x="35" y="295"/>
                </a:cubicBezTo>
                <a:cubicBezTo>
                  <a:pt x="39" y="297"/>
                  <a:pt x="42" y="299"/>
                  <a:pt x="46" y="301"/>
                </a:cubicBezTo>
                <a:cubicBezTo>
                  <a:pt x="48" y="303"/>
                  <a:pt x="49" y="304"/>
                  <a:pt x="51" y="306"/>
                </a:cubicBezTo>
                <a:cubicBezTo>
                  <a:pt x="52" y="307"/>
                  <a:pt x="53" y="309"/>
                  <a:pt x="55" y="310"/>
                </a:cubicBezTo>
                <a:cubicBezTo>
                  <a:pt x="55" y="311"/>
                  <a:pt x="54" y="313"/>
                  <a:pt x="54" y="314"/>
                </a:cubicBezTo>
                <a:close/>
                <a:moveTo>
                  <a:pt x="85" y="307"/>
                </a:moveTo>
                <a:cubicBezTo>
                  <a:pt x="86" y="307"/>
                  <a:pt x="86" y="307"/>
                  <a:pt x="85" y="307"/>
                </a:cubicBezTo>
                <a:cubicBezTo>
                  <a:pt x="85" y="308"/>
                  <a:pt x="82" y="307"/>
                  <a:pt x="82" y="307"/>
                </a:cubicBezTo>
                <a:cubicBezTo>
                  <a:pt x="82" y="306"/>
                  <a:pt x="82" y="306"/>
                  <a:pt x="81" y="306"/>
                </a:cubicBezTo>
                <a:cubicBezTo>
                  <a:pt x="82" y="306"/>
                  <a:pt x="82" y="306"/>
                  <a:pt x="82" y="305"/>
                </a:cubicBezTo>
                <a:cubicBezTo>
                  <a:pt x="83" y="304"/>
                  <a:pt x="83" y="303"/>
                  <a:pt x="82" y="303"/>
                </a:cubicBezTo>
                <a:cubicBezTo>
                  <a:pt x="81" y="301"/>
                  <a:pt x="79" y="300"/>
                  <a:pt x="78" y="299"/>
                </a:cubicBezTo>
                <a:cubicBezTo>
                  <a:pt x="76" y="298"/>
                  <a:pt x="75" y="298"/>
                  <a:pt x="74" y="297"/>
                </a:cubicBezTo>
                <a:cubicBezTo>
                  <a:pt x="72" y="296"/>
                  <a:pt x="71" y="294"/>
                  <a:pt x="70" y="293"/>
                </a:cubicBezTo>
                <a:cubicBezTo>
                  <a:pt x="70" y="293"/>
                  <a:pt x="71" y="293"/>
                  <a:pt x="72" y="294"/>
                </a:cubicBezTo>
                <a:cubicBezTo>
                  <a:pt x="72" y="292"/>
                  <a:pt x="72" y="291"/>
                  <a:pt x="71" y="290"/>
                </a:cubicBezTo>
                <a:cubicBezTo>
                  <a:pt x="71" y="289"/>
                  <a:pt x="70" y="289"/>
                  <a:pt x="70" y="289"/>
                </a:cubicBezTo>
                <a:cubicBezTo>
                  <a:pt x="69" y="288"/>
                  <a:pt x="69" y="287"/>
                  <a:pt x="69" y="286"/>
                </a:cubicBezTo>
                <a:cubicBezTo>
                  <a:pt x="69" y="286"/>
                  <a:pt x="67" y="284"/>
                  <a:pt x="67" y="284"/>
                </a:cubicBezTo>
                <a:cubicBezTo>
                  <a:pt x="66" y="283"/>
                  <a:pt x="66" y="284"/>
                  <a:pt x="66" y="284"/>
                </a:cubicBezTo>
                <a:cubicBezTo>
                  <a:pt x="66" y="284"/>
                  <a:pt x="65" y="283"/>
                  <a:pt x="65" y="283"/>
                </a:cubicBezTo>
                <a:cubicBezTo>
                  <a:pt x="65" y="282"/>
                  <a:pt x="65" y="282"/>
                  <a:pt x="66" y="282"/>
                </a:cubicBezTo>
                <a:cubicBezTo>
                  <a:pt x="67" y="283"/>
                  <a:pt x="68" y="284"/>
                  <a:pt x="69" y="285"/>
                </a:cubicBezTo>
                <a:cubicBezTo>
                  <a:pt x="69" y="285"/>
                  <a:pt x="70" y="286"/>
                  <a:pt x="70" y="286"/>
                </a:cubicBezTo>
                <a:cubicBezTo>
                  <a:pt x="70" y="286"/>
                  <a:pt x="69" y="286"/>
                  <a:pt x="69" y="287"/>
                </a:cubicBezTo>
                <a:cubicBezTo>
                  <a:pt x="70" y="288"/>
                  <a:pt x="72" y="289"/>
                  <a:pt x="73" y="290"/>
                </a:cubicBezTo>
                <a:cubicBezTo>
                  <a:pt x="73" y="289"/>
                  <a:pt x="73" y="288"/>
                  <a:pt x="72" y="287"/>
                </a:cubicBezTo>
                <a:cubicBezTo>
                  <a:pt x="73" y="287"/>
                  <a:pt x="73" y="287"/>
                  <a:pt x="73" y="288"/>
                </a:cubicBezTo>
                <a:cubicBezTo>
                  <a:pt x="73" y="286"/>
                  <a:pt x="72" y="284"/>
                  <a:pt x="71" y="283"/>
                </a:cubicBezTo>
                <a:cubicBezTo>
                  <a:pt x="72" y="284"/>
                  <a:pt x="73" y="285"/>
                  <a:pt x="74" y="286"/>
                </a:cubicBezTo>
                <a:cubicBezTo>
                  <a:pt x="74" y="284"/>
                  <a:pt x="71" y="283"/>
                  <a:pt x="71" y="281"/>
                </a:cubicBezTo>
                <a:cubicBezTo>
                  <a:pt x="73" y="282"/>
                  <a:pt x="74" y="284"/>
                  <a:pt x="75" y="285"/>
                </a:cubicBezTo>
                <a:cubicBezTo>
                  <a:pt x="75" y="286"/>
                  <a:pt x="75" y="287"/>
                  <a:pt x="76" y="288"/>
                </a:cubicBezTo>
                <a:cubicBezTo>
                  <a:pt x="76" y="288"/>
                  <a:pt x="77" y="290"/>
                  <a:pt x="78" y="290"/>
                </a:cubicBezTo>
                <a:cubicBezTo>
                  <a:pt x="79" y="289"/>
                  <a:pt x="77" y="287"/>
                  <a:pt x="77" y="286"/>
                </a:cubicBezTo>
                <a:cubicBezTo>
                  <a:pt x="77" y="287"/>
                  <a:pt x="78" y="287"/>
                  <a:pt x="79" y="287"/>
                </a:cubicBezTo>
                <a:cubicBezTo>
                  <a:pt x="79" y="287"/>
                  <a:pt x="80" y="288"/>
                  <a:pt x="80" y="288"/>
                </a:cubicBezTo>
                <a:cubicBezTo>
                  <a:pt x="81" y="287"/>
                  <a:pt x="82" y="284"/>
                  <a:pt x="81" y="283"/>
                </a:cubicBezTo>
                <a:cubicBezTo>
                  <a:pt x="81" y="282"/>
                  <a:pt x="80" y="282"/>
                  <a:pt x="80" y="282"/>
                </a:cubicBezTo>
                <a:cubicBezTo>
                  <a:pt x="80" y="282"/>
                  <a:pt x="80" y="281"/>
                  <a:pt x="80" y="281"/>
                </a:cubicBezTo>
                <a:cubicBezTo>
                  <a:pt x="79" y="281"/>
                  <a:pt x="79" y="282"/>
                  <a:pt x="79" y="282"/>
                </a:cubicBezTo>
                <a:cubicBezTo>
                  <a:pt x="77" y="282"/>
                  <a:pt x="77" y="280"/>
                  <a:pt x="76" y="280"/>
                </a:cubicBezTo>
                <a:cubicBezTo>
                  <a:pt x="75" y="280"/>
                  <a:pt x="75" y="281"/>
                  <a:pt x="76" y="282"/>
                </a:cubicBezTo>
                <a:cubicBezTo>
                  <a:pt x="76" y="282"/>
                  <a:pt x="76" y="282"/>
                  <a:pt x="76" y="282"/>
                </a:cubicBezTo>
                <a:cubicBezTo>
                  <a:pt x="76" y="282"/>
                  <a:pt x="76" y="283"/>
                  <a:pt x="77" y="283"/>
                </a:cubicBezTo>
                <a:cubicBezTo>
                  <a:pt x="76" y="283"/>
                  <a:pt x="76" y="282"/>
                  <a:pt x="76" y="282"/>
                </a:cubicBezTo>
                <a:cubicBezTo>
                  <a:pt x="75" y="281"/>
                  <a:pt x="75" y="281"/>
                  <a:pt x="74" y="281"/>
                </a:cubicBezTo>
                <a:cubicBezTo>
                  <a:pt x="74" y="280"/>
                  <a:pt x="73" y="280"/>
                  <a:pt x="73" y="279"/>
                </a:cubicBezTo>
                <a:cubicBezTo>
                  <a:pt x="72" y="278"/>
                  <a:pt x="72" y="278"/>
                  <a:pt x="72" y="277"/>
                </a:cubicBezTo>
                <a:cubicBezTo>
                  <a:pt x="72" y="277"/>
                  <a:pt x="70" y="276"/>
                  <a:pt x="71" y="276"/>
                </a:cubicBezTo>
                <a:cubicBezTo>
                  <a:pt x="71" y="275"/>
                  <a:pt x="73" y="276"/>
                  <a:pt x="73" y="277"/>
                </a:cubicBezTo>
                <a:cubicBezTo>
                  <a:pt x="77" y="278"/>
                  <a:pt x="80" y="280"/>
                  <a:pt x="84" y="282"/>
                </a:cubicBezTo>
                <a:cubicBezTo>
                  <a:pt x="85" y="282"/>
                  <a:pt x="85" y="286"/>
                  <a:pt x="84" y="287"/>
                </a:cubicBezTo>
                <a:cubicBezTo>
                  <a:pt x="84" y="288"/>
                  <a:pt x="83" y="289"/>
                  <a:pt x="83" y="290"/>
                </a:cubicBezTo>
                <a:cubicBezTo>
                  <a:pt x="86" y="293"/>
                  <a:pt x="88" y="296"/>
                  <a:pt x="90" y="299"/>
                </a:cubicBezTo>
                <a:cubicBezTo>
                  <a:pt x="92" y="300"/>
                  <a:pt x="90" y="300"/>
                  <a:pt x="90" y="302"/>
                </a:cubicBezTo>
                <a:cubicBezTo>
                  <a:pt x="90" y="302"/>
                  <a:pt x="91" y="303"/>
                  <a:pt x="91" y="303"/>
                </a:cubicBezTo>
                <a:cubicBezTo>
                  <a:pt x="89" y="305"/>
                  <a:pt x="87" y="306"/>
                  <a:pt x="85" y="307"/>
                </a:cubicBezTo>
                <a:close/>
                <a:moveTo>
                  <a:pt x="841" y="388"/>
                </a:moveTo>
                <a:cubicBezTo>
                  <a:pt x="841" y="388"/>
                  <a:pt x="841" y="388"/>
                  <a:pt x="841" y="388"/>
                </a:cubicBezTo>
                <a:cubicBezTo>
                  <a:pt x="841" y="388"/>
                  <a:pt x="841" y="389"/>
                  <a:pt x="841" y="389"/>
                </a:cubicBezTo>
                <a:cubicBezTo>
                  <a:pt x="840" y="390"/>
                  <a:pt x="841" y="390"/>
                  <a:pt x="840" y="391"/>
                </a:cubicBezTo>
                <a:cubicBezTo>
                  <a:pt x="840" y="392"/>
                  <a:pt x="840" y="392"/>
                  <a:pt x="840" y="392"/>
                </a:cubicBezTo>
                <a:cubicBezTo>
                  <a:pt x="840" y="393"/>
                  <a:pt x="840" y="393"/>
                  <a:pt x="840" y="394"/>
                </a:cubicBezTo>
                <a:cubicBezTo>
                  <a:pt x="840" y="394"/>
                  <a:pt x="840" y="395"/>
                  <a:pt x="840" y="395"/>
                </a:cubicBezTo>
                <a:cubicBezTo>
                  <a:pt x="839" y="396"/>
                  <a:pt x="839" y="397"/>
                  <a:pt x="839" y="397"/>
                </a:cubicBezTo>
                <a:cubicBezTo>
                  <a:pt x="839" y="398"/>
                  <a:pt x="839" y="398"/>
                  <a:pt x="838" y="399"/>
                </a:cubicBezTo>
                <a:cubicBezTo>
                  <a:pt x="838" y="400"/>
                  <a:pt x="838" y="400"/>
                  <a:pt x="838" y="401"/>
                </a:cubicBezTo>
                <a:cubicBezTo>
                  <a:pt x="837" y="402"/>
                  <a:pt x="837" y="403"/>
                  <a:pt x="837" y="404"/>
                </a:cubicBezTo>
                <a:cubicBezTo>
                  <a:pt x="837" y="406"/>
                  <a:pt x="838" y="407"/>
                  <a:pt x="837" y="409"/>
                </a:cubicBezTo>
                <a:cubicBezTo>
                  <a:pt x="836" y="410"/>
                  <a:pt x="835" y="414"/>
                  <a:pt x="833" y="414"/>
                </a:cubicBezTo>
                <a:cubicBezTo>
                  <a:pt x="831" y="414"/>
                  <a:pt x="833" y="413"/>
                  <a:pt x="833" y="412"/>
                </a:cubicBezTo>
                <a:cubicBezTo>
                  <a:pt x="831" y="410"/>
                  <a:pt x="828" y="414"/>
                  <a:pt x="828" y="416"/>
                </a:cubicBezTo>
                <a:cubicBezTo>
                  <a:pt x="829" y="415"/>
                  <a:pt x="830" y="414"/>
                  <a:pt x="831" y="414"/>
                </a:cubicBezTo>
                <a:cubicBezTo>
                  <a:pt x="832" y="415"/>
                  <a:pt x="832" y="417"/>
                  <a:pt x="832" y="418"/>
                </a:cubicBezTo>
                <a:cubicBezTo>
                  <a:pt x="831" y="418"/>
                  <a:pt x="830" y="419"/>
                  <a:pt x="830" y="419"/>
                </a:cubicBezTo>
                <a:cubicBezTo>
                  <a:pt x="829" y="419"/>
                  <a:pt x="827" y="419"/>
                  <a:pt x="827" y="420"/>
                </a:cubicBezTo>
                <a:cubicBezTo>
                  <a:pt x="825" y="421"/>
                  <a:pt x="824" y="423"/>
                  <a:pt x="823" y="424"/>
                </a:cubicBezTo>
                <a:cubicBezTo>
                  <a:pt x="822" y="426"/>
                  <a:pt x="820" y="427"/>
                  <a:pt x="818" y="427"/>
                </a:cubicBezTo>
                <a:cubicBezTo>
                  <a:pt x="815" y="427"/>
                  <a:pt x="813" y="430"/>
                  <a:pt x="811" y="431"/>
                </a:cubicBezTo>
                <a:cubicBezTo>
                  <a:pt x="809" y="432"/>
                  <a:pt x="808" y="431"/>
                  <a:pt x="806" y="432"/>
                </a:cubicBezTo>
                <a:cubicBezTo>
                  <a:pt x="805" y="432"/>
                  <a:pt x="804" y="432"/>
                  <a:pt x="804" y="433"/>
                </a:cubicBezTo>
                <a:cubicBezTo>
                  <a:pt x="804" y="434"/>
                  <a:pt x="805" y="434"/>
                  <a:pt x="804" y="435"/>
                </a:cubicBezTo>
                <a:cubicBezTo>
                  <a:pt x="804" y="436"/>
                  <a:pt x="803" y="437"/>
                  <a:pt x="803" y="437"/>
                </a:cubicBezTo>
                <a:cubicBezTo>
                  <a:pt x="801" y="439"/>
                  <a:pt x="801" y="440"/>
                  <a:pt x="799" y="440"/>
                </a:cubicBezTo>
                <a:cubicBezTo>
                  <a:pt x="794" y="442"/>
                  <a:pt x="789" y="444"/>
                  <a:pt x="784" y="443"/>
                </a:cubicBezTo>
                <a:cubicBezTo>
                  <a:pt x="783" y="443"/>
                  <a:pt x="782" y="442"/>
                  <a:pt x="780" y="442"/>
                </a:cubicBezTo>
                <a:cubicBezTo>
                  <a:pt x="780" y="441"/>
                  <a:pt x="779" y="441"/>
                  <a:pt x="779" y="441"/>
                </a:cubicBezTo>
                <a:cubicBezTo>
                  <a:pt x="778" y="440"/>
                  <a:pt x="781" y="440"/>
                  <a:pt x="782" y="440"/>
                </a:cubicBezTo>
                <a:cubicBezTo>
                  <a:pt x="788" y="439"/>
                  <a:pt x="794" y="438"/>
                  <a:pt x="798" y="434"/>
                </a:cubicBezTo>
                <a:cubicBezTo>
                  <a:pt x="800" y="431"/>
                  <a:pt x="802" y="429"/>
                  <a:pt x="805" y="428"/>
                </a:cubicBezTo>
                <a:cubicBezTo>
                  <a:pt x="806" y="428"/>
                  <a:pt x="806" y="427"/>
                  <a:pt x="807" y="427"/>
                </a:cubicBezTo>
                <a:cubicBezTo>
                  <a:pt x="808" y="426"/>
                  <a:pt x="811" y="424"/>
                  <a:pt x="809" y="422"/>
                </a:cubicBezTo>
                <a:cubicBezTo>
                  <a:pt x="814" y="418"/>
                  <a:pt x="821" y="415"/>
                  <a:pt x="825" y="408"/>
                </a:cubicBezTo>
                <a:cubicBezTo>
                  <a:pt x="828" y="403"/>
                  <a:pt x="831" y="397"/>
                  <a:pt x="833" y="392"/>
                </a:cubicBezTo>
                <a:cubicBezTo>
                  <a:pt x="834" y="389"/>
                  <a:pt x="834" y="387"/>
                  <a:pt x="836" y="386"/>
                </a:cubicBezTo>
                <a:cubicBezTo>
                  <a:pt x="837" y="384"/>
                  <a:pt x="837" y="383"/>
                  <a:pt x="839" y="384"/>
                </a:cubicBezTo>
                <a:cubicBezTo>
                  <a:pt x="840" y="384"/>
                  <a:pt x="840" y="384"/>
                  <a:pt x="841" y="384"/>
                </a:cubicBezTo>
                <a:cubicBezTo>
                  <a:pt x="840" y="384"/>
                  <a:pt x="839" y="384"/>
                  <a:pt x="839" y="383"/>
                </a:cubicBezTo>
                <a:cubicBezTo>
                  <a:pt x="840" y="383"/>
                  <a:pt x="841" y="384"/>
                  <a:pt x="842" y="385"/>
                </a:cubicBezTo>
                <a:cubicBezTo>
                  <a:pt x="841" y="386"/>
                  <a:pt x="841" y="386"/>
                  <a:pt x="841" y="387"/>
                </a:cubicBezTo>
                <a:cubicBezTo>
                  <a:pt x="841" y="387"/>
                  <a:pt x="841" y="388"/>
                  <a:pt x="841" y="388"/>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3" name="Freeform 3203">
            <a:extLst>
              <a:ext uri="{FF2B5EF4-FFF2-40B4-BE49-F238E27FC236}">
                <a16:creationId xmlns:a16="http://schemas.microsoft.com/office/drawing/2014/main" id="{965CAC7F-0E70-4D81-A957-AF500CAD7BB0}"/>
              </a:ext>
            </a:extLst>
          </p:cNvPr>
          <p:cNvSpPr>
            <a:spLocks/>
          </p:cNvSpPr>
          <p:nvPr/>
        </p:nvSpPr>
        <p:spPr bwMode="auto">
          <a:xfrm>
            <a:off x="4668097" y="2442584"/>
            <a:ext cx="991" cy="1781"/>
          </a:xfrm>
          <a:custGeom>
            <a:avLst/>
            <a:gdLst>
              <a:gd name="T0" fmla="*/ 0 w 1"/>
              <a:gd name="T1" fmla="*/ 0 h 1"/>
              <a:gd name="T2" fmla="*/ 0 w 1"/>
              <a:gd name="T3" fmla="*/ 0 h 1"/>
              <a:gd name="T4" fmla="*/ 0 w 1"/>
              <a:gd name="T5" fmla="*/ 0 h 1"/>
              <a:gd name="T6" fmla="*/ 0 w 1"/>
              <a:gd name="T7" fmla="*/ 0 h 1"/>
              <a:gd name="T8" fmla="*/ 0 w 1"/>
              <a:gd name="T9" fmla="*/ 1 h 1"/>
              <a:gd name="T10" fmla="*/ 0 w 1"/>
              <a:gd name="T11" fmla="*/ 1 h 1"/>
              <a:gd name="T12" fmla="*/ 1 w 1"/>
              <a:gd name="T13" fmla="*/ 1 h 1"/>
              <a:gd name="T14" fmla="*/ 0 w 1"/>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0" y="0"/>
                </a:move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1" y="1"/>
                  <a:pt x="1" y="1"/>
                  <a:pt x="1" y="1"/>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4" name="Freeform 3204">
            <a:extLst>
              <a:ext uri="{FF2B5EF4-FFF2-40B4-BE49-F238E27FC236}">
                <a16:creationId xmlns:a16="http://schemas.microsoft.com/office/drawing/2014/main" id="{0FB22E56-9FBF-4039-AC4F-BE2D675F3C29}"/>
              </a:ext>
            </a:extLst>
          </p:cNvPr>
          <p:cNvSpPr>
            <a:spLocks/>
          </p:cNvSpPr>
          <p:nvPr/>
        </p:nvSpPr>
        <p:spPr bwMode="auto">
          <a:xfrm>
            <a:off x="2480692" y="3469504"/>
            <a:ext cx="42123" cy="35022"/>
          </a:xfrm>
          <a:custGeom>
            <a:avLst/>
            <a:gdLst>
              <a:gd name="T0" fmla="*/ 33 w 36"/>
              <a:gd name="T1" fmla="*/ 12 h 25"/>
              <a:gd name="T2" fmla="*/ 25 w 36"/>
              <a:gd name="T3" fmla="*/ 9 h 25"/>
              <a:gd name="T4" fmla="*/ 28 w 36"/>
              <a:gd name="T5" fmla="*/ 7 h 25"/>
              <a:gd name="T6" fmla="*/ 23 w 36"/>
              <a:gd name="T7" fmla="*/ 7 h 25"/>
              <a:gd name="T8" fmla="*/ 20 w 36"/>
              <a:gd name="T9" fmla="*/ 4 h 25"/>
              <a:gd name="T10" fmla="*/ 11 w 36"/>
              <a:gd name="T11" fmla="*/ 1 h 25"/>
              <a:gd name="T12" fmla="*/ 2 w 36"/>
              <a:gd name="T13" fmla="*/ 1 h 25"/>
              <a:gd name="T14" fmla="*/ 1 w 36"/>
              <a:gd name="T15" fmla="*/ 2 h 25"/>
              <a:gd name="T16" fmla="*/ 2 w 36"/>
              <a:gd name="T17" fmla="*/ 2 h 25"/>
              <a:gd name="T18" fmla="*/ 2 w 36"/>
              <a:gd name="T19" fmla="*/ 4 h 25"/>
              <a:gd name="T20" fmla="*/ 2 w 36"/>
              <a:gd name="T21" fmla="*/ 6 h 25"/>
              <a:gd name="T22" fmla="*/ 3 w 36"/>
              <a:gd name="T23" fmla="*/ 6 h 25"/>
              <a:gd name="T24" fmla="*/ 3 w 36"/>
              <a:gd name="T25" fmla="*/ 7 h 25"/>
              <a:gd name="T26" fmla="*/ 3 w 36"/>
              <a:gd name="T27" fmla="*/ 8 h 25"/>
              <a:gd name="T28" fmla="*/ 2 w 36"/>
              <a:gd name="T29" fmla="*/ 13 h 25"/>
              <a:gd name="T30" fmla="*/ 2 w 36"/>
              <a:gd name="T31" fmla="*/ 14 h 25"/>
              <a:gd name="T32" fmla="*/ 1 w 36"/>
              <a:gd name="T33" fmla="*/ 14 h 25"/>
              <a:gd name="T34" fmla="*/ 1 w 36"/>
              <a:gd name="T35" fmla="*/ 15 h 25"/>
              <a:gd name="T36" fmla="*/ 1 w 36"/>
              <a:gd name="T37" fmla="*/ 16 h 25"/>
              <a:gd name="T38" fmla="*/ 2 w 36"/>
              <a:gd name="T39" fmla="*/ 18 h 25"/>
              <a:gd name="T40" fmla="*/ 2 w 36"/>
              <a:gd name="T41" fmla="*/ 20 h 25"/>
              <a:gd name="T42" fmla="*/ 2 w 36"/>
              <a:gd name="T43" fmla="*/ 21 h 25"/>
              <a:gd name="T44" fmla="*/ 1 w 36"/>
              <a:gd name="T45" fmla="*/ 21 h 25"/>
              <a:gd name="T46" fmla="*/ 2 w 36"/>
              <a:gd name="T47" fmla="*/ 23 h 25"/>
              <a:gd name="T48" fmla="*/ 5 w 36"/>
              <a:gd name="T49" fmla="*/ 23 h 25"/>
              <a:gd name="T50" fmla="*/ 8 w 36"/>
              <a:gd name="T51" fmla="*/ 17 h 25"/>
              <a:gd name="T52" fmla="*/ 10 w 36"/>
              <a:gd name="T53" fmla="*/ 17 h 25"/>
              <a:gd name="T54" fmla="*/ 13 w 36"/>
              <a:gd name="T55" fmla="*/ 16 h 25"/>
              <a:gd name="T56" fmla="*/ 15 w 36"/>
              <a:gd name="T57" fmla="*/ 18 h 25"/>
              <a:gd name="T58" fmla="*/ 26 w 36"/>
              <a:gd name="T59" fmla="*/ 16 h 25"/>
              <a:gd name="T60" fmla="*/ 33 w 36"/>
              <a:gd name="T61" fmla="*/ 18 h 25"/>
              <a:gd name="T62" fmla="*/ 35 w 36"/>
              <a:gd name="T63"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 h="25">
                <a:moveTo>
                  <a:pt x="35" y="13"/>
                </a:moveTo>
                <a:cubicBezTo>
                  <a:pt x="34" y="13"/>
                  <a:pt x="34" y="12"/>
                  <a:pt x="33" y="12"/>
                </a:cubicBezTo>
                <a:cubicBezTo>
                  <a:pt x="32" y="11"/>
                  <a:pt x="31" y="10"/>
                  <a:pt x="29" y="10"/>
                </a:cubicBezTo>
                <a:cubicBezTo>
                  <a:pt x="28" y="10"/>
                  <a:pt x="26" y="10"/>
                  <a:pt x="25" y="9"/>
                </a:cubicBezTo>
                <a:cubicBezTo>
                  <a:pt x="23" y="9"/>
                  <a:pt x="23" y="9"/>
                  <a:pt x="23" y="8"/>
                </a:cubicBezTo>
                <a:cubicBezTo>
                  <a:pt x="24" y="8"/>
                  <a:pt x="26" y="7"/>
                  <a:pt x="28" y="7"/>
                </a:cubicBezTo>
                <a:cubicBezTo>
                  <a:pt x="27" y="5"/>
                  <a:pt x="26" y="7"/>
                  <a:pt x="26" y="7"/>
                </a:cubicBezTo>
                <a:cubicBezTo>
                  <a:pt x="25" y="7"/>
                  <a:pt x="24" y="7"/>
                  <a:pt x="23" y="7"/>
                </a:cubicBezTo>
                <a:cubicBezTo>
                  <a:pt x="23" y="7"/>
                  <a:pt x="22" y="7"/>
                  <a:pt x="22" y="7"/>
                </a:cubicBezTo>
                <a:cubicBezTo>
                  <a:pt x="21" y="7"/>
                  <a:pt x="21" y="4"/>
                  <a:pt x="20" y="4"/>
                </a:cubicBezTo>
                <a:cubicBezTo>
                  <a:pt x="19" y="3"/>
                  <a:pt x="19" y="3"/>
                  <a:pt x="18" y="3"/>
                </a:cubicBezTo>
                <a:cubicBezTo>
                  <a:pt x="17" y="4"/>
                  <a:pt x="12" y="1"/>
                  <a:pt x="11" y="1"/>
                </a:cubicBezTo>
                <a:cubicBezTo>
                  <a:pt x="8" y="0"/>
                  <a:pt x="8" y="0"/>
                  <a:pt x="6" y="1"/>
                </a:cubicBezTo>
                <a:cubicBezTo>
                  <a:pt x="5" y="1"/>
                  <a:pt x="3" y="1"/>
                  <a:pt x="2" y="1"/>
                </a:cubicBezTo>
                <a:cubicBezTo>
                  <a:pt x="2" y="1"/>
                  <a:pt x="2" y="1"/>
                  <a:pt x="1" y="1"/>
                </a:cubicBezTo>
                <a:cubicBezTo>
                  <a:pt x="1" y="1"/>
                  <a:pt x="1" y="2"/>
                  <a:pt x="1" y="2"/>
                </a:cubicBezTo>
                <a:cubicBezTo>
                  <a:pt x="2" y="2"/>
                  <a:pt x="2" y="2"/>
                  <a:pt x="2" y="2"/>
                </a:cubicBezTo>
                <a:cubicBezTo>
                  <a:pt x="2" y="2"/>
                  <a:pt x="2" y="2"/>
                  <a:pt x="2" y="2"/>
                </a:cubicBezTo>
                <a:cubicBezTo>
                  <a:pt x="2" y="3"/>
                  <a:pt x="2" y="3"/>
                  <a:pt x="2" y="3"/>
                </a:cubicBezTo>
                <a:cubicBezTo>
                  <a:pt x="2" y="4"/>
                  <a:pt x="2" y="4"/>
                  <a:pt x="2" y="4"/>
                </a:cubicBezTo>
                <a:cubicBezTo>
                  <a:pt x="3" y="4"/>
                  <a:pt x="3" y="4"/>
                  <a:pt x="3" y="5"/>
                </a:cubicBezTo>
                <a:cubicBezTo>
                  <a:pt x="3" y="5"/>
                  <a:pt x="3" y="6"/>
                  <a:pt x="2" y="6"/>
                </a:cubicBezTo>
                <a:cubicBezTo>
                  <a:pt x="2" y="6"/>
                  <a:pt x="2" y="6"/>
                  <a:pt x="2" y="6"/>
                </a:cubicBezTo>
                <a:cubicBezTo>
                  <a:pt x="3" y="6"/>
                  <a:pt x="3" y="6"/>
                  <a:pt x="3" y="6"/>
                </a:cubicBezTo>
                <a:cubicBezTo>
                  <a:pt x="3" y="6"/>
                  <a:pt x="3" y="6"/>
                  <a:pt x="3" y="6"/>
                </a:cubicBezTo>
                <a:cubicBezTo>
                  <a:pt x="3" y="7"/>
                  <a:pt x="3" y="7"/>
                  <a:pt x="3" y="7"/>
                </a:cubicBezTo>
                <a:cubicBezTo>
                  <a:pt x="4" y="7"/>
                  <a:pt x="4" y="7"/>
                  <a:pt x="4" y="7"/>
                </a:cubicBezTo>
                <a:cubicBezTo>
                  <a:pt x="3" y="8"/>
                  <a:pt x="3" y="8"/>
                  <a:pt x="3" y="8"/>
                </a:cubicBezTo>
                <a:cubicBezTo>
                  <a:pt x="2" y="12"/>
                  <a:pt x="2" y="12"/>
                  <a:pt x="2" y="12"/>
                </a:cubicBezTo>
                <a:cubicBezTo>
                  <a:pt x="2" y="12"/>
                  <a:pt x="2" y="12"/>
                  <a:pt x="2" y="13"/>
                </a:cubicBezTo>
                <a:cubicBezTo>
                  <a:pt x="2" y="13"/>
                  <a:pt x="2" y="13"/>
                  <a:pt x="2" y="13"/>
                </a:cubicBezTo>
                <a:cubicBezTo>
                  <a:pt x="2" y="14"/>
                  <a:pt x="2" y="14"/>
                  <a:pt x="2" y="14"/>
                </a:cubicBezTo>
                <a:cubicBezTo>
                  <a:pt x="2" y="13"/>
                  <a:pt x="2" y="13"/>
                  <a:pt x="2" y="13"/>
                </a:cubicBezTo>
                <a:cubicBezTo>
                  <a:pt x="2" y="14"/>
                  <a:pt x="2" y="14"/>
                  <a:pt x="1" y="14"/>
                </a:cubicBezTo>
                <a:cubicBezTo>
                  <a:pt x="1" y="14"/>
                  <a:pt x="1" y="15"/>
                  <a:pt x="0" y="15"/>
                </a:cubicBezTo>
                <a:cubicBezTo>
                  <a:pt x="0" y="15"/>
                  <a:pt x="1" y="15"/>
                  <a:pt x="1" y="15"/>
                </a:cubicBezTo>
                <a:cubicBezTo>
                  <a:pt x="1" y="16"/>
                  <a:pt x="1" y="16"/>
                  <a:pt x="1" y="16"/>
                </a:cubicBezTo>
                <a:cubicBezTo>
                  <a:pt x="1" y="16"/>
                  <a:pt x="1" y="16"/>
                  <a:pt x="1" y="16"/>
                </a:cubicBezTo>
                <a:cubicBezTo>
                  <a:pt x="2" y="17"/>
                  <a:pt x="2" y="18"/>
                  <a:pt x="2" y="18"/>
                </a:cubicBezTo>
                <a:cubicBezTo>
                  <a:pt x="2" y="18"/>
                  <a:pt x="2" y="18"/>
                  <a:pt x="2" y="18"/>
                </a:cubicBezTo>
                <a:cubicBezTo>
                  <a:pt x="2" y="19"/>
                  <a:pt x="2" y="19"/>
                  <a:pt x="2" y="19"/>
                </a:cubicBezTo>
                <a:cubicBezTo>
                  <a:pt x="2" y="19"/>
                  <a:pt x="2" y="20"/>
                  <a:pt x="2" y="20"/>
                </a:cubicBezTo>
                <a:cubicBezTo>
                  <a:pt x="2" y="20"/>
                  <a:pt x="2" y="20"/>
                  <a:pt x="2" y="20"/>
                </a:cubicBezTo>
                <a:cubicBezTo>
                  <a:pt x="2" y="20"/>
                  <a:pt x="2" y="21"/>
                  <a:pt x="2" y="21"/>
                </a:cubicBezTo>
                <a:cubicBezTo>
                  <a:pt x="2" y="21"/>
                  <a:pt x="2" y="21"/>
                  <a:pt x="2" y="21"/>
                </a:cubicBezTo>
                <a:cubicBezTo>
                  <a:pt x="1" y="21"/>
                  <a:pt x="1" y="21"/>
                  <a:pt x="1" y="21"/>
                </a:cubicBezTo>
                <a:cubicBezTo>
                  <a:pt x="1" y="22"/>
                  <a:pt x="2" y="23"/>
                  <a:pt x="2" y="23"/>
                </a:cubicBezTo>
                <a:cubicBezTo>
                  <a:pt x="2" y="23"/>
                  <a:pt x="2" y="23"/>
                  <a:pt x="2" y="23"/>
                </a:cubicBezTo>
                <a:cubicBezTo>
                  <a:pt x="3" y="24"/>
                  <a:pt x="4" y="25"/>
                  <a:pt x="4" y="25"/>
                </a:cubicBezTo>
                <a:cubicBezTo>
                  <a:pt x="5" y="24"/>
                  <a:pt x="5" y="24"/>
                  <a:pt x="5" y="23"/>
                </a:cubicBezTo>
                <a:cubicBezTo>
                  <a:pt x="6" y="22"/>
                  <a:pt x="6" y="21"/>
                  <a:pt x="7" y="20"/>
                </a:cubicBezTo>
                <a:cubicBezTo>
                  <a:pt x="7" y="20"/>
                  <a:pt x="7" y="18"/>
                  <a:pt x="8" y="17"/>
                </a:cubicBezTo>
                <a:cubicBezTo>
                  <a:pt x="8" y="17"/>
                  <a:pt x="8" y="17"/>
                  <a:pt x="9" y="17"/>
                </a:cubicBezTo>
                <a:cubicBezTo>
                  <a:pt x="9" y="18"/>
                  <a:pt x="9" y="18"/>
                  <a:pt x="10" y="17"/>
                </a:cubicBezTo>
                <a:cubicBezTo>
                  <a:pt x="11" y="17"/>
                  <a:pt x="12" y="16"/>
                  <a:pt x="12" y="16"/>
                </a:cubicBezTo>
                <a:cubicBezTo>
                  <a:pt x="13" y="16"/>
                  <a:pt x="13" y="16"/>
                  <a:pt x="13" y="16"/>
                </a:cubicBezTo>
                <a:cubicBezTo>
                  <a:pt x="13" y="17"/>
                  <a:pt x="13" y="17"/>
                  <a:pt x="13" y="17"/>
                </a:cubicBezTo>
                <a:cubicBezTo>
                  <a:pt x="13" y="18"/>
                  <a:pt x="14" y="18"/>
                  <a:pt x="15" y="18"/>
                </a:cubicBezTo>
                <a:cubicBezTo>
                  <a:pt x="17" y="18"/>
                  <a:pt x="17" y="18"/>
                  <a:pt x="18" y="17"/>
                </a:cubicBezTo>
                <a:cubicBezTo>
                  <a:pt x="20" y="15"/>
                  <a:pt x="23" y="16"/>
                  <a:pt x="26" y="16"/>
                </a:cubicBezTo>
                <a:cubicBezTo>
                  <a:pt x="27" y="16"/>
                  <a:pt x="29" y="16"/>
                  <a:pt x="30" y="16"/>
                </a:cubicBezTo>
                <a:cubicBezTo>
                  <a:pt x="31" y="17"/>
                  <a:pt x="32" y="18"/>
                  <a:pt x="33" y="18"/>
                </a:cubicBezTo>
                <a:cubicBezTo>
                  <a:pt x="33" y="17"/>
                  <a:pt x="34" y="17"/>
                  <a:pt x="35" y="17"/>
                </a:cubicBezTo>
                <a:cubicBezTo>
                  <a:pt x="35" y="17"/>
                  <a:pt x="35" y="16"/>
                  <a:pt x="35" y="16"/>
                </a:cubicBezTo>
                <a:cubicBezTo>
                  <a:pt x="36" y="14"/>
                  <a:pt x="36" y="14"/>
                  <a:pt x="35" y="13"/>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5" name="Freeform 3205">
            <a:extLst>
              <a:ext uri="{FF2B5EF4-FFF2-40B4-BE49-F238E27FC236}">
                <a16:creationId xmlns:a16="http://schemas.microsoft.com/office/drawing/2014/main" id="{B4B207AF-BA41-43EF-9E30-4439D82D2609}"/>
              </a:ext>
            </a:extLst>
          </p:cNvPr>
          <p:cNvSpPr>
            <a:spLocks/>
          </p:cNvSpPr>
          <p:nvPr/>
        </p:nvSpPr>
        <p:spPr bwMode="auto">
          <a:xfrm>
            <a:off x="2448977" y="3469504"/>
            <a:ext cx="31716" cy="27899"/>
          </a:xfrm>
          <a:custGeom>
            <a:avLst/>
            <a:gdLst>
              <a:gd name="T0" fmla="*/ 27 w 27"/>
              <a:gd name="T1" fmla="*/ 18 h 20"/>
              <a:gd name="T2" fmla="*/ 26 w 27"/>
              <a:gd name="T3" fmla="*/ 17 h 20"/>
              <a:gd name="T4" fmla="*/ 24 w 27"/>
              <a:gd name="T5" fmla="*/ 13 h 20"/>
              <a:gd name="T6" fmla="*/ 25 w 27"/>
              <a:gd name="T7" fmla="*/ 13 h 20"/>
              <a:gd name="T8" fmla="*/ 26 w 27"/>
              <a:gd name="T9" fmla="*/ 12 h 20"/>
              <a:gd name="T10" fmla="*/ 25 w 27"/>
              <a:gd name="T11" fmla="*/ 10 h 20"/>
              <a:gd name="T12" fmla="*/ 26 w 27"/>
              <a:gd name="T13" fmla="*/ 9 h 20"/>
              <a:gd name="T14" fmla="*/ 27 w 27"/>
              <a:gd name="T15" fmla="*/ 9 h 20"/>
              <a:gd name="T16" fmla="*/ 27 w 27"/>
              <a:gd name="T17" fmla="*/ 8 h 20"/>
              <a:gd name="T18" fmla="*/ 27 w 27"/>
              <a:gd name="T19" fmla="*/ 6 h 20"/>
              <a:gd name="T20" fmla="*/ 27 w 27"/>
              <a:gd name="T21" fmla="*/ 5 h 20"/>
              <a:gd name="T22" fmla="*/ 27 w 27"/>
              <a:gd name="T23" fmla="*/ 3 h 20"/>
              <a:gd name="T24" fmla="*/ 26 w 27"/>
              <a:gd name="T25" fmla="*/ 2 h 20"/>
              <a:gd name="T26" fmla="*/ 23 w 27"/>
              <a:gd name="T27" fmla="*/ 2 h 20"/>
              <a:gd name="T28" fmla="*/ 22 w 27"/>
              <a:gd name="T29" fmla="*/ 2 h 20"/>
              <a:gd name="T30" fmla="*/ 18 w 27"/>
              <a:gd name="T31" fmla="*/ 0 h 20"/>
              <a:gd name="T32" fmla="*/ 11 w 27"/>
              <a:gd name="T33" fmla="*/ 2 h 20"/>
              <a:gd name="T34" fmla="*/ 17 w 27"/>
              <a:gd name="T35" fmla="*/ 4 h 20"/>
              <a:gd name="T36" fmla="*/ 17 w 27"/>
              <a:gd name="T37" fmla="*/ 4 h 20"/>
              <a:gd name="T38" fmla="*/ 17 w 27"/>
              <a:gd name="T39" fmla="*/ 5 h 20"/>
              <a:gd name="T40" fmla="*/ 18 w 27"/>
              <a:gd name="T41" fmla="*/ 6 h 20"/>
              <a:gd name="T42" fmla="*/ 18 w 27"/>
              <a:gd name="T43" fmla="*/ 6 h 20"/>
              <a:gd name="T44" fmla="*/ 18 w 27"/>
              <a:gd name="T45" fmla="*/ 10 h 20"/>
              <a:gd name="T46" fmla="*/ 18 w 27"/>
              <a:gd name="T47" fmla="*/ 10 h 20"/>
              <a:gd name="T48" fmla="*/ 22 w 27"/>
              <a:gd name="T49" fmla="*/ 14 h 20"/>
              <a:gd name="T50" fmla="*/ 21 w 27"/>
              <a:gd name="T51" fmla="*/ 15 h 20"/>
              <a:gd name="T52" fmla="*/ 20 w 27"/>
              <a:gd name="T53" fmla="*/ 15 h 20"/>
              <a:gd name="T54" fmla="*/ 20 w 27"/>
              <a:gd name="T55" fmla="*/ 15 h 20"/>
              <a:gd name="T56" fmla="*/ 17 w 27"/>
              <a:gd name="T57" fmla="*/ 16 h 20"/>
              <a:gd name="T58" fmla="*/ 6 w 27"/>
              <a:gd name="T59" fmla="*/ 15 h 20"/>
              <a:gd name="T60" fmla="*/ 3 w 27"/>
              <a:gd name="T61" fmla="*/ 14 h 20"/>
              <a:gd name="T62" fmla="*/ 3 w 27"/>
              <a:gd name="T63" fmla="*/ 14 h 20"/>
              <a:gd name="T64" fmla="*/ 1 w 27"/>
              <a:gd name="T65" fmla="*/ 17 h 20"/>
              <a:gd name="T66" fmla="*/ 2 w 27"/>
              <a:gd name="T67" fmla="*/ 17 h 20"/>
              <a:gd name="T68" fmla="*/ 17 w 27"/>
              <a:gd name="T69" fmla="*/ 19 h 20"/>
              <a:gd name="T70" fmla="*/ 24 w 27"/>
              <a:gd name="T71" fmla="*/ 18 h 20"/>
              <a:gd name="T72" fmla="*/ 26 w 27"/>
              <a:gd name="T73"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 h="20">
                <a:moveTo>
                  <a:pt x="27" y="18"/>
                </a:moveTo>
                <a:cubicBezTo>
                  <a:pt x="27" y="18"/>
                  <a:pt x="27" y="18"/>
                  <a:pt x="27" y="18"/>
                </a:cubicBezTo>
                <a:cubicBezTo>
                  <a:pt x="27" y="18"/>
                  <a:pt x="27" y="18"/>
                  <a:pt x="27" y="18"/>
                </a:cubicBezTo>
                <a:cubicBezTo>
                  <a:pt x="27" y="18"/>
                  <a:pt x="27" y="17"/>
                  <a:pt x="26" y="17"/>
                </a:cubicBezTo>
                <a:cubicBezTo>
                  <a:pt x="25" y="17"/>
                  <a:pt x="24" y="15"/>
                  <a:pt x="24" y="14"/>
                </a:cubicBezTo>
                <a:cubicBezTo>
                  <a:pt x="24" y="14"/>
                  <a:pt x="24" y="14"/>
                  <a:pt x="24" y="13"/>
                </a:cubicBezTo>
                <a:cubicBezTo>
                  <a:pt x="24" y="13"/>
                  <a:pt x="24" y="13"/>
                  <a:pt x="24" y="13"/>
                </a:cubicBezTo>
                <a:cubicBezTo>
                  <a:pt x="25" y="13"/>
                  <a:pt x="25" y="13"/>
                  <a:pt x="25" y="13"/>
                </a:cubicBezTo>
                <a:cubicBezTo>
                  <a:pt x="26" y="12"/>
                  <a:pt x="26" y="12"/>
                  <a:pt x="27" y="12"/>
                </a:cubicBezTo>
                <a:cubicBezTo>
                  <a:pt x="27" y="12"/>
                  <a:pt x="26" y="12"/>
                  <a:pt x="26" y="12"/>
                </a:cubicBezTo>
                <a:cubicBezTo>
                  <a:pt x="26" y="12"/>
                  <a:pt x="26" y="11"/>
                  <a:pt x="26" y="11"/>
                </a:cubicBezTo>
                <a:cubicBezTo>
                  <a:pt x="25" y="10"/>
                  <a:pt x="25" y="10"/>
                  <a:pt x="25" y="10"/>
                </a:cubicBezTo>
                <a:cubicBezTo>
                  <a:pt x="26" y="10"/>
                  <a:pt x="26" y="10"/>
                  <a:pt x="26" y="10"/>
                </a:cubicBezTo>
                <a:cubicBezTo>
                  <a:pt x="26" y="10"/>
                  <a:pt x="26" y="9"/>
                  <a:pt x="26" y="9"/>
                </a:cubicBezTo>
                <a:cubicBezTo>
                  <a:pt x="26" y="9"/>
                  <a:pt x="26" y="9"/>
                  <a:pt x="26" y="9"/>
                </a:cubicBezTo>
                <a:cubicBezTo>
                  <a:pt x="26" y="9"/>
                  <a:pt x="26" y="9"/>
                  <a:pt x="27" y="9"/>
                </a:cubicBezTo>
                <a:cubicBezTo>
                  <a:pt x="27" y="9"/>
                  <a:pt x="27" y="8"/>
                  <a:pt x="27" y="8"/>
                </a:cubicBezTo>
                <a:cubicBezTo>
                  <a:pt x="27" y="8"/>
                  <a:pt x="27" y="8"/>
                  <a:pt x="27" y="8"/>
                </a:cubicBezTo>
                <a:cubicBezTo>
                  <a:pt x="27" y="8"/>
                  <a:pt x="27" y="8"/>
                  <a:pt x="27" y="7"/>
                </a:cubicBezTo>
                <a:cubicBezTo>
                  <a:pt x="27" y="7"/>
                  <a:pt x="27" y="7"/>
                  <a:pt x="27" y="6"/>
                </a:cubicBezTo>
                <a:cubicBezTo>
                  <a:pt x="27" y="6"/>
                  <a:pt x="27" y="6"/>
                  <a:pt x="27" y="6"/>
                </a:cubicBezTo>
                <a:cubicBezTo>
                  <a:pt x="27" y="5"/>
                  <a:pt x="27" y="5"/>
                  <a:pt x="27" y="5"/>
                </a:cubicBezTo>
                <a:cubicBezTo>
                  <a:pt x="27" y="5"/>
                  <a:pt x="27" y="5"/>
                  <a:pt x="27" y="4"/>
                </a:cubicBezTo>
                <a:cubicBezTo>
                  <a:pt x="27" y="4"/>
                  <a:pt x="27" y="3"/>
                  <a:pt x="27" y="3"/>
                </a:cubicBezTo>
                <a:cubicBezTo>
                  <a:pt x="26" y="2"/>
                  <a:pt x="26" y="2"/>
                  <a:pt x="26" y="2"/>
                </a:cubicBezTo>
                <a:cubicBezTo>
                  <a:pt x="26" y="2"/>
                  <a:pt x="26" y="2"/>
                  <a:pt x="26" y="2"/>
                </a:cubicBezTo>
                <a:cubicBezTo>
                  <a:pt x="26" y="2"/>
                  <a:pt x="26" y="2"/>
                  <a:pt x="26" y="2"/>
                </a:cubicBezTo>
                <a:cubicBezTo>
                  <a:pt x="25" y="2"/>
                  <a:pt x="24" y="2"/>
                  <a:pt x="23" y="2"/>
                </a:cubicBezTo>
                <a:cubicBezTo>
                  <a:pt x="23" y="2"/>
                  <a:pt x="23" y="2"/>
                  <a:pt x="23" y="2"/>
                </a:cubicBezTo>
                <a:cubicBezTo>
                  <a:pt x="22" y="2"/>
                  <a:pt x="22" y="2"/>
                  <a:pt x="22" y="2"/>
                </a:cubicBezTo>
                <a:cubicBezTo>
                  <a:pt x="21" y="1"/>
                  <a:pt x="20" y="1"/>
                  <a:pt x="19" y="0"/>
                </a:cubicBezTo>
                <a:cubicBezTo>
                  <a:pt x="18" y="0"/>
                  <a:pt x="18" y="0"/>
                  <a:pt x="18" y="0"/>
                </a:cubicBezTo>
                <a:cubicBezTo>
                  <a:pt x="16" y="0"/>
                  <a:pt x="15" y="0"/>
                  <a:pt x="13" y="1"/>
                </a:cubicBezTo>
                <a:cubicBezTo>
                  <a:pt x="12" y="1"/>
                  <a:pt x="12" y="1"/>
                  <a:pt x="11" y="2"/>
                </a:cubicBezTo>
                <a:cubicBezTo>
                  <a:pt x="12" y="3"/>
                  <a:pt x="12" y="3"/>
                  <a:pt x="14" y="3"/>
                </a:cubicBezTo>
                <a:cubicBezTo>
                  <a:pt x="15" y="3"/>
                  <a:pt x="16" y="4"/>
                  <a:pt x="17" y="4"/>
                </a:cubicBezTo>
                <a:cubicBezTo>
                  <a:pt x="17" y="4"/>
                  <a:pt x="17" y="4"/>
                  <a:pt x="17" y="4"/>
                </a:cubicBezTo>
                <a:cubicBezTo>
                  <a:pt x="17" y="4"/>
                  <a:pt x="17" y="4"/>
                  <a:pt x="17" y="4"/>
                </a:cubicBezTo>
                <a:cubicBezTo>
                  <a:pt x="17" y="5"/>
                  <a:pt x="17" y="5"/>
                  <a:pt x="17" y="5"/>
                </a:cubicBezTo>
                <a:cubicBezTo>
                  <a:pt x="17" y="5"/>
                  <a:pt x="17" y="5"/>
                  <a:pt x="17" y="5"/>
                </a:cubicBezTo>
                <a:cubicBezTo>
                  <a:pt x="17" y="5"/>
                  <a:pt x="18" y="5"/>
                  <a:pt x="18" y="5"/>
                </a:cubicBezTo>
                <a:cubicBezTo>
                  <a:pt x="18" y="5"/>
                  <a:pt x="18" y="6"/>
                  <a:pt x="18" y="6"/>
                </a:cubicBezTo>
                <a:cubicBezTo>
                  <a:pt x="18" y="6"/>
                  <a:pt x="18" y="6"/>
                  <a:pt x="18" y="6"/>
                </a:cubicBezTo>
                <a:cubicBezTo>
                  <a:pt x="18" y="6"/>
                  <a:pt x="18" y="6"/>
                  <a:pt x="18" y="6"/>
                </a:cubicBezTo>
                <a:cubicBezTo>
                  <a:pt x="18" y="7"/>
                  <a:pt x="18" y="7"/>
                  <a:pt x="17" y="8"/>
                </a:cubicBezTo>
                <a:cubicBezTo>
                  <a:pt x="17" y="8"/>
                  <a:pt x="18" y="9"/>
                  <a:pt x="18" y="10"/>
                </a:cubicBezTo>
                <a:cubicBezTo>
                  <a:pt x="18" y="10"/>
                  <a:pt x="18" y="10"/>
                  <a:pt x="18" y="10"/>
                </a:cubicBezTo>
                <a:cubicBezTo>
                  <a:pt x="18" y="10"/>
                  <a:pt x="18" y="10"/>
                  <a:pt x="18" y="10"/>
                </a:cubicBezTo>
                <a:cubicBezTo>
                  <a:pt x="19" y="11"/>
                  <a:pt x="21" y="12"/>
                  <a:pt x="22" y="13"/>
                </a:cubicBezTo>
                <a:cubicBezTo>
                  <a:pt x="22" y="14"/>
                  <a:pt x="22" y="14"/>
                  <a:pt x="22" y="14"/>
                </a:cubicBezTo>
                <a:cubicBezTo>
                  <a:pt x="22" y="15"/>
                  <a:pt x="22" y="15"/>
                  <a:pt x="22" y="15"/>
                </a:cubicBezTo>
                <a:cubicBezTo>
                  <a:pt x="21" y="15"/>
                  <a:pt x="21" y="15"/>
                  <a:pt x="21" y="15"/>
                </a:cubicBezTo>
                <a:cubicBezTo>
                  <a:pt x="21" y="15"/>
                  <a:pt x="21" y="15"/>
                  <a:pt x="21" y="15"/>
                </a:cubicBezTo>
                <a:cubicBezTo>
                  <a:pt x="21" y="15"/>
                  <a:pt x="20" y="15"/>
                  <a:pt x="20" y="15"/>
                </a:cubicBezTo>
                <a:cubicBezTo>
                  <a:pt x="20" y="15"/>
                  <a:pt x="20" y="15"/>
                  <a:pt x="20" y="15"/>
                </a:cubicBezTo>
                <a:cubicBezTo>
                  <a:pt x="20" y="15"/>
                  <a:pt x="20" y="15"/>
                  <a:pt x="20" y="15"/>
                </a:cubicBezTo>
                <a:cubicBezTo>
                  <a:pt x="20" y="15"/>
                  <a:pt x="19" y="15"/>
                  <a:pt x="19" y="15"/>
                </a:cubicBezTo>
                <a:cubicBezTo>
                  <a:pt x="18" y="16"/>
                  <a:pt x="18" y="16"/>
                  <a:pt x="17" y="16"/>
                </a:cubicBezTo>
                <a:cubicBezTo>
                  <a:pt x="15" y="16"/>
                  <a:pt x="13" y="15"/>
                  <a:pt x="11" y="15"/>
                </a:cubicBezTo>
                <a:cubicBezTo>
                  <a:pt x="10" y="15"/>
                  <a:pt x="8" y="15"/>
                  <a:pt x="6" y="15"/>
                </a:cubicBezTo>
                <a:cubicBezTo>
                  <a:pt x="5" y="14"/>
                  <a:pt x="4" y="14"/>
                  <a:pt x="4" y="14"/>
                </a:cubicBezTo>
                <a:cubicBezTo>
                  <a:pt x="4" y="14"/>
                  <a:pt x="3" y="14"/>
                  <a:pt x="3" y="14"/>
                </a:cubicBezTo>
                <a:cubicBezTo>
                  <a:pt x="3" y="14"/>
                  <a:pt x="3" y="14"/>
                  <a:pt x="3" y="14"/>
                </a:cubicBezTo>
                <a:cubicBezTo>
                  <a:pt x="3" y="14"/>
                  <a:pt x="3" y="14"/>
                  <a:pt x="3" y="14"/>
                </a:cubicBezTo>
                <a:cubicBezTo>
                  <a:pt x="2" y="13"/>
                  <a:pt x="1" y="13"/>
                  <a:pt x="1" y="14"/>
                </a:cubicBezTo>
                <a:cubicBezTo>
                  <a:pt x="0" y="15"/>
                  <a:pt x="0" y="17"/>
                  <a:pt x="1" y="17"/>
                </a:cubicBezTo>
                <a:cubicBezTo>
                  <a:pt x="1" y="17"/>
                  <a:pt x="2" y="17"/>
                  <a:pt x="2" y="17"/>
                </a:cubicBezTo>
                <a:cubicBezTo>
                  <a:pt x="2" y="17"/>
                  <a:pt x="2" y="17"/>
                  <a:pt x="2" y="17"/>
                </a:cubicBezTo>
                <a:cubicBezTo>
                  <a:pt x="4" y="18"/>
                  <a:pt x="5" y="19"/>
                  <a:pt x="6" y="20"/>
                </a:cubicBezTo>
                <a:cubicBezTo>
                  <a:pt x="6" y="16"/>
                  <a:pt x="15" y="19"/>
                  <a:pt x="17" y="19"/>
                </a:cubicBezTo>
                <a:cubicBezTo>
                  <a:pt x="19" y="19"/>
                  <a:pt x="21" y="18"/>
                  <a:pt x="23" y="18"/>
                </a:cubicBezTo>
                <a:cubicBezTo>
                  <a:pt x="24" y="18"/>
                  <a:pt x="24" y="18"/>
                  <a:pt x="24" y="18"/>
                </a:cubicBezTo>
                <a:cubicBezTo>
                  <a:pt x="24" y="18"/>
                  <a:pt x="24" y="18"/>
                  <a:pt x="24" y="18"/>
                </a:cubicBezTo>
                <a:cubicBezTo>
                  <a:pt x="25" y="18"/>
                  <a:pt x="26" y="19"/>
                  <a:pt x="26" y="19"/>
                </a:cubicBezTo>
                <a:cubicBezTo>
                  <a:pt x="27" y="19"/>
                  <a:pt x="27" y="19"/>
                  <a:pt x="27" y="18"/>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6" name="Freeform 3206">
            <a:extLst>
              <a:ext uri="{FF2B5EF4-FFF2-40B4-BE49-F238E27FC236}">
                <a16:creationId xmlns:a16="http://schemas.microsoft.com/office/drawing/2014/main" id="{541336BB-15C1-40F9-A918-F9C7CC4271BE}"/>
              </a:ext>
            </a:extLst>
          </p:cNvPr>
          <p:cNvSpPr>
            <a:spLocks/>
          </p:cNvSpPr>
          <p:nvPr/>
        </p:nvSpPr>
        <p:spPr bwMode="auto">
          <a:xfrm>
            <a:off x="2480692" y="348612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7" name="Freeform 3207">
            <a:extLst>
              <a:ext uri="{FF2B5EF4-FFF2-40B4-BE49-F238E27FC236}">
                <a16:creationId xmlns:a16="http://schemas.microsoft.com/office/drawing/2014/main" id="{17918CF5-75C9-4B6A-B68E-7BF5DA54997A}"/>
              </a:ext>
            </a:extLst>
          </p:cNvPr>
          <p:cNvSpPr>
            <a:spLocks/>
          </p:cNvSpPr>
          <p:nvPr/>
        </p:nvSpPr>
        <p:spPr bwMode="auto">
          <a:xfrm>
            <a:off x="2274539" y="3493248"/>
            <a:ext cx="11398" cy="35022"/>
          </a:xfrm>
          <a:custGeom>
            <a:avLst/>
            <a:gdLst>
              <a:gd name="T0" fmla="*/ 10 w 10"/>
              <a:gd name="T1" fmla="*/ 0 h 25"/>
              <a:gd name="T2" fmla="*/ 9 w 10"/>
              <a:gd name="T3" fmla="*/ 0 h 25"/>
              <a:gd name="T4" fmla="*/ 8 w 10"/>
              <a:gd name="T5" fmla="*/ 0 h 25"/>
              <a:gd name="T6" fmla="*/ 8 w 10"/>
              <a:gd name="T7" fmla="*/ 0 h 25"/>
              <a:gd name="T8" fmla="*/ 8 w 10"/>
              <a:gd name="T9" fmla="*/ 0 h 25"/>
              <a:gd name="T10" fmla="*/ 8 w 10"/>
              <a:gd name="T11" fmla="*/ 0 h 25"/>
              <a:gd name="T12" fmla="*/ 8 w 10"/>
              <a:gd name="T13" fmla="*/ 0 h 25"/>
              <a:gd name="T14" fmla="*/ 7 w 10"/>
              <a:gd name="T15" fmla="*/ 0 h 25"/>
              <a:gd name="T16" fmla="*/ 6 w 10"/>
              <a:gd name="T17" fmla="*/ 0 h 25"/>
              <a:gd name="T18" fmla="*/ 6 w 10"/>
              <a:gd name="T19" fmla="*/ 2 h 25"/>
              <a:gd name="T20" fmla="*/ 5 w 10"/>
              <a:gd name="T21" fmla="*/ 3 h 25"/>
              <a:gd name="T22" fmla="*/ 3 w 10"/>
              <a:gd name="T23" fmla="*/ 5 h 25"/>
              <a:gd name="T24" fmla="*/ 2 w 10"/>
              <a:gd name="T25" fmla="*/ 6 h 25"/>
              <a:gd name="T26" fmla="*/ 2 w 10"/>
              <a:gd name="T27" fmla="*/ 6 h 25"/>
              <a:gd name="T28" fmla="*/ 1 w 10"/>
              <a:gd name="T29" fmla="*/ 5 h 25"/>
              <a:gd name="T30" fmla="*/ 1 w 10"/>
              <a:gd name="T31" fmla="*/ 5 h 25"/>
              <a:gd name="T32" fmla="*/ 1 w 10"/>
              <a:gd name="T33" fmla="*/ 5 h 25"/>
              <a:gd name="T34" fmla="*/ 1 w 10"/>
              <a:gd name="T35" fmla="*/ 6 h 25"/>
              <a:gd name="T36" fmla="*/ 1 w 10"/>
              <a:gd name="T37" fmla="*/ 6 h 25"/>
              <a:gd name="T38" fmla="*/ 1 w 10"/>
              <a:gd name="T39" fmla="*/ 6 h 25"/>
              <a:gd name="T40" fmla="*/ 1 w 10"/>
              <a:gd name="T41" fmla="*/ 8 h 25"/>
              <a:gd name="T42" fmla="*/ 1 w 10"/>
              <a:gd name="T43" fmla="*/ 9 h 25"/>
              <a:gd name="T44" fmla="*/ 0 w 10"/>
              <a:gd name="T45" fmla="*/ 12 h 25"/>
              <a:gd name="T46" fmla="*/ 0 w 10"/>
              <a:gd name="T47" fmla="*/ 24 h 25"/>
              <a:gd name="T48" fmla="*/ 0 w 10"/>
              <a:gd name="T49" fmla="*/ 24 h 25"/>
              <a:gd name="T50" fmla="*/ 1 w 10"/>
              <a:gd name="T51" fmla="*/ 24 h 25"/>
              <a:gd name="T52" fmla="*/ 2 w 10"/>
              <a:gd name="T53" fmla="*/ 24 h 25"/>
              <a:gd name="T54" fmla="*/ 2 w 10"/>
              <a:gd name="T55" fmla="*/ 25 h 25"/>
              <a:gd name="T56" fmla="*/ 2 w 10"/>
              <a:gd name="T57" fmla="*/ 25 h 25"/>
              <a:gd name="T58" fmla="*/ 6 w 10"/>
              <a:gd name="T59" fmla="*/ 21 h 25"/>
              <a:gd name="T60" fmla="*/ 7 w 10"/>
              <a:gd name="T61" fmla="*/ 18 h 25"/>
              <a:gd name="T62" fmla="*/ 9 w 10"/>
              <a:gd name="T63" fmla="*/ 14 h 25"/>
              <a:gd name="T64" fmla="*/ 8 w 10"/>
              <a:gd name="T65" fmla="*/ 12 h 25"/>
              <a:gd name="T66" fmla="*/ 9 w 10"/>
              <a:gd name="T67" fmla="*/ 7 h 25"/>
              <a:gd name="T68" fmla="*/ 10 w 10"/>
              <a:gd name="T6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 h="25">
                <a:moveTo>
                  <a:pt x="10" y="0"/>
                </a:moveTo>
                <a:cubicBezTo>
                  <a:pt x="9" y="0"/>
                  <a:pt x="9" y="0"/>
                  <a:pt x="9" y="0"/>
                </a:cubicBezTo>
                <a:cubicBezTo>
                  <a:pt x="8" y="0"/>
                  <a:pt x="8" y="0"/>
                  <a:pt x="8" y="0"/>
                </a:cubicBezTo>
                <a:cubicBezTo>
                  <a:pt x="8" y="0"/>
                  <a:pt x="8" y="0"/>
                  <a:pt x="8" y="0"/>
                </a:cubicBezTo>
                <a:cubicBezTo>
                  <a:pt x="8" y="0"/>
                  <a:pt x="8" y="0"/>
                  <a:pt x="8" y="0"/>
                </a:cubicBezTo>
                <a:cubicBezTo>
                  <a:pt x="8" y="0"/>
                  <a:pt x="8" y="0"/>
                  <a:pt x="8" y="0"/>
                </a:cubicBezTo>
                <a:cubicBezTo>
                  <a:pt x="8" y="0"/>
                  <a:pt x="8" y="0"/>
                  <a:pt x="8" y="0"/>
                </a:cubicBezTo>
                <a:cubicBezTo>
                  <a:pt x="7" y="0"/>
                  <a:pt x="7" y="0"/>
                  <a:pt x="7" y="0"/>
                </a:cubicBezTo>
                <a:cubicBezTo>
                  <a:pt x="7" y="0"/>
                  <a:pt x="7" y="0"/>
                  <a:pt x="6" y="0"/>
                </a:cubicBezTo>
                <a:cubicBezTo>
                  <a:pt x="6" y="2"/>
                  <a:pt x="6" y="2"/>
                  <a:pt x="6" y="2"/>
                </a:cubicBezTo>
                <a:cubicBezTo>
                  <a:pt x="5" y="3"/>
                  <a:pt x="5" y="3"/>
                  <a:pt x="5" y="3"/>
                </a:cubicBezTo>
                <a:cubicBezTo>
                  <a:pt x="4" y="4"/>
                  <a:pt x="4" y="5"/>
                  <a:pt x="3" y="5"/>
                </a:cubicBezTo>
                <a:cubicBezTo>
                  <a:pt x="3" y="6"/>
                  <a:pt x="2" y="6"/>
                  <a:pt x="2" y="6"/>
                </a:cubicBezTo>
                <a:cubicBezTo>
                  <a:pt x="2" y="6"/>
                  <a:pt x="2" y="6"/>
                  <a:pt x="2" y="6"/>
                </a:cubicBezTo>
                <a:cubicBezTo>
                  <a:pt x="2" y="6"/>
                  <a:pt x="1" y="6"/>
                  <a:pt x="1" y="5"/>
                </a:cubicBezTo>
                <a:cubicBezTo>
                  <a:pt x="1" y="5"/>
                  <a:pt x="1" y="5"/>
                  <a:pt x="1" y="5"/>
                </a:cubicBezTo>
                <a:cubicBezTo>
                  <a:pt x="1" y="5"/>
                  <a:pt x="1" y="5"/>
                  <a:pt x="1" y="5"/>
                </a:cubicBezTo>
                <a:cubicBezTo>
                  <a:pt x="1" y="5"/>
                  <a:pt x="1" y="6"/>
                  <a:pt x="1" y="6"/>
                </a:cubicBezTo>
                <a:cubicBezTo>
                  <a:pt x="1" y="6"/>
                  <a:pt x="1" y="6"/>
                  <a:pt x="1" y="6"/>
                </a:cubicBezTo>
                <a:cubicBezTo>
                  <a:pt x="1" y="6"/>
                  <a:pt x="1" y="6"/>
                  <a:pt x="1" y="6"/>
                </a:cubicBezTo>
                <a:cubicBezTo>
                  <a:pt x="1" y="7"/>
                  <a:pt x="1" y="7"/>
                  <a:pt x="1" y="8"/>
                </a:cubicBezTo>
                <a:cubicBezTo>
                  <a:pt x="1" y="9"/>
                  <a:pt x="1" y="9"/>
                  <a:pt x="1" y="9"/>
                </a:cubicBezTo>
                <a:cubicBezTo>
                  <a:pt x="1" y="10"/>
                  <a:pt x="1" y="11"/>
                  <a:pt x="0" y="12"/>
                </a:cubicBezTo>
                <a:cubicBezTo>
                  <a:pt x="0" y="16"/>
                  <a:pt x="0" y="21"/>
                  <a:pt x="0" y="24"/>
                </a:cubicBezTo>
                <a:cubicBezTo>
                  <a:pt x="0" y="24"/>
                  <a:pt x="0" y="24"/>
                  <a:pt x="0" y="24"/>
                </a:cubicBezTo>
                <a:cubicBezTo>
                  <a:pt x="1" y="24"/>
                  <a:pt x="1" y="24"/>
                  <a:pt x="1" y="24"/>
                </a:cubicBezTo>
                <a:cubicBezTo>
                  <a:pt x="2" y="24"/>
                  <a:pt x="2" y="24"/>
                  <a:pt x="2" y="24"/>
                </a:cubicBezTo>
                <a:cubicBezTo>
                  <a:pt x="2" y="25"/>
                  <a:pt x="2" y="25"/>
                  <a:pt x="2" y="25"/>
                </a:cubicBezTo>
                <a:cubicBezTo>
                  <a:pt x="2" y="25"/>
                  <a:pt x="2" y="25"/>
                  <a:pt x="2" y="25"/>
                </a:cubicBezTo>
                <a:cubicBezTo>
                  <a:pt x="3" y="24"/>
                  <a:pt x="4" y="23"/>
                  <a:pt x="6" y="21"/>
                </a:cubicBezTo>
                <a:cubicBezTo>
                  <a:pt x="6" y="20"/>
                  <a:pt x="7" y="19"/>
                  <a:pt x="7" y="18"/>
                </a:cubicBezTo>
                <a:cubicBezTo>
                  <a:pt x="8" y="17"/>
                  <a:pt x="9" y="16"/>
                  <a:pt x="9" y="14"/>
                </a:cubicBezTo>
                <a:cubicBezTo>
                  <a:pt x="9" y="14"/>
                  <a:pt x="8" y="13"/>
                  <a:pt x="8" y="12"/>
                </a:cubicBezTo>
                <a:cubicBezTo>
                  <a:pt x="8" y="10"/>
                  <a:pt x="9" y="8"/>
                  <a:pt x="9" y="7"/>
                </a:cubicBezTo>
                <a:cubicBezTo>
                  <a:pt x="9" y="4"/>
                  <a:pt x="10" y="2"/>
                  <a:pt x="10" y="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8" name="Freeform 3208">
            <a:extLst>
              <a:ext uri="{FF2B5EF4-FFF2-40B4-BE49-F238E27FC236}">
                <a16:creationId xmlns:a16="http://schemas.microsoft.com/office/drawing/2014/main" id="{212DAA95-73F5-4CC1-878D-B0AC619ABEF4}"/>
              </a:ext>
            </a:extLst>
          </p:cNvPr>
          <p:cNvSpPr>
            <a:spLocks/>
          </p:cNvSpPr>
          <p:nvPr/>
        </p:nvSpPr>
        <p:spPr bwMode="auto">
          <a:xfrm>
            <a:off x="3710674" y="4137892"/>
            <a:ext cx="12885" cy="21369"/>
          </a:xfrm>
          <a:custGeom>
            <a:avLst/>
            <a:gdLst>
              <a:gd name="T0" fmla="*/ 9 w 11"/>
              <a:gd name="T1" fmla="*/ 2 h 15"/>
              <a:gd name="T2" fmla="*/ 9 w 11"/>
              <a:gd name="T3" fmla="*/ 2 h 15"/>
              <a:gd name="T4" fmla="*/ 8 w 11"/>
              <a:gd name="T5" fmla="*/ 2 h 15"/>
              <a:gd name="T6" fmla="*/ 5 w 11"/>
              <a:gd name="T7" fmla="*/ 1 h 15"/>
              <a:gd name="T8" fmla="*/ 5 w 11"/>
              <a:gd name="T9" fmla="*/ 0 h 15"/>
              <a:gd name="T10" fmla="*/ 5 w 11"/>
              <a:gd name="T11" fmla="*/ 0 h 15"/>
              <a:gd name="T12" fmla="*/ 1 w 11"/>
              <a:gd name="T13" fmla="*/ 5 h 15"/>
              <a:gd name="T14" fmla="*/ 0 w 11"/>
              <a:gd name="T15" fmla="*/ 8 h 15"/>
              <a:gd name="T16" fmla="*/ 0 w 11"/>
              <a:gd name="T17" fmla="*/ 9 h 15"/>
              <a:gd name="T18" fmla="*/ 0 w 11"/>
              <a:gd name="T19" fmla="*/ 10 h 15"/>
              <a:gd name="T20" fmla="*/ 2 w 11"/>
              <a:gd name="T21" fmla="*/ 12 h 15"/>
              <a:gd name="T22" fmla="*/ 4 w 11"/>
              <a:gd name="T23" fmla="*/ 14 h 15"/>
              <a:gd name="T24" fmla="*/ 4 w 11"/>
              <a:gd name="T25" fmla="*/ 14 h 15"/>
              <a:gd name="T26" fmla="*/ 9 w 11"/>
              <a:gd name="T27" fmla="*/ 15 h 15"/>
              <a:gd name="T28" fmla="*/ 10 w 11"/>
              <a:gd name="T29" fmla="*/ 10 h 15"/>
              <a:gd name="T30" fmla="*/ 10 w 11"/>
              <a:gd name="T31" fmla="*/ 9 h 15"/>
              <a:gd name="T32" fmla="*/ 11 w 11"/>
              <a:gd name="T33" fmla="*/ 9 h 15"/>
              <a:gd name="T34" fmla="*/ 10 w 11"/>
              <a:gd name="T35" fmla="*/ 3 h 15"/>
              <a:gd name="T36" fmla="*/ 10 w 11"/>
              <a:gd name="T37" fmla="*/ 3 h 15"/>
              <a:gd name="T38" fmla="*/ 9 w 11"/>
              <a:gd name="T39"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15">
                <a:moveTo>
                  <a:pt x="9" y="2"/>
                </a:moveTo>
                <a:cubicBezTo>
                  <a:pt x="9" y="2"/>
                  <a:pt x="9" y="2"/>
                  <a:pt x="9" y="2"/>
                </a:cubicBezTo>
                <a:cubicBezTo>
                  <a:pt x="8" y="2"/>
                  <a:pt x="8" y="2"/>
                  <a:pt x="8" y="2"/>
                </a:cubicBezTo>
                <a:cubicBezTo>
                  <a:pt x="7" y="2"/>
                  <a:pt x="6" y="1"/>
                  <a:pt x="5" y="1"/>
                </a:cubicBezTo>
                <a:cubicBezTo>
                  <a:pt x="5" y="0"/>
                  <a:pt x="5" y="0"/>
                  <a:pt x="5" y="0"/>
                </a:cubicBezTo>
                <a:cubicBezTo>
                  <a:pt x="5" y="0"/>
                  <a:pt x="5" y="0"/>
                  <a:pt x="5" y="0"/>
                </a:cubicBezTo>
                <a:cubicBezTo>
                  <a:pt x="3" y="2"/>
                  <a:pt x="2" y="3"/>
                  <a:pt x="1" y="5"/>
                </a:cubicBezTo>
                <a:cubicBezTo>
                  <a:pt x="1" y="5"/>
                  <a:pt x="0" y="7"/>
                  <a:pt x="0" y="8"/>
                </a:cubicBezTo>
                <a:cubicBezTo>
                  <a:pt x="0" y="9"/>
                  <a:pt x="0" y="9"/>
                  <a:pt x="0" y="9"/>
                </a:cubicBezTo>
                <a:cubicBezTo>
                  <a:pt x="0" y="9"/>
                  <a:pt x="0" y="9"/>
                  <a:pt x="0" y="10"/>
                </a:cubicBezTo>
                <a:cubicBezTo>
                  <a:pt x="1" y="10"/>
                  <a:pt x="2" y="11"/>
                  <a:pt x="2" y="12"/>
                </a:cubicBezTo>
                <a:cubicBezTo>
                  <a:pt x="4" y="14"/>
                  <a:pt x="4" y="14"/>
                  <a:pt x="4" y="14"/>
                </a:cubicBezTo>
                <a:cubicBezTo>
                  <a:pt x="4" y="14"/>
                  <a:pt x="4" y="14"/>
                  <a:pt x="4" y="14"/>
                </a:cubicBezTo>
                <a:cubicBezTo>
                  <a:pt x="9" y="15"/>
                  <a:pt x="9" y="15"/>
                  <a:pt x="9" y="15"/>
                </a:cubicBezTo>
                <a:cubicBezTo>
                  <a:pt x="9" y="13"/>
                  <a:pt x="9" y="12"/>
                  <a:pt x="10" y="10"/>
                </a:cubicBezTo>
                <a:cubicBezTo>
                  <a:pt x="10" y="9"/>
                  <a:pt x="10" y="9"/>
                  <a:pt x="10" y="9"/>
                </a:cubicBezTo>
                <a:cubicBezTo>
                  <a:pt x="11" y="9"/>
                  <a:pt x="11" y="9"/>
                  <a:pt x="11" y="9"/>
                </a:cubicBezTo>
                <a:cubicBezTo>
                  <a:pt x="10" y="3"/>
                  <a:pt x="10" y="3"/>
                  <a:pt x="10" y="3"/>
                </a:cubicBezTo>
                <a:cubicBezTo>
                  <a:pt x="10" y="3"/>
                  <a:pt x="10" y="3"/>
                  <a:pt x="10" y="3"/>
                </a:cubicBezTo>
                <a:cubicBezTo>
                  <a:pt x="9" y="2"/>
                  <a:pt x="9" y="2"/>
                  <a:pt x="9" y="2"/>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29" name="Freeform 3209">
            <a:extLst>
              <a:ext uri="{FF2B5EF4-FFF2-40B4-BE49-F238E27FC236}">
                <a16:creationId xmlns:a16="http://schemas.microsoft.com/office/drawing/2014/main" id="{531A857B-F6CB-429A-9D2A-F009FD93344C}"/>
              </a:ext>
            </a:extLst>
          </p:cNvPr>
          <p:cNvSpPr>
            <a:spLocks/>
          </p:cNvSpPr>
          <p:nvPr/>
        </p:nvSpPr>
        <p:spPr bwMode="auto">
          <a:xfrm>
            <a:off x="3665082" y="4181224"/>
            <a:ext cx="26760" cy="30867"/>
          </a:xfrm>
          <a:custGeom>
            <a:avLst/>
            <a:gdLst>
              <a:gd name="T0" fmla="*/ 22 w 23"/>
              <a:gd name="T1" fmla="*/ 6 h 22"/>
              <a:gd name="T2" fmla="*/ 22 w 23"/>
              <a:gd name="T3" fmla="*/ 5 h 22"/>
              <a:gd name="T4" fmla="*/ 21 w 23"/>
              <a:gd name="T5" fmla="*/ 5 h 22"/>
              <a:gd name="T6" fmla="*/ 20 w 23"/>
              <a:gd name="T7" fmla="*/ 4 h 22"/>
              <a:gd name="T8" fmla="*/ 19 w 23"/>
              <a:gd name="T9" fmla="*/ 3 h 22"/>
              <a:gd name="T10" fmla="*/ 19 w 23"/>
              <a:gd name="T11" fmla="*/ 3 h 22"/>
              <a:gd name="T12" fmla="*/ 15 w 23"/>
              <a:gd name="T13" fmla="*/ 0 h 22"/>
              <a:gd name="T14" fmla="*/ 15 w 23"/>
              <a:gd name="T15" fmla="*/ 0 h 22"/>
              <a:gd name="T16" fmla="*/ 12 w 23"/>
              <a:gd name="T17" fmla="*/ 1 h 22"/>
              <a:gd name="T18" fmla="*/ 10 w 23"/>
              <a:gd name="T19" fmla="*/ 2 h 22"/>
              <a:gd name="T20" fmla="*/ 9 w 23"/>
              <a:gd name="T21" fmla="*/ 3 h 22"/>
              <a:gd name="T22" fmla="*/ 8 w 23"/>
              <a:gd name="T23" fmla="*/ 3 h 22"/>
              <a:gd name="T24" fmla="*/ 7 w 23"/>
              <a:gd name="T25" fmla="*/ 4 h 22"/>
              <a:gd name="T26" fmla="*/ 6 w 23"/>
              <a:gd name="T27" fmla="*/ 4 h 22"/>
              <a:gd name="T28" fmla="*/ 4 w 23"/>
              <a:gd name="T29" fmla="*/ 8 h 22"/>
              <a:gd name="T30" fmla="*/ 3 w 23"/>
              <a:gd name="T31" fmla="*/ 9 h 22"/>
              <a:gd name="T32" fmla="*/ 1 w 23"/>
              <a:gd name="T33" fmla="*/ 11 h 22"/>
              <a:gd name="T34" fmla="*/ 1 w 23"/>
              <a:gd name="T35" fmla="*/ 11 h 22"/>
              <a:gd name="T36" fmla="*/ 0 w 23"/>
              <a:gd name="T37" fmla="*/ 11 h 22"/>
              <a:gd name="T38" fmla="*/ 0 w 23"/>
              <a:gd name="T39" fmla="*/ 11 h 22"/>
              <a:gd name="T40" fmla="*/ 0 w 23"/>
              <a:gd name="T41" fmla="*/ 11 h 22"/>
              <a:gd name="T42" fmla="*/ 0 w 23"/>
              <a:gd name="T43" fmla="*/ 11 h 22"/>
              <a:gd name="T44" fmla="*/ 0 w 23"/>
              <a:gd name="T45" fmla="*/ 11 h 22"/>
              <a:gd name="T46" fmla="*/ 1 w 23"/>
              <a:gd name="T47" fmla="*/ 13 h 22"/>
              <a:gd name="T48" fmla="*/ 1 w 23"/>
              <a:gd name="T49" fmla="*/ 14 h 22"/>
              <a:gd name="T50" fmla="*/ 2 w 23"/>
              <a:gd name="T51" fmla="*/ 16 h 22"/>
              <a:gd name="T52" fmla="*/ 3 w 23"/>
              <a:gd name="T53" fmla="*/ 18 h 22"/>
              <a:gd name="T54" fmla="*/ 5 w 23"/>
              <a:gd name="T55" fmla="*/ 19 h 22"/>
              <a:gd name="T56" fmla="*/ 6 w 23"/>
              <a:gd name="T57" fmla="*/ 20 h 22"/>
              <a:gd name="T58" fmla="*/ 9 w 23"/>
              <a:gd name="T59" fmla="*/ 21 h 22"/>
              <a:gd name="T60" fmla="*/ 9 w 23"/>
              <a:gd name="T61" fmla="*/ 22 h 22"/>
              <a:gd name="T62" fmla="*/ 9 w 23"/>
              <a:gd name="T63" fmla="*/ 22 h 22"/>
              <a:gd name="T64" fmla="*/ 9 w 23"/>
              <a:gd name="T65" fmla="*/ 22 h 22"/>
              <a:gd name="T66" fmla="*/ 10 w 23"/>
              <a:gd name="T67" fmla="*/ 22 h 22"/>
              <a:gd name="T68" fmla="*/ 10 w 23"/>
              <a:gd name="T69" fmla="*/ 21 h 22"/>
              <a:gd name="T70" fmla="*/ 11 w 23"/>
              <a:gd name="T71" fmla="*/ 19 h 22"/>
              <a:gd name="T72" fmla="*/ 11 w 23"/>
              <a:gd name="T73" fmla="*/ 18 h 22"/>
              <a:gd name="T74" fmla="*/ 12 w 23"/>
              <a:gd name="T75" fmla="*/ 17 h 22"/>
              <a:gd name="T76" fmla="*/ 12 w 23"/>
              <a:gd name="T77" fmla="*/ 17 h 22"/>
              <a:gd name="T78" fmla="*/ 12 w 23"/>
              <a:gd name="T79" fmla="*/ 16 h 22"/>
              <a:gd name="T80" fmla="*/ 13 w 23"/>
              <a:gd name="T81" fmla="*/ 16 h 22"/>
              <a:gd name="T82" fmla="*/ 15 w 23"/>
              <a:gd name="T83" fmla="*/ 15 h 22"/>
              <a:gd name="T84" fmla="*/ 16 w 23"/>
              <a:gd name="T85" fmla="*/ 15 h 22"/>
              <a:gd name="T86" fmla="*/ 19 w 23"/>
              <a:gd name="T87" fmla="*/ 14 h 22"/>
              <a:gd name="T88" fmla="*/ 19 w 23"/>
              <a:gd name="T89" fmla="*/ 14 h 22"/>
              <a:gd name="T90" fmla="*/ 20 w 23"/>
              <a:gd name="T91" fmla="*/ 14 h 22"/>
              <a:gd name="T92" fmla="*/ 20 w 23"/>
              <a:gd name="T93" fmla="*/ 14 h 22"/>
              <a:gd name="T94" fmla="*/ 20 w 23"/>
              <a:gd name="T95" fmla="*/ 14 h 22"/>
              <a:gd name="T96" fmla="*/ 20 w 23"/>
              <a:gd name="T97" fmla="*/ 13 h 22"/>
              <a:gd name="T98" fmla="*/ 20 w 23"/>
              <a:gd name="T99" fmla="*/ 13 h 22"/>
              <a:gd name="T100" fmla="*/ 20 w 23"/>
              <a:gd name="T101" fmla="*/ 13 h 22"/>
              <a:gd name="T102" fmla="*/ 20 w 23"/>
              <a:gd name="T103" fmla="*/ 12 h 22"/>
              <a:gd name="T104" fmla="*/ 20 w 23"/>
              <a:gd name="T105" fmla="*/ 11 h 22"/>
              <a:gd name="T106" fmla="*/ 20 w 23"/>
              <a:gd name="T107" fmla="*/ 11 h 22"/>
              <a:gd name="T108" fmla="*/ 20 w 23"/>
              <a:gd name="T109" fmla="*/ 11 h 22"/>
              <a:gd name="T110" fmla="*/ 21 w 23"/>
              <a:gd name="T111" fmla="*/ 10 h 22"/>
              <a:gd name="T112" fmla="*/ 22 w 23"/>
              <a:gd name="T113" fmla="*/ 9 h 22"/>
              <a:gd name="T114" fmla="*/ 22 w 23"/>
              <a:gd name="T115" fmla="*/ 8 h 22"/>
              <a:gd name="T116" fmla="*/ 23 w 23"/>
              <a:gd name="T117" fmla="*/ 8 h 22"/>
              <a:gd name="T118" fmla="*/ 22 w 23"/>
              <a:gd name="T119"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 h="22">
                <a:moveTo>
                  <a:pt x="22" y="6"/>
                </a:moveTo>
                <a:cubicBezTo>
                  <a:pt x="22" y="5"/>
                  <a:pt x="22" y="5"/>
                  <a:pt x="22" y="5"/>
                </a:cubicBezTo>
                <a:cubicBezTo>
                  <a:pt x="21" y="5"/>
                  <a:pt x="21" y="5"/>
                  <a:pt x="21" y="5"/>
                </a:cubicBezTo>
                <a:cubicBezTo>
                  <a:pt x="21" y="4"/>
                  <a:pt x="20" y="4"/>
                  <a:pt x="20" y="4"/>
                </a:cubicBezTo>
                <a:cubicBezTo>
                  <a:pt x="19" y="3"/>
                  <a:pt x="19" y="3"/>
                  <a:pt x="19" y="3"/>
                </a:cubicBezTo>
                <a:cubicBezTo>
                  <a:pt x="19" y="3"/>
                  <a:pt x="19" y="3"/>
                  <a:pt x="19" y="3"/>
                </a:cubicBezTo>
                <a:cubicBezTo>
                  <a:pt x="18" y="2"/>
                  <a:pt x="16" y="1"/>
                  <a:pt x="15" y="0"/>
                </a:cubicBezTo>
                <a:cubicBezTo>
                  <a:pt x="15" y="0"/>
                  <a:pt x="15" y="0"/>
                  <a:pt x="15" y="0"/>
                </a:cubicBezTo>
                <a:cubicBezTo>
                  <a:pt x="14" y="0"/>
                  <a:pt x="13" y="1"/>
                  <a:pt x="12" y="1"/>
                </a:cubicBezTo>
                <a:cubicBezTo>
                  <a:pt x="11" y="2"/>
                  <a:pt x="10" y="2"/>
                  <a:pt x="10" y="2"/>
                </a:cubicBezTo>
                <a:cubicBezTo>
                  <a:pt x="9" y="3"/>
                  <a:pt x="9" y="3"/>
                  <a:pt x="9" y="3"/>
                </a:cubicBezTo>
                <a:cubicBezTo>
                  <a:pt x="9" y="3"/>
                  <a:pt x="9" y="3"/>
                  <a:pt x="8" y="3"/>
                </a:cubicBezTo>
                <a:cubicBezTo>
                  <a:pt x="8" y="3"/>
                  <a:pt x="7" y="3"/>
                  <a:pt x="7" y="4"/>
                </a:cubicBezTo>
                <a:cubicBezTo>
                  <a:pt x="6" y="4"/>
                  <a:pt x="6" y="4"/>
                  <a:pt x="6" y="4"/>
                </a:cubicBezTo>
                <a:cubicBezTo>
                  <a:pt x="6" y="5"/>
                  <a:pt x="5" y="6"/>
                  <a:pt x="4" y="8"/>
                </a:cubicBezTo>
                <a:cubicBezTo>
                  <a:pt x="4" y="8"/>
                  <a:pt x="3" y="9"/>
                  <a:pt x="3" y="9"/>
                </a:cubicBezTo>
                <a:cubicBezTo>
                  <a:pt x="2" y="10"/>
                  <a:pt x="2" y="10"/>
                  <a:pt x="1" y="11"/>
                </a:cubicBezTo>
                <a:cubicBezTo>
                  <a:pt x="1" y="11"/>
                  <a:pt x="1" y="11"/>
                  <a:pt x="1" y="11"/>
                </a:cubicBezTo>
                <a:cubicBezTo>
                  <a:pt x="1"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2"/>
                  <a:pt x="0" y="12"/>
                  <a:pt x="1" y="13"/>
                </a:cubicBezTo>
                <a:cubicBezTo>
                  <a:pt x="1" y="13"/>
                  <a:pt x="1" y="14"/>
                  <a:pt x="1" y="14"/>
                </a:cubicBezTo>
                <a:cubicBezTo>
                  <a:pt x="2" y="15"/>
                  <a:pt x="2" y="15"/>
                  <a:pt x="2" y="16"/>
                </a:cubicBezTo>
                <a:cubicBezTo>
                  <a:pt x="3" y="18"/>
                  <a:pt x="3" y="18"/>
                  <a:pt x="3" y="18"/>
                </a:cubicBezTo>
                <a:cubicBezTo>
                  <a:pt x="3" y="18"/>
                  <a:pt x="5" y="19"/>
                  <a:pt x="5" y="19"/>
                </a:cubicBezTo>
                <a:cubicBezTo>
                  <a:pt x="6" y="20"/>
                  <a:pt x="6" y="20"/>
                  <a:pt x="6" y="20"/>
                </a:cubicBezTo>
                <a:cubicBezTo>
                  <a:pt x="7" y="20"/>
                  <a:pt x="8" y="21"/>
                  <a:pt x="9" y="21"/>
                </a:cubicBezTo>
                <a:cubicBezTo>
                  <a:pt x="9" y="21"/>
                  <a:pt x="9" y="22"/>
                  <a:pt x="9" y="22"/>
                </a:cubicBezTo>
                <a:cubicBezTo>
                  <a:pt x="9" y="22"/>
                  <a:pt x="9" y="22"/>
                  <a:pt x="9" y="22"/>
                </a:cubicBezTo>
                <a:cubicBezTo>
                  <a:pt x="9" y="22"/>
                  <a:pt x="9" y="22"/>
                  <a:pt x="9" y="22"/>
                </a:cubicBezTo>
                <a:cubicBezTo>
                  <a:pt x="9" y="22"/>
                  <a:pt x="10" y="22"/>
                  <a:pt x="10" y="22"/>
                </a:cubicBezTo>
                <a:cubicBezTo>
                  <a:pt x="10" y="22"/>
                  <a:pt x="10" y="21"/>
                  <a:pt x="10" y="21"/>
                </a:cubicBezTo>
                <a:cubicBezTo>
                  <a:pt x="10" y="21"/>
                  <a:pt x="11" y="19"/>
                  <a:pt x="11" y="19"/>
                </a:cubicBezTo>
                <a:cubicBezTo>
                  <a:pt x="11" y="18"/>
                  <a:pt x="11" y="18"/>
                  <a:pt x="11" y="18"/>
                </a:cubicBezTo>
                <a:cubicBezTo>
                  <a:pt x="11" y="18"/>
                  <a:pt x="11" y="18"/>
                  <a:pt x="12" y="17"/>
                </a:cubicBezTo>
                <a:cubicBezTo>
                  <a:pt x="12" y="17"/>
                  <a:pt x="12" y="17"/>
                  <a:pt x="12" y="17"/>
                </a:cubicBezTo>
                <a:cubicBezTo>
                  <a:pt x="12" y="16"/>
                  <a:pt x="12" y="16"/>
                  <a:pt x="12" y="16"/>
                </a:cubicBezTo>
                <a:cubicBezTo>
                  <a:pt x="13" y="16"/>
                  <a:pt x="13" y="16"/>
                  <a:pt x="13" y="16"/>
                </a:cubicBezTo>
                <a:cubicBezTo>
                  <a:pt x="15" y="15"/>
                  <a:pt x="15" y="15"/>
                  <a:pt x="15" y="15"/>
                </a:cubicBezTo>
                <a:cubicBezTo>
                  <a:pt x="15" y="15"/>
                  <a:pt x="16" y="15"/>
                  <a:pt x="16" y="15"/>
                </a:cubicBezTo>
                <a:cubicBezTo>
                  <a:pt x="17" y="15"/>
                  <a:pt x="18" y="15"/>
                  <a:pt x="19" y="14"/>
                </a:cubicBezTo>
                <a:cubicBezTo>
                  <a:pt x="19" y="14"/>
                  <a:pt x="19" y="14"/>
                  <a:pt x="19" y="14"/>
                </a:cubicBezTo>
                <a:cubicBezTo>
                  <a:pt x="20" y="14"/>
                  <a:pt x="20" y="14"/>
                  <a:pt x="20" y="14"/>
                </a:cubicBezTo>
                <a:cubicBezTo>
                  <a:pt x="20" y="14"/>
                  <a:pt x="20" y="14"/>
                  <a:pt x="20" y="14"/>
                </a:cubicBezTo>
                <a:cubicBezTo>
                  <a:pt x="20" y="14"/>
                  <a:pt x="20" y="14"/>
                  <a:pt x="20" y="14"/>
                </a:cubicBezTo>
                <a:cubicBezTo>
                  <a:pt x="20" y="13"/>
                  <a:pt x="20" y="13"/>
                  <a:pt x="20" y="13"/>
                </a:cubicBezTo>
                <a:cubicBezTo>
                  <a:pt x="20" y="13"/>
                  <a:pt x="20" y="13"/>
                  <a:pt x="20" y="13"/>
                </a:cubicBezTo>
                <a:cubicBezTo>
                  <a:pt x="20" y="13"/>
                  <a:pt x="20" y="13"/>
                  <a:pt x="20" y="13"/>
                </a:cubicBezTo>
                <a:cubicBezTo>
                  <a:pt x="20" y="12"/>
                  <a:pt x="20" y="12"/>
                  <a:pt x="20" y="12"/>
                </a:cubicBezTo>
                <a:cubicBezTo>
                  <a:pt x="20" y="11"/>
                  <a:pt x="20" y="11"/>
                  <a:pt x="20" y="11"/>
                </a:cubicBezTo>
                <a:cubicBezTo>
                  <a:pt x="20" y="11"/>
                  <a:pt x="20" y="11"/>
                  <a:pt x="20" y="11"/>
                </a:cubicBezTo>
                <a:cubicBezTo>
                  <a:pt x="20" y="11"/>
                  <a:pt x="20" y="11"/>
                  <a:pt x="20" y="11"/>
                </a:cubicBezTo>
                <a:cubicBezTo>
                  <a:pt x="21" y="11"/>
                  <a:pt x="21" y="10"/>
                  <a:pt x="21" y="10"/>
                </a:cubicBezTo>
                <a:cubicBezTo>
                  <a:pt x="21" y="10"/>
                  <a:pt x="22" y="9"/>
                  <a:pt x="22" y="9"/>
                </a:cubicBezTo>
                <a:cubicBezTo>
                  <a:pt x="22" y="9"/>
                  <a:pt x="22" y="9"/>
                  <a:pt x="22" y="8"/>
                </a:cubicBezTo>
                <a:cubicBezTo>
                  <a:pt x="22" y="8"/>
                  <a:pt x="23" y="8"/>
                  <a:pt x="23" y="8"/>
                </a:cubicBezTo>
                <a:cubicBezTo>
                  <a:pt x="23" y="7"/>
                  <a:pt x="23" y="6"/>
                  <a:pt x="22" y="6"/>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0" name="Freeform 3210">
            <a:extLst>
              <a:ext uri="{FF2B5EF4-FFF2-40B4-BE49-F238E27FC236}">
                <a16:creationId xmlns:a16="http://schemas.microsoft.com/office/drawing/2014/main" id="{BEC5ED95-09B8-44A1-9B2E-6FA5ED288A4F}"/>
              </a:ext>
            </a:extLst>
          </p:cNvPr>
          <p:cNvSpPr>
            <a:spLocks noEditPoints="1"/>
          </p:cNvSpPr>
          <p:nvPr/>
        </p:nvSpPr>
        <p:spPr bwMode="auto">
          <a:xfrm>
            <a:off x="3538714" y="4084468"/>
            <a:ext cx="194260" cy="195293"/>
          </a:xfrm>
          <a:custGeom>
            <a:avLst/>
            <a:gdLst>
              <a:gd name="T0" fmla="*/ 161 w 166"/>
              <a:gd name="T1" fmla="*/ 51 h 139"/>
              <a:gd name="T2" fmla="*/ 150 w 166"/>
              <a:gd name="T3" fmla="*/ 54 h 139"/>
              <a:gd name="T4" fmla="*/ 145 w 166"/>
              <a:gd name="T5" fmla="*/ 49 h 139"/>
              <a:gd name="T6" fmla="*/ 144 w 166"/>
              <a:gd name="T7" fmla="*/ 45 h 139"/>
              <a:gd name="T8" fmla="*/ 156 w 166"/>
              <a:gd name="T9" fmla="*/ 38 h 139"/>
              <a:gd name="T10" fmla="*/ 157 w 166"/>
              <a:gd name="T11" fmla="*/ 35 h 139"/>
              <a:gd name="T12" fmla="*/ 156 w 166"/>
              <a:gd name="T13" fmla="*/ 23 h 139"/>
              <a:gd name="T14" fmla="*/ 152 w 166"/>
              <a:gd name="T15" fmla="*/ 10 h 139"/>
              <a:gd name="T16" fmla="*/ 150 w 166"/>
              <a:gd name="T17" fmla="*/ 2 h 139"/>
              <a:gd name="T18" fmla="*/ 135 w 166"/>
              <a:gd name="T19" fmla="*/ 0 h 139"/>
              <a:gd name="T20" fmla="*/ 129 w 166"/>
              <a:gd name="T21" fmla="*/ 0 h 139"/>
              <a:gd name="T22" fmla="*/ 122 w 166"/>
              <a:gd name="T23" fmla="*/ 4 h 139"/>
              <a:gd name="T24" fmla="*/ 114 w 166"/>
              <a:gd name="T25" fmla="*/ 11 h 139"/>
              <a:gd name="T26" fmla="*/ 107 w 166"/>
              <a:gd name="T27" fmla="*/ 20 h 139"/>
              <a:gd name="T28" fmla="*/ 96 w 166"/>
              <a:gd name="T29" fmla="*/ 27 h 139"/>
              <a:gd name="T30" fmla="*/ 93 w 166"/>
              <a:gd name="T31" fmla="*/ 36 h 139"/>
              <a:gd name="T32" fmla="*/ 81 w 166"/>
              <a:gd name="T33" fmla="*/ 39 h 139"/>
              <a:gd name="T34" fmla="*/ 67 w 166"/>
              <a:gd name="T35" fmla="*/ 33 h 139"/>
              <a:gd name="T36" fmla="*/ 65 w 166"/>
              <a:gd name="T37" fmla="*/ 36 h 139"/>
              <a:gd name="T38" fmla="*/ 65 w 166"/>
              <a:gd name="T39" fmla="*/ 39 h 139"/>
              <a:gd name="T40" fmla="*/ 62 w 166"/>
              <a:gd name="T41" fmla="*/ 43 h 139"/>
              <a:gd name="T42" fmla="*/ 52 w 166"/>
              <a:gd name="T43" fmla="*/ 51 h 139"/>
              <a:gd name="T44" fmla="*/ 48 w 166"/>
              <a:gd name="T45" fmla="*/ 50 h 139"/>
              <a:gd name="T46" fmla="*/ 42 w 166"/>
              <a:gd name="T47" fmla="*/ 52 h 139"/>
              <a:gd name="T48" fmla="*/ 40 w 166"/>
              <a:gd name="T49" fmla="*/ 48 h 139"/>
              <a:gd name="T50" fmla="*/ 42 w 166"/>
              <a:gd name="T51" fmla="*/ 43 h 139"/>
              <a:gd name="T52" fmla="*/ 41 w 166"/>
              <a:gd name="T53" fmla="*/ 36 h 139"/>
              <a:gd name="T54" fmla="*/ 36 w 166"/>
              <a:gd name="T55" fmla="*/ 29 h 139"/>
              <a:gd name="T56" fmla="*/ 36 w 166"/>
              <a:gd name="T57" fmla="*/ 67 h 139"/>
              <a:gd name="T58" fmla="*/ 29 w 166"/>
              <a:gd name="T59" fmla="*/ 72 h 139"/>
              <a:gd name="T60" fmla="*/ 18 w 166"/>
              <a:gd name="T61" fmla="*/ 73 h 139"/>
              <a:gd name="T62" fmla="*/ 8 w 166"/>
              <a:gd name="T63" fmla="*/ 70 h 139"/>
              <a:gd name="T64" fmla="*/ 7 w 166"/>
              <a:gd name="T65" fmla="*/ 66 h 139"/>
              <a:gd name="T66" fmla="*/ 4 w 166"/>
              <a:gd name="T67" fmla="*/ 64 h 139"/>
              <a:gd name="T68" fmla="*/ 3 w 166"/>
              <a:gd name="T69" fmla="*/ 66 h 139"/>
              <a:gd name="T70" fmla="*/ 0 w 166"/>
              <a:gd name="T71" fmla="*/ 70 h 139"/>
              <a:gd name="T72" fmla="*/ 18 w 166"/>
              <a:gd name="T73" fmla="*/ 107 h 139"/>
              <a:gd name="T74" fmla="*/ 14 w 166"/>
              <a:gd name="T75" fmla="*/ 118 h 139"/>
              <a:gd name="T76" fmla="*/ 20 w 166"/>
              <a:gd name="T77" fmla="*/ 133 h 139"/>
              <a:gd name="T78" fmla="*/ 29 w 166"/>
              <a:gd name="T79" fmla="*/ 137 h 139"/>
              <a:gd name="T80" fmla="*/ 54 w 166"/>
              <a:gd name="T81" fmla="*/ 133 h 139"/>
              <a:gd name="T82" fmla="*/ 85 w 166"/>
              <a:gd name="T83" fmla="*/ 131 h 139"/>
              <a:gd name="T84" fmla="*/ 93 w 166"/>
              <a:gd name="T85" fmla="*/ 128 h 139"/>
              <a:gd name="T86" fmla="*/ 114 w 166"/>
              <a:gd name="T87" fmla="*/ 120 h 139"/>
              <a:gd name="T88" fmla="*/ 156 w 166"/>
              <a:gd name="T89" fmla="*/ 72 h 139"/>
              <a:gd name="T90" fmla="*/ 166 w 166"/>
              <a:gd name="T91" fmla="*/ 51 h 139"/>
              <a:gd name="T92" fmla="*/ 129 w 166"/>
              <a:gd name="T93" fmla="*/ 81 h 139"/>
              <a:gd name="T94" fmla="*/ 125 w 166"/>
              <a:gd name="T95" fmla="*/ 86 h 139"/>
              <a:gd name="T96" fmla="*/ 118 w 166"/>
              <a:gd name="T97" fmla="*/ 92 h 139"/>
              <a:gd name="T98" fmla="*/ 110 w 166"/>
              <a:gd name="T99" fmla="*/ 88 h 139"/>
              <a:gd name="T100" fmla="*/ 106 w 166"/>
              <a:gd name="T101" fmla="*/ 81 h 139"/>
              <a:gd name="T102" fmla="*/ 110 w 166"/>
              <a:gd name="T103" fmla="*/ 77 h 139"/>
              <a:gd name="T104" fmla="*/ 117 w 166"/>
              <a:gd name="T105" fmla="*/ 70 h 139"/>
              <a:gd name="T106" fmla="*/ 124 w 166"/>
              <a:gd name="T107" fmla="*/ 67 h 139"/>
              <a:gd name="T108" fmla="*/ 129 w 166"/>
              <a:gd name="T109" fmla="*/ 7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 h="139">
                <a:moveTo>
                  <a:pt x="166" y="51"/>
                </a:moveTo>
                <a:cubicBezTo>
                  <a:pt x="165" y="51"/>
                  <a:pt x="165" y="51"/>
                  <a:pt x="165" y="51"/>
                </a:cubicBezTo>
                <a:cubicBezTo>
                  <a:pt x="164" y="51"/>
                  <a:pt x="163" y="51"/>
                  <a:pt x="163" y="51"/>
                </a:cubicBezTo>
                <a:cubicBezTo>
                  <a:pt x="162" y="51"/>
                  <a:pt x="162" y="51"/>
                  <a:pt x="162" y="51"/>
                </a:cubicBezTo>
                <a:cubicBezTo>
                  <a:pt x="162" y="51"/>
                  <a:pt x="161" y="51"/>
                  <a:pt x="161" y="51"/>
                </a:cubicBezTo>
                <a:cubicBezTo>
                  <a:pt x="160" y="51"/>
                  <a:pt x="160" y="50"/>
                  <a:pt x="159" y="50"/>
                </a:cubicBezTo>
                <a:cubicBezTo>
                  <a:pt x="159" y="50"/>
                  <a:pt x="159" y="50"/>
                  <a:pt x="159" y="50"/>
                </a:cubicBezTo>
                <a:cubicBezTo>
                  <a:pt x="159" y="51"/>
                  <a:pt x="159" y="53"/>
                  <a:pt x="159" y="54"/>
                </a:cubicBezTo>
                <a:cubicBezTo>
                  <a:pt x="159" y="55"/>
                  <a:pt x="159" y="55"/>
                  <a:pt x="159" y="55"/>
                </a:cubicBezTo>
                <a:cubicBezTo>
                  <a:pt x="150" y="54"/>
                  <a:pt x="150" y="54"/>
                  <a:pt x="150" y="54"/>
                </a:cubicBezTo>
                <a:cubicBezTo>
                  <a:pt x="150" y="54"/>
                  <a:pt x="149" y="54"/>
                  <a:pt x="148" y="53"/>
                </a:cubicBezTo>
                <a:cubicBezTo>
                  <a:pt x="147" y="51"/>
                  <a:pt x="147" y="51"/>
                  <a:pt x="147" y="51"/>
                </a:cubicBezTo>
                <a:cubicBezTo>
                  <a:pt x="147" y="51"/>
                  <a:pt x="146" y="50"/>
                  <a:pt x="146" y="49"/>
                </a:cubicBezTo>
                <a:cubicBezTo>
                  <a:pt x="145" y="49"/>
                  <a:pt x="145" y="49"/>
                  <a:pt x="145" y="49"/>
                </a:cubicBezTo>
                <a:cubicBezTo>
                  <a:pt x="145" y="49"/>
                  <a:pt x="145" y="49"/>
                  <a:pt x="145" y="49"/>
                </a:cubicBezTo>
                <a:cubicBezTo>
                  <a:pt x="144" y="48"/>
                  <a:pt x="144" y="48"/>
                  <a:pt x="144" y="48"/>
                </a:cubicBezTo>
                <a:cubicBezTo>
                  <a:pt x="144" y="48"/>
                  <a:pt x="144" y="48"/>
                  <a:pt x="144" y="48"/>
                </a:cubicBezTo>
                <a:cubicBezTo>
                  <a:pt x="144" y="47"/>
                  <a:pt x="144" y="46"/>
                  <a:pt x="144" y="46"/>
                </a:cubicBezTo>
                <a:cubicBezTo>
                  <a:pt x="144" y="45"/>
                  <a:pt x="144" y="45"/>
                  <a:pt x="144" y="45"/>
                </a:cubicBezTo>
                <a:cubicBezTo>
                  <a:pt x="144" y="45"/>
                  <a:pt x="144" y="45"/>
                  <a:pt x="144" y="45"/>
                </a:cubicBezTo>
                <a:cubicBezTo>
                  <a:pt x="145" y="44"/>
                  <a:pt x="146" y="42"/>
                  <a:pt x="146" y="42"/>
                </a:cubicBezTo>
                <a:cubicBezTo>
                  <a:pt x="147" y="40"/>
                  <a:pt x="149" y="38"/>
                  <a:pt x="150" y="37"/>
                </a:cubicBezTo>
                <a:cubicBezTo>
                  <a:pt x="151" y="36"/>
                  <a:pt x="152" y="36"/>
                  <a:pt x="153" y="36"/>
                </a:cubicBezTo>
                <a:cubicBezTo>
                  <a:pt x="154" y="36"/>
                  <a:pt x="154" y="36"/>
                  <a:pt x="154" y="36"/>
                </a:cubicBezTo>
                <a:cubicBezTo>
                  <a:pt x="154" y="37"/>
                  <a:pt x="155" y="38"/>
                  <a:pt x="156" y="38"/>
                </a:cubicBezTo>
                <a:cubicBezTo>
                  <a:pt x="156" y="38"/>
                  <a:pt x="156" y="38"/>
                  <a:pt x="156" y="38"/>
                </a:cubicBezTo>
                <a:cubicBezTo>
                  <a:pt x="156" y="37"/>
                  <a:pt x="156" y="37"/>
                  <a:pt x="156" y="37"/>
                </a:cubicBezTo>
                <a:cubicBezTo>
                  <a:pt x="157" y="37"/>
                  <a:pt x="157" y="36"/>
                  <a:pt x="157" y="36"/>
                </a:cubicBezTo>
                <a:cubicBezTo>
                  <a:pt x="157" y="36"/>
                  <a:pt x="157" y="35"/>
                  <a:pt x="157" y="35"/>
                </a:cubicBezTo>
                <a:cubicBezTo>
                  <a:pt x="157" y="35"/>
                  <a:pt x="157" y="35"/>
                  <a:pt x="157" y="35"/>
                </a:cubicBezTo>
                <a:cubicBezTo>
                  <a:pt x="157" y="34"/>
                  <a:pt x="157" y="34"/>
                  <a:pt x="157" y="33"/>
                </a:cubicBezTo>
                <a:cubicBezTo>
                  <a:pt x="157" y="32"/>
                  <a:pt x="157" y="32"/>
                  <a:pt x="157" y="32"/>
                </a:cubicBezTo>
                <a:cubicBezTo>
                  <a:pt x="157" y="32"/>
                  <a:pt x="157" y="31"/>
                  <a:pt x="157" y="31"/>
                </a:cubicBezTo>
                <a:cubicBezTo>
                  <a:pt x="157" y="29"/>
                  <a:pt x="156" y="27"/>
                  <a:pt x="156" y="25"/>
                </a:cubicBezTo>
                <a:cubicBezTo>
                  <a:pt x="156" y="23"/>
                  <a:pt x="156" y="23"/>
                  <a:pt x="156" y="23"/>
                </a:cubicBezTo>
                <a:cubicBezTo>
                  <a:pt x="156" y="21"/>
                  <a:pt x="156" y="19"/>
                  <a:pt x="155" y="18"/>
                </a:cubicBezTo>
                <a:cubicBezTo>
                  <a:pt x="153" y="14"/>
                  <a:pt x="153" y="14"/>
                  <a:pt x="153" y="14"/>
                </a:cubicBezTo>
                <a:cubicBezTo>
                  <a:pt x="152" y="13"/>
                  <a:pt x="152" y="12"/>
                  <a:pt x="152" y="11"/>
                </a:cubicBezTo>
                <a:cubicBezTo>
                  <a:pt x="151" y="11"/>
                  <a:pt x="151" y="11"/>
                  <a:pt x="151" y="11"/>
                </a:cubicBezTo>
                <a:cubicBezTo>
                  <a:pt x="152" y="10"/>
                  <a:pt x="152" y="10"/>
                  <a:pt x="152" y="10"/>
                </a:cubicBezTo>
                <a:cubicBezTo>
                  <a:pt x="152" y="10"/>
                  <a:pt x="152" y="10"/>
                  <a:pt x="152" y="10"/>
                </a:cubicBezTo>
                <a:cubicBezTo>
                  <a:pt x="152" y="10"/>
                  <a:pt x="152" y="10"/>
                  <a:pt x="152" y="9"/>
                </a:cubicBezTo>
                <a:cubicBezTo>
                  <a:pt x="152" y="8"/>
                  <a:pt x="151" y="6"/>
                  <a:pt x="151" y="5"/>
                </a:cubicBezTo>
                <a:cubicBezTo>
                  <a:pt x="150" y="4"/>
                  <a:pt x="150" y="3"/>
                  <a:pt x="150" y="3"/>
                </a:cubicBezTo>
                <a:cubicBezTo>
                  <a:pt x="150" y="2"/>
                  <a:pt x="150" y="2"/>
                  <a:pt x="150" y="2"/>
                </a:cubicBezTo>
                <a:cubicBezTo>
                  <a:pt x="149" y="2"/>
                  <a:pt x="149" y="2"/>
                  <a:pt x="149" y="2"/>
                </a:cubicBezTo>
                <a:cubicBezTo>
                  <a:pt x="148" y="1"/>
                  <a:pt x="148" y="1"/>
                  <a:pt x="146" y="1"/>
                </a:cubicBezTo>
                <a:cubicBezTo>
                  <a:pt x="146" y="1"/>
                  <a:pt x="146" y="1"/>
                  <a:pt x="146" y="1"/>
                </a:cubicBezTo>
                <a:cubicBezTo>
                  <a:pt x="143" y="0"/>
                  <a:pt x="139" y="0"/>
                  <a:pt x="136" y="0"/>
                </a:cubicBezTo>
                <a:cubicBezTo>
                  <a:pt x="135" y="0"/>
                  <a:pt x="135" y="0"/>
                  <a:pt x="135" y="0"/>
                </a:cubicBezTo>
                <a:cubicBezTo>
                  <a:pt x="133" y="0"/>
                  <a:pt x="132" y="0"/>
                  <a:pt x="131" y="0"/>
                </a:cubicBezTo>
                <a:cubicBezTo>
                  <a:pt x="131" y="0"/>
                  <a:pt x="131" y="0"/>
                  <a:pt x="131" y="0"/>
                </a:cubicBezTo>
                <a:cubicBezTo>
                  <a:pt x="131" y="0"/>
                  <a:pt x="131" y="0"/>
                  <a:pt x="131" y="0"/>
                </a:cubicBezTo>
                <a:cubicBezTo>
                  <a:pt x="130" y="0"/>
                  <a:pt x="130" y="0"/>
                  <a:pt x="130" y="0"/>
                </a:cubicBezTo>
                <a:cubicBezTo>
                  <a:pt x="130" y="0"/>
                  <a:pt x="129" y="0"/>
                  <a:pt x="129" y="0"/>
                </a:cubicBezTo>
                <a:cubicBezTo>
                  <a:pt x="129" y="0"/>
                  <a:pt x="128" y="0"/>
                  <a:pt x="128" y="0"/>
                </a:cubicBezTo>
                <a:cubicBezTo>
                  <a:pt x="128" y="0"/>
                  <a:pt x="128" y="1"/>
                  <a:pt x="128" y="1"/>
                </a:cubicBezTo>
                <a:cubicBezTo>
                  <a:pt x="127" y="2"/>
                  <a:pt x="127" y="3"/>
                  <a:pt x="126" y="3"/>
                </a:cubicBezTo>
                <a:cubicBezTo>
                  <a:pt x="125" y="3"/>
                  <a:pt x="125" y="3"/>
                  <a:pt x="125" y="3"/>
                </a:cubicBezTo>
                <a:cubicBezTo>
                  <a:pt x="124" y="4"/>
                  <a:pt x="123" y="4"/>
                  <a:pt x="122" y="4"/>
                </a:cubicBezTo>
                <a:cubicBezTo>
                  <a:pt x="122" y="4"/>
                  <a:pt x="121" y="4"/>
                  <a:pt x="121" y="4"/>
                </a:cubicBezTo>
                <a:cubicBezTo>
                  <a:pt x="121" y="4"/>
                  <a:pt x="121" y="4"/>
                  <a:pt x="121" y="4"/>
                </a:cubicBezTo>
                <a:cubicBezTo>
                  <a:pt x="121" y="4"/>
                  <a:pt x="120" y="5"/>
                  <a:pt x="119" y="6"/>
                </a:cubicBezTo>
                <a:cubicBezTo>
                  <a:pt x="119" y="7"/>
                  <a:pt x="119" y="7"/>
                  <a:pt x="119" y="7"/>
                </a:cubicBezTo>
                <a:cubicBezTo>
                  <a:pt x="117" y="8"/>
                  <a:pt x="116" y="10"/>
                  <a:pt x="114" y="11"/>
                </a:cubicBezTo>
                <a:cubicBezTo>
                  <a:pt x="113" y="12"/>
                  <a:pt x="112" y="12"/>
                  <a:pt x="112" y="13"/>
                </a:cubicBezTo>
                <a:cubicBezTo>
                  <a:pt x="110" y="14"/>
                  <a:pt x="108" y="15"/>
                  <a:pt x="107" y="17"/>
                </a:cubicBezTo>
                <a:cubicBezTo>
                  <a:pt x="107" y="18"/>
                  <a:pt x="107" y="18"/>
                  <a:pt x="107" y="18"/>
                </a:cubicBezTo>
                <a:cubicBezTo>
                  <a:pt x="107" y="18"/>
                  <a:pt x="107" y="19"/>
                  <a:pt x="107" y="19"/>
                </a:cubicBezTo>
                <a:cubicBezTo>
                  <a:pt x="107" y="19"/>
                  <a:pt x="107" y="20"/>
                  <a:pt x="107" y="20"/>
                </a:cubicBezTo>
                <a:cubicBezTo>
                  <a:pt x="106" y="21"/>
                  <a:pt x="106" y="22"/>
                  <a:pt x="105" y="23"/>
                </a:cubicBezTo>
                <a:cubicBezTo>
                  <a:pt x="105" y="23"/>
                  <a:pt x="105" y="23"/>
                  <a:pt x="104" y="23"/>
                </a:cubicBezTo>
                <a:cubicBezTo>
                  <a:pt x="103" y="24"/>
                  <a:pt x="103" y="24"/>
                  <a:pt x="103" y="24"/>
                </a:cubicBezTo>
                <a:cubicBezTo>
                  <a:pt x="102" y="26"/>
                  <a:pt x="101" y="26"/>
                  <a:pt x="98" y="27"/>
                </a:cubicBezTo>
                <a:cubicBezTo>
                  <a:pt x="98" y="27"/>
                  <a:pt x="97" y="27"/>
                  <a:pt x="96" y="27"/>
                </a:cubicBezTo>
                <a:cubicBezTo>
                  <a:pt x="96" y="27"/>
                  <a:pt x="96" y="27"/>
                  <a:pt x="96" y="27"/>
                </a:cubicBezTo>
                <a:cubicBezTo>
                  <a:pt x="96" y="28"/>
                  <a:pt x="96" y="28"/>
                  <a:pt x="96" y="29"/>
                </a:cubicBezTo>
                <a:cubicBezTo>
                  <a:pt x="96" y="31"/>
                  <a:pt x="95" y="34"/>
                  <a:pt x="94" y="35"/>
                </a:cubicBezTo>
                <a:cubicBezTo>
                  <a:pt x="94" y="35"/>
                  <a:pt x="93" y="36"/>
                  <a:pt x="93" y="36"/>
                </a:cubicBezTo>
                <a:cubicBezTo>
                  <a:pt x="93" y="36"/>
                  <a:pt x="93" y="36"/>
                  <a:pt x="93" y="36"/>
                </a:cubicBezTo>
                <a:cubicBezTo>
                  <a:pt x="92" y="37"/>
                  <a:pt x="91" y="38"/>
                  <a:pt x="91" y="38"/>
                </a:cubicBezTo>
                <a:cubicBezTo>
                  <a:pt x="90" y="38"/>
                  <a:pt x="89" y="39"/>
                  <a:pt x="89" y="39"/>
                </a:cubicBezTo>
                <a:cubicBezTo>
                  <a:pt x="88" y="39"/>
                  <a:pt x="88" y="39"/>
                  <a:pt x="88" y="39"/>
                </a:cubicBezTo>
                <a:cubicBezTo>
                  <a:pt x="87" y="39"/>
                  <a:pt x="87" y="39"/>
                  <a:pt x="86" y="39"/>
                </a:cubicBezTo>
                <a:cubicBezTo>
                  <a:pt x="85" y="39"/>
                  <a:pt x="83" y="39"/>
                  <a:pt x="81" y="39"/>
                </a:cubicBezTo>
                <a:cubicBezTo>
                  <a:pt x="76" y="36"/>
                  <a:pt x="76" y="36"/>
                  <a:pt x="76" y="36"/>
                </a:cubicBezTo>
                <a:cubicBezTo>
                  <a:pt x="75" y="36"/>
                  <a:pt x="74" y="36"/>
                  <a:pt x="74" y="36"/>
                </a:cubicBezTo>
                <a:cubicBezTo>
                  <a:pt x="73" y="35"/>
                  <a:pt x="73" y="35"/>
                  <a:pt x="73" y="35"/>
                </a:cubicBezTo>
                <a:cubicBezTo>
                  <a:pt x="72" y="35"/>
                  <a:pt x="71" y="34"/>
                  <a:pt x="70" y="34"/>
                </a:cubicBezTo>
                <a:cubicBezTo>
                  <a:pt x="68" y="33"/>
                  <a:pt x="67" y="33"/>
                  <a:pt x="67" y="33"/>
                </a:cubicBezTo>
                <a:cubicBezTo>
                  <a:pt x="66" y="34"/>
                  <a:pt x="65" y="35"/>
                  <a:pt x="65" y="35"/>
                </a:cubicBezTo>
                <a:cubicBezTo>
                  <a:pt x="65" y="35"/>
                  <a:pt x="65" y="35"/>
                  <a:pt x="65" y="35"/>
                </a:cubicBezTo>
                <a:cubicBezTo>
                  <a:pt x="65" y="35"/>
                  <a:pt x="65" y="35"/>
                  <a:pt x="65" y="36"/>
                </a:cubicBezTo>
                <a:cubicBezTo>
                  <a:pt x="65" y="36"/>
                  <a:pt x="65" y="36"/>
                  <a:pt x="65" y="36"/>
                </a:cubicBezTo>
                <a:cubicBezTo>
                  <a:pt x="65" y="36"/>
                  <a:pt x="65" y="36"/>
                  <a:pt x="65" y="36"/>
                </a:cubicBezTo>
                <a:cubicBezTo>
                  <a:pt x="65" y="37"/>
                  <a:pt x="65" y="37"/>
                  <a:pt x="65" y="37"/>
                </a:cubicBezTo>
                <a:cubicBezTo>
                  <a:pt x="65" y="37"/>
                  <a:pt x="65" y="37"/>
                  <a:pt x="65" y="38"/>
                </a:cubicBezTo>
                <a:cubicBezTo>
                  <a:pt x="65" y="38"/>
                  <a:pt x="65" y="38"/>
                  <a:pt x="65" y="38"/>
                </a:cubicBezTo>
                <a:cubicBezTo>
                  <a:pt x="65" y="38"/>
                  <a:pt x="65" y="38"/>
                  <a:pt x="65" y="38"/>
                </a:cubicBezTo>
                <a:cubicBezTo>
                  <a:pt x="65" y="39"/>
                  <a:pt x="65" y="39"/>
                  <a:pt x="65" y="39"/>
                </a:cubicBezTo>
                <a:cubicBezTo>
                  <a:pt x="64" y="39"/>
                  <a:pt x="64" y="39"/>
                  <a:pt x="64" y="39"/>
                </a:cubicBezTo>
                <a:cubicBezTo>
                  <a:pt x="64" y="39"/>
                  <a:pt x="64" y="39"/>
                  <a:pt x="64" y="40"/>
                </a:cubicBezTo>
                <a:cubicBezTo>
                  <a:pt x="64" y="40"/>
                  <a:pt x="64" y="41"/>
                  <a:pt x="63" y="41"/>
                </a:cubicBezTo>
                <a:cubicBezTo>
                  <a:pt x="63" y="42"/>
                  <a:pt x="63" y="42"/>
                  <a:pt x="63" y="42"/>
                </a:cubicBezTo>
                <a:cubicBezTo>
                  <a:pt x="62" y="43"/>
                  <a:pt x="62" y="43"/>
                  <a:pt x="62" y="43"/>
                </a:cubicBezTo>
                <a:cubicBezTo>
                  <a:pt x="57" y="47"/>
                  <a:pt x="57" y="47"/>
                  <a:pt x="57" y="47"/>
                </a:cubicBezTo>
                <a:cubicBezTo>
                  <a:pt x="57" y="47"/>
                  <a:pt x="57" y="47"/>
                  <a:pt x="57" y="47"/>
                </a:cubicBezTo>
                <a:cubicBezTo>
                  <a:pt x="56" y="48"/>
                  <a:pt x="56" y="48"/>
                  <a:pt x="56" y="48"/>
                </a:cubicBezTo>
                <a:cubicBezTo>
                  <a:pt x="55" y="49"/>
                  <a:pt x="55" y="49"/>
                  <a:pt x="55" y="49"/>
                </a:cubicBezTo>
                <a:cubicBezTo>
                  <a:pt x="54" y="50"/>
                  <a:pt x="53" y="51"/>
                  <a:pt x="52" y="51"/>
                </a:cubicBezTo>
                <a:cubicBezTo>
                  <a:pt x="52" y="51"/>
                  <a:pt x="51" y="51"/>
                  <a:pt x="51" y="51"/>
                </a:cubicBezTo>
                <a:cubicBezTo>
                  <a:pt x="51" y="51"/>
                  <a:pt x="50" y="51"/>
                  <a:pt x="50" y="51"/>
                </a:cubicBezTo>
                <a:cubicBezTo>
                  <a:pt x="50" y="50"/>
                  <a:pt x="50" y="50"/>
                  <a:pt x="50" y="50"/>
                </a:cubicBezTo>
                <a:cubicBezTo>
                  <a:pt x="50" y="50"/>
                  <a:pt x="49" y="50"/>
                  <a:pt x="49" y="50"/>
                </a:cubicBezTo>
                <a:cubicBezTo>
                  <a:pt x="49" y="50"/>
                  <a:pt x="48" y="50"/>
                  <a:pt x="48" y="50"/>
                </a:cubicBezTo>
                <a:cubicBezTo>
                  <a:pt x="47" y="51"/>
                  <a:pt x="46" y="50"/>
                  <a:pt x="46" y="50"/>
                </a:cubicBezTo>
                <a:cubicBezTo>
                  <a:pt x="45" y="50"/>
                  <a:pt x="45" y="50"/>
                  <a:pt x="45" y="50"/>
                </a:cubicBezTo>
                <a:cubicBezTo>
                  <a:pt x="44" y="50"/>
                  <a:pt x="44" y="50"/>
                  <a:pt x="44" y="50"/>
                </a:cubicBezTo>
                <a:cubicBezTo>
                  <a:pt x="43" y="50"/>
                  <a:pt x="43" y="51"/>
                  <a:pt x="43" y="51"/>
                </a:cubicBezTo>
                <a:cubicBezTo>
                  <a:pt x="42" y="52"/>
                  <a:pt x="42" y="52"/>
                  <a:pt x="42" y="52"/>
                </a:cubicBezTo>
                <a:cubicBezTo>
                  <a:pt x="41" y="50"/>
                  <a:pt x="41" y="50"/>
                  <a:pt x="41" y="50"/>
                </a:cubicBezTo>
                <a:cubicBezTo>
                  <a:pt x="41" y="50"/>
                  <a:pt x="41" y="49"/>
                  <a:pt x="41" y="49"/>
                </a:cubicBezTo>
                <a:cubicBezTo>
                  <a:pt x="41" y="49"/>
                  <a:pt x="41" y="48"/>
                  <a:pt x="41" y="48"/>
                </a:cubicBezTo>
                <a:cubicBezTo>
                  <a:pt x="38" y="48"/>
                  <a:pt x="38" y="48"/>
                  <a:pt x="38" y="48"/>
                </a:cubicBezTo>
                <a:cubicBezTo>
                  <a:pt x="40" y="48"/>
                  <a:pt x="40" y="48"/>
                  <a:pt x="40" y="48"/>
                </a:cubicBezTo>
                <a:cubicBezTo>
                  <a:pt x="40" y="47"/>
                  <a:pt x="40" y="47"/>
                  <a:pt x="40" y="47"/>
                </a:cubicBezTo>
                <a:cubicBezTo>
                  <a:pt x="40" y="47"/>
                  <a:pt x="40" y="47"/>
                  <a:pt x="40" y="47"/>
                </a:cubicBezTo>
                <a:cubicBezTo>
                  <a:pt x="40" y="46"/>
                  <a:pt x="40" y="46"/>
                  <a:pt x="40" y="46"/>
                </a:cubicBezTo>
                <a:cubicBezTo>
                  <a:pt x="40" y="45"/>
                  <a:pt x="41" y="44"/>
                  <a:pt x="41" y="43"/>
                </a:cubicBezTo>
                <a:cubicBezTo>
                  <a:pt x="42" y="43"/>
                  <a:pt x="42" y="43"/>
                  <a:pt x="42" y="43"/>
                </a:cubicBezTo>
                <a:cubicBezTo>
                  <a:pt x="42" y="43"/>
                  <a:pt x="42" y="43"/>
                  <a:pt x="42" y="43"/>
                </a:cubicBezTo>
                <a:cubicBezTo>
                  <a:pt x="42" y="42"/>
                  <a:pt x="42" y="42"/>
                  <a:pt x="42" y="42"/>
                </a:cubicBezTo>
                <a:cubicBezTo>
                  <a:pt x="43" y="42"/>
                  <a:pt x="43" y="41"/>
                  <a:pt x="43" y="41"/>
                </a:cubicBezTo>
                <a:cubicBezTo>
                  <a:pt x="43" y="41"/>
                  <a:pt x="43" y="41"/>
                  <a:pt x="43" y="41"/>
                </a:cubicBezTo>
                <a:cubicBezTo>
                  <a:pt x="43" y="39"/>
                  <a:pt x="42" y="37"/>
                  <a:pt x="41" y="36"/>
                </a:cubicBezTo>
                <a:cubicBezTo>
                  <a:pt x="41" y="35"/>
                  <a:pt x="41" y="35"/>
                  <a:pt x="41" y="35"/>
                </a:cubicBezTo>
                <a:cubicBezTo>
                  <a:pt x="41" y="35"/>
                  <a:pt x="41" y="35"/>
                  <a:pt x="41" y="35"/>
                </a:cubicBezTo>
                <a:cubicBezTo>
                  <a:pt x="40" y="34"/>
                  <a:pt x="40" y="34"/>
                  <a:pt x="40" y="34"/>
                </a:cubicBezTo>
                <a:cubicBezTo>
                  <a:pt x="40" y="33"/>
                  <a:pt x="39" y="31"/>
                  <a:pt x="38" y="30"/>
                </a:cubicBezTo>
                <a:cubicBezTo>
                  <a:pt x="38" y="30"/>
                  <a:pt x="37" y="29"/>
                  <a:pt x="36" y="29"/>
                </a:cubicBezTo>
                <a:cubicBezTo>
                  <a:pt x="36" y="30"/>
                  <a:pt x="36" y="31"/>
                  <a:pt x="36" y="31"/>
                </a:cubicBezTo>
                <a:cubicBezTo>
                  <a:pt x="36" y="63"/>
                  <a:pt x="36" y="63"/>
                  <a:pt x="36" y="63"/>
                </a:cubicBezTo>
                <a:cubicBezTo>
                  <a:pt x="36" y="63"/>
                  <a:pt x="36" y="63"/>
                  <a:pt x="36" y="63"/>
                </a:cubicBezTo>
                <a:cubicBezTo>
                  <a:pt x="36" y="64"/>
                  <a:pt x="36" y="64"/>
                  <a:pt x="36" y="64"/>
                </a:cubicBezTo>
                <a:cubicBezTo>
                  <a:pt x="37" y="65"/>
                  <a:pt x="37" y="67"/>
                  <a:pt x="36" y="67"/>
                </a:cubicBezTo>
                <a:cubicBezTo>
                  <a:pt x="36" y="68"/>
                  <a:pt x="34" y="68"/>
                  <a:pt x="33" y="69"/>
                </a:cubicBezTo>
                <a:cubicBezTo>
                  <a:pt x="33" y="69"/>
                  <a:pt x="33" y="69"/>
                  <a:pt x="33" y="69"/>
                </a:cubicBezTo>
                <a:cubicBezTo>
                  <a:pt x="32" y="69"/>
                  <a:pt x="32" y="69"/>
                  <a:pt x="32" y="69"/>
                </a:cubicBezTo>
                <a:cubicBezTo>
                  <a:pt x="31" y="69"/>
                  <a:pt x="30" y="70"/>
                  <a:pt x="29" y="70"/>
                </a:cubicBezTo>
                <a:cubicBezTo>
                  <a:pt x="29" y="71"/>
                  <a:pt x="29" y="71"/>
                  <a:pt x="29" y="72"/>
                </a:cubicBezTo>
                <a:cubicBezTo>
                  <a:pt x="28" y="72"/>
                  <a:pt x="28" y="72"/>
                  <a:pt x="28" y="73"/>
                </a:cubicBezTo>
                <a:cubicBezTo>
                  <a:pt x="27" y="73"/>
                  <a:pt x="27" y="73"/>
                  <a:pt x="26" y="73"/>
                </a:cubicBezTo>
                <a:cubicBezTo>
                  <a:pt x="26" y="74"/>
                  <a:pt x="25" y="74"/>
                  <a:pt x="24" y="74"/>
                </a:cubicBezTo>
                <a:cubicBezTo>
                  <a:pt x="22" y="74"/>
                  <a:pt x="21" y="73"/>
                  <a:pt x="19" y="73"/>
                </a:cubicBezTo>
                <a:cubicBezTo>
                  <a:pt x="19" y="73"/>
                  <a:pt x="18" y="73"/>
                  <a:pt x="18" y="73"/>
                </a:cubicBezTo>
                <a:cubicBezTo>
                  <a:pt x="16" y="73"/>
                  <a:pt x="14" y="73"/>
                  <a:pt x="12" y="72"/>
                </a:cubicBezTo>
                <a:cubicBezTo>
                  <a:pt x="11" y="72"/>
                  <a:pt x="11" y="72"/>
                  <a:pt x="11" y="72"/>
                </a:cubicBezTo>
                <a:cubicBezTo>
                  <a:pt x="11" y="72"/>
                  <a:pt x="11" y="72"/>
                  <a:pt x="10" y="72"/>
                </a:cubicBezTo>
                <a:cubicBezTo>
                  <a:pt x="10" y="72"/>
                  <a:pt x="10" y="72"/>
                  <a:pt x="10" y="72"/>
                </a:cubicBezTo>
                <a:cubicBezTo>
                  <a:pt x="9" y="71"/>
                  <a:pt x="8" y="71"/>
                  <a:pt x="8" y="70"/>
                </a:cubicBezTo>
                <a:cubicBezTo>
                  <a:pt x="7" y="70"/>
                  <a:pt x="7" y="69"/>
                  <a:pt x="7" y="69"/>
                </a:cubicBezTo>
                <a:cubicBezTo>
                  <a:pt x="7" y="69"/>
                  <a:pt x="7" y="69"/>
                  <a:pt x="7" y="69"/>
                </a:cubicBezTo>
                <a:cubicBezTo>
                  <a:pt x="7" y="69"/>
                  <a:pt x="7" y="68"/>
                  <a:pt x="7" y="68"/>
                </a:cubicBezTo>
                <a:cubicBezTo>
                  <a:pt x="7" y="68"/>
                  <a:pt x="7" y="68"/>
                  <a:pt x="7" y="67"/>
                </a:cubicBezTo>
                <a:cubicBezTo>
                  <a:pt x="7" y="67"/>
                  <a:pt x="7" y="66"/>
                  <a:pt x="7" y="66"/>
                </a:cubicBezTo>
                <a:cubicBezTo>
                  <a:pt x="7" y="66"/>
                  <a:pt x="6" y="66"/>
                  <a:pt x="6" y="66"/>
                </a:cubicBezTo>
                <a:cubicBezTo>
                  <a:pt x="6" y="65"/>
                  <a:pt x="6" y="65"/>
                  <a:pt x="6" y="65"/>
                </a:cubicBezTo>
                <a:cubicBezTo>
                  <a:pt x="5" y="65"/>
                  <a:pt x="5" y="65"/>
                  <a:pt x="5" y="65"/>
                </a:cubicBezTo>
                <a:cubicBezTo>
                  <a:pt x="5" y="65"/>
                  <a:pt x="5" y="64"/>
                  <a:pt x="5" y="64"/>
                </a:cubicBezTo>
                <a:cubicBezTo>
                  <a:pt x="4" y="64"/>
                  <a:pt x="4" y="64"/>
                  <a:pt x="4" y="64"/>
                </a:cubicBezTo>
                <a:cubicBezTo>
                  <a:pt x="4" y="64"/>
                  <a:pt x="4" y="64"/>
                  <a:pt x="4" y="64"/>
                </a:cubicBezTo>
                <a:cubicBezTo>
                  <a:pt x="4" y="64"/>
                  <a:pt x="4" y="64"/>
                  <a:pt x="4" y="64"/>
                </a:cubicBezTo>
                <a:cubicBezTo>
                  <a:pt x="4" y="64"/>
                  <a:pt x="4" y="65"/>
                  <a:pt x="4" y="65"/>
                </a:cubicBezTo>
                <a:cubicBezTo>
                  <a:pt x="3" y="65"/>
                  <a:pt x="3" y="65"/>
                  <a:pt x="3" y="65"/>
                </a:cubicBezTo>
                <a:cubicBezTo>
                  <a:pt x="3" y="66"/>
                  <a:pt x="3" y="66"/>
                  <a:pt x="3" y="66"/>
                </a:cubicBezTo>
                <a:cubicBezTo>
                  <a:pt x="2" y="67"/>
                  <a:pt x="2" y="67"/>
                  <a:pt x="2" y="67"/>
                </a:cubicBezTo>
                <a:cubicBezTo>
                  <a:pt x="2" y="67"/>
                  <a:pt x="2" y="67"/>
                  <a:pt x="2" y="67"/>
                </a:cubicBezTo>
                <a:cubicBezTo>
                  <a:pt x="1" y="68"/>
                  <a:pt x="1" y="68"/>
                  <a:pt x="0" y="69"/>
                </a:cubicBezTo>
                <a:cubicBezTo>
                  <a:pt x="0" y="70"/>
                  <a:pt x="0" y="70"/>
                  <a:pt x="0" y="70"/>
                </a:cubicBezTo>
                <a:cubicBezTo>
                  <a:pt x="0" y="70"/>
                  <a:pt x="0" y="70"/>
                  <a:pt x="0" y="70"/>
                </a:cubicBezTo>
                <a:cubicBezTo>
                  <a:pt x="0" y="70"/>
                  <a:pt x="0" y="71"/>
                  <a:pt x="1" y="72"/>
                </a:cubicBezTo>
                <a:cubicBezTo>
                  <a:pt x="2" y="75"/>
                  <a:pt x="4" y="79"/>
                  <a:pt x="6" y="82"/>
                </a:cubicBezTo>
                <a:cubicBezTo>
                  <a:pt x="8" y="88"/>
                  <a:pt x="10" y="93"/>
                  <a:pt x="13" y="98"/>
                </a:cubicBezTo>
                <a:cubicBezTo>
                  <a:pt x="14" y="100"/>
                  <a:pt x="15" y="102"/>
                  <a:pt x="16" y="104"/>
                </a:cubicBezTo>
                <a:cubicBezTo>
                  <a:pt x="17" y="105"/>
                  <a:pt x="17" y="106"/>
                  <a:pt x="18" y="107"/>
                </a:cubicBezTo>
                <a:cubicBezTo>
                  <a:pt x="18" y="108"/>
                  <a:pt x="19" y="109"/>
                  <a:pt x="18" y="111"/>
                </a:cubicBezTo>
                <a:cubicBezTo>
                  <a:pt x="17" y="112"/>
                  <a:pt x="17" y="114"/>
                  <a:pt x="16" y="115"/>
                </a:cubicBezTo>
                <a:cubicBezTo>
                  <a:pt x="16" y="116"/>
                  <a:pt x="14" y="115"/>
                  <a:pt x="13" y="116"/>
                </a:cubicBezTo>
                <a:cubicBezTo>
                  <a:pt x="13" y="116"/>
                  <a:pt x="13" y="117"/>
                  <a:pt x="13" y="117"/>
                </a:cubicBezTo>
                <a:cubicBezTo>
                  <a:pt x="13" y="118"/>
                  <a:pt x="13" y="118"/>
                  <a:pt x="14" y="118"/>
                </a:cubicBezTo>
                <a:cubicBezTo>
                  <a:pt x="16" y="118"/>
                  <a:pt x="16" y="120"/>
                  <a:pt x="16" y="121"/>
                </a:cubicBezTo>
                <a:cubicBezTo>
                  <a:pt x="17" y="123"/>
                  <a:pt x="18" y="125"/>
                  <a:pt x="19" y="126"/>
                </a:cubicBezTo>
                <a:cubicBezTo>
                  <a:pt x="20" y="127"/>
                  <a:pt x="18" y="129"/>
                  <a:pt x="18" y="130"/>
                </a:cubicBezTo>
                <a:cubicBezTo>
                  <a:pt x="18" y="131"/>
                  <a:pt x="19" y="132"/>
                  <a:pt x="20" y="133"/>
                </a:cubicBezTo>
                <a:cubicBezTo>
                  <a:pt x="20" y="133"/>
                  <a:pt x="20" y="133"/>
                  <a:pt x="20" y="133"/>
                </a:cubicBezTo>
                <a:cubicBezTo>
                  <a:pt x="20" y="132"/>
                  <a:pt x="19" y="132"/>
                  <a:pt x="20" y="131"/>
                </a:cubicBezTo>
                <a:cubicBezTo>
                  <a:pt x="20" y="130"/>
                  <a:pt x="22" y="130"/>
                  <a:pt x="23" y="131"/>
                </a:cubicBezTo>
                <a:cubicBezTo>
                  <a:pt x="24" y="131"/>
                  <a:pt x="23" y="133"/>
                  <a:pt x="23" y="134"/>
                </a:cubicBezTo>
                <a:cubicBezTo>
                  <a:pt x="24" y="134"/>
                  <a:pt x="25" y="133"/>
                  <a:pt x="26" y="134"/>
                </a:cubicBezTo>
                <a:cubicBezTo>
                  <a:pt x="27" y="135"/>
                  <a:pt x="28" y="136"/>
                  <a:pt x="29" y="137"/>
                </a:cubicBezTo>
                <a:cubicBezTo>
                  <a:pt x="31" y="137"/>
                  <a:pt x="33" y="138"/>
                  <a:pt x="35" y="138"/>
                </a:cubicBezTo>
                <a:cubicBezTo>
                  <a:pt x="36" y="139"/>
                  <a:pt x="36" y="139"/>
                  <a:pt x="37" y="138"/>
                </a:cubicBezTo>
                <a:cubicBezTo>
                  <a:pt x="40" y="136"/>
                  <a:pt x="42" y="134"/>
                  <a:pt x="45" y="134"/>
                </a:cubicBezTo>
                <a:cubicBezTo>
                  <a:pt x="47" y="134"/>
                  <a:pt x="49" y="134"/>
                  <a:pt x="50" y="134"/>
                </a:cubicBezTo>
                <a:cubicBezTo>
                  <a:pt x="51" y="134"/>
                  <a:pt x="53" y="134"/>
                  <a:pt x="54" y="133"/>
                </a:cubicBezTo>
                <a:cubicBezTo>
                  <a:pt x="56" y="133"/>
                  <a:pt x="57" y="131"/>
                  <a:pt x="58" y="130"/>
                </a:cubicBezTo>
                <a:cubicBezTo>
                  <a:pt x="59" y="130"/>
                  <a:pt x="61" y="130"/>
                  <a:pt x="62" y="130"/>
                </a:cubicBezTo>
                <a:cubicBezTo>
                  <a:pt x="64" y="129"/>
                  <a:pt x="67" y="130"/>
                  <a:pt x="70" y="131"/>
                </a:cubicBezTo>
                <a:cubicBezTo>
                  <a:pt x="71" y="128"/>
                  <a:pt x="76" y="130"/>
                  <a:pt x="77" y="130"/>
                </a:cubicBezTo>
                <a:cubicBezTo>
                  <a:pt x="79" y="131"/>
                  <a:pt x="84" y="132"/>
                  <a:pt x="85" y="131"/>
                </a:cubicBezTo>
                <a:cubicBezTo>
                  <a:pt x="85" y="132"/>
                  <a:pt x="85" y="130"/>
                  <a:pt x="86" y="130"/>
                </a:cubicBezTo>
                <a:cubicBezTo>
                  <a:pt x="87" y="129"/>
                  <a:pt x="87" y="129"/>
                  <a:pt x="89" y="129"/>
                </a:cubicBezTo>
                <a:cubicBezTo>
                  <a:pt x="90" y="129"/>
                  <a:pt x="92" y="130"/>
                  <a:pt x="93" y="130"/>
                </a:cubicBezTo>
                <a:cubicBezTo>
                  <a:pt x="93" y="130"/>
                  <a:pt x="93" y="129"/>
                  <a:pt x="93" y="129"/>
                </a:cubicBezTo>
                <a:cubicBezTo>
                  <a:pt x="93" y="129"/>
                  <a:pt x="93" y="129"/>
                  <a:pt x="93" y="128"/>
                </a:cubicBezTo>
                <a:cubicBezTo>
                  <a:pt x="93" y="128"/>
                  <a:pt x="94" y="127"/>
                  <a:pt x="95" y="126"/>
                </a:cubicBezTo>
                <a:cubicBezTo>
                  <a:pt x="96" y="126"/>
                  <a:pt x="97" y="126"/>
                  <a:pt x="98" y="126"/>
                </a:cubicBezTo>
                <a:cubicBezTo>
                  <a:pt x="100" y="126"/>
                  <a:pt x="101" y="126"/>
                  <a:pt x="103" y="126"/>
                </a:cubicBezTo>
                <a:cubicBezTo>
                  <a:pt x="104" y="126"/>
                  <a:pt x="107" y="124"/>
                  <a:pt x="108" y="124"/>
                </a:cubicBezTo>
                <a:cubicBezTo>
                  <a:pt x="110" y="122"/>
                  <a:pt x="112" y="121"/>
                  <a:pt x="114" y="120"/>
                </a:cubicBezTo>
                <a:cubicBezTo>
                  <a:pt x="115" y="118"/>
                  <a:pt x="117" y="116"/>
                  <a:pt x="119" y="115"/>
                </a:cubicBezTo>
                <a:cubicBezTo>
                  <a:pt x="123" y="113"/>
                  <a:pt x="126" y="109"/>
                  <a:pt x="130" y="106"/>
                </a:cubicBezTo>
                <a:cubicBezTo>
                  <a:pt x="134" y="101"/>
                  <a:pt x="139" y="97"/>
                  <a:pt x="142" y="92"/>
                </a:cubicBezTo>
                <a:cubicBezTo>
                  <a:pt x="145" y="88"/>
                  <a:pt x="147" y="83"/>
                  <a:pt x="150" y="78"/>
                </a:cubicBezTo>
                <a:cubicBezTo>
                  <a:pt x="152" y="76"/>
                  <a:pt x="154" y="74"/>
                  <a:pt x="156" y="72"/>
                </a:cubicBezTo>
                <a:cubicBezTo>
                  <a:pt x="156" y="72"/>
                  <a:pt x="158" y="72"/>
                  <a:pt x="158" y="71"/>
                </a:cubicBezTo>
                <a:cubicBezTo>
                  <a:pt x="158" y="71"/>
                  <a:pt x="158" y="70"/>
                  <a:pt x="159" y="70"/>
                </a:cubicBezTo>
                <a:cubicBezTo>
                  <a:pt x="160" y="69"/>
                  <a:pt x="161" y="68"/>
                  <a:pt x="162" y="66"/>
                </a:cubicBezTo>
                <a:cubicBezTo>
                  <a:pt x="163" y="64"/>
                  <a:pt x="164" y="60"/>
                  <a:pt x="165" y="57"/>
                </a:cubicBezTo>
                <a:cubicBezTo>
                  <a:pt x="165" y="55"/>
                  <a:pt x="166" y="53"/>
                  <a:pt x="166" y="51"/>
                </a:cubicBezTo>
                <a:cubicBezTo>
                  <a:pt x="166" y="51"/>
                  <a:pt x="166" y="51"/>
                  <a:pt x="166" y="51"/>
                </a:cubicBezTo>
                <a:close/>
                <a:moveTo>
                  <a:pt x="132" y="78"/>
                </a:moveTo>
                <a:cubicBezTo>
                  <a:pt x="131" y="78"/>
                  <a:pt x="131" y="79"/>
                  <a:pt x="130" y="80"/>
                </a:cubicBezTo>
                <a:cubicBezTo>
                  <a:pt x="130" y="80"/>
                  <a:pt x="130" y="81"/>
                  <a:pt x="130" y="81"/>
                </a:cubicBezTo>
                <a:cubicBezTo>
                  <a:pt x="130" y="81"/>
                  <a:pt x="129" y="81"/>
                  <a:pt x="129" y="81"/>
                </a:cubicBezTo>
                <a:cubicBezTo>
                  <a:pt x="129" y="81"/>
                  <a:pt x="129" y="82"/>
                  <a:pt x="129" y="82"/>
                </a:cubicBezTo>
                <a:cubicBezTo>
                  <a:pt x="129" y="82"/>
                  <a:pt x="129" y="82"/>
                  <a:pt x="129" y="82"/>
                </a:cubicBezTo>
                <a:cubicBezTo>
                  <a:pt x="130" y="83"/>
                  <a:pt x="129" y="84"/>
                  <a:pt x="129" y="84"/>
                </a:cubicBezTo>
                <a:cubicBezTo>
                  <a:pt x="129" y="84"/>
                  <a:pt x="128" y="84"/>
                  <a:pt x="128" y="84"/>
                </a:cubicBezTo>
                <a:cubicBezTo>
                  <a:pt x="127" y="85"/>
                  <a:pt x="126" y="85"/>
                  <a:pt x="125" y="86"/>
                </a:cubicBezTo>
                <a:cubicBezTo>
                  <a:pt x="124" y="86"/>
                  <a:pt x="124" y="86"/>
                  <a:pt x="123" y="86"/>
                </a:cubicBezTo>
                <a:cubicBezTo>
                  <a:pt x="121" y="86"/>
                  <a:pt x="121" y="86"/>
                  <a:pt x="121" y="86"/>
                </a:cubicBezTo>
                <a:cubicBezTo>
                  <a:pt x="121" y="87"/>
                  <a:pt x="121" y="87"/>
                  <a:pt x="121" y="87"/>
                </a:cubicBezTo>
                <a:cubicBezTo>
                  <a:pt x="121" y="87"/>
                  <a:pt x="121" y="88"/>
                  <a:pt x="120" y="88"/>
                </a:cubicBezTo>
                <a:cubicBezTo>
                  <a:pt x="120" y="90"/>
                  <a:pt x="119" y="91"/>
                  <a:pt x="118" y="92"/>
                </a:cubicBezTo>
                <a:cubicBezTo>
                  <a:pt x="118" y="92"/>
                  <a:pt x="118" y="92"/>
                  <a:pt x="117" y="92"/>
                </a:cubicBezTo>
                <a:cubicBezTo>
                  <a:pt x="117" y="92"/>
                  <a:pt x="117" y="92"/>
                  <a:pt x="116" y="92"/>
                </a:cubicBezTo>
                <a:cubicBezTo>
                  <a:pt x="115" y="91"/>
                  <a:pt x="114" y="91"/>
                  <a:pt x="113" y="90"/>
                </a:cubicBezTo>
                <a:cubicBezTo>
                  <a:pt x="113" y="90"/>
                  <a:pt x="113" y="90"/>
                  <a:pt x="113" y="90"/>
                </a:cubicBezTo>
                <a:cubicBezTo>
                  <a:pt x="111" y="89"/>
                  <a:pt x="110" y="88"/>
                  <a:pt x="110" y="88"/>
                </a:cubicBezTo>
                <a:cubicBezTo>
                  <a:pt x="109" y="86"/>
                  <a:pt x="109" y="86"/>
                  <a:pt x="109" y="86"/>
                </a:cubicBezTo>
                <a:cubicBezTo>
                  <a:pt x="109" y="85"/>
                  <a:pt x="108" y="84"/>
                  <a:pt x="108" y="84"/>
                </a:cubicBezTo>
                <a:cubicBezTo>
                  <a:pt x="108" y="83"/>
                  <a:pt x="108" y="83"/>
                  <a:pt x="108" y="83"/>
                </a:cubicBezTo>
                <a:cubicBezTo>
                  <a:pt x="107" y="82"/>
                  <a:pt x="106" y="81"/>
                  <a:pt x="106" y="81"/>
                </a:cubicBezTo>
                <a:cubicBezTo>
                  <a:pt x="106" y="81"/>
                  <a:pt x="106" y="81"/>
                  <a:pt x="106" y="81"/>
                </a:cubicBezTo>
                <a:cubicBezTo>
                  <a:pt x="106" y="81"/>
                  <a:pt x="106" y="80"/>
                  <a:pt x="106" y="80"/>
                </a:cubicBezTo>
                <a:cubicBezTo>
                  <a:pt x="106" y="80"/>
                  <a:pt x="106" y="80"/>
                  <a:pt x="106" y="80"/>
                </a:cubicBezTo>
                <a:cubicBezTo>
                  <a:pt x="107" y="79"/>
                  <a:pt x="108" y="78"/>
                  <a:pt x="108" y="78"/>
                </a:cubicBezTo>
                <a:cubicBezTo>
                  <a:pt x="109" y="78"/>
                  <a:pt x="109" y="78"/>
                  <a:pt x="109" y="78"/>
                </a:cubicBezTo>
                <a:cubicBezTo>
                  <a:pt x="109" y="78"/>
                  <a:pt x="109" y="78"/>
                  <a:pt x="110" y="77"/>
                </a:cubicBezTo>
                <a:cubicBezTo>
                  <a:pt x="110" y="77"/>
                  <a:pt x="110" y="76"/>
                  <a:pt x="111" y="76"/>
                </a:cubicBezTo>
                <a:cubicBezTo>
                  <a:pt x="112" y="75"/>
                  <a:pt x="112" y="73"/>
                  <a:pt x="113" y="72"/>
                </a:cubicBezTo>
                <a:cubicBezTo>
                  <a:pt x="113" y="72"/>
                  <a:pt x="113" y="72"/>
                  <a:pt x="113" y="72"/>
                </a:cubicBezTo>
                <a:cubicBezTo>
                  <a:pt x="114" y="71"/>
                  <a:pt x="115" y="71"/>
                  <a:pt x="116" y="70"/>
                </a:cubicBezTo>
                <a:cubicBezTo>
                  <a:pt x="117" y="70"/>
                  <a:pt x="117" y="70"/>
                  <a:pt x="117" y="70"/>
                </a:cubicBezTo>
                <a:cubicBezTo>
                  <a:pt x="118" y="70"/>
                  <a:pt x="118" y="69"/>
                  <a:pt x="119" y="69"/>
                </a:cubicBezTo>
                <a:cubicBezTo>
                  <a:pt x="120" y="68"/>
                  <a:pt x="122" y="68"/>
                  <a:pt x="123" y="68"/>
                </a:cubicBezTo>
                <a:cubicBezTo>
                  <a:pt x="123" y="67"/>
                  <a:pt x="123" y="67"/>
                  <a:pt x="123" y="67"/>
                </a:cubicBezTo>
                <a:cubicBezTo>
                  <a:pt x="124" y="67"/>
                  <a:pt x="124" y="67"/>
                  <a:pt x="124" y="67"/>
                </a:cubicBezTo>
                <a:cubicBezTo>
                  <a:pt x="124" y="67"/>
                  <a:pt x="124" y="67"/>
                  <a:pt x="124" y="67"/>
                </a:cubicBezTo>
                <a:cubicBezTo>
                  <a:pt x="124" y="67"/>
                  <a:pt x="124" y="67"/>
                  <a:pt x="124" y="67"/>
                </a:cubicBezTo>
                <a:cubicBezTo>
                  <a:pt x="124" y="68"/>
                  <a:pt x="124" y="68"/>
                  <a:pt x="124" y="68"/>
                </a:cubicBezTo>
                <a:cubicBezTo>
                  <a:pt x="125" y="69"/>
                  <a:pt x="126" y="70"/>
                  <a:pt x="127" y="71"/>
                </a:cubicBezTo>
                <a:cubicBezTo>
                  <a:pt x="128" y="71"/>
                  <a:pt x="128" y="71"/>
                  <a:pt x="128" y="71"/>
                </a:cubicBezTo>
                <a:cubicBezTo>
                  <a:pt x="129" y="71"/>
                  <a:pt x="129" y="71"/>
                  <a:pt x="129" y="71"/>
                </a:cubicBezTo>
                <a:cubicBezTo>
                  <a:pt x="129" y="72"/>
                  <a:pt x="130" y="72"/>
                  <a:pt x="130" y="73"/>
                </a:cubicBezTo>
                <a:cubicBezTo>
                  <a:pt x="131" y="73"/>
                  <a:pt x="131" y="73"/>
                  <a:pt x="131" y="73"/>
                </a:cubicBezTo>
                <a:cubicBezTo>
                  <a:pt x="131" y="74"/>
                  <a:pt x="132" y="75"/>
                  <a:pt x="132" y="76"/>
                </a:cubicBezTo>
                <a:cubicBezTo>
                  <a:pt x="132" y="77"/>
                  <a:pt x="132" y="77"/>
                  <a:pt x="132" y="78"/>
                </a:cubicBezTo>
                <a:close/>
              </a:path>
            </a:pathLst>
          </a:custGeom>
          <a:solidFill>
            <a:srgbClr val="00C78B"/>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1" name="Freeform 3211">
            <a:extLst>
              <a:ext uri="{FF2B5EF4-FFF2-40B4-BE49-F238E27FC236}">
                <a16:creationId xmlns:a16="http://schemas.microsoft.com/office/drawing/2014/main" id="{257DB2B8-C601-43A8-9D8A-D4605DA99E0A}"/>
              </a:ext>
            </a:extLst>
          </p:cNvPr>
          <p:cNvSpPr>
            <a:spLocks/>
          </p:cNvSpPr>
          <p:nvPr/>
        </p:nvSpPr>
        <p:spPr bwMode="auto">
          <a:xfrm>
            <a:off x="3703736" y="3911732"/>
            <a:ext cx="125377" cy="240406"/>
          </a:xfrm>
          <a:custGeom>
            <a:avLst/>
            <a:gdLst>
              <a:gd name="T0" fmla="*/ 105 w 107"/>
              <a:gd name="T1" fmla="*/ 35 h 171"/>
              <a:gd name="T2" fmla="*/ 103 w 107"/>
              <a:gd name="T3" fmla="*/ 24 h 171"/>
              <a:gd name="T4" fmla="*/ 102 w 107"/>
              <a:gd name="T5" fmla="*/ 7 h 171"/>
              <a:gd name="T6" fmla="*/ 103 w 107"/>
              <a:gd name="T7" fmla="*/ 0 h 171"/>
              <a:gd name="T8" fmla="*/ 89 w 107"/>
              <a:gd name="T9" fmla="*/ 7 h 171"/>
              <a:gd name="T10" fmla="*/ 78 w 107"/>
              <a:gd name="T11" fmla="*/ 9 h 171"/>
              <a:gd name="T12" fmla="*/ 76 w 107"/>
              <a:gd name="T13" fmla="*/ 11 h 171"/>
              <a:gd name="T14" fmla="*/ 66 w 107"/>
              <a:gd name="T15" fmla="*/ 12 h 171"/>
              <a:gd name="T16" fmla="*/ 58 w 107"/>
              <a:gd name="T17" fmla="*/ 11 h 171"/>
              <a:gd name="T18" fmla="*/ 55 w 107"/>
              <a:gd name="T19" fmla="*/ 11 h 171"/>
              <a:gd name="T20" fmla="*/ 45 w 107"/>
              <a:gd name="T21" fmla="*/ 15 h 171"/>
              <a:gd name="T22" fmla="*/ 44 w 107"/>
              <a:gd name="T23" fmla="*/ 26 h 171"/>
              <a:gd name="T24" fmla="*/ 47 w 107"/>
              <a:gd name="T25" fmla="*/ 29 h 171"/>
              <a:gd name="T26" fmla="*/ 55 w 107"/>
              <a:gd name="T27" fmla="*/ 39 h 171"/>
              <a:gd name="T28" fmla="*/ 57 w 107"/>
              <a:gd name="T29" fmla="*/ 48 h 171"/>
              <a:gd name="T30" fmla="*/ 57 w 107"/>
              <a:gd name="T31" fmla="*/ 56 h 171"/>
              <a:gd name="T32" fmla="*/ 53 w 107"/>
              <a:gd name="T33" fmla="*/ 59 h 171"/>
              <a:gd name="T34" fmla="*/ 50 w 107"/>
              <a:gd name="T35" fmla="*/ 62 h 171"/>
              <a:gd name="T36" fmla="*/ 50 w 107"/>
              <a:gd name="T37" fmla="*/ 69 h 171"/>
              <a:gd name="T38" fmla="*/ 45 w 107"/>
              <a:gd name="T39" fmla="*/ 64 h 171"/>
              <a:gd name="T40" fmla="*/ 41 w 107"/>
              <a:gd name="T41" fmla="*/ 60 h 171"/>
              <a:gd name="T42" fmla="*/ 41 w 107"/>
              <a:gd name="T43" fmla="*/ 50 h 171"/>
              <a:gd name="T44" fmla="*/ 42 w 107"/>
              <a:gd name="T45" fmla="*/ 46 h 171"/>
              <a:gd name="T46" fmla="*/ 40 w 107"/>
              <a:gd name="T47" fmla="*/ 41 h 171"/>
              <a:gd name="T48" fmla="*/ 32 w 107"/>
              <a:gd name="T49" fmla="*/ 42 h 171"/>
              <a:gd name="T50" fmla="*/ 29 w 107"/>
              <a:gd name="T51" fmla="*/ 37 h 171"/>
              <a:gd name="T52" fmla="*/ 2 w 107"/>
              <a:gd name="T53" fmla="*/ 51 h 171"/>
              <a:gd name="T54" fmla="*/ 2 w 107"/>
              <a:gd name="T55" fmla="*/ 55 h 171"/>
              <a:gd name="T56" fmla="*/ 6 w 107"/>
              <a:gd name="T57" fmla="*/ 55 h 171"/>
              <a:gd name="T58" fmla="*/ 26 w 107"/>
              <a:gd name="T59" fmla="*/ 62 h 171"/>
              <a:gd name="T60" fmla="*/ 28 w 107"/>
              <a:gd name="T61" fmla="*/ 64 h 171"/>
              <a:gd name="T62" fmla="*/ 28 w 107"/>
              <a:gd name="T63" fmla="*/ 65 h 171"/>
              <a:gd name="T64" fmla="*/ 29 w 107"/>
              <a:gd name="T65" fmla="*/ 73 h 171"/>
              <a:gd name="T66" fmla="*/ 28 w 107"/>
              <a:gd name="T67" fmla="*/ 83 h 171"/>
              <a:gd name="T68" fmla="*/ 27 w 107"/>
              <a:gd name="T69" fmla="*/ 84 h 171"/>
              <a:gd name="T70" fmla="*/ 27 w 107"/>
              <a:gd name="T71" fmla="*/ 88 h 171"/>
              <a:gd name="T72" fmla="*/ 28 w 107"/>
              <a:gd name="T73" fmla="*/ 94 h 171"/>
              <a:gd name="T74" fmla="*/ 24 w 107"/>
              <a:gd name="T75" fmla="*/ 105 h 171"/>
              <a:gd name="T76" fmla="*/ 22 w 107"/>
              <a:gd name="T77" fmla="*/ 108 h 171"/>
              <a:gd name="T78" fmla="*/ 20 w 107"/>
              <a:gd name="T79" fmla="*/ 114 h 171"/>
              <a:gd name="T80" fmla="*/ 11 w 107"/>
              <a:gd name="T81" fmla="*/ 124 h 171"/>
              <a:gd name="T82" fmla="*/ 13 w 107"/>
              <a:gd name="T83" fmla="*/ 132 h 171"/>
              <a:gd name="T84" fmla="*/ 14 w 107"/>
              <a:gd name="T85" fmla="*/ 136 h 171"/>
              <a:gd name="T86" fmla="*/ 18 w 107"/>
              <a:gd name="T87" fmla="*/ 156 h 171"/>
              <a:gd name="T88" fmla="*/ 18 w 107"/>
              <a:gd name="T89" fmla="*/ 161 h 171"/>
              <a:gd name="T90" fmla="*/ 19 w 107"/>
              <a:gd name="T91" fmla="*/ 163 h 171"/>
              <a:gd name="T92" fmla="*/ 25 w 107"/>
              <a:gd name="T93" fmla="*/ 171 h 171"/>
              <a:gd name="T94" fmla="*/ 22 w 107"/>
              <a:gd name="T95" fmla="*/ 163 h 171"/>
              <a:gd name="T96" fmla="*/ 50 w 107"/>
              <a:gd name="T97" fmla="*/ 146 h 171"/>
              <a:gd name="T98" fmla="*/ 51 w 107"/>
              <a:gd name="T99" fmla="*/ 139 h 171"/>
              <a:gd name="T100" fmla="*/ 52 w 107"/>
              <a:gd name="T101" fmla="*/ 122 h 171"/>
              <a:gd name="T102" fmla="*/ 48 w 107"/>
              <a:gd name="T103" fmla="*/ 108 h 171"/>
              <a:gd name="T104" fmla="*/ 45 w 107"/>
              <a:gd name="T105" fmla="*/ 100 h 171"/>
              <a:gd name="T106" fmla="*/ 47 w 107"/>
              <a:gd name="T107" fmla="*/ 96 h 171"/>
              <a:gd name="T108" fmla="*/ 57 w 107"/>
              <a:gd name="T109" fmla="*/ 87 h 171"/>
              <a:gd name="T110" fmla="*/ 67 w 107"/>
              <a:gd name="T111" fmla="*/ 78 h 171"/>
              <a:gd name="T112" fmla="*/ 79 w 107"/>
              <a:gd name="T113" fmla="*/ 69 h 171"/>
              <a:gd name="T114" fmla="*/ 106 w 107"/>
              <a:gd name="T115" fmla="*/ 4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7" h="171">
                <a:moveTo>
                  <a:pt x="107" y="40"/>
                </a:moveTo>
                <a:cubicBezTo>
                  <a:pt x="107" y="39"/>
                  <a:pt x="106" y="40"/>
                  <a:pt x="105" y="41"/>
                </a:cubicBezTo>
                <a:cubicBezTo>
                  <a:pt x="105" y="40"/>
                  <a:pt x="106" y="39"/>
                  <a:pt x="106" y="38"/>
                </a:cubicBezTo>
                <a:cubicBezTo>
                  <a:pt x="105" y="37"/>
                  <a:pt x="105" y="37"/>
                  <a:pt x="105" y="38"/>
                </a:cubicBezTo>
                <a:cubicBezTo>
                  <a:pt x="104" y="37"/>
                  <a:pt x="105" y="36"/>
                  <a:pt x="105" y="35"/>
                </a:cubicBezTo>
                <a:cubicBezTo>
                  <a:pt x="105" y="35"/>
                  <a:pt x="105" y="34"/>
                  <a:pt x="104" y="33"/>
                </a:cubicBezTo>
                <a:cubicBezTo>
                  <a:pt x="104" y="32"/>
                  <a:pt x="104" y="31"/>
                  <a:pt x="104" y="30"/>
                </a:cubicBezTo>
                <a:cubicBezTo>
                  <a:pt x="104" y="29"/>
                  <a:pt x="104" y="27"/>
                  <a:pt x="104" y="26"/>
                </a:cubicBezTo>
                <a:cubicBezTo>
                  <a:pt x="105" y="25"/>
                  <a:pt x="104" y="25"/>
                  <a:pt x="104" y="24"/>
                </a:cubicBezTo>
                <a:cubicBezTo>
                  <a:pt x="104" y="24"/>
                  <a:pt x="103" y="25"/>
                  <a:pt x="103" y="24"/>
                </a:cubicBezTo>
                <a:cubicBezTo>
                  <a:pt x="103" y="24"/>
                  <a:pt x="104" y="23"/>
                  <a:pt x="104" y="23"/>
                </a:cubicBezTo>
                <a:cubicBezTo>
                  <a:pt x="105" y="22"/>
                  <a:pt x="105" y="22"/>
                  <a:pt x="105" y="21"/>
                </a:cubicBezTo>
                <a:cubicBezTo>
                  <a:pt x="105" y="20"/>
                  <a:pt x="104" y="20"/>
                  <a:pt x="104" y="19"/>
                </a:cubicBezTo>
                <a:cubicBezTo>
                  <a:pt x="104" y="16"/>
                  <a:pt x="104" y="14"/>
                  <a:pt x="104" y="12"/>
                </a:cubicBezTo>
                <a:cubicBezTo>
                  <a:pt x="103" y="10"/>
                  <a:pt x="104" y="9"/>
                  <a:pt x="102" y="7"/>
                </a:cubicBezTo>
                <a:cubicBezTo>
                  <a:pt x="103" y="7"/>
                  <a:pt x="103" y="5"/>
                  <a:pt x="104" y="4"/>
                </a:cubicBezTo>
                <a:cubicBezTo>
                  <a:pt x="104" y="3"/>
                  <a:pt x="105" y="3"/>
                  <a:pt x="104" y="2"/>
                </a:cubicBezTo>
                <a:cubicBezTo>
                  <a:pt x="103" y="2"/>
                  <a:pt x="105" y="1"/>
                  <a:pt x="105" y="1"/>
                </a:cubicBezTo>
                <a:cubicBezTo>
                  <a:pt x="105" y="1"/>
                  <a:pt x="104" y="0"/>
                  <a:pt x="104" y="0"/>
                </a:cubicBezTo>
                <a:cubicBezTo>
                  <a:pt x="104" y="0"/>
                  <a:pt x="103" y="0"/>
                  <a:pt x="103" y="0"/>
                </a:cubicBezTo>
                <a:cubicBezTo>
                  <a:pt x="101" y="2"/>
                  <a:pt x="101" y="2"/>
                  <a:pt x="101" y="2"/>
                </a:cubicBezTo>
                <a:cubicBezTo>
                  <a:pt x="98" y="4"/>
                  <a:pt x="95" y="6"/>
                  <a:pt x="92" y="7"/>
                </a:cubicBezTo>
                <a:cubicBezTo>
                  <a:pt x="92" y="7"/>
                  <a:pt x="91" y="7"/>
                  <a:pt x="90" y="7"/>
                </a:cubicBezTo>
                <a:cubicBezTo>
                  <a:pt x="90" y="7"/>
                  <a:pt x="90" y="7"/>
                  <a:pt x="89" y="7"/>
                </a:cubicBezTo>
                <a:cubicBezTo>
                  <a:pt x="89" y="7"/>
                  <a:pt x="89" y="7"/>
                  <a:pt x="89" y="7"/>
                </a:cubicBezTo>
                <a:cubicBezTo>
                  <a:pt x="88" y="7"/>
                  <a:pt x="87" y="8"/>
                  <a:pt x="86" y="8"/>
                </a:cubicBezTo>
                <a:cubicBezTo>
                  <a:pt x="84" y="9"/>
                  <a:pt x="84" y="9"/>
                  <a:pt x="84" y="9"/>
                </a:cubicBezTo>
                <a:cubicBezTo>
                  <a:pt x="84" y="9"/>
                  <a:pt x="84" y="9"/>
                  <a:pt x="84" y="9"/>
                </a:cubicBezTo>
                <a:cubicBezTo>
                  <a:pt x="83" y="10"/>
                  <a:pt x="82" y="10"/>
                  <a:pt x="79" y="8"/>
                </a:cubicBezTo>
                <a:cubicBezTo>
                  <a:pt x="79" y="8"/>
                  <a:pt x="79" y="8"/>
                  <a:pt x="78" y="9"/>
                </a:cubicBezTo>
                <a:cubicBezTo>
                  <a:pt x="78" y="9"/>
                  <a:pt x="78" y="9"/>
                  <a:pt x="78" y="9"/>
                </a:cubicBezTo>
                <a:cubicBezTo>
                  <a:pt x="78" y="9"/>
                  <a:pt x="78" y="9"/>
                  <a:pt x="77" y="9"/>
                </a:cubicBezTo>
                <a:cubicBezTo>
                  <a:pt x="77" y="9"/>
                  <a:pt x="77" y="10"/>
                  <a:pt x="77" y="10"/>
                </a:cubicBezTo>
                <a:cubicBezTo>
                  <a:pt x="77" y="10"/>
                  <a:pt x="77" y="10"/>
                  <a:pt x="77" y="11"/>
                </a:cubicBezTo>
                <a:cubicBezTo>
                  <a:pt x="76" y="11"/>
                  <a:pt x="76" y="11"/>
                  <a:pt x="76" y="11"/>
                </a:cubicBezTo>
                <a:cubicBezTo>
                  <a:pt x="76" y="12"/>
                  <a:pt x="74" y="12"/>
                  <a:pt x="74" y="12"/>
                </a:cubicBezTo>
                <a:cubicBezTo>
                  <a:pt x="73" y="13"/>
                  <a:pt x="73" y="13"/>
                  <a:pt x="72" y="13"/>
                </a:cubicBezTo>
                <a:cubicBezTo>
                  <a:pt x="71" y="13"/>
                  <a:pt x="71" y="12"/>
                  <a:pt x="70" y="12"/>
                </a:cubicBezTo>
                <a:cubicBezTo>
                  <a:pt x="69" y="12"/>
                  <a:pt x="68" y="11"/>
                  <a:pt x="67" y="12"/>
                </a:cubicBezTo>
                <a:cubicBezTo>
                  <a:pt x="67" y="12"/>
                  <a:pt x="67" y="12"/>
                  <a:pt x="66" y="12"/>
                </a:cubicBezTo>
                <a:cubicBezTo>
                  <a:pt x="66" y="12"/>
                  <a:pt x="66" y="12"/>
                  <a:pt x="66" y="12"/>
                </a:cubicBezTo>
                <a:cubicBezTo>
                  <a:pt x="66" y="12"/>
                  <a:pt x="65" y="13"/>
                  <a:pt x="65" y="13"/>
                </a:cubicBezTo>
                <a:cubicBezTo>
                  <a:pt x="64" y="13"/>
                  <a:pt x="64" y="13"/>
                  <a:pt x="63" y="13"/>
                </a:cubicBezTo>
                <a:cubicBezTo>
                  <a:pt x="62" y="13"/>
                  <a:pt x="60" y="12"/>
                  <a:pt x="59" y="11"/>
                </a:cubicBezTo>
                <a:cubicBezTo>
                  <a:pt x="58" y="11"/>
                  <a:pt x="58" y="11"/>
                  <a:pt x="58" y="11"/>
                </a:cubicBezTo>
                <a:cubicBezTo>
                  <a:pt x="58" y="11"/>
                  <a:pt x="58" y="11"/>
                  <a:pt x="58" y="11"/>
                </a:cubicBezTo>
                <a:cubicBezTo>
                  <a:pt x="57" y="11"/>
                  <a:pt x="57" y="11"/>
                  <a:pt x="57" y="10"/>
                </a:cubicBezTo>
                <a:cubicBezTo>
                  <a:pt x="56" y="10"/>
                  <a:pt x="56" y="10"/>
                  <a:pt x="56" y="10"/>
                </a:cubicBezTo>
                <a:cubicBezTo>
                  <a:pt x="56" y="10"/>
                  <a:pt x="56" y="10"/>
                  <a:pt x="55" y="11"/>
                </a:cubicBezTo>
                <a:cubicBezTo>
                  <a:pt x="55" y="11"/>
                  <a:pt x="55" y="11"/>
                  <a:pt x="55" y="11"/>
                </a:cubicBezTo>
                <a:cubicBezTo>
                  <a:pt x="55" y="11"/>
                  <a:pt x="54" y="11"/>
                  <a:pt x="54" y="12"/>
                </a:cubicBezTo>
                <a:cubicBezTo>
                  <a:pt x="53" y="12"/>
                  <a:pt x="48" y="11"/>
                  <a:pt x="46" y="11"/>
                </a:cubicBezTo>
                <a:cubicBezTo>
                  <a:pt x="46" y="11"/>
                  <a:pt x="46" y="11"/>
                  <a:pt x="46" y="11"/>
                </a:cubicBezTo>
                <a:cubicBezTo>
                  <a:pt x="46" y="12"/>
                  <a:pt x="46" y="12"/>
                  <a:pt x="46" y="12"/>
                </a:cubicBezTo>
                <a:cubicBezTo>
                  <a:pt x="46" y="13"/>
                  <a:pt x="46" y="14"/>
                  <a:pt x="45" y="15"/>
                </a:cubicBezTo>
                <a:cubicBezTo>
                  <a:pt x="45" y="15"/>
                  <a:pt x="45" y="15"/>
                  <a:pt x="45" y="15"/>
                </a:cubicBezTo>
                <a:cubicBezTo>
                  <a:pt x="44" y="17"/>
                  <a:pt x="43" y="18"/>
                  <a:pt x="44" y="20"/>
                </a:cubicBezTo>
                <a:cubicBezTo>
                  <a:pt x="44" y="21"/>
                  <a:pt x="44" y="22"/>
                  <a:pt x="44" y="23"/>
                </a:cubicBezTo>
                <a:cubicBezTo>
                  <a:pt x="44" y="23"/>
                  <a:pt x="44" y="24"/>
                  <a:pt x="44" y="25"/>
                </a:cubicBezTo>
                <a:cubicBezTo>
                  <a:pt x="44" y="26"/>
                  <a:pt x="44" y="26"/>
                  <a:pt x="44" y="26"/>
                </a:cubicBezTo>
                <a:cubicBezTo>
                  <a:pt x="45" y="27"/>
                  <a:pt x="45" y="27"/>
                  <a:pt x="45" y="28"/>
                </a:cubicBezTo>
                <a:cubicBezTo>
                  <a:pt x="45" y="29"/>
                  <a:pt x="45" y="29"/>
                  <a:pt x="45" y="29"/>
                </a:cubicBezTo>
                <a:cubicBezTo>
                  <a:pt x="45" y="29"/>
                  <a:pt x="45" y="29"/>
                  <a:pt x="45" y="29"/>
                </a:cubicBezTo>
                <a:cubicBezTo>
                  <a:pt x="46" y="28"/>
                  <a:pt x="46" y="28"/>
                  <a:pt x="46" y="28"/>
                </a:cubicBezTo>
                <a:cubicBezTo>
                  <a:pt x="47" y="29"/>
                  <a:pt x="47" y="29"/>
                  <a:pt x="47" y="29"/>
                </a:cubicBezTo>
                <a:cubicBezTo>
                  <a:pt x="48" y="30"/>
                  <a:pt x="48" y="30"/>
                  <a:pt x="49" y="31"/>
                </a:cubicBezTo>
                <a:cubicBezTo>
                  <a:pt x="49" y="31"/>
                  <a:pt x="49" y="31"/>
                  <a:pt x="49" y="31"/>
                </a:cubicBezTo>
                <a:cubicBezTo>
                  <a:pt x="55" y="39"/>
                  <a:pt x="55" y="39"/>
                  <a:pt x="55" y="39"/>
                </a:cubicBezTo>
                <a:cubicBezTo>
                  <a:pt x="57" y="37"/>
                  <a:pt x="57" y="37"/>
                  <a:pt x="57" y="37"/>
                </a:cubicBezTo>
                <a:cubicBezTo>
                  <a:pt x="55" y="39"/>
                  <a:pt x="55" y="39"/>
                  <a:pt x="55" y="39"/>
                </a:cubicBezTo>
                <a:cubicBezTo>
                  <a:pt x="56" y="40"/>
                  <a:pt x="56" y="40"/>
                  <a:pt x="56" y="40"/>
                </a:cubicBezTo>
                <a:cubicBezTo>
                  <a:pt x="57" y="41"/>
                  <a:pt x="58" y="42"/>
                  <a:pt x="58" y="44"/>
                </a:cubicBezTo>
                <a:cubicBezTo>
                  <a:pt x="58" y="45"/>
                  <a:pt x="57" y="46"/>
                  <a:pt x="57" y="46"/>
                </a:cubicBezTo>
                <a:cubicBezTo>
                  <a:pt x="57" y="47"/>
                  <a:pt x="57" y="47"/>
                  <a:pt x="57" y="47"/>
                </a:cubicBezTo>
                <a:cubicBezTo>
                  <a:pt x="57" y="47"/>
                  <a:pt x="57" y="47"/>
                  <a:pt x="57" y="48"/>
                </a:cubicBezTo>
                <a:cubicBezTo>
                  <a:pt x="57" y="48"/>
                  <a:pt x="57" y="48"/>
                  <a:pt x="57" y="48"/>
                </a:cubicBezTo>
                <a:cubicBezTo>
                  <a:pt x="57" y="49"/>
                  <a:pt x="57" y="49"/>
                  <a:pt x="57" y="49"/>
                </a:cubicBezTo>
                <a:cubicBezTo>
                  <a:pt x="57" y="50"/>
                  <a:pt x="57" y="50"/>
                  <a:pt x="57" y="51"/>
                </a:cubicBezTo>
                <a:cubicBezTo>
                  <a:pt x="57" y="51"/>
                  <a:pt x="57" y="51"/>
                  <a:pt x="57" y="52"/>
                </a:cubicBezTo>
                <a:cubicBezTo>
                  <a:pt x="57" y="56"/>
                  <a:pt x="57" y="56"/>
                  <a:pt x="57" y="56"/>
                </a:cubicBezTo>
                <a:cubicBezTo>
                  <a:pt x="57" y="57"/>
                  <a:pt x="56" y="58"/>
                  <a:pt x="55" y="58"/>
                </a:cubicBezTo>
                <a:cubicBezTo>
                  <a:pt x="55" y="58"/>
                  <a:pt x="54" y="59"/>
                  <a:pt x="54" y="59"/>
                </a:cubicBezTo>
                <a:cubicBezTo>
                  <a:pt x="54" y="59"/>
                  <a:pt x="54" y="59"/>
                  <a:pt x="54" y="59"/>
                </a:cubicBezTo>
                <a:cubicBezTo>
                  <a:pt x="54" y="59"/>
                  <a:pt x="54" y="59"/>
                  <a:pt x="54" y="59"/>
                </a:cubicBezTo>
                <a:cubicBezTo>
                  <a:pt x="54" y="59"/>
                  <a:pt x="53" y="59"/>
                  <a:pt x="53" y="59"/>
                </a:cubicBezTo>
                <a:cubicBezTo>
                  <a:pt x="52" y="59"/>
                  <a:pt x="52" y="59"/>
                  <a:pt x="52" y="59"/>
                </a:cubicBezTo>
                <a:cubicBezTo>
                  <a:pt x="52" y="59"/>
                  <a:pt x="52" y="59"/>
                  <a:pt x="52" y="59"/>
                </a:cubicBezTo>
                <a:cubicBezTo>
                  <a:pt x="52" y="59"/>
                  <a:pt x="52" y="59"/>
                  <a:pt x="52" y="59"/>
                </a:cubicBezTo>
                <a:cubicBezTo>
                  <a:pt x="52" y="59"/>
                  <a:pt x="52" y="59"/>
                  <a:pt x="52" y="60"/>
                </a:cubicBezTo>
                <a:cubicBezTo>
                  <a:pt x="51" y="61"/>
                  <a:pt x="50" y="62"/>
                  <a:pt x="50" y="62"/>
                </a:cubicBezTo>
                <a:cubicBezTo>
                  <a:pt x="50" y="62"/>
                  <a:pt x="50" y="62"/>
                  <a:pt x="50" y="63"/>
                </a:cubicBezTo>
                <a:cubicBezTo>
                  <a:pt x="50" y="63"/>
                  <a:pt x="50" y="63"/>
                  <a:pt x="50" y="63"/>
                </a:cubicBezTo>
                <a:cubicBezTo>
                  <a:pt x="50" y="63"/>
                  <a:pt x="50" y="63"/>
                  <a:pt x="50" y="63"/>
                </a:cubicBezTo>
                <a:cubicBezTo>
                  <a:pt x="52" y="69"/>
                  <a:pt x="52" y="69"/>
                  <a:pt x="52" y="69"/>
                </a:cubicBezTo>
                <a:cubicBezTo>
                  <a:pt x="50" y="69"/>
                  <a:pt x="50" y="69"/>
                  <a:pt x="50" y="69"/>
                </a:cubicBezTo>
                <a:cubicBezTo>
                  <a:pt x="48" y="69"/>
                  <a:pt x="47" y="68"/>
                  <a:pt x="47" y="67"/>
                </a:cubicBezTo>
                <a:cubicBezTo>
                  <a:pt x="47" y="66"/>
                  <a:pt x="47" y="66"/>
                  <a:pt x="47" y="66"/>
                </a:cubicBezTo>
                <a:cubicBezTo>
                  <a:pt x="46" y="66"/>
                  <a:pt x="46" y="65"/>
                  <a:pt x="46" y="65"/>
                </a:cubicBezTo>
                <a:cubicBezTo>
                  <a:pt x="46" y="65"/>
                  <a:pt x="46" y="65"/>
                  <a:pt x="46" y="65"/>
                </a:cubicBezTo>
                <a:cubicBezTo>
                  <a:pt x="46" y="65"/>
                  <a:pt x="45" y="64"/>
                  <a:pt x="45" y="64"/>
                </a:cubicBezTo>
                <a:cubicBezTo>
                  <a:pt x="45" y="64"/>
                  <a:pt x="45" y="63"/>
                  <a:pt x="44" y="63"/>
                </a:cubicBezTo>
                <a:cubicBezTo>
                  <a:pt x="43" y="62"/>
                  <a:pt x="43" y="62"/>
                  <a:pt x="43" y="62"/>
                </a:cubicBezTo>
                <a:cubicBezTo>
                  <a:pt x="43" y="62"/>
                  <a:pt x="42" y="61"/>
                  <a:pt x="41" y="60"/>
                </a:cubicBezTo>
                <a:cubicBezTo>
                  <a:pt x="41" y="60"/>
                  <a:pt x="41" y="60"/>
                  <a:pt x="41" y="60"/>
                </a:cubicBezTo>
                <a:cubicBezTo>
                  <a:pt x="41" y="60"/>
                  <a:pt x="41" y="60"/>
                  <a:pt x="41" y="60"/>
                </a:cubicBezTo>
                <a:cubicBezTo>
                  <a:pt x="41" y="59"/>
                  <a:pt x="40" y="59"/>
                  <a:pt x="40" y="59"/>
                </a:cubicBezTo>
                <a:cubicBezTo>
                  <a:pt x="40" y="59"/>
                  <a:pt x="40" y="59"/>
                  <a:pt x="40" y="59"/>
                </a:cubicBezTo>
                <a:cubicBezTo>
                  <a:pt x="39" y="58"/>
                  <a:pt x="39" y="56"/>
                  <a:pt x="39" y="55"/>
                </a:cubicBezTo>
                <a:cubicBezTo>
                  <a:pt x="39" y="54"/>
                  <a:pt x="39" y="53"/>
                  <a:pt x="40" y="53"/>
                </a:cubicBezTo>
                <a:cubicBezTo>
                  <a:pt x="40" y="52"/>
                  <a:pt x="41" y="51"/>
                  <a:pt x="41" y="50"/>
                </a:cubicBezTo>
                <a:cubicBezTo>
                  <a:pt x="41" y="50"/>
                  <a:pt x="41" y="50"/>
                  <a:pt x="41" y="50"/>
                </a:cubicBezTo>
                <a:cubicBezTo>
                  <a:pt x="41" y="50"/>
                  <a:pt x="41" y="49"/>
                  <a:pt x="41" y="49"/>
                </a:cubicBezTo>
                <a:cubicBezTo>
                  <a:pt x="41" y="48"/>
                  <a:pt x="41" y="48"/>
                  <a:pt x="41" y="48"/>
                </a:cubicBezTo>
                <a:cubicBezTo>
                  <a:pt x="42" y="48"/>
                  <a:pt x="42" y="48"/>
                  <a:pt x="42" y="48"/>
                </a:cubicBezTo>
                <a:cubicBezTo>
                  <a:pt x="42" y="48"/>
                  <a:pt x="42" y="47"/>
                  <a:pt x="42" y="46"/>
                </a:cubicBezTo>
                <a:cubicBezTo>
                  <a:pt x="42" y="46"/>
                  <a:pt x="42" y="46"/>
                  <a:pt x="42" y="46"/>
                </a:cubicBezTo>
                <a:cubicBezTo>
                  <a:pt x="42" y="45"/>
                  <a:pt x="42" y="45"/>
                  <a:pt x="42" y="45"/>
                </a:cubicBezTo>
                <a:cubicBezTo>
                  <a:pt x="42" y="44"/>
                  <a:pt x="41" y="43"/>
                  <a:pt x="41" y="42"/>
                </a:cubicBezTo>
                <a:cubicBezTo>
                  <a:pt x="41" y="41"/>
                  <a:pt x="41" y="41"/>
                  <a:pt x="41" y="41"/>
                </a:cubicBezTo>
                <a:cubicBezTo>
                  <a:pt x="40" y="41"/>
                  <a:pt x="40" y="41"/>
                  <a:pt x="40" y="41"/>
                </a:cubicBezTo>
                <a:cubicBezTo>
                  <a:pt x="40" y="41"/>
                  <a:pt x="39" y="41"/>
                  <a:pt x="38" y="41"/>
                </a:cubicBezTo>
                <a:cubicBezTo>
                  <a:pt x="38" y="41"/>
                  <a:pt x="38" y="41"/>
                  <a:pt x="38" y="41"/>
                </a:cubicBezTo>
                <a:cubicBezTo>
                  <a:pt x="34" y="42"/>
                  <a:pt x="34" y="42"/>
                  <a:pt x="34" y="42"/>
                </a:cubicBezTo>
                <a:cubicBezTo>
                  <a:pt x="34" y="42"/>
                  <a:pt x="33" y="42"/>
                  <a:pt x="33" y="42"/>
                </a:cubicBezTo>
                <a:cubicBezTo>
                  <a:pt x="32" y="42"/>
                  <a:pt x="32" y="42"/>
                  <a:pt x="32" y="42"/>
                </a:cubicBezTo>
                <a:cubicBezTo>
                  <a:pt x="32" y="42"/>
                  <a:pt x="32" y="41"/>
                  <a:pt x="32" y="41"/>
                </a:cubicBezTo>
                <a:cubicBezTo>
                  <a:pt x="32" y="41"/>
                  <a:pt x="32" y="41"/>
                  <a:pt x="32" y="41"/>
                </a:cubicBezTo>
                <a:cubicBezTo>
                  <a:pt x="31" y="40"/>
                  <a:pt x="30" y="38"/>
                  <a:pt x="29" y="37"/>
                </a:cubicBezTo>
                <a:cubicBezTo>
                  <a:pt x="29" y="37"/>
                  <a:pt x="29" y="37"/>
                  <a:pt x="29" y="37"/>
                </a:cubicBezTo>
                <a:cubicBezTo>
                  <a:pt x="29" y="37"/>
                  <a:pt x="29" y="37"/>
                  <a:pt x="29" y="37"/>
                </a:cubicBezTo>
                <a:cubicBezTo>
                  <a:pt x="0" y="46"/>
                  <a:pt x="0" y="46"/>
                  <a:pt x="0" y="46"/>
                </a:cubicBezTo>
                <a:cubicBezTo>
                  <a:pt x="0" y="47"/>
                  <a:pt x="1" y="49"/>
                  <a:pt x="1" y="50"/>
                </a:cubicBezTo>
                <a:cubicBezTo>
                  <a:pt x="1" y="50"/>
                  <a:pt x="1" y="51"/>
                  <a:pt x="1" y="51"/>
                </a:cubicBezTo>
                <a:cubicBezTo>
                  <a:pt x="2" y="51"/>
                  <a:pt x="2" y="51"/>
                  <a:pt x="2" y="51"/>
                </a:cubicBezTo>
                <a:cubicBezTo>
                  <a:pt x="2" y="51"/>
                  <a:pt x="2" y="51"/>
                  <a:pt x="2" y="51"/>
                </a:cubicBezTo>
                <a:cubicBezTo>
                  <a:pt x="2" y="52"/>
                  <a:pt x="2" y="52"/>
                  <a:pt x="2" y="52"/>
                </a:cubicBezTo>
                <a:cubicBezTo>
                  <a:pt x="2" y="52"/>
                  <a:pt x="2" y="52"/>
                  <a:pt x="2" y="52"/>
                </a:cubicBezTo>
                <a:cubicBezTo>
                  <a:pt x="2" y="53"/>
                  <a:pt x="2" y="53"/>
                  <a:pt x="2" y="53"/>
                </a:cubicBezTo>
                <a:cubicBezTo>
                  <a:pt x="2" y="53"/>
                  <a:pt x="2" y="53"/>
                  <a:pt x="2" y="53"/>
                </a:cubicBezTo>
                <a:cubicBezTo>
                  <a:pt x="2" y="54"/>
                  <a:pt x="2" y="55"/>
                  <a:pt x="2" y="55"/>
                </a:cubicBezTo>
                <a:cubicBezTo>
                  <a:pt x="2" y="55"/>
                  <a:pt x="2" y="55"/>
                  <a:pt x="2" y="55"/>
                </a:cubicBezTo>
                <a:cubicBezTo>
                  <a:pt x="2" y="55"/>
                  <a:pt x="2" y="55"/>
                  <a:pt x="2" y="55"/>
                </a:cubicBezTo>
                <a:cubicBezTo>
                  <a:pt x="3" y="55"/>
                  <a:pt x="3" y="55"/>
                  <a:pt x="5" y="55"/>
                </a:cubicBezTo>
                <a:cubicBezTo>
                  <a:pt x="5" y="55"/>
                  <a:pt x="5" y="55"/>
                  <a:pt x="5" y="55"/>
                </a:cubicBezTo>
                <a:cubicBezTo>
                  <a:pt x="6" y="55"/>
                  <a:pt x="6" y="55"/>
                  <a:pt x="6" y="55"/>
                </a:cubicBezTo>
                <a:cubicBezTo>
                  <a:pt x="7" y="55"/>
                  <a:pt x="8" y="55"/>
                  <a:pt x="9" y="56"/>
                </a:cubicBezTo>
                <a:cubicBezTo>
                  <a:pt x="18" y="60"/>
                  <a:pt x="18" y="60"/>
                  <a:pt x="18" y="60"/>
                </a:cubicBezTo>
                <a:cubicBezTo>
                  <a:pt x="19" y="60"/>
                  <a:pt x="20" y="60"/>
                  <a:pt x="20" y="61"/>
                </a:cubicBezTo>
                <a:cubicBezTo>
                  <a:pt x="22" y="62"/>
                  <a:pt x="24" y="62"/>
                  <a:pt x="26" y="62"/>
                </a:cubicBezTo>
                <a:cubicBezTo>
                  <a:pt x="26" y="62"/>
                  <a:pt x="26" y="62"/>
                  <a:pt x="26" y="62"/>
                </a:cubicBezTo>
                <a:cubicBezTo>
                  <a:pt x="26" y="62"/>
                  <a:pt x="26" y="62"/>
                  <a:pt x="26" y="62"/>
                </a:cubicBezTo>
                <a:cubicBezTo>
                  <a:pt x="26" y="62"/>
                  <a:pt x="27" y="62"/>
                  <a:pt x="27" y="62"/>
                </a:cubicBezTo>
                <a:cubicBezTo>
                  <a:pt x="27" y="62"/>
                  <a:pt x="27" y="63"/>
                  <a:pt x="27" y="63"/>
                </a:cubicBezTo>
                <a:cubicBezTo>
                  <a:pt x="28" y="63"/>
                  <a:pt x="28" y="63"/>
                  <a:pt x="28" y="63"/>
                </a:cubicBezTo>
                <a:cubicBezTo>
                  <a:pt x="28" y="63"/>
                  <a:pt x="28" y="64"/>
                  <a:pt x="28" y="64"/>
                </a:cubicBezTo>
                <a:cubicBezTo>
                  <a:pt x="28" y="64"/>
                  <a:pt x="28" y="64"/>
                  <a:pt x="28" y="64"/>
                </a:cubicBezTo>
                <a:cubicBezTo>
                  <a:pt x="28" y="64"/>
                  <a:pt x="28" y="64"/>
                  <a:pt x="28" y="64"/>
                </a:cubicBezTo>
                <a:cubicBezTo>
                  <a:pt x="28" y="64"/>
                  <a:pt x="28" y="64"/>
                  <a:pt x="28" y="65"/>
                </a:cubicBezTo>
                <a:cubicBezTo>
                  <a:pt x="28" y="65"/>
                  <a:pt x="28" y="65"/>
                  <a:pt x="28" y="65"/>
                </a:cubicBezTo>
                <a:cubicBezTo>
                  <a:pt x="28" y="65"/>
                  <a:pt x="28" y="65"/>
                  <a:pt x="28" y="65"/>
                </a:cubicBezTo>
                <a:cubicBezTo>
                  <a:pt x="28" y="65"/>
                  <a:pt x="28" y="65"/>
                  <a:pt x="28" y="65"/>
                </a:cubicBezTo>
                <a:cubicBezTo>
                  <a:pt x="28" y="66"/>
                  <a:pt x="28" y="66"/>
                  <a:pt x="28" y="66"/>
                </a:cubicBezTo>
                <a:cubicBezTo>
                  <a:pt x="28" y="66"/>
                  <a:pt x="28" y="67"/>
                  <a:pt x="28" y="67"/>
                </a:cubicBezTo>
                <a:cubicBezTo>
                  <a:pt x="28" y="67"/>
                  <a:pt x="28" y="68"/>
                  <a:pt x="28" y="68"/>
                </a:cubicBezTo>
                <a:cubicBezTo>
                  <a:pt x="28" y="70"/>
                  <a:pt x="29" y="71"/>
                  <a:pt x="29" y="73"/>
                </a:cubicBezTo>
                <a:cubicBezTo>
                  <a:pt x="29" y="74"/>
                  <a:pt x="29" y="74"/>
                  <a:pt x="29" y="75"/>
                </a:cubicBezTo>
                <a:cubicBezTo>
                  <a:pt x="29" y="77"/>
                  <a:pt x="29" y="79"/>
                  <a:pt x="29" y="80"/>
                </a:cubicBezTo>
                <a:cubicBezTo>
                  <a:pt x="29" y="80"/>
                  <a:pt x="29" y="80"/>
                  <a:pt x="29" y="80"/>
                </a:cubicBezTo>
                <a:cubicBezTo>
                  <a:pt x="29" y="81"/>
                  <a:pt x="29" y="81"/>
                  <a:pt x="29" y="81"/>
                </a:cubicBezTo>
                <a:cubicBezTo>
                  <a:pt x="28" y="82"/>
                  <a:pt x="28" y="82"/>
                  <a:pt x="28" y="83"/>
                </a:cubicBezTo>
                <a:cubicBezTo>
                  <a:pt x="27" y="83"/>
                  <a:pt x="27" y="83"/>
                  <a:pt x="27" y="83"/>
                </a:cubicBezTo>
                <a:cubicBezTo>
                  <a:pt x="27" y="83"/>
                  <a:pt x="27" y="83"/>
                  <a:pt x="27" y="83"/>
                </a:cubicBezTo>
                <a:cubicBezTo>
                  <a:pt x="27" y="83"/>
                  <a:pt x="27" y="84"/>
                  <a:pt x="27" y="84"/>
                </a:cubicBezTo>
                <a:cubicBezTo>
                  <a:pt x="26" y="84"/>
                  <a:pt x="26" y="84"/>
                  <a:pt x="26" y="84"/>
                </a:cubicBezTo>
                <a:cubicBezTo>
                  <a:pt x="27" y="84"/>
                  <a:pt x="27" y="84"/>
                  <a:pt x="27" y="84"/>
                </a:cubicBezTo>
                <a:cubicBezTo>
                  <a:pt x="27" y="85"/>
                  <a:pt x="26" y="86"/>
                  <a:pt x="26" y="86"/>
                </a:cubicBezTo>
                <a:cubicBezTo>
                  <a:pt x="26" y="86"/>
                  <a:pt x="26" y="87"/>
                  <a:pt x="26" y="87"/>
                </a:cubicBezTo>
                <a:cubicBezTo>
                  <a:pt x="26" y="87"/>
                  <a:pt x="26" y="87"/>
                  <a:pt x="26" y="87"/>
                </a:cubicBezTo>
                <a:cubicBezTo>
                  <a:pt x="26" y="87"/>
                  <a:pt x="26" y="87"/>
                  <a:pt x="26" y="87"/>
                </a:cubicBezTo>
                <a:cubicBezTo>
                  <a:pt x="26" y="88"/>
                  <a:pt x="26" y="88"/>
                  <a:pt x="27" y="88"/>
                </a:cubicBezTo>
                <a:cubicBezTo>
                  <a:pt x="27" y="89"/>
                  <a:pt x="27" y="90"/>
                  <a:pt x="27" y="92"/>
                </a:cubicBezTo>
                <a:cubicBezTo>
                  <a:pt x="27" y="92"/>
                  <a:pt x="27" y="93"/>
                  <a:pt x="27" y="94"/>
                </a:cubicBezTo>
                <a:cubicBezTo>
                  <a:pt x="27" y="94"/>
                  <a:pt x="27" y="94"/>
                  <a:pt x="27" y="94"/>
                </a:cubicBezTo>
                <a:cubicBezTo>
                  <a:pt x="27" y="94"/>
                  <a:pt x="27" y="94"/>
                  <a:pt x="27" y="94"/>
                </a:cubicBezTo>
                <a:cubicBezTo>
                  <a:pt x="28" y="94"/>
                  <a:pt x="28" y="94"/>
                  <a:pt x="28" y="94"/>
                </a:cubicBezTo>
                <a:cubicBezTo>
                  <a:pt x="28" y="95"/>
                  <a:pt x="28" y="95"/>
                  <a:pt x="28" y="95"/>
                </a:cubicBezTo>
                <a:cubicBezTo>
                  <a:pt x="29" y="96"/>
                  <a:pt x="29" y="97"/>
                  <a:pt x="28" y="98"/>
                </a:cubicBezTo>
                <a:cubicBezTo>
                  <a:pt x="28" y="99"/>
                  <a:pt x="28" y="100"/>
                  <a:pt x="27" y="101"/>
                </a:cubicBezTo>
                <a:cubicBezTo>
                  <a:pt x="26" y="103"/>
                  <a:pt x="25" y="104"/>
                  <a:pt x="25" y="104"/>
                </a:cubicBezTo>
                <a:cubicBezTo>
                  <a:pt x="25" y="105"/>
                  <a:pt x="24" y="105"/>
                  <a:pt x="24" y="105"/>
                </a:cubicBezTo>
                <a:cubicBezTo>
                  <a:pt x="23" y="105"/>
                  <a:pt x="23" y="105"/>
                  <a:pt x="23" y="105"/>
                </a:cubicBezTo>
                <a:cubicBezTo>
                  <a:pt x="23" y="105"/>
                  <a:pt x="23" y="105"/>
                  <a:pt x="23" y="105"/>
                </a:cubicBezTo>
                <a:cubicBezTo>
                  <a:pt x="23" y="106"/>
                  <a:pt x="23" y="107"/>
                  <a:pt x="23" y="107"/>
                </a:cubicBezTo>
                <a:cubicBezTo>
                  <a:pt x="23" y="107"/>
                  <a:pt x="22" y="108"/>
                  <a:pt x="22" y="108"/>
                </a:cubicBezTo>
                <a:cubicBezTo>
                  <a:pt x="22" y="108"/>
                  <a:pt x="22" y="108"/>
                  <a:pt x="22" y="108"/>
                </a:cubicBezTo>
                <a:cubicBezTo>
                  <a:pt x="22" y="109"/>
                  <a:pt x="22" y="110"/>
                  <a:pt x="22" y="110"/>
                </a:cubicBezTo>
                <a:cubicBezTo>
                  <a:pt x="22" y="110"/>
                  <a:pt x="22" y="111"/>
                  <a:pt x="22" y="111"/>
                </a:cubicBezTo>
                <a:cubicBezTo>
                  <a:pt x="24" y="114"/>
                  <a:pt x="24" y="114"/>
                  <a:pt x="24" y="114"/>
                </a:cubicBezTo>
                <a:cubicBezTo>
                  <a:pt x="21" y="114"/>
                  <a:pt x="21" y="114"/>
                  <a:pt x="21" y="114"/>
                </a:cubicBezTo>
                <a:cubicBezTo>
                  <a:pt x="21" y="114"/>
                  <a:pt x="21" y="114"/>
                  <a:pt x="20" y="114"/>
                </a:cubicBezTo>
                <a:cubicBezTo>
                  <a:pt x="19" y="116"/>
                  <a:pt x="18" y="117"/>
                  <a:pt x="17" y="118"/>
                </a:cubicBezTo>
                <a:cubicBezTo>
                  <a:pt x="17" y="118"/>
                  <a:pt x="17" y="119"/>
                  <a:pt x="16" y="119"/>
                </a:cubicBezTo>
                <a:cubicBezTo>
                  <a:pt x="12" y="123"/>
                  <a:pt x="12" y="123"/>
                  <a:pt x="12" y="123"/>
                </a:cubicBezTo>
                <a:cubicBezTo>
                  <a:pt x="12" y="123"/>
                  <a:pt x="12" y="123"/>
                  <a:pt x="12" y="124"/>
                </a:cubicBezTo>
                <a:cubicBezTo>
                  <a:pt x="12" y="124"/>
                  <a:pt x="11" y="124"/>
                  <a:pt x="11" y="124"/>
                </a:cubicBezTo>
                <a:cubicBezTo>
                  <a:pt x="11" y="124"/>
                  <a:pt x="11" y="124"/>
                  <a:pt x="11" y="124"/>
                </a:cubicBezTo>
                <a:cubicBezTo>
                  <a:pt x="11" y="125"/>
                  <a:pt x="11" y="125"/>
                  <a:pt x="11" y="125"/>
                </a:cubicBezTo>
                <a:cubicBezTo>
                  <a:pt x="11" y="126"/>
                  <a:pt x="12" y="126"/>
                  <a:pt x="12" y="127"/>
                </a:cubicBezTo>
                <a:cubicBezTo>
                  <a:pt x="12" y="127"/>
                  <a:pt x="12" y="127"/>
                  <a:pt x="12" y="127"/>
                </a:cubicBezTo>
                <a:cubicBezTo>
                  <a:pt x="12" y="129"/>
                  <a:pt x="13" y="130"/>
                  <a:pt x="13" y="132"/>
                </a:cubicBezTo>
                <a:cubicBezTo>
                  <a:pt x="13" y="132"/>
                  <a:pt x="13" y="132"/>
                  <a:pt x="13" y="133"/>
                </a:cubicBezTo>
                <a:cubicBezTo>
                  <a:pt x="15" y="133"/>
                  <a:pt x="15" y="133"/>
                  <a:pt x="15" y="133"/>
                </a:cubicBezTo>
                <a:cubicBezTo>
                  <a:pt x="13" y="133"/>
                  <a:pt x="13" y="133"/>
                  <a:pt x="13" y="133"/>
                </a:cubicBezTo>
                <a:cubicBezTo>
                  <a:pt x="13" y="134"/>
                  <a:pt x="13" y="134"/>
                  <a:pt x="13" y="134"/>
                </a:cubicBezTo>
                <a:cubicBezTo>
                  <a:pt x="13" y="135"/>
                  <a:pt x="13" y="135"/>
                  <a:pt x="14" y="136"/>
                </a:cubicBezTo>
                <a:cubicBezTo>
                  <a:pt x="16" y="140"/>
                  <a:pt x="16" y="140"/>
                  <a:pt x="16" y="140"/>
                </a:cubicBezTo>
                <a:cubicBezTo>
                  <a:pt x="17" y="141"/>
                  <a:pt x="17" y="144"/>
                  <a:pt x="18" y="146"/>
                </a:cubicBezTo>
                <a:cubicBezTo>
                  <a:pt x="18" y="147"/>
                  <a:pt x="18" y="147"/>
                  <a:pt x="18" y="147"/>
                </a:cubicBezTo>
                <a:cubicBezTo>
                  <a:pt x="18" y="150"/>
                  <a:pt x="18" y="152"/>
                  <a:pt x="18" y="154"/>
                </a:cubicBezTo>
                <a:cubicBezTo>
                  <a:pt x="18" y="155"/>
                  <a:pt x="18" y="155"/>
                  <a:pt x="18" y="156"/>
                </a:cubicBezTo>
                <a:cubicBezTo>
                  <a:pt x="18" y="156"/>
                  <a:pt x="18" y="156"/>
                  <a:pt x="18" y="156"/>
                </a:cubicBezTo>
                <a:cubicBezTo>
                  <a:pt x="18" y="157"/>
                  <a:pt x="18" y="157"/>
                  <a:pt x="18" y="158"/>
                </a:cubicBezTo>
                <a:cubicBezTo>
                  <a:pt x="18" y="158"/>
                  <a:pt x="18" y="158"/>
                  <a:pt x="18" y="158"/>
                </a:cubicBezTo>
                <a:cubicBezTo>
                  <a:pt x="18" y="159"/>
                  <a:pt x="18" y="160"/>
                  <a:pt x="18" y="161"/>
                </a:cubicBezTo>
                <a:cubicBezTo>
                  <a:pt x="18" y="161"/>
                  <a:pt x="18" y="161"/>
                  <a:pt x="18" y="161"/>
                </a:cubicBezTo>
                <a:cubicBezTo>
                  <a:pt x="18" y="161"/>
                  <a:pt x="18" y="161"/>
                  <a:pt x="18" y="162"/>
                </a:cubicBezTo>
                <a:cubicBezTo>
                  <a:pt x="18" y="162"/>
                  <a:pt x="18" y="162"/>
                  <a:pt x="18" y="162"/>
                </a:cubicBezTo>
                <a:cubicBezTo>
                  <a:pt x="18" y="162"/>
                  <a:pt x="18" y="162"/>
                  <a:pt x="18" y="162"/>
                </a:cubicBezTo>
                <a:cubicBezTo>
                  <a:pt x="19" y="162"/>
                  <a:pt x="19" y="162"/>
                  <a:pt x="19" y="163"/>
                </a:cubicBezTo>
                <a:cubicBezTo>
                  <a:pt x="19" y="163"/>
                  <a:pt x="19" y="163"/>
                  <a:pt x="19" y="163"/>
                </a:cubicBezTo>
                <a:cubicBezTo>
                  <a:pt x="19" y="171"/>
                  <a:pt x="19" y="171"/>
                  <a:pt x="19" y="171"/>
                </a:cubicBezTo>
                <a:cubicBezTo>
                  <a:pt x="19" y="171"/>
                  <a:pt x="20" y="171"/>
                  <a:pt x="20" y="171"/>
                </a:cubicBezTo>
                <a:cubicBezTo>
                  <a:pt x="21" y="171"/>
                  <a:pt x="21" y="171"/>
                  <a:pt x="22" y="171"/>
                </a:cubicBezTo>
                <a:cubicBezTo>
                  <a:pt x="22" y="171"/>
                  <a:pt x="23" y="171"/>
                  <a:pt x="24" y="171"/>
                </a:cubicBezTo>
                <a:cubicBezTo>
                  <a:pt x="25" y="171"/>
                  <a:pt x="25" y="171"/>
                  <a:pt x="25" y="171"/>
                </a:cubicBezTo>
                <a:cubicBezTo>
                  <a:pt x="25" y="171"/>
                  <a:pt x="26" y="171"/>
                  <a:pt x="26" y="171"/>
                </a:cubicBezTo>
                <a:cubicBezTo>
                  <a:pt x="26" y="169"/>
                  <a:pt x="26" y="165"/>
                  <a:pt x="26" y="164"/>
                </a:cubicBezTo>
                <a:cubicBezTo>
                  <a:pt x="26" y="164"/>
                  <a:pt x="26" y="166"/>
                  <a:pt x="25" y="166"/>
                </a:cubicBezTo>
                <a:cubicBezTo>
                  <a:pt x="25" y="166"/>
                  <a:pt x="24" y="165"/>
                  <a:pt x="24" y="165"/>
                </a:cubicBezTo>
                <a:cubicBezTo>
                  <a:pt x="23" y="164"/>
                  <a:pt x="23" y="163"/>
                  <a:pt x="22" y="163"/>
                </a:cubicBezTo>
                <a:cubicBezTo>
                  <a:pt x="22" y="162"/>
                  <a:pt x="23" y="163"/>
                  <a:pt x="23" y="162"/>
                </a:cubicBezTo>
                <a:cubicBezTo>
                  <a:pt x="24" y="162"/>
                  <a:pt x="24" y="161"/>
                  <a:pt x="24" y="160"/>
                </a:cubicBezTo>
                <a:cubicBezTo>
                  <a:pt x="25" y="159"/>
                  <a:pt x="25" y="158"/>
                  <a:pt x="27" y="157"/>
                </a:cubicBezTo>
                <a:cubicBezTo>
                  <a:pt x="31" y="154"/>
                  <a:pt x="36" y="153"/>
                  <a:pt x="40" y="151"/>
                </a:cubicBezTo>
                <a:cubicBezTo>
                  <a:pt x="44" y="150"/>
                  <a:pt x="48" y="149"/>
                  <a:pt x="50" y="146"/>
                </a:cubicBezTo>
                <a:cubicBezTo>
                  <a:pt x="51" y="145"/>
                  <a:pt x="52" y="144"/>
                  <a:pt x="52" y="143"/>
                </a:cubicBezTo>
                <a:cubicBezTo>
                  <a:pt x="53" y="142"/>
                  <a:pt x="53" y="140"/>
                  <a:pt x="53" y="139"/>
                </a:cubicBezTo>
                <a:cubicBezTo>
                  <a:pt x="52" y="140"/>
                  <a:pt x="51" y="141"/>
                  <a:pt x="51" y="140"/>
                </a:cubicBezTo>
                <a:cubicBezTo>
                  <a:pt x="51" y="140"/>
                  <a:pt x="51" y="140"/>
                  <a:pt x="51" y="139"/>
                </a:cubicBezTo>
                <a:cubicBezTo>
                  <a:pt x="51" y="138"/>
                  <a:pt x="51" y="137"/>
                  <a:pt x="51" y="139"/>
                </a:cubicBezTo>
                <a:cubicBezTo>
                  <a:pt x="52" y="137"/>
                  <a:pt x="52" y="136"/>
                  <a:pt x="52" y="135"/>
                </a:cubicBezTo>
                <a:cubicBezTo>
                  <a:pt x="52" y="131"/>
                  <a:pt x="53" y="126"/>
                  <a:pt x="53" y="122"/>
                </a:cubicBezTo>
                <a:cubicBezTo>
                  <a:pt x="53" y="122"/>
                  <a:pt x="53" y="122"/>
                  <a:pt x="53" y="123"/>
                </a:cubicBezTo>
                <a:cubicBezTo>
                  <a:pt x="52" y="121"/>
                  <a:pt x="52" y="120"/>
                  <a:pt x="52" y="122"/>
                </a:cubicBezTo>
                <a:cubicBezTo>
                  <a:pt x="52" y="122"/>
                  <a:pt x="52" y="122"/>
                  <a:pt x="52" y="122"/>
                </a:cubicBezTo>
                <a:cubicBezTo>
                  <a:pt x="52" y="122"/>
                  <a:pt x="51" y="123"/>
                  <a:pt x="52" y="123"/>
                </a:cubicBezTo>
                <a:cubicBezTo>
                  <a:pt x="51" y="121"/>
                  <a:pt x="51" y="118"/>
                  <a:pt x="50" y="116"/>
                </a:cubicBezTo>
                <a:cubicBezTo>
                  <a:pt x="50" y="115"/>
                  <a:pt x="49" y="114"/>
                  <a:pt x="49" y="113"/>
                </a:cubicBezTo>
                <a:cubicBezTo>
                  <a:pt x="48" y="112"/>
                  <a:pt x="47" y="110"/>
                  <a:pt x="48" y="110"/>
                </a:cubicBezTo>
                <a:cubicBezTo>
                  <a:pt x="48" y="109"/>
                  <a:pt x="49" y="109"/>
                  <a:pt x="48" y="108"/>
                </a:cubicBezTo>
                <a:cubicBezTo>
                  <a:pt x="47" y="107"/>
                  <a:pt x="47" y="107"/>
                  <a:pt x="46" y="106"/>
                </a:cubicBezTo>
                <a:cubicBezTo>
                  <a:pt x="45" y="105"/>
                  <a:pt x="44" y="104"/>
                  <a:pt x="44" y="102"/>
                </a:cubicBezTo>
                <a:cubicBezTo>
                  <a:pt x="45" y="103"/>
                  <a:pt x="44" y="101"/>
                  <a:pt x="44" y="100"/>
                </a:cubicBezTo>
                <a:cubicBezTo>
                  <a:pt x="44" y="100"/>
                  <a:pt x="45" y="100"/>
                  <a:pt x="45" y="100"/>
                </a:cubicBezTo>
                <a:cubicBezTo>
                  <a:pt x="45" y="100"/>
                  <a:pt x="45" y="100"/>
                  <a:pt x="45" y="100"/>
                </a:cubicBezTo>
                <a:cubicBezTo>
                  <a:pt x="45" y="100"/>
                  <a:pt x="45" y="99"/>
                  <a:pt x="45" y="99"/>
                </a:cubicBezTo>
                <a:cubicBezTo>
                  <a:pt x="45" y="98"/>
                  <a:pt x="45" y="97"/>
                  <a:pt x="45" y="96"/>
                </a:cubicBezTo>
                <a:cubicBezTo>
                  <a:pt x="45" y="96"/>
                  <a:pt x="42" y="94"/>
                  <a:pt x="43" y="94"/>
                </a:cubicBezTo>
                <a:cubicBezTo>
                  <a:pt x="43" y="94"/>
                  <a:pt x="45" y="95"/>
                  <a:pt x="45" y="96"/>
                </a:cubicBezTo>
                <a:cubicBezTo>
                  <a:pt x="46" y="97"/>
                  <a:pt x="46" y="97"/>
                  <a:pt x="47" y="96"/>
                </a:cubicBezTo>
                <a:cubicBezTo>
                  <a:pt x="47" y="96"/>
                  <a:pt x="48" y="96"/>
                  <a:pt x="49" y="95"/>
                </a:cubicBezTo>
                <a:cubicBezTo>
                  <a:pt x="50" y="94"/>
                  <a:pt x="52" y="92"/>
                  <a:pt x="53" y="91"/>
                </a:cubicBezTo>
                <a:cubicBezTo>
                  <a:pt x="54" y="90"/>
                  <a:pt x="54" y="89"/>
                  <a:pt x="55" y="88"/>
                </a:cubicBezTo>
                <a:cubicBezTo>
                  <a:pt x="56" y="88"/>
                  <a:pt x="56" y="88"/>
                  <a:pt x="56" y="87"/>
                </a:cubicBezTo>
                <a:cubicBezTo>
                  <a:pt x="56" y="87"/>
                  <a:pt x="57" y="87"/>
                  <a:pt x="57" y="87"/>
                </a:cubicBezTo>
                <a:cubicBezTo>
                  <a:pt x="57" y="87"/>
                  <a:pt x="57" y="87"/>
                  <a:pt x="57" y="87"/>
                </a:cubicBezTo>
                <a:cubicBezTo>
                  <a:pt x="59" y="86"/>
                  <a:pt x="59" y="86"/>
                  <a:pt x="60" y="86"/>
                </a:cubicBezTo>
                <a:cubicBezTo>
                  <a:pt x="60" y="85"/>
                  <a:pt x="61" y="85"/>
                  <a:pt x="62" y="85"/>
                </a:cubicBezTo>
                <a:cubicBezTo>
                  <a:pt x="62" y="84"/>
                  <a:pt x="64" y="82"/>
                  <a:pt x="65" y="81"/>
                </a:cubicBezTo>
                <a:cubicBezTo>
                  <a:pt x="66" y="80"/>
                  <a:pt x="67" y="79"/>
                  <a:pt x="67" y="78"/>
                </a:cubicBezTo>
                <a:cubicBezTo>
                  <a:pt x="67" y="77"/>
                  <a:pt x="67" y="77"/>
                  <a:pt x="67" y="77"/>
                </a:cubicBezTo>
                <a:cubicBezTo>
                  <a:pt x="66" y="76"/>
                  <a:pt x="67" y="76"/>
                  <a:pt x="67" y="77"/>
                </a:cubicBezTo>
                <a:cubicBezTo>
                  <a:pt x="69" y="76"/>
                  <a:pt x="71" y="73"/>
                  <a:pt x="74" y="72"/>
                </a:cubicBezTo>
                <a:cubicBezTo>
                  <a:pt x="75" y="72"/>
                  <a:pt x="77" y="71"/>
                  <a:pt x="78" y="70"/>
                </a:cubicBezTo>
                <a:cubicBezTo>
                  <a:pt x="79" y="70"/>
                  <a:pt x="79" y="69"/>
                  <a:pt x="79" y="69"/>
                </a:cubicBezTo>
                <a:cubicBezTo>
                  <a:pt x="80" y="68"/>
                  <a:pt x="83" y="68"/>
                  <a:pt x="83" y="67"/>
                </a:cubicBezTo>
                <a:cubicBezTo>
                  <a:pt x="85" y="67"/>
                  <a:pt x="87" y="66"/>
                  <a:pt x="89" y="66"/>
                </a:cubicBezTo>
                <a:cubicBezTo>
                  <a:pt x="91" y="65"/>
                  <a:pt x="94" y="63"/>
                  <a:pt x="96" y="62"/>
                </a:cubicBezTo>
                <a:cubicBezTo>
                  <a:pt x="98" y="60"/>
                  <a:pt x="100" y="56"/>
                  <a:pt x="101" y="54"/>
                </a:cubicBezTo>
                <a:cubicBezTo>
                  <a:pt x="103" y="52"/>
                  <a:pt x="105" y="49"/>
                  <a:pt x="106" y="46"/>
                </a:cubicBezTo>
                <a:cubicBezTo>
                  <a:pt x="106" y="45"/>
                  <a:pt x="106" y="45"/>
                  <a:pt x="106" y="45"/>
                </a:cubicBezTo>
                <a:cubicBezTo>
                  <a:pt x="106" y="44"/>
                  <a:pt x="107" y="44"/>
                  <a:pt x="107" y="43"/>
                </a:cubicBezTo>
                <a:cubicBezTo>
                  <a:pt x="107" y="43"/>
                  <a:pt x="107" y="41"/>
                  <a:pt x="107" y="40"/>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2" name="Freeform 3212">
            <a:extLst>
              <a:ext uri="{FF2B5EF4-FFF2-40B4-BE49-F238E27FC236}">
                <a16:creationId xmlns:a16="http://schemas.microsoft.com/office/drawing/2014/main" id="{67F6A955-C1F6-4B9D-892C-04224F4CE12E}"/>
              </a:ext>
            </a:extLst>
          </p:cNvPr>
          <p:cNvSpPr>
            <a:spLocks/>
          </p:cNvSpPr>
          <p:nvPr/>
        </p:nvSpPr>
        <p:spPr bwMode="auto">
          <a:xfrm>
            <a:off x="3694320" y="3775799"/>
            <a:ext cx="130332" cy="151367"/>
          </a:xfrm>
          <a:custGeom>
            <a:avLst/>
            <a:gdLst>
              <a:gd name="T0" fmla="*/ 103 w 111"/>
              <a:gd name="T1" fmla="*/ 91 h 108"/>
              <a:gd name="T2" fmla="*/ 100 w 111"/>
              <a:gd name="T3" fmla="*/ 76 h 108"/>
              <a:gd name="T4" fmla="*/ 96 w 111"/>
              <a:gd name="T5" fmla="*/ 54 h 108"/>
              <a:gd name="T6" fmla="*/ 98 w 111"/>
              <a:gd name="T7" fmla="*/ 37 h 108"/>
              <a:gd name="T8" fmla="*/ 92 w 111"/>
              <a:gd name="T9" fmla="*/ 33 h 108"/>
              <a:gd name="T10" fmla="*/ 82 w 111"/>
              <a:gd name="T11" fmla="*/ 25 h 108"/>
              <a:gd name="T12" fmla="*/ 81 w 111"/>
              <a:gd name="T13" fmla="*/ 21 h 108"/>
              <a:gd name="T14" fmla="*/ 80 w 111"/>
              <a:gd name="T15" fmla="*/ 20 h 108"/>
              <a:gd name="T16" fmla="*/ 62 w 111"/>
              <a:gd name="T17" fmla="*/ 9 h 108"/>
              <a:gd name="T18" fmla="*/ 45 w 111"/>
              <a:gd name="T19" fmla="*/ 4 h 108"/>
              <a:gd name="T20" fmla="*/ 38 w 111"/>
              <a:gd name="T21" fmla="*/ 8 h 108"/>
              <a:gd name="T22" fmla="*/ 43 w 111"/>
              <a:gd name="T23" fmla="*/ 10 h 108"/>
              <a:gd name="T24" fmla="*/ 35 w 111"/>
              <a:gd name="T25" fmla="*/ 13 h 108"/>
              <a:gd name="T26" fmla="*/ 32 w 111"/>
              <a:gd name="T27" fmla="*/ 19 h 108"/>
              <a:gd name="T28" fmla="*/ 33 w 111"/>
              <a:gd name="T29" fmla="*/ 14 h 108"/>
              <a:gd name="T30" fmla="*/ 29 w 111"/>
              <a:gd name="T31" fmla="*/ 13 h 108"/>
              <a:gd name="T32" fmla="*/ 25 w 111"/>
              <a:gd name="T33" fmla="*/ 14 h 108"/>
              <a:gd name="T34" fmla="*/ 23 w 111"/>
              <a:gd name="T35" fmla="*/ 17 h 108"/>
              <a:gd name="T36" fmla="*/ 23 w 111"/>
              <a:gd name="T37" fmla="*/ 0 h 108"/>
              <a:gd name="T38" fmla="*/ 14 w 111"/>
              <a:gd name="T39" fmla="*/ 6 h 108"/>
              <a:gd name="T40" fmla="*/ 15 w 111"/>
              <a:gd name="T41" fmla="*/ 9 h 108"/>
              <a:gd name="T42" fmla="*/ 13 w 111"/>
              <a:gd name="T43" fmla="*/ 14 h 108"/>
              <a:gd name="T44" fmla="*/ 13 w 111"/>
              <a:gd name="T45" fmla="*/ 15 h 108"/>
              <a:gd name="T46" fmla="*/ 16 w 111"/>
              <a:gd name="T47" fmla="*/ 21 h 108"/>
              <a:gd name="T48" fmla="*/ 15 w 111"/>
              <a:gd name="T49" fmla="*/ 24 h 108"/>
              <a:gd name="T50" fmla="*/ 12 w 111"/>
              <a:gd name="T51" fmla="*/ 27 h 108"/>
              <a:gd name="T52" fmla="*/ 5 w 111"/>
              <a:gd name="T53" fmla="*/ 35 h 108"/>
              <a:gd name="T54" fmla="*/ 1 w 111"/>
              <a:gd name="T55" fmla="*/ 37 h 108"/>
              <a:gd name="T56" fmla="*/ 2 w 111"/>
              <a:gd name="T57" fmla="*/ 41 h 108"/>
              <a:gd name="T58" fmla="*/ 2 w 111"/>
              <a:gd name="T59" fmla="*/ 50 h 108"/>
              <a:gd name="T60" fmla="*/ 9 w 111"/>
              <a:gd name="T61" fmla="*/ 59 h 108"/>
              <a:gd name="T62" fmla="*/ 16 w 111"/>
              <a:gd name="T63" fmla="*/ 76 h 108"/>
              <a:gd name="T64" fmla="*/ 16 w 111"/>
              <a:gd name="T65" fmla="*/ 76 h 108"/>
              <a:gd name="T66" fmla="*/ 20 w 111"/>
              <a:gd name="T67" fmla="*/ 77 h 108"/>
              <a:gd name="T68" fmla="*/ 24 w 111"/>
              <a:gd name="T69" fmla="*/ 79 h 108"/>
              <a:gd name="T70" fmla="*/ 30 w 111"/>
              <a:gd name="T71" fmla="*/ 82 h 108"/>
              <a:gd name="T72" fmla="*/ 36 w 111"/>
              <a:gd name="T73" fmla="*/ 84 h 108"/>
              <a:gd name="T74" fmla="*/ 44 w 111"/>
              <a:gd name="T75" fmla="*/ 86 h 108"/>
              <a:gd name="T76" fmla="*/ 49 w 111"/>
              <a:gd name="T77" fmla="*/ 89 h 108"/>
              <a:gd name="T78" fmla="*/ 54 w 111"/>
              <a:gd name="T79" fmla="*/ 105 h 108"/>
              <a:gd name="T80" fmla="*/ 62 w 111"/>
              <a:gd name="T81" fmla="*/ 106 h 108"/>
              <a:gd name="T82" fmla="*/ 66 w 111"/>
              <a:gd name="T83" fmla="*/ 105 h 108"/>
              <a:gd name="T84" fmla="*/ 73 w 111"/>
              <a:gd name="T85" fmla="*/ 107 h 108"/>
              <a:gd name="T86" fmla="*/ 81 w 111"/>
              <a:gd name="T87" fmla="*/ 107 h 108"/>
              <a:gd name="T88" fmla="*/ 84 w 111"/>
              <a:gd name="T89" fmla="*/ 104 h 108"/>
              <a:gd name="T90" fmla="*/ 88 w 111"/>
              <a:gd name="T91" fmla="*/ 103 h 108"/>
              <a:gd name="T92" fmla="*/ 92 w 111"/>
              <a:gd name="T93" fmla="*/ 103 h 108"/>
              <a:gd name="T94" fmla="*/ 98 w 111"/>
              <a:gd name="T95" fmla="*/ 102 h 108"/>
              <a:gd name="T96" fmla="*/ 111 w 111"/>
              <a:gd name="T97" fmla="*/ 9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108">
                <a:moveTo>
                  <a:pt x="110" y="93"/>
                </a:moveTo>
                <a:cubicBezTo>
                  <a:pt x="109" y="93"/>
                  <a:pt x="109" y="93"/>
                  <a:pt x="108" y="93"/>
                </a:cubicBezTo>
                <a:cubicBezTo>
                  <a:pt x="107" y="92"/>
                  <a:pt x="107" y="94"/>
                  <a:pt x="106" y="92"/>
                </a:cubicBezTo>
                <a:cubicBezTo>
                  <a:pt x="105" y="91"/>
                  <a:pt x="105" y="91"/>
                  <a:pt x="103" y="91"/>
                </a:cubicBezTo>
                <a:cubicBezTo>
                  <a:pt x="104" y="89"/>
                  <a:pt x="102" y="87"/>
                  <a:pt x="102" y="85"/>
                </a:cubicBezTo>
                <a:cubicBezTo>
                  <a:pt x="102" y="84"/>
                  <a:pt x="103" y="83"/>
                  <a:pt x="103" y="83"/>
                </a:cubicBezTo>
                <a:cubicBezTo>
                  <a:pt x="103" y="82"/>
                  <a:pt x="101" y="81"/>
                  <a:pt x="101" y="80"/>
                </a:cubicBezTo>
                <a:cubicBezTo>
                  <a:pt x="100" y="79"/>
                  <a:pt x="100" y="77"/>
                  <a:pt x="100" y="76"/>
                </a:cubicBezTo>
                <a:cubicBezTo>
                  <a:pt x="99" y="74"/>
                  <a:pt x="99" y="73"/>
                  <a:pt x="100" y="72"/>
                </a:cubicBezTo>
                <a:cubicBezTo>
                  <a:pt x="101" y="69"/>
                  <a:pt x="100" y="68"/>
                  <a:pt x="100" y="66"/>
                </a:cubicBezTo>
                <a:cubicBezTo>
                  <a:pt x="99" y="64"/>
                  <a:pt x="100" y="62"/>
                  <a:pt x="102" y="60"/>
                </a:cubicBezTo>
                <a:cubicBezTo>
                  <a:pt x="102" y="59"/>
                  <a:pt x="97" y="55"/>
                  <a:pt x="96" y="54"/>
                </a:cubicBezTo>
                <a:cubicBezTo>
                  <a:pt x="95" y="53"/>
                  <a:pt x="94" y="50"/>
                  <a:pt x="94" y="49"/>
                </a:cubicBezTo>
                <a:cubicBezTo>
                  <a:pt x="95" y="46"/>
                  <a:pt x="96" y="42"/>
                  <a:pt x="98" y="39"/>
                </a:cubicBezTo>
                <a:cubicBezTo>
                  <a:pt x="98" y="39"/>
                  <a:pt x="98" y="38"/>
                  <a:pt x="98" y="37"/>
                </a:cubicBezTo>
                <a:cubicBezTo>
                  <a:pt x="98" y="37"/>
                  <a:pt x="98" y="37"/>
                  <a:pt x="98" y="37"/>
                </a:cubicBezTo>
                <a:cubicBezTo>
                  <a:pt x="98" y="37"/>
                  <a:pt x="98" y="37"/>
                  <a:pt x="98" y="37"/>
                </a:cubicBezTo>
                <a:cubicBezTo>
                  <a:pt x="96" y="36"/>
                  <a:pt x="95" y="35"/>
                  <a:pt x="94" y="34"/>
                </a:cubicBezTo>
                <a:cubicBezTo>
                  <a:pt x="93" y="34"/>
                  <a:pt x="93" y="34"/>
                  <a:pt x="93" y="34"/>
                </a:cubicBezTo>
                <a:cubicBezTo>
                  <a:pt x="93" y="34"/>
                  <a:pt x="92" y="33"/>
                  <a:pt x="92" y="33"/>
                </a:cubicBezTo>
                <a:cubicBezTo>
                  <a:pt x="91" y="32"/>
                  <a:pt x="91" y="32"/>
                  <a:pt x="91" y="32"/>
                </a:cubicBezTo>
                <a:cubicBezTo>
                  <a:pt x="91" y="32"/>
                  <a:pt x="90" y="32"/>
                  <a:pt x="90" y="32"/>
                </a:cubicBezTo>
                <a:cubicBezTo>
                  <a:pt x="89" y="31"/>
                  <a:pt x="89" y="31"/>
                  <a:pt x="89" y="31"/>
                </a:cubicBezTo>
                <a:cubicBezTo>
                  <a:pt x="87" y="29"/>
                  <a:pt x="84" y="27"/>
                  <a:pt x="82" y="25"/>
                </a:cubicBezTo>
                <a:cubicBezTo>
                  <a:pt x="81" y="25"/>
                  <a:pt x="81" y="25"/>
                  <a:pt x="81" y="25"/>
                </a:cubicBezTo>
                <a:cubicBezTo>
                  <a:pt x="81" y="24"/>
                  <a:pt x="81" y="23"/>
                  <a:pt x="81" y="22"/>
                </a:cubicBezTo>
                <a:cubicBezTo>
                  <a:pt x="81" y="22"/>
                  <a:pt x="81" y="22"/>
                  <a:pt x="81" y="22"/>
                </a:cubicBezTo>
                <a:cubicBezTo>
                  <a:pt x="81" y="21"/>
                  <a:pt x="81" y="21"/>
                  <a:pt x="81" y="21"/>
                </a:cubicBezTo>
                <a:cubicBezTo>
                  <a:pt x="81" y="21"/>
                  <a:pt x="81" y="21"/>
                  <a:pt x="81" y="21"/>
                </a:cubicBezTo>
                <a:cubicBezTo>
                  <a:pt x="81" y="21"/>
                  <a:pt x="81" y="21"/>
                  <a:pt x="81" y="21"/>
                </a:cubicBezTo>
                <a:cubicBezTo>
                  <a:pt x="79" y="22"/>
                  <a:pt x="79" y="22"/>
                  <a:pt x="79" y="22"/>
                </a:cubicBezTo>
                <a:cubicBezTo>
                  <a:pt x="80" y="20"/>
                  <a:pt x="80" y="20"/>
                  <a:pt x="80" y="20"/>
                </a:cubicBezTo>
                <a:cubicBezTo>
                  <a:pt x="80" y="20"/>
                  <a:pt x="80" y="20"/>
                  <a:pt x="80" y="20"/>
                </a:cubicBezTo>
                <a:cubicBezTo>
                  <a:pt x="80" y="20"/>
                  <a:pt x="79" y="20"/>
                  <a:pt x="79" y="19"/>
                </a:cubicBezTo>
                <a:cubicBezTo>
                  <a:pt x="79" y="19"/>
                  <a:pt x="78" y="18"/>
                  <a:pt x="77" y="18"/>
                </a:cubicBezTo>
                <a:cubicBezTo>
                  <a:pt x="72" y="15"/>
                  <a:pt x="67" y="12"/>
                  <a:pt x="62" y="9"/>
                </a:cubicBezTo>
                <a:cubicBezTo>
                  <a:pt x="56" y="6"/>
                  <a:pt x="51" y="3"/>
                  <a:pt x="45" y="0"/>
                </a:cubicBezTo>
                <a:cubicBezTo>
                  <a:pt x="45" y="1"/>
                  <a:pt x="45" y="2"/>
                  <a:pt x="45" y="2"/>
                </a:cubicBezTo>
                <a:cubicBezTo>
                  <a:pt x="44" y="2"/>
                  <a:pt x="44" y="2"/>
                  <a:pt x="43" y="2"/>
                </a:cubicBezTo>
                <a:cubicBezTo>
                  <a:pt x="44" y="3"/>
                  <a:pt x="44" y="3"/>
                  <a:pt x="45" y="4"/>
                </a:cubicBezTo>
                <a:cubicBezTo>
                  <a:pt x="44" y="4"/>
                  <a:pt x="43" y="3"/>
                  <a:pt x="42" y="4"/>
                </a:cubicBezTo>
                <a:cubicBezTo>
                  <a:pt x="42" y="4"/>
                  <a:pt x="42" y="3"/>
                  <a:pt x="42" y="5"/>
                </a:cubicBezTo>
                <a:cubicBezTo>
                  <a:pt x="42" y="5"/>
                  <a:pt x="42" y="5"/>
                  <a:pt x="42" y="6"/>
                </a:cubicBezTo>
                <a:cubicBezTo>
                  <a:pt x="41" y="7"/>
                  <a:pt x="38" y="6"/>
                  <a:pt x="38" y="8"/>
                </a:cubicBezTo>
                <a:cubicBezTo>
                  <a:pt x="39" y="8"/>
                  <a:pt x="39" y="8"/>
                  <a:pt x="40" y="8"/>
                </a:cubicBezTo>
                <a:cubicBezTo>
                  <a:pt x="40" y="8"/>
                  <a:pt x="39" y="9"/>
                  <a:pt x="39" y="9"/>
                </a:cubicBezTo>
                <a:cubicBezTo>
                  <a:pt x="39" y="9"/>
                  <a:pt x="38" y="9"/>
                  <a:pt x="37" y="9"/>
                </a:cubicBezTo>
                <a:cubicBezTo>
                  <a:pt x="36" y="11"/>
                  <a:pt x="42" y="10"/>
                  <a:pt x="43" y="10"/>
                </a:cubicBezTo>
                <a:cubicBezTo>
                  <a:pt x="42" y="11"/>
                  <a:pt x="40" y="14"/>
                  <a:pt x="39" y="14"/>
                </a:cubicBezTo>
                <a:cubicBezTo>
                  <a:pt x="39" y="15"/>
                  <a:pt x="38" y="14"/>
                  <a:pt x="38" y="14"/>
                </a:cubicBezTo>
                <a:cubicBezTo>
                  <a:pt x="38" y="14"/>
                  <a:pt x="37" y="14"/>
                  <a:pt x="37" y="14"/>
                </a:cubicBezTo>
                <a:cubicBezTo>
                  <a:pt x="36" y="14"/>
                  <a:pt x="36" y="13"/>
                  <a:pt x="35" y="13"/>
                </a:cubicBezTo>
                <a:cubicBezTo>
                  <a:pt x="34" y="13"/>
                  <a:pt x="34" y="13"/>
                  <a:pt x="34" y="14"/>
                </a:cubicBezTo>
                <a:cubicBezTo>
                  <a:pt x="34" y="14"/>
                  <a:pt x="34" y="15"/>
                  <a:pt x="34" y="15"/>
                </a:cubicBezTo>
                <a:cubicBezTo>
                  <a:pt x="34" y="16"/>
                  <a:pt x="34" y="16"/>
                  <a:pt x="34" y="16"/>
                </a:cubicBezTo>
                <a:cubicBezTo>
                  <a:pt x="34" y="17"/>
                  <a:pt x="33" y="18"/>
                  <a:pt x="32" y="19"/>
                </a:cubicBezTo>
                <a:cubicBezTo>
                  <a:pt x="32" y="19"/>
                  <a:pt x="32" y="18"/>
                  <a:pt x="33" y="18"/>
                </a:cubicBezTo>
                <a:cubicBezTo>
                  <a:pt x="33" y="18"/>
                  <a:pt x="32" y="18"/>
                  <a:pt x="32" y="18"/>
                </a:cubicBezTo>
                <a:cubicBezTo>
                  <a:pt x="34" y="17"/>
                  <a:pt x="33" y="17"/>
                  <a:pt x="33" y="16"/>
                </a:cubicBezTo>
                <a:cubicBezTo>
                  <a:pt x="33" y="15"/>
                  <a:pt x="33" y="15"/>
                  <a:pt x="33" y="14"/>
                </a:cubicBezTo>
                <a:cubicBezTo>
                  <a:pt x="33" y="14"/>
                  <a:pt x="32" y="14"/>
                  <a:pt x="32" y="14"/>
                </a:cubicBezTo>
                <a:cubicBezTo>
                  <a:pt x="32" y="14"/>
                  <a:pt x="32" y="13"/>
                  <a:pt x="31" y="13"/>
                </a:cubicBezTo>
                <a:cubicBezTo>
                  <a:pt x="31" y="13"/>
                  <a:pt x="31" y="14"/>
                  <a:pt x="30" y="15"/>
                </a:cubicBezTo>
                <a:cubicBezTo>
                  <a:pt x="30" y="14"/>
                  <a:pt x="30" y="14"/>
                  <a:pt x="29" y="13"/>
                </a:cubicBezTo>
                <a:cubicBezTo>
                  <a:pt x="28" y="13"/>
                  <a:pt x="28" y="12"/>
                  <a:pt x="27" y="11"/>
                </a:cubicBezTo>
                <a:cubicBezTo>
                  <a:pt x="27" y="12"/>
                  <a:pt x="26" y="12"/>
                  <a:pt x="25" y="13"/>
                </a:cubicBezTo>
                <a:cubicBezTo>
                  <a:pt x="25" y="13"/>
                  <a:pt x="26" y="14"/>
                  <a:pt x="26" y="14"/>
                </a:cubicBezTo>
                <a:cubicBezTo>
                  <a:pt x="25" y="14"/>
                  <a:pt x="25" y="14"/>
                  <a:pt x="25" y="14"/>
                </a:cubicBezTo>
                <a:cubicBezTo>
                  <a:pt x="24" y="14"/>
                  <a:pt x="25" y="15"/>
                  <a:pt x="24" y="15"/>
                </a:cubicBezTo>
                <a:cubicBezTo>
                  <a:pt x="24" y="15"/>
                  <a:pt x="25" y="16"/>
                  <a:pt x="25" y="16"/>
                </a:cubicBezTo>
                <a:cubicBezTo>
                  <a:pt x="25" y="17"/>
                  <a:pt x="24" y="16"/>
                  <a:pt x="24" y="15"/>
                </a:cubicBezTo>
                <a:cubicBezTo>
                  <a:pt x="23" y="16"/>
                  <a:pt x="23" y="16"/>
                  <a:pt x="23" y="17"/>
                </a:cubicBezTo>
                <a:cubicBezTo>
                  <a:pt x="23" y="15"/>
                  <a:pt x="22" y="14"/>
                  <a:pt x="22" y="12"/>
                </a:cubicBezTo>
                <a:cubicBezTo>
                  <a:pt x="21" y="11"/>
                  <a:pt x="21" y="10"/>
                  <a:pt x="21" y="9"/>
                </a:cubicBezTo>
                <a:cubicBezTo>
                  <a:pt x="21" y="8"/>
                  <a:pt x="21" y="8"/>
                  <a:pt x="22" y="8"/>
                </a:cubicBezTo>
                <a:cubicBezTo>
                  <a:pt x="22" y="5"/>
                  <a:pt x="23" y="2"/>
                  <a:pt x="23" y="0"/>
                </a:cubicBezTo>
                <a:cubicBezTo>
                  <a:pt x="23" y="0"/>
                  <a:pt x="23" y="0"/>
                  <a:pt x="23" y="0"/>
                </a:cubicBezTo>
                <a:cubicBezTo>
                  <a:pt x="18" y="0"/>
                  <a:pt x="14" y="0"/>
                  <a:pt x="11" y="0"/>
                </a:cubicBezTo>
                <a:cubicBezTo>
                  <a:pt x="13" y="3"/>
                  <a:pt x="13" y="3"/>
                  <a:pt x="13" y="3"/>
                </a:cubicBezTo>
                <a:cubicBezTo>
                  <a:pt x="14" y="4"/>
                  <a:pt x="14" y="5"/>
                  <a:pt x="14" y="6"/>
                </a:cubicBezTo>
                <a:cubicBezTo>
                  <a:pt x="14" y="6"/>
                  <a:pt x="14" y="7"/>
                  <a:pt x="14" y="8"/>
                </a:cubicBezTo>
                <a:cubicBezTo>
                  <a:pt x="14" y="8"/>
                  <a:pt x="14" y="8"/>
                  <a:pt x="14" y="8"/>
                </a:cubicBezTo>
                <a:cubicBezTo>
                  <a:pt x="14" y="8"/>
                  <a:pt x="14" y="8"/>
                  <a:pt x="14" y="8"/>
                </a:cubicBezTo>
                <a:cubicBezTo>
                  <a:pt x="14" y="8"/>
                  <a:pt x="15" y="9"/>
                  <a:pt x="15" y="9"/>
                </a:cubicBezTo>
                <a:cubicBezTo>
                  <a:pt x="15" y="10"/>
                  <a:pt x="15" y="11"/>
                  <a:pt x="14" y="12"/>
                </a:cubicBezTo>
                <a:cubicBezTo>
                  <a:pt x="14" y="12"/>
                  <a:pt x="14" y="13"/>
                  <a:pt x="14" y="13"/>
                </a:cubicBezTo>
                <a:cubicBezTo>
                  <a:pt x="13" y="13"/>
                  <a:pt x="13" y="13"/>
                  <a:pt x="13" y="13"/>
                </a:cubicBezTo>
                <a:cubicBezTo>
                  <a:pt x="13" y="14"/>
                  <a:pt x="13" y="14"/>
                  <a:pt x="13" y="14"/>
                </a:cubicBezTo>
                <a:cubicBezTo>
                  <a:pt x="13" y="14"/>
                  <a:pt x="13" y="14"/>
                  <a:pt x="13" y="14"/>
                </a:cubicBezTo>
                <a:cubicBezTo>
                  <a:pt x="13" y="14"/>
                  <a:pt x="13" y="14"/>
                  <a:pt x="13" y="14"/>
                </a:cubicBezTo>
                <a:cubicBezTo>
                  <a:pt x="13" y="14"/>
                  <a:pt x="13" y="14"/>
                  <a:pt x="13" y="14"/>
                </a:cubicBezTo>
                <a:cubicBezTo>
                  <a:pt x="13" y="15"/>
                  <a:pt x="13" y="15"/>
                  <a:pt x="13" y="15"/>
                </a:cubicBezTo>
                <a:cubicBezTo>
                  <a:pt x="14" y="16"/>
                  <a:pt x="14" y="16"/>
                  <a:pt x="14" y="16"/>
                </a:cubicBezTo>
                <a:cubicBezTo>
                  <a:pt x="15" y="16"/>
                  <a:pt x="15" y="16"/>
                  <a:pt x="15" y="16"/>
                </a:cubicBezTo>
                <a:cubicBezTo>
                  <a:pt x="15" y="17"/>
                  <a:pt x="15" y="17"/>
                  <a:pt x="15" y="17"/>
                </a:cubicBezTo>
                <a:cubicBezTo>
                  <a:pt x="15" y="17"/>
                  <a:pt x="16" y="20"/>
                  <a:pt x="16" y="21"/>
                </a:cubicBezTo>
                <a:cubicBezTo>
                  <a:pt x="16" y="22"/>
                  <a:pt x="16" y="22"/>
                  <a:pt x="16" y="22"/>
                </a:cubicBezTo>
                <a:cubicBezTo>
                  <a:pt x="15" y="22"/>
                  <a:pt x="15" y="23"/>
                  <a:pt x="15" y="23"/>
                </a:cubicBezTo>
                <a:cubicBezTo>
                  <a:pt x="15" y="23"/>
                  <a:pt x="15" y="24"/>
                  <a:pt x="15" y="24"/>
                </a:cubicBezTo>
                <a:cubicBezTo>
                  <a:pt x="15" y="24"/>
                  <a:pt x="15" y="24"/>
                  <a:pt x="15" y="24"/>
                </a:cubicBezTo>
                <a:cubicBezTo>
                  <a:pt x="14" y="25"/>
                  <a:pt x="14" y="25"/>
                  <a:pt x="14" y="25"/>
                </a:cubicBezTo>
                <a:cubicBezTo>
                  <a:pt x="14" y="25"/>
                  <a:pt x="14" y="25"/>
                  <a:pt x="14" y="25"/>
                </a:cubicBezTo>
                <a:cubicBezTo>
                  <a:pt x="13" y="26"/>
                  <a:pt x="13" y="26"/>
                  <a:pt x="13" y="26"/>
                </a:cubicBezTo>
                <a:cubicBezTo>
                  <a:pt x="13" y="26"/>
                  <a:pt x="12" y="26"/>
                  <a:pt x="12" y="27"/>
                </a:cubicBezTo>
                <a:cubicBezTo>
                  <a:pt x="12" y="28"/>
                  <a:pt x="12" y="29"/>
                  <a:pt x="12" y="30"/>
                </a:cubicBezTo>
                <a:cubicBezTo>
                  <a:pt x="11" y="31"/>
                  <a:pt x="11" y="31"/>
                  <a:pt x="11" y="31"/>
                </a:cubicBezTo>
                <a:cubicBezTo>
                  <a:pt x="10" y="32"/>
                  <a:pt x="10" y="33"/>
                  <a:pt x="8" y="34"/>
                </a:cubicBezTo>
                <a:cubicBezTo>
                  <a:pt x="8" y="35"/>
                  <a:pt x="8" y="35"/>
                  <a:pt x="5" y="35"/>
                </a:cubicBezTo>
                <a:cubicBezTo>
                  <a:pt x="4" y="35"/>
                  <a:pt x="4" y="35"/>
                  <a:pt x="3" y="35"/>
                </a:cubicBezTo>
                <a:cubicBezTo>
                  <a:pt x="3" y="35"/>
                  <a:pt x="3" y="35"/>
                  <a:pt x="3" y="35"/>
                </a:cubicBezTo>
                <a:cubicBezTo>
                  <a:pt x="2" y="36"/>
                  <a:pt x="2" y="36"/>
                  <a:pt x="2" y="36"/>
                </a:cubicBezTo>
                <a:cubicBezTo>
                  <a:pt x="1" y="37"/>
                  <a:pt x="1" y="37"/>
                  <a:pt x="1" y="37"/>
                </a:cubicBezTo>
                <a:cubicBezTo>
                  <a:pt x="0" y="36"/>
                  <a:pt x="0" y="36"/>
                  <a:pt x="0" y="36"/>
                </a:cubicBezTo>
                <a:cubicBezTo>
                  <a:pt x="0" y="37"/>
                  <a:pt x="0" y="38"/>
                  <a:pt x="0" y="39"/>
                </a:cubicBezTo>
                <a:cubicBezTo>
                  <a:pt x="0" y="39"/>
                  <a:pt x="1" y="39"/>
                  <a:pt x="1" y="39"/>
                </a:cubicBezTo>
                <a:cubicBezTo>
                  <a:pt x="2" y="40"/>
                  <a:pt x="2" y="41"/>
                  <a:pt x="2" y="41"/>
                </a:cubicBezTo>
                <a:cubicBezTo>
                  <a:pt x="2" y="42"/>
                  <a:pt x="2" y="43"/>
                  <a:pt x="2" y="44"/>
                </a:cubicBezTo>
                <a:cubicBezTo>
                  <a:pt x="2" y="45"/>
                  <a:pt x="3" y="46"/>
                  <a:pt x="3" y="47"/>
                </a:cubicBezTo>
                <a:cubicBezTo>
                  <a:pt x="4" y="48"/>
                  <a:pt x="4" y="48"/>
                  <a:pt x="3" y="49"/>
                </a:cubicBezTo>
                <a:cubicBezTo>
                  <a:pt x="3" y="50"/>
                  <a:pt x="2" y="50"/>
                  <a:pt x="2" y="50"/>
                </a:cubicBezTo>
                <a:cubicBezTo>
                  <a:pt x="2" y="52"/>
                  <a:pt x="1" y="52"/>
                  <a:pt x="2" y="53"/>
                </a:cubicBezTo>
                <a:cubicBezTo>
                  <a:pt x="2" y="53"/>
                  <a:pt x="3" y="55"/>
                  <a:pt x="4" y="55"/>
                </a:cubicBezTo>
                <a:cubicBezTo>
                  <a:pt x="4" y="55"/>
                  <a:pt x="5" y="54"/>
                  <a:pt x="5" y="54"/>
                </a:cubicBezTo>
                <a:cubicBezTo>
                  <a:pt x="7" y="55"/>
                  <a:pt x="8" y="58"/>
                  <a:pt x="9" y="59"/>
                </a:cubicBezTo>
                <a:cubicBezTo>
                  <a:pt x="10" y="60"/>
                  <a:pt x="11" y="61"/>
                  <a:pt x="11" y="63"/>
                </a:cubicBezTo>
                <a:cubicBezTo>
                  <a:pt x="12" y="66"/>
                  <a:pt x="14" y="70"/>
                  <a:pt x="15" y="74"/>
                </a:cubicBezTo>
                <a:cubicBezTo>
                  <a:pt x="16" y="74"/>
                  <a:pt x="16" y="75"/>
                  <a:pt x="16" y="75"/>
                </a:cubicBezTo>
                <a:cubicBezTo>
                  <a:pt x="16" y="76"/>
                  <a:pt x="16" y="76"/>
                  <a:pt x="16" y="76"/>
                </a:cubicBezTo>
                <a:cubicBezTo>
                  <a:pt x="15" y="76"/>
                  <a:pt x="15" y="76"/>
                  <a:pt x="15" y="76"/>
                </a:cubicBezTo>
                <a:cubicBezTo>
                  <a:pt x="15" y="76"/>
                  <a:pt x="16" y="76"/>
                  <a:pt x="16" y="77"/>
                </a:cubicBezTo>
                <a:cubicBezTo>
                  <a:pt x="16" y="76"/>
                  <a:pt x="16" y="76"/>
                  <a:pt x="16" y="76"/>
                </a:cubicBezTo>
                <a:cubicBezTo>
                  <a:pt x="16" y="76"/>
                  <a:pt x="16" y="76"/>
                  <a:pt x="16" y="76"/>
                </a:cubicBezTo>
                <a:cubicBezTo>
                  <a:pt x="17" y="76"/>
                  <a:pt x="18" y="76"/>
                  <a:pt x="19" y="76"/>
                </a:cubicBezTo>
                <a:cubicBezTo>
                  <a:pt x="20" y="74"/>
                  <a:pt x="20" y="74"/>
                  <a:pt x="20" y="74"/>
                </a:cubicBezTo>
                <a:cubicBezTo>
                  <a:pt x="19" y="77"/>
                  <a:pt x="19" y="77"/>
                  <a:pt x="19" y="77"/>
                </a:cubicBezTo>
                <a:cubicBezTo>
                  <a:pt x="20" y="77"/>
                  <a:pt x="20" y="77"/>
                  <a:pt x="20" y="77"/>
                </a:cubicBezTo>
                <a:cubicBezTo>
                  <a:pt x="20" y="77"/>
                  <a:pt x="21" y="78"/>
                  <a:pt x="22" y="78"/>
                </a:cubicBezTo>
                <a:cubicBezTo>
                  <a:pt x="23" y="78"/>
                  <a:pt x="23" y="79"/>
                  <a:pt x="24" y="79"/>
                </a:cubicBezTo>
                <a:cubicBezTo>
                  <a:pt x="25" y="77"/>
                  <a:pt x="25" y="77"/>
                  <a:pt x="25" y="77"/>
                </a:cubicBezTo>
                <a:cubicBezTo>
                  <a:pt x="24" y="79"/>
                  <a:pt x="24" y="79"/>
                  <a:pt x="24" y="79"/>
                </a:cubicBezTo>
                <a:cubicBezTo>
                  <a:pt x="24" y="79"/>
                  <a:pt x="24" y="79"/>
                  <a:pt x="24" y="79"/>
                </a:cubicBezTo>
                <a:cubicBezTo>
                  <a:pt x="24" y="79"/>
                  <a:pt x="25" y="79"/>
                  <a:pt x="25" y="80"/>
                </a:cubicBezTo>
                <a:cubicBezTo>
                  <a:pt x="25" y="80"/>
                  <a:pt x="25" y="80"/>
                  <a:pt x="25" y="80"/>
                </a:cubicBezTo>
                <a:cubicBezTo>
                  <a:pt x="26" y="81"/>
                  <a:pt x="29" y="81"/>
                  <a:pt x="30" y="82"/>
                </a:cubicBezTo>
                <a:cubicBezTo>
                  <a:pt x="32" y="82"/>
                  <a:pt x="33" y="82"/>
                  <a:pt x="34" y="83"/>
                </a:cubicBezTo>
                <a:cubicBezTo>
                  <a:pt x="34" y="83"/>
                  <a:pt x="34" y="83"/>
                  <a:pt x="35" y="83"/>
                </a:cubicBezTo>
                <a:cubicBezTo>
                  <a:pt x="35" y="83"/>
                  <a:pt x="35" y="83"/>
                  <a:pt x="35" y="83"/>
                </a:cubicBezTo>
                <a:cubicBezTo>
                  <a:pt x="36" y="84"/>
                  <a:pt x="36" y="84"/>
                  <a:pt x="36" y="84"/>
                </a:cubicBezTo>
                <a:cubicBezTo>
                  <a:pt x="38" y="84"/>
                  <a:pt x="40" y="85"/>
                  <a:pt x="41" y="85"/>
                </a:cubicBezTo>
                <a:cubicBezTo>
                  <a:pt x="42" y="85"/>
                  <a:pt x="42" y="86"/>
                  <a:pt x="43" y="86"/>
                </a:cubicBezTo>
                <a:cubicBezTo>
                  <a:pt x="43" y="86"/>
                  <a:pt x="43" y="86"/>
                  <a:pt x="43" y="86"/>
                </a:cubicBezTo>
                <a:cubicBezTo>
                  <a:pt x="43" y="86"/>
                  <a:pt x="44" y="86"/>
                  <a:pt x="44" y="86"/>
                </a:cubicBezTo>
                <a:cubicBezTo>
                  <a:pt x="45" y="87"/>
                  <a:pt x="45" y="87"/>
                  <a:pt x="45" y="87"/>
                </a:cubicBezTo>
                <a:cubicBezTo>
                  <a:pt x="45" y="87"/>
                  <a:pt x="45" y="87"/>
                  <a:pt x="45" y="87"/>
                </a:cubicBezTo>
                <a:cubicBezTo>
                  <a:pt x="45" y="86"/>
                  <a:pt x="45" y="86"/>
                  <a:pt x="45" y="86"/>
                </a:cubicBezTo>
                <a:cubicBezTo>
                  <a:pt x="46" y="85"/>
                  <a:pt x="48" y="88"/>
                  <a:pt x="49" y="89"/>
                </a:cubicBezTo>
                <a:cubicBezTo>
                  <a:pt x="50" y="90"/>
                  <a:pt x="50" y="90"/>
                  <a:pt x="51" y="91"/>
                </a:cubicBezTo>
                <a:cubicBezTo>
                  <a:pt x="51" y="94"/>
                  <a:pt x="51" y="96"/>
                  <a:pt x="51" y="99"/>
                </a:cubicBezTo>
                <a:cubicBezTo>
                  <a:pt x="51" y="101"/>
                  <a:pt x="53" y="104"/>
                  <a:pt x="54" y="106"/>
                </a:cubicBezTo>
                <a:cubicBezTo>
                  <a:pt x="54" y="105"/>
                  <a:pt x="54" y="105"/>
                  <a:pt x="54" y="105"/>
                </a:cubicBezTo>
                <a:cubicBezTo>
                  <a:pt x="55" y="106"/>
                  <a:pt x="55" y="106"/>
                  <a:pt x="55" y="106"/>
                </a:cubicBezTo>
                <a:cubicBezTo>
                  <a:pt x="57" y="106"/>
                  <a:pt x="61" y="106"/>
                  <a:pt x="61" y="106"/>
                </a:cubicBezTo>
                <a:cubicBezTo>
                  <a:pt x="61" y="106"/>
                  <a:pt x="61" y="106"/>
                  <a:pt x="61" y="106"/>
                </a:cubicBezTo>
                <a:cubicBezTo>
                  <a:pt x="62" y="106"/>
                  <a:pt x="62" y="106"/>
                  <a:pt x="62" y="106"/>
                </a:cubicBezTo>
                <a:cubicBezTo>
                  <a:pt x="63" y="105"/>
                  <a:pt x="64" y="104"/>
                  <a:pt x="65" y="105"/>
                </a:cubicBezTo>
                <a:cubicBezTo>
                  <a:pt x="66" y="105"/>
                  <a:pt x="66" y="105"/>
                  <a:pt x="66" y="105"/>
                </a:cubicBezTo>
                <a:cubicBezTo>
                  <a:pt x="66" y="105"/>
                  <a:pt x="66" y="105"/>
                  <a:pt x="66" y="105"/>
                </a:cubicBezTo>
                <a:cubicBezTo>
                  <a:pt x="66" y="105"/>
                  <a:pt x="66" y="105"/>
                  <a:pt x="66" y="105"/>
                </a:cubicBezTo>
                <a:cubicBezTo>
                  <a:pt x="67" y="106"/>
                  <a:pt x="67" y="106"/>
                  <a:pt x="67" y="106"/>
                </a:cubicBezTo>
                <a:cubicBezTo>
                  <a:pt x="68" y="106"/>
                  <a:pt x="68" y="106"/>
                  <a:pt x="68" y="106"/>
                </a:cubicBezTo>
                <a:cubicBezTo>
                  <a:pt x="69" y="107"/>
                  <a:pt x="71" y="108"/>
                  <a:pt x="72" y="107"/>
                </a:cubicBezTo>
                <a:cubicBezTo>
                  <a:pt x="72" y="107"/>
                  <a:pt x="73" y="107"/>
                  <a:pt x="73" y="107"/>
                </a:cubicBezTo>
                <a:cubicBezTo>
                  <a:pt x="74" y="107"/>
                  <a:pt x="74" y="106"/>
                  <a:pt x="74" y="106"/>
                </a:cubicBezTo>
                <a:cubicBezTo>
                  <a:pt x="76" y="106"/>
                  <a:pt x="78" y="106"/>
                  <a:pt x="79" y="107"/>
                </a:cubicBezTo>
                <a:cubicBezTo>
                  <a:pt x="80" y="107"/>
                  <a:pt x="80" y="107"/>
                  <a:pt x="80" y="107"/>
                </a:cubicBezTo>
                <a:cubicBezTo>
                  <a:pt x="81" y="107"/>
                  <a:pt x="81" y="107"/>
                  <a:pt x="81" y="107"/>
                </a:cubicBezTo>
                <a:cubicBezTo>
                  <a:pt x="82" y="107"/>
                  <a:pt x="82" y="106"/>
                  <a:pt x="83" y="106"/>
                </a:cubicBezTo>
                <a:cubicBezTo>
                  <a:pt x="83" y="106"/>
                  <a:pt x="83" y="106"/>
                  <a:pt x="83" y="106"/>
                </a:cubicBezTo>
                <a:cubicBezTo>
                  <a:pt x="83" y="106"/>
                  <a:pt x="83" y="105"/>
                  <a:pt x="83" y="105"/>
                </a:cubicBezTo>
                <a:cubicBezTo>
                  <a:pt x="83" y="105"/>
                  <a:pt x="84" y="104"/>
                  <a:pt x="84" y="104"/>
                </a:cubicBezTo>
                <a:cubicBezTo>
                  <a:pt x="82" y="102"/>
                  <a:pt x="82" y="102"/>
                  <a:pt x="82" y="102"/>
                </a:cubicBezTo>
                <a:cubicBezTo>
                  <a:pt x="84" y="104"/>
                  <a:pt x="84" y="104"/>
                  <a:pt x="84" y="104"/>
                </a:cubicBezTo>
                <a:cubicBezTo>
                  <a:pt x="85" y="104"/>
                  <a:pt x="85" y="104"/>
                  <a:pt x="85" y="104"/>
                </a:cubicBezTo>
                <a:cubicBezTo>
                  <a:pt x="86" y="103"/>
                  <a:pt x="87" y="103"/>
                  <a:pt x="88" y="103"/>
                </a:cubicBezTo>
                <a:cubicBezTo>
                  <a:pt x="90" y="104"/>
                  <a:pt x="90" y="104"/>
                  <a:pt x="91" y="104"/>
                </a:cubicBezTo>
                <a:cubicBezTo>
                  <a:pt x="91" y="104"/>
                  <a:pt x="91" y="104"/>
                  <a:pt x="91" y="104"/>
                </a:cubicBezTo>
                <a:cubicBezTo>
                  <a:pt x="92" y="104"/>
                  <a:pt x="92" y="104"/>
                  <a:pt x="92" y="104"/>
                </a:cubicBezTo>
                <a:cubicBezTo>
                  <a:pt x="92" y="104"/>
                  <a:pt x="92" y="103"/>
                  <a:pt x="92" y="103"/>
                </a:cubicBezTo>
                <a:cubicBezTo>
                  <a:pt x="92" y="103"/>
                  <a:pt x="92" y="103"/>
                  <a:pt x="92" y="103"/>
                </a:cubicBezTo>
                <a:cubicBezTo>
                  <a:pt x="94" y="102"/>
                  <a:pt x="95" y="102"/>
                  <a:pt x="97" y="102"/>
                </a:cubicBezTo>
                <a:cubicBezTo>
                  <a:pt x="97" y="102"/>
                  <a:pt x="97" y="102"/>
                  <a:pt x="97" y="102"/>
                </a:cubicBezTo>
                <a:cubicBezTo>
                  <a:pt x="98" y="102"/>
                  <a:pt x="98" y="102"/>
                  <a:pt x="98" y="102"/>
                </a:cubicBezTo>
                <a:cubicBezTo>
                  <a:pt x="98" y="102"/>
                  <a:pt x="98" y="102"/>
                  <a:pt x="98" y="102"/>
                </a:cubicBezTo>
                <a:cubicBezTo>
                  <a:pt x="99" y="102"/>
                  <a:pt x="99" y="101"/>
                  <a:pt x="99" y="101"/>
                </a:cubicBezTo>
                <a:cubicBezTo>
                  <a:pt x="102" y="100"/>
                  <a:pt x="105" y="99"/>
                  <a:pt x="107" y="97"/>
                </a:cubicBezTo>
                <a:cubicBezTo>
                  <a:pt x="111" y="94"/>
                  <a:pt x="111" y="94"/>
                  <a:pt x="111" y="94"/>
                </a:cubicBezTo>
                <a:cubicBezTo>
                  <a:pt x="111" y="95"/>
                  <a:pt x="111" y="95"/>
                  <a:pt x="111" y="95"/>
                </a:cubicBezTo>
                <a:cubicBezTo>
                  <a:pt x="110" y="94"/>
                  <a:pt x="110" y="93"/>
                  <a:pt x="110" y="93"/>
                </a:cubicBez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3" name="Freeform 3213">
            <a:extLst>
              <a:ext uri="{FF2B5EF4-FFF2-40B4-BE49-F238E27FC236}">
                <a16:creationId xmlns:a16="http://schemas.microsoft.com/office/drawing/2014/main" id="{9BA92D0B-DE97-4E15-842E-7DDD2BD504C7}"/>
              </a:ext>
            </a:extLst>
          </p:cNvPr>
          <p:cNvSpPr>
            <a:spLocks/>
          </p:cNvSpPr>
          <p:nvPr/>
        </p:nvSpPr>
        <p:spPr bwMode="auto">
          <a:xfrm>
            <a:off x="3747345" y="3693883"/>
            <a:ext cx="91183" cy="130591"/>
          </a:xfrm>
          <a:custGeom>
            <a:avLst/>
            <a:gdLst>
              <a:gd name="T0" fmla="*/ 72 w 78"/>
              <a:gd name="T1" fmla="*/ 57 h 93"/>
              <a:gd name="T2" fmla="*/ 70 w 78"/>
              <a:gd name="T3" fmla="*/ 50 h 93"/>
              <a:gd name="T4" fmla="*/ 70 w 78"/>
              <a:gd name="T5" fmla="*/ 36 h 93"/>
              <a:gd name="T6" fmla="*/ 70 w 78"/>
              <a:gd name="T7" fmla="*/ 20 h 93"/>
              <a:gd name="T8" fmla="*/ 72 w 78"/>
              <a:gd name="T9" fmla="*/ 15 h 93"/>
              <a:gd name="T10" fmla="*/ 73 w 78"/>
              <a:gd name="T11" fmla="*/ 14 h 93"/>
              <a:gd name="T12" fmla="*/ 75 w 78"/>
              <a:gd name="T13" fmla="*/ 7 h 93"/>
              <a:gd name="T14" fmla="*/ 73 w 78"/>
              <a:gd name="T15" fmla="*/ 7 h 93"/>
              <a:gd name="T16" fmla="*/ 62 w 78"/>
              <a:gd name="T17" fmla="*/ 7 h 93"/>
              <a:gd name="T18" fmla="*/ 57 w 78"/>
              <a:gd name="T19" fmla="*/ 13 h 93"/>
              <a:gd name="T20" fmla="*/ 56 w 78"/>
              <a:gd name="T21" fmla="*/ 13 h 93"/>
              <a:gd name="T22" fmla="*/ 55 w 78"/>
              <a:gd name="T23" fmla="*/ 12 h 93"/>
              <a:gd name="T24" fmla="*/ 49 w 78"/>
              <a:gd name="T25" fmla="*/ 12 h 93"/>
              <a:gd name="T26" fmla="*/ 40 w 78"/>
              <a:gd name="T27" fmla="*/ 9 h 93"/>
              <a:gd name="T28" fmla="*/ 35 w 78"/>
              <a:gd name="T29" fmla="*/ 6 h 93"/>
              <a:gd name="T30" fmla="*/ 31 w 78"/>
              <a:gd name="T31" fmla="*/ 4 h 93"/>
              <a:gd name="T32" fmla="*/ 30 w 78"/>
              <a:gd name="T33" fmla="*/ 3 h 93"/>
              <a:gd name="T34" fmla="*/ 27 w 78"/>
              <a:gd name="T35" fmla="*/ 2 h 93"/>
              <a:gd name="T36" fmla="*/ 18 w 78"/>
              <a:gd name="T37" fmla="*/ 0 h 93"/>
              <a:gd name="T38" fmla="*/ 3 w 78"/>
              <a:gd name="T39" fmla="*/ 2 h 93"/>
              <a:gd name="T40" fmla="*/ 2 w 78"/>
              <a:gd name="T41" fmla="*/ 4 h 93"/>
              <a:gd name="T42" fmla="*/ 2 w 78"/>
              <a:gd name="T43" fmla="*/ 5 h 93"/>
              <a:gd name="T44" fmla="*/ 3 w 78"/>
              <a:gd name="T45" fmla="*/ 7 h 93"/>
              <a:gd name="T46" fmla="*/ 5 w 78"/>
              <a:gd name="T47" fmla="*/ 8 h 93"/>
              <a:gd name="T48" fmla="*/ 6 w 78"/>
              <a:gd name="T49" fmla="*/ 9 h 93"/>
              <a:gd name="T50" fmla="*/ 7 w 78"/>
              <a:gd name="T51" fmla="*/ 14 h 93"/>
              <a:gd name="T52" fmla="*/ 9 w 78"/>
              <a:gd name="T53" fmla="*/ 17 h 93"/>
              <a:gd name="T54" fmla="*/ 14 w 78"/>
              <a:gd name="T55" fmla="*/ 24 h 93"/>
              <a:gd name="T56" fmla="*/ 12 w 78"/>
              <a:gd name="T57" fmla="*/ 26 h 93"/>
              <a:gd name="T58" fmla="*/ 10 w 78"/>
              <a:gd name="T59" fmla="*/ 31 h 93"/>
              <a:gd name="T60" fmla="*/ 10 w 78"/>
              <a:gd name="T61" fmla="*/ 32 h 93"/>
              <a:gd name="T62" fmla="*/ 8 w 78"/>
              <a:gd name="T63" fmla="*/ 36 h 93"/>
              <a:gd name="T64" fmla="*/ 6 w 78"/>
              <a:gd name="T65" fmla="*/ 37 h 93"/>
              <a:gd name="T66" fmla="*/ 5 w 78"/>
              <a:gd name="T67" fmla="*/ 38 h 93"/>
              <a:gd name="T68" fmla="*/ 4 w 78"/>
              <a:gd name="T69" fmla="*/ 40 h 93"/>
              <a:gd name="T70" fmla="*/ 1 w 78"/>
              <a:gd name="T71" fmla="*/ 44 h 93"/>
              <a:gd name="T72" fmla="*/ 1 w 78"/>
              <a:gd name="T73" fmla="*/ 45 h 93"/>
              <a:gd name="T74" fmla="*/ 0 w 78"/>
              <a:gd name="T75" fmla="*/ 46 h 93"/>
              <a:gd name="T76" fmla="*/ 3 w 78"/>
              <a:gd name="T77" fmla="*/ 50 h 93"/>
              <a:gd name="T78" fmla="*/ 9 w 78"/>
              <a:gd name="T79" fmla="*/ 49 h 93"/>
              <a:gd name="T80" fmla="*/ 6 w 78"/>
              <a:gd name="T81" fmla="*/ 50 h 93"/>
              <a:gd name="T82" fmla="*/ 4 w 78"/>
              <a:gd name="T83" fmla="*/ 51 h 93"/>
              <a:gd name="T84" fmla="*/ 2 w 78"/>
              <a:gd name="T85" fmla="*/ 51 h 93"/>
              <a:gd name="T86" fmla="*/ 2 w 78"/>
              <a:gd name="T87" fmla="*/ 56 h 93"/>
              <a:gd name="T88" fmla="*/ 34 w 78"/>
              <a:gd name="T89" fmla="*/ 74 h 93"/>
              <a:gd name="T90" fmla="*/ 36 w 78"/>
              <a:gd name="T91" fmla="*/ 76 h 93"/>
              <a:gd name="T92" fmla="*/ 37 w 78"/>
              <a:gd name="T93" fmla="*/ 77 h 93"/>
              <a:gd name="T94" fmla="*/ 39 w 78"/>
              <a:gd name="T95" fmla="*/ 81 h 93"/>
              <a:gd name="T96" fmla="*/ 47 w 78"/>
              <a:gd name="T97" fmla="*/ 88 h 93"/>
              <a:gd name="T98" fmla="*/ 50 w 78"/>
              <a:gd name="T99" fmla="*/ 90 h 93"/>
              <a:gd name="T100" fmla="*/ 54 w 78"/>
              <a:gd name="T101" fmla="*/ 93 h 93"/>
              <a:gd name="T102" fmla="*/ 58 w 78"/>
              <a:gd name="T103" fmla="*/ 88 h 93"/>
              <a:gd name="T104" fmla="*/ 59 w 78"/>
              <a:gd name="T105" fmla="*/ 83 h 93"/>
              <a:gd name="T106" fmla="*/ 64 w 78"/>
              <a:gd name="T107" fmla="*/ 76 h 93"/>
              <a:gd name="T108" fmla="*/ 71 w 78"/>
              <a:gd name="T109" fmla="*/ 69 h 93"/>
              <a:gd name="T110" fmla="*/ 72 w 78"/>
              <a:gd name="T111" fmla="*/ 66 h 93"/>
              <a:gd name="T112" fmla="*/ 76 w 78"/>
              <a:gd name="T113" fmla="*/ 6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 h="93">
                <a:moveTo>
                  <a:pt x="76" y="63"/>
                </a:moveTo>
                <a:cubicBezTo>
                  <a:pt x="75" y="62"/>
                  <a:pt x="75" y="62"/>
                  <a:pt x="74" y="61"/>
                </a:cubicBezTo>
                <a:cubicBezTo>
                  <a:pt x="73" y="60"/>
                  <a:pt x="72" y="59"/>
                  <a:pt x="72" y="57"/>
                </a:cubicBezTo>
                <a:cubicBezTo>
                  <a:pt x="71" y="57"/>
                  <a:pt x="71" y="56"/>
                  <a:pt x="71" y="56"/>
                </a:cubicBezTo>
                <a:cubicBezTo>
                  <a:pt x="70" y="54"/>
                  <a:pt x="70" y="52"/>
                  <a:pt x="70" y="50"/>
                </a:cubicBezTo>
                <a:cubicBezTo>
                  <a:pt x="70" y="50"/>
                  <a:pt x="70" y="50"/>
                  <a:pt x="70" y="50"/>
                </a:cubicBezTo>
                <a:cubicBezTo>
                  <a:pt x="70" y="49"/>
                  <a:pt x="70" y="49"/>
                  <a:pt x="70" y="48"/>
                </a:cubicBezTo>
                <a:cubicBezTo>
                  <a:pt x="70" y="44"/>
                  <a:pt x="70" y="41"/>
                  <a:pt x="70" y="37"/>
                </a:cubicBezTo>
                <a:cubicBezTo>
                  <a:pt x="70" y="36"/>
                  <a:pt x="70" y="36"/>
                  <a:pt x="70" y="36"/>
                </a:cubicBezTo>
                <a:cubicBezTo>
                  <a:pt x="70" y="32"/>
                  <a:pt x="70" y="29"/>
                  <a:pt x="70" y="26"/>
                </a:cubicBezTo>
                <a:cubicBezTo>
                  <a:pt x="70" y="21"/>
                  <a:pt x="70" y="21"/>
                  <a:pt x="70" y="21"/>
                </a:cubicBezTo>
                <a:cubicBezTo>
                  <a:pt x="70" y="21"/>
                  <a:pt x="70" y="20"/>
                  <a:pt x="70" y="20"/>
                </a:cubicBezTo>
                <a:cubicBezTo>
                  <a:pt x="70" y="18"/>
                  <a:pt x="70" y="17"/>
                  <a:pt x="71" y="17"/>
                </a:cubicBezTo>
                <a:cubicBezTo>
                  <a:pt x="71" y="16"/>
                  <a:pt x="71" y="16"/>
                  <a:pt x="71" y="16"/>
                </a:cubicBezTo>
                <a:cubicBezTo>
                  <a:pt x="71" y="16"/>
                  <a:pt x="72" y="15"/>
                  <a:pt x="72" y="15"/>
                </a:cubicBezTo>
                <a:cubicBezTo>
                  <a:pt x="73" y="14"/>
                  <a:pt x="73" y="14"/>
                  <a:pt x="73" y="14"/>
                </a:cubicBezTo>
                <a:cubicBezTo>
                  <a:pt x="71" y="13"/>
                  <a:pt x="71" y="13"/>
                  <a:pt x="71" y="13"/>
                </a:cubicBezTo>
                <a:cubicBezTo>
                  <a:pt x="73" y="14"/>
                  <a:pt x="73" y="14"/>
                  <a:pt x="73" y="14"/>
                </a:cubicBezTo>
                <a:cubicBezTo>
                  <a:pt x="74" y="12"/>
                  <a:pt x="74" y="12"/>
                  <a:pt x="74" y="12"/>
                </a:cubicBezTo>
                <a:cubicBezTo>
                  <a:pt x="74" y="12"/>
                  <a:pt x="76" y="9"/>
                  <a:pt x="78" y="7"/>
                </a:cubicBezTo>
                <a:cubicBezTo>
                  <a:pt x="77" y="7"/>
                  <a:pt x="76" y="7"/>
                  <a:pt x="75" y="7"/>
                </a:cubicBezTo>
                <a:cubicBezTo>
                  <a:pt x="75" y="7"/>
                  <a:pt x="75" y="7"/>
                  <a:pt x="75" y="7"/>
                </a:cubicBezTo>
                <a:cubicBezTo>
                  <a:pt x="74" y="7"/>
                  <a:pt x="74" y="7"/>
                  <a:pt x="74" y="7"/>
                </a:cubicBezTo>
                <a:cubicBezTo>
                  <a:pt x="73" y="7"/>
                  <a:pt x="73" y="7"/>
                  <a:pt x="73" y="7"/>
                </a:cubicBezTo>
                <a:cubicBezTo>
                  <a:pt x="72" y="6"/>
                  <a:pt x="71" y="5"/>
                  <a:pt x="70" y="5"/>
                </a:cubicBezTo>
                <a:cubicBezTo>
                  <a:pt x="70" y="4"/>
                  <a:pt x="69" y="4"/>
                  <a:pt x="69" y="4"/>
                </a:cubicBezTo>
                <a:cubicBezTo>
                  <a:pt x="62" y="7"/>
                  <a:pt x="62" y="7"/>
                  <a:pt x="62" y="7"/>
                </a:cubicBezTo>
                <a:cubicBezTo>
                  <a:pt x="61" y="8"/>
                  <a:pt x="60" y="9"/>
                  <a:pt x="60" y="10"/>
                </a:cubicBezTo>
                <a:cubicBezTo>
                  <a:pt x="59" y="11"/>
                  <a:pt x="59" y="12"/>
                  <a:pt x="57" y="12"/>
                </a:cubicBezTo>
                <a:cubicBezTo>
                  <a:pt x="57" y="12"/>
                  <a:pt x="57" y="12"/>
                  <a:pt x="57" y="13"/>
                </a:cubicBezTo>
                <a:cubicBezTo>
                  <a:pt x="57" y="13"/>
                  <a:pt x="57" y="13"/>
                  <a:pt x="57" y="13"/>
                </a:cubicBezTo>
                <a:cubicBezTo>
                  <a:pt x="57" y="13"/>
                  <a:pt x="57" y="13"/>
                  <a:pt x="56" y="13"/>
                </a:cubicBezTo>
                <a:cubicBezTo>
                  <a:pt x="56" y="13"/>
                  <a:pt x="56" y="13"/>
                  <a:pt x="56" y="13"/>
                </a:cubicBezTo>
                <a:cubicBezTo>
                  <a:pt x="56" y="13"/>
                  <a:pt x="56" y="13"/>
                  <a:pt x="56" y="13"/>
                </a:cubicBezTo>
                <a:cubicBezTo>
                  <a:pt x="55" y="13"/>
                  <a:pt x="55" y="13"/>
                  <a:pt x="55" y="13"/>
                </a:cubicBezTo>
                <a:cubicBezTo>
                  <a:pt x="55" y="12"/>
                  <a:pt x="55" y="12"/>
                  <a:pt x="55" y="12"/>
                </a:cubicBezTo>
                <a:cubicBezTo>
                  <a:pt x="54" y="12"/>
                  <a:pt x="53" y="12"/>
                  <a:pt x="51" y="12"/>
                </a:cubicBezTo>
                <a:cubicBezTo>
                  <a:pt x="50" y="12"/>
                  <a:pt x="50" y="12"/>
                  <a:pt x="50" y="12"/>
                </a:cubicBezTo>
                <a:cubicBezTo>
                  <a:pt x="50" y="12"/>
                  <a:pt x="49" y="12"/>
                  <a:pt x="49" y="12"/>
                </a:cubicBezTo>
                <a:cubicBezTo>
                  <a:pt x="49" y="12"/>
                  <a:pt x="49" y="12"/>
                  <a:pt x="49" y="12"/>
                </a:cubicBezTo>
                <a:cubicBezTo>
                  <a:pt x="46" y="12"/>
                  <a:pt x="43" y="11"/>
                  <a:pt x="41" y="10"/>
                </a:cubicBezTo>
                <a:cubicBezTo>
                  <a:pt x="41" y="10"/>
                  <a:pt x="40" y="9"/>
                  <a:pt x="40" y="9"/>
                </a:cubicBezTo>
                <a:cubicBezTo>
                  <a:pt x="39" y="9"/>
                  <a:pt x="39" y="9"/>
                  <a:pt x="39" y="9"/>
                </a:cubicBezTo>
                <a:cubicBezTo>
                  <a:pt x="38" y="8"/>
                  <a:pt x="37" y="7"/>
                  <a:pt x="35" y="6"/>
                </a:cubicBezTo>
                <a:cubicBezTo>
                  <a:pt x="35" y="6"/>
                  <a:pt x="35" y="6"/>
                  <a:pt x="35" y="6"/>
                </a:cubicBezTo>
                <a:cubicBezTo>
                  <a:pt x="34" y="6"/>
                  <a:pt x="33" y="5"/>
                  <a:pt x="32" y="5"/>
                </a:cubicBezTo>
                <a:cubicBezTo>
                  <a:pt x="32" y="5"/>
                  <a:pt x="32" y="5"/>
                  <a:pt x="32" y="5"/>
                </a:cubicBezTo>
                <a:cubicBezTo>
                  <a:pt x="32" y="4"/>
                  <a:pt x="31" y="4"/>
                  <a:pt x="31" y="4"/>
                </a:cubicBezTo>
                <a:cubicBezTo>
                  <a:pt x="30" y="3"/>
                  <a:pt x="30" y="3"/>
                  <a:pt x="30" y="3"/>
                </a:cubicBezTo>
                <a:cubicBezTo>
                  <a:pt x="30" y="3"/>
                  <a:pt x="30" y="3"/>
                  <a:pt x="30" y="3"/>
                </a:cubicBezTo>
                <a:cubicBezTo>
                  <a:pt x="30" y="3"/>
                  <a:pt x="30" y="3"/>
                  <a:pt x="30" y="3"/>
                </a:cubicBezTo>
                <a:cubicBezTo>
                  <a:pt x="29" y="3"/>
                  <a:pt x="29" y="3"/>
                  <a:pt x="29" y="3"/>
                </a:cubicBezTo>
                <a:cubicBezTo>
                  <a:pt x="29" y="3"/>
                  <a:pt x="29" y="3"/>
                  <a:pt x="28" y="2"/>
                </a:cubicBezTo>
                <a:cubicBezTo>
                  <a:pt x="28" y="2"/>
                  <a:pt x="27" y="2"/>
                  <a:pt x="27" y="2"/>
                </a:cubicBezTo>
                <a:cubicBezTo>
                  <a:pt x="21" y="2"/>
                  <a:pt x="21" y="2"/>
                  <a:pt x="21" y="2"/>
                </a:cubicBezTo>
                <a:cubicBezTo>
                  <a:pt x="20" y="2"/>
                  <a:pt x="20" y="1"/>
                  <a:pt x="19" y="0"/>
                </a:cubicBezTo>
                <a:cubicBezTo>
                  <a:pt x="18" y="0"/>
                  <a:pt x="18" y="0"/>
                  <a:pt x="18" y="0"/>
                </a:cubicBezTo>
                <a:cubicBezTo>
                  <a:pt x="5" y="1"/>
                  <a:pt x="5" y="1"/>
                  <a:pt x="5" y="1"/>
                </a:cubicBezTo>
                <a:cubicBezTo>
                  <a:pt x="5" y="1"/>
                  <a:pt x="4" y="1"/>
                  <a:pt x="4" y="1"/>
                </a:cubicBezTo>
                <a:cubicBezTo>
                  <a:pt x="4" y="1"/>
                  <a:pt x="4" y="2"/>
                  <a:pt x="3" y="2"/>
                </a:cubicBezTo>
                <a:cubicBezTo>
                  <a:pt x="3" y="2"/>
                  <a:pt x="3" y="2"/>
                  <a:pt x="3" y="2"/>
                </a:cubicBezTo>
                <a:cubicBezTo>
                  <a:pt x="3" y="3"/>
                  <a:pt x="3" y="3"/>
                  <a:pt x="3" y="3"/>
                </a:cubicBezTo>
                <a:cubicBezTo>
                  <a:pt x="2" y="4"/>
                  <a:pt x="2" y="4"/>
                  <a:pt x="2" y="4"/>
                </a:cubicBezTo>
                <a:cubicBezTo>
                  <a:pt x="2" y="4"/>
                  <a:pt x="2" y="4"/>
                  <a:pt x="2" y="4"/>
                </a:cubicBezTo>
                <a:cubicBezTo>
                  <a:pt x="2" y="4"/>
                  <a:pt x="2" y="4"/>
                  <a:pt x="2" y="5"/>
                </a:cubicBezTo>
                <a:cubicBezTo>
                  <a:pt x="2" y="5"/>
                  <a:pt x="2" y="5"/>
                  <a:pt x="2" y="5"/>
                </a:cubicBezTo>
                <a:cubicBezTo>
                  <a:pt x="2" y="5"/>
                  <a:pt x="2" y="6"/>
                  <a:pt x="3" y="6"/>
                </a:cubicBezTo>
                <a:cubicBezTo>
                  <a:pt x="3" y="7"/>
                  <a:pt x="3" y="7"/>
                  <a:pt x="3" y="7"/>
                </a:cubicBezTo>
                <a:cubicBezTo>
                  <a:pt x="3" y="7"/>
                  <a:pt x="3" y="7"/>
                  <a:pt x="3" y="7"/>
                </a:cubicBezTo>
                <a:cubicBezTo>
                  <a:pt x="4" y="7"/>
                  <a:pt x="4" y="7"/>
                  <a:pt x="4" y="7"/>
                </a:cubicBezTo>
                <a:cubicBezTo>
                  <a:pt x="4" y="7"/>
                  <a:pt x="4" y="7"/>
                  <a:pt x="5" y="8"/>
                </a:cubicBezTo>
                <a:cubicBezTo>
                  <a:pt x="5" y="8"/>
                  <a:pt x="5" y="8"/>
                  <a:pt x="5" y="8"/>
                </a:cubicBezTo>
                <a:cubicBezTo>
                  <a:pt x="5" y="8"/>
                  <a:pt x="6" y="8"/>
                  <a:pt x="6" y="8"/>
                </a:cubicBezTo>
                <a:cubicBezTo>
                  <a:pt x="6" y="8"/>
                  <a:pt x="6" y="8"/>
                  <a:pt x="6" y="8"/>
                </a:cubicBezTo>
                <a:cubicBezTo>
                  <a:pt x="6" y="9"/>
                  <a:pt x="6" y="9"/>
                  <a:pt x="6" y="9"/>
                </a:cubicBezTo>
                <a:cubicBezTo>
                  <a:pt x="6" y="9"/>
                  <a:pt x="6" y="9"/>
                  <a:pt x="6" y="9"/>
                </a:cubicBezTo>
                <a:cubicBezTo>
                  <a:pt x="6" y="10"/>
                  <a:pt x="7" y="12"/>
                  <a:pt x="7" y="13"/>
                </a:cubicBezTo>
                <a:cubicBezTo>
                  <a:pt x="7" y="14"/>
                  <a:pt x="7" y="14"/>
                  <a:pt x="7" y="14"/>
                </a:cubicBezTo>
                <a:cubicBezTo>
                  <a:pt x="7" y="14"/>
                  <a:pt x="8" y="15"/>
                  <a:pt x="8" y="16"/>
                </a:cubicBezTo>
                <a:cubicBezTo>
                  <a:pt x="9" y="17"/>
                  <a:pt x="9" y="17"/>
                  <a:pt x="9" y="17"/>
                </a:cubicBezTo>
                <a:cubicBezTo>
                  <a:pt x="9" y="17"/>
                  <a:pt x="9" y="17"/>
                  <a:pt x="9" y="17"/>
                </a:cubicBezTo>
                <a:cubicBezTo>
                  <a:pt x="10" y="19"/>
                  <a:pt x="11" y="20"/>
                  <a:pt x="11" y="21"/>
                </a:cubicBezTo>
                <a:cubicBezTo>
                  <a:pt x="11" y="23"/>
                  <a:pt x="11" y="24"/>
                  <a:pt x="11" y="25"/>
                </a:cubicBezTo>
                <a:cubicBezTo>
                  <a:pt x="14" y="24"/>
                  <a:pt x="14" y="24"/>
                  <a:pt x="14" y="24"/>
                </a:cubicBezTo>
                <a:cubicBezTo>
                  <a:pt x="12" y="26"/>
                  <a:pt x="12" y="26"/>
                  <a:pt x="12" y="26"/>
                </a:cubicBezTo>
                <a:cubicBezTo>
                  <a:pt x="12" y="26"/>
                  <a:pt x="12" y="26"/>
                  <a:pt x="12" y="26"/>
                </a:cubicBezTo>
                <a:cubicBezTo>
                  <a:pt x="12" y="26"/>
                  <a:pt x="12" y="26"/>
                  <a:pt x="12" y="26"/>
                </a:cubicBezTo>
                <a:cubicBezTo>
                  <a:pt x="12" y="26"/>
                  <a:pt x="12" y="26"/>
                  <a:pt x="12" y="26"/>
                </a:cubicBezTo>
                <a:cubicBezTo>
                  <a:pt x="12" y="27"/>
                  <a:pt x="11" y="29"/>
                  <a:pt x="10" y="30"/>
                </a:cubicBezTo>
                <a:cubicBezTo>
                  <a:pt x="10" y="31"/>
                  <a:pt x="10" y="31"/>
                  <a:pt x="10" y="31"/>
                </a:cubicBezTo>
                <a:cubicBezTo>
                  <a:pt x="10" y="31"/>
                  <a:pt x="10" y="31"/>
                  <a:pt x="10" y="32"/>
                </a:cubicBezTo>
                <a:cubicBezTo>
                  <a:pt x="10" y="32"/>
                  <a:pt x="10" y="32"/>
                  <a:pt x="10" y="32"/>
                </a:cubicBezTo>
                <a:cubicBezTo>
                  <a:pt x="10" y="32"/>
                  <a:pt x="10" y="32"/>
                  <a:pt x="10" y="32"/>
                </a:cubicBezTo>
                <a:cubicBezTo>
                  <a:pt x="10" y="32"/>
                  <a:pt x="10" y="32"/>
                  <a:pt x="10" y="33"/>
                </a:cubicBezTo>
                <a:cubicBezTo>
                  <a:pt x="10" y="33"/>
                  <a:pt x="10" y="34"/>
                  <a:pt x="10" y="35"/>
                </a:cubicBezTo>
                <a:cubicBezTo>
                  <a:pt x="9" y="35"/>
                  <a:pt x="8" y="35"/>
                  <a:pt x="8" y="36"/>
                </a:cubicBezTo>
                <a:cubicBezTo>
                  <a:pt x="7" y="36"/>
                  <a:pt x="7" y="36"/>
                  <a:pt x="7" y="36"/>
                </a:cubicBezTo>
                <a:cubicBezTo>
                  <a:pt x="7" y="37"/>
                  <a:pt x="7" y="37"/>
                  <a:pt x="7" y="37"/>
                </a:cubicBezTo>
                <a:cubicBezTo>
                  <a:pt x="6" y="37"/>
                  <a:pt x="6" y="37"/>
                  <a:pt x="6" y="37"/>
                </a:cubicBezTo>
                <a:cubicBezTo>
                  <a:pt x="6" y="37"/>
                  <a:pt x="6" y="37"/>
                  <a:pt x="6" y="37"/>
                </a:cubicBezTo>
                <a:cubicBezTo>
                  <a:pt x="6" y="37"/>
                  <a:pt x="5" y="37"/>
                  <a:pt x="5" y="38"/>
                </a:cubicBezTo>
                <a:cubicBezTo>
                  <a:pt x="5" y="38"/>
                  <a:pt x="5" y="38"/>
                  <a:pt x="5" y="38"/>
                </a:cubicBezTo>
                <a:cubicBezTo>
                  <a:pt x="5" y="39"/>
                  <a:pt x="5" y="39"/>
                  <a:pt x="5" y="39"/>
                </a:cubicBezTo>
                <a:cubicBezTo>
                  <a:pt x="4" y="39"/>
                  <a:pt x="4" y="40"/>
                  <a:pt x="4" y="40"/>
                </a:cubicBezTo>
                <a:cubicBezTo>
                  <a:pt x="4" y="40"/>
                  <a:pt x="4" y="40"/>
                  <a:pt x="4" y="40"/>
                </a:cubicBezTo>
                <a:cubicBezTo>
                  <a:pt x="3" y="41"/>
                  <a:pt x="3" y="41"/>
                  <a:pt x="3" y="42"/>
                </a:cubicBezTo>
                <a:cubicBezTo>
                  <a:pt x="2" y="42"/>
                  <a:pt x="2" y="42"/>
                  <a:pt x="2" y="43"/>
                </a:cubicBezTo>
                <a:cubicBezTo>
                  <a:pt x="2" y="43"/>
                  <a:pt x="2" y="43"/>
                  <a:pt x="1" y="44"/>
                </a:cubicBezTo>
                <a:cubicBezTo>
                  <a:pt x="1" y="44"/>
                  <a:pt x="1" y="44"/>
                  <a:pt x="1" y="44"/>
                </a:cubicBezTo>
                <a:cubicBezTo>
                  <a:pt x="1" y="44"/>
                  <a:pt x="1" y="45"/>
                  <a:pt x="1" y="45"/>
                </a:cubicBezTo>
                <a:cubicBezTo>
                  <a:pt x="1" y="45"/>
                  <a:pt x="1" y="45"/>
                  <a:pt x="1" y="45"/>
                </a:cubicBezTo>
                <a:cubicBezTo>
                  <a:pt x="1" y="45"/>
                  <a:pt x="1" y="45"/>
                  <a:pt x="1" y="45"/>
                </a:cubicBezTo>
                <a:cubicBezTo>
                  <a:pt x="1" y="46"/>
                  <a:pt x="1" y="46"/>
                  <a:pt x="1" y="46"/>
                </a:cubicBezTo>
                <a:cubicBezTo>
                  <a:pt x="0" y="46"/>
                  <a:pt x="0" y="46"/>
                  <a:pt x="0" y="46"/>
                </a:cubicBezTo>
                <a:cubicBezTo>
                  <a:pt x="0" y="46"/>
                  <a:pt x="0" y="47"/>
                  <a:pt x="0" y="47"/>
                </a:cubicBezTo>
                <a:cubicBezTo>
                  <a:pt x="1" y="48"/>
                  <a:pt x="2" y="49"/>
                  <a:pt x="2" y="50"/>
                </a:cubicBezTo>
                <a:cubicBezTo>
                  <a:pt x="3" y="50"/>
                  <a:pt x="3" y="50"/>
                  <a:pt x="3" y="50"/>
                </a:cubicBezTo>
                <a:cubicBezTo>
                  <a:pt x="4" y="49"/>
                  <a:pt x="4" y="49"/>
                  <a:pt x="4" y="49"/>
                </a:cubicBezTo>
                <a:cubicBezTo>
                  <a:pt x="4" y="48"/>
                  <a:pt x="7" y="47"/>
                  <a:pt x="8" y="47"/>
                </a:cubicBezTo>
                <a:cubicBezTo>
                  <a:pt x="7" y="48"/>
                  <a:pt x="9" y="49"/>
                  <a:pt x="9" y="49"/>
                </a:cubicBezTo>
                <a:cubicBezTo>
                  <a:pt x="9" y="50"/>
                  <a:pt x="8" y="49"/>
                  <a:pt x="8" y="49"/>
                </a:cubicBezTo>
                <a:cubicBezTo>
                  <a:pt x="8" y="50"/>
                  <a:pt x="8" y="50"/>
                  <a:pt x="7" y="50"/>
                </a:cubicBezTo>
                <a:cubicBezTo>
                  <a:pt x="7" y="50"/>
                  <a:pt x="6" y="50"/>
                  <a:pt x="6" y="50"/>
                </a:cubicBezTo>
                <a:cubicBezTo>
                  <a:pt x="6" y="50"/>
                  <a:pt x="5" y="49"/>
                  <a:pt x="5" y="50"/>
                </a:cubicBezTo>
                <a:cubicBezTo>
                  <a:pt x="5" y="51"/>
                  <a:pt x="5" y="51"/>
                  <a:pt x="5" y="52"/>
                </a:cubicBezTo>
                <a:cubicBezTo>
                  <a:pt x="4" y="52"/>
                  <a:pt x="5" y="51"/>
                  <a:pt x="4" y="51"/>
                </a:cubicBezTo>
                <a:cubicBezTo>
                  <a:pt x="4" y="51"/>
                  <a:pt x="4" y="51"/>
                  <a:pt x="3" y="51"/>
                </a:cubicBezTo>
                <a:cubicBezTo>
                  <a:pt x="3" y="51"/>
                  <a:pt x="3" y="51"/>
                  <a:pt x="3" y="51"/>
                </a:cubicBezTo>
                <a:cubicBezTo>
                  <a:pt x="2" y="51"/>
                  <a:pt x="2" y="51"/>
                  <a:pt x="2" y="51"/>
                </a:cubicBezTo>
                <a:cubicBezTo>
                  <a:pt x="1" y="52"/>
                  <a:pt x="1" y="53"/>
                  <a:pt x="1" y="54"/>
                </a:cubicBezTo>
                <a:cubicBezTo>
                  <a:pt x="1" y="54"/>
                  <a:pt x="2" y="55"/>
                  <a:pt x="2" y="55"/>
                </a:cubicBezTo>
                <a:cubicBezTo>
                  <a:pt x="2" y="55"/>
                  <a:pt x="2" y="56"/>
                  <a:pt x="2" y="56"/>
                </a:cubicBezTo>
                <a:cubicBezTo>
                  <a:pt x="7" y="59"/>
                  <a:pt x="13" y="62"/>
                  <a:pt x="18" y="65"/>
                </a:cubicBezTo>
                <a:cubicBezTo>
                  <a:pt x="23" y="68"/>
                  <a:pt x="28" y="71"/>
                  <a:pt x="33" y="73"/>
                </a:cubicBezTo>
                <a:cubicBezTo>
                  <a:pt x="34" y="74"/>
                  <a:pt x="34" y="74"/>
                  <a:pt x="34" y="74"/>
                </a:cubicBezTo>
                <a:cubicBezTo>
                  <a:pt x="34" y="74"/>
                  <a:pt x="35" y="75"/>
                  <a:pt x="36" y="76"/>
                </a:cubicBezTo>
                <a:cubicBezTo>
                  <a:pt x="36" y="76"/>
                  <a:pt x="36" y="76"/>
                  <a:pt x="36" y="76"/>
                </a:cubicBezTo>
                <a:cubicBezTo>
                  <a:pt x="36" y="76"/>
                  <a:pt x="36" y="76"/>
                  <a:pt x="36" y="76"/>
                </a:cubicBezTo>
                <a:cubicBezTo>
                  <a:pt x="36" y="76"/>
                  <a:pt x="36" y="76"/>
                  <a:pt x="36" y="76"/>
                </a:cubicBezTo>
                <a:cubicBezTo>
                  <a:pt x="36" y="76"/>
                  <a:pt x="36" y="76"/>
                  <a:pt x="37" y="76"/>
                </a:cubicBezTo>
                <a:cubicBezTo>
                  <a:pt x="37" y="77"/>
                  <a:pt x="37" y="77"/>
                  <a:pt x="37" y="77"/>
                </a:cubicBezTo>
                <a:cubicBezTo>
                  <a:pt x="38" y="77"/>
                  <a:pt x="38" y="78"/>
                  <a:pt x="39" y="78"/>
                </a:cubicBezTo>
                <a:cubicBezTo>
                  <a:pt x="39" y="79"/>
                  <a:pt x="39" y="79"/>
                  <a:pt x="39" y="80"/>
                </a:cubicBezTo>
                <a:cubicBezTo>
                  <a:pt x="39" y="80"/>
                  <a:pt x="39" y="80"/>
                  <a:pt x="39" y="81"/>
                </a:cubicBezTo>
                <a:cubicBezTo>
                  <a:pt x="39" y="81"/>
                  <a:pt x="39" y="81"/>
                  <a:pt x="39" y="82"/>
                </a:cubicBezTo>
                <a:cubicBezTo>
                  <a:pt x="41" y="84"/>
                  <a:pt x="43" y="85"/>
                  <a:pt x="45" y="87"/>
                </a:cubicBezTo>
                <a:cubicBezTo>
                  <a:pt x="47" y="88"/>
                  <a:pt x="47" y="88"/>
                  <a:pt x="47" y="88"/>
                </a:cubicBezTo>
                <a:cubicBezTo>
                  <a:pt x="47" y="88"/>
                  <a:pt x="47" y="88"/>
                  <a:pt x="48" y="89"/>
                </a:cubicBezTo>
                <a:cubicBezTo>
                  <a:pt x="48" y="89"/>
                  <a:pt x="48" y="89"/>
                  <a:pt x="48" y="89"/>
                </a:cubicBezTo>
                <a:cubicBezTo>
                  <a:pt x="49" y="89"/>
                  <a:pt x="49" y="90"/>
                  <a:pt x="50" y="90"/>
                </a:cubicBezTo>
                <a:cubicBezTo>
                  <a:pt x="50" y="90"/>
                  <a:pt x="50" y="90"/>
                  <a:pt x="50" y="90"/>
                </a:cubicBezTo>
                <a:cubicBezTo>
                  <a:pt x="52" y="91"/>
                  <a:pt x="53" y="92"/>
                  <a:pt x="54" y="93"/>
                </a:cubicBezTo>
                <a:cubicBezTo>
                  <a:pt x="54" y="93"/>
                  <a:pt x="54" y="93"/>
                  <a:pt x="54" y="93"/>
                </a:cubicBezTo>
                <a:cubicBezTo>
                  <a:pt x="54" y="93"/>
                  <a:pt x="54" y="93"/>
                  <a:pt x="54" y="93"/>
                </a:cubicBezTo>
                <a:cubicBezTo>
                  <a:pt x="56" y="92"/>
                  <a:pt x="57" y="92"/>
                  <a:pt x="57" y="90"/>
                </a:cubicBezTo>
                <a:cubicBezTo>
                  <a:pt x="57" y="89"/>
                  <a:pt x="58" y="89"/>
                  <a:pt x="58" y="88"/>
                </a:cubicBezTo>
                <a:cubicBezTo>
                  <a:pt x="58" y="88"/>
                  <a:pt x="57" y="87"/>
                  <a:pt x="58" y="87"/>
                </a:cubicBezTo>
                <a:cubicBezTo>
                  <a:pt x="59" y="87"/>
                  <a:pt x="60" y="86"/>
                  <a:pt x="60" y="84"/>
                </a:cubicBezTo>
                <a:cubicBezTo>
                  <a:pt x="60" y="84"/>
                  <a:pt x="59" y="83"/>
                  <a:pt x="59" y="83"/>
                </a:cubicBezTo>
                <a:cubicBezTo>
                  <a:pt x="59" y="82"/>
                  <a:pt x="61" y="81"/>
                  <a:pt x="61" y="80"/>
                </a:cubicBezTo>
                <a:cubicBezTo>
                  <a:pt x="63" y="80"/>
                  <a:pt x="63" y="80"/>
                  <a:pt x="63" y="79"/>
                </a:cubicBezTo>
                <a:cubicBezTo>
                  <a:pt x="64" y="77"/>
                  <a:pt x="63" y="77"/>
                  <a:pt x="64" y="76"/>
                </a:cubicBezTo>
                <a:cubicBezTo>
                  <a:pt x="64" y="72"/>
                  <a:pt x="67" y="73"/>
                  <a:pt x="68" y="71"/>
                </a:cubicBezTo>
                <a:cubicBezTo>
                  <a:pt x="69" y="70"/>
                  <a:pt x="70" y="69"/>
                  <a:pt x="70" y="69"/>
                </a:cubicBezTo>
                <a:cubicBezTo>
                  <a:pt x="71" y="69"/>
                  <a:pt x="71" y="70"/>
                  <a:pt x="71" y="69"/>
                </a:cubicBezTo>
                <a:cubicBezTo>
                  <a:pt x="71" y="70"/>
                  <a:pt x="71" y="68"/>
                  <a:pt x="71" y="68"/>
                </a:cubicBezTo>
                <a:cubicBezTo>
                  <a:pt x="71" y="68"/>
                  <a:pt x="70" y="67"/>
                  <a:pt x="70" y="67"/>
                </a:cubicBezTo>
                <a:cubicBezTo>
                  <a:pt x="71" y="67"/>
                  <a:pt x="71" y="66"/>
                  <a:pt x="72" y="66"/>
                </a:cubicBezTo>
                <a:cubicBezTo>
                  <a:pt x="71" y="67"/>
                  <a:pt x="72" y="67"/>
                  <a:pt x="72" y="67"/>
                </a:cubicBezTo>
                <a:cubicBezTo>
                  <a:pt x="73" y="67"/>
                  <a:pt x="74" y="66"/>
                  <a:pt x="74" y="66"/>
                </a:cubicBezTo>
                <a:cubicBezTo>
                  <a:pt x="75" y="65"/>
                  <a:pt x="76" y="65"/>
                  <a:pt x="76" y="64"/>
                </a:cubicBezTo>
                <a:cubicBezTo>
                  <a:pt x="76" y="64"/>
                  <a:pt x="76" y="64"/>
                  <a:pt x="76" y="64"/>
                </a:cubicBezTo>
                <a:lnTo>
                  <a:pt x="76" y="63"/>
                </a:lnTo>
                <a:close/>
              </a:path>
            </a:pathLst>
          </a:custGeom>
          <a:solidFill>
            <a:schemeClr val="tx1">
              <a:lumMod val="40000"/>
              <a:lumOff val="60000"/>
            </a:schemeClr>
          </a:solidFill>
          <a:ln w="952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734" name="Rectangle 1733">
            <a:extLst>
              <a:ext uri="{FF2B5EF4-FFF2-40B4-BE49-F238E27FC236}">
                <a16:creationId xmlns:a16="http://schemas.microsoft.com/office/drawing/2014/main" id="{6E843A5A-0741-45CA-9B72-95334E83CAE2}"/>
              </a:ext>
            </a:extLst>
          </p:cNvPr>
          <p:cNvSpPr/>
          <p:nvPr/>
        </p:nvSpPr>
        <p:spPr bwMode="gray">
          <a:xfrm>
            <a:off x="1415423" y="4632736"/>
            <a:ext cx="1638992" cy="199679"/>
          </a:xfrm>
          <a:prstGeom prst="rect">
            <a:avLst/>
          </a:prstGeom>
          <a:noFill/>
          <a:ln>
            <a:noFill/>
          </a:ln>
        </p:spPr>
        <p:txBody>
          <a:bodyPr wrap="none" rtlCol="0" anchor="ctr"/>
          <a:lstStyle/>
          <a:p>
            <a:pPr marL="0" marR="0" lvl="0" indent="0" algn="l" defTabSz="685800" rtl="0" eaLnBrk="0"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666666"/>
                </a:solidFill>
                <a:effectLst/>
                <a:uLnTx/>
                <a:uFillTx/>
                <a:latin typeface="Arial" panose="020B0604020202020204"/>
                <a:ea typeface="+mn-ea"/>
                <a:cs typeface="+mn-cs"/>
              </a:rPr>
              <a:t>Asset Protection</a:t>
            </a:r>
          </a:p>
        </p:txBody>
      </p:sp>
      <p:sp>
        <p:nvSpPr>
          <p:cNvPr id="1735" name="Rectangle 1734">
            <a:extLst>
              <a:ext uri="{FF2B5EF4-FFF2-40B4-BE49-F238E27FC236}">
                <a16:creationId xmlns:a16="http://schemas.microsoft.com/office/drawing/2014/main" id="{4DB438B3-3C32-423F-9CB7-763593065452}"/>
              </a:ext>
            </a:extLst>
          </p:cNvPr>
          <p:cNvSpPr/>
          <p:nvPr/>
        </p:nvSpPr>
        <p:spPr bwMode="gray">
          <a:xfrm>
            <a:off x="1415423" y="5172796"/>
            <a:ext cx="1638992" cy="199679"/>
          </a:xfrm>
          <a:prstGeom prst="rect">
            <a:avLst/>
          </a:prstGeom>
          <a:noFill/>
          <a:ln>
            <a:noFill/>
          </a:ln>
        </p:spPr>
        <p:txBody>
          <a:bodyPr wrap="none" rtlCol="0" anchor="ctr"/>
          <a:lstStyle/>
          <a:p>
            <a:pPr marL="0" marR="0" lvl="0" indent="0" algn="l" defTabSz="685800" rtl="0" eaLnBrk="0"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666666"/>
                </a:solidFill>
                <a:effectLst/>
                <a:uLnTx/>
                <a:uFillTx/>
                <a:latin typeface="Arial" panose="020B0604020202020204"/>
                <a:ea typeface="+mn-ea"/>
                <a:cs typeface="+mn-cs"/>
              </a:rPr>
              <a:t>Operational Resilience</a:t>
            </a:r>
          </a:p>
        </p:txBody>
      </p:sp>
      <p:sp>
        <p:nvSpPr>
          <p:cNvPr id="1736" name="Rectangle 1735">
            <a:extLst>
              <a:ext uri="{FF2B5EF4-FFF2-40B4-BE49-F238E27FC236}">
                <a16:creationId xmlns:a16="http://schemas.microsoft.com/office/drawing/2014/main" id="{24B16E4E-8CFD-410F-8431-0B77DA69B46A}"/>
              </a:ext>
            </a:extLst>
          </p:cNvPr>
          <p:cNvSpPr/>
          <p:nvPr/>
        </p:nvSpPr>
        <p:spPr bwMode="gray">
          <a:xfrm>
            <a:off x="7401181" y="6266920"/>
            <a:ext cx="1536525" cy="199679"/>
          </a:xfrm>
          <a:prstGeom prst="rect">
            <a:avLst/>
          </a:prstGeom>
          <a:noFill/>
          <a:ln>
            <a:noFill/>
          </a:ln>
        </p:spPr>
        <p:txBody>
          <a:bodyPr wrap="none" rtlCol="0" anchor="ctr"/>
          <a:lstStyle/>
          <a:p>
            <a:pPr marL="0" marR="0" lvl="0" indent="0" algn="l" defTabSz="685800" rtl="0" eaLnBrk="0" fontAlgn="auto" latinLnBrk="0" hangingPunct="0">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a:ea typeface="+mn-ea"/>
                <a:cs typeface="+mn-cs"/>
              </a:rPr>
              <a:t>2022 - 2024</a:t>
            </a:r>
            <a:r>
              <a:rPr kumimoji="0" lang="en-US" sz="800" b="0" i="0" u="none" strike="noStrike" kern="1200" cap="none" spc="0" normalizeH="0" baseline="0" noProof="0" dirty="0">
                <a:ln>
                  <a:noFill/>
                </a:ln>
                <a:solidFill>
                  <a:srgbClr val="FFFFFF"/>
                </a:solidFill>
                <a:effectLst/>
                <a:uLnTx/>
                <a:uFillTx/>
                <a:latin typeface="Arial" charset="0"/>
                <a:ea typeface="+mn-ea"/>
                <a:cs typeface="Arial" charset="0"/>
              </a:rPr>
              <a:t> </a:t>
            </a: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t>Denmark, Finland, </a:t>
            </a:r>
          </a:p>
          <a:p>
            <a:pPr marL="0" marR="0" lvl="0" indent="0" algn="l" defTabSz="685800" rtl="0" eaLnBrk="0"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t>Slovenia and Slovakia</a:t>
            </a:r>
          </a:p>
        </p:txBody>
      </p:sp>
      <p:sp>
        <p:nvSpPr>
          <p:cNvPr id="1737" name="Rectangle 1736">
            <a:extLst>
              <a:ext uri="{FF2B5EF4-FFF2-40B4-BE49-F238E27FC236}">
                <a16:creationId xmlns:a16="http://schemas.microsoft.com/office/drawing/2014/main" id="{5E174E68-8DCF-4289-9AF3-4B6C1BA92A9B}"/>
              </a:ext>
            </a:extLst>
          </p:cNvPr>
          <p:cNvSpPr/>
          <p:nvPr/>
        </p:nvSpPr>
        <p:spPr bwMode="gray">
          <a:xfrm>
            <a:off x="3699506" y="4902766"/>
            <a:ext cx="1536525" cy="199679"/>
          </a:xfrm>
          <a:prstGeom prst="rect">
            <a:avLst/>
          </a:prstGeom>
          <a:noFill/>
          <a:ln>
            <a:noFill/>
          </a:ln>
        </p:spPr>
        <p:txBody>
          <a:bodyPr wrap="none" rtlCol="0" anchor="ctr"/>
          <a:lstStyle/>
          <a:p>
            <a:pPr marL="0" marR="0" lvl="0" indent="0" algn="l" defTabSz="685800" rtl="0" eaLnBrk="0"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666666"/>
                </a:solidFill>
                <a:effectLst/>
                <a:uLnTx/>
                <a:uFillTx/>
                <a:latin typeface="Arial" panose="020B0604020202020204"/>
                <a:ea typeface="+mn-ea"/>
                <a:cs typeface="+mn-cs"/>
              </a:rPr>
              <a:t>Cost Reduction</a:t>
            </a:r>
          </a:p>
        </p:txBody>
      </p:sp>
      <p:sp>
        <p:nvSpPr>
          <p:cNvPr id="1738" name="Rectangle 1737">
            <a:extLst>
              <a:ext uri="{FF2B5EF4-FFF2-40B4-BE49-F238E27FC236}">
                <a16:creationId xmlns:a16="http://schemas.microsoft.com/office/drawing/2014/main" id="{9CBE55CE-BB36-4B49-8D95-E61C24C01818}"/>
              </a:ext>
            </a:extLst>
          </p:cNvPr>
          <p:cNvSpPr/>
          <p:nvPr/>
        </p:nvSpPr>
        <p:spPr bwMode="gray">
          <a:xfrm>
            <a:off x="3699506" y="5172796"/>
            <a:ext cx="1536525" cy="199679"/>
          </a:xfrm>
          <a:prstGeom prst="rect">
            <a:avLst/>
          </a:prstGeom>
          <a:noFill/>
          <a:ln>
            <a:noFill/>
          </a:ln>
        </p:spPr>
        <p:txBody>
          <a:bodyPr wrap="none" rtlCol="0" anchor="ctr"/>
          <a:lstStyle/>
          <a:p>
            <a:pPr marL="0" marR="0" lvl="0" indent="0" algn="l" defTabSz="685800" rtl="0" eaLnBrk="0"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666666"/>
                </a:solidFill>
                <a:effectLst/>
                <a:uLnTx/>
                <a:uFillTx/>
                <a:latin typeface="Arial" panose="020B0604020202020204"/>
                <a:ea typeface="+mn-ea"/>
                <a:cs typeface="+mn-cs"/>
              </a:rPr>
              <a:t>Liquidity Optimization</a:t>
            </a:r>
          </a:p>
        </p:txBody>
      </p:sp>
      <p:sp>
        <p:nvSpPr>
          <p:cNvPr id="1739" name="Rectangle 1738">
            <a:extLst>
              <a:ext uri="{FF2B5EF4-FFF2-40B4-BE49-F238E27FC236}">
                <a16:creationId xmlns:a16="http://schemas.microsoft.com/office/drawing/2014/main" id="{7F28D932-408F-43E0-A919-AD2D08776F36}"/>
              </a:ext>
            </a:extLst>
          </p:cNvPr>
          <p:cNvSpPr/>
          <p:nvPr/>
        </p:nvSpPr>
        <p:spPr bwMode="gray">
          <a:xfrm>
            <a:off x="1415423" y="5442826"/>
            <a:ext cx="1638992" cy="199679"/>
          </a:xfrm>
          <a:prstGeom prst="rect">
            <a:avLst/>
          </a:prstGeom>
          <a:noFill/>
          <a:ln>
            <a:noFill/>
          </a:ln>
        </p:spPr>
        <p:txBody>
          <a:bodyPr wrap="none" rtlCol="0" anchor="ctr"/>
          <a:lstStyle/>
          <a:p>
            <a:pPr marL="0" marR="0" lvl="0" indent="0" algn="l" defTabSz="685800" rtl="0" eaLnBrk="0"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666666"/>
                </a:solidFill>
                <a:effectLst/>
                <a:uLnTx/>
                <a:uFillTx/>
                <a:latin typeface="Arial" panose="020B0604020202020204"/>
                <a:ea typeface="+mn-ea"/>
                <a:cs typeface="+mn-cs"/>
              </a:rPr>
              <a:t>Service Quality</a:t>
            </a:r>
          </a:p>
        </p:txBody>
      </p:sp>
      <p:sp>
        <p:nvSpPr>
          <p:cNvPr id="1740" name="Rectangle 1739">
            <a:extLst>
              <a:ext uri="{FF2B5EF4-FFF2-40B4-BE49-F238E27FC236}">
                <a16:creationId xmlns:a16="http://schemas.microsoft.com/office/drawing/2014/main" id="{69492085-1A1D-4A63-8039-745A53766ABF}"/>
              </a:ext>
            </a:extLst>
          </p:cNvPr>
          <p:cNvSpPr/>
          <p:nvPr/>
        </p:nvSpPr>
        <p:spPr bwMode="gray">
          <a:xfrm>
            <a:off x="3699506" y="5442826"/>
            <a:ext cx="1536525" cy="199679"/>
          </a:xfrm>
          <a:prstGeom prst="rect">
            <a:avLst/>
          </a:prstGeom>
          <a:noFill/>
          <a:ln>
            <a:noFill/>
          </a:ln>
        </p:spPr>
        <p:txBody>
          <a:bodyPr wrap="none" rtlCol="0" anchor="ctr"/>
          <a:lstStyle/>
          <a:p>
            <a:pPr marL="0" marR="0" lvl="0" indent="0" algn="l" defTabSz="685800" rtl="0" eaLnBrk="0"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666666"/>
                </a:solidFill>
                <a:effectLst/>
                <a:uLnTx/>
                <a:uFillTx/>
                <a:latin typeface="Arial" panose="020B0604020202020204"/>
                <a:ea typeface="+mn-ea"/>
                <a:cs typeface="+mn-cs"/>
              </a:rPr>
              <a:t>Collateral Mobility</a:t>
            </a:r>
          </a:p>
        </p:txBody>
      </p:sp>
      <p:pic>
        <p:nvPicPr>
          <p:cNvPr id="1741" name="Graphic 1740" descr="Checkmark">
            <a:extLst>
              <a:ext uri="{FF2B5EF4-FFF2-40B4-BE49-F238E27FC236}">
                <a16:creationId xmlns:a16="http://schemas.microsoft.com/office/drawing/2014/main" id="{DFE9040B-1E8E-442D-BD34-794DA13963C7}"/>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047656" y="4587539"/>
            <a:ext cx="271020" cy="271020"/>
          </a:xfrm>
          <a:prstGeom prst="rect">
            <a:avLst/>
          </a:prstGeom>
        </p:spPr>
      </p:pic>
      <p:pic>
        <p:nvPicPr>
          <p:cNvPr id="1742" name="Graphic 1741" descr="Checkmark">
            <a:extLst>
              <a:ext uri="{FF2B5EF4-FFF2-40B4-BE49-F238E27FC236}">
                <a16:creationId xmlns:a16="http://schemas.microsoft.com/office/drawing/2014/main" id="{E7CD4F64-B3E9-4564-B791-DAF0912036F2}"/>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283070" y="4587539"/>
            <a:ext cx="271020" cy="271020"/>
          </a:xfrm>
          <a:prstGeom prst="rect">
            <a:avLst/>
          </a:prstGeom>
        </p:spPr>
      </p:pic>
      <p:pic>
        <p:nvPicPr>
          <p:cNvPr id="1743" name="Graphic 1742" descr="Checkmark">
            <a:extLst>
              <a:ext uri="{FF2B5EF4-FFF2-40B4-BE49-F238E27FC236}">
                <a16:creationId xmlns:a16="http://schemas.microsoft.com/office/drawing/2014/main" id="{F01E6BB3-A380-4E3D-99AD-022D2DC61099}"/>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047656" y="4869092"/>
            <a:ext cx="271020" cy="271020"/>
          </a:xfrm>
          <a:prstGeom prst="rect">
            <a:avLst/>
          </a:prstGeom>
        </p:spPr>
      </p:pic>
      <p:pic>
        <p:nvPicPr>
          <p:cNvPr id="1744" name="Graphic 1743" descr="Checkmark">
            <a:extLst>
              <a:ext uri="{FF2B5EF4-FFF2-40B4-BE49-F238E27FC236}">
                <a16:creationId xmlns:a16="http://schemas.microsoft.com/office/drawing/2014/main" id="{D1938D71-9AC0-4D69-8C00-6E314C06F9C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283070" y="4869092"/>
            <a:ext cx="271020" cy="271020"/>
          </a:xfrm>
          <a:prstGeom prst="rect">
            <a:avLst/>
          </a:prstGeom>
        </p:spPr>
      </p:pic>
      <p:pic>
        <p:nvPicPr>
          <p:cNvPr id="1745" name="Graphic 1744" descr="Checkmark">
            <a:extLst>
              <a:ext uri="{FF2B5EF4-FFF2-40B4-BE49-F238E27FC236}">
                <a16:creationId xmlns:a16="http://schemas.microsoft.com/office/drawing/2014/main" id="{36D24ABD-A057-4DB6-8A08-E3432D24207B}"/>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047656" y="5141176"/>
            <a:ext cx="271020" cy="271020"/>
          </a:xfrm>
          <a:prstGeom prst="rect">
            <a:avLst/>
          </a:prstGeom>
        </p:spPr>
      </p:pic>
      <p:pic>
        <p:nvPicPr>
          <p:cNvPr id="1746" name="Graphic 1745" descr="Checkmark">
            <a:extLst>
              <a:ext uri="{FF2B5EF4-FFF2-40B4-BE49-F238E27FC236}">
                <a16:creationId xmlns:a16="http://schemas.microsoft.com/office/drawing/2014/main" id="{A9FBC673-53ED-4468-A0D4-613ABBE31F3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283070" y="5141176"/>
            <a:ext cx="271020" cy="271020"/>
          </a:xfrm>
          <a:prstGeom prst="rect">
            <a:avLst/>
          </a:prstGeom>
        </p:spPr>
      </p:pic>
      <p:pic>
        <p:nvPicPr>
          <p:cNvPr id="1747" name="Graphic 1746" descr="Checkmark">
            <a:extLst>
              <a:ext uri="{FF2B5EF4-FFF2-40B4-BE49-F238E27FC236}">
                <a16:creationId xmlns:a16="http://schemas.microsoft.com/office/drawing/2014/main" id="{D6E550CE-748E-4B62-999F-469AD547437F}"/>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047656" y="5407739"/>
            <a:ext cx="271020" cy="271020"/>
          </a:xfrm>
          <a:prstGeom prst="rect">
            <a:avLst/>
          </a:prstGeom>
        </p:spPr>
      </p:pic>
      <p:pic>
        <p:nvPicPr>
          <p:cNvPr id="1748" name="Graphic 1747" descr="Checkmark">
            <a:extLst>
              <a:ext uri="{FF2B5EF4-FFF2-40B4-BE49-F238E27FC236}">
                <a16:creationId xmlns:a16="http://schemas.microsoft.com/office/drawing/2014/main" id="{207AA5FD-9184-4CBD-91AE-B7AF85B74C2E}"/>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283070" y="5407739"/>
            <a:ext cx="271020" cy="271020"/>
          </a:xfrm>
          <a:prstGeom prst="rect">
            <a:avLst/>
          </a:prstGeom>
        </p:spPr>
      </p:pic>
      <p:sp>
        <p:nvSpPr>
          <p:cNvPr id="1749" name="Rectangle 1748">
            <a:extLst>
              <a:ext uri="{FF2B5EF4-FFF2-40B4-BE49-F238E27FC236}">
                <a16:creationId xmlns:a16="http://schemas.microsoft.com/office/drawing/2014/main" id="{3E9B6FC6-D5D2-4DE6-8A1E-6350804D35EC}"/>
              </a:ext>
            </a:extLst>
          </p:cNvPr>
          <p:cNvSpPr/>
          <p:nvPr/>
        </p:nvSpPr>
        <p:spPr>
          <a:xfrm>
            <a:off x="1496887" y="2246743"/>
            <a:ext cx="3837986" cy="193859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81000" rIns="81000" bIns="81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7925" b="1" i="0" u="none" strike="noStrike" kern="1200" cap="none" spc="0" normalizeH="0" baseline="0" noProof="0" dirty="0">
                <a:ln>
                  <a:noFill/>
                </a:ln>
                <a:solidFill>
                  <a:srgbClr val="00A5C0">
                    <a:alpha val="60000"/>
                  </a:srgbClr>
                </a:solidFill>
                <a:effectLst/>
                <a:uLnTx/>
                <a:uFillTx/>
                <a:latin typeface="Arial" panose="020B0604020202020204"/>
                <a:ea typeface="+mn-ea"/>
                <a:cs typeface="+mn-cs"/>
              </a:rPr>
              <a:t>6</a:t>
            </a:r>
            <a:r>
              <a:rPr kumimoji="0" lang="en-US" sz="17925" b="1" i="0" u="none" strike="noStrike" kern="1200" cap="none" spc="0" normalizeH="0" baseline="0" noProof="0" dirty="0">
                <a:ln>
                  <a:noFill/>
                </a:ln>
                <a:solidFill>
                  <a:srgbClr val="00A5C0">
                    <a:alpha val="60000"/>
                  </a:srgbClr>
                </a:solidFill>
                <a:effectLst/>
                <a:uLnTx/>
                <a:uFillTx/>
                <a:latin typeface="Arial" panose="020B0604020202020204"/>
                <a:ea typeface="+mn-ea"/>
                <a:cs typeface="+mn-cs"/>
              </a:rPr>
              <a:t>0</a:t>
            </a:r>
          </a:p>
        </p:txBody>
      </p:sp>
      <p:sp>
        <p:nvSpPr>
          <p:cNvPr id="1755" name="TextBox 1754">
            <a:extLst>
              <a:ext uri="{FF2B5EF4-FFF2-40B4-BE49-F238E27FC236}">
                <a16:creationId xmlns:a16="http://schemas.microsoft.com/office/drawing/2014/main" id="{3477901B-CF6A-4CB9-9B59-F7DCD6EC427F}"/>
              </a:ext>
            </a:extLst>
          </p:cNvPr>
          <p:cNvSpPr txBox="1"/>
          <p:nvPr/>
        </p:nvSpPr>
        <p:spPr>
          <a:xfrm>
            <a:off x="7507877" y="1671500"/>
            <a:ext cx="2461599" cy="3084681"/>
          </a:xfrm>
          <a:prstGeom prst="rect">
            <a:avLst/>
          </a:prstGeom>
          <a:noFill/>
        </p:spPr>
        <p:txBody>
          <a:bodyPr wrap="none" lIns="0" tIns="0" rIns="0" bIns="0" rtlCol="0">
            <a:noAutofit/>
          </a:bodyPr>
          <a:lstStyle/>
          <a:p>
            <a:pPr marL="0" marR="0" lvl="0" indent="0" algn="l" defTabSz="685800" rtl="0" eaLnBrk="1" fontAlgn="auto" latinLnBrk="0" hangingPunct="1">
              <a:lnSpc>
                <a:spcPct val="100000"/>
              </a:lnSpc>
              <a:spcBef>
                <a:spcPts val="0"/>
              </a:spcBef>
              <a:spcAft>
                <a:spcPts val="240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a:ea typeface="+mn-ea"/>
                <a:cs typeface="+mn-cs"/>
              </a:rPr>
              <a:t>2018</a:t>
            </a: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t> France, Belgium, Netherlands (ESES)</a:t>
            </a:r>
          </a:p>
          <a:p>
            <a:pPr marL="0" marR="0" lvl="0" indent="0" algn="l" defTabSz="685800" rtl="0" eaLnBrk="1" fontAlgn="auto" latinLnBrk="0" hangingPunct="1">
              <a:lnSpc>
                <a:spcPct val="100000"/>
              </a:lnSpc>
              <a:spcBef>
                <a:spcPts val="0"/>
              </a:spcBef>
              <a:spcAft>
                <a:spcPts val="240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a:ea typeface="+mn-ea"/>
                <a:cs typeface="+mn-cs"/>
              </a:rPr>
              <a:t>2018</a:t>
            </a: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t> Luxembourg (LuxCSD)</a:t>
            </a:r>
          </a:p>
          <a:p>
            <a:pPr marL="0" marR="0" lvl="0" indent="0" algn="l" defTabSz="685800" rtl="0" eaLnBrk="1" fontAlgn="auto" latinLnBrk="0" hangingPunct="1">
              <a:lnSpc>
                <a:spcPct val="100000"/>
              </a:lnSpc>
              <a:spcBef>
                <a:spcPts val="0"/>
              </a:spcBef>
              <a:spcAft>
                <a:spcPts val="240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a:ea typeface="+mn-ea"/>
                <a:cs typeface="+mn-cs"/>
              </a:rPr>
              <a:t>2018</a:t>
            </a: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t> Italy (Monte Titoli)</a:t>
            </a:r>
          </a:p>
          <a:p>
            <a:pPr marL="0" marR="0" lvl="0" indent="0" algn="l" defTabSz="685800" rtl="0" eaLnBrk="1" fontAlgn="auto" latinLnBrk="0" hangingPunct="1">
              <a:lnSpc>
                <a:spcPct val="100000"/>
              </a:lnSpc>
              <a:spcBef>
                <a:spcPts val="0"/>
              </a:spcBef>
              <a:spcAft>
                <a:spcPts val="240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a:ea typeface="+mn-ea"/>
                <a:cs typeface="+mn-cs"/>
              </a:rPr>
              <a:t>2018</a:t>
            </a: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t> Belgium (NBB)</a:t>
            </a:r>
          </a:p>
          <a:p>
            <a:pPr marL="0" marR="0" lvl="0" indent="0" algn="l" defTabSz="685800" rtl="0" eaLnBrk="1" fontAlgn="auto" latinLnBrk="0" hangingPunct="1">
              <a:lnSpc>
                <a:spcPct val="100000"/>
              </a:lnSpc>
              <a:spcBef>
                <a:spcPts val="0"/>
              </a:spcBef>
              <a:spcAft>
                <a:spcPts val="240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a:ea typeface="+mn-ea"/>
                <a:cs typeface="+mn-cs"/>
              </a:rPr>
              <a:t>2018</a:t>
            </a: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t> Austria (</a:t>
            </a:r>
            <a:r>
              <a:rPr kumimoji="0" lang="en-US" sz="1000" b="0" i="0" u="none" strike="noStrike" kern="1200" cap="none" spc="0" normalizeH="0" baseline="0" noProof="0" dirty="0" err="1">
                <a:ln>
                  <a:noFill/>
                </a:ln>
                <a:solidFill>
                  <a:srgbClr val="FFFFFF"/>
                </a:solidFill>
                <a:effectLst/>
                <a:uLnTx/>
                <a:uFillTx/>
                <a:latin typeface="Arial" panose="020B0604020202020204"/>
                <a:ea typeface="+mn-ea"/>
                <a:cs typeface="+mn-cs"/>
              </a:rPr>
              <a:t>OeKB</a:t>
            </a: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t>)</a:t>
            </a:r>
          </a:p>
          <a:p>
            <a:pPr marL="0" marR="0" lvl="0" indent="0" algn="l" defTabSz="685800" rtl="0" eaLnBrk="1" fontAlgn="auto" latinLnBrk="0" hangingPunct="1">
              <a:lnSpc>
                <a:spcPct val="100000"/>
              </a:lnSpc>
              <a:spcBef>
                <a:spcPts val="0"/>
              </a:spcBef>
              <a:spcAft>
                <a:spcPts val="240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a:ea typeface="+mn-ea"/>
                <a:cs typeface="+mn-cs"/>
              </a:rPr>
              <a:t>2019</a:t>
            </a: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t> Greece (BOGS)</a:t>
            </a:r>
          </a:p>
          <a:p>
            <a:pPr marL="0" marR="0" lvl="0" indent="0" algn="l" defTabSz="685800" rtl="0" eaLnBrk="1" fontAlgn="auto" latinLnBrk="0" hangingPunct="1">
              <a:lnSpc>
                <a:spcPct val="100000"/>
              </a:lnSpc>
              <a:spcBef>
                <a:spcPts val="0"/>
              </a:spcBef>
              <a:spcAft>
                <a:spcPts val="240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a:ea typeface="+mn-ea"/>
                <a:cs typeface="+mn-cs"/>
              </a:rPr>
              <a:t>2019</a:t>
            </a: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t> Baltics, Malta (Nasdaq CSD and MSE)</a:t>
            </a:r>
          </a:p>
          <a:p>
            <a:pPr marL="0" marR="0" lvl="0" indent="0" algn="l" defTabSz="685800" rtl="0" eaLnBrk="1" fontAlgn="auto" latinLnBrk="0" hangingPunct="1">
              <a:lnSpc>
                <a:spcPct val="100000"/>
              </a:lnSpc>
              <a:spcBef>
                <a:spcPts val="0"/>
              </a:spcBef>
              <a:spcAft>
                <a:spcPts val="240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a:ea typeface="+mn-ea"/>
                <a:cs typeface="+mn-cs"/>
              </a:rPr>
              <a:t>2020</a:t>
            </a: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t> Spain (Iberclear)</a:t>
            </a:r>
          </a:p>
          <a:p>
            <a:pPr marL="0" marR="0" lvl="0" indent="0" algn="l" defTabSz="685800" rtl="0" eaLnBrk="1" fontAlgn="auto" latinLnBrk="0" hangingPunct="1">
              <a:lnSpc>
                <a:spcPct val="100000"/>
              </a:lnSpc>
              <a:spcBef>
                <a:spcPts val="0"/>
              </a:spcBef>
              <a:spcAft>
                <a:spcPts val="240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a:ea typeface="+mn-ea"/>
                <a:cs typeface="+mn-cs"/>
              </a:rPr>
              <a:t>2020</a:t>
            </a: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t> Portugal (Interbolsa)</a:t>
            </a:r>
          </a:p>
          <a:p>
            <a:pPr marL="0" marR="0" lvl="0" indent="0" algn="l" defTabSz="685800" rtl="0" eaLnBrk="1" fontAlgn="auto" latinLnBrk="0" hangingPunct="1">
              <a:lnSpc>
                <a:spcPct val="100000"/>
              </a:lnSpc>
              <a:spcBef>
                <a:spcPts val="0"/>
              </a:spcBef>
              <a:spcAft>
                <a:spcPts val="240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a:ea typeface="+mn-ea"/>
                <a:cs typeface="+mn-cs"/>
              </a:rPr>
              <a:t>2020</a:t>
            </a: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t> Eurobonds (Phase I in 2019)</a:t>
            </a:r>
          </a:p>
        </p:txBody>
      </p:sp>
      <p:sp>
        <p:nvSpPr>
          <p:cNvPr id="1759" name="Rectangle 1758">
            <a:extLst>
              <a:ext uri="{FF2B5EF4-FFF2-40B4-BE49-F238E27FC236}">
                <a16:creationId xmlns:a16="http://schemas.microsoft.com/office/drawing/2014/main" id="{6B6CF7C5-26B7-43C1-8B86-1B8497E3C945}"/>
              </a:ext>
            </a:extLst>
          </p:cNvPr>
          <p:cNvSpPr/>
          <p:nvPr/>
        </p:nvSpPr>
        <p:spPr bwMode="auto">
          <a:xfrm>
            <a:off x="7837311" y="1224104"/>
            <a:ext cx="1927201" cy="178631"/>
          </a:xfrm>
          <a:prstGeom prst="rect">
            <a:avLst/>
          </a:prstGeom>
          <a:noFill/>
          <a:ln>
            <a:noFill/>
          </a:ln>
          <a:effec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charset="0"/>
                <a:ea typeface="+mn-ea"/>
                <a:cs typeface="Arial" charset="0"/>
              </a:rPr>
              <a:t>CeBM model</a:t>
            </a:r>
          </a:p>
        </p:txBody>
      </p:sp>
      <p:sp>
        <p:nvSpPr>
          <p:cNvPr id="1750" name="Rectangle 1749">
            <a:extLst>
              <a:ext uri="{FF2B5EF4-FFF2-40B4-BE49-F238E27FC236}">
                <a16:creationId xmlns:a16="http://schemas.microsoft.com/office/drawing/2014/main" id="{98CBF996-7135-43AA-98C1-95B09E0FD50C}"/>
              </a:ext>
            </a:extLst>
          </p:cNvPr>
          <p:cNvSpPr/>
          <p:nvPr/>
        </p:nvSpPr>
        <p:spPr bwMode="gray">
          <a:xfrm>
            <a:off x="3696922" y="4632736"/>
            <a:ext cx="1536525" cy="199679"/>
          </a:xfrm>
          <a:prstGeom prst="rect">
            <a:avLst/>
          </a:prstGeom>
          <a:noFill/>
          <a:ln>
            <a:noFill/>
          </a:ln>
        </p:spPr>
        <p:txBody>
          <a:bodyPr wrap="none" rtlCol="0" anchor="ctr"/>
          <a:lstStyle/>
          <a:p>
            <a:pPr marL="0" marR="0" lvl="0" indent="0" algn="l" defTabSz="685800" rtl="0" eaLnBrk="0"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666666"/>
                </a:solidFill>
                <a:effectLst/>
                <a:uLnTx/>
                <a:uFillTx/>
                <a:latin typeface="Arial" panose="020B0604020202020204"/>
                <a:ea typeface="+mn-ea"/>
                <a:cs typeface="+mn-cs"/>
              </a:rPr>
              <a:t>Capital Relief</a:t>
            </a:r>
          </a:p>
        </p:txBody>
      </p:sp>
      <p:grpSp>
        <p:nvGrpSpPr>
          <p:cNvPr id="1752" name="Group 1751">
            <a:extLst>
              <a:ext uri="{FF2B5EF4-FFF2-40B4-BE49-F238E27FC236}">
                <a16:creationId xmlns:a16="http://schemas.microsoft.com/office/drawing/2014/main" id="{CD498B07-E6C9-44F4-91C6-FB804AB28701}"/>
              </a:ext>
            </a:extLst>
          </p:cNvPr>
          <p:cNvGrpSpPr/>
          <p:nvPr/>
        </p:nvGrpSpPr>
        <p:grpSpPr>
          <a:xfrm>
            <a:off x="11274769" y="60832"/>
            <a:ext cx="831136" cy="831137"/>
            <a:chOff x="11274769" y="60832"/>
            <a:chExt cx="831136" cy="831137"/>
          </a:xfrm>
        </p:grpSpPr>
        <p:sp>
          <p:nvSpPr>
            <p:cNvPr id="1753" name="Oval 1752">
              <a:extLst>
                <a:ext uri="{FF2B5EF4-FFF2-40B4-BE49-F238E27FC236}">
                  <a16:creationId xmlns:a16="http://schemas.microsoft.com/office/drawing/2014/main" id="{98B494AB-FB2B-40B3-8819-CC333E1FB4B2}"/>
                </a:ext>
              </a:extLst>
            </p:cNvPr>
            <p:cNvSpPr/>
            <p:nvPr/>
          </p:nvSpPr>
          <p:spPr>
            <a:xfrm>
              <a:off x="11274769" y="60833"/>
              <a:ext cx="831135" cy="831136"/>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1754" name="Group 1753">
              <a:extLst>
                <a:ext uri="{FF2B5EF4-FFF2-40B4-BE49-F238E27FC236}">
                  <a16:creationId xmlns:a16="http://schemas.microsoft.com/office/drawing/2014/main" id="{9174674E-BF77-4D83-9919-C2BE101F15AC}"/>
                </a:ext>
              </a:extLst>
            </p:cNvPr>
            <p:cNvGrpSpPr/>
            <p:nvPr/>
          </p:nvGrpSpPr>
          <p:grpSpPr>
            <a:xfrm>
              <a:off x="11274769" y="60832"/>
              <a:ext cx="831136" cy="831136"/>
              <a:chOff x="11014841" y="142017"/>
              <a:chExt cx="1034527" cy="1034527"/>
            </a:xfrm>
          </p:grpSpPr>
          <p:sp>
            <p:nvSpPr>
              <p:cNvPr id="1760" name="Circle: Hollow 1759">
                <a:extLst>
                  <a:ext uri="{FF2B5EF4-FFF2-40B4-BE49-F238E27FC236}">
                    <a16:creationId xmlns:a16="http://schemas.microsoft.com/office/drawing/2014/main" id="{C87481E6-3300-4F05-A634-2B561A2C08AB}"/>
                  </a:ext>
                </a:extLst>
              </p:cNvPr>
              <p:cNvSpPr/>
              <p:nvPr/>
            </p:nvSpPr>
            <p:spPr>
              <a:xfrm>
                <a:off x="11014841" y="142017"/>
                <a:ext cx="1034527" cy="1034527"/>
              </a:xfrm>
              <a:prstGeom prst="donut">
                <a:avLst>
                  <a:gd name="adj" fmla="val 6586"/>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761" name="Circle: Hollow 1760">
                <a:extLst>
                  <a:ext uri="{FF2B5EF4-FFF2-40B4-BE49-F238E27FC236}">
                    <a16:creationId xmlns:a16="http://schemas.microsoft.com/office/drawing/2014/main" id="{F4619DD6-433E-4562-9A4D-92440B906D67}"/>
                  </a:ext>
                </a:extLst>
              </p:cNvPr>
              <p:cNvSpPr/>
              <p:nvPr/>
            </p:nvSpPr>
            <p:spPr>
              <a:xfrm>
                <a:off x="11164103" y="295596"/>
                <a:ext cx="737590" cy="730288"/>
              </a:xfrm>
              <a:prstGeom prst="donut">
                <a:avLst>
                  <a:gd name="adj" fmla="val 8880"/>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762" name="Circle: Hollow 1761">
                <a:extLst>
                  <a:ext uri="{FF2B5EF4-FFF2-40B4-BE49-F238E27FC236}">
                    <a16:creationId xmlns:a16="http://schemas.microsoft.com/office/drawing/2014/main" id="{612BAC49-563C-4909-8146-2FF840C1C6FE}"/>
                  </a:ext>
                </a:extLst>
              </p:cNvPr>
              <p:cNvSpPr/>
              <p:nvPr/>
            </p:nvSpPr>
            <p:spPr>
              <a:xfrm>
                <a:off x="11085279" y="209280"/>
                <a:ext cx="900000" cy="900000"/>
              </a:xfrm>
              <a:prstGeom prst="donut">
                <a:avLst>
                  <a:gd name="adj" fmla="val 6586"/>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763" name="Rectangle 1762">
                <a:extLst>
                  <a:ext uri="{FF2B5EF4-FFF2-40B4-BE49-F238E27FC236}">
                    <a16:creationId xmlns:a16="http://schemas.microsoft.com/office/drawing/2014/main" id="{502B1161-4BE5-4F11-AD56-9DCFE6403280}"/>
                  </a:ext>
                </a:extLst>
              </p:cNvPr>
              <p:cNvSpPr/>
              <p:nvPr/>
            </p:nvSpPr>
            <p:spPr>
              <a:xfrm>
                <a:off x="11503071" y="273367"/>
                <a:ext cx="59654" cy="75251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764" name="Rectangle 1763">
                <a:extLst>
                  <a:ext uri="{FF2B5EF4-FFF2-40B4-BE49-F238E27FC236}">
                    <a16:creationId xmlns:a16="http://schemas.microsoft.com/office/drawing/2014/main" id="{6A634D49-D388-4E10-BC69-5D68120C3E9B}"/>
                  </a:ext>
                </a:extLst>
              </p:cNvPr>
              <p:cNvSpPr/>
              <p:nvPr/>
            </p:nvSpPr>
            <p:spPr>
              <a:xfrm rot="16200000">
                <a:off x="11510535" y="283021"/>
                <a:ext cx="59654" cy="75251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765" name="Graphic 1764" descr="Diamond">
                <a:extLst>
                  <a:ext uri="{FF2B5EF4-FFF2-40B4-BE49-F238E27FC236}">
                    <a16:creationId xmlns:a16="http://schemas.microsoft.com/office/drawing/2014/main" id="{AB870F2A-C454-4609-8717-BB6D4971ACC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342551" y="490614"/>
                <a:ext cx="380938" cy="380938"/>
              </a:xfrm>
              <a:prstGeom prst="rect">
                <a:avLst/>
              </a:prstGeom>
            </p:spPr>
          </p:pic>
          <p:sp>
            <p:nvSpPr>
              <p:cNvPr id="1766" name="Circle: Hollow 1765">
                <a:extLst>
                  <a:ext uri="{FF2B5EF4-FFF2-40B4-BE49-F238E27FC236}">
                    <a16:creationId xmlns:a16="http://schemas.microsoft.com/office/drawing/2014/main" id="{A32494D5-6CE5-46B1-9CE4-21E1CBB6D17B}"/>
                  </a:ext>
                </a:extLst>
              </p:cNvPr>
              <p:cNvSpPr/>
              <p:nvPr/>
            </p:nvSpPr>
            <p:spPr>
              <a:xfrm>
                <a:off x="11256706" y="382966"/>
                <a:ext cx="552629" cy="552629"/>
              </a:xfrm>
              <a:prstGeom prst="donut">
                <a:avLst>
                  <a:gd name="adj" fmla="val 12441"/>
                </a:avLst>
              </a:prstGeom>
              <a:solidFill>
                <a:srgbClr val="6666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sp>
        <p:nvSpPr>
          <p:cNvPr id="1767" name="Block Arc 1766">
            <a:extLst>
              <a:ext uri="{FF2B5EF4-FFF2-40B4-BE49-F238E27FC236}">
                <a16:creationId xmlns:a16="http://schemas.microsoft.com/office/drawing/2014/main" id="{3D81F7C6-F9AF-411D-936B-4ADD95FD594C}"/>
              </a:ext>
            </a:extLst>
          </p:cNvPr>
          <p:cNvSpPr/>
          <p:nvPr/>
        </p:nvSpPr>
        <p:spPr>
          <a:xfrm>
            <a:off x="11394685" y="184216"/>
            <a:ext cx="592579" cy="586711"/>
          </a:xfrm>
          <a:prstGeom prst="blockArc">
            <a:avLst>
              <a:gd name="adj1" fmla="val 11145799"/>
              <a:gd name="adj2" fmla="val 15854358"/>
              <a:gd name="adj3" fmla="val 773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 name="Slide Number Placeholder 4">
            <a:extLst>
              <a:ext uri="{FF2B5EF4-FFF2-40B4-BE49-F238E27FC236}">
                <a16:creationId xmlns:a16="http://schemas.microsoft.com/office/drawing/2014/main" id="{06C1EED1-908E-715E-01A4-2204BC601B35}"/>
              </a:ext>
            </a:extLst>
          </p:cNvPr>
          <p:cNvSpPr>
            <a:spLocks noGrp="1"/>
          </p:cNvSpPr>
          <p:nvPr>
            <p:ph type="sldNum" sz="quarter" idx="12"/>
          </p:nvPr>
        </p:nvSpPr>
        <p:spPr>
          <a:xfrm>
            <a:off x="5806768" y="6381234"/>
            <a:ext cx="576064" cy="216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72C9EDE-4A13-4E4A-9EAA-A59A97CC9CE2}" type="slidenum">
              <a:rPr kumimoji="0" lang="en-US" sz="900" b="0" i="0" u="none" strike="noStrike" kern="1200" cap="none" spc="0" normalizeH="0" baseline="0" noProof="0" smtClean="0">
                <a:ln>
                  <a:noFill/>
                </a:ln>
                <a:solidFill>
                  <a:srgbClr val="666666"/>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4</a:t>
            </a:fld>
            <a:endParaRPr kumimoji="0" lang="en-US" sz="90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Tree>
    <p:custDataLst>
      <p:tags r:id="rId2"/>
    </p:custDataLst>
    <p:extLst>
      <p:ext uri="{BB962C8B-B14F-4D97-AF65-F5344CB8AC3E}">
        <p14:creationId xmlns:p14="http://schemas.microsoft.com/office/powerpoint/2010/main" val="246680100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7B05A8-0B71-40C0-7B27-038EDA08FCA8}"/>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FCA3128-5B09-47E5-B47D-6F0CB7A5DE9F}" type="slidenum">
              <a:rPr kumimoji="0" lang="en-US" sz="900" b="0" i="0" u="none" strike="noStrike" kern="1200" cap="none" spc="0" normalizeH="0" baseline="0" noProof="0" smtClean="0">
                <a:ln>
                  <a:noFill/>
                </a:ln>
                <a:solidFill>
                  <a:srgbClr val="666666"/>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5</a:t>
            </a:fld>
            <a:endParaRPr kumimoji="0" lang="en-US" sz="900" b="0" i="0" u="none" strike="noStrike" kern="1200" cap="none" spc="0" normalizeH="0" baseline="0" noProof="0">
              <a:ln>
                <a:noFill/>
              </a:ln>
              <a:solidFill>
                <a:srgbClr val="666666"/>
              </a:solidFill>
              <a:effectLst/>
              <a:uLnTx/>
              <a:uFillTx/>
              <a:latin typeface="Arial" panose="020B0604020202020204"/>
              <a:ea typeface="+mn-ea"/>
              <a:cs typeface="+mn-cs"/>
            </a:endParaRPr>
          </a:p>
        </p:txBody>
      </p:sp>
      <p:sp>
        <p:nvSpPr>
          <p:cNvPr id="4" name="Title 1">
            <a:extLst>
              <a:ext uri="{FF2B5EF4-FFF2-40B4-BE49-F238E27FC236}">
                <a16:creationId xmlns:a16="http://schemas.microsoft.com/office/drawing/2014/main" id="{FB30710D-9B5E-EEC6-1BA1-49C91735E7D6}"/>
              </a:ext>
            </a:extLst>
          </p:cNvPr>
          <p:cNvSpPr>
            <a:spLocks noGrp="1"/>
          </p:cNvSpPr>
          <p:nvPr>
            <p:ph type="title"/>
          </p:nvPr>
        </p:nvSpPr>
        <p:spPr>
          <a:xfrm>
            <a:off x="739788" y="520700"/>
            <a:ext cx="11017224" cy="934900"/>
          </a:xfrm>
        </p:spPr>
        <p:txBody>
          <a:bodyPr vert="horz"/>
          <a:lstStyle/>
          <a:p>
            <a:r>
              <a:rPr lang="en-US" dirty="0"/>
              <a:t>European Post-Trade Landscape</a:t>
            </a:r>
            <a:br>
              <a:rPr lang="en-US" dirty="0"/>
            </a:br>
            <a:r>
              <a:rPr lang="en-US" sz="2000" dirty="0">
                <a:solidFill>
                  <a:schemeClr val="tx2"/>
                </a:solidFill>
              </a:rPr>
              <a:t>Generic Clearstream model and value proposition for Europe</a:t>
            </a:r>
          </a:p>
        </p:txBody>
      </p:sp>
      <p:sp>
        <p:nvSpPr>
          <p:cNvPr id="5" name="Rechteck 19">
            <a:extLst>
              <a:ext uri="{FF2B5EF4-FFF2-40B4-BE49-F238E27FC236}">
                <a16:creationId xmlns:a16="http://schemas.microsoft.com/office/drawing/2014/main" id="{3182FAD1-31FA-CBE7-E0DE-96293D7ED859}"/>
              </a:ext>
            </a:extLst>
          </p:cNvPr>
          <p:cNvSpPr/>
          <p:nvPr>
            <p:custDataLst>
              <p:tags r:id="rId1"/>
            </p:custDataLst>
          </p:nvPr>
        </p:nvSpPr>
        <p:spPr bwMode="auto">
          <a:xfrm>
            <a:off x="9690359" y="1689018"/>
            <a:ext cx="2467825" cy="3798617"/>
          </a:xfrm>
          <a:prstGeom prst="rect">
            <a:avLst/>
          </a:prstGeom>
          <a:noFill/>
          <a:ln>
            <a:noFill/>
          </a:ln>
          <a:effectLst/>
        </p:spPr>
        <p:txBody>
          <a:bodyPr vert="horz" wrap="square" lIns="36000" tIns="108000" rIns="36000" bIns="45720" numCol="1" rtlCol="0" anchor="t" anchorCtr="0" compatLnSpc="1">
            <a:prstTxWarp prst="textNoShape">
              <a:avLst/>
            </a:prstTxWarp>
          </a:bodyPr>
          <a:lstStyle>
            <a:lvl1pPr marL="216000" indent="-216000" algn="l" defTabSz="914400" rtl="0" eaLnBrk="1" latinLnBrk="0" hangingPunct="1">
              <a:buClrTx/>
              <a:buFont typeface="Arial" panose="020B0604020202020204" pitchFamily="34" charset="0"/>
              <a:buChar char="–"/>
            </a:lvl1pPr>
            <a:lvl2pPr marL="216000" indent="-216000" algn="l" defTabSz="914400" rtl="0" eaLnBrk="1" latinLnBrk="0" hangingPunct="1">
              <a:buClrTx/>
              <a:buFont typeface="Arial" panose="020B0604020202020204" pitchFamily="34" charset="0"/>
              <a:buChar char="–"/>
            </a:lvl2pPr>
            <a:lvl3pPr marL="432000" indent="-216000" algn="l" defTabSz="914400" rtl="0" eaLnBrk="1" latinLnBrk="0" hangingPunct="1">
              <a:buClrTx/>
              <a:buFont typeface="Arial" panose="020B0604020202020204" pitchFamily="34" charset="0"/>
              <a:buChar char="–"/>
            </a:lvl3pPr>
            <a:lvl4pPr marL="648000" indent="-216000" algn="l" defTabSz="914400" rtl="0" eaLnBrk="1" latinLnBrk="0" hangingPunct="1">
              <a:buClrTx/>
              <a:buFont typeface="Arial" panose="020B0604020202020204" pitchFamily="34" charset="0"/>
              <a:buChar char="–"/>
            </a:lvl4pPr>
            <a:lvl5pPr marL="864000" indent="-216000" algn="l" defTabSz="914400" rtl="0" eaLnBrk="1" latinLnBrk="0" hangingPunct="1">
              <a:buClrTx/>
              <a:buFont typeface="Arial" panose="020B0604020202020204" pitchFamily="34" charset="0"/>
              <a:buChar char="–"/>
            </a:lvl5pPr>
            <a:lvl6pPr marL="864000" indent="-216000" algn="l" defTabSz="914400" rtl="0" eaLnBrk="1" latinLnBrk="0" hangingPunct="1">
              <a:buClrTx/>
              <a:buFont typeface="Arial" panose="020B0604020202020204" pitchFamily="34" charset="0"/>
              <a:buChar char="–"/>
            </a:lvl6pPr>
            <a:lvl7pPr marL="864000" indent="-216000" algn="l" defTabSz="914400" rtl="0" eaLnBrk="1" latinLnBrk="0" hangingPunct="1">
              <a:buClrTx/>
              <a:buFont typeface="Arial" panose="020B0604020202020204" pitchFamily="34" charset="0"/>
              <a:buChar char="–"/>
            </a:lvl7pPr>
            <a:lvl8pPr marL="864000" indent="-216000" algn="l" defTabSz="914400" rtl="0" eaLnBrk="1" latinLnBrk="0" hangingPunct="1">
              <a:buClrTx/>
              <a:buFont typeface="Arial" panose="020B0604020202020204" pitchFamily="34" charset="0"/>
              <a:buChar char="–"/>
            </a:lvl8pPr>
            <a:lvl9pPr marL="864000" indent="-216000" algn="l" defTabSz="914400" rtl="0" eaLnBrk="1" latinLnBrk="0" hangingPunct="1">
              <a:buClrTx/>
              <a:buFont typeface="Arial" panose="020B0604020202020204" pitchFamily="34" charset="0"/>
              <a:buChar char="–"/>
            </a:lvl9pPr>
          </a:lstStyle>
          <a:p>
            <a:pPr marL="215900" marR="0" lvl="0" indent="-21590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Single partner with low</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infrastructure risk profile</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 - connecting to T2S in </a:t>
            </a:r>
            <a:r>
              <a:rPr kumimoji="0" lang="en-US" sz="1200" b="0" i="0" u="none" strike="noStrike" kern="1200" cap="none" spc="0" normalizeH="0" baseline="0" noProof="0" dirty="0" err="1">
                <a:ln>
                  <a:noFill/>
                </a:ln>
                <a:solidFill>
                  <a:srgbClr val="FFFFFF"/>
                </a:solidFill>
                <a:effectLst/>
                <a:uLnTx/>
                <a:uFillTx/>
                <a:latin typeface="Arial" panose="020B0604020202020204"/>
                <a:ea typeface="+mn-ea"/>
                <a:cs typeface="+mn-cs"/>
              </a:rPr>
              <a:t>CeBM</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 as well as </a:t>
            </a:r>
            <a:r>
              <a:rPr kumimoji="0" lang="en-US" sz="1200" b="0" i="0" u="none" strike="noStrike" kern="1200" cap="none" spc="0" normalizeH="0" baseline="0" noProof="0" dirty="0" err="1">
                <a:ln>
                  <a:noFill/>
                </a:ln>
                <a:solidFill>
                  <a:srgbClr val="FFFFFF"/>
                </a:solidFill>
                <a:effectLst/>
                <a:uLnTx/>
                <a:uFillTx/>
                <a:latin typeface="Arial" panose="020B0604020202020204"/>
                <a:ea typeface="+mn-ea"/>
                <a:cs typeface="+mn-cs"/>
              </a:rPr>
              <a:t>CoBM</a:t>
            </a: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a:endParaRPr>
          </a:p>
          <a:p>
            <a:pPr marL="215900" marR="0" lvl="0" indent="-21590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Leveraging</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securities consolidation effects</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 and </a:t>
            </a: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efficiencies </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across fixed income and equities</a:t>
            </a:r>
          </a:p>
          <a:p>
            <a:pPr marL="215900" marR="0" lvl="0" indent="-21590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Delivering significant </a:t>
            </a: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liquidity and funding efficiency</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 benefits</a:t>
            </a: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Arial"/>
            </a:endParaRPr>
          </a:p>
          <a:p>
            <a:pPr marL="215900" marR="0" lvl="0" indent="-21590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Increased client flexibility thanks to </a:t>
            </a: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agnostic product &amp; service </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approach</a:t>
            </a: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a:endParaRPr>
          </a:p>
          <a:p>
            <a:pPr marL="215900" marR="0" lvl="0" indent="-21590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Overall </a:t>
            </a: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cost</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reduction</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 thanks to </a:t>
            </a: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process</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harmonization and operations efficiencies</a:t>
            </a:r>
          </a:p>
          <a:p>
            <a:pPr marL="215900" marR="0" lvl="0" indent="-21590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lt"/>
                <a:cs typeface="Arial" panose="020B0604020202020204"/>
              </a:rPr>
              <a:t>Future-proofing securities settlement and custody process with </a:t>
            </a:r>
            <a:r>
              <a:rPr kumimoji="0" lang="en-US" sz="1200" b="1" i="0" u="none" strike="noStrike" kern="1200" cap="none" spc="0" normalizeH="0" baseline="0" noProof="0" dirty="0">
                <a:ln>
                  <a:noFill/>
                </a:ln>
                <a:solidFill>
                  <a:srgbClr val="FFFFFF"/>
                </a:solidFill>
                <a:effectLst/>
                <a:uLnTx/>
                <a:uFillTx/>
                <a:latin typeface="Arial" panose="020B0604020202020204"/>
                <a:ea typeface="+mn-lt"/>
                <a:cs typeface="Arial" panose="020B0604020202020204"/>
              </a:rPr>
              <a:t>regulatory compliance</a:t>
            </a:r>
            <a:endParaRPr kumimoji="0" lang="en-US" sz="1200" b="1" i="0" u="none" strike="noStrike" kern="1200" cap="none" spc="0" normalizeH="0" baseline="0" noProof="0" dirty="0">
              <a:ln>
                <a:noFill/>
              </a:ln>
              <a:solidFill>
                <a:srgbClr val="FFFFFF"/>
              </a:solidFill>
              <a:effectLst/>
              <a:uLnTx/>
              <a:uFillTx/>
              <a:latin typeface="Arial" panose="020B0604020202020204"/>
              <a:ea typeface="+mn-ea"/>
              <a:cs typeface="Arial"/>
            </a:endParaRPr>
          </a:p>
        </p:txBody>
      </p:sp>
      <p:sp>
        <p:nvSpPr>
          <p:cNvPr id="6" name="Rectangle: Rounded Corners 5">
            <a:extLst>
              <a:ext uri="{FF2B5EF4-FFF2-40B4-BE49-F238E27FC236}">
                <a16:creationId xmlns:a16="http://schemas.microsoft.com/office/drawing/2014/main" id="{633DFC40-39DE-A1D1-2E1E-AF2501DFFA30}"/>
              </a:ext>
            </a:extLst>
          </p:cNvPr>
          <p:cNvSpPr/>
          <p:nvPr/>
        </p:nvSpPr>
        <p:spPr>
          <a:xfrm>
            <a:off x="5205813" y="3645193"/>
            <a:ext cx="3342941" cy="1684756"/>
          </a:xfrm>
          <a:prstGeom prst="roundRect">
            <a:avLst>
              <a:gd name="adj" fmla="val 0"/>
            </a:avLst>
          </a:prstGeom>
          <a:noFill/>
          <a:ln w="19050">
            <a:solidFill>
              <a:schemeClr val="accent1"/>
            </a:solidFill>
            <a:prstDash val="solid"/>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48B29B6E-E9DA-4DC3-C286-08B2D7C2C629}"/>
              </a:ext>
            </a:extLst>
          </p:cNvPr>
          <p:cNvSpPr txBox="1"/>
          <p:nvPr/>
        </p:nvSpPr>
        <p:spPr>
          <a:xfrm>
            <a:off x="959197" y="3883964"/>
            <a:ext cx="619619" cy="712530"/>
          </a:xfrm>
          <a:prstGeom prst="rect">
            <a:avLst/>
          </a:prstGeom>
          <a:solidFill>
            <a:srgbClr val="F2F2F2"/>
          </a:solidFill>
          <a:ln w="3175">
            <a:noFill/>
          </a:ln>
        </p:spPr>
        <p:txBody>
          <a:bodyPr wrap="square" tIns="7200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666666"/>
                </a:solidFill>
                <a:effectLst/>
                <a:uLnTx/>
                <a:uFillTx/>
                <a:latin typeface="Arial" panose="020B0604020202020204" pitchFamily="34" charset="0"/>
                <a:ea typeface="+mn-ea"/>
                <a:cs typeface="Arial" panose="020B0604020202020204" pitchFamily="34" charset="0"/>
              </a:rPr>
              <a:t>Agent A</a:t>
            </a:r>
          </a:p>
        </p:txBody>
      </p:sp>
      <p:sp>
        <p:nvSpPr>
          <p:cNvPr id="8" name="TextBox 7">
            <a:extLst>
              <a:ext uri="{FF2B5EF4-FFF2-40B4-BE49-F238E27FC236}">
                <a16:creationId xmlns:a16="http://schemas.microsoft.com/office/drawing/2014/main" id="{EA097B5D-1612-81D4-967C-070A353C7756}"/>
              </a:ext>
            </a:extLst>
          </p:cNvPr>
          <p:cNvSpPr txBox="1"/>
          <p:nvPr/>
        </p:nvSpPr>
        <p:spPr>
          <a:xfrm>
            <a:off x="1021020" y="4146658"/>
            <a:ext cx="494907" cy="151278"/>
          </a:xfrm>
          <a:prstGeom prst="rect">
            <a:avLst/>
          </a:prstGeom>
          <a:solidFill>
            <a:schemeClr val="bg1"/>
          </a:solidFill>
        </p:spPr>
        <p:txBody>
          <a:bodyPr wrap="square" tIns="0" bIns="0" rtlCol="0" anchor="ctr">
            <a:noAutofit/>
          </a:bodyPr>
          <a:lstStyle>
            <a:defPPr>
              <a:defRPr lang="en-US"/>
            </a:defPPr>
            <a:lvl1pPr algn="ctr">
              <a:defRPr sz="700" b="1">
                <a:solidFill>
                  <a:schemeClr val="tx1">
                    <a:lumMod val="65000"/>
                    <a:lumOff val="35000"/>
                  </a:schemeClr>
                </a:solidFill>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666666"/>
                </a:solidFill>
                <a:effectLst/>
                <a:uLnTx/>
                <a:uFillTx/>
                <a:latin typeface="Arial" panose="020B0604020202020204"/>
                <a:ea typeface="+mn-ea"/>
                <a:cs typeface="Arial" panose="020B0604020202020204" pitchFamily="34" charset="0"/>
              </a:rPr>
              <a:t>Safekeep accounts</a:t>
            </a:r>
          </a:p>
        </p:txBody>
      </p:sp>
      <p:pic>
        <p:nvPicPr>
          <p:cNvPr id="9" name="Picture 8">
            <a:extLst>
              <a:ext uri="{FF2B5EF4-FFF2-40B4-BE49-F238E27FC236}">
                <a16:creationId xmlns:a16="http://schemas.microsoft.com/office/drawing/2014/main" id="{C38E0058-F75F-CFD8-52B0-843362A6F12B}"/>
              </a:ext>
            </a:extLst>
          </p:cNvPr>
          <p:cNvPicPr>
            <a:picLocks noChangeAspect="1"/>
          </p:cNvPicPr>
          <p:nvPr/>
        </p:nvPicPr>
        <p:blipFill>
          <a:blip r:embed="rId6"/>
          <a:stretch>
            <a:fillRect/>
          </a:stretch>
        </p:blipFill>
        <p:spPr>
          <a:xfrm>
            <a:off x="2845051" y="5640986"/>
            <a:ext cx="159709" cy="142648"/>
          </a:xfrm>
          <a:prstGeom prst="rect">
            <a:avLst/>
          </a:prstGeom>
        </p:spPr>
      </p:pic>
      <p:pic>
        <p:nvPicPr>
          <p:cNvPr id="10" name="Picture 9">
            <a:extLst>
              <a:ext uri="{FF2B5EF4-FFF2-40B4-BE49-F238E27FC236}">
                <a16:creationId xmlns:a16="http://schemas.microsoft.com/office/drawing/2014/main" id="{B8ED04F7-A691-65EA-AB1A-13BF10737D66}"/>
              </a:ext>
            </a:extLst>
          </p:cNvPr>
          <p:cNvPicPr>
            <a:picLocks noChangeAspect="1"/>
          </p:cNvPicPr>
          <p:nvPr/>
        </p:nvPicPr>
        <p:blipFill>
          <a:blip r:embed="rId7"/>
          <a:stretch>
            <a:fillRect/>
          </a:stretch>
        </p:blipFill>
        <p:spPr>
          <a:xfrm>
            <a:off x="3400213" y="5648196"/>
            <a:ext cx="326360" cy="245261"/>
          </a:xfrm>
          <a:prstGeom prst="rect">
            <a:avLst/>
          </a:prstGeom>
        </p:spPr>
      </p:pic>
      <p:pic>
        <p:nvPicPr>
          <p:cNvPr id="11" name="Picture 10">
            <a:extLst>
              <a:ext uri="{FF2B5EF4-FFF2-40B4-BE49-F238E27FC236}">
                <a16:creationId xmlns:a16="http://schemas.microsoft.com/office/drawing/2014/main" id="{4F064BDA-2EB7-2E94-CC8B-BE2E7D20F049}"/>
              </a:ext>
            </a:extLst>
          </p:cNvPr>
          <p:cNvPicPr>
            <a:picLocks noChangeAspect="1"/>
          </p:cNvPicPr>
          <p:nvPr/>
        </p:nvPicPr>
        <p:blipFill>
          <a:blip r:embed="rId8"/>
          <a:stretch>
            <a:fillRect/>
          </a:stretch>
        </p:blipFill>
        <p:spPr>
          <a:xfrm>
            <a:off x="1878081" y="5664968"/>
            <a:ext cx="356121" cy="216969"/>
          </a:xfrm>
          <a:prstGeom prst="rect">
            <a:avLst/>
          </a:prstGeom>
        </p:spPr>
      </p:pic>
      <p:pic>
        <p:nvPicPr>
          <p:cNvPr id="12" name="Picture 11">
            <a:extLst>
              <a:ext uri="{FF2B5EF4-FFF2-40B4-BE49-F238E27FC236}">
                <a16:creationId xmlns:a16="http://schemas.microsoft.com/office/drawing/2014/main" id="{FF13608C-834B-C09D-D3A9-C1541401B89A}"/>
              </a:ext>
            </a:extLst>
          </p:cNvPr>
          <p:cNvPicPr>
            <a:picLocks noChangeAspect="1"/>
          </p:cNvPicPr>
          <p:nvPr/>
        </p:nvPicPr>
        <p:blipFill>
          <a:blip r:embed="rId9"/>
          <a:stretch>
            <a:fillRect/>
          </a:stretch>
        </p:blipFill>
        <p:spPr>
          <a:xfrm>
            <a:off x="4182362" y="5634073"/>
            <a:ext cx="329128" cy="293970"/>
          </a:xfrm>
          <a:prstGeom prst="rect">
            <a:avLst/>
          </a:prstGeom>
        </p:spPr>
      </p:pic>
      <p:pic>
        <p:nvPicPr>
          <p:cNvPr id="13" name="Picture 12">
            <a:extLst>
              <a:ext uri="{FF2B5EF4-FFF2-40B4-BE49-F238E27FC236}">
                <a16:creationId xmlns:a16="http://schemas.microsoft.com/office/drawing/2014/main" id="{04E88F78-DC78-8397-3129-9D2FFAFE8BBC}"/>
              </a:ext>
            </a:extLst>
          </p:cNvPr>
          <p:cNvPicPr>
            <a:picLocks noChangeAspect="1"/>
          </p:cNvPicPr>
          <p:nvPr/>
        </p:nvPicPr>
        <p:blipFill>
          <a:blip r:embed="rId10"/>
          <a:stretch>
            <a:fillRect/>
          </a:stretch>
        </p:blipFill>
        <p:spPr>
          <a:xfrm>
            <a:off x="1043275" y="5727861"/>
            <a:ext cx="445401" cy="115714"/>
          </a:xfrm>
          <a:prstGeom prst="rect">
            <a:avLst/>
          </a:prstGeom>
        </p:spPr>
      </p:pic>
      <p:sp>
        <p:nvSpPr>
          <p:cNvPr id="14" name="Rectangle 13">
            <a:extLst>
              <a:ext uri="{FF2B5EF4-FFF2-40B4-BE49-F238E27FC236}">
                <a16:creationId xmlns:a16="http://schemas.microsoft.com/office/drawing/2014/main" id="{489D1E77-0C80-5CE7-8768-0E71795B61DD}"/>
              </a:ext>
            </a:extLst>
          </p:cNvPr>
          <p:cNvSpPr/>
          <p:nvPr/>
        </p:nvSpPr>
        <p:spPr>
          <a:xfrm>
            <a:off x="781469" y="1893651"/>
            <a:ext cx="3960074" cy="24894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raditional custody models</a:t>
            </a:r>
          </a:p>
        </p:txBody>
      </p:sp>
      <p:sp>
        <p:nvSpPr>
          <p:cNvPr id="15" name="Rectangle 14">
            <a:extLst>
              <a:ext uri="{FF2B5EF4-FFF2-40B4-BE49-F238E27FC236}">
                <a16:creationId xmlns:a16="http://schemas.microsoft.com/office/drawing/2014/main" id="{10B886C8-77CD-0760-A67F-6B44F0C435AA}"/>
              </a:ext>
            </a:extLst>
          </p:cNvPr>
          <p:cNvSpPr/>
          <p:nvPr/>
        </p:nvSpPr>
        <p:spPr>
          <a:xfrm>
            <a:off x="4940089" y="1892609"/>
            <a:ext cx="3960072" cy="250035"/>
          </a:xfrm>
          <a:prstGeom prst="rect">
            <a:avLst/>
          </a:prstGeom>
          <a:solidFill>
            <a:srgbClr val="00A5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err="1">
                <a:ln>
                  <a:noFill/>
                </a:ln>
                <a:solidFill>
                  <a:srgbClr val="FFFFFF"/>
                </a:solidFill>
                <a:effectLst/>
                <a:uLnTx/>
                <a:uFillTx/>
                <a:latin typeface="Arial" panose="020B0604020202020204"/>
                <a:ea typeface="+mn-ea"/>
                <a:cs typeface="+mn-cs"/>
              </a:rPr>
              <a:t>Clearstream’s</a:t>
            </a:r>
            <a:r>
              <a:rPr kumimoji="0" lang="en-US" sz="1200" b="1" i="0" u="none" strike="noStrike" kern="1200" cap="none" spc="0" normalizeH="0" baseline="0" noProof="0">
                <a:ln>
                  <a:noFill/>
                </a:ln>
                <a:solidFill>
                  <a:srgbClr val="FFFFFF"/>
                </a:solidFill>
                <a:effectLst/>
                <a:uLnTx/>
                <a:uFillTx/>
                <a:latin typeface="Arial" panose="020B0604020202020204"/>
                <a:ea typeface="+mn-ea"/>
                <a:cs typeface="+mn-cs"/>
              </a:rPr>
              <a:t> Custody Model</a:t>
            </a:r>
            <a:endParaRPr kumimoji="0" lang="en-US"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6" name="TextBox 15">
            <a:extLst>
              <a:ext uri="{FF2B5EF4-FFF2-40B4-BE49-F238E27FC236}">
                <a16:creationId xmlns:a16="http://schemas.microsoft.com/office/drawing/2014/main" id="{CBE868BE-5C6B-66A8-D757-5EE3F0738F6C}"/>
              </a:ext>
            </a:extLst>
          </p:cNvPr>
          <p:cNvSpPr txBox="1"/>
          <p:nvPr/>
        </p:nvSpPr>
        <p:spPr>
          <a:xfrm>
            <a:off x="3246955" y="3887238"/>
            <a:ext cx="603826" cy="712530"/>
          </a:xfrm>
          <a:prstGeom prst="rect">
            <a:avLst/>
          </a:prstGeom>
          <a:solidFill>
            <a:srgbClr val="F2F2F2"/>
          </a:solidFill>
          <a:ln w="3175">
            <a:noFill/>
          </a:ln>
        </p:spPr>
        <p:txBody>
          <a:bodyPr wrap="square" tIns="7200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666666"/>
                </a:solidFill>
                <a:effectLst/>
                <a:uLnTx/>
                <a:uFillTx/>
                <a:latin typeface="Arial" panose="020B0604020202020204" pitchFamily="34" charset="0"/>
                <a:ea typeface="+mn-ea"/>
                <a:cs typeface="Arial" panose="020B0604020202020204" pitchFamily="34" charset="0"/>
              </a:rPr>
              <a:t>Agent D</a:t>
            </a:r>
          </a:p>
        </p:txBody>
      </p:sp>
      <p:sp>
        <p:nvSpPr>
          <p:cNvPr id="17" name="TextBox 16">
            <a:extLst>
              <a:ext uri="{FF2B5EF4-FFF2-40B4-BE49-F238E27FC236}">
                <a16:creationId xmlns:a16="http://schemas.microsoft.com/office/drawing/2014/main" id="{398CC589-FAC6-BF73-0127-3D439FC60F6B}"/>
              </a:ext>
            </a:extLst>
          </p:cNvPr>
          <p:cNvSpPr txBox="1"/>
          <p:nvPr/>
        </p:nvSpPr>
        <p:spPr>
          <a:xfrm>
            <a:off x="1729316" y="3889525"/>
            <a:ext cx="603826" cy="712530"/>
          </a:xfrm>
          <a:prstGeom prst="rect">
            <a:avLst/>
          </a:prstGeom>
          <a:solidFill>
            <a:srgbClr val="F2F2F2"/>
          </a:solidFill>
          <a:ln w="3175">
            <a:noFill/>
          </a:ln>
        </p:spPr>
        <p:txBody>
          <a:bodyPr wrap="square" tIns="7200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666666"/>
                </a:solidFill>
                <a:effectLst/>
                <a:uLnTx/>
                <a:uFillTx/>
                <a:latin typeface="Arial" panose="020B0604020202020204" pitchFamily="34" charset="0"/>
                <a:ea typeface="+mn-ea"/>
                <a:cs typeface="Arial" panose="020B0604020202020204" pitchFamily="34" charset="0"/>
              </a:rPr>
              <a:t>Agent B</a:t>
            </a:r>
          </a:p>
        </p:txBody>
      </p:sp>
      <p:sp>
        <p:nvSpPr>
          <p:cNvPr id="18" name="TextBox 17">
            <a:extLst>
              <a:ext uri="{FF2B5EF4-FFF2-40B4-BE49-F238E27FC236}">
                <a16:creationId xmlns:a16="http://schemas.microsoft.com/office/drawing/2014/main" id="{A144BA15-E071-D7AB-FCC0-0498700F00CA}"/>
              </a:ext>
            </a:extLst>
          </p:cNvPr>
          <p:cNvSpPr txBox="1"/>
          <p:nvPr/>
        </p:nvSpPr>
        <p:spPr>
          <a:xfrm>
            <a:off x="4041670" y="3883966"/>
            <a:ext cx="603826" cy="712530"/>
          </a:xfrm>
          <a:prstGeom prst="rect">
            <a:avLst/>
          </a:prstGeom>
          <a:solidFill>
            <a:srgbClr val="F2F2F2"/>
          </a:solidFill>
          <a:ln w="3175">
            <a:noFill/>
          </a:ln>
        </p:spPr>
        <p:txBody>
          <a:bodyPr wrap="square" tIns="7200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666666"/>
                </a:solidFill>
                <a:effectLst/>
                <a:uLnTx/>
                <a:uFillTx/>
                <a:latin typeface="Arial" panose="020B0604020202020204" pitchFamily="34" charset="0"/>
                <a:ea typeface="+mn-ea"/>
                <a:cs typeface="Arial" panose="020B0604020202020204" pitchFamily="34" charset="0"/>
              </a:rPr>
              <a:t>Agent E</a:t>
            </a:r>
          </a:p>
        </p:txBody>
      </p:sp>
      <p:sp>
        <p:nvSpPr>
          <p:cNvPr id="19" name="TextBox 18">
            <a:extLst>
              <a:ext uri="{FF2B5EF4-FFF2-40B4-BE49-F238E27FC236}">
                <a16:creationId xmlns:a16="http://schemas.microsoft.com/office/drawing/2014/main" id="{96CC574E-298B-7D51-9220-96D12FC0276F}"/>
              </a:ext>
            </a:extLst>
          </p:cNvPr>
          <p:cNvSpPr txBox="1"/>
          <p:nvPr/>
        </p:nvSpPr>
        <p:spPr>
          <a:xfrm>
            <a:off x="2511749" y="3887237"/>
            <a:ext cx="603826" cy="712530"/>
          </a:xfrm>
          <a:prstGeom prst="rect">
            <a:avLst/>
          </a:prstGeom>
          <a:solidFill>
            <a:srgbClr val="F2F2F2"/>
          </a:solidFill>
          <a:ln w="3175">
            <a:noFill/>
          </a:ln>
        </p:spPr>
        <p:txBody>
          <a:bodyPr wrap="none" tIns="7200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666666"/>
                </a:solidFill>
                <a:effectLst/>
                <a:uLnTx/>
                <a:uFillTx/>
                <a:latin typeface="Arial" panose="020B0604020202020204" pitchFamily="34" charset="0"/>
                <a:ea typeface="+mn-ea"/>
                <a:cs typeface="Arial" panose="020B0604020202020204" pitchFamily="34" charset="0"/>
              </a:rPr>
              <a:t>Agent C</a:t>
            </a:r>
          </a:p>
        </p:txBody>
      </p:sp>
      <p:sp>
        <p:nvSpPr>
          <p:cNvPr id="20" name="TextBox 19">
            <a:extLst>
              <a:ext uri="{FF2B5EF4-FFF2-40B4-BE49-F238E27FC236}">
                <a16:creationId xmlns:a16="http://schemas.microsoft.com/office/drawing/2014/main" id="{8429896D-D281-2E0F-0E46-0B8CFCA0D09B}"/>
              </a:ext>
            </a:extLst>
          </p:cNvPr>
          <p:cNvSpPr txBox="1"/>
          <p:nvPr/>
        </p:nvSpPr>
        <p:spPr>
          <a:xfrm>
            <a:off x="1019200" y="4385788"/>
            <a:ext cx="493416" cy="151278"/>
          </a:xfrm>
          <a:prstGeom prst="rect">
            <a:avLst/>
          </a:prstGeom>
          <a:solidFill>
            <a:schemeClr val="bg1"/>
          </a:solidFill>
        </p:spPr>
        <p:txBody>
          <a:bodyPr wrap="square" tIns="0" bIns="0" rtlCol="0" anchor="ctr">
            <a:noAutofit/>
          </a:bodyPr>
          <a:lstStyle>
            <a:defPPr>
              <a:defRPr lang="en-US"/>
            </a:defPPr>
            <a:lvl1pPr algn="ctr">
              <a:defRPr sz="700" b="1">
                <a:solidFill>
                  <a:schemeClr val="tx1">
                    <a:lumMod val="65000"/>
                    <a:lumOff val="35000"/>
                  </a:schemeClr>
                </a:solidFill>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666666"/>
                </a:solidFill>
                <a:effectLst/>
                <a:uLnTx/>
                <a:uFillTx/>
                <a:latin typeface="Arial" panose="020B0604020202020204"/>
                <a:ea typeface="+mn-ea"/>
                <a:cs typeface="Arial" panose="020B0604020202020204" pitchFamily="34" charset="0"/>
              </a:rPr>
              <a:t>Cash accounts</a:t>
            </a:r>
          </a:p>
        </p:txBody>
      </p:sp>
      <p:pic>
        <p:nvPicPr>
          <p:cNvPr id="21" name="Picture 4" descr="Logo der Belgischen Nationalbank">
            <a:extLst>
              <a:ext uri="{FF2B5EF4-FFF2-40B4-BE49-F238E27FC236}">
                <a16:creationId xmlns:a16="http://schemas.microsoft.com/office/drawing/2014/main" id="{18C7519C-45A5-D7FB-DE45-716EC86D8F7B}"/>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603769" y="5682708"/>
            <a:ext cx="230091" cy="7430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 descr="De Nederlandsche Bank - Wikipedia">
            <a:extLst>
              <a:ext uri="{FF2B5EF4-FFF2-40B4-BE49-F238E27FC236}">
                <a16:creationId xmlns:a16="http://schemas.microsoft.com/office/drawing/2014/main" id="{674696CD-4079-B8A3-E107-C37188A8FCA5}"/>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679007" y="5813506"/>
            <a:ext cx="236343" cy="68430"/>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EE47FE79-E435-F995-7E23-8E7D4A9959CA}"/>
              </a:ext>
            </a:extLst>
          </p:cNvPr>
          <p:cNvSpPr txBox="1"/>
          <p:nvPr/>
        </p:nvSpPr>
        <p:spPr>
          <a:xfrm rot="16200000">
            <a:off x="532329" y="3258544"/>
            <a:ext cx="558969" cy="147357"/>
          </a:xfrm>
          <a:prstGeom prst="rect">
            <a:avLst/>
          </a:prstGeom>
          <a:noFill/>
        </p:spPr>
        <p:txBody>
          <a:bodyPr wrap="square" t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A5C0"/>
                </a:solidFill>
                <a:effectLst/>
                <a:uLnTx/>
                <a:uFillTx/>
                <a:latin typeface="Arial" panose="020B0604020202020204"/>
                <a:ea typeface="+mn-ea"/>
                <a:cs typeface="Arial" panose="020B0604020202020204" pitchFamily="34" charset="0"/>
              </a:rPr>
              <a:t>Market</a:t>
            </a:r>
          </a:p>
        </p:txBody>
      </p:sp>
      <p:sp>
        <p:nvSpPr>
          <p:cNvPr id="24" name="TextBox 23">
            <a:extLst>
              <a:ext uri="{FF2B5EF4-FFF2-40B4-BE49-F238E27FC236}">
                <a16:creationId xmlns:a16="http://schemas.microsoft.com/office/drawing/2014/main" id="{22288AD4-E5D1-BE3E-A3B0-4C7CF1666E8E}"/>
              </a:ext>
            </a:extLst>
          </p:cNvPr>
          <p:cNvSpPr txBox="1"/>
          <p:nvPr/>
        </p:nvSpPr>
        <p:spPr>
          <a:xfrm rot="16200000">
            <a:off x="533057" y="4160435"/>
            <a:ext cx="535106" cy="122541"/>
          </a:xfrm>
          <a:prstGeom prst="rect">
            <a:avLst/>
          </a:prstGeom>
          <a:noFill/>
        </p:spPr>
        <p:txBody>
          <a:bodyPr wrap="square" t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A5C0"/>
                </a:solidFill>
                <a:effectLst/>
                <a:uLnTx/>
                <a:uFillTx/>
                <a:latin typeface="Arial" panose="020B0604020202020204"/>
                <a:ea typeface="+mn-ea"/>
                <a:cs typeface="Arial" panose="020B0604020202020204" pitchFamily="34" charset="0"/>
              </a:rPr>
              <a:t>Agent</a:t>
            </a:r>
          </a:p>
        </p:txBody>
      </p:sp>
      <p:sp>
        <p:nvSpPr>
          <p:cNvPr id="25" name="TextBox 24">
            <a:extLst>
              <a:ext uri="{FF2B5EF4-FFF2-40B4-BE49-F238E27FC236}">
                <a16:creationId xmlns:a16="http://schemas.microsoft.com/office/drawing/2014/main" id="{334D5F75-8CD5-0886-884F-D6755E7AF96D}"/>
              </a:ext>
            </a:extLst>
          </p:cNvPr>
          <p:cNvSpPr txBox="1"/>
          <p:nvPr/>
        </p:nvSpPr>
        <p:spPr>
          <a:xfrm rot="16200000">
            <a:off x="574231" y="4924347"/>
            <a:ext cx="498059" cy="147357"/>
          </a:xfrm>
          <a:prstGeom prst="rect">
            <a:avLst/>
          </a:prstGeom>
          <a:noFill/>
        </p:spPr>
        <p:txBody>
          <a:bodyPr wrap="square" t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A5C0"/>
                </a:solidFill>
                <a:effectLst/>
                <a:uLnTx/>
                <a:uFillTx/>
                <a:latin typeface="Arial" panose="020B0604020202020204"/>
                <a:ea typeface="+mn-ea"/>
                <a:cs typeface="Arial" panose="020B0604020202020204" pitchFamily="34" charset="0"/>
              </a:rPr>
              <a:t>CSD</a:t>
            </a:r>
          </a:p>
        </p:txBody>
      </p:sp>
      <p:sp>
        <p:nvSpPr>
          <p:cNvPr id="26" name="TextBox 25">
            <a:extLst>
              <a:ext uri="{FF2B5EF4-FFF2-40B4-BE49-F238E27FC236}">
                <a16:creationId xmlns:a16="http://schemas.microsoft.com/office/drawing/2014/main" id="{5E7BDCF4-00D2-B083-66DC-0BD8ED6CF653}"/>
              </a:ext>
            </a:extLst>
          </p:cNvPr>
          <p:cNvSpPr txBox="1"/>
          <p:nvPr/>
        </p:nvSpPr>
        <p:spPr>
          <a:xfrm rot="16200000">
            <a:off x="569491" y="5682143"/>
            <a:ext cx="498059" cy="147357"/>
          </a:xfrm>
          <a:prstGeom prst="rect">
            <a:avLst/>
          </a:prstGeom>
          <a:noFill/>
        </p:spPr>
        <p:txBody>
          <a:bodyPr wrap="square" t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A5C0"/>
                </a:solidFill>
                <a:effectLst/>
                <a:uLnTx/>
                <a:uFillTx/>
                <a:latin typeface="Arial" panose="020B0604020202020204"/>
                <a:ea typeface="+mn-ea"/>
                <a:cs typeface="Arial" panose="020B0604020202020204" pitchFamily="34" charset="0"/>
              </a:rPr>
              <a:t>NCB</a:t>
            </a:r>
          </a:p>
        </p:txBody>
      </p:sp>
      <p:sp>
        <p:nvSpPr>
          <p:cNvPr id="27" name="TextBox 26">
            <a:extLst>
              <a:ext uri="{FF2B5EF4-FFF2-40B4-BE49-F238E27FC236}">
                <a16:creationId xmlns:a16="http://schemas.microsoft.com/office/drawing/2014/main" id="{97231361-3545-C45F-7550-57DE3912079A}"/>
              </a:ext>
            </a:extLst>
          </p:cNvPr>
          <p:cNvSpPr txBox="1"/>
          <p:nvPr/>
        </p:nvSpPr>
        <p:spPr>
          <a:xfrm>
            <a:off x="5276621" y="3885487"/>
            <a:ext cx="3163415" cy="245360"/>
          </a:xfrm>
          <a:prstGeom prst="rect">
            <a:avLst/>
          </a:prstGeom>
          <a:solidFill>
            <a:schemeClr val="bg1">
              <a:lumMod val="95000"/>
            </a:schemeClr>
          </a:solidFill>
        </p:spPr>
        <p:txBody>
          <a:bodyPr wrap="square" tIns="0" bIns="0" rtlCol="0" anchor="ctr">
            <a:noAutofit/>
          </a:bodyPr>
          <a:lstStyle>
            <a:defPPr>
              <a:defRPr lang="en-US"/>
            </a:defPPr>
            <a:lvl1pPr algn="ctr">
              <a:defRPr sz="700" b="1">
                <a:solidFill>
                  <a:schemeClr val="tx1">
                    <a:lumMod val="65000"/>
                    <a:lumOff val="35000"/>
                  </a:schemeClr>
                </a:solidFill>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666666"/>
                </a:solidFill>
                <a:effectLst/>
                <a:uLnTx/>
                <a:uFillTx/>
                <a:latin typeface="Arial" panose="020B0604020202020204" pitchFamily="34" charset="0"/>
                <a:ea typeface="+mn-ea"/>
                <a:cs typeface="Arial" panose="020B0604020202020204" pitchFamily="34" charset="0"/>
              </a:rPr>
              <a:t>Consolidated Safekeep accounts across all markets &amp;</a:t>
            </a:r>
            <a:br>
              <a:rPr kumimoji="0" lang="en-US" sz="800" b="1" i="0" u="none" strike="noStrike" kern="1200" cap="none" spc="0" normalizeH="0" baseline="0" noProof="0">
                <a:ln>
                  <a:noFill/>
                </a:ln>
                <a:solidFill>
                  <a:srgbClr val="666666"/>
                </a:solidFill>
                <a:effectLst/>
                <a:uLnTx/>
                <a:uFillTx/>
                <a:latin typeface="Arial" panose="020B0604020202020204" pitchFamily="34" charset="0"/>
                <a:ea typeface="+mn-ea"/>
                <a:cs typeface="Arial" panose="020B0604020202020204" pitchFamily="34" charset="0"/>
              </a:rPr>
            </a:br>
            <a:r>
              <a:rPr kumimoji="0" lang="en-US" sz="800" b="1" i="0" u="none" strike="noStrike" kern="1200" cap="none" spc="0" normalizeH="0" baseline="0" noProof="0">
                <a:ln>
                  <a:noFill/>
                </a:ln>
                <a:solidFill>
                  <a:srgbClr val="666666"/>
                </a:solidFill>
                <a:effectLst/>
                <a:uLnTx/>
                <a:uFillTx/>
                <a:latin typeface="Arial" panose="020B0604020202020204" pitchFamily="34" charset="0"/>
                <a:ea typeface="+mn-ea"/>
                <a:cs typeface="Arial" panose="020B0604020202020204" pitchFamily="34" charset="0"/>
              </a:rPr>
              <a:t>single collateral pool</a:t>
            </a:r>
          </a:p>
        </p:txBody>
      </p:sp>
      <p:sp>
        <p:nvSpPr>
          <p:cNvPr id="28" name="TextBox 27">
            <a:extLst>
              <a:ext uri="{FF2B5EF4-FFF2-40B4-BE49-F238E27FC236}">
                <a16:creationId xmlns:a16="http://schemas.microsoft.com/office/drawing/2014/main" id="{F268A58F-BB14-CAAE-2411-CCE1E448DD4D}"/>
              </a:ext>
            </a:extLst>
          </p:cNvPr>
          <p:cNvSpPr txBox="1"/>
          <p:nvPr/>
        </p:nvSpPr>
        <p:spPr>
          <a:xfrm>
            <a:off x="5276621" y="4180317"/>
            <a:ext cx="3163415" cy="245360"/>
          </a:xfrm>
          <a:prstGeom prst="rect">
            <a:avLst/>
          </a:prstGeom>
          <a:solidFill>
            <a:schemeClr val="bg1">
              <a:lumMod val="95000"/>
            </a:schemeClr>
          </a:solidFill>
        </p:spPr>
        <p:txBody>
          <a:bodyPr wrap="square" tIns="0" bIns="0" rtlCol="0" anchor="ctr">
            <a:noAutofit/>
          </a:bodyPr>
          <a:lstStyle>
            <a:defPPr>
              <a:defRPr lang="en-US"/>
            </a:defPPr>
            <a:lvl1pPr algn="ctr">
              <a:defRPr sz="700" b="1">
                <a:solidFill>
                  <a:schemeClr val="tx1">
                    <a:lumMod val="65000"/>
                    <a:lumOff val="35000"/>
                  </a:schemeClr>
                </a:solidFill>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666666"/>
                </a:solidFill>
                <a:effectLst/>
                <a:uLnTx/>
                <a:uFillTx/>
                <a:latin typeface="Arial" panose="020B0604020202020204" pitchFamily="34" charset="0"/>
                <a:ea typeface="+mn-ea"/>
                <a:cs typeface="Arial" panose="020B0604020202020204" pitchFamily="34" charset="0"/>
              </a:rPr>
              <a:t>Consolidated Dedicated Cash Account (DCA) at NCB</a:t>
            </a:r>
          </a:p>
        </p:txBody>
      </p:sp>
      <p:sp>
        <p:nvSpPr>
          <p:cNvPr id="29" name="TextBox 28">
            <a:extLst>
              <a:ext uri="{FF2B5EF4-FFF2-40B4-BE49-F238E27FC236}">
                <a16:creationId xmlns:a16="http://schemas.microsoft.com/office/drawing/2014/main" id="{928DE919-457A-BD57-03BD-372C29A4D210}"/>
              </a:ext>
            </a:extLst>
          </p:cNvPr>
          <p:cNvSpPr txBox="1"/>
          <p:nvPr/>
        </p:nvSpPr>
        <p:spPr>
          <a:xfrm rot="16200000">
            <a:off x="4250923" y="4393418"/>
            <a:ext cx="1690748" cy="151822"/>
          </a:xfrm>
          <a:prstGeom prst="rect">
            <a:avLst/>
          </a:prstGeom>
          <a:noFill/>
        </p:spPr>
        <p:txBody>
          <a:bodyPr wrap="square" t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A5C0"/>
                </a:solidFill>
                <a:effectLst/>
                <a:uLnTx/>
                <a:uFillTx/>
                <a:latin typeface="Arial" panose="020B0604020202020204"/>
                <a:ea typeface="+mn-ea"/>
                <a:cs typeface="Arial" panose="020B0604020202020204" pitchFamily="34" charset="0"/>
              </a:rPr>
              <a:t>Markets &amp; Infrastructure</a:t>
            </a:r>
            <a:endParaRPr kumimoji="0" lang="en-US" sz="900" b="1" i="0" u="none" strike="noStrike" kern="1200" cap="none" spc="0" normalizeH="0" baseline="0" noProof="0">
              <a:ln>
                <a:noFill/>
              </a:ln>
              <a:solidFill>
                <a:srgbClr val="00A5C0"/>
              </a:solidFill>
              <a:effectLst/>
              <a:uLnTx/>
              <a:uFillTx/>
              <a:latin typeface="Arial" panose="020B0604020202020204" pitchFamily="34" charset="0"/>
              <a:ea typeface="+mn-ea"/>
              <a:cs typeface="Arial" panose="020B0604020202020204" pitchFamily="34" charset="0"/>
            </a:endParaRPr>
          </a:p>
        </p:txBody>
      </p:sp>
      <p:sp>
        <p:nvSpPr>
          <p:cNvPr id="30" name="TextBox 29">
            <a:extLst>
              <a:ext uri="{FF2B5EF4-FFF2-40B4-BE49-F238E27FC236}">
                <a16:creationId xmlns:a16="http://schemas.microsoft.com/office/drawing/2014/main" id="{AE5CE7B8-2580-6A38-5A90-9926743E7B7C}"/>
              </a:ext>
            </a:extLst>
          </p:cNvPr>
          <p:cNvSpPr txBox="1"/>
          <p:nvPr/>
        </p:nvSpPr>
        <p:spPr>
          <a:xfrm>
            <a:off x="5276621" y="4475146"/>
            <a:ext cx="3163415" cy="245360"/>
          </a:xfrm>
          <a:prstGeom prst="rect">
            <a:avLst/>
          </a:prstGeom>
          <a:solidFill>
            <a:schemeClr val="bg1">
              <a:lumMod val="95000"/>
            </a:schemeClr>
          </a:solidFill>
        </p:spPr>
        <p:txBody>
          <a:bodyPr wrap="square" tIns="0" bIns="0" rtlCol="0" anchor="ctr">
            <a:noAutofit/>
          </a:bodyPr>
          <a:lstStyle>
            <a:defPPr>
              <a:defRPr lang="en-US"/>
            </a:defPPr>
            <a:lvl1pPr algn="ctr">
              <a:defRPr sz="700" b="1">
                <a:solidFill>
                  <a:schemeClr val="tx1">
                    <a:lumMod val="65000"/>
                    <a:lumOff val="35000"/>
                  </a:schemeClr>
                </a:solidFill>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666666"/>
                </a:solidFill>
                <a:effectLst/>
                <a:uLnTx/>
                <a:uFillTx/>
                <a:latin typeface="Arial" panose="020B0604020202020204" pitchFamily="34" charset="0"/>
                <a:ea typeface="+mn-ea"/>
                <a:cs typeface="Arial" panose="020B0604020202020204" pitchFamily="34" charset="0"/>
              </a:rPr>
              <a:t>Asset Servicing Market Partners</a:t>
            </a:r>
          </a:p>
        </p:txBody>
      </p:sp>
      <p:sp>
        <p:nvSpPr>
          <p:cNvPr id="31" name="TextBox 30">
            <a:extLst>
              <a:ext uri="{FF2B5EF4-FFF2-40B4-BE49-F238E27FC236}">
                <a16:creationId xmlns:a16="http://schemas.microsoft.com/office/drawing/2014/main" id="{2ECBA378-B796-5E80-E3FA-4E8054559170}"/>
              </a:ext>
            </a:extLst>
          </p:cNvPr>
          <p:cNvSpPr txBox="1"/>
          <p:nvPr/>
        </p:nvSpPr>
        <p:spPr>
          <a:xfrm>
            <a:off x="1777472" y="4146658"/>
            <a:ext cx="494907" cy="151278"/>
          </a:xfrm>
          <a:prstGeom prst="rect">
            <a:avLst/>
          </a:prstGeom>
          <a:solidFill>
            <a:schemeClr val="bg1"/>
          </a:solidFill>
        </p:spPr>
        <p:txBody>
          <a:bodyPr wrap="square" tIns="0" bIns="0" rtlCol="0" anchor="ctr">
            <a:noAutofit/>
          </a:bodyPr>
          <a:lstStyle>
            <a:defPPr>
              <a:defRPr lang="en-US"/>
            </a:defPPr>
            <a:lvl1pPr algn="ctr">
              <a:defRPr sz="700" b="1">
                <a:solidFill>
                  <a:schemeClr val="tx1">
                    <a:lumMod val="65000"/>
                    <a:lumOff val="35000"/>
                  </a:schemeClr>
                </a:solidFill>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666666"/>
                </a:solidFill>
                <a:effectLst/>
                <a:uLnTx/>
                <a:uFillTx/>
                <a:latin typeface="Arial" panose="020B0604020202020204"/>
                <a:ea typeface="+mn-ea"/>
                <a:cs typeface="Arial" panose="020B0604020202020204" pitchFamily="34" charset="0"/>
              </a:rPr>
              <a:t>Safekeep accounts</a:t>
            </a:r>
          </a:p>
        </p:txBody>
      </p:sp>
      <p:sp>
        <p:nvSpPr>
          <p:cNvPr id="32" name="TextBox 31">
            <a:extLst>
              <a:ext uri="{FF2B5EF4-FFF2-40B4-BE49-F238E27FC236}">
                <a16:creationId xmlns:a16="http://schemas.microsoft.com/office/drawing/2014/main" id="{81A779CC-79E4-5832-7611-441DD0E0A00F}"/>
              </a:ext>
            </a:extLst>
          </p:cNvPr>
          <p:cNvSpPr txBox="1"/>
          <p:nvPr/>
        </p:nvSpPr>
        <p:spPr>
          <a:xfrm>
            <a:off x="1775652" y="4385788"/>
            <a:ext cx="493416" cy="151278"/>
          </a:xfrm>
          <a:prstGeom prst="rect">
            <a:avLst/>
          </a:prstGeom>
          <a:solidFill>
            <a:schemeClr val="bg1"/>
          </a:solidFill>
        </p:spPr>
        <p:txBody>
          <a:bodyPr wrap="square" tIns="0" bIns="0" rtlCol="0" anchor="ctr">
            <a:noAutofit/>
          </a:bodyPr>
          <a:lstStyle>
            <a:defPPr>
              <a:defRPr lang="en-US"/>
            </a:defPPr>
            <a:lvl1pPr algn="ctr">
              <a:defRPr sz="700" b="1">
                <a:solidFill>
                  <a:schemeClr val="tx1">
                    <a:lumMod val="65000"/>
                    <a:lumOff val="35000"/>
                  </a:schemeClr>
                </a:solidFill>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666666"/>
                </a:solidFill>
                <a:effectLst/>
                <a:uLnTx/>
                <a:uFillTx/>
                <a:latin typeface="Arial" panose="020B0604020202020204"/>
                <a:ea typeface="+mn-ea"/>
                <a:cs typeface="Arial" panose="020B0604020202020204" pitchFamily="34" charset="0"/>
              </a:rPr>
              <a:t>Cash accounts</a:t>
            </a:r>
          </a:p>
        </p:txBody>
      </p:sp>
      <p:sp>
        <p:nvSpPr>
          <p:cNvPr id="33" name="TextBox 32">
            <a:extLst>
              <a:ext uri="{FF2B5EF4-FFF2-40B4-BE49-F238E27FC236}">
                <a16:creationId xmlns:a16="http://schemas.microsoft.com/office/drawing/2014/main" id="{8E7F035F-9891-8649-CDF2-078F72EF7A3C}"/>
              </a:ext>
            </a:extLst>
          </p:cNvPr>
          <p:cNvSpPr txBox="1"/>
          <p:nvPr/>
        </p:nvSpPr>
        <p:spPr>
          <a:xfrm>
            <a:off x="2559474" y="4146658"/>
            <a:ext cx="494907" cy="151278"/>
          </a:xfrm>
          <a:prstGeom prst="rect">
            <a:avLst/>
          </a:prstGeom>
          <a:solidFill>
            <a:schemeClr val="bg1"/>
          </a:solidFill>
        </p:spPr>
        <p:txBody>
          <a:bodyPr wrap="square" tIns="0" bIns="0" rtlCol="0" anchor="ctr">
            <a:noAutofit/>
          </a:bodyPr>
          <a:lstStyle>
            <a:defPPr>
              <a:defRPr lang="en-US"/>
            </a:defPPr>
            <a:lvl1pPr algn="ctr">
              <a:defRPr sz="700" b="1">
                <a:solidFill>
                  <a:schemeClr val="tx1">
                    <a:lumMod val="65000"/>
                    <a:lumOff val="35000"/>
                  </a:schemeClr>
                </a:solidFill>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666666"/>
                </a:solidFill>
                <a:effectLst/>
                <a:uLnTx/>
                <a:uFillTx/>
                <a:latin typeface="Arial" panose="020B0604020202020204"/>
                <a:ea typeface="+mn-ea"/>
                <a:cs typeface="Arial" panose="020B0604020202020204" pitchFamily="34" charset="0"/>
              </a:rPr>
              <a:t>Safekeep accounts</a:t>
            </a:r>
          </a:p>
        </p:txBody>
      </p:sp>
      <p:sp>
        <p:nvSpPr>
          <p:cNvPr id="34" name="TextBox 33">
            <a:extLst>
              <a:ext uri="{FF2B5EF4-FFF2-40B4-BE49-F238E27FC236}">
                <a16:creationId xmlns:a16="http://schemas.microsoft.com/office/drawing/2014/main" id="{A3856A29-DA47-D3EE-AE2F-CB1B6CACE777}"/>
              </a:ext>
            </a:extLst>
          </p:cNvPr>
          <p:cNvSpPr txBox="1"/>
          <p:nvPr/>
        </p:nvSpPr>
        <p:spPr>
          <a:xfrm>
            <a:off x="2557654" y="4385788"/>
            <a:ext cx="493416" cy="151278"/>
          </a:xfrm>
          <a:prstGeom prst="rect">
            <a:avLst/>
          </a:prstGeom>
          <a:solidFill>
            <a:schemeClr val="bg1"/>
          </a:solidFill>
        </p:spPr>
        <p:txBody>
          <a:bodyPr wrap="square" tIns="0" bIns="0" rtlCol="0" anchor="ctr">
            <a:noAutofit/>
          </a:bodyPr>
          <a:lstStyle>
            <a:defPPr>
              <a:defRPr lang="en-US"/>
            </a:defPPr>
            <a:lvl1pPr algn="ctr">
              <a:defRPr sz="700" b="1">
                <a:solidFill>
                  <a:schemeClr val="tx1">
                    <a:lumMod val="65000"/>
                    <a:lumOff val="35000"/>
                  </a:schemeClr>
                </a:solidFill>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666666"/>
                </a:solidFill>
                <a:effectLst/>
                <a:uLnTx/>
                <a:uFillTx/>
                <a:latin typeface="Arial" panose="020B0604020202020204"/>
                <a:ea typeface="+mn-ea"/>
                <a:cs typeface="Arial" panose="020B0604020202020204" pitchFamily="34" charset="0"/>
              </a:rPr>
              <a:t>Cash accounts</a:t>
            </a:r>
          </a:p>
        </p:txBody>
      </p:sp>
      <p:sp>
        <p:nvSpPr>
          <p:cNvPr id="35" name="TextBox 34">
            <a:extLst>
              <a:ext uri="{FF2B5EF4-FFF2-40B4-BE49-F238E27FC236}">
                <a16:creationId xmlns:a16="http://schemas.microsoft.com/office/drawing/2014/main" id="{CB051394-BDB7-CF75-C373-D615412E0007}"/>
              </a:ext>
            </a:extLst>
          </p:cNvPr>
          <p:cNvSpPr txBox="1"/>
          <p:nvPr/>
        </p:nvSpPr>
        <p:spPr>
          <a:xfrm>
            <a:off x="3300430" y="4146658"/>
            <a:ext cx="494907" cy="151278"/>
          </a:xfrm>
          <a:prstGeom prst="rect">
            <a:avLst/>
          </a:prstGeom>
          <a:solidFill>
            <a:schemeClr val="bg1"/>
          </a:solidFill>
        </p:spPr>
        <p:txBody>
          <a:bodyPr wrap="square" tIns="0" bIns="0" rtlCol="0" anchor="ctr">
            <a:noAutofit/>
          </a:bodyPr>
          <a:lstStyle>
            <a:defPPr>
              <a:defRPr lang="en-US"/>
            </a:defPPr>
            <a:lvl1pPr algn="ctr">
              <a:defRPr sz="700" b="1">
                <a:solidFill>
                  <a:schemeClr val="tx1">
                    <a:lumMod val="65000"/>
                    <a:lumOff val="35000"/>
                  </a:schemeClr>
                </a:solidFill>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666666"/>
                </a:solidFill>
                <a:effectLst/>
                <a:uLnTx/>
                <a:uFillTx/>
                <a:latin typeface="Arial" panose="020B0604020202020204"/>
                <a:ea typeface="+mn-ea"/>
                <a:cs typeface="Arial" panose="020B0604020202020204" pitchFamily="34" charset="0"/>
              </a:rPr>
              <a:t>Safekeep accounts</a:t>
            </a:r>
          </a:p>
        </p:txBody>
      </p:sp>
      <p:sp>
        <p:nvSpPr>
          <p:cNvPr id="36" name="TextBox 35">
            <a:extLst>
              <a:ext uri="{FF2B5EF4-FFF2-40B4-BE49-F238E27FC236}">
                <a16:creationId xmlns:a16="http://schemas.microsoft.com/office/drawing/2014/main" id="{7B0D7FC4-3B2F-7750-5990-CA780A250B5F}"/>
              </a:ext>
            </a:extLst>
          </p:cNvPr>
          <p:cNvSpPr txBox="1"/>
          <p:nvPr/>
        </p:nvSpPr>
        <p:spPr>
          <a:xfrm>
            <a:off x="3298610" y="4385788"/>
            <a:ext cx="493416" cy="151278"/>
          </a:xfrm>
          <a:prstGeom prst="rect">
            <a:avLst/>
          </a:prstGeom>
          <a:solidFill>
            <a:schemeClr val="bg1"/>
          </a:solidFill>
        </p:spPr>
        <p:txBody>
          <a:bodyPr wrap="square" tIns="0" bIns="0" rtlCol="0" anchor="ctr">
            <a:noAutofit/>
          </a:bodyPr>
          <a:lstStyle>
            <a:defPPr>
              <a:defRPr lang="en-US"/>
            </a:defPPr>
            <a:lvl1pPr algn="ctr">
              <a:defRPr sz="700" b="1">
                <a:solidFill>
                  <a:schemeClr val="tx1">
                    <a:lumMod val="65000"/>
                    <a:lumOff val="35000"/>
                  </a:schemeClr>
                </a:solidFill>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666666"/>
                </a:solidFill>
                <a:effectLst/>
                <a:uLnTx/>
                <a:uFillTx/>
                <a:latin typeface="Arial" panose="020B0604020202020204"/>
                <a:ea typeface="+mn-ea"/>
                <a:cs typeface="Arial" panose="020B0604020202020204" pitchFamily="34" charset="0"/>
              </a:rPr>
              <a:t>Cash accounts</a:t>
            </a:r>
          </a:p>
        </p:txBody>
      </p:sp>
      <p:sp>
        <p:nvSpPr>
          <p:cNvPr id="37" name="TextBox 36">
            <a:extLst>
              <a:ext uri="{FF2B5EF4-FFF2-40B4-BE49-F238E27FC236}">
                <a16:creationId xmlns:a16="http://schemas.microsoft.com/office/drawing/2014/main" id="{4D20DC90-C576-892D-9A23-410C29528B71}"/>
              </a:ext>
            </a:extLst>
          </p:cNvPr>
          <p:cNvSpPr txBox="1"/>
          <p:nvPr/>
        </p:nvSpPr>
        <p:spPr>
          <a:xfrm>
            <a:off x="4094066" y="4146658"/>
            <a:ext cx="494907" cy="151278"/>
          </a:xfrm>
          <a:prstGeom prst="rect">
            <a:avLst/>
          </a:prstGeom>
          <a:solidFill>
            <a:schemeClr val="bg1"/>
          </a:solidFill>
        </p:spPr>
        <p:txBody>
          <a:bodyPr wrap="square" tIns="0" bIns="0" rtlCol="0" anchor="ctr">
            <a:noAutofit/>
          </a:bodyPr>
          <a:lstStyle>
            <a:defPPr>
              <a:defRPr lang="en-US"/>
            </a:defPPr>
            <a:lvl1pPr algn="ctr">
              <a:defRPr sz="700" b="1">
                <a:solidFill>
                  <a:schemeClr val="tx1">
                    <a:lumMod val="65000"/>
                    <a:lumOff val="35000"/>
                  </a:schemeClr>
                </a:solidFill>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666666"/>
                </a:solidFill>
                <a:effectLst/>
                <a:uLnTx/>
                <a:uFillTx/>
                <a:latin typeface="Arial" panose="020B0604020202020204"/>
                <a:ea typeface="+mn-ea"/>
                <a:cs typeface="Arial" panose="020B0604020202020204" pitchFamily="34" charset="0"/>
              </a:rPr>
              <a:t>Safekeep accounts</a:t>
            </a:r>
          </a:p>
        </p:txBody>
      </p:sp>
      <p:sp>
        <p:nvSpPr>
          <p:cNvPr id="38" name="TextBox 37">
            <a:extLst>
              <a:ext uri="{FF2B5EF4-FFF2-40B4-BE49-F238E27FC236}">
                <a16:creationId xmlns:a16="http://schemas.microsoft.com/office/drawing/2014/main" id="{A4BC38F6-A455-E80D-04DC-8077DCBD635A}"/>
              </a:ext>
            </a:extLst>
          </p:cNvPr>
          <p:cNvSpPr txBox="1"/>
          <p:nvPr/>
        </p:nvSpPr>
        <p:spPr>
          <a:xfrm>
            <a:off x="4092246" y="4385788"/>
            <a:ext cx="493416" cy="151278"/>
          </a:xfrm>
          <a:prstGeom prst="rect">
            <a:avLst/>
          </a:prstGeom>
          <a:solidFill>
            <a:schemeClr val="bg1"/>
          </a:solidFill>
        </p:spPr>
        <p:txBody>
          <a:bodyPr wrap="square" tIns="0" bIns="0" rtlCol="0" anchor="ctr">
            <a:noAutofit/>
          </a:bodyPr>
          <a:lstStyle>
            <a:defPPr>
              <a:defRPr lang="en-US"/>
            </a:defPPr>
            <a:lvl1pPr algn="ctr">
              <a:defRPr sz="700" b="1">
                <a:solidFill>
                  <a:schemeClr val="tx1">
                    <a:lumMod val="65000"/>
                    <a:lumOff val="35000"/>
                  </a:schemeClr>
                </a:solidFill>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666666"/>
                </a:solidFill>
                <a:effectLst/>
                <a:uLnTx/>
                <a:uFillTx/>
                <a:latin typeface="Arial" panose="020B0604020202020204"/>
                <a:ea typeface="+mn-ea"/>
                <a:cs typeface="Arial" panose="020B0604020202020204" pitchFamily="34" charset="0"/>
              </a:rPr>
              <a:t>Cash accounts</a:t>
            </a:r>
          </a:p>
        </p:txBody>
      </p:sp>
      <p:sp>
        <p:nvSpPr>
          <p:cNvPr id="39" name="Oval 38">
            <a:extLst>
              <a:ext uri="{FF2B5EF4-FFF2-40B4-BE49-F238E27FC236}">
                <a16:creationId xmlns:a16="http://schemas.microsoft.com/office/drawing/2014/main" id="{5A5B0AD9-3B90-1253-8B74-A27F8AFFE6B7}"/>
              </a:ext>
            </a:extLst>
          </p:cNvPr>
          <p:cNvSpPr/>
          <p:nvPr/>
        </p:nvSpPr>
        <p:spPr>
          <a:xfrm>
            <a:off x="2738454" y="2488129"/>
            <a:ext cx="129507" cy="154130"/>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40" name="Picture 4" descr="Oesterreichische Kontrollbank – Wikipedia">
            <a:extLst>
              <a:ext uri="{FF2B5EF4-FFF2-40B4-BE49-F238E27FC236}">
                <a16:creationId xmlns:a16="http://schemas.microsoft.com/office/drawing/2014/main" id="{69FB3C05-CBE3-38B9-E262-831C3716484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382661" y="4859596"/>
            <a:ext cx="393442" cy="149836"/>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6">
            <a:extLst>
              <a:ext uri="{FF2B5EF4-FFF2-40B4-BE49-F238E27FC236}">
                <a16:creationId xmlns:a16="http://schemas.microsoft.com/office/drawing/2014/main" id="{A2A7217A-D820-B964-F1A4-6927EB4562D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p:blipFill>
        <p:spPr bwMode="auto">
          <a:xfrm>
            <a:off x="5967090" y="4905737"/>
            <a:ext cx="549181" cy="98068"/>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8" descr="Euroclear – Wikipedia">
            <a:extLst>
              <a:ext uri="{FF2B5EF4-FFF2-40B4-BE49-F238E27FC236}">
                <a16:creationId xmlns:a16="http://schemas.microsoft.com/office/drawing/2014/main" id="{E3A6B819-72C5-EE8A-A8F0-A07B3BB00930}"/>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755236" y="4808506"/>
            <a:ext cx="289934" cy="258998"/>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a:extLst>
              <a:ext uri="{FF2B5EF4-FFF2-40B4-BE49-F238E27FC236}">
                <a16:creationId xmlns:a16="http://schemas.microsoft.com/office/drawing/2014/main" id="{347FD8C4-A3E7-976A-9A6B-FA4F3B4B2714}"/>
              </a:ext>
            </a:extLst>
          </p:cNvPr>
          <p:cNvPicPr>
            <a:picLocks noChangeAspect="1"/>
          </p:cNvPicPr>
          <p:nvPr/>
        </p:nvPicPr>
        <p:blipFill>
          <a:blip r:embed="rId16">
            <a:extLst>
              <a:ext uri="{28A0092B-C50C-407E-A947-70E740481C1C}">
                <a14:useLocalDpi xmlns:a14="http://schemas.microsoft.com/office/drawing/2010/main" val="0"/>
              </a:ext>
            </a:extLst>
          </a:blip>
          <a:srcRect/>
          <a:stretch/>
        </p:blipFill>
        <p:spPr>
          <a:xfrm>
            <a:off x="7266403" y="4841601"/>
            <a:ext cx="648139" cy="235250"/>
          </a:xfrm>
          <a:prstGeom prst="rect">
            <a:avLst/>
          </a:prstGeom>
        </p:spPr>
      </p:pic>
      <p:pic>
        <p:nvPicPr>
          <p:cNvPr id="44" name="Picture 10" descr="Iberclear">
            <a:extLst>
              <a:ext uri="{FF2B5EF4-FFF2-40B4-BE49-F238E27FC236}">
                <a16:creationId xmlns:a16="http://schemas.microsoft.com/office/drawing/2014/main" id="{3B67B956-DB4F-F333-2AD5-2D90CF03BA81}"/>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3194" r="98204">
                        <a14:foregroundMark x1="3393" y1="53000" x2="3393" y2="53000"/>
                        <a14:foregroundMark x1="4790" y1="10000" x2="4790" y2="10000"/>
                        <a14:foregroundMark x1="11377" y1="24000" x2="11377" y2="24000"/>
                        <a14:foregroundMark x1="24152" y1="50000" x2="23553" y2="77000"/>
                        <a14:foregroundMark x1="36527" y1="57000" x2="35329" y2="86000"/>
                        <a14:foregroundMark x1="46307" y1="57000" x2="47505" y2="89000"/>
                        <a14:foregroundMark x1="60479" y1="32000" x2="59481" y2="69000"/>
                        <a14:foregroundMark x1="65070" y1="62000" x2="66068" y2="89000"/>
                        <a14:foregroundMark x1="77844" y1="63000" x2="78244" y2="88000"/>
                        <a14:foregroundMark x1="86228" y1="53000" x2="87026" y2="83000"/>
                        <a14:foregroundMark x1="92016" y1="55000" x2="91218" y2="83000"/>
                        <a14:foregroundMark x1="95808" y1="48000" x2="98204" y2="40000"/>
                        <a14:foregroundMark x1="17565" y1="35000" x2="17964" y2="58000"/>
                        <a14:foregroundMark x1="30539" y1="33000" x2="31936" y2="50000"/>
                        <a14:foregroundMark x1="25948" y1="53000" x2="30539" y2="51000"/>
                      </a14:backgroundRemoval>
                    </a14:imgEffect>
                  </a14:imgLayer>
                </a14:imgProps>
              </a:ext>
              <a:ext uri="{28A0092B-C50C-407E-A947-70E740481C1C}">
                <a14:useLocalDpi xmlns:a14="http://schemas.microsoft.com/office/drawing/2010/main" val="0"/>
              </a:ext>
            </a:extLst>
          </a:blip>
          <a:srcRect/>
          <a:stretch>
            <a:fillRect/>
          </a:stretch>
        </p:blipFill>
        <p:spPr bwMode="auto">
          <a:xfrm>
            <a:off x="8015975" y="4894352"/>
            <a:ext cx="449015" cy="89625"/>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a:extLst>
              <a:ext uri="{FF2B5EF4-FFF2-40B4-BE49-F238E27FC236}">
                <a16:creationId xmlns:a16="http://schemas.microsoft.com/office/drawing/2014/main" id="{66390E2C-7354-CF7F-AFE0-2C5C66EEDDC4}"/>
              </a:ext>
            </a:extLst>
          </p:cNvPr>
          <p:cNvPicPr>
            <a:picLocks noChangeAspect="1"/>
          </p:cNvPicPr>
          <p:nvPr/>
        </p:nvPicPr>
        <p:blipFill>
          <a:blip r:embed="rId6"/>
          <a:stretch>
            <a:fillRect/>
          </a:stretch>
        </p:blipFill>
        <p:spPr>
          <a:xfrm>
            <a:off x="6964098" y="5640986"/>
            <a:ext cx="159709" cy="142648"/>
          </a:xfrm>
          <a:prstGeom prst="rect">
            <a:avLst/>
          </a:prstGeom>
        </p:spPr>
      </p:pic>
      <p:pic>
        <p:nvPicPr>
          <p:cNvPr id="46" name="Picture 45">
            <a:extLst>
              <a:ext uri="{FF2B5EF4-FFF2-40B4-BE49-F238E27FC236}">
                <a16:creationId xmlns:a16="http://schemas.microsoft.com/office/drawing/2014/main" id="{E1EF1C0D-A220-3866-975D-9BA34629F4C2}"/>
              </a:ext>
            </a:extLst>
          </p:cNvPr>
          <p:cNvPicPr>
            <a:picLocks noChangeAspect="1"/>
          </p:cNvPicPr>
          <p:nvPr/>
        </p:nvPicPr>
        <p:blipFill>
          <a:blip r:embed="rId7"/>
          <a:stretch>
            <a:fillRect/>
          </a:stretch>
        </p:blipFill>
        <p:spPr>
          <a:xfrm>
            <a:off x="7458300" y="5648196"/>
            <a:ext cx="326360" cy="245261"/>
          </a:xfrm>
          <a:prstGeom prst="rect">
            <a:avLst/>
          </a:prstGeom>
        </p:spPr>
      </p:pic>
      <p:pic>
        <p:nvPicPr>
          <p:cNvPr id="47" name="Picture 46">
            <a:extLst>
              <a:ext uri="{FF2B5EF4-FFF2-40B4-BE49-F238E27FC236}">
                <a16:creationId xmlns:a16="http://schemas.microsoft.com/office/drawing/2014/main" id="{9ECE7022-2747-9B77-DBB7-54199AA68055}"/>
              </a:ext>
            </a:extLst>
          </p:cNvPr>
          <p:cNvPicPr>
            <a:picLocks noChangeAspect="1"/>
          </p:cNvPicPr>
          <p:nvPr/>
        </p:nvPicPr>
        <p:blipFill>
          <a:blip r:embed="rId8"/>
          <a:stretch>
            <a:fillRect/>
          </a:stretch>
        </p:blipFill>
        <p:spPr>
          <a:xfrm>
            <a:off x="6080948" y="5664968"/>
            <a:ext cx="356121" cy="216969"/>
          </a:xfrm>
          <a:prstGeom prst="rect">
            <a:avLst/>
          </a:prstGeom>
        </p:spPr>
      </p:pic>
      <p:pic>
        <p:nvPicPr>
          <p:cNvPr id="48" name="Picture 47">
            <a:extLst>
              <a:ext uri="{FF2B5EF4-FFF2-40B4-BE49-F238E27FC236}">
                <a16:creationId xmlns:a16="http://schemas.microsoft.com/office/drawing/2014/main" id="{39566D59-2EC3-2BD2-FACC-0FD0BEF6A6AB}"/>
              </a:ext>
            </a:extLst>
          </p:cNvPr>
          <p:cNvPicPr>
            <a:picLocks noChangeAspect="1"/>
          </p:cNvPicPr>
          <p:nvPr/>
        </p:nvPicPr>
        <p:blipFill>
          <a:blip r:embed="rId9"/>
          <a:stretch>
            <a:fillRect/>
          </a:stretch>
        </p:blipFill>
        <p:spPr>
          <a:xfrm>
            <a:off x="8110909" y="5645949"/>
            <a:ext cx="329128" cy="293970"/>
          </a:xfrm>
          <a:prstGeom prst="rect">
            <a:avLst/>
          </a:prstGeom>
        </p:spPr>
      </p:pic>
      <p:pic>
        <p:nvPicPr>
          <p:cNvPr id="49" name="Picture 48">
            <a:extLst>
              <a:ext uri="{FF2B5EF4-FFF2-40B4-BE49-F238E27FC236}">
                <a16:creationId xmlns:a16="http://schemas.microsoft.com/office/drawing/2014/main" id="{3D1F22B4-CE00-548E-94D0-C62FB00C5D23}"/>
              </a:ext>
            </a:extLst>
          </p:cNvPr>
          <p:cNvPicPr>
            <a:picLocks noChangeAspect="1"/>
          </p:cNvPicPr>
          <p:nvPr/>
        </p:nvPicPr>
        <p:blipFill>
          <a:blip r:embed="rId10"/>
          <a:stretch>
            <a:fillRect/>
          </a:stretch>
        </p:blipFill>
        <p:spPr>
          <a:xfrm>
            <a:off x="5276622" y="5704109"/>
            <a:ext cx="445401" cy="115714"/>
          </a:xfrm>
          <a:prstGeom prst="rect">
            <a:avLst/>
          </a:prstGeom>
        </p:spPr>
      </p:pic>
      <p:pic>
        <p:nvPicPr>
          <p:cNvPr id="50" name="Picture 4" descr="Logo der Belgischen Nationalbank">
            <a:extLst>
              <a:ext uri="{FF2B5EF4-FFF2-40B4-BE49-F238E27FC236}">
                <a16:creationId xmlns:a16="http://schemas.microsoft.com/office/drawing/2014/main" id="{D27C5AE4-57B8-F430-51F8-0F50882F666C}"/>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722816" y="5682708"/>
            <a:ext cx="230091" cy="74301"/>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6" descr="De Nederlandsche Bank - Wikipedia">
            <a:extLst>
              <a:ext uri="{FF2B5EF4-FFF2-40B4-BE49-F238E27FC236}">
                <a16:creationId xmlns:a16="http://schemas.microsoft.com/office/drawing/2014/main" id="{09ED408B-DA1D-86A8-43AC-4ACF7FD327EA}"/>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798054" y="5813506"/>
            <a:ext cx="236343" cy="68430"/>
          </a:xfrm>
          <a:prstGeom prst="rect">
            <a:avLst/>
          </a:prstGeom>
          <a:noFill/>
          <a:extLst>
            <a:ext uri="{909E8E84-426E-40DD-AFC4-6F175D3DCCD1}">
              <a14:hiddenFill xmlns:a14="http://schemas.microsoft.com/office/drawing/2010/main">
                <a:solidFill>
                  <a:srgbClr val="FFFFFF"/>
                </a:solidFill>
              </a14:hiddenFill>
            </a:ext>
          </a:extLst>
        </p:spPr>
      </p:pic>
      <p:sp>
        <p:nvSpPr>
          <p:cNvPr id="52" name="TextBox 51">
            <a:extLst>
              <a:ext uri="{FF2B5EF4-FFF2-40B4-BE49-F238E27FC236}">
                <a16:creationId xmlns:a16="http://schemas.microsoft.com/office/drawing/2014/main" id="{BDB206D3-4915-1E59-37A1-27D775F03433}"/>
              </a:ext>
            </a:extLst>
          </p:cNvPr>
          <p:cNvSpPr txBox="1"/>
          <p:nvPr/>
        </p:nvSpPr>
        <p:spPr>
          <a:xfrm rot="16200000">
            <a:off x="4876800" y="5681663"/>
            <a:ext cx="498475" cy="147357"/>
          </a:xfrm>
          <a:prstGeom prst="rect">
            <a:avLst/>
          </a:prstGeom>
          <a:noFill/>
        </p:spPr>
        <p:txBody>
          <a:bodyPr wrap="square" t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A5C0"/>
                </a:solidFill>
                <a:effectLst/>
                <a:uLnTx/>
                <a:uFillTx/>
                <a:latin typeface="Arial" panose="020B0604020202020204"/>
                <a:ea typeface="+mn-ea"/>
                <a:cs typeface="Arial" panose="020B0604020202020204" pitchFamily="34" charset="0"/>
              </a:rPr>
              <a:t>NCB</a:t>
            </a:r>
            <a:endParaRPr kumimoji="0" lang="en-US" sz="700" b="1" i="0" u="none" strike="noStrike" kern="1200" cap="none" spc="0" normalizeH="0" baseline="0" noProof="0">
              <a:ln>
                <a:noFill/>
              </a:ln>
              <a:solidFill>
                <a:srgbClr val="00A5C0"/>
              </a:solidFill>
              <a:effectLst/>
              <a:uLnTx/>
              <a:uFillTx/>
              <a:latin typeface="Arial" panose="020B0604020202020204" pitchFamily="34" charset="0"/>
              <a:ea typeface="+mn-ea"/>
              <a:cs typeface="Arial" panose="020B0604020202020204" pitchFamily="34" charset="0"/>
            </a:endParaRPr>
          </a:p>
        </p:txBody>
      </p:sp>
      <p:pic>
        <p:nvPicPr>
          <p:cNvPr id="53" name="Picture 13">
            <a:extLst>
              <a:ext uri="{FF2B5EF4-FFF2-40B4-BE49-F238E27FC236}">
                <a16:creationId xmlns:a16="http://schemas.microsoft.com/office/drawing/2014/main" id="{EFCA6CDC-676C-ADAB-1FFE-24805102393C}"/>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99795" y="3246063"/>
            <a:ext cx="326860" cy="217509"/>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5">
            <a:extLst>
              <a:ext uri="{FF2B5EF4-FFF2-40B4-BE49-F238E27FC236}">
                <a16:creationId xmlns:a16="http://schemas.microsoft.com/office/drawing/2014/main" id="{3D749F20-557D-B83B-D52C-BB5E53563952}"/>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853514" y="3246063"/>
            <a:ext cx="326370" cy="217509"/>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17">
            <a:extLst>
              <a:ext uri="{FF2B5EF4-FFF2-40B4-BE49-F238E27FC236}">
                <a16:creationId xmlns:a16="http://schemas.microsoft.com/office/drawing/2014/main" id="{94840640-35A9-FD28-613C-5F10880A269F}"/>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b="25375"/>
          <a:stretch/>
        </p:blipFill>
        <p:spPr bwMode="auto">
          <a:xfrm>
            <a:off x="2440289" y="3155132"/>
            <a:ext cx="326370" cy="211170"/>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9" descr="Flag of France - Wikipedia">
            <a:extLst>
              <a:ext uri="{FF2B5EF4-FFF2-40B4-BE49-F238E27FC236}">
                <a16:creationId xmlns:a16="http://schemas.microsoft.com/office/drawing/2014/main" id="{E9B80CEE-DECB-F443-48B7-77D69AD3FEBF}"/>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2643901" y="3245898"/>
            <a:ext cx="322380" cy="214918"/>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1">
            <a:extLst>
              <a:ext uri="{FF2B5EF4-FFF2-40B4-BE49-F238E27FC236}">
                <a16:creationId xmlns:a16="http://schemas.microsoft.com/office/drawing/2014/main" id="{B8600F4B-816B-09CD-339A-97BA1BA73FC6}"/>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859623" y="3306253"/>
            <a:ext cx="322585" cy="21491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a:extLst>
              <a:ext uri="{FF2B5EF4-FFF2-40B4-BE49-F238E27FC236}">
                <a16:creationId xmlns:a16="http://schemas.microsoft.com/office/drawing/2014/main" id="{E5D614AF-DCE7-38B7-67FD-1E08ACDC1BB6}"/>
              </a:ext>
            </a:extLst>
          </p:cNvPr>
          <p:cNvPicPr>
            <a:picLocks noChangeAspect="1"/>
          </p:cNvPicPr>
          <p:nvPr/>
        </p:nvPicPr>
        <p:blipFill>
          <a:blip r:embed="rId24"/>
          <a:stretch>
            <a:fillRect/>
          </a:stretch>
        </p:blipFill>
        <p:spPr>
          <a:xfrm>
            <a:off x="3405815" y="3245593"/>
            <a:ext cx="315155" cy="210106"/>
          </a:xfrm>
          <a:prstGeom prst="rect">
            <a:avLst/>
          </a:prstGeom>
        </p:spPr>
      </p:pic>
      <p:pic>
        <p:nvPicPr>
          <p:cNvPr id="59" name="Picture 25" descr="Flag of Spain - Wikipedia">
            <a:extLst>
              <a:ext uri="{FF2B5EF4-FFF2-40B4-BE49-F238E27FC236}">
                <a16:creationId xmlns:a16="http://schemas.microsoft.com/office/drawing/2014/main" id="{237C2E90-A0C0-F486-9180-2820242B9152}"/>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175659" y="3245908"/>
            <a:ext cx="322585" cy="215053"/>
          </a:xfrm>
          <a:prstGeom prst="rect">
            <a:avLst/>
          </a:prstGeom>
          <a:noFill/>
          <a:extLst>
            <a:ext uri="{909E8E84-426E-40DD-AFC4-6F175D3DCCD1}">
              <a14:hiddenFill xmlns:a14="http://schemas.microsoft.com/office/drawing/2010/main">
                <a:solidFill>
                  <a:srgbClr val="FFFFFF"/>
                </a:solidFill>
              </a14:hiddenFill>
            </a:ext>
          </a:extLst>
        </p:spPr>
      </p:pic>
      <p:sp>
        <p:nvSpPr>
          <p:cNvPr id="60" name="Rectangle 59">
            <a:extLst>
              <a:ext uri="{FF2B5EF4-FFF2-40B4-BE49-F238E27FC236}">
                <a16:creationId xmlns:a16="http://schemas.microsoft.com/office/drawing/2014/main" id="{29999614-A05C-8073-0742-C103B9A3DCEB}"/>
              </a:ext>
            </a:extLst>
          </p:cNvPr>
          <p:cNvSpPr/>
          <p:nvPr/>
        </p:nvSpPr>
        <p:spPr>
          <a:xfrm>
            <a:off x="2540287" y="3142924"/>
            <a:ext cx="516086" cy="18268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1" name="Emoji-Emotionless-Questionaire">
            <a:extLst>
              <a:ext uri="{FF2B5EF4-FFF2-40B4-BE49-F238E27FC236}">
                <a16:creationId xmlns:a16="http://schemas.microsoft.com/office/drawing/2014/main" id="{B436EEA3-DB62-3CAF-C5A1-E20D91E524B0}"/>
              </a:ext>
            </a:extLst>
          </p:cNvPr>
          <p:cNvSpPr>
            <a:spLocks noChangeAspect="1"/>
          </p:cNvSpPr>
          <p:nvPr>
            <p:custDataLst>
              <p:tags r:id="rId2"/>
            </p:custDataLst>
          </p:nvPr>
        </p:nvSpPr>
        <p:spPr bwMode="gray">
          <a:xfrm>
            <a:off x="2605745" y="2207094"/>
            <a:ext cx="498960" cy="504000"/>
          </a:xfrm>
          <a:custGeom>
            <a:avLst/>
            <a:gdLst>
              <a:gd name="connsiteX0" fmla="*/ 169288 w 416356"/>
              <a:gd name="connsiteY0" fmla="*/ 124025 h 420567"/>
              <a:gd name="connsiteX1" fmla="*/ 42024 w 416356"/>
              <a:gd name="connsiteY1" fmla="*/ 251289 h 420567"/>
              <a:gd name="connsiteX2" fmla="*/ 169288 w 416356"/>
              <a:gd name="connsiteY2" fmla="*/ 378543 h 420567"/>
              <a:gd name="connsiteX3" fmla="*/ 296542 w 416356"/>
              <a:gd name="connsiteY3" fmla="*/ 251289 h 420567"/>
              <a:gd name="connsiteX4" fmla="*/ 169288 w 416356"/>
              <a:gd name="connsiteY4" fmla="*/ 124025 h 420567"/>
              <a:gd name="connsiteX5" fmla="*/ 169288 w 416356"/>
              <a:gd name="connsiteY5" fmla="*/ 124025 h 420567"/>
              <a:gd name="connsiteX6" fmla="*/ 169288 w 416356"/>
              <a:gd name="connsiteY6" fmla="*/ 420567 h 420567"/>
              <a:gd name="connsiteX7" fmla="*/ 0 w 416356"/>
              <a:gd name="connsiteY7" fmla="*/ 251289 h 420567"/>
              <a:gd name="connsiteX8" fmla="*/ 169288 w 416356"/>
              <a:gd name="connsiteY8" fmla="*/ 82001 h 420567"/>
              <a:gd name="connsiteX9" fmla="*/ 338566 w 416356"/>
              <a:gd name="connsiteY9" fmla="*/ 251289 h 420567"/>
              <a:gd name="connsiteX10" fmla="*/ 169288 w 416356"/>
              <a:gd name="connsiteY10" fmla="*/ 420567 h 420567"/>
              <a:gd name="connsiteX11" fmla="*/ 169288 w 416356"/>
              <a:gd name="connsiteY11" fmla="*/ 420567 h 420567"/>
              <a:gd name="connsiteX12" fmla="*/ 134007 w 416356"/>
              <a:gd name="connsiteY12" fmla="*/ 211684 h 420567"/>
              <a:gd name="connsiteX13" fmla="*/ 110052 w 416356"/>
              <a:gd name="connsiteY13" fmla="*/ 235639 h 420567"/>
              <a:gd name="connsiteX14" fmla="*/ 86096 w 416356"/>
              <a:gd name="connsiteY14" fmla="*/ 211684 h 420567"/>
              <a:gd name="connsiteX15" fmla="*/ 110052 w 416356"/>
              <a:gd name="connsiteY15" fmla="*/ 187728 h 420567"/>
              <a:gd name="connsiteX16" fmla="*/ 134007 w 416356"/>
              <a:gd name="connsiteY16" fmla="*/ 211684 h 420567"/>
              <a:gd name="connsiteX17" fmla="*/ 134007 w 416356"/>
              <a:gd name="connsiteY17" fmla="*/ 211684 h 420567"/>
              <a:gd name="connsiteX18" fmla="*/ 249793 w 416356"/>
              <a:gd name="connsiteY18" fmla="*/ 211684 h 420567"/>
              <a:gd name="connsiteX19" fmla="*/ 225838 w 416356"/>
              <a:gd name="connsiteY19" fmla="*/ 235639 h 420567"/>
              <a:gd name="connsiteX20" fmla="*/ 201882 w 416356"/>
              <a:gd name="connsiteY20" fmla="*/ 211684 h 420567"/>
              <a:gd name="connsiteX21" fmla="*/ 225838 w 416356"/>
              <a:gd name="connsiteY21" fmla="*/ 187728 h 420567"/>
              <a:gd name="connsiteX22" fmla="*/ 249793 w 416356"/>
              <a:gd name="connsiteY22" fmla="*/ 211684 h 420567"/>
              <a:gd name="connsiteX23" fmla="*/ 249793 w 416356"/>
              <a:gd name="connsiteY23" fmla="*/ 211684 h 420567"/>
              <a:gd name="connsiteX24" fmla="*/ 249802 w 416356"/>
              <a:gd name="connsiteY24" fmla="*/ 303048 h 420567"/>
              <a:gd name="connsiteX25" fmla="*/ 90059 w 416356"/>
              <a:gd name="connsiteY25" fmla="*/ 303048 h 420567"/>
              <a:gd name="connsiteX26" fmla="*/ 90059 w 416356"/>
              <a:gd name="connsiteY26" fmla="*/ 276035 h 420567"/>
              <a:gd name="connsiteX27" fmla="*/ 249802 w 416356"/>
              <a:gd name="connsiteY27" fmla="*/ 276035 h 420567"/>
              <a:gd name="connsiteX28" fmla="*/ 249802 w 416356"/>
              <a:gd name="connsiteY28" fmla="*/ 303048 h 420567"/>
              <a:gd name="connsiteX29" fmla="*/ 249802 w 416356"/>
              <a:gd name="connsiteY29" fmla="*/ 303048 h 420567"/>
              <a:gd name="connsiteX30" fmla="*/ 361245 w 416356"/>
              <a:gd name="connsiteY30" fmla="*/ 120815 h 420567"/>
              <a:gd name="connsiteX31" fmla="*/ 389611 w 416356"/>
              <a:gd name="connsiteY31" fmla="*/ 120815 h 420567"/>
              <a:gd name="connsiteX32" fmla="*/ 389611 w 416356"/>
              <a:gd name="connsiteY32" fmla="*/ 150200 h 420567"/>
              <a:gd name="connsiteX33" fmla="*/ 361245 w 416356"/>
              <a:gd name="connsiteY33" fmla="*/ 150200 h 420567"/>
              <a:gd name="connsiteX34" fmla="*/ 361245 w 416356"/>
              <a:gd name="connsiteY34" fmla="*/ 120815 h 420567"/>
              <a:gd name="connsiteX35" fmla="*/ 361245 w 416356"/>
              <a:gd name="connsiteY35" fmla="*/ 120815 h 420567"/>
              <a:gd name="connsiteX36" fmla="*/ 363283 w 416356"/>
              <a:gd name="connsiteY36" fmla="*/ 92650 h 420567"/>
              <a:gd name="connsiteX37" fmla="*/ 373694 w 416356"/>
              <a:gd name="connsiteY37" fmla="*/ 60808 h 420567"/>
              <a:gd name="connsiteX38" fmla="*/ 389820 w 416356"/>
              <a:gd name="connsiteY38" fmla="*/ 33461 h 420567"/>
              <a:gd name="connsiteX39" fmla="*/ 377171 w 416356"/>
              <a:gd name="connsiteY39" fmla="*/ 20812 h 420567"/>
              <a:gd name="connsiteX40" fmla="*/ 360026 w 416356"/>
              <a:gd name="connsiteY40" fmla="*/ 39386 h 420567"/>
              <a:gd name="connsiteX41" fmla="*/ 336756 w 416356"/>
              <a:gd name="connsiteY41" fmla="*/ 32242 h 420567"/>
              <a:gd name="connsiteX42" fmla="*/ 377781 w 416356"/>
              <a:gd name="connsiteY42" fmla="*/ 0 h 420567"/>
              <a:gd name="connsiteX43" fmla="*/ 416357 w 416356"/>
              <a:gd name="connsiteY43" fmla="*/ 32042 h 420567"/>
              <a:gd name="connsiteX44" fmla="*/ 396354 w 416356"/>
              <a:gd name="connsiteY44" fmla="*/ 69599 h 420567"/>
              <a:gd name="connsiteX45" fmla="*/ 386972 w 416356"/>
              <a:gd name="connsiteY45" fmla="*/ 95726 h 420567"/>
              <a:gd name="connsiteX46" fmla="*/ 387172 w 416356"/>
              <a:gd name="connsiteY46" fmla="*/ 100422 h 420567"/>
              <a:gd name="connsiteX47" fmla="*/ 363503 w 416356"/>
              <a:gd name="connsiteY47" fmla="*/ 100422 h 420567"/>
              <a:gd name="connsiteX48" fmla="*/ 363283 w 416356"/>
              <a:gd name="connsiteY48" fmla="*/ 92650 h 420567"/>
              <a:gd name="connsiteX49" fmla="*/ 363283 w 416356"/>
              <a:gd name="connsiteY49" fmla="*/ 92650 h 420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16356" h="420567">
                <a:moveTo>
                  <a:pt x="169288" y="124025"/>
                </a:moveTo>
                <a:cubicBezTo>
                  <a:pt x="99117" y="124025"/>
                  <a:pt x="42024" y="181118"/>
                  <a:pt x="42024" y="251289"/>
                </a:cubicBezTo>
                <a:cubicBezTo>
                  <a:pt x="42024" y="321459"/>
                  <a:pt x="99117" y="378543"/>
                  <a:pt x="169288" y="378543"/>
                </a:cubicBezTo>
                <a:cubicBezTo>
                  <a:pt x="239458" y="378543"/>
                  <a:pt x="296542" y="321459"/>
                  <a:pt x="296542" y="251289"/>
                </a:cubicBezTo>
                <a:cubicBezTo>
                  <a:pt x="296542" y="181108"/>
                  <a:pt x="239458" y="124025"/>
                  <a:pt x="169288" y="124025"/>
                </a:cubicBezTo>
                <a:lnTo>
                  <a:pt x="169288" y="124025"/>
                </a:lnTo>
                <a:close/>
                <a:moveTo>
                  <a:pt x="169288" y="420567"/>
                </a:moveTo>
                <a:cubicBezTo>
                  <a:pt x="75943" y="420567"/>
                  <a:pt x="0" y="344624"/>
                  <a:pt x="0" y="251289"/>
                </a:cubicBezTo>
                <a:cubicBezTo>
                  <a:pt x="0" y="157944"/>
                  <a:pt x="75943" y="82001"/>
                  <a:pt x="169288" y="82001"/>
                </a:cubicBezTo>
                <a:cubicBezTo>
                  <a:pt x="262623" y="82001"/>
                  <a:pt x="338566" y="157944"/>
                  <a:pt x="338566" y="251289"/>
                </a:cubicBezTo>
                <a:cubicBezTo>
                  <a:pt x="338566" y="344624"/>
                  <a:pt x="262623" y="420567"/>
                  <a:pt x="169288" y="420567"/>
                </a:cubicBezTo>
                <a:lnTo>
                  <a:pt x="169288" y="420567"/>
                </a:lnTo>
                <a:close/>
                <a:moveTo>
                  <a:pt x="134007" y="211684"/>
                </a:moveTo>
                <a:cubicBezTo>
                  <a:pt x="134007" y="224914"/>
                  <a:pt x="123282" y="235639"/>
                  <a:pt x="110052" y="235639"/>
                </a:cubicBezTo>
                <a:cubicBezTo>
                  <a:pt x="96822" y="235639"/>
                  <a:pt x="86096" y="224914"/>
                  <a:pt x="86096" y="211684"/>
                </a:cubicBezTo>
                <a:cubicBezTo>
                  <a:pt x="86096" y="198454"/>
                  <a:pt x="96822" y="187728"/>
                  <a:pt x="110052" y="187728"/>
                </a:cubicBezTo>
                <a:cubicBezTo>
                  <a:pt x="123282" y="187728"/>
                  <a:pt x="134007" y="198454"/>
                  <a:pt x="134007" y="211684"/>
                </a:cubicBezTo>
                <a:lnTo>
                  <a:pt x="134007" y="211684"/>
                </a:lnTo>
                <a:close/>
                <a:moveTo>
                  <a:pt x="249793" y="211684"/>
                </a:moveTo>
                <a:cubicBezTo>
                  <a:pt x="249793" y="224914"/>
                  <a:pt x="239068" y="235639"/>
                  <a:pt x="225838" y="235639"/>
                </a:cubicBezTo>
                <a:cubicBezTo>
                  <a:pt x="212617" y="235639"/>
                  <a:pt x="201882" y="224914"/>
                  <a:pt x="201882" y="211684"/>
                </a:cubicBezTo>
                <a:cubicBezTo>
                  <a:pt x="201882" y="198454"/>
                  <a:pt x="212617" y="187728"/>
                  <a:pt x="225838" y="187728"/>
                </a:cubicBezTo>
                <a:cubicBezTo>
                  <a:pt x="239068" y="187728"/>
                  <a:pt x="249793" y="198454"/>
                  <a:pt x="249793" y="211684"/>
                </a:cubicBezTo>
                <a:lnTo>
                  <a:pt x="249793" y="211684"/>
                </a:lnTo>
                <a:close/>
                <a:moveTo>
                  <a:pt x="249802" y="303048"/>
                </a:moveTo>
                <a:lnTo>
                  <a:pt x="90059" y="303048"/>
                </a:lnTo>
                <a:lnTo>
                  <a:pt x="90059" y="276035"/>
                </a:lnTo>
                <a:lnTo>
                  <a:pt x="249802" y="276035"/>
                </a:lnTo>
                <a:lnTo>
                  <a:pt x="249802" y="303048"/>
                </a:lnTo>
                <a:lnTo>
                  <a:pt x="249802" y="303048"/>
                </a:lnTo>
                <a:close/>
                <a:moveTo>
                  <a:pt x="361245" y="120815"/>
                </a:moveTo>
                <a:lnTo>
                  <a:pt x="389611" y="120815"/>
                </a:lnTo>
                <a:lnTo>
                  <a:pt x="389611" y="150200"/>
                </a:lnTo>
                <a:lnTo>
                  <a:pt x="361245" y="150200"/>
                </a:lnTo>
                <a:lnTo>
                  <a:pt x="361245" y="120815"/>
                </a:lnTo>
                <a:lnTo>
                  <a:pt x="361245" y="120815"/>
                </a:lnTo>
                <a:close/>
                <a:moveTo>
                  <a:pt x="363283" y="92650"/>
                </a:moveTo>
                <a:cubicBezTo>
                  <a:pt x="363283" y="79182"/>
                  <a:pt x="365931" y="70809"/>
                  <a:pt x="373694" y="60808"/>
                </a:cubicBezTo>
                <a:cubicBezTo>
                  <a:pt x="382876" y="48968"/>
                  <a:pt x="389820" y="41824"/>
                  <a:pt x="389820" y="33461"/>
                </a:cubicBezTo>
                <a:cubicBezTo>
                  <a:pt x="389820" y="26118"/>
                  <a:pt x="384515" y="20812"/>
                  <a:pt x="377171" y="20812"/>
                </a:cubicBezTo>
                <a:cubicBezTo>
                  <a:pt x="368398" y="20812"/>
                  <a:pt x="363293" y="26727"/>
                  <a:pt x="360026" y="39386"/>
                </a:cubicBezTo>
                <a:lnTo>
                  <a:pt x="336756" y="32242"/>
                </a:lnTo>
                <a:cubicBezTo>
                  <a:pt x="341243" y="12040"/>
                  <a:pt x="356349" y="0"/>
                  <a:pt x="377781" y="0"/>
                </a:cubicBezTo>
                <a:cubicBezTo>
                  <a:pt x="401660" y="0"/>
                  <a:pt x="416357" y="12659"/>
                  <a:pt x="416357" y="32042"/>
                </a:cubicBezTo>
                <a:cubicBezTo>
                  <a:pt x="416357" y="49797"/>
                  <a:pt x="404727" y="58569"/>
                  <a:pt x="396354" y="69599"/>
                </a:cubicBezTo>
                <a:cubicBezTo>
                  <a:pt x="390639" y="77153"/>
                  <a:pt x="386972" y="83887"/>
                  <a:pt x="386972" y="95726"/>
                </a:cubicBezTo>
                <a:cubicBezTo>
                  <a:pt x="386972" y="97155"/>
                  <a:pt x="386972" y="98784"/>
                  <a:pt x="387172" y="100422"/>
                </a:cubicBezTo>
                <a:lnTo>
                  <a:pt x="363503" y="100422"/>
                </a:lnTo>
                <a:cubicBezTo>
                  <a:pt x="363283" y="97555"/>
                  <a:pt x="363283" y="95098"/>
                  <a:pt x="363283" y="92650"/>
                </a:cubicBezTo>
                <a:lnTo>
                  <a:pt x="363283" y="92650"/>
                </a:lnTo>
                <a:close/>
              </a:path>
            </a:pathLst>
          </a:custGeom>
          <a:solidFill>
            <a:srgbClr val="BFBFB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99"/>
              </a:solidFill>
              <a:effectLst/>
              <a:uLnTx/>
              <a:uFillTx/>
              <a:latin typeface="Arial" panose="020B0604020202020204"/>
              <a:ea typeface="+mn-ea"/>
              <a:cs typeface="+mn-cs"/>
            </a:endParaRPr>
          </a:p>
        </p:txBody>
      </p:sp>
      <p:sp>
        <p:nvSpPr>
          <p:cNvPr id="62" name="Check">
            <a:extLst>
              <a:ext uri="{FF2B5EF4-FFF2-40B4-BE49-F238E27FC236}">
                <a16:creationId xmlns:a16="http://schemas.microsoft.com/office/drawing/2014/main" id="{CA710AE9-846C-A7D4-4F91-C48CA5645785}"/>
              </a:ext>
            </a:extLst>
          </p:cNvPr>
          <p:cNvSpPr>
            <a:spLocks noChangeAspect="1"/>
          </p:cNvSpPr>
          <p:nvPr>
            <p:custDataLst>
              <p:tags r:id="rId3"/>
            </p:custDataLst>
          </p:nvPr>
        </p:nvSpPr>
        <p:spPr bwMode="gray">
          <a:xfrm>
            <a:off x="6681393" y="2209968"/>
            <a:ext cx="507486" cy="504000"/>
          </a:xfrm>
          <a:custGeom>
            <a:avLst/>
            <a:gdLst>
              <a:gd name="connsiteX0" fmla="*/ 169278 w 433006"/>
              <a:gd name="connsiteY0" fmla="*/ 133493 h 430034"/>
              <a:gd name="connsiteX1" fmla="*/ 42024 w 433006"/>
              <a:gd name="connsiteY1" fmla="*/ 260756 h 430034"/>
              <a:gd name="connsiteX2" fmla="*/ 169278 w 433006"/>
              <a:gd name="connsiteY2" fmla="*/ 388020 h 430034"/>
              <a:gd name="connsiteX3" fmla="*/ 296542 w 433006"/>
              <a:gd name="connsiteY3" fmla="*/ 260756 h 430034"/>
              <a:gd name="connsiteX4" fmla="*/ 169278 w 433006"/>
              <a:gd name="connsiteY4" fmla="*/ 133493 h 430034"/>
              <a:gd name="connsiteX5" fmla="*/ 169278 w 433006"/>
              <a:gd name="connsiteY5" fmla="*/ 133493 h 430034"/>
              <a:gd name="connsiteX6" fmla="*/ 169278 w 433006"/>
              <a:gd name="connsiteY6" fmla="*/ 430035 h 430034"/>
              <a:gd name="connsiteX7" fmla="*/ 0 w 433006"/>
              <a:gd name="connsiteY7" fmla="*/ 260756 h 430034"/>
              <a:gd name="connsiteX8" fmla="*/ 169278 w 433006"/>
              <a:gd name="connsiteY8" fmla="*/ 91478 h 430034"/>
              <a:gd name="connsiteX9" fmla="*/ 338566 w 433006"/>
              <a:gd name="connsiteY9" fmla="*/ 260756 h 430034"/>
              <a:gd name="connsiteX10" fmla="*/ 169278 w 433006"/>
              <a:gd name="connsiteY10" fmla="*/ 430035 h 430034"/>
              <a:gd name="connsiteX11" fmla="*/ 169278 w 433006"/>
              <a:gd name="connsiteY11" fmla="*/ 430035 h 430034"/>
              <a:gd name="connsiteX12" fmla="*/ 133998 w 433006"/>
              <a:gd name="connsiteY12" fmla="*/ 221151 h 430034"/>
              <a:gd name="connsiteX13" fmla="*/ 110042 w 433006"/>
              <a:gd name="connsiteY13" fmla="*/ 245107 h 430034"/>
              <a:gd name="connsiteX14" fmla="*/ 86087 w 433006"/>
              <a:gd name="connsiteY14" fmla="*/ 221151 h 430034"/>
              <a:gd name="connsiteX15" fmla="*/ 110042 w 433006"/>
              <a:gd name="connsiteY15" fmla="*/ 197196 h 430034"/>
              <a:gd name="connsiteX16" fmla="*/ 133998 w 433006"/>
              <a:gd name="connsiteY16" fmla="*/ 221151 h 430034"/>
              <a:gd name="connsiteX17" fmla="*/ 133998 w 433006"/>
              <a:gd name="connsiteY17" fmla="*/ 221151 h 430034"/>
              <a:gd name="connsiteX18" fmla="*/ 249793 w 433006"/>
              <a:gd name="connsiteY18" fmla="*/ 221151 h 430034"/>
              <a:gd name="connsiteX19" fmla="*/ 225828 w 433006"/>
              <a:gd name="connsiteY19" fmla="*/ 245107 h 430034"/>
              <a:gd name="connsiteX20" fmla="*/ 201873 w 433006"/>
              <a:gd name="connsiteY20" fmla="*/ 221151 h 430034"/>
              <a:gd name="connsiteX21" fmla="*/ 225828 w 433006"/>
              <a:gd name="connsiteY21" fmla="*/ 197196 h 430034"/>
              <a:gd name="connsiteX22" fmla="*/ 249793 w 433006"/>
              <a:gd name="connsiteY22" fmla="*/ 221151 h 430034"/>
              <a:gd name="connsiteX23" fmla="*/ 249793 w 433006"/>
              <a:gd name="connsiteY23" fmla="*/ 221151 h 430034"/>
              <a:gd name="connsiteX24" fmla="*/ 169278 w 433006"/>
              <a:gd name="connsiteY24" fmla="*/ 350444 h 430034"/>
              <a:gd name="connsiteX25" fmla="*/ 89488 w 433006"/>
              <a:gd name="connsiteY25" fmla="*/ 301352 h 430034"/>
              <a:gd name="connsiteX26" fmla="*/ 113595 w 433006"/>
              <a:gd name="connsiteY26" fmla="*/ 289160 h 430034"/>
              <a:gd name="connsiteX27" fmla="*/ 169278 w 433006"/>
              <a:gd name="connsiteY27" fmla="*/ 323431 h 430034"/>
              <a:gd name="connsiteX28" fmla="*/ 225133 w 433006"/>
              <a:gd name="connsiteY28" fmla="*/ 288836 h 430034"/>
              <a:gd name="connsiteX29" fmla="*/ 249317 w 433006"/>
              <a:gd name="connsiteY29" fmla="*/ 300885 h 430034"/>
              <a:gd name="connsiteX30" fmla="*/ 169278 w 433006"/>
              <a:gd name="connsiteY30" fmla="*/ 350444 h 430034"/>
              <a:gd name="connsiteX31" fmla="*/ 169278 w 433006"/>
              <a:gd name="connsiteY31" fmla="*/ 350444 h 430034"/>
              <a:gd name="connsiteX32" fmla="*/ 326650 w 433006"/>
              <a:gd name="connsiteY32" fmla="*/ 125473 h 430034"/>
              <a:gd name="connsiteX33" fmla="*/ 262194 w 433006"/>
              <a:gd name="connsiteY33" fmla="*/ 61017 h 430034"/>
              <a:gd name="connsiteX34" fmla="*/ 281292 w 433006"/>
              <a:gd name="connsiteY34" fmla="*/ 41920 h 430034"/>
              <a:gd name="connsiteX35" fmla="*/ 326641 w 433006"/>
              <a:gd name="connsiteY35" fmla="*/ 87268 h 430034"/>
              <a:gd name="connsiteX36" fmla="*/ 413909 w 433006"/>
              <a:gd name="connsiteY36" fmla="*/ 0 h 430034"/>
              <a:gd name="connsiteX37" fmla="*/ 433006 w 433006"/>
              <a:gd name="connsiteY37" fmla="*/ 19097 h 430034"/>
              <a:gd name="connsiteX38" fmla="*/ 326650 w 433006"/>
              <a:gd name="connsiteY38" fmla="*/ 125473 h 430034"/>
              <a:gd name="connsiteX39" fmla="*/ 326650 w 433006"/>
              <a:gd name="connsiteY39" fmla="*/ 125473 h 43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33006" h="430034">
                <a:moveTo>
                  <a:pt x="169278" y="133493"/>
                </a:moveTo>
                <a:cubicBezTo>
                  <a:pt x="99107" y="133493"/>
                  <a:pt x="42024" y="190576"/>
                  <a:pt x="42024" y="260756"/>
                </a:cubicBezTo>
                <a:cubicBezTo>
                  <a:pt x="42024" y="330927"/>
                  <a:pt x="99117" y="388020"/>
                  <a:pt x="169278" y="388020"/>
                </a:cubicBezTo>
                <a:cubicBezTo>
                  <a:pt x="239449" y="388020"/>
                  <a:pt x="296542" y="330927"/>
                  <a:pt x="296542" y="260756"/>
                </a:cubicBezTo>
                <a:cubicBezTo>
                  <a:pt x="296542" y="190576"/>
                  <a:pt x="239449" y="133493"/>
                  <a:pt x="169278" y="133493"/>
                </a:cubicBezTo>
                <a:lnTo>
                  <a:pt x="169278" y="133493"/>
                </a:lnTo>
                <a:close/>
                <a:moveTo>
                  <a:pt x="169278" y="430035"/>
                </a:moveTo>
                <a:cubicBezTo>
                  <a:pt x="75942" y="430035"/>
                  <a:pt x="0" y="354092"/>
                  <a:pt x="0" y="260756"/>
                </a:cubicBezTo>
                <a:cubicBezTo>
                  <a:pt x="0" y="167411"/>
                  <a:pt x="75942" y="91478"/>
                  <a:pt x="169278" y="91478"/>
                </a:cubicBezTo>
                <a:cubicBezTo>
                  <a:pt x="262623" y="91478"/>
                  <a:pt x="338566" y="167421"/>
                  <a:pt x="338566" y="260756"/>
                </a:cubicBezTo>
                <a:cubicBezTo>
                  <a:pt x="338566" y="354092"/>
                  <a:pt x="262623" y="430035"/>
                  <a:pt x="169278" y="430035"/>
                </a:cubicBezTo>
                <a:lnTo>
                  <a:pt x="169278" y="430035"/>
                </a:lnTo>
                <a:close/>
                <a:moveTo>
                  <a:pt x="133998" y="221151"/>
                </a:moveTo>
                <a:cubicBezTo>
                  <a:pt x="133998" y="234382"/>
                  <a:pt x="123273" y="245107"/>
                  <a:pt x="110042" y="245107"/>
                </a:cubicBezTo>
                <a:cubicBezTo>
                  <a:pt x="96812" y="245107"/>
                  <a:pt x="86087" y="234382"/>
                  <a:pt x="86087" y="221151"/>
                </a:cubicBezTo>
                <a:cubicBezTo>
                  <a:pt x="86087" y="207921"/>
                  <a:pt x="96812" y="197196"/>
                  <a:pt x="110042" y="197196"/>
                </a:cubicBezTo>
                <a:cubicBezTo>
                  <a:pt x="123273" y="197196"/>
                  <a:pt x="133998" y="207921"/>
                  <a:pt x="133998" y="221151"/>
                </a:cubicBezTo>
                <a:lnTo>
                  <a:pt x="133998" y="221151"/>
                </a:lnTo>
                <a:close/>
                <a:moveTo>
                  <a:pt x="249793" y="221151"/>
                </a:moveTo>
                <a:cubicBezTo>
                  <a:pt x="249793" y="234382"/>
                  <a:pt x="239058" y="245107"/>
                  <a:pt x="225828" y="245107"/>
                </a:cubicBezTo>
                <a:cubicBezTo>
                  <a:pt x="212607" y="245107"/>
                  <a:pt x="201873" y="234382"/>
                  <a:pt x="201873" y="221151"/>
                </a:cubicBezTo>
                <a:cubicBezTo>
                  <a:pt x="201873" y="207921"/>
                  <a:pt x="212598" y="197196"/>
                  <a:pt x="225828" y="197196"/>
                </a:cubicBezTo>
                <a:cubicBezTo>
                  <a:pt x="239068" y="197196"/>
                  <a:pt x="249793" y="207921"/>
                  <a:pt x="249793" y="221151"/>
                </a:cubicBezTo>
                <a:lnTo>
                  <a:pt x="249793" y="221151"/>
                </a:lnTo>
                <a:close/>
                <a:moveTo>
                  <a:pt x="169278" y="350444"/>
                </a:moveTo>
                <a:cubicBezTo>
                  <a:pt x="135369" y="350444"/>
                  <a:pt x="104794" y="331632"/>
                  <a:pt x="89488" y="301352"/>
                </a:cubicBezTo>
                <a:lnTo>
                  <a:pt x="113595" y="289160"/>
                </a:lnTo>
                <a:cubicBezTo>
                  <a:pt x="124282" y="310296"/>
                  <a:pt x="145618" y="323431"/>
                  <a:pt x="169278" y="323431"/>
                </a:cubicBezTo>
                <a:cubicBezTo>
                  <a:pt x="193110" y="323431"/>
                  <a:pt x="214503" y="310172"/>
                  <a:pt x="225133" y="288836"/>
                </a:cubicBezTo>
                <a:lnTo>
                  <a:pt x="249317" y="300885"/>
                </a:lnTo>
                <a:cubicBezTo>
                  <a:pt x="234077" y="331451"/>
                  <a:pt x="203416" y="350444"/>
                  <a:pt x="169278" y="350444"/>
                </a:cubicBezTo>
                <a:lnTo>
                  <a:pt x="169278" y="350444"/>
                </a:lnTo>
                <a:close/>
                <a:moveTo>
                  <a:pt x="326650" y="125473"/>
                </a:moveTo>
                <a:lnTo>
                  <a:pt x="262194" y="61017"/>
                </a:lnTo>
                <a:lnTo>
                  <a:pt x="281292" y="41920"/>
                </a:lnTo>
                <a:lnTo>
                  <a:pt x="326641" y="87268"/>
                </a:lnTo>
                <a:lnTo>
                  <a:pt x="413909" y="0"/>
                </a:lnTo>
                <a:lnTo>
                  <a:pt x="433006" y="19097"/>
                </a:lnTo>
                <a:lnTo>
                  <a:pt x="326650" y="125473"/>
                </a:lnTo>
                <a:lnTo>
                  <a:pt x="326650" y="125473"/>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99"/>
              </a:solidFill>
              <a:effectLst/>
              <a:uLnTx/>
              <a:uFillTx/>
              <a:latin typeface="Arial" panose="020B0604020202020204"/>
              <a:ea typeface="+mn-ea"/>
              <a:cs typeface="+mn-cs"/>
            </a:endParaRPr>
          </a:p>
        </p:txBody>
      </p:sp>
      <p:cxnSp>
        <p:nvCxnSpPr>
          <p:cNvPr id="63" name="Straight Arrow Connector 62">
            <a:extLst>
              <a:ext uri="{FF2B5EF4-FFF2-40B4-BE49-F238E27FC236}">
                <a16:creationId xmlns:a16="http://schemas.microsoft.com/office/drawing/2014/main" id="{6F6AF3FF-DCD8-6756-43E6-48310EEF7ED7}"/>
              </a:ext>
            </a:extLst>
          </p:cNvPr>
          <p:cNvCxnSpPr/>
          <p:nvPr/>
        </p:nvCxnSpPr>
        <p:spPr>
          <a:xfrm>
            <a:off x="6874254" y="2788300"/>
            <a:ext cx="0" cy="522556"/>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74458970-A57D-02DA-CB87-B5F3A6096188}"/>
              </a:ext>
            </a:extLst>
          </p:cNvPr>
          <p:cNvCxnSpPr>
            <a:cxnSpLocks/>
          </p:cNvCxnSpPr>
          <p:nvPr/>
        </p:nvCxnSpPr>
        <p:spPr>
          <a:xfrm flipH="1">
            <a:off x="1295400" y="2653309"/>
            <a:ext cx="1206310" cy="509337"/>
          </a:xfrm>
          <a:prstGeom prst="straightConnector1">
            <a:avLst/>
          </a:prstGeom>
          <a:ln w="28575">
            <a:solidFill>
              <a:srgbClr val="BFBFBF"/>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DE9203D1-E2B9-AA1B-FB2B-37F64AC60E9C}"/>
              </a:ext>
            </a:extLst>
          </p:cNvPr>
          <p:cNvCxnSpPr>
            <a:cxnSpLocks/>
          </p:cNvCxnSpPr>
          <p:nvPr/>
        </p:nvCxnSpPr>
        <p:spPr>
          <a:xfrm flipH="1">
            <a:off x="2024925" y="2737389"/>
            <a:ext cx="546651" cy="431016"/>
          </a:xfrm>
          <a:prstGeom prst="straightConnector1">
            <a:avLst/>
          </a:prstGeom>
          <a:ln w="28575">
            <a:solidFill>
              <a:srgbClr val="BFBFBF"/>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B7B839CC-B067-5662-9C5D-E8047DBB5B28}"/>
              </a:ext>
            </a:extLst>
          </p:cNvPr>
          <p:cNvCxnSpPr>
            <a:cxnSpLocks/>
          </p:cNvCxnSpPr>
          <p:nvPr/>
        </p:nvCxnSpPr>
        <p:spPr>
          <a:xfrm>
            <a:off x="2812171" y="2790865"/>
            <a:ext cx="0" cy="272667"/>
          </a:xfrm>
          <a:prstGeom prst="straightConnector1">
            <a:avLst/>
          </a:prstGeom>
          <a:ln w="28575">
            <a:solidFill>
              <a:srgbClr val="BFBFBF"/>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44D64539-FF92-266E-3826-8261A1380E9F}"/>
              </a:ext>
            </a:extLst>
          </p:cNvPr>
          <p:cNvCxnSpPr>
            <a:cxnSpLocks/>
          </p:cNvCxnSpPr>
          <p:nvPr/>
        </p:nvCxnSpPr>
        <p:spPr>
          <a:xfrm>
            <a:off x="3085957" y="2737389"/>
            <a:ext cx="478704" cy="430647"/>
          </a:xfrm>
          <a:prstGeom prst="straightConnector1">
            <a:avLst/>
          </a:prstGeom>
          <a:ln w="28575">
            <a:solidFill>
              <a:srgbClr val="BFBFBF"/>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5359EB0E-4D33-08AB-63F1-9B666E590153}"/>
              </a:ext>
            </a:extLst>
          </p:cNvPr>
          <p:cNvCxnSpPr>
            <a:cxnSpLocks/>
          </p:cNvCxnSpPr>
          <p:nvPr/>
        </p:nvCxnSpPr>
        <p:spPr>
          <a:xfrm>
            <a:off x="3174731" y="2653309"/>
            <a:ext cx="1162220" cy="510520"/>
          </a:xfrm>
          <a:prstGeom prst="straightConnector1">
            <a:avLst/>
          </a:prstGeom>
          <a:ln w="28575">
            <a:solidFill>
              <a:srgbClr val="BFBFBF"/>
            </a:solidFill>
            <a:tailEnd type="triangle"/>
          </a:ln>
        </p:spPr>
        <p:style>
          <a:lnRef idx="1">
            <a:schemeClr val="accent1"/>
          </a:lnRef>
          <a:fillRef idx="0">
            <a:schemeClr val="accent1"/>
          </a:fillRef>
          <a:effectRef idx="0">
            <a:schemeClr val="accent1"/>
          </a:effectRef>
          <a:fontRef idx="minor">
            <a:schemeClr val="tx1"/>
          </a:fontRef>
        </p:style>
      </p:cxnSp>
      <p:pic>
        <p:nvPicPr>
          <p:cNvPr id="69" name="Picture 4" descr="Oesterreichische Kontrollbank – Wikipedia">
            <a:extLst>
              <a:ext uri="{FF2B5EF4-FFF2-40B4-BE49-F238E27FC236}">
                <a16:creationId xmlns:a16="http://schemas.microsoft.com/office/drawing/2014/main" id="{008B3D1C-B253-4B3E-C3D6-F61B1BFD742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81063" y="4859596"/>
            <a:ext cx="393442" cy="149836"/>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6">
            <a:extLst>
              <a:ext uri="{FF2B5EF4-FFF2-40B4-BE49-F238E27FC236}">
                <a16:creationId xmlns:a16="http://schemas.microsoft.com/office/drawing/2014/main" id="{8A5D6EA1-F130-A6FC-17E2-2D3FFB34B3B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p:blipFill>
        <p:spPr bwMode="auto">
          <a:xfrm>
            <a:off x="1719676" y="4905737"/>
            <a:ext cx="549181" cy="98068"/>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8" descr="Euroclear – Wikipedia">
            <a:extLst>
              <a:ext uri="{FF2B5EF4-FFF2-40B4-BE49-F238E27FC236}">
                <a16:creationId xmlns:a16="http://schemas.microsoft.com/office/drawing/2014/main" id="{F18C0582-24A0-E4F2-0151-AD64F0300F8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643287" y="4808506"/>
            <a:ext cx="289934" cy="258998"/>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71">
            <a:extLst>
              <a:ext uri="{FF2B5EF4-FFF2-40B4-BE49-F238E27FC236}">
                <a16:creationId xmlns:a16="http://schemas.microsoft.com/office/drawing/2014/main" id="{08FE043D-B90B-565D-8ED8-03DC8ADBF194}"/>
              </a:ext>
            </a:extLst>
          </p:cNvPr>
          <p:cNvPicPr>
            <a:picLocks noChangeAspect="1"/>
          </p:cNvPicPr>
          <p:nvPr/>
        </p:nvPicPr>
        <p:blipFill>
          <a:blip r:embed="rId16">
            <a:extLst>
              <a:ext uri="{28A0092B-C50C-407E-A947-70E740481C1C}">
                <a14:useLocalDpi xmlns:a14="http://schemas.microsoft.com/office/drawing/2010/main" val="0"/>
              </a:ext>
            </a:extLst>
          </a:blip>
          <a:srcRect/>
          <a:stretch/>
        </p:blipFill>
        <p:spPr>
          <a:xfrm>
            <a:off x="3265217" y="4847310"/>
            <a:ext cx="616682" cy="223832"/>
          </a:xfrm>
          <a:prstGeom prst="rect">
            <a:avLst/>
          </a:prstGeom>
        </p:spPr>
      </p:pic>
      <p:pic>
        <p:nvPicPr>
          <p:cNvPr id="73" name="Picture 10" descr="Iberclear">
            <a:extLst>
              <a:ext uri="{FF2B5EF4-FFF2-40B4-BE49-F238E27FC236}">
                <a16:creationId xmlns:a16="http://schemas.microsoft.com/office/drawing/2014/main" id="{21B4156C-1F3A-20BC-C669-95FDCABC07CB}"/>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ackgroundRemoval t="10000" b="90000" l="3194" r="98204">
                        <a14:foregroundMark x1="3393" y1="53000" x2="3393" y2="53000"/>
                        <a14:foregroundMark x1="4790" y1="10000" x2="4790" y2="10000"/>
                        <a14:foregroundMark x1="11377" y1="24000" x2="11377" y2="24000"/>
                        <a14:foregroundMark x1="24152" y1="50000" x2="23553" y2="77000"/>
                        <a14:foregroundMark x1="36527" y1="57000" x2="35329" y2="86000"/>
                        <a14:foregroundMark x1="46307" y1="57000" x2="47505" y2="89000"/>
                        <a14:foregroundMark x1="60479" y1="32000" x2="59481" y2="69000"/>
                        <a14:foregroundMark x1="65070" y1="62000" x2="66068" y2="89000"/>
                        <a14:foregroundMark x1="77844" y1="63000" x2="78244" y2="88000"/>
                        <a14:foregroundMark x1="86228" y1="53000" x2="87026" y2="83000"/>
                        <a14:foregroundMark x1="92016" y1="55000" x2="91218" y2="83000"/>
                        <a14:foregroundMark x1="95808" y1="48000" x2="98204" y2="40000"/>
                        <a14:foregroundMark x1="17565" y1="35000" x2="17964" y2="58000"/>
                        <a14:foregroundMark x1="30539" y1="33000" x2="31936" y2="50000"/>
                        <a14:foregroundMark x1="25948" y1="53000" x2="30539" y2="51000"/>
                      </a14:backgroundRemoval>
                    </a14:imgEffect>
                  </a14:imgLayer>
                </a14:imgProps>
              </a:ext>
              <a:ext uri="{28A0092B-C50C-407E-A947-70E740481C1C}">
                <a14:useLocalDpi xmlns:a14="http://schemas.microsoft.com/office/drawing/2010/main" val="0"/>
              </a:ext>
            </a:extLst>
          </a:blip>
          <a:srcRect/>
          <a:stretch>
            <a:fillRect/>
          </a:stretch>
        </p:blipFill>
        <p:spPr bwMode="auto">
          <a:xfrm>
            <a:off x="4107224" y="4894352"/>
            <a:ext cx="449015" cy="89625"/>
          </a:xfrm>
          <a:prstGeom prst="rect">
            <a:avLst/>
          </a:prstGeom>
          <a:noFill/>
          <a:extLst>
            <a:ext uri="{909E8E84-426E-40DD-AFC4-6F175D3DCCD1}">
              <a14:hiddenFill xmlns:a14="http://schemas.microsoft.com/office/drawing/2010/main">
                <a:solidFill>
                  <a:srgbClr val="FFFFFF"/>
                </a:solidFill>
              </a14:hiddenFill>
            </a:ext>
          </a:extLst>
        </p:spPr>
      </p:pic>
      <p:sp>
        <p:nvSpPr>
          <p:cNvPr id="74" name="Oval 73">
            <a:extLst>
              <a:ext uri="{FF2B5EF4-FFF2-40B4-BE49-F238E27FC236}">
                <a16:creationId xmlns:a16="http://schemas.microsoft.com/office/drawing/2014/main" id="{5A5301AE-8A07-CC01-8A0B-D7CC27D9CFB9}"/>
              </a:ext>
            </a:extLst>
          </p:cNvPr>
          <p:cNvSpPr/>
          <p:nvPr/>
        </p:nvSpPr>
        <p:spPr>
          <a:xfrm>
            <a:off x="2603768" y="5757009"/>
            <a:ext cx="45719" cy="45719"/>
          </a:xfrm>
          <a:prstGeom prst="ellipse">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5" name="Rectangle 74">
            <a:extLst>
              <a:ext uri="{FF2B5EF4-FFF2-40B4-BE49-F238E27FC236}">
                <a16:creationId xmlns:a16="http://schemas.microsoft.com/office/drawing/2014/main" id="{2779C9F7-7D6A-95BE-6A4F-EEB15860C517}"/>
              </a:ext>
            </a:extLst>
          </p:cNvPr>
          <p:cNvSpPr/>
          <p:nvPr/>
        </p:nvSpPr>
        <p:spPr>
          <a:xfrm>
            <a:off x="5864194" y="3599216"/>
            <a:ext cx="2079356" cy="89625"/>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6" name="Textplatzhalter 5">
            <a:extLst>
              <a:ext uri="{FF2B5EF4-FFF2-40B4-BE49-F238E27FC236}">
                <a16:creationId xmlns:a16="http://schemas.microsoft.com/office/drawing/2014/main" id="{3E9338FB-B962-4D51-4BF2-C5FC04B3527E}"/>
              </a:ext>
            </a:extLst>
          </p:cNvPr>
          <p:cNvSpPr txBox="1">
            <a:spLocks/>
          </p:cNvSpPr>
          <p:nvPr/>
        </p:nvSpPr>
        <p:spPr bwMode="gray">
          <a:xfrm>
            <a:off x="5988161" y="3502748"/>
            <a:ext cx="1796499" cy="291665"/>
          </a:xfrm>
          <a:prstGeom prst="rect">
            <a:avLst/>
          </a:prstGeom>
          <a:blipFill dpi="0" rotWithShape="1">
            <a:blip r:embed="rId26" cstate="screen">
              <a:extLst>
                <a:ext uri="{28A0092B-C50C-407E-A947-70E740481C1C}">
                  <a14:useLocalDpi xmlns:a14="http://schemas.microsoft.com/office/drawing/2010/main" val="0"/>
                </a:ext>
                <a:ext uri="{96DAC541-7B7A-43D3-8B79-37D633B846F1}">
                  <asvg:svgBlip xmlns:asvg="http://schemas.microsoft.com/office/drawing/2016/SVG/main" r:embed="rId27"/>
                </a:ext>
              </a:extLst>
            </a:blip>
            <a:srcRect/>
            <a:stretch>
              <a:fillRect/>
            </a:stretch>
          </a:blipFill>
        </p:spPr>
        <p:txBody>
          <a:bodyPr/>
          <a:lstStyle>
            <a:lvl1pPr marL="0" indent="0" algn="l" defTabSz="914400" rtl="0" eaLnBrk="1" latinLnBrk="0" hangingPunct="1">
              <a:lnSpc>
                <a:spcPct val="110000"/>
              </a:lnSpc>
              <a:spcBef>
                <a:spcPts val="0"/>
              </a:spcBef>
              <a:spcAft>
                <a:spcPts val="600"/>
              </a:spcAft>
              <a:buFontTx/>
              <a:buNone/>
              <a:defRPr sz="800" kern="1200">
                <a:solidFill>
                  <a:schemeClr val="bg1"/>
                </a:solidFill>
                <a:latin typeface="+mn-lt"/>
                <a:ea typeface="+mn-ea"/>
                <a:cs typeface="+mn-cs"/>
              </a:defRPr>
            </a:lvl1pPr>
            <a:lvl2pPr marL="216000" indent="-216000" algn="l" defTabSz="914400" rtl="0" eaLnBrk="1" latinLnBrk="0" hangingPunct="1">
              <a:lnSpc>
                <a:spcPct val="11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2pPr>
            <a:lvl3pPr marL="432000" indent="-216000" algn="l" defTabSz="914400" rtl="0" eaLnBrk="1" latinLnBrk="0" hangingPunct="1">
              <a:lnSpc>
                <a:spcPct val="11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3pPr>
            <a:lvl4pPr marL="648000" indent="-216000" algn="l" defTabSz="914400" rtl="0" eaLnBrk="1" latinLnBrk="0" hangingPunct="1">
              <a:lnSpc>
                <a:spcPct val="11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4pPr>
            <a:lvl5pPr marL="864000" indent="-216000" algn="l" defTabSz="914400" rtl="0" eaLnBrk="1" latinLnBrk="0" hangingPunct="1">
              <a:lnSpc>
                <a:spcPct val="11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5pPr>
            <a:lvl6pPr marL="864000" indent="-216000" algn="l" defTabSz="914400" rtl="0" eaLnBrk="1" latinLnBrk="0" hangingPunct="1">
              <a:lnSpc>
                <a:spcPct val="11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6pPr>
            <a:lvl7pPr marL="864000" indent="-216000" algn="l" defTabSz="914400" rtl="0" eaLnBrk="1" latinLnBrk="0" hangingPunct="1">
              <a:lnSpc>
                <a:spcPct val="11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7pPr>
            <a:lvl8pPr marL="864000" indent="-216000" algn="l" defTabSz="914400" rtl="0" eaLnBrk="1" latinLnBrk="0" hangingPunct="1">
              <a:lnSpc>
                <a:spcPct val="11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8pPr>
            <a:lvl9pPr marL="864000" indent="-216000" algn="l" defTabSz="914400" rtl="0" eaLnBrk="1" latinLnBrk="0" hangingPunct="1">
              <a:lnSpc>
                <a:spcPct val="11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a:ea typeface="+mn-ea"/>
                <a:cs typeface="+mn-cs"/>
              </a:rPr>
              <a:t> </a:t>
            </a:r>
          </a:p>
        </p:txBody>
      </p:sp>
      <p:pic>
        <p:nvPicPr>
          <p:cNvPr id="78" name="Picture 3">
            <a:extLst>
              <a:ext uri="{FF2B5EF4-FFF2-40B4-BE49-F238E27FC236}">
                <a16:creationId xmlns:a16="http://schemas.microsoft.com/office/drawing/2014/main" id="{AE8898B1-A711-FCC9-317D-8186F62177FE}"/>
              </a:ext>
            </a:extLst>
          </p:cNvPr>
          <p:cNvPicPr>
            <a:picLocks noChangeAspect="1" noChangeArrowheads="1"/>
          </p:cNvPicPr>
          <p:nvPr/>
        </p:nvPicPr>
        <p:blipFill>
          <a:blip r:embed="rId28" cstate="print">
            <a:clrChange>
              <a:clrFrom>
                <a:srgbClr val="000000"/>
              </a:clrFrom>
              <a:clrTo>
                <a:srgbClr val="000000">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5400000" flipV="1">
            <a:off x="4560314" y="1491471"/>
            <a:ext cx="253046" cy="506504"/>
          </a:xfrm>
          <a:prstGeom prst="rect">
            <a:avLst/>
          </a:prstGeom>
          <a:noFill/>
          <a:ln w="9525">
            <a:noFill/>
            <a:miter lim="800000"/>
            <a:headEnd/>
            <a:tailEnd/>
          </a:ln>
          <a:effectLst/>
        </p:spPr>
      </p:pic>
      <p:pic>
        <p:nvPicPr>
          <p:cNvPr id="79" name="Picture 6">
            <a:extLst>
              <a:ext uri="{FF2B5EF4-FFF2-40B4-BE49-F238E27FC236}">
                <a16:creationId xmlns:a16="http://schemas.microsoft.com/office/drawing/2014/main" id="{9104FE04-3556-1086-C92E-586668E1B308}"/>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p:blipFill>
        <p:spPr bwMode="auto">
          <a:xfrm>
            <a:off x="5315013" y="5133517"/>
            <a:ext cx="549181" cy="156516"/>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79">
            <a:extLst>
              <a:ext uri="{FF2B5EF4-FFF2-40B4-BE49-F238E27FC236}">
                <a16:creationId xmlns:a16="http://schemas.microsoft.com/office/drawing/2014/main" id="{39D614A2-9B7B-1628-5B90-F29844D5B0A0}"/>
              </a:ext>
            </a:extLst>
          </p:cNvPr>
          <p:cNvPicPr>
            <a:picLocks noChangeAspect="1"/>
          </p:cNvPicPr>
          <p:nvPr/>
        </p:nvPicPr>
        <p:blipFill>
          <a:blip r:embed="rId30">
            <a:extLst>
              <a:ext uri="{28A0092B-C50C-407E-A947-70E740481C1C}">
                <a14:useLocalDpi xmlns:a14="http://schemas.microsoft.com/office/drawing/2010/main" val="0"/>
              </a:ext>
            </a:extLst>
          </a:blip>
          <a:srcRect/>
          <a:stretch/>
        </p:blipFill>
        <p:spPr>
          <a:xfrm>
            <a:off x="5383971" y="5893061"/>
            <a:ext cx="326360" cy="206422"/>
          </a:xfrm>
          <a:prstGeom prst="rect">
            <a:avLst/>
          </a:prstGeom>
        </p:spPr>
      </p:pic>
      <p:pic>
        <p:nvPicPr>
          <p:cNvPr id="81" name="Picture 8">
            <a:extLst>
              <a:ext uri="{FF2B5EF4-FFF2-40B4-BE49-F238E27FC236}">
                <a16:creationId xmlns:a16="http://schemas.microsoft.com/office/drawing/2014/main" id="{71001631-6AAE-6FD3-C27F-D01698533894}"/>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p:blipFill>
        <p:spPr bwMode="auto">
          <a:xfrm>
            <a:off x="6042308" y="5113717"/>
            <a:ext cx="472180" cy="207758"/>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81">
            <a:extLst>
              <a:ext uri="{FF2B5EF4-FFF2-40B4-BE49-F238E27FC236}">
                <a16:creationId xmlns:a16="http://schemas.microsoft.com/office/drawing/2014/main" id="{0B710DD1-EE31-21B4-A795-6B62BF76FEA6}"/>
              </a:ext>
            </a:extLst>
          </p:cNvPr>
          <p:cNvPicPr>
            <a:picLocks noChangeAspect="1"/>
          </p:cNvPicPr>
          <p:nvPr/>
        </p:nvPicPr>
        <p:blipFill>
          <a:blip r:embed="rId32">
            <a:extLst>
              <a:ext uri="{28A0092B-C50C-407E-A947-70E740481C1C}">
                <a14:useLocalDpi xmlns:a14="http://schemas.microsoft.com/office/drawing/2010/main" val="0"/>
              </a:ext>
            </a:extLst>
          </a:blip>
          <a:srcRect/>
          <a:stretch/>
        </p:blipFill>
        <p:spPr>
          <a:xfrm>
            <a:off x="6664000" y="5154517"/>
            <a:ext cx="391104" cy="108470"/>
          </a:xfrm>
          <a:prstGeom prst="rect">
            <a:avLst/>
          </a:prstGeom>
        </p:spPr>
      </p:pic>
      <p:pic>
        <p:nvPicPr>
          <p:cNvPr id="83" name="Picture 82">
            <a:extLst>
              <a:ext uri="{FF2B5EF4-FFF2-40B4-BE49-F238E27FC236}">
                <a16:creationId xmlns:a16="http://schemas.microsoft.com/office/drawing/2014/main" id="{D96AFA43-330A-ADAA-2971-D1EC138640F4}"/>
              </a:ext>
            </a:extLst>
          </p:cNvPr>
          <p:cNvPicPr>
            <a:picLocks noChangeAspect="1"/>
          </p:cNvPicPr>
          <p:nvPr/>
        </p:nvPicPr>
        <p:blipFill>
          <a:blip r:embed="rId33">
            <a:extLst>
              <a:ext uri="{28A0092B-C50C-407E-A947-70E740481C1C}">
                <a14:useLocalDpi xmlns:a14="http://schemas.microsoft.com/office/drawing/2010/main" val="0"/>
              </a:ext>
            </a:extLst>
          </a:blip>
          <a:srcRect/>
          <a:stretch/>
        </p:blipFill>
        <p:spPr>
          <a:xfrm>
            <a:off x="7458300" y="5076851"/>
            <a:ext cx="235250" cy="235250"/>
          </a:xfrm>
          <a:prstGeom prst="rect">
            <a:avLst/>
          </a:prstGeom>
        </p:spPr>
      </p:pic>
      <p:sp>
        <p:nvSpPr>
          <p:cNvPr id="85" name="Rectangle 84">
            <a:extLst>
              <a:ext uri="{FF2B5EF4-FFF2-40B4-BE49-F238E27FC236}">
                <a16:creationId xmlns:a16="http://schemas.microsoft.com/office/drawing/2014/main" id="{B1A2D04D-505F-21BA-40A8-90034D65A9A5}"/>
              </a:ext>
            </a:extLst>
          </p:cNvPr>
          <p:cNvSpPr/>
          <p:nvPr/>
        </p:nvSpPr>
        <p:spPr>
          <a:xfrm>
            <a:off x="9420026" y="-2062"/>
            <a:ext cx="2779935" cy="6860062"/>
          </a:xfrm>
          <a:prstGeom prst="rect">
            <a:avLst/>
          </a:prstGeom>
          <a:solidFill>
            <a:srgbClr val="00A5C0"/>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81000" rIns="81000" bIns="81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6" name="Rechteck 19">
            <a:extLst>
              <a:ext uri="{FF2B5EF4-FFF2-40B4-BE49-F238E27FC236}">
                <a16:creationId xmlns:a16="http://schemas.microsoft.com/office/drawing/2014/main" id="{41E9B670-035E-3F0E-93FD-895DEFEF1A0E}"/>
              </a:ext>
            </a:extLst>
          </p:cNvPr>
          <p:cNvSpPr/>
          <p:nvPr>
            <p:custDataLst>
              <p:tags r:id="rId4"/>
            </p:custDataLst>
          </p:nvPr>
        </p:nvSpPr>
        <p:spPr bwMode="auto">
          <a:xfrm>
            <a:off x="9537959" y="1536618"/>
            <a:ext cx="2467825" cy="3798617"/>
          </a:xfrm>
          <a:prstGeom prst="rect">
            <a:avLst/>
          </a:prstGeom>
          <a:noFill/>
          <a:ln>
            <a:noFill/>
          </a:ln>
          <a:effectLst/>
        </p:spPr>
        <p:txBody>
          <a:bodyPr vert="horz" wrap="square" lIns="36000" tIns="108000" rIns="36000" bIns="45720" numCol="1" rtlCol="0" anchor="t" anchorCtr="0" compatLnSpc="1">
            <a:prstTxWarp prst="textNoShape">
              <a:avLst/>
            </a:prstTxWarp>
          </a:bodyPr>
          <a:lstStyle>
            <a:lvl1pPr marL="216000" indent="-216000" algn="l" defTabSz="914400" rtl="0" eaLnBrk="1" latinLnBrk="0" hangingPunct="1">
              <a:buClrTx/>
              <a:buFont typeface="Arial" panose="020B0604020202020204" pitchFamily="34" charset="0"/>
              <a:buChar char="–"/>
            </a:lvl1pPr>
            <a:lvl2pPr marL="216000" indent="-216000" algn="l" defTabSz="914400" rtl="0" eaLnBrk="1" latinLnBrk="0" hangingPunct="1">
              <a:buClrTx/>
              <a:buFont typeface="Arial" panose="020B0604020202020204" pitchFamily="34" charset="0"/>
              <a:buChar char="–"/>
            </a:lvl2pPr>
            <a:lvl3pPr marL="432000" indent="-216000" algn="l" defTabSz="914400" rtl="0" eaLnBrk="1" latinLnBrk="0" hangingPunct="1">
              <a:buClrTx/>
              <a:buFont typeface="Arial" panose="020B0604020202020204" pitchFamily="34" charset="0"/>
              <a:buChar char="–"/>
            </a:lvl3pPr>
            <a:lvl4pPr marL="648000" indent="-216000" algn="l" defTabSz="914400" rtl="0" eaLnBrk="1" latinLnBrk="0" hangingPunct="1">
              <a:buClrTx/>
              <a:buFont typeface="Arial" panose="020B0604020202020204" pitchFamily="34" charset="0"/>
              <a:buChar char="–"/>
            </a:lvl4pPr>
            <a:lvl5pPr marL="864000" indent="-216000" algn="l" defTabSz="914400" rtl="0" eaLnBrk="1" latinLnBrk="0" hangingPunct="1">
              <a:buClrTx/>
              <a:buFont typeface="Arial" panose="020B0604020202020204" pitchFamily="34" charset="0"/>
              <a:buChar char="–"/>
            </a:lvl5pPr>
            <a:lvl6pPr marL="864000" indent="-216000" algn="l" defTabSz="914400" rtl="0" eaLnBrk="1" latinLnBrk="0" hangingPunct="1">
              <a:buClrTx/>
              <a:buFont typeface="Arial" panose="020B0604020202020204" pitchFamily="34" charset="0"/>
              <a:buChar char="–"/>
            </a:lvl6pPr>
            <a:lvl7pPr marL="864000" indent="-216000" algn="l" defTabSz="914400" rtl="0" eaLnBrk="1" latinLnBrk="0" hangingPunct="1">
              <a:buClrTx/>
              <a:buFont typeface="Arial" panose="020B0604020202020204" pitchFamily="34" charset="0"/>
              <a:buChar char="–"/>
            </a:lvl7pPr>
            <a:lvl8pPr marL="864000" indent="-216000" algn="l" defTabSz="914400" rtl="0" eaLnBrk="1" latinLnBrk="0" hangingPunct="1">
              <a:buClrTx/>
              <a:buFont typeface="Arial" panose="020B0604020202020204" pitchFamily="34" charset="0"/>
              <a:buChar char="–"/>
            </a:lvl8pPr>
            <a:lvl9pPr marL="864000" indent="-216000" algn="l" defTabSz="914400" rtl="0" eaLnBrk="1" latinLnBrk="0" hangingPunct="1">
              <a:buClrTx/>
              <a:buFont typeface="Arial" panose="020B0604020202020204" pitchFamily="34" charset="0"/>
              <a:buChar char="–"/>
            </a:lvl9pPr>
          </a:lstStyle>
          <a:p>
            <a:pPr marL="215900" marR="0" lvl="0" indent="-21590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Single partner with low</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infrastructure risk profile</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 - connecting to T2S in </a:t>
            </a:r>
            <a:r>
              <a:rPr kumimoji="0" lang="en-US" sz="1200" b="0" i="0" u="none" strike="noStrike" kern="1200" cap="none" spc="0" normalizeH="0" baseline="0" noProof="0" dirty="0" err="1">
                <a:ln>
                  <a:noFill/>
                </a:ln>
                <a:solidFill>
                  <a:srgbClr val="FFFFFF"/>
                </a:solidFill>
                <a:effectLst/>
                <a:uLnTx/>
                <a:uFillTx/>
                <a:latin typeface="Arial" panose="020B0604020202020204"/>
                <a:ea typeface="+mn-ea"/>
                <a:cs typeface="+mn-cs"/>
              </a:rPr>
              <a:t>CeBM</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 as well as </a:t>
            </a:r>
            <a:r>
              <a:rPr kumimoji="0" lang="en-US" sz="1200" b="0" i="0" u="none" strike="noStrike" kern="1200" cap="none" spc="0" normalizeH="0" baseline="0" noProof="0" dirty="0" err="1">
                <a:ln>
                  <a:noFill/>
                </a:ln>
                <a:solidFill>
                  <a:srgbClr val="FFFFFF"/>
                </a:solidFill>
                <a:effectLst/>
                <a:uLnTx/>
                <a:uFillTx/>
                <a:latin typeface="Arial" panose="020B0604020202020204"/>
                <a:ea typeface="+mn-ea"/>
                <a:cs typeface="+mn-cs"/>
              </a:rPr>
              <a:t>CoBM</a:t>
            </a: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a:endParaRPr>
          </a:p>
          <a:p>
            <a:pPr marL="215900" marR="0" lvl="0" indent="-21590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Leveraging</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securities consolidation effects</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 and </a:t>
            </a: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efficiencies </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across fixed income and equities</a:t>
            </a:r>
          </a:p>
          <a:p>
            <a:pPr marL="215900" marR="0" lvl="0" indent="-21590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Delivering significant </a:t>
            </a: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liquidity and funding efficiency</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 benefits</a:t>
            </a: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Arial"/>
            </a:endParaRPr>
          </a:p>
          <a:p>
            <a:pPr marL="215900" marR="0" lvl="0" indent="-21590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Increased client flexibility thanks to </a:t>
            </a: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agnostic product &amp; service </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approach</a:t>
            </a: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a:endParaRPr>
          </a:p>
          <a:p>
            <a:pPr marL="215900" marR="0" lvl="0" indent="-21590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Overall </a:t>
            </a: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cost</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reduction</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 thanks to </a:t>
            </a: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process</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harmonization and operations efficiencies</a:t>
            </a:r>
          </a:p>
          <a:p>
            <a:pPr marL="215900" marR="0" lvl="0" indent="-21590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lt"/>
                <a:cs typeface="Arial" panose="020B0604020202020204"/>
              </a:rPr>
              <a:t>Future-proofing securities settlement and custody process with </a:t>
            </a:r>
            <a:r>
              <a:rPr kumimoji="0" lang="en-US" sz="1200" b="1" i="0" u="none" strike="noStrike" kern="1200" cap="none" spc="0" normalizeH="0" baseline="0" noProof="0" dirty="0">
                <a:ln>
                  <a:noFill/>
                </a:ln>
                <a:solidFill>
                  <a:srgbClr val="FFFFFF"/>
                </a:solidFill>
                <a:effectLst/>
                <a:uLnTx/>
                <a:uFillTx/>
                <a:latin typeface="Arial" panose="020B0604020202020204"/>
                <a:ea typeface="+mn-lt"/>
                <a:cs typeface="Arial" panose="020B0604020202020204"/>
              </a:rPr>
              <a:t>regulatory compliance</a:t>
            </a:r>
            <a:endParaRPr kumimoji="0" lang="en-US" sz="1200" b="1" i="0" u="none" strike="noStrike" kern="1200" cap="none" spc="0" normalizeH="0" baseline="0" noProof="0" dirty="0">
              <a:ln>
                <a:noFill/>
              </a:ln>
              <a:solidFill>
                <a:srgbClr val="FFFFFF"/>
              </a:solidFill>
              <a:effectLst/>
              <a:uLnTx/>
              <a:uFillTx/>
              <a:latin typeface="Arial" panose="020B0604020202020204"/>
              <a:ea typeface="+mn-ea"/>
              <a:cs typeface="Arial"/>
            </a:endParaRPr>
          </a:p>
        </p:txBody>
      </p:sp>
      <p:sp>
        <p:nvSpPr>
          <p:cNvPr id="87" name="Rectangle 86">
            <a:extLst>
              <a:ext uri="{FF2B5EF4-FFF2-40B4-BE49-F238E27FC236}">
                <a16:creationId xmlns:a16="http://schemas.microsoft.com/office/drawing/2014/main" id="{473D2133-2502-A79A-9ABC-1A3D8B60885E}"/>
              </a:ext>
            </a:extLst>
          </p:cNvPr>
          <p:cNvSpPr/>
          <p:nvPr/>
        </p:nvSpPr>
        <p:spPr bwMode="auto">
          <a:xfrm>
            <a:off x="9910531" y="1288770"/>
            <a:ext cx="1783638" cy="133973"/>
          </a:xfrm>
          <a:prstGeom prst="rect">
            <a:avLst/>
          </a:prstGeom>
          <a:solidFill>
            <a:srgbClr val="00A5C0"/>
          </a:solidFill>
          <a:ln>
            <a:noFill/>
          </a:ln>
          <a:effectLst/>
        </p:spPr>
        <p:txBody>
          <a:bodyPr vert="horz" wrap="square" lIns="0" tIns="0" rIns="0" bIns="0" numCol="1" rtlCol="0" anchor="ctr" anchorCtr="0" compatLnSpc="1">
            <a:prstTxWarp prst="textNoShape">
              <a:avLst/>
            </a:prstTxWarp>
          </a:bodyPr>
          <a:lstStyle/>
          <a:p>
            <a:pPr marL="0" marR="0" lvl="0" indent="0" algn="ctr" defTabSz="685800" rtl="0" eaLnBrk="1" fontAlgn="auto" latinLnBrk="0" hangingPunct="1">
              <a:lnSpc>
                <a:spcPct val="100000"/>
              </a:lnSpc>
              <a:spcBef>
                <a:spcPct val="5000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a:ea typeface="+mn-ea"/>
                <a:cs typeface="Arial" charset="0"/>
              </a:rPr>
              <a:t>Customer Benefits</a:t>
            </a:r>
          </a:p>
        </p:txBody>
      </p:sp>
      <p:grpSp>
        <p:nvGrpSpPr>
          <p:cNvPr id="88" name="Group 87">
            <a:extLst>
              <a:ext uri="{FF2B5EF4-FFF2-40B4-BE49-F238E27FC236}">
                <a16:creationId xmlns:a16="http://schemas.microsoft.com/office/drawing/2014/main" id="{19B48858-686C-2E99-EC27-6D93E4BB7CC8}"/>
              </a:ext>
            </a:extLst>
          </p:cNvPr>
          <p:cNvGrpSpPr/>
          <p:nvPr/>
        </p:nvGrpSpPr>
        <p:grpSpPr>
          <a:xfrm>
            <a:off x="11274769" y="60832"/>
            <a:ext cx="831136" cy="831137"/>
            <a:chOff x="11274769" y="60832"/>
            <a:chExt cx="831136" cy="831137"/>
          </a:xfrm>
        </p:grpSpPr>
        <p:sp>
          <p:nvSpPr>
            <p:cNvPr id="89" name="Oval 88">
              <a:extLst>
                <a:ext uri="{FF2B5EF4-FFF2-40B4-BE49-F238E27FC236}">
                  <a16:creationId xmlns:a16="http://schemas.microsoft.com/office/drawing/2014/main" id="{D72F4732-E1E1-B018-3D60-CA9CE6311484}"/>
                </a:ext>
              </a:extLst>
            </p:cNvPr>
            <p:cNvSpPr/>
            <p:nvPr/>
          </p:nvSpPr>
          <p:spPr>
            <a:xfrm>
              <a:off x="11274769" y="60833"/>
              <a:ext cx="831135" cy="831136"/>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90" name="Group 89">
              <a:extLst>
                <a:ext uri="{FF2B5EF4-FFF2-40B4-BE49-F238E27FC236}">
                  <a16:creationId xmlns:a16="http://schemas.microsoft.com/office/drawing/2014/main" id="{519EC5E0-48C9-A0CA-B582-3159414EEF42}"/>
                </a:ext>
              </a:extLst>
            </p:cNvPr>
            <p:cNvGrpSpPr/>
            <p:nvPr/>
          </p:nvGrpSpPr>
          <p:grpSpPr>
            <a:xfrm>
              <a:off x="11274769" y="60832"/>
              <a:ext cx="831136" cy="831136"/>
              <a:chOff x="11014841" y="142017"/>
              <a:chExt cx="1034527" cy="1034527"/>
            </a:xfrm>
          </p:grpSpPr>
          <p:sp>
            <p:nvSpPr>
              <p:cNvPr id="91" name="Circle: Hollow 90">
                <a:extLst>
                  <a:ext uri="{FF2B5EF4-FFF2-40B4-BE49-F238E27FC236}">
                    <a16:creationId xmlns:a16="http://schemas.microsoft.com/office/drawing/2014/main" id="{0FBB2FAF-3847-1A33-B554-59889E130E4D}"/>
                  </a:ext>
                </a:extLst>
              </p:cNvPr>
              <p:cNvSpPr/>
              <p:nvPr/>
            </p:nvSpPr>
            <p:spPr>
              <a:xfrm>
                <a:off x="11014841" y="142017"/>
                <a:ext cx="1034527" cy="1034527"/>
              </a:xfrm>
              <a:prstGeom prst="donut">
                <a:avLst>
                  <a:gd name="adj" fmla="val 6586"/>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2" name="Circle: Hollow 91">
                <a:extLst>
                  <a:ext uri="{FF2B5EF4-FFF2-40B4-BE49-F238E27FC236}">
                    <a16:creationId xmlns:a16="http://schemas.microsoft.com/office/drawing/2014/main" id="{744591B0-9E97-C927-336E-C7BAC5134A36}"/>
                  </a:ext>
                </a:extLst>
              </p:cNvPr>
              <p:cNvSpPr/>
              <p:nvPr/>
            </p:nvSpPr>
            <p:spPr>
              <a:xfrm>
                <a:off x="11164103" y="295596"/>
                <a:ext cx="737591" cy="730288"/>
              </a:xfrm>
              <a:prstGeom prst="donut">
                <a:avLst>
                  <a:gd name="adj" fmla="val 8880"/>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3" name="Circle: Hollow 92">
                <a:extLst>
                  <a:ext uri="{FF2B5EF4-FFF2-40B4-BE49-F238E27FC236}">
                    <a16:creationId xmlns:a16="http://schemas.microsoft.com/office/drawing/2014/main" id="{E7C6BC0C-5804-B8D2-4F97-AFDBE91F9956}"/>
                  </a:ext>
                </a:extLst>
              </p:cNvPr>
              <p:cNvSpPr/>
              <p:nvPr/>
            </p:nvSpPr>
            <p:spPr>
              <a:xfrm>
                <a:off x="11085279" y="209280"/>
                <a:ext cx="900000" cy="900000"/>
              </a:xfrm>
              <a:prstGeom prst="donut">
                <a:avLst>
                  <a:gd name="adj" fmla="val 6586"/>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4" name="Rectangle 93">
                <a:extLst>
                  <a:ext uri="{FF2B5EF4-FFF2-40B4-BE49-F238E27FC236}">
                    <a16:creationId xmlns:a16="http://schemas.microsoft.com/office/drawing/2014/main" id="{A73A2CE6-1CF7-4EA6-C13E-9F6689133359}"/>
                  </a:ext>
                </a:extLst>
              </p:cNvPr>
              <p:cNvSpPr/>
              <p:nvPr/>
            </p:nvSpPr>
            <p:spPr>
              <a:xfrm>
                <a:off x="11503071" y="273367"/>
                <a:ext cx="59654" cy="75251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5" name="Rectangle 94">
                <a:extLst>
                  <a:ext uri="{FF2B5EF4-FFF2-40B4-BE49-F238E27FC236}">
                    <a16:creationId xmlns:a16="http://schemas.microsoft.com/office/drawing/2014/main" id="{B98C3556-B24D-AFAB-0C6A-5929A436AB9F}"/>
                  </a:ext>
                </a:extLst>
              </p:cNvPr>
              <p:cNvSpPr/>
              <p:nvPr/>
            </p:nvSpPr>
            <p:spPr>
              <a:xfrm rot="16200000">
                <a:off x="11510535" y="283021"/>
                <a:ext cx="59654" cy="75251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96" name="Graphic 95">
                <a:extLst>
                  <a:ext uri="{FF2B5EF4-FFF2-40B4-BE49-F238E27FC236}">
                    <a16:creationId xmlns:a16="http://schemas.microsoft.com/office/drawing/2014/main" id="{B22F4026-992E-3D3D-9AEC-86589D8CB172}"/>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rcRect/>
              <a:stretch/>
            </p:blipFill>
            <p:spPr>
              <a:xfrm>
                <a:off x="11342551" y="490614"/>
                <a:ext cx="380937" cy="380937"/>
              </a:xfrm>
              <a:prstGeom prst="rect">
                <a:avLst/>
              </a:prstGeom>
            </p:spPr>
          </p:pic>
          <p:sp>
            <p:nvSpPr>
              <p:cNvPr id="97" name="Circle: Hollow 96">
                <a:extLst>
                  <a:ext uri="{FF2B5EF4-FFF2-40B4-BE49-F238E27FC236}">
                    <a16:creationId xmlns:a16="http://schemas.microsoft.com/office/drawing/2014/main" id="{1E0B0155-AB2B-9B9D-56B0-2A0460B6F6E0}"/>
                  </a:ext>
                </a:extLst>
              </p:cNvPr>
              <p:cNvSpPr/>
              <p:nvPr/>
            </p:nvSpPr>
            <p:spPr>
              <a:xfrm>
                <a:off x="11256706" y="382966"/>
                <a:ext cx="552629" cy="552629"/>
              </a:xfrm>
              <a:prstGeom prst="donut">
                <a:avLst>
                  <a:gd name="adj" fmla="val 12441"/>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Tree>
    <p:extLst>
      <p:ext uri="{BB962C8B-B14F-4D97-AF65-F5344CB8AC3E}">
        <p14:creationId xmlns:p14="http://schemas.microsoft.com/office/powerpoint/2010/main" val="93483537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71FA059-3514-82B0-A05A-FEA7E84AE4F7}"/>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FCA3128-5B09-47E5-B47D-6F0CB7A5DE9F}" type="slidenum">
              <a:rPr kumimoji="0" lang="en-US" sz="900" b="0" i="0" u="none" strike="noStrike" kern="1200" cap="none" spc="0" normalizeH="0" baseline="0" noProof="0" smtClean="0">
                <a:ln>
                  <a:noFill/>
                </a:ln>
                <a:solidFill>
                  <a:srgbClr val="666666"/>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6</a:t>
            </a:fld>
            <a:endParaRPr kumimoji="0" lang="en-US" sz="900" b="0" i="0" u="none" strike="noStrike" kern="1200" cap="none" spc="0" normalizeH="0" baseline="0" noProof="0">
              <a:ln>
                <a:noFill/>
              </a:ln>
              <a:solidFill>
                <a:srgbClr val="666666"/>
              </a:solidFill>
              <a:effectLst/>
              <a:uLnTx/>
              <a:uFillTx/>
              <a:latin typeface="Arial" panose="020B0604020202020204"/>
              <a:ea typeface="+mn-ea"/>
              <a:cs typeface="+mn-cs"/>
            </a:endParaRPr>
          </a:p>
        </p:txBody>
      </p:sp>
      <p:sp>
        <p:nvSpPr>
          <p:cNvPr id="4" name="Title 1">
            <a:extLst>
              <a:ext uri="{FF2B5EF4-FFF2-40B4-BE49-F238E27FC236}">
                <a16:creationId xmlns:a16="http://schemas.microsoft.com/office/drawing/2014/main" id="{FD1553CB-3868-063B-E064-F5F9A7818508}"/>
              </a:ext>
            </a:extLst>
          </p:cNvPr>
          <p:cNvSpPr txBox="1">
            <a:spLocks/>
          </p:cNvSpPr>
          <p:nvPr/>
        </p:nvSpPr>
        <p:spPr bwMode="gray">
          <a:xfrm>
            <a:off x="587388" y="368300"/>
            <a:ext cx="11363312" cy="934900"/>
          </a:xfrm>
          <a:prstGeom prst="rect">
            <a:avLst/>
          </a:prstGeom>
        </p:spPr>
        <p:txBody>
          <a:bodyPr vert="horz" lIns="0" tIns="0" rIns="0" bIns="0" rtlCol="0" anchor="t" anchorCtr="0">
            <a:noAutofit/>
          </a:bodyPr>
          <a:lstStyle>
            <a:lvl1pPr algn="l" defTabSz="914400" rtl="0" eaLnBrk="1" latinLnBrk="0" hangingPunct="1">
              <a:lnSpc>
                <a:spcPct val="110000"/>
              </a:lnSpc>
              <a:spcBef>
                <a:spcPct val="0"/>
              </a:spcBef>
              <a:buNone/>
              <a:defRPr sz="3000" b="1" kern="1200">
                <a:solidFill>
                  <a:schemeClr val="accent1"/>
                </a:solidFill>
                <a:latin typeface="+mj-lt"/>
                <a:ea typeface="+mj-ea"/>
                <a:cs typeface="+mj-cs"/>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3000" b="1" i="0" u="none" strike="noStrike" kern="1200" cap="none" spc="0" normalizeH="0" baseline="0" noProof="0" dirty="0">
                <a:ln>
                  <a:noFill/>
                </a:ln>
                <a:solidFill>
                  <a:srgbClr val="00A5C0"/>
                </a:solidFill>
                <a:effectLst/>
                <a:uLnTx/>
                <a:uFillTx/>
                <a:latin typeface="Arial" panose="020B0604020202020204"/>
                <a:ea typeface="+mj-ea"/>
                <a:cs typeface="+mj-cs"/>
              </a:rPr>
              <a:t>Securities servicing model at the core of our proposition</a:t>
            </a:r>
            <a:br>
              <a:rPr kumimoji="0" lang="en-US" sz="3000" b="1" i="0" u="none" strike="noStrike" kern="1200" cap="none" spc="0" normalizeH="0" baseline="0" noProof="0" dirty="0">
                <a:ln>
                  <a:noFill/>
                </a:ln>
                <a:solidFill>
                  <a:srgbClr val="00A5C0"/>
                </a:solidFill>
                <a:effectLst/>
                <a:uLnTx/>
                <a:uFillTx/>
                <a:latin typeface="Arial" panose="020B0604020202020204"/>
                <a:ea typeface="+mj-ea"/>
                <a:cs typeface="+mj-cs"/>
              </a:rPr>
            </a:br>
            <a:r>
              <a:rPr kumimoji="0" lang="en-US" sz="2000" b="1" i="0" u="none" strike="noStrike" kern="1200" cap="none" spc="0" normalizeH="0" baseline="0" noProof="0" dirty="0">
                <a:ln>
                  <a:noFill/>
                </a:ln>
                <a:solidFill>
                  <a:srgbClr val="878787"/>
                </a:solidFill>
                <a:effectLst/>
                <a:uLnTx/>
                <a:uFillTx/>
                <a:latin typeface="Arial" panose="020B0604020202020204"/>
                <a:ea typeface="+mj-ea"/>
                <a:cs typeface="+mj-cs"/>
              </a:rPr>
              <a:t>Agnostic to access point or money-quality, delivered through a single connectivity</a:t>
            </a:r>
          </a:p>
        </p:txBody>
      </p:sp>
      <p:sp>
        <p:nvSpPr>
          <p:cNvPr id="5" name="Rectangle 4">
            <a:extLst>
              <a:ext uri="{FF2B5EF4-FFF2-40B4-BE49-F238E27FC236}">
                <a16:creationId xmlns:a16="http://schemas.microsoft.com/office/drawing/2014/main" id="{0E170A9E-7B33-7089-F614-232F0BCD3647}"/>
              </a:ext>
            </a:extLst>
          </p:cNvPr>
          <p:cNvSpPr/>
          <p:nvPr/>
        </p:nvSpPr>
        <p:spPr bwMode="auto">
          <a:xfrm>
            <a:off x="4542544" y="1682641"/>
            <a:ext cx="1044000" cy="327724"/>
          </a:xfrm>
          <a:prstGeom prst="rect">
            <a:avLst/>
          </a:prstGeom>
          <a:noFill/>
          <a:ln>
            <a:noFill/>
          </a:ln>
          <a:effectLst/>
        </p:spPr>
        <p:txBody>
          <a:bodyPr vert="horz" wrap="square" lIns="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666666"/>
                </a:solidFill>
                <a:effectLst/>
                <a:uLnTx/>
                <a:uFillTx/>
                <a:latin typeface="Arial" charset="0"/>
                <a:ea typeface="+mn-ea"/>
                <a:cs typeface="Arial" charset="0"/>
              </a:rPr>
              <a:t>Connectivity</a:t>
            </a:r>
            <a:br>
              <a:rPr kumimoji="0" lang="en-US" sz="1200" b="1" i="0" u="none" strike="noStrike" kern="1200" cap="none" spc="0" normalizeH="0" baseline="0" noProof="0" dirty="0">
                <a:ln>
                  <a:noFill/>
                </a:ln>
                <a:solidFill>
                  <a:srgbClr val="666666"/>
                </a:solidFill>
                <a:effectLst/>
                <a:uLnTx/>
                <a:uFillTx/>
                <a:latin typeface="Arial" charset="0"/>
                <a:ea typeface="+mn-ea"/>
                <a:cs typeface="Arial" charset="0"/>
              </a:rPr>
            </a:br>
            <a:r>
              <a:rPr kumimoji="0" lang="en-US" sz="1200" b="1" i="0" u="none" strike="noStrike" kern="1200" cap="none" spc="0" normalizeH="0" baseline="0" noProof="0" dirty="0">
                <a:ln>
                  <a:noFill/>
                </a:ln>
                <a:solidFill>
                  <a:srgbClr val="666666"/>
                </a:solidFill>
                <a:effectLst/>
                <a:uLnTx/>
                <a:uFillTx/>
                <a:latin typeface="Arial" charset="0"/>
                <a:ea typeface="+mn-ea"/>
                <a:cs typeface="Arial" charset="0"/>
              </a:rPr>
              <a:t>Chanel</a:t>
            </a:r>
          </a:p>
        </p:txBody>
      </p:sp>
      <p:sp>
        <p:nvSpPr>
          <p:cNvPr id="6" name="Rectangle 5">
            <a:extLst>
              <a:ext uri="{FF2B5EF4-FFF2-40B4-BE49-F238E27FC236}">
                <a16:creationId xmlns:a16="http://schemas.microsoft.com/office/drawing/2014/main" id="{04F039DD-9D3B-5610-DEBB-C148FE564A73}"/>
              </a:ext>
            </a:extLst>
          </p:cNvPr>
          <p:cNvSpPr/>
          <p:nvPr/>
        </p:nvSpPr>
        <p:spPr bwMode="auto">
          <a:xfrm>
            <a:off x="4542544" y="2335201"/>
            <a:ext cx="1044000" cy="327724"/>
          </a:xfrm>
          <a:prstGeom prst="rect">
            <a:avLst/>
          </a:prstGeom>
          <a:noFill/>
          <a:ln>
            <a:noFill/>
          </a:ln>
          <a:effectLst/>
        </p:spPr>
        <p:txBody>
          <a:bodyPr vert="horz" wrap="square" lIns="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666666"/>
                </a:solidFill>
                <a:effectLst/>
                <a:uLnTx/>
                <a:uFillTx/>
                <a:latin typeface="Arial" charset="0"/>
                <a:ea typeface="+mn-ea"/>
                <a:cs typeface="Arial" charset="0"/>
              </a:rPr>
              <a:t>Market</a:t>
            </a:r>
            <a:br>
              <a:rPr kumimoji="0" lang="en-US" sz="1200" b="1" i="0" u="none" strike="noStrike" kern="1200" cap="none" spc="0" normalizeH="0" baseline="0" noProof="0" dirty="0">
                <a:ln>
                  <a:noFill/>
                </a:ln>
                <a:solidFill>
                  <a:srgbClr val="666666"/>
                </a:solidFill>
                <a:effectLst/>
                <a:uLnTx/>
                <a:uFillTx/>
                <a:latin typeface="Arial" charset="0"/>
                <a:ea typeface="+mn-ea"/>
                <a:cs typeface="Arial" charset="0"/>
              </a:rPr>
            </a:br>
            <a:r>
              <a:rPr kumimoji="0" lang="en-US" sz="1200" b="1" i="0" u="none" strike="noStrike" kern="1200" cap="none" spc="0" normalizeH="0" baseline="0" noProof="0" dirty="0">
                <a:ln>
                  <a:noFill/>
                </a:ln>
                <a:solidFill>
                  <a:srgbClr val="666666"/>
                </a:solidFill>
                <a:effectLst/>
                <a:uLnTx/>
                <a:uFillTx/>
                <a:latin typeface="Arial" charset="0"/>
                <a:ea typeface="+mn-ea"/>
                <a:cs typeface="Arial" charset="0"/>
              </a:rPr>
              <a:t>Access</a:t>
            </a:r>
          </a:p>
        </p:txBody>
      </p:sp>
      <p:sp>
        <p:nvSpPr>
          <p:cNvPr id="7" name="Rectangle 6">
            <a:extLst>
              <a:ext uri="{FF2B5EF4-FFF2-40B4-BE49-F238E27FC236}">
                <a16:creationId xmlns:a16="http://schemas.microsoft.com/office/drawing/2014/main" id="{19B475A7-0E48-FAB0-70BE-97B2462DB336}"/>
              </a:ext>
            </a:extLst>
          </p:cNvPr>
          <p:cNvSpPr/>
          <p:nvPr/>
        </p:nvSpPr>
        <p:spPr bwMode="auto">
          <a:xfrm>
            <a:off x="4542544" y="2996594"/>
            <a:ext cx="1044000" cy="327724"/>
          </a:xfrm>
          <a:prstGeom prst="rect">
            <a:avLst/>
          </a:prstGeom>
          <a:noFill/>
          <a:ln>
            <a:noFill/>
          </a:ln>
          <a:effectLst/>
        </p:spPr>
        <p:txBody>
          <a:bodyPr vert="horz" wrap="square" lIns="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666666"/>
                </a:solidFill>
                <a:effectLst/>
                <a:uLnTx/>
                <a:uFillTx/>
                <a:latin typeface="Arial" charset="0"/>
                <a:ea typeface="+mn-ea"/>
                <a:cs typeface="Arial" charset="0"/>
              </a:rPr>
              <a:t>Access Model</a:t>
            </a:r>
          </a:p>
        </p:txBody>
      </p:sp>
      <p:sp>
        <p:nvSpPr>
          <p:cNvPr id="8" name="Rectangle 7">
            <a:extLst>
              <a:ext uri="{FF2B5EF4-FFF2-40B4-BE49-F238E27FC236}">
                <a16:creationId xmlns:a16="http://schemas.microsoft.com/office/drawing/2014/main" id="{0F5BC36B-FB0B-16EC-E448-00ECDC2C4FFC}"/>
              </a:ext>
            </a:extLst>
          </p:cNvPr>
          <p:cNvSpPr/>
          <p:nvPr/>
        </p:nvSpPr>
        <p:spPr bwMode="auto">
          <a:xfrm>
            <a:off x="4542544" y="3678550"/>
            <a:ext cx="1044000" cy="327724"/>
          </a:xfrm>
          <a:prstGeom prst="rect">
            <a:avLst/>
          </a:prstGeom>
          <a:noFill/>
          <a:ln>
            <a:noFill/>
          </a:ln>
          <a:effectLst/>
        </p:spPr>
        <p:txBody>
          <a:bodyPr vert="horz" wrap="square" lIns="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666666"/>
                </a:solidFill>
                <a:effectLst/>
                <a:uLnTx/>
                <a:uFillTx/>
                <a:latin typeface="Arial" charset="0"/>
                <a:ea typeface="+mn-ea"/>
                <a:cs typeface="Arial" charset="0"/>
              </a:rPr>
              <a:t>Cash</a:t>
            </a:r>
            <a:br>
              <a:rPr kumimoji="0" lang="en-US" sz="1200" b="1" i="0" u="none" strike="noStrike" kern="1200" cap="none" spc="0" normalizeH="0" baseline="0" noProof="0" dirty="0">
                <a:ln>
                  <a:noFill/>
                </a:ln>
                <a:solidFill>
                  <a:srgbClr val="666666"/>
                </a:solidFill>
                <a:effectLst/>
                <a:uLnTx/>
                <a:uFillTx/>
                <a:latin typeface="Arial" charset="0"/>
                <a:ea typeface="+mn-ea"/>
                <a:cs typeface="Arial" charset="0"/>
              </a:rPr>
            </a:br>
            <a:r>
              <a:rPr kumimoji="0" lang="en-US" sz="1200" b="1" i="0" u="none" strike="noStrike" kern="1200" cap="none" spc="0" normalizeH="0" baseline="0" noProof="0" dirty="0">
                <a:ln>
                  <a:noFill/>
                </a:ln>
                <a:solidFill>
                  <a:srgbClr val="666666"/>
                </a:solidFill>
                <a:effectLst/>
                <a:uLnTx/>
                <a:uFillTx/>
                <a:latin typeface="Arial" charset="0"/>
                <a:ea typeface="+mn-ea"/>
                <a:cs typeface="Arial" charset="0"/>
              </a:rPr>
              <a:t>Quality</a:t>
            </a:r>
          </a:p>
        </p:txBody>
      </p:sp>
      <p:sp>
        <p:nvSpPr>
          <p:cNvPr id="9" name="Rectangle 8">
            <a:extLst>
              <a:ext uri="{FF2B5EF4-FFF2-40B4-BE49-F238E27FC236}">
                <a16:creationId xmlns:a16="http://schemas.microsoft.com/office/drawing/2014/main" id="{097051A2-5913-9484-BAD3-0753CB917DE6}"/>
              </a:ext>
            </a:extLst>
          </p:cNvPr>
          <p:cNvSpPr/>
          <p:nvPr/>
        </p:nvSpPr>
        <p:spPr bwMode="auto">
          <a:xfrm>
            <a:off x="4542544" y="4345877"/>
            <a:ext cx="1044000" cy="327724"/>
          </a:xfrm>
          <a:prstGeom prst="rect">
            <a:avLst/>
          </a:prstGeom>
          <a:noFill/>
          <a:ln>
            <a:noFill/>
          </a:ln>
          <a:effectLst/>
        </p:spPr>
        <p:txBody>
          <a:bodyPr vert="horz" wrap="square" lIns="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666666"/>
                </a:solidFill>
                <a:effectLst/>
                <a:uLnTx/>
                <a:uFillTx/>
                <a:latin typeface="Arial" charset="0"/>
                <a:ea typeface="+mn-ea"/>
                <a:cs typeface="Arial" charset="0"/>
              </a:rPr>
              <a:t>Settlement System</a:t>
            </a:r>
          </a:p>
        </p:txBody>
      </p:sp>
      <p:sp>
        <p:nvSpPr>
          <p:cNvPr id="10" name="Rectangle 9">
            <a:extLst>
              <a:ext uri="{FF2B5EF4-FFF2-40B4-BE49-F238E27FC236}">
                <a16:creationId xmlns:a16="http://schemas.microsoft.com/office/drawing/2014/main" id="{2FAADADB-C61D-B51B-5AA0-D449ACBA1078}"/>
              </a:ext>
            </a:extLst>
          </p:cNvPr>
          <p:cNvSpPr/>
          <p:nvPr/>
        </p:nvSpPr>
        <p:spPr bwMode="auto">
          <a:xfrm>
            <a:off x="4542544" y="5145267"/>
            <a:ext cx="1044000" cy="1159469"/>
          </a:xfrm>
          <a:prstGeom prst="rect">
            <a:avLst/>
          </a:prstGeom>
          <a:noFill/>
          <a:ln>
            <a:noFill/>
          </a:ln>
          <a:effectLst/>
        </p:spPr>
        <p:txBody>
          <a:bodyPr vert="horz" wrap="square" lIns="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666666"/>
                </a:solidFill>
                <a:effectLst/>
                <a:uLnTx/>
                <a:uFillTx/>
                <a:latin typeface="Arial" charset="0"/>
                <a:ea typeface="+mn-ea"/>
                <a:cs typeface="Arial" charset="0"/>
              </a:rPr>
              <a:t>Asset Servicing</a:t>
            </a:r>
          </a:p>
        </p:txBody>
      </p:sp>
      <p:sp>
        <p:nvSpPr>
          <p:cNvPr id="11" name="Rectangle 10">
            <a:extLst>
              <a:ext uri="{FF2B5EF4-FFF2-40B4-BE49-F238E27FC236}">
                <a16:creationId xmlns:a16="http://schemas.microsoft.com/office/drawing/2014/main" id="{D8D95899-DAE9-12A2-562E-F46C94E76487}"/>
              </a:ext>
            </a:extLst>
          </p:cNvPr>
          <p:cNvSpPr/>
          <p:nvPr/>
        </p:nvSpPr>
        <p:spPr bwMode="auto">
          <a:xfrm>
            <a:off x="5664417" y="1682641"/>
            <a:ext cx="5873633" cy="327724"/>
          </a:xfrm>
          <a:prstGeom prst="rect">
            <a:avLst/>
          </a:prstGeom>
          <a:noFill/>
          <a:ln>
            <a:noFill/>
          </a:ln>
          <a:effectLst/>
        </p:spPr>
        <p:txBody>
          <a:bodyPr vert="horz" wrap="square" lIns="0" tIns="45720" rIns="91440" bIns="45720" numCol="1" rtlCol="0" anchor="ctr" anchorCtr="0" compatLnSpc="1">
            <a:prstTxWarp prst="textNoShape">
              <a:avLst/>
            </a:prstTxWarp>
          </a:bodyPr>
          <a:lstStyle/>
          <a:p>
            <a:pPr marL="171450" marR="0" lvl="0" indent="-171450" algn="l" defTabSz="914400" rtl="0" eaLnBrk="1" fontAlgn="auto" latinLnBrk="0" hangingPunct="1">
              <a:lnSpc>
                <a:spcPct val="100000"/>
              </a:lnSpc>
              <a:spcBef>
                <a:spcPct val="50000"/>
              </a:spcBef>
              <a:spcAft>
                <a:spcPts val="0"/>
              </a:spcAft>
              <a:buClrTx/>
              <a:buSzTx/>
              <a:buFontTx/>
              <a:buBlip>
                <a:blip r:embed="rId2">
                  <a:extLst>
                    <a:ext uri="{96DAC541-7B7A-43D3-8B79-37D633B846F1}">
                      <asvg:svgBlip xmlns:asvg="http://schemas.microsoft.com/office/drawing/2016/SVG/main" r:embed="rId3"/>
                    </a:ext>
                  </a:extLst>
                </a:blip>
              </a:buBlip>
              <a:tabLst/>
              <a:defRPr/>
            </a:pPr>
            <a:r>
              <a:rPr kumimoji="0" lang="en-US" sz="1200" b="1" i="0" u="none" strike="noStrike" kern="1200" cap="none" spc="0" normalizeH="0" baseline="0" noProof="0" dirty="0">
                <a:ln>
                  <a:noFill/>
                </a:ln>
                <a:solidFill>
                  <a:srgbClr val="666666"/>
                </a:solidFill>
                <a:effectLst/>
                <a:uLnTx/>
                <a:uFillTx/>
                <a:latin typeface="Arial" charset="0"/>
                <a:ea typeface="+mn-ea"/>
                <a:cs typeface="Arial" charset="0"/>
              </a:rPr>
              <a:t>Single</a:t>
            </a:r>
            <a:r>
              <a:rPr kumimoji="0" lang="en-US" sz="1200" b="0" i="0" u="none" strike="noStrike" kern="1200" cap="none" spc="0" normalizeH="0" baseline="0" noProof="0" dirty="0">
                <a:ln>
                  <a:noFill/>
                </a:ln>
                <a:solidFill>
                  <a:srgbClr val="666666"/>
                </a:solidFill>
                <a:effectLst/>
                <a:uLnTx/>
                <a:uFillTx/>
                <a:latin typeface="Arial" charset="0"/>
                <a:ea typeface="+mn-ea"/>
                <a:cs typeface="Arial" charset="0"/>
              </a:rPr>
              <a:t> </a:t>
            </a:r>
            <a:r>
              <a:rPr kumimoji="0" lang="en-US" sz="1200" b="1" i="0" u="none" strike="noStrike" kern="1200" cap="none" spc="0" normalizeH="0" baseline="0" noProof="0" dirty="0">
                <a:ln>
                  <a:noFill/>
                </a:ln>
                <a:solidFill>
                  <a:srgbClr val="666666"/>
                </a:solidFill>
                <a:effectLst/>
                <a:uLnTx/>
                <a:uFillTx/>
                <a:latin typeface="Arial" charset="0"/>
                <a:ea typeface="+mn-ea"/>
                <a:cs typeface="Arial" charset="0"/>
              </a:rPr>
              <a:t>connectivity</a:t>
            </a:r>
            <a:r>
              <a:rPr kumimoji="0" lang="en-US" sz="1200" b="0" i="0" u="none" strike="noStrike" kern="1200" cap="none" spc="0" normalizeH="0" baseline="0" noProof="0" dirty="0">
                <a:ln>
                  <a:noFill/>
                </a:ln>
                <a:solidFill>
                  <a:srgbClr val="666666"/>
                </a:solidFill>
                <a:effectLst/>
                <a:uLnTx/>
                <a:uFillTx/>
                <a:latin typeface="Arial" charset="0"/>
                <a:ea typeface="+mn-ea"/>
                <a:cs typeface="Arial" charset="0"/>
              </a:rPr>
              <a:t> </a:t>
            </a:r>
            <a:r>
              <a:rPr kumimoji="0" lang="en-US" sz="1200" b="1" i="0" u="none" strike="noStrike" kern="1200" cap="none" spc="0" normalizeH="0" baseline="0" noProof="0" dirty="0">
                <a:ln>
                  <a:noFill/>
                </a:ln>
                <a:solidFill>
                  <a:srgbClr val="666666"/>
                </a:solidFill>
                <a:effectLst/>
                <a:uLnTx/>
                <a:uFillTx/>
                <a:latin typeface="Arial" charset="0"/>
                <a:ea typeface="+mn-ea"/>
                <a:cs typeface="Arial" charset="0"/>
              </a:rPr>
              <a:t>platform</a:t>
            </a:r>
            <a:r>
              <a:rPr kumimoji="0" lang="en-US" sz="1200" b="0" i="0" u="none" strike="noStrike" kern="1200" cap="none" spc="0" normalizeH="0" baseline="0" noProof="0" dirty="0">
                <a:ln>
                  <a:noFill/>
                </a:ln>
                <a:solidFill>
                  <a:srgbClr val="666666"/>
                </a:solidFill>
                <a:effectLst/>
                <a:uLnTx/>
                <a:uFillTx/>
                <a:latin typeface="Arial" charset="0"/>
                <a:ea typeface="+mn-ea"/>
                <a:cs typeface="Arial" charset="0"/>
              </a:rPr>
              <a:t> – CBL or CBF access sufficient to enjoy entire suite of markets and services. No change required for clients</a:t>
            </a:r>
          </a:p>
        </p:txBody>
      </p:sp>
      <p:sp>
        <p:nvSpPr>
          <p:cNvPr id="12" name="Rectangle 11">
            <a:extLst>
              <a:ext uri="{FF2B5EF4-FFF2-40B4-BE49-F238E27FC236}">
                <a16:creationId xmlns:a16="http://schemas.microsoft.com/office/drawing/2014/main" id="{5610540E-521E-D7BA-CF85-DC74F05FA9FB}"/>
              </a:ext>
            </a:extLst>
          </p:cNvPr>
          <p:cNvSpPr/>
          <p:nvPr/>
        </p:nvSpPr>
        <p:spPr bwMode="auto">
          <a:xfrm>
            <a:off x="5664416" y="2335200"/>
            <a:ext cx="5873632" cy="327725"/>
          </a:xfrm>
          <a:prstGeom prst="rect">
            <a:avLst/>
          </a:prstGeom>
          <a:noFill/>
          <a:ln>
            <a:noFill/>
          </a:ln>
          <a:effectLst/>
        </p:spPr>
        <p:txBody>
          <a:bodyPr vert="horz" wrap="square" lIns="0" tIns="45720" rIns="91440" bIns="45720" numCol="1" rtlCol="0" anchor="ctr" anchorCtr="0" compatLnSpc="1">
            <a:prstTxWarp prst="textNoShape">
              <a:avLst/>
            </a:prstTxWarp>
          </a:bodyPr>
          <a:lstStyle/>
          <a:p>
            <a:pPr marL="171450" marR="0" lvl="0" indent="-171450" algn="l" defTabSz="914400" rtl="0" eaLnBrk="1" fontAlgn="auto" latinLnBrk="0" hangingPunct="1">
              <a:lnSpc>
                <a:spcPct val="100000"/>
              </a:lnSpc>
              <a:spcBef>
                <a:spcPct val="50000"/>
              </a:spcBef>
              <a:spcAft>
                <a:spcPts val="0"/>
              </a:spcAft>
              <a:buClrTx/>
              <a:buSzTx/>
              <a:buFontTx/>
              <a:buBlip>
                <a:blip r:embed="rId2">
                  <a:extLst>
                    <a:ext uri="{96DAC541-7B7A-43D3-8B79-37D633B846F1}">
                      <asvg:svgBlip xmlns:asvg="http://schemas.microsoft.com/office/drawing/2016/SVG/main" r:embed="rId3"/>
                    </a:ext>
                  </a:extLst>
                </a:blip>
              </a:buBlip>
              <a:tabLst/>
              <a:defRPr/>
            </a:pPr>
            <a:r>
              <a:rPr kumimoji="0" lang="en-US" sz="1200" b="0" i="0" u="none" strike="noStrike" kern="1200" cap="none" spc="0" normalizeH="0" baseline="0" noProof="0" dirty="0">
                <a:ln>
                  <a:noFill/>
                </a:ln>
                <a:solidFill>
                  <a:srgbClr val="666666"/>
                </a:solidFill>
                <a:effectLst/>
                <a:uLnTx/>
                <a:uFillTx/>
                <a:latin typeface="Arial" charset="0"/>
                <a:ea typeface="+mn-ea"/>
                <a:cs typeface="Arial" charset="0"/>
              </a:rPr>
              <a:t>All 60 markets, asset classes and currencies accessible through a </a:t>
            </a:r>
            <a:r>
              <a:rPr kumimoji="0" lang="en-US" sz="1200" b="1" i="0" u="none" strike="noStrike" kern="1200" cap="none" spc="0" normalizeH="0" baseline="0" noProof="0" dirty="0">
                <a:ln>
                  <a:noFill/>
                </a:ln>
                <a:solidFill>
                  <a:srgbClr val="666666"/>
                </a:solidFill>
                <a:effectLst/>
                <a:uLnTx/>
                <a:uFillTx/>
                <a:latin typeface="Arial" charset="0"/>
                <a:ea typeface="+mn-ea"/>
                <a:cs typeface="Arial" charset="0"/>
              </a:rPr>
              <a:t>single</a:t>
            </a:r>
            <a:r>
              <a:rPr kumimoji="0" lang="en-US" sz="1200" b="0" i="0" u="none" strike="noStrike" kern="1200" cap="none" spc="0" normalizeH="0" baseline="0" noProof="0" dirty="0">
                <a:ln>
                  <a:noFill/>
                </a:ln>
                <a:solidFill>
                  <a:srgbClr val="666666"/>
                </a:solidFill>
                <a:effectLst/>
                <a:uLnTx/>
                <a:uFillTx/>
                <a:latin typeface="Arial" charset="0"/>
                <a:ea typeface="+mn-ea"/>
                <a:cs typeface="Arial" charset="0"/>
              </a:rPr>
              <a:t> </a:t>
            </a:r>
            <a:r>
              <a:rPr kumimoji="0" lang="en-US" sz="1200" b="1" i="0" u="none" strike="noStrike" kern="1200" cap="none" spc="0" normalizeH="0" baseline="0" noProof="0" dirty="0">
                <a:ln>
                  <a:noFill/>
                </a:ln>
                <a:solidFill>
                  <a:srgbClr val="666666"/>
                </a:solidFill>
                <a:effectLst/>
                <a:uLnTx/>
                <a:uFillTx/>
                <a:latin typeface="Arial" charset="0"/>
                <a:ea typeface="+mn-ea"/>
                <a:cs typeface="Arial" charset="0"/>
              </a:rPr>
              <a:t>account</a:t>
            </a:r>
          </a:p>
        </p:txBody>
      </p:sp>
      <p:sp>
        <p:nvSpPr>
          <p:cNvPr id="13" name="Rectangle 12">
            <a:extLst>
              <a:ext uri="{FF2B5EF4-FFF2-40B4-BE49-F238E27FC236}">
                <a16:creationId xmlns:a16="http://schemas.microsoft.com/office/drawing/2014/main" id="{5803C4EC-F8EE-6313-C874-9D1462F5E33A}"/>
              </a:ext>
            </a:extLst>
          </p:cNvPr>
          <p:cNvSpPr/>
          <p:nvPr/>
        </p:nvSpPr>
        <p:spPr bwMode="auto">
          <a:xfrm>
            <a:off x="5664418" y="2987761"/>
            <a:ext cx="5873631" cy="336557"/>
          </a:xfrm>
          <a:prstGeom prst="rect">
            <a:avLst/>
          </a:prstGeom>
          <a:noFill/>
          <a:ln>
            <a:noFill/>
          </a:ln>
          <a:effectLst/>
        </p:spPr>
        <p:txBody>
          <a:bodyPr vert="horz" wrap="square" lIns="0" tIns="45720" rIns="91440" bIns="45720" numCol="1" rtlCol="0" anchor="ctr" anchorCtr="0" compatLnSpc="1">
            <a:prstTxWarp prst="textNoShape">
              <a:avLst/>
            </a:prstTxWarp>
          </a:bodyPr>
          <a:lstStyle/>
          <a:p>
            <a:pPr marL="171450" marR="0" lvl="0" indent="-171450" algn="l" defTabSz="914400" rtl="0" eaLnBrk="1" fontAlgn="auto" latinLnBrk="0" hangingPunct="1">
              <a:lnSpc>
                <a:spcPct val="100000"/>
              </a:lnSpc>
              <a:spcBef>
                <a:spcPct val="50000"/>
              </a:spcBef>
              <a:spcAft>
                <a:spcPts val="0"/>
              </a:spcAft>
              <a:buClrTx/>
              <a:buSzTx/>
              <a:buFontTx/>
              <a:buBlip>
                <a:blip r:embed="rId2">
                  <a:extLst>
                    <a:ext uri="{96DAC541-7B7A-43D3-8B79-37D633B846F1}">
                      <asvg:svgBlip xmlns:asvg="http://schemas.microsoft.com/office/drawing/2016/SVG/main" r:embed="rId3"/>
                    </a:ext>
                  </a:extLst>
                </a:blip>
              </a:buBlip>
              <a:tabLst/>
              <a:defRPr/>
            </a:pPr>
            <a:r>
              <a:rPr kumimoji="0" lang="en-US" sz="1200" b="1" i="0" u="none" strike="noStrike" kern="1200" cap="none" spc="0" normalizeH="0" baseline="0" noProof="0" dirty="0">
                <a:ln>
                  <a:noFill/>
                </a:ln>
                <a:solidFill>
                  <a:srgbClr val="666666"/>
                </a:solidFill>
                <a:effectLst/>
                <a:uLnTx/>
                <a:uFillTx/>
                <a:latin typeface="Arial" charset="0"/>
                <a:ea typeface="+mn-ea"/>
                <a:cs typeface="Arial" charset="0"/>
              </a:rPr>
              <a:t>Single</a:t>
            </a:r>
            <a:r>
              <a:rPr kumimoji="0" lang="en-US" sz="1200" b="0" i="0" u="none" strike="noStrike" kern="1200" cap="none" spc="0" normalizeH="0" baseline="0" noProof="0" dirty="0">
                <a:ln>
                  <a:noFill/>
                </a:ln>
                <a:solidFill>
                  <a:srgbClr val="666666"/>
                </a:solidFill>
                <a:effectLst/>
                <a:uLnTx/>
                <a:uFillTx/>
                <a:latin typeface="Arial" charset="0"/>
                <a:ea typeface="+mn-ea"/>
                <a:cs typeface="Arial" charset="0"/>
              </a:rPr>
              <a:t> </a:t>
            </a:r>
            <a:r>
              <a:rPr kumimoji="0" lang="en-US" sz="1200" b="1" i="0" u="none" strike="noStrike" kern="1200" cap="none" spc="0" normalizeH="0" baseline="0" noProof="0" dirty="0">
                <a:ln>
                  <a:noFill/>
                </a:ln>
                <a:solidFill>
                  <a:srgbClr val="666666"/>
                </a:solidFill>
                <a:effectLst/>
                <a:uLnTx/>
                <a:uFillTx/>
                <a:latin typeface="Arial" charset="0"/>
                <a:ea typeface="+mn-ea"/>
                <a:cs typeface="Arial" charset="0"/>
              </a:rPr>
              <a:t>liquidity</a:t>
            </a:r>
            <a:r>
              <a:rPr kumimoji="0" lang="en-US" sz="1200" b="0" i="0" u="none" strike="noStrike" kern="1200" cap="none" spc="0" normalizeH="0" baseline="0" noProof="0" dirty="0">
                <a:ln>
                  <a:noFill/>
                </a:ln>
                <a:solidFill>
                  <a:srgbClr val="666666"/>
                </a:solidFill>
                <a:effectLst/>
                <a:uLnTx/>
                <a:uFillTx/>
                <a:latin typeface="Arial" charset="0"/>
                <a:ea typeface="+mn-ea"/>
                <a:cs typeface="Arial" charset="0"/>
              </a:rPr>
              <a:t> </a:t>
            </a:r>
            <a:r>
              <a:rPr kumimoji="0" lang="en-US" sz="1200" b="1" i="0" u="none" strike="noStrike" kern="1200" cap="none" spc="0" normalizeH="0" baseline="0" noProof="0" dirty="0">
                <a:ln>
                  <a:noFill/>
                </a:ln>
                <a:solidFill>
                  <a:srgbClr val="666666"/>
                </a:solidFill>
                <a:effectLst/>
                <a:uLnTx/>
                <a:uFillTx/>
                <a:latin typeface="Arial" charset="0"/>
                <a:ea typeface="+mn-ea"/>
                <a:cs typeface="Arial" charset="0"/>
              </a:rPr>
              <a:t>pool</a:t>
            </a:r>
            <a:r>
              <a:rPr kumimoji="0" lang="en-US" sz="1200" b="0" i="0" u="none" strike="noStrike" kern="1200" cap="none" spc="0" normalizeH="0" baseline="0" noProof="0" dirty="0">
                <a:ln>
                  <a:noFill/>
                </a:ln>
                <a:solidFill>
                  <a:srgbClr val="666666"/>
                </a:solidFill>
                <a:effectLst/>
                <a:uLnTx/>
                <a:uFillTx/>
                <a:latin typeface="Arial" charset="0"/>
                <a:ea typeface="+mn-ea"/>
                <a:cs typeface="Arial" charset="0"/>
              </a:rPr>
              <a:t> of ICSD and CSD assets. Collateral can be seamlessly transferred at any time between CSD accounts and ICSD </a:t>
            </a:r>
          </a:p>
        </p:txBody>
      </p:sp>
      <p:sp>
        <p:nvSpPr>
          <p:cNvPr id="14" name="Rectangle 13">
            <a:extLst>
              <a:ext uri="{FF2B5EF4-FFF2-40B4-BE49-F238E27FC236}">
                <a16:creationId xmlns:a16="http://schemas.microsoft.com/office/drawing/2014/main" id="{C4947C65-1ABE-2F89-C5E5-B7CD722AE5D4}"/>
              </a:ext>
            </a:extLst>
          </p:cNvPr>
          <p:cNvSpPr/>
          <p:nvPr/>
        </p:nvSpPr>
        <p:spPr bwMode="auto">
          <a:xfrm>
            <a:off x="5664416" y="3657987"/>
            <a:ext cx="5873632" cy="327725"/>
          </a:xfrm>
          <a:prstGeom prst="rect">
            <a:avLst/>
          </a:prstGeom>
          <a:noFill/>
          <a:ln>
            <a:noFill/>
          </a:ln>
          <a:effectLst/>
        </p:spPr>
        <p:txBody>
          <a:bodyPr vert="horz" wrap="square" lIns="0" tIns="45720" rIns="91440" bIns="45720" numCol="1" rtlCol="0" anchor="ctr" anchorCtr="0" compatLnSpc="1">
            <a:prstTxWarp prst="textNoShape">
              <a:avLst/>
            </a:prstTxWarp>
          </a:bodyPr>
          <a:lstStyle/>
          <a:p>
            <a:pPr marL="171450" marR="0" lvl="0" indent="-171450" algn="l" defTabSz="914400" rtl="0" eaLnBrk="1" fontAlgn="auto" latinLnBrk="0" hangingPunct="1">
              <a:lnSpc>
                <a:spcPct val="100000"/>
              </a:lnSpc>
              <a:spcBef>
                <a:spcPct val="50000"/>
              </a:spcBef>
              <a:spcAft>
                <a:spcPts val="0"/>
              </a:spcAft>
              <a:buClrTx/>
              <a:buSzTx/>
              <a:buFontTx/>
              <a:buBlip>
                <a:blip r:embed="rId2">
                  <a:extLst>
                    <a:ext uri="{96DAC541-7B7A-43D3-8B79-37D633B846F1}">
                      <asvg:svgBlip xmlns:asvg="http://schemas.microsoft.com/office/drawing/2016/SVG/main" r:embed="rId3"/>
                    </a:ext>
                  </a:extLst>
                </a:blip>
              </a:buBlip>
              <a:tabLst/>
              <a:defRPr/>
            </a:pPr>
            <a:r>
              <a:rPr kumimoji="0" lang="en-US" sz="1200" b="0" i="0" u="none" strike="noStrike" kern="1200" cap="none" spc="0" normalizeH="0" baseline="0" noProof="0" dirty="0">
                <a:ln>
                  <a:noFill/>
                </a:ln>
                <a:solidFill>
                  <a:srgbClr val="666666"/>
                </a:solidFill>
                <a:effectLst/>
                <a:uLnTx/>
                <a:uFillTx/>
                <a:latin typeface="Arial" charset="0"/>
                <a:ea typeface="+mn-ea"/>
                <a:cs typeface="Arial" charset="0"/>
              </a:rPr>
              <a:t>Choice to keep settlement in </a:t>
            </a:r>
            <a:r>
              <a:rPr kumimoji="0" lang="en-US" sz="1200" b="1" i="0" u="none" strike="noStrike" kern="1200" cap="none" spc="0" normalizeH="0" baseline="0" noProof="0" dirty="0" err="1">
                <a:ln>
                  <a:noFill/>
                </a:ln>
                <a:solidFill>
                  <a:srgbClr val="666666"/>
                </a:solidFill>
                <a:effectLst/>
                <a:uLnTx/>
                <a:uFillTx/>
                <a:latin typeface="Arial" charset="0"/>
                <a:ea typeface="+mn-ea"/>
                <a:cs typeface="Arial" charset="0"/>
              </a:rPr>
              <a:t>CoBM</a:t>
            </a:r>
            <a:r>
              <a:rPr kumimoji="0" lang="en-US" sz="1200" b="0" i="0" u="none" strike="noStrike" kern="1200" cap="none" spc="0" normalizeH="0" baseline="0" noProof="0" dirty="0">
                <a:ln>
                  <a:noFill/>
                </a:ln>
                <a:solidFill>
                  <a:srgbClr val="666666"/>
                </a:solidFill>
                <a:effectLst/>
                <a:uLnTx/>
                <a:uFillTx/>
                <a:latin typeface="Arial" charset="0"/>
                <a:ea typeface="+mn-ea"/>
                <a:cs typeface="Arial" charset="0"/>
              </a:rPr>
              <a:t> or </a:t>
            </a:r>
            <a:r>
              <a:rPr kumimoji="0" lang="en-US" sz="1200" b="1" i="0" u="none" strike="noStrike" kern="1200" cap="none" spc="0" normalizeH="0" baseline="0" noProof="0" dirty="0" err="1">
                <a:ln>
                  <a:noFill/>
                </a:ln>
                <a:solidFill>
                  <a:srgbClr val="666666"/>
                </a:solidFill>
                <a:effectLst/>
                <a:uLnTx/>
                <a:uFillTx/>
                <a:latin typeface="Arial" charset="0"/>
                <a:ea typeface="+mn-ea"/>
                <a:cs typeface="Arial" charset="0"/>
              </a:rPr>
              <a:t>CeBM</a:t>
            </a:r>
            <a:endParaRPr kumimoji="0" lang="en-US" sz="1200" b="1" i="0" u="none" strike="noStrike" kern="1200" cap="none" spc="0" normalizeH="0" baseline="0" noProof="0" dirty="0">
              <a:ln>
                <a:noFill/>
              </a:ln>
              <a:solidFill>
                <a:srgbClr val="666666"/>
              </a:solidFill>
              <a:effectLst/>
              <a:uLnTx/>
              <a:uFillTx/>
              <a:latin typeface="Arial" charset="0"/>
              <a:ea typeface="+mn-ea"/>
              <a:cs typeface="Arial" charset="0"/>
            </a:endParaRPr>
          </a:p>
        </p:txBody>
      </p:sp>
      <p:sp>
        <p:nvSpPr>
          <p:cNvPr id="15" name="Rectangle 14">
            <a:extLst>
              <a:ext uri="{FF2B5EF4-FFF2-40B4-BE49-F238E27FC236}">
                <a16:creationId xmlns:a16="http://schemas.microsoft.com/office/drawing/2014/main" id="{F7E82CF8-76B1-E4E7-0EEE-6E3BAE4A1DBD}"/>
              </a:ext>
            </a:extLst>
          </p:cNvPr>
          <p:cNvSpPr/>
          <p:nvPr/>
        </p:nvSpPr>
        <p:spPr bwMode="auto">
          <a:xfrm>
            <a:off x="5664416" y="4328212"/>
            <a:ext cx="5873632" cy="345390"/>
          </a:xfrm>
          <a:prstGeom prst="rect">
            <a:avLst/>
          </a:prstGeom>
          <a:noFill/>
          <a:ln>
            <a:noFill/>
          </a:ln>
          <a:effectLst/>
        </p:spPr>
        <p:txBody>
          <a:bodyPr vert="horz" wrap="square" lIns="0" tIns="45720" rIns="91440" bIns="45720" numCol="1" rtlCol="0" anchor="ctr" anchorCtr="0" compatLnSpc="1">
            <a:prstTxWarp prst="textNoShape">
              <a:avLst/>
            </a:prstTxWarp>
          </a:bodyPr>
          <a:lstStyle/>
          <a:p>
            <a:pPr marL="171450" marR="0" lvl="0" indent="-171450" algn="l" defTabSz="914400" rtl="0" eaLnBrk="1" fontAlgn="auto" latinLnBrk="0" hangingPunct="1">
              <a:lnSpc>
                <a:spcPct val="100000"/>
              </a:lnSpc>
              <a:spcBef>
                <a:spcPct val="50000"/>
              </a:spcBef>
              <a:spcAft>
                <a:spcPts val="0"/>
              </a:spcAft>
              <a:buClrTx/>
              <a:buSzTx/>
              <a:buFontTx/>
              <a:buBlip>
                <a:blip r:embed="rId2">
                  <a:extLst>
                    <a:ext uri="{96DAC541-7B7A-43D3-8B79-37D633B846F1}">
                      <asvg:svgBlip xmlns:asvg="http://schemas.microsoft.com/office/drawing/2016/SVG/main" r:embed="rId3"/>
                    </a:ext>
                  </a:extLst>
                </a:blip>
              </a:buBlip>
              <a:tabLst/>
              <a:defRPr/>
            </a:pPr>
            <a:r>
              <a:rPr kumimoji="0" lang="en-US" sz="1200" b="0" i="0" u="none" strike="noStrike" kern="1200" cap="none" spc="0" normalizeH="0" baseline="0" noProof="0" dirty="0">
                <a:ln>
                  <a:noFill/>
                </a:ln>
                <a:solidFill>
                  <a:srgbClr val="666666"/>
                </a:solidFill>
                <a:effectLst/>
                <a:uLnTx/>
                <a:uFillTx/>
                <a:latin typeface="Arial" charset="0"/>
                <a:ea typeface="+mn-ea"/>
                <a:cs typeface="Arial" charset="0"/>
              </a:rPr>
              <a:t>Settlement rates at Clearstream are higher compared to market average. Overall </a:t>
            </a:r>
            <a:r>
              <a:rPr kumimoji="0" lang="en-US" sz="1200" b="1" i="0" u="none" strike="noStrike" kern="1200" cap="none" spc="0" normalizeH="0" baseline="0" noProof="0" dirty="0">
                <a:ln>
                  <a:noFill/>
                </a:ln>
                <a:solidFill>
                  <a:srgbClr val="666666"/>
                </a:solidFill>
                <a:effectLst/>
                <a:uLnTx/>
                <a:uFillTx/>
                <a:latin typeface="Arial" charset="0"/>
                <a:ea typeface="+mn-ea"/>
                <a:cs typeface="Arial" charset="0"/>
              </a:rPr>
              <a:t>settlement</a:t>
            </a:r>
            <a:r>
              <a:rPr kumimoji="0" lang="en-US" sz="1200" b="0" i="0" u="none" strike="noStrike" kern="1200" cap="none" spc="0" normalizeH="0" baseline="0" noProof="0" dirty="0">
                <a:ln>
                  <a:noFill/>
                </a:ln>
                <a:solidFill>
                  <a:srgbClr val="666666"/>
                </a:solidFill>
                <a:effectLst/>
                <a:uLnTx/>
                <a:uFillTx/>
                <a:latin typeface="Arial" charset="0"/>
                <a:ea typeface="+mn-ea"/>
                <a:cs typeface="Arial" charset="0"/>
              </a:rPr>
              <a:t> </a:t>
            </a:r>
            <a:r>
              <a:rPr kumimoji="0" lang="en-US" sz="1200" b="1" i="0" u="none" strike="noStrike" kern="1200" cap="none" spc="0" normalizeH="0" baseline="0" noProof="0" dirty="0">
                <a:ln>
                  <a:noFill/>
                </a:ln>
                <a:solidFill>
                  <a:srgbClr val="666666"/>
                </a:solidFill>
                <a:effectLst/>
                <a:uLnTx/>
                <a:uFillTx/>
                <a:latin typeface="Arial" charset="0"/>
                <a:ea typeface="+mn-ea"/>
                <a:cs typeface="Arial" charset="0"/>
              </a:rPr>
              <a:t>efficiency</a:t>
            </a:r>
            <a:r>
              <a:rPr kumimoji="0" lang="en-US" sz="1200" b="0" i="0" u="none" strike="noStrike" kern="1200" cap="none" spc="0" normalizeH="0" baseline="0" noProof="0" dirty="0">
                <a:ln>
                  <a:noFill/>
                </a:ln>
                <a:solidFill>
                  <a:srgbClr val="666666"/>
                </a:solidFill>
                <a:effectLst/>
                <a:uLnTx/>
                <a:uFillTx/>
                <a:latin typeface="Arial" charset="0"/>
                <a:ea typeface="+mn-ea"/>
                <a:cs typeface="Arial" charset="0"/>
              </a:rPr>
              <a:t> across CBF and CBL is averaging 92% across all European markets </a:t>
            </a:r>
          </a:p>
        </p:txBody>
      </p:sp>
      <p:sp>
        <p:nvSpPr>
          <p:cNvPr id="16" name="Rectangle 15">
            <a:extLst>
              <a:ext uri="{FF2B5EF4-FFF2-40B4-BE49-F238E27FC236}">
                <a16:creationId xmlns:a16="http://schemas.microsoft.com/office/drawing/2014/main" id="{37189651-962E-AD9D-5A04-B54D888F168E}"/>
              </a:ext>
            </a:extLst>
          </p:cNvPr>
          <p:cNvSpPr/>
          <p:nvPr/>
        </p:nvSpPr>
        <p:spPr bwMode="auto">
          <a:xfrm>
            <a:off x="5664417" y="4998437"/>
            <a:ext cx="5873633" cy="1159469"/>
          </a:xfrm>
          <a:prstGeom prst="rect">
            <a:avLst/>
          </a:prstGeom>
          <a:noFill/>
          <a:ln>
            <a:noFill/>
          </a:ln>
          <a:effectLst/>
        </p:spPr>
        <p:txBody>
          <a:bodyPr vert="horz" wrap="square" lIns="0" tIns="45720" rIns="91440" bIns="45720" numCol="1" rtlCol="0" anchor="ctr" anchorCtr="0" compatLnSpc="1">
            <a:prstTxWarp prst="textNoShape">
              <a:avLst/>
            </a:prstTxWarp>
          </a:bodyPr>
          <a:lstStyle/>
          <a:p>
            <a:pPr marL="171450" marR="0" lvl="0" indent="-171450" algn="l" defTabSz="914400" rtl="0" eaLnBrk="1" fontAlgn="auto" latinLnBrk="0" hangingPunct="1">
              <a:lnSpc>
                <a:spcPct val="100000"/>
              </a:lnSpc>
              <a:spcBef>
                <a:spcPct val="50000"/>
              </a:spcBef>
              <a:spcAft>
                <a:spcPts val="0"/>
              </a:spcAft>
              <a:buClrTx/>
              <a:buSzTx/>
              <a:buFontTx/>
              <a:buBlip>
                <a:blip r:embed="rId2">
                  <a:extLst>
                    <a:ext uri="{96DAC541-7B7A-43D3-8B79-37D633B846F1}">
                      <asvg:svgBlip xmlns:asvg="http://schemas.microsoft.com/office/drawing/2016/SVG/main" r:embed="rId3"/>
                    </a:ext>
                  </a:extLst>
                </a:blip>
              </a:buBlip>
              <a:tabLst/>
              <a:defRPr/>
            </a:pPr>
            <a:r>
              <a:rPr kumimoji="0" lang="en-US" sz="1200" b="0" i="0" u="none" strike="noStrike" kern="1200" cap="none" spc="0" normalizeH="0" baseline="0" noProof="0" dirty="0">
                <a:ln>
                  <a:noFill/>
                </a:ln>
                <a:solidFill>
                  <a:srgbClr val="666666"/>
                </a:solidFill>
                <a:effectLst/>
                <a:uLnTx/>
                <a:uFillTx/>
                <a:latin typeface="Arial" charset="0"/>
                <a:ea typeface="+mn-ea"/>
                <a:cs typeface="Arial" charset="0"/>
              </a:rPr>
              <a:t>Asset Servicing delivered by dedicated </a:t>
            </a:r>
            <a:r>
              <a:rPr kumimoji="0" lang="en-US" sz="1200" b="1" i="0" u="none" strike="noStrike" kern="1200" cap="none" spc="0" normalizeH="0" baseline="0" noProof="0" dirty="0">
                <a:ln>
                  <a:noFill/>
                </a:ln>
                <a:solidFill>
                  <a:srgbClr val="666666"/>
                </a:solidFill>
                <a:effectLst/>
                <a:uLnTx/>
                <a:uFillTx/>
                <a:latin typeface="Arial" charset="0"/>
                <a:ea typeface="+mn-ea"/>
                <a:cs typeface="Arial" charset="0"/>
              </a:rPr>
              <a:t>domestic</a:t>
            </a:r>
            <a:r>
              <a:rPr kumimoji="0" lang="en-US" sz="1200" b="0" i="0" u="none" strike="noStrike" kern="1200" cap="none" spc="0" normalizeH="0" baseline="0" noProof="0" dirty="0">
                <a:ln>
                  <a:noFill/>
                </a:ln>
                <a:solidFill>
                  <a:srgbClr val="666666"/>
                </a:solidFill>
                <a:effectLst/>
                <a:uLnTx/>
                <a:uFillTx/>
                <a:latin typeface="Arial" charset="0"/>
                <a:ea typeface="+mn-ea"/>
                <a:cs typeface="Arial" charset="0"/>
              </a:rPr>
              <a:t> </a:t>
            </a:r>
            <a:r>
              <a:rPr kumimoji="0" lang="en-US" sz="1200" b="1" i="0" u="none" strike="noStrike" kern="1200" cap="none" spc="0" normalizeH="0" baseline="0" noProof="0" dirty="0">
                <a:ln>
                  <a:noFill/>
                </a:ln>
                <a:solidFill>
                  <a:srgbClr val="666666"/>
                </a:solidFill>
                <a:effectLst/>
                <a:uLnTx/>
                <a:uFillTx/>
                <a:latin typeface="Arial" charset="0"/>
                <a:ea typeface="+mn-ea"/>
                <a:cs typeface="Arial" charset="0"/>
              </a:rPr>
              <a:t>market</a:t>
            </a:r>
            <a:r>
              <a:rPr kumimoji="0" lang="en-US" sz="1200" b="0" i="0" u="none" strike="noStrike" kern="1200" cap="none" spc="0" normalizeH="0" baseline="0" noProof="0" dirty="0">
                <a:ln>
                  <a:noFill/>
                </a:ln>
                <a:solidFill>
                  <a:srgbClr val="666666"/>
                </a:solidFill>
                <a:effectLst/>
                <a:uLnTx/>
                <a:uFillTx/>
                <a:latin typeface="Arial" charset="0"/>
                <a:ea typeface="+mn-ea"/>
                <a:cs typeface="Arial" charset="0"/>
              </a:rPr>
              <a:t> </a:t>
            </a:r>
            <a:r>
              <a:rPr kumimoji="0" lang="en-US" sz="1200" b="1" i="0" u="none" strike="noStrike" kern="1200" cap="none" spc="0" normalizeH="0" baseline="0" noProof="0" dirty="0">
                <a:ln>
                  <a:noFill/>
                </a:ln>
                <a:solidFill>
                  <a:srgbClr val="666666"/>
                </a:solidFill>
                <a:effectLst/>
                <a:uLnTx/>
                <a:uFillTx/>
                <a:latin typeface="Arial" charset="0"/>
                <a:ea typeface="+mn-ea"/>
                <a:cs typeface="Arial" charset="0"/>
              </a:rPr>
              <a:t>partner</a:t>
            </a:r>
            <a:r>
              <a:rPr kumimoji="0" lang="en-US" sz="1200" b="0" i="0" u="none" strike="noStrike" kern="1200" cap="none" spc="0" normalizeH="0" baseline="0" noProof="0" dirty="0">
                <a:ln>
                  <a:noFill/>
                </a:ln>
                <a:solidFill>
                  <a:srgbClr val="666666"/>
                </a:solidFill>
                <a:effectLst/>
                <a:uLnTx/>
                <a:uFillTx/>
                <a:latin typeface="Arial" charset="0"/>
                <a:ea typeface="+mn-ea"/>
                <a:cs typeface="Arial" charset="0"/>
              </a:rPr>
              <a:t> institutions across both platforms – where still required. Asset Servicing quality harmonized across infrastructures. Settlement deadlines across major European markets are 5 minutes to market deadlines. Asset servicing deadlines between 1-3 hours of domestic market deadlines</a:t>
            </a:r>
          </a:p>
          <a:p>
            <a:pPr marL="171450" marR="0" lvl="0" indent="-171450" algn="l" defTabSz="914400" rtl="0" eaLnBrk="1" fontAlgn="auto" latinLnBrk="0" hangingPunct="1">
              <a:lnSpc>
                <a:spcPct val="100000"/>
              </a:lnSpc>
              <a:spcBef>
                <a:spcPct val="50000"/>
              </a:spcBef>
              <a:spcAft>
                <a:spcPts val="0"/>
              </a:spcAft>
              <a:buClrTx/>
              <a:buSzTx/>
              <a:buFontTx/>
              <a:buBlip>
                <a:blip r:embed="rId2">
                  <a:extLst>
                    <a:ext uri="{96DAC541-7B7A-43D3-8B79-37D633B846F1}">
                      <asvg:svgBlip xmlns:asvg="http://schemas.microsoft.com/office/drawing/2016/SVG/main" r:embed="rId3"/>
                    </a:ext>
                  </a:extLst>
                </a:blip>
              </a:buBlip>
              <a:tabLst/>
              <a:defRPr/>
            </a:pPr>
            <a:r>
              <a:rPr kumimoji="0" lang="en-US" sz="1200" b="0" i="0" u="none" strike="noStrike" kern="1200" cap="none" spc="0" normalizeH="0" baseline="0" noProof="0" dirty="0">
                <a:ln>
                  <a:noFill/>
                </a:ln>
                <a:solidFill>
                  <a:srgbClr val="666666"/>
                </a:solidFill>
                <a:effectLst/>
                <a:uLnTx/>
                <a:uFillTx/>
                <a:latin typeface="Arial" panose="020B0604020202020204"/>
                <a:ea typeface="+mn-ea"/>
                <a:cs typeface="+mn-cs"/>
              </a:rPr>
              <a:t>Local market proximity concept for managing complex questions and hosting trilateral calls in exceptional circumstances available</a:t>
            </a:r>
          </a:p>
        </p:txBody>
      </p:sp>
      <p:cxnSp>
        <p:nvCxnSpPr>
          <p:cNvPr id="17" name="Straight Connector 16">
            <a:extLst>
              <a:ext uri="{FF2B5EF4-FFF2-40B4-BE49-F238E27FC236}">
                <a16:creationId xmlns:a16="http://schemas.microsoft.com/office/drawing/2014/main" id="{0626E8DA-05DA-D017-5D96-6CE62D6131E2}"/>
              </a:ext>
            </a:extLst>
          </p:cNvPr>
          <p:cNvCxnSpPr/>
          <p:nvPr/>
        </p:nvCxnSpPr>
        <p:spPr bwMode="auto">
          <a:xfrm>
            <a:off x="442385" y="2174240"/>
            <a:ext cx="11208595" cy="0"/>
          </a:xfrm>
          <a:prstGeom prst="line">
            <a:avLst/>
          </a:prstGeom>
          <a:noFill/>
          <a:ln w="12700" cap="flat" cmpd="sng" algn="ctr">
            <a:solidFill>
              <a:schemeClr val="tx1">
                <a:lumMod val="20000"/>
                <a:lumOff val="80000"/>
              </a:schemeClr>
            </a:solidFill>
            <a:prstDash val="sysDot"/>
            <a:round/>
            <a:headEnd type="none" w="med" len="med"/>
            <a:tailEnd type="none" w="med" len="med"/>
          </a:ln>
          <a:effectLst/>
          <a:extLst>
            <a:ext uri="{909E8E84-426E-40DD-AFC4-6F175D3DCCD1}">
              <a14:hiddenFill xmlns:a14="http://schemas.microsoft.com/office/drawing/2010/main">
                <a:solidFill>
                  <a:schemeClr val="tx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A1E2C4AD-E45B-D5CE-5EDC-0FE07800483F}"/>
              </a:ext>
            </a:extLst>
          </p:cNvPr>
          <p:cNvCxnSpPr/>
          <p:nvPr/>
        </p:nvCxnSpPr>
        <p:spPr bwMode="auto">
          <a:xfrm>
            <a:off x="442385" y="2821940"/>
            <a:ext cx="11208595" cy="0"/>
          </a:xfrm>
          <a:prstGeom prst="line">
            <a:avLst/>
          </a:prstGeom>
          <a:noFill/>
          <a:ln w="12700" cap="flat" cmpd="sng" algn="ctr">
            <a:solidFill>
              <a:schemeClr val="tx1">
                <a:lumMod val="20000"/>
                <a:lumOff val="80000"/>
              </a:schemeClr>
            </a:solidFill>
            <a:prstDash val="sysDot"/>
            <a:round/>
            <a:headEnd type="none" w="med" len="med"/>
            <a:tailEnd type="none" w="med" len="med"/>
          </a:ln>
          <a:effectLst/>
          <a:extLst>
            <a:ext uri="{909E8E84-426E-40DD-AFC4-6F175D3DCCD1}">
              <a14:hiddenFill xmlns:a14="http://schemas.microsoft.com/office/drawing/2010/main">
                <a:solidFill>
                  <a:schemeClr val="tx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18">
            <a:extLst>
              <a:ext uri="{FF2B5EF4-FFF2-40B4-BE49-F238E27FC236}">
                <a16:creationId xmlns:a16="http://schemas.microsoft.com/office/drawing/2014/main" id="{A3BC8D76-3A95-1BA1-8B6C-7C8073C04449}"/>
              </a:ext>
            </a:extLst>
          </p:cNvPr>
          <p:cNvCxnSpPr/>
          <p:nvPr/>
        </p:nvCxnSpPr>
        <p:spPr bwMode="auto">
          <a:xfrm>
            <a:off x="442385" y="3477260"/>
            <a:ext cx="11208595" cy="0"/>
          </a:xfrm>
          <a:prstGeom prst="line">
            <a:avLst/>
          </a:prstGeom>
          <a:noFill/>
          <a:ln w="12700" cap="flat" cmpd="sng" algn="ctr">
            <a:solidFill>
              <a:schemeClr val="tx1">
                <a:lumMod val="20000"/>
                <a:lumOff val="80000"/>
              </a:schemeClr>
            </a:solidFill>
            <a:prstDash val="sysDot"/>
            <a:round/>
            <a:headEnd type="none" w="med" len="med"/>
            <a:tailEnd type="none" w="med" len="med"/>
          </a:ln>
          <a:effectLst/>
          <a:extLst>
            <a:ext uri="{909E8E84-426E-40DD-AFC4-6F175D3DCCD1}">
              <a14:hiddenFill xmlns:a14="http://schemas.microsoft.com/office/drawing/2010/main">
                <a:solidFill>
                  <a:schemeClr val="tx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19">
            <a:extLst>
              <a:ext uri="{FF2B5EF4-FFF2-40B4-BE49-F238E27FC236}">
                <a16:creationId xmlns:a16="http://schemas.microsoft.com/office/drawing/2014/main" id="{16D8E39A-5B84-7CDC-E73E-C3175B97781E}"/>
              </a:ext>
            </a:extLst>
          </p:cNvPr>
          <p:cNvCxnSpPr/>
          <p:nvPr/>
        </p:nvCxnSpPr>
        <p:spPr bwMode="auto">
          <a:xfrm>
            <a:off x="442385" y="4147820"/>
            <a:ext cx="11208595" cy="0"/>
          </a:xfrm>
          <a:prstGeom prst="line">
            <a:avLst/>
          </a:prstGeom>
          <a:noFill/>
          <a:ln w="12700" cap="flat" cmpd="sng" algn="ctr">
            <a:solidFill>
              <a:schemeClr val="tx1">
                <a:lumMod val="20000"/>
                <a:lumOff val="80000"/>
              </a:schemeClr>
            </a:solidFill>
            <a:prstDash val="sysDot"/>
            <a:round/>
            <a:headEnd type="none" w="med" len="med"/>
            <a:tailEnd type="none" w="med" len="med"/>
          </a:ln>
          <a:effectLst/>
          <a:extLst>
            <a:ext uri="{909E8E84-426E-40DD-AFC4-6F175D3DCCD1}">
              <a14:hiddenFill xmlns:a14="http://schemas.microsoft.com/office/drawing/2010/main">
                <a:solidFill>
                  <a:schemeClr val="tx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20">
            <a:extLst>
              <a:ext uri="{FF2B5EF4-FFF2-40B4-BE49-F238E27FC236}">
                <a16:creationId xmlns:a16="http://schemas.microsoft.com/office/drawing/2014/main" id="{91FE5479-DC94-17C3-2236-27376CBED46E}"/>
              </a:ext>
            </a:extLst>
          </p:cNvPr>
          <p:cNvCxnSpPr/>
          <p:nvPr/>
        </p:nvCxnSpPr>
        <p:spPr bwMode="auto">
          <a:xfrm>
            <a:off x="442385" y="4833620"/>
            <a:ext cx="11208595" cy="0"/>
          </a:xfrm>
          <a:prstGeom prst="line">
            <a:avLst/>
          </a:prstGeom>
          <a:noFill/>
          <a:ln w="12700" cap="flat" cmpd="sng" algn="ctr">
            <a:solidFill>
              <a:schemeClr val="tx1">
                <a:lumMod val="20000"/>
                <a:lumOff val="80000"/>
              </a:schemeClr>
            </a:solidFill>
            <a:prstDash val="sysDot"/>
            <a:round/>
            <a:headEnd type="none" w="med" len="med"/>
            <a:tailEnd type="none" w="med" len="med"/>
          </a:ln>
          <a:effectLst/>
          <a:extLst>
            <a:ext uri="{909E8E84-426E-40DD-AFC4-6F175D3DCCD1}">
              <a14:hiddenFill xmlns:a14="http://schemas.microsoft.com/office/drawing/2010/main">
                <a:solidFill>
                  <a:schemeClr val="tx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2" name="Group 21">
            <a:extLst>
              <a:ext uri="{FF2B5EF4-FFF2-40B4-BE49-F238E27FC236}">
                <a16:creationId xmlns:a16="http://schemas.microsoft.com/office/drawing/2014/main" id="{B66F825B-DCF9-DB25-33E1-C7FBD1671626}"/>
              </a:ext>
            </a:extLst>
          </p:cNvPr>
          <p:cNvGrpSpPr/>
          <p:nvPr/>
        </p:nvGrpSpPr>
        <p:grpSpPr>
          <a:xfrm>
            <a:off x="538744" y="1682641"/>
            <a:ext cx="3840438" cy="4475265"/>
            <a:chOff x="442385" y="1682641"/>
            <a:chExt cx="4076701" cy="4475265"/>
          </a:xfrm>
        </p:grpSpPr>
        <p:sp>
          <p:nvSpPr>
            <p:cNvPr id="23" name="Rectangle 22">
              <a:extLst>
                <a:ext uri="{FF2B5EF4-FFF2-40B4-BE49-F238E27FC236}">
                  <a16:creationId xmlns:a16="http://schemas.microsoft.com/office/drawing/2014/main" id="{BAF7C3FA-306F-ABD3-99D6-77897C0262E1}"/>
                </a:ext>
              </a:extLst>
            </p:cNvPr>
            <p:cNvSpPr/>
            <p:nvPr/>
          </p:nvSpPr>
          <p:spPr bwMode="auto">
            <a:xfrm>
              <a:off x="442385" y="1682641"/>
              <a:ext cx="4076700" cy="327724"/>
            </a:xfrm>
            <a:prstGeom prst="rect">
              <a:avLst/>
            </a:prstGeom>
            <a:solidFill>
              <a:schemeClr val="accent1"/>
            </a:solidFill>
            <a:ln>
              <a:noFill/>
            </a:ln>
            <a:effectLst/>
          </p:spPr>
          <p:txBody>
            <a:bodyPr vert="horz" wrap="square" lIns="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charset="0"/>
                  <a:ea typeface="+mn-ea"/>
                  <a:cs typeface="Arial" charset="0"/>
                </a:rPr>
                <a:t>Xact</a:t>
              </a:r>
            </a:p>
          </p:txBody>
        </p:sp>
        <p:sp>
          <p:nvSpPr>
            <p:cNvPr id="24" name="Rectangle 23">
              <a:extLst>
                <a:ext uri="{FF2B5EF4-FFF2-40B4-BE49-F238E27FC236}">
                  <a16:creationId xmlns:a16="http://schemas.microsoft.com/office/drawing/2014/main" id="{EF650798-B110-A5A3-73E4-7FBDBD8CB9E0}"/>
                </a:ext>
              </a:extLst>
            </p:cNvPr>
            <p:cNvSpPr/>
            <p:nvPr/>
          </p:nvSpPr>
          <p:spPr bwMode="auto">
            <a:xfrm>
              <a:off x="442386" y="2335200"/>
              <a:ext cx="1268600" cy="320919"/>
            </a:xfrm>
            <a:prstGeom prst="rect">
              <a:avLst/>
            </a:prstGeom>
            <a:solidFill>
              <a:schemeClr val="accent1"/>
            </a:solidFill>
            <a:ln>
              <a:noFill/>
            </a:ln>
            <a:effectLst/>
          </p:spPr>
          <p:txBody>
            <a:bodyPr vert="horz" wrap="square" lIns="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Arial" charset="0"/>
                  <a:ea typeface="+mn-ea"/>
                  <a:cs typeface="Arial" charset="0"/>
                </a:rPr>
                <a:t>European Markets/ </a:t>
              </a:r>
            </a:p>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Arial" charset="0"/>
                  <a:ea typeface="+mn-ea"/>
                  <a:cs typeface="Arial" charset="0"/>
                </a:rPr>
                <a:t>T2S</a:t>
              </a:r>
            </a:p>
          </p:txBody>
        </p:sp>
        <p:sp>
          <p:nvSpPr>
            <p:cNvPr id="25" name="Rectangle 24">
              <a:extLst>
                <a:ext uri="{FF2B5EF4-FFF2-40B4-BE49-F238E27FC236}">
                  <a16:creationId xmlns:a16="http://schemas.microsoft.com/office/drawing/2014/main" id="{1B88F8B1-C534-CBF2-2BC6-D4A49F97D43E}"/>
                </a:ext>
              </a:extLst>
            </p:cNvPr>
            <p:cNvSpPr/>
            <p:nvPr/>
          </p:nvSpPr>
          <p:spPr bwMode="auto">
            <a:xfrm>
              <a:off x="1846436" y="2335201"/>
              <a:ext cx="1268600" cy="327724"/>
            </a:xfrm>
            <a:prstGeom prst="rect">
              <a:avLst/>
            </a:prstGeom>
            <a:solidFill>
              <a:schemeClr val="accent1"/>
            </a:solidFill>
            <a:ln>
              <a:noFill/>
            </a:ln>
            <a:effectLst/>
          </p:spPr>
          <p:txBody>
            <a:bodyPr vert="horz" wrap="square" lIns="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charset="0"/>
                  <a:ea typeface="+mn-ea"/>
                  <a:cs typeface="Arial" charset="0"/>
                </a:rPr>
                <a:t>Eurobonds</a:t>
              </a:r>
            </a:p>
          </p:txBody>
        </p:sp>
        <p:sp>
          <p:nvSpPr>
            <p:cNvPr id="26" name="Rectangle 25">
              <a:extLst>
                <a:ext uri="{FF2B5EF4-FFF2-40B4-BE49-F238E27FC236}">
                  <a16:creationId xmlns:a16="http://schemas.microsoft.com/office/drawing/2014/main" id="{942A2785-2385-EB64-C2E4-A57586017BEF}"/>
                </a:ext>
              </a:extLst>
            </p:cNvPr>
            <p:cNvSpPr/>
            <p:nvPr/>
          </p:nvSpPr>
          <p:spPr bwMode="auto">
            <a:xfrm>
              <a:off x="3250486" y="2335201"/>
              <a:ext cx="1268600" cy="327724"/>
            </a:xfrm>
            <a:prstGeom prst="rect">
              <a:avLst/>
            </a:prstGeom>
            <a:solidFill>
              <a:srgbClr val="00C78B"/>
            </a:solidFill>
            <a:ln>
              <a:noFill/>
            </a:ln>
            <a:effectLst/>
          </p:spPr>
          <p:txBody>
            <a:bodyPr vert="horz" wrap="square" lIns="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charset="0"/>
                  <a:ea typeface="+mn-ea"/>
                  <a:cs typeface="Arial" charset="0"/>
                </a:rPr>
                <a:t>Global</a:t>
              </a:r>
            </a:p>
          </p:txBody>
        </p:sp>
        <p:sp>
          <p:nvSpPr>
            <p:cNvPr id="27" name="Rectangle 26">
              <a:extLst>
                <a:ext uri="{FF2B5EF4-FFF2-40B4-BE49-F238E27FC236}">
                  <a16:creationId xmlns:a16="http://schemas.microsoft.com/office/drawing/2014/main" id="{14F712A5-6771-00B9-CF46-F42A9E3F0057}"/>
                </a:ext>
              </a:extLst>
            </p:cNvPr>
            <p:cNvSpPr/>
            <p:nvPr/>
          </p:nvSpPr>
          <p:spPr bwMode="auto">
            <a:xfrm>
              <a:off x="442386" y="2987762"/>
              <a:ext cx="1970438" cy="327724"/>
            </a:xfrm>
            <a:prstGeom prst="rect">
              <a:avLst/>
            </a:prstGeom>
            <a:solidFill>
              <a:schemeClr val="accent1"/>
            </a:solidFill>
            <a:ln>
              <a:noFill/>
            </a:ln>
            <a:effectLst/>
          </p:spPr>
          <p:txBody>
            <a:bodyPr vert="horz" wrap="square" lIns="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charset="0"/>
                  <a:ea typeface="+mn-ea"/>
                  <a:cs typeface="Arial" charset="0"/>
                </a:rPr>
                <a:t>CSD</a:t>
              </a:r>
            </a:p>
          </p:txBody>
        </p:sp>
        <p:sp>
          <p:nvSpPr>
            <p:cNvPr id="28" name="Rectangle 27">
              <a:extLst>
                <a:ext uri="{FF2B5EF4-FFF2-40B4-BE49-F238E27FC236}">
                  <a16:creationId xmlns:a16="http://schemas.microsoft.com/office/drawing/2014/main" id="{232EBA49-71AF-C911-FCDD-6C33E4236CA7}"/>
                </a:ext>
              </a:extLst>
            </p:cNvPr>
            <p:cNvSpPr/>
            <p:nvPr/>
          </p:nvSpPr>
          <p:spPr bwMode="auto">
            <a:xfrm>
              <a:off x="2548647" y="2987762"/>
              <a:ext cx="1970438" cy="327724"/>
            </a:xfrm>
            <a:prstGeom prst="rect">
              <a:avLst/>
            </a:prstGeom>
            <a:solidFill>
              <a:srgbClr val="00C78B"/>
            </a:solidFill>
            <a:ln>
              <a:noFill/>
            </a:ln>
            <a:effectLst/>
          </p:spPr>
          <p:txBody>
            <a:bodyPr vert="horz" wrap="square" lIns="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charset="0"/>
                  <a:ea typeface="+mn-ea"/>
                  <a:cs typeface="Arial" charset="0"/>
                </a:rPr>
                <a:t>ICSD</a:t>
              </a:r>
            </a:p>
          </p:txBody>
        </p:sp>
        <p:sp>
          <p:nvSpPr>
            <p:cNvPr id="29" name="Rectangle 28">
              <a:extLst>
                <a:ext uri="{FF2B5EF4-FFF2-40B4-BE49-F238E27FC236}">
                  <a16:creationId xmlns:a16="http://schemas.microsoft.com/office/drawing/2014/main" id="{E1B92E03-136E-1713-B2CA-4443E7F6A994}"/>
                </a:ext>
              </a:extLst>
            </p:cNvPr>
            <p:cNvSpPr/>
            <p:nvPr/>
          </p:nvSpPr>
          <p:spPr bwMode="auto">
            <a:xfrm>
              <a:off x="442386" y="3657988"/>
              <a:ext cx="1970438" cy="327724"/>
            </a:xfrm>
            <a:prstGeom prst="rect">
              <a:avLst/>
            </a:prstGeom>
            <a:solidFill>
              <a:srgbClr val="5F3799"/>
            </a:solidFill>
            <a:ln>
              <a:noFill/>
            </a:ln>
            <a:effectLst/>
          </p:spPr>
          <p:txBody>
            <a:bodyPr vert="horz" wrap="square" lIns="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charset="0"/>
                  <a:ea typeface="+mn-ea"/>
                  <a:cs typeface="Arial" charset="0"/>
                </a:rPr>
                <a:t>CeBM (EUR)</a:t>
              </a:r>
            </a:p>
          </p:txBody>
        </p:sp>
        <p:sp>
          <p:nvSpPr>
            <p:cNvPr id="30" name="Rectangle 29">
              <a:extLst>
                <a:ext uri="{FF2B5EF4-FFF2-40B4-BE49-F238E27FC236}">
                  <a16:creationId xmlns:a16="http://schemas.microsoft.com/office/drawing/2014/main" id="{BC033EA7-5F5A-AE29-0B52-D05F3E3A6CF6}"/>
                </a:ext>
              </a:extLst>
            </p:cNvPr>
            <p:cNvSpPr/>
            <p:nvPr/>
          </p:nvSpPr>
          <p:spPr bwMode="auto">
            <a:xfrm>
              <a:off x="2548647" y="3657988"/>
              <a:ext cx="1970438" cy="327724"/>
            </a:xfrm>
            <a:prstGeom prst="rect">
              <a:avLst/>
            </a:prstGeom>
            <a:solidFill>
              <a:srgbClr val="5F3799"/>
            </a:solidFill>
            <a:ln>
              <a:noFill/>
            </a:ln>
            <a:effectLst/>
          </p:spPr>
          <p:txBody>
            <a:bodyPr vert="horz" wrap="square" lIns="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err="1">
                  <a:ln>
                    <a:noFill/>
                  </a:ln>
                  <a:solidFill>
                    <a:srgbClr val="FFFFFF"/>
                  </a:solidFill>
                  <a:effectLst/>
                  <a:uLnTx/>
                  <a:uFillTx/>
                  <a:latin typeface="Arial" charset="0"/>
                  <a:ea typeface="+mn-ea"/>
                  <a:cs typeface="Arial" charset="0"/>
                </a:rPr>
                <a:t>CoBM</a:t>
              </a:r>
              <a:endParaRPr kumimoji="0" lang="en-US" sz="1000" b="1" i="0" u="none" strike="noStrike" kern="1200" cap="none" spc="0" normalizeH="0" baseline="0" noProof="0" dirty="0">
                <a:ln>
                  <a:noFill/>
                </a:ln>
                <a:solidFill>
                  <a:srgbClr val="FFFFFF"/>
                </a:solidFill>
                <a:effectLst/>
                <a:uLnTx/>
                <a:uFillTx/>
                <a:latin typeface="Arial" charset="0"/>
                <a:ea typeface="+mn-ea"/>
                <a:cs typeface="Arial" charset="0"/>
              </a:endParaRPr>
            </a:p>
          </p:txBody>
        </p:sp>
        <p:sp>
          <p:nvSpPr>
            <p:cNvPr id="31" name="Rectangle 30">
              <a:extLst>
                <a:ext uri="{FF2B5EF4-FFF2-40B4-BE49-F238E27FC236}">
                  <a16:creationId xmlns:a16="http://schemas.microsoft.com/office/drawing/2014/main" id="{6860262B-B01D-899A-8488-C9219B69FBE5}"/>
                </a:ext>
              </a:extLst>
            </p:cNvPr>
            <p:cNvSpPr/>
            <p:nvPr/>
          </p:nvSpPr>
          <p:spPr bwMode="auto">
            <a:xfrm>
              <a:off x="442386" y="4328212"/>
              <a:ext cx="1970438" cy="327724"/>
            </a:xfrm>
            <a:prstGeom prst="rect">
              <a:avLst/>
            </a:prstGeom>
            <a:solidFill>
              <a:schemeClr val="accent6"/>
            </a:solidFill>
            <a:ln>
              <a:noFill/>
            </a:ln>
            <a:effectLst/>
          </p:spPr>
          <p:txBody>
            <a:bodyPr vert="horz" wrap="square" lIns="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charset="0"/>
                  <a:ea typeface="+mn-ea"/>
                  <a:cs typeface="Arial" charset="0"/>
                </a:rPr>
                <a:t>CASCADE/T2S</a:t>
              </a:r>
            </a:p>
          </p:txBody>
        </p:sp>
        <p:sp>
          <p:nvSpPr>
            <p:cNvPr id="32" name="Rectangle 31">
              <a:extLst>
                <a:ext uri="{FF2B5EF4-FFF2-40B4-BE49-F238E27FC236}">
                  <a16:creationId xmlns:a16="http://schemas.microsoft.com/office/drawing/2014/main" id="{39234831-2106-FF2E-4264-7A38EDC1CD49}"/>
                </a:ext>
              </a:extLst>
            </p:cNvPr>
            <p:cNvSpPr/>
            <p:nvPr/>
          </p:nvSpPr>
          <p:spPr bwMode="auto">
            <a:xfrm>
              <a:off x="2548647" y="4328212"/>
              <a:ext cx="1970438" cy="327724"/>
            </a:xfrm>
            <a:prstGeom prst="rect">
              <a:avLst/>
            </a:prstGeom>
            <a:solidFill>
              <a:schemeClr val="accent6"/>
            </a:solidFill>
            <a:ln>
              <a:noFill/>
            </a:ln>
            <a:effectLst/>
          </p:spPr>
          <p:txBody>
            <a:bodyPr vert="horz" wrap="square" lIns="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err="1">
                  <a:ln>
                    <a:noFill/>
                  </a:ln>
                  <a:solidFill>
                    <a:srgbClr val="FFFFFF"/>
                  </a:solidFill>
                  <a:effectLst/>
                  <a:uLnTx/>
                  <a:uFillTx/>
                  <a:latin typeface="Arial" charset="0"/>
                  <a:ea typeface="+mn-ea"/>
                  <a:cs typeface="Arial" charset="0"/>
                </a:rPr>
                <a:t>CreationOnline</a:t>
              </a:r>
              <a:endParaRPr kumimoji="0" lang="en-US" sz="1000" b="1" i="0" u="none" strike="noStrike" kern="1200" cap="none" spc="0" normalizeH="0" baseline="0" noProof="0" dirty="0">
                <a:ln>
                  <a:noFill/>
                </a:ln>
                <a:solidFill>
                  <a:srgbClr val="FFFFFF"/>
                </a:solidFill>
                <a:effectLst/>
                <a:uLnTx/>
                <a:uFillTx/>
                <a:latin typeface="Arial" charset="0"/>
                <a:ea typeface="+mn-ea"/>
                <a:cs typeface="Arial" charset="0"/>
              </a:endParaRPr>
            </a:p>
          </p:txBody>
        </p:sp>
        <p:sp>
          <p:nvSpPr>
            <p:cNvPr id="33" name="Rectangle 32">
              <a:extLst>
                <a:ext uri="{FF2B5EF4-FFF2-40B4-BE49-F238E27FC236}">
                  <a16:creationId xmlns:a16="http://schemas.microsoft.com/office/drawing/2014/main" id="{FA45996C-CF87-E830-3669-A502A1052EDE}"/>
                </a:ext>
              </a:extLst>
            </p:cNvPr>
            <p:cNvSpPr/>
            <p:nvPr/>
          </p:nvSpPr>
          <p:spPr bwMode="auto">
            <a:xfrm>
              <a:off x="442385" y="4998438"/>
              <a:ext cx="4076700" cy="327724"/>
            </a:xfrm>
            <a:prstGeom prst="rect">
              <a:avLst/>
            </a:prstGeom>
            <a:solidFill>
              <a:schemeClr val="accent1"/>
            </a:solidFill>
            <a:ln>
              <a:noFill/>
            </a:ln>
            <a:effectLst/>
          </p:spPr>
          <p:txBody>
            <a:bodyPr vert="horz" wrap="square" lIns="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charset="0"/>
                  <a:ea typeface="+mn-ea"/>
                  <a:cs typeface="Arial" charset="0"/>
                </a:rPr>
                <a:t>OneClearstream Asset Servicing</a:t>
              </a:r>
            </a:p>
          </p:txBody>
        </p:sp>
        <p:sp>
          <p:nvSpPr>
            <p:cNvPr id="34" name="Rectangle 33">
              <a:extLst>
                <a:ext uri="{FF2B5EF4-FFF2-40B4-BE49-F238E27FC236}">
                  <a16:creationId xmlns:a16="http://schemas.microsoft.com/office/drawing/2014/main" id="{1B8C726F-5DAE-0596-7997-30EB2D4A1C04}"/>
                </a:ext>
              </a:extLst>
            </p:cNvPr>
            <p:cNvSpPr/>
            <p:nvPr/>
          </p:nvSpPr>
          <p:spPr bwMode="auto">
            <a:xfrm>
              <a:off x="442385" y="5324808"/>
              <a:ext cx="4076700" cy="833098"/>
            </a:xfrm>
            <a:prstGeom prst="rect">
              <a:avLst/>
            </a:prstGeom>
            <a:solidFill>
              <a:srgbClr val="F7F7F7"/>
            </a:solidFill>
            <a:ln>
              <a:noFill/>
            </a:ln>
            <a:effectLst/>
          </p:spPr>
          <p:txBody>
            <a:bodyPr vert="horz" wrap="square" lIns="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charset="0"/>
                <a:ea typeface="+mn-ea"/>
                <a:cs typeface="Arial" charset="0"/>
              </a:endParaRPr>
            </a:p>
          </p:txBody>
        </p:sp>
        <p:pic>
          <p:nvPicPr>
            <p:cNvPr id="35" name="Picture 34">
              <a:extLst>
                <a:ext uri="{FF2B5EF4-FFF2-40B4-BE49-F238E27FC236}">
                  <a16:creationId xmlns:a16="http://schemas.microsoft.com/office/drawing/2014/main" id="{E2EF792B-33BC-6954-0A09-C051E40D7DE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8139" y="5828767"/>
              <a:ext cx="521364" cy="151615"/>
            </a:xfrm>
            <a:prstGeom prst="rect">
              <a:avLst/>
            </a:prstGeom>
          </p:spPr>
        </p:pic>
        <p:pic>
          <p:nvPicPr>
            <p:cNvPr id="36" name="Picture 4" descr="BBVA | The digital bank of the 21st century">
              <a:extLst>
                <a:ext uri="{FF2B5EF4-FFF2-40B4-BE49-F238E27FC236}">
                  <a16:creationId xmlns:a16="http://schemas.microsoft.com/office/drawing/2014/main" id="{87FAF7A5-427B-752C-39A3-995005CBCA7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65729" y="5469790"/>
              <a:ext cx="476758" cy="152669"/>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6" descr="Citigroup – Wikipedia">
              <a:extLst>
                <a:ext uri="{FF2B5EF4-FFF2-40B4-BE49-F238E27FC236}">
                  <a16:creationId xmlns:a16="http://schemas.microsoft.com/office/drawing/2014/main" id="{94B98A66-5EF7-12F4-29FE-53DF6555F30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982523" y="5444379"/>
              <a:ext cx="243216" cy="169380"/>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0" descr="Intesa Sanpaolo - Expert System">
              <a:extLst>
                <a:ext uri="{FF2B5EF4-FFF2-40B4-BE49-F238E27FC236}">
                  <a16:creationId xmlns:a16="http://schemas.microsoft.com/office/drawing/2014/main" id="{D8A07BE6-E7F0-6E96-A617-ECC7082E105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93571" y="5873490"/>
              <a:ext cx="888914" cy="106894"/>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2" descr="KBC Bank - Wikipedia">
              <a:extLst>
                <a:ext uri="{FF2B5EF4-FFF2-40B4-BE49-F238E27FC236}">
                  <a16:creationId xmlns:a16="http://schemas.microsoft.com/office/drawing/2014/main" id="{B98A28D8-FED1-71FE-A0D4-544E3B5F2F5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55707" y="5773918"/>
              <a:ext cx="287147" cy="24279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4" descr="UBS : swiss-export.com">
              <a:extLst>
                <a:ext uri="{FF2B5EF4-FFF2-40B4-BE49-F238E27FC236}">
                  <a16:creationId xmlns:a16="http://schemas.microsoft.com/office/drawing/2014/main" id="{6726D828-7326-B8B7-B2B4-75FEA713DE1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63528" y="5703906"/>
              <a:ext cx="442516" cy="312801"/>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6" descr="BNP Paribas Forex Traders Got Busted For Having Too Much Fun - Dealbreaker">
              <a:extLst>
                <a:ext uri="{FF2B5EF4-FFF2-40B4-BE49-F238E27FC236}">
                  <a16:creationId xmlns:a16="http://schemas.microsoft.com/office/drawing/2014/main" id="{40DD90B3-8F91-55EC-AB27-1A1D0C2E0454}"/>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907948" y="5444379"/>
              <a:ext cx="413128" cy="229630"/>
            </a:xfrm>
            <a:prstGeom prst="rect">
              <a:avLst/>
            </a:prstGeom>
            <a:noFill/>
            <a:extLst>
              <a:ext uri="{909E8E84-426E-40DD-AFC4-6F175D3DCCD1}">
                <a14:hiddenFill xmlns:a14="http://schemas.microsoft.com/office/drawing/2010/main">
                  <a:solidFill>
                    <a:srgbClr val="FFFFFF"/>
                  </a:solidFill>
                </a14:hiddenFill>
              </a:ext>
            </a:extLst>
          </p:spPr>
        </p:pic>
      </p:grpSp>
      <p:pic>
        <p:nvPicPr>
          <p:cNvPr id="42" name="Picture 5" descr="seb logo - Data Respons">
            <a:extLst>
              <a:ext uri="{FF2B5EF4-FFF2-40B4-BE49-F238E27FC236}">
                <a16:creationId xmlns:a16="http://schemas.microsoft.com/office/drawing/2014/main" id="{E93E73E0-095E-99EC-8054-8B760FD8BE2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604021" y="5475425"/>
            <a:ext cx="355241" cy="1561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144926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9361F3D-840F-B2E2-91BE-EFF1BEAC7694}"/>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FCA3128-5B09-47E5-B47D-6F0CB7A5DE9F}" type="slidenum">
              <a:rPr kumimoji="0" lang="en-US" sz="900" b="0" i="0" u="none" strike="noStrike" kern="1200" cap="none" spc="0" normalizeH="0" baseline="0" noProof="0" smtClean="0">
                <a:ln>
                  <a:noFill/>
                </a:ln>
                <a:solidFill>
                  <a:srgbClr val="666666"/>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7</a:t>
            </a:fld>
            <a:endParaRPr kumimoji="0" lang="en-US" sz="900" b="0" i="0" u="none" strike="noStrike" kern="1200" cap="none" spc="0" normalizeH="0" baseline="0" noProof="0">
              <a:ln>
                <a:noFill/>
              </a:ln>
              <a:solidFill>
                <a:srgbClr val="666666"/>
              </a:solidFill>
              <a:effectLst/>
              <a:uLnTx/>
              <a:uFillTx/>
              <a:latin typeface="Arial" panose="020B0604020202020204"/>
              <a:ea typeface="+mn-ea"/>
              <a:cs typeface="+mn-cs"/>
            </a:endParaRPr>
          </a:p>
        </p:txBody>
      </p:sp>
      <p:sp>
        <p:nvSpPr>
          <p:cNvPr id="4" name="Rectangle 3">
            <a:extLst>
              <a:ext uri="{FF2B5EF4-FFF2-40B4-BE49-F238E27FC236}">
                <a16:creationId xmlns:a16="http://schemas.microsoft.com/office/drawing/2014/main" id="{99CDE35F-0959-6A33-9A85-2005FF1F1112}"/>
              </a:ext>
            </a:extLst>
          </p:cNvPr>
          <p:cNvSpPr/>
          <p:nvPr/>
        </p:nvSpPr>
        <p:spPr>
          <a:xfrm>
            <a:off x="741111" y="1916112"/>
            <a:ext cx="2088352" cy="914400"/>
          </a:xfrm>
          <a:prstGeom prst="rect">
            <a:avLst/>
          </a:prstGeom>
          <a:solidFill>
            <a:srgbClr val="A3CDC5"/>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FFFFFF"/>
                </a:solidFill>
                <a:effectLst/>
                <a:uLnTx/>
                <a:uFillTx/>
                <a:latin typeface="Arial" panose="020B0604020202020204"/>
                <a:ea typeface="+mn-ea"/>
                <a:cs typeface="+mn-cs"/>
              </a:rPr>
              <a:t>Trading </a:t>
            </a:r>
            <a:r>
              <a:rPr kumimoji="0" lang="de-DE" sz="1400" b="0" i="0" u="none" strike="noStrike" kern="1200" cap="none" spc="0" normalizeH="0" baseline="0" noProof="0" dirty="0" err="1">
                <a:ln>
                  <a:noFill/>
                </a:ln>
                <a:solidFill>
                  <a:srgbClr val="FFFFFF"/>
                </a:solidFill>
                <a:effectLst/>
                <a:uLnTx/>
                <a:uFillTx/>
                <a:latin typeface="Arial" panose="020B0604020202020204"/>
                <a:ea typeface="+mn-ea"/>
                <a:cs typeface="+mn-cs"/>
              </a:rPr>
              <a:t>of</a:t>
            </a:r>
            <a:r>
              <a:rPr kumimoji="0" lang="de-DE" sz="1400" b="0" i="0" u="none" strike="noStrike" kern="1200" cap="none" spc="0" normalizeH="0" baseline="0" noProof="0" dirty="0">
                <a:ln>
                  <a:noFill/>
                </a:ln>
                <a:solidFill>
                  <a:srgbClr val="FFFFFF"/>
                </a:solidFill>
                <a:effectLst/>
                <a:uLnTx/>
                <a:uFillTx/>
                <a:latin typeface="Arial" panose="020B0604020202020204"/>
                <a:ea typeface="+mn-ea"/>
                <a:cs typeface="+mn-cs"/>
              </a:rPr>
              <a:t> BG ISINs in </a:t>
            </a:r>
            <a:r>
              <a:rPr kumimoji="0" lang="de-DE" sz="1400" b="0" i="0" u="none" strike="noStrike" kern="1200" cap="none" spc="0" normalizeH="0" baseline="0" noProof="0" dirty="0">
                <a:ln>
                  <a:noFill/>
                </a:ln>
                <a:solidFill>
                  <a:srgbClr val="0070C0"/>
                </a:solidFill>
                <a:effectLst/>
                <a:uLnTx/>
                <a:uFillTx/>
                <a:latin typeface="Arial" panose="020B0604020202020204"/>
                <a:ea typeface="+mn-ea"/>
                <a:cs typeface="+mn-cs"/>
              </a:rPr>
              <a:t>EUR</a:t>
            </a:r>
            <a:endParaRPr kumimoji="0" lang="en-US" sz="1400" b="0" i="0" u="none" strike="noStrike" kern="1200" cap="none" spc="0" normalizeH="0" baseline="0" noProof="0" dirty="0">
              <a:ln>
                <a:noFill/>
              </a:ln>
              <a:solidFill>
                <a:srgbClr val="0070C0"/>
              </a:solidFill>
              <a:effectLst/>
              <a:uLnTx/>
              <a:uFillTx/>
              <a:latin typeface="Arial" panose="020B0604020202020204"/>
              <a:ea typeface="+mn-ea"/>
              <a:cs typeface="+mn-cs"/>
            </a:endParaRPr>
          </a:p>
        </p:txBody>
      </p:sp>
      <p:sp>
        <p:nvSpPr>
          <p:cNvPr id="5" name="Title 1">
            <a:extLst>
              <a:ext uri="{FF2B5EF4-FFF2-40B4-BE49-F238E27FC236}">
                <a16:creationId xmlns:a16="http://schemas.microsoft.com/office/drawing/2014/main" id="{7844540C-8FDA-1B95-950A-907E95A0188E}"/>
              </a:ext>
            </a:extLst>
          </p:cNvPr>
          <p:cNvSpPr txBox="1">
            <a:spLocks/>
          </p:cNvSpPr>
          <p:nvPr/>
        </p:nvSpPr>
        <p:spPr bwMode="gray">
          <a:xfrm>
            <a:off x="587388" y="368300"/>
            <a:ext cx="9471012" cy="934900"/>
          </a:xfrm>
          <a:prstGeom prst="rect">
            <a:avLst/>
          </a:prstGeom>
        </p:spPr>
        <p:txBody>
          <a:bodyPr vert="horz" lIns="0" tIns="0" rIns="0" bIns="0" rtlCol="0" anchor="t" anchorCtr="0">
            <a:noAutofit/>
          </a:bodyPr>
          <a:lstStyle>
            <a:lvl1pPr algn="l" defTabSz="914400" rtl="0" eaLnBrk="1" latinLnBrk="0" hangingPunct="1">
              <a:lnSpc>
                <a:spcPct val="110000"/>
              </a:lnSpc>
              <a:spcBef>
                <a:spcPct val="0"/>
              </a:spcBef>
              <a:buNone/>
              <a:defRPr sz="3000" b="1" kern="1200">
                <a:solidFill>
                  <a:schemeClr val="accent1"/>
                </a:solidFill>
                <a:latin typeface="+mj-lt"/>
                <a:ea typeface="+mj-ea"/>
                <a:cs typeface="+mj-cs"/>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de-DE" sz="3000" b="1" i="0" u="none" strike="noStrike" kern="1200" cap="none" spc="0" normalizeH="0" baseline="0" noProof="0" dirty="0">
                <a:ln>
                  <a:noFill/>
                </a:ln>
                <a:solidFill>
                  <a:srgbClr val="00A5C0"/>
                </a:solidFill>
                <a:effectLst/>
                <a:uLnTx/>
                <a:uFillTx/>
                <a:latin typeface="Arial" panose="020B0604020202020204"/>
                <a:ea typeface="+mj-ea"/>
                <a:cs typeface="+mj-cs"/>
              </a:rPr>
              <a:t>Future </a:t>
            </a:r>
            <a:r>
              <a:rPr kumimoji="0" lang="de-DE" sz="3000" b="1" i="0" u="none" strike="noStrike" kern="1200" cap="none" spc="0" normalizeH="0" baseline="0" noProof="0" dirty="0" err="1">
                <a:ln>
                  <a:noFill/>
                </a:ln>
                <a:solidFill>
                  <a:srgbClr val="00A5C0"/>
                </a:solidFill>
                <a:effectLst/>
                <a:uLnTx/>
                <a:uFillTx/>
                <a:latin typeface="Arial" panose="020B0604020202020204"/>
                <a:ea typeface="+mj-ea"/>
                <a:cs typeface="+mj-cs"/>
              </a:rPr>
              <a:t>flow</a:t>
            </a:r>
            <a:r>
              <a:rPr kumimoji="0" lang="de-DE" sz="3000" b="1" i="0" u="none" strike="noStrike" kern="1200" cap="none" spc="0" normalizeH="0" baseline="0" noProof="0" dirty="0">
                <a:ln>
                  <a:noFill/>
                </a:ln>
                <a:solidFill>
                  <a:srgbClr val="00A5C0"/>
                </a:solidFill>
                <a:effectLst/>
                <a:uLnTx/>
                <a:uFillTx/>
                <a:latin typeface="Arial" panose="020B0604020202020204"/>
                <a:ea typeface="+mj-ea"/>
                <a:cs typeface="+mj-cs"/>
              </a:rPr>
              <a:t> for dual-</a:t>
            </a:r>
            <a:r>
              <a:rPr kumimoji="0" lang="de-DE" sz="3000" b="1" i="0" u="none" strike="noStrike" kern="1200" cap="none" spc="0" normalizeH="0" baseline="0" noProof="0" dirty="0" err="1">
                <a:ln>
                  <a:noFill/>
                </a:ln>
                <a:solidFill>
                  <a:srgbClr val="00A5C0"/>
                </a:solidFill>
                <a:effectLst/>
                <a:uLnTx/>
                <a:uFillTx/>
                <a:latin typeface="Arial" panose="020B0604020202020204"/>
                <a:ea typeface="+mj-ea"/>
                <a:cs typeface="+mj-cs"/>
              </a:rPr>
              <a:t>listed</a:t>
            </a:r>
            <a:r>
              <a:rPr kumimoji="0" lang="de-DE" sz="3000" b="1" i="0" u="none" strike="noStrike" kern="1200" cap="none" spc="0" normalizeH="0" baseline="0" noProof="0" dirty="0">
                <a:ln>
                  <a:noFill/>
                </a:ln>
                <a:solidFill>
                  <a:srgbClr val="00A5C0"/>
                </a:solidFill>
                <a:effectLst/>
                <a:uLnTx/>
                <a:uFillTx/>
                <a:latin typeface="Arial" panose="020B0604020202020204"/>
                <a:ea typeface="+mj-ea"/>
                <a:cs typeface="+mj-cs"/>
              </a:rPr>
              <a:t> </a:t>
            </a:r>
            <a:r>
              <a:rPr kumimoji="0" lang="de-DE" sz="3000" b="1" i="0" u="none" strike="noStrike" kern="1200" cap="none" spc="0" normalizeH="0" baseline="0" noProof="0" dirty="0" err="1">
                <a:ln>
                  <a:noFill/>
                </a:ln>
                <a:solidFill>
                  <a:srgbClr val="00A5C0"/>
                </a:solidFill>
                <a:effectLst/>
                <a:uLnTx/>
                <a:uFillTx/>
                <a:latin typeface="Arial" panose="020B0604020202020204"/>
                <a:ea typeface="+mj-ea"/>
                <a:cs typeface="+mj-cs"/>
              </a:rPr>
              <a:t>securities</a:t>
            </a:r>
            <a:endParaRPr kumimoji="0" lang="en-US" sz="3000" b="1" i="0" u="none" strike="noStrike" kern="1200" cap="none" spc="0" normalizeH="0" baseline="0" noProof="0" dirty="0">
              <a:ln>
                <a:noFill/>
              </a:ln>
              <a:solidFill>
                <a:srgbClr val="00A5C0"/>
              </a:solidFill>
              <a:effectLst/>
              <a:uLnTx/>
              <a:uFillTx/>
              <a:latin typeface="Arial" panose="020B0604020202020204"/>
              <a:ea typeface="+mj-ea"/>
              <a:cs typeface="+mj-cs"/>
            </a:endParaRPr>
          </a:p>
        </p:txBody>
      </p:sp>
      <p:sp>
        <p:nvSpPr>
          <p:cNvPr id="6" name="Rectangle 5">
            <a:extLst>
              <a:ext uri="{FF2B5EF4-FFF2-40B4-BE49-F238E27FC236}">
                <a16:creationId xmlns:a16="http://schemas.microsoft.com/office/drawing/2014/main" id="{99132631-B1A1-F13F-B59A-6542C682F14E}"/>
              </a:ext>
            </a:extLst>
          </p:cNvPr>
          <p:cNvSpPr/>
          <p:nvPr/>
        </p:nvSpPr>
        <p:spPr>
          <a:xfrm>
            <a:off x="3769824" y="2243491"/>
            <a:ext cx="2528889" cy="914400"/>
          </a:xfrm>
          <a:prstGeom prst="rect">
            <a:avLst/>
          </a:prstGeom>
          <a:solidFill>
            <a:srgbClr val="A3CDC5"/>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FFFFFF"/>
                </a:solidFill>
                <a:effectLst/>
                <a:uLnTx/>
                <a:uFillTx/>
                <a:latin typeface="Arial" panose="020B0604020202020204"/>
                <a:ea typeface="+mn-ea"/>
                <a:cs typeface="+mn-cs"/>
              </a:rPr>
              <a:t>Trading </a:t>
            </a:r>
            <a:r>
              <a:rPr kumimoji="0" lang="de-DE" sz="1400" b="0" i="0" u="none" strike="noStrike" kern="1200" cap="none" spc="0" normalizeH="0" baseline="0" noProof="0" dirty="0" err="1">
                <a:ln>
                  <a:noFill/>
                </a:ln>
                <a:solidFill>
                  <a:srgbClr val="FFFFFF"/>
                </a:solidFill>
                <a:effectLst/>
                <a:uLnTx/>
                <a:uFillTx/>
                <a:latin typeface="Arial" panose="020B0604020202020204"/>
                <a:ea typeface="+mn-ea"/>
                <a:cs typeface="+mn-cs"/>
              </a:rPr>
              <a:t>of</a:t>
            </a:r>
            <a:r>
              <a:rPr kumimoji="0" lang="de-DE" sz="1400" b="0" i="0" u="none" strike="noStrike" kern="1200" cap="none" spc="0" normalizeH="0" baseline="0" noProof="0" dirty="0">
                <a:ln>
                  <a:noFill/>
                </a:ln>
                <a:solidFill>
                  <a:srgbClr val="FFFFFF"/>
                </a:solidFill>
                <a:effectLst/>
                <a:uLnTx/>
                <a:uFillTx/>
                <a:latin typeface="Arial" panose="020B0604020202020204"/>
                <a:ea typeface="+mn-ea"/>
                <a:cs typeface="+mn-cs"/>
              </a:rPr>
              <a:t> BG ISINs in </a:t>
            </a:r>
            <a:r>
              <a:rPr kumimoji="0" lang="de-DE" sz="1400" b="0" i="0" u="none" strike="noStrike" kern="1200" cap="none" spc="0" normalizeH="0" baseline="0" noProof="0" dirty="0">
                <a:ln>
                  <a:noFill/>
                </a:ln>
                <a:solidFill>
                  <a:srgbClr val="0070C0"/>
                </a:solidFill>
                <a:effectLst/>
                <a:uLnTx/>
                <a:uFillTx/>
                <a:latin typeface="Arial" panose="020B0604020202020204"/>
                <a:ea typeface="+mn-ea"/>
                <a:cs typeface="+mn-cs"/>
              </a:rPr>
              <a:t>EUR</a:t>
            </a:r>
            <a:r>
              <a:rPr kumimoji="0" lang="de-DE" sz="1400" b="0" i="0" u="none" strike="noStrike" kern="1200" cap="none" spc="0" normalizeH="0" baseline="0" noProof="0" dirty="0">
                <a:ln>
                  <a:noFill/>
                </a:ln>
                <a:solidFill>
                  <a:srgbClr val="FFFFFF"/>
                </a:solidFill>
                <a:effectLst/>
                <a:uLnTx/>
                <a:uFillTx/>
                <a:latin typeface="Arial" panose="020B0604020202020204"/>
                <a:ea typeface="+mn-ea"/>
                <a:cs typeface="+mn-cs"/>
              </a:rPr>
              <a:t> and BGN</a:t>
            </a:r>
            <a:endPar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6D7C3758-E022-983A-D08A-210D8CC8CAC9}"/>
              </a:ext>
            </a:extLst>
          </p:cNvPr>
          <p:cNvSpPr/>
          <p:nvPr/>
        </p:nvSpPr>
        <p:spPr>
          <a:xfrm>
            <a:off x="3900458" y="5005233"/>
            <a:ext cx="2045653" cy="818877"/>
          </a:xfrm>
          <a:prstGeom prst="rect">
            <a:avLst/>
          </a:prstGeom>
          <a:solidFill>
            <a:srgbClr val="00A5C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FFFFFF"/>
                </a:solidFill>
                <a:effectLst/>
                <a:uLnTx/>
                <a:uFillTx/>
                <a:latin typeface="Arial" panose="020B0604020202020204"/>
                <a:ea typeface="+mn-ea"/>
                <a:cs typeface="+mn-cs"/>
              </a:rPr>
              <a:t>Settlement </a:t>
            </a:r>
            <a:r>
              <a:rPr kumimoji="0" lang="de-DE" sz="1400" b="0" i="0" u="none" strike="noStrike" kern="1200" cap="none" spc="0" normalizeH="0" baseline="0" noProof="0" dirty="0" err="1">
                <a:ln>
                  <a:noFill/>
                </a:ln>
                <a:solidFill>
                  <a:srgbClr val="FFFFFF"/>
                </a:solidFill>
                <a:effectLst/>
                <a:uLnTx/>
                <a:uFillTx/>
                <a:latin typeface="Arial" panose="020B0604020202020204"/>
                <a:ea typeface="+mn-ea"/>
                <a:cs typeface="+mn-cs"/>
              </a:rPr>
              <a:t>of</a:t>
            </a:r>
            <a:r>
              <a:rPr kumimoji="0" lang="de-DE" sz="1400" b="0" i="0" u="none" strike="noStrike" kern="1200" cap="none" spc="0" normalizeH="0" baseline="0" noProof="0" dirty="0">
                <a:ln>
                  <a:noFill/>
                </a:ln>
                <a:solidFill>
                  <a:srgbClr val="FFFFFF"/>
                </a:solidFill>
                <a:effectLst/>
                <a:uLnTx/>
                <a:uFillTx/>
                <a:latin typeface="Arial" panose="020B0604020202020204"/>
                <a:ea typeface="+mn-ea"/>
                <a:cs typeface="+mn-cs"/>
              </a:rPr>
              <a:t> BG ISINs in EUR and BGN</a:t>
            </a:r>
            <a:endPar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8" name="Straight Arrow Connector 7">
            <a:extLst>
              <a:ext uri="{FF2B5EF4-FFF2-40B4-BE49-F238E27FC236}">
                <a16:creationId xmlns:a16="http://schemas.microsoft.com/office/drawing/2014/main" id="{65F89B4C-910F-BB31-DD8F-378895ADA425}"/>
              </a:ext>
            </a:extLst>
          </p:cNvPr>
          <p:cNvCxnSpPr>
            <a:cxnSpLocks/>
          </p:cNvCxnSpPr>
          <p:nvPr/>
        </p:nvCxnSpPr>
        <p:spPr>
          <a:xfrm>
            <a:off x="4935907" y="3157890"/>
            <a:ext cx="0" cy="895647"/>
          </a:xfrm>
          <a:prstGeom prst="straightConnector1">
            <a:avLst/>
          </a:prstGeom>
          <a:ln>
            <a:solidFill>
              <a:srgbClr val="00A5C0"/>
            </a:solidFill>
            <a:tailEnd type="triangle"/>
          </a:ln>
        </p:spPr>
        <p:style>
          <a:lnRef idx="3">
            <a:schemeClr val="accent3"/>
          </a:lnRef>
          <a:fillRef idx="0">
            <a:schemeClr val="accent3"/>
          </a:fillRef>
          <a:effectRef idx="2">
            <a:schemeClr val="accent3"/>
          </a:effectRef>
          <a:fontRef idx="minor">
            <a:schemeClr val="tx1"/>
          </a:fontRef>
        </p:style>
      </p:cxnSp>
      <p:cxnSp>
        <p:nvCxnSpPr>
          <p:cNvPr id="10" name="Connector: Elbow 9">
            <a:extLst>
              <a:ext uri="{FF2B5EF4-FFF2-40B4-BE49-F238E27FC236}">
                <a16:creationId xmlns:a16="http://schemas.microsoft.com/office/drawing/2014/main" id="{83E3830E-6AA3-09DD-6B09-D56A92BF432D}"/>
              </a:ext>
            </a:extLst>
          </p:cNvPr>
          <p:cNvCxnSpPr>
            <a:cxnSpLocks/>
          </p:cNvCxnSpPr>
          <p:nvPr/>
        </p:nvCxnSpPr>
        <p:spPr>
          <a:xfrm rot="5400000">
            <a:off x="5600466" y="2819345"/>
            <a:ext cx="2341658" cy="2786275"/>
          </a:xfrm>
          <a:prstGeom prst="bentConnector2">
            <a:avLst/>
          </a:prstGeom>
          <a:ln w="9525">
            <a:solidFill>
              <a:srgbClr val="00A5C0"/>
            </a:solidFill>
            <a:tailEnd type="triangle"/>
          </a:ln>
        </p:spPr>
        <p:style>
          <a:lnRef idx="3">
            <a:schemeClr val="accent3"/>
          </a:lnRef>
          <a:fillRef idx="0">
            <a:schemeClr val="accent3"/>
          </a:fillRef>
          <a:effectRef idx="2">
            <a:schemeClr val="accent3"/>
          </a:effectRef>
          <a:fontRef idx="minor">
            <a:schemeClr val="tx1"/>
          </a:fontRef>
        </p:style>
      </p:cxnSp>
      <p:cxnSp>
        <p:nvCxnSpPr>
          <p:cNvPr id="11" name="Connector: Elbow 10">
            <a:extLst>
              <a:ext uri="{FF2B5EF4-FFF2-40B4-BE49-F238E27FC236}">
                <a16:creationId xmlns:a16="http://schemas.microsoft.com/office/drawing/2014/main" id="{BE5CB0ED-59B9-F202-CF57-49807755106D}"/>
              </a:ext>
            </a:extLst>
          </p:cNvPr>
          <p:cNvCxnSpPr>
            <a:cxnSpLocks/>
            <a:stCxn id="4" idx="2"/>
            <a:endCxn id="7" idx="1"/>
          </p:cNvCxnSpPr>
          <p:nvPr/>
        </p:nvCxnSpPr>
        <p:spPr>
          <a:xfrm rot="16200000" flipH="1">
            <a:off x="1550792" y="3065006"/>
            <a:ext cx="2584160" cy="2115171"/>
          </a:xfrm>
          <a:prstGeom prst="bentConnector2">
            <a:avLst/>
          </a:prstGeom>
          <a:ln>
            <a:solidFill>
              <a:srgbClr val="00A5C0"/>
            </a:solidFill>
            <a:prstDash val="dash"/>
            <a:tailEnd type="triangle"/>
          </a:ln>
        </p:spPr>
        <p:style>
          <a:lnRef idx="3">
            <a:schemeClr val="accent3"/>
          </a:lnRef>
          <a:fillRef idx="0">
            <a:schemeClr val="accent3"/>
          </a:fillRef>
          <a:effectRef idx="2">
            <a:schemeClr val="accent3"/>
          </a:effectRef>
          <a:fontRef idx="minor">
            <a:schemeClr val="tx1"/>
          </a:fontRef>
        </p:style>
      </p:cxnSp>
      <p:sp>
        <p:nvSpPr>
          <p:cNvPr id="12" name="TextBox 11">
            <a:extLst>
              <a:ext uri="{FF2B5EF4-FFF2-40B4-BE49-F238E27FC236}">
                <a16:creationId xmlns:a16="http://schemas.microsoft.com/office/drawing/2014/main" id="{4A79563F-BD3B-AD49-3F9E-7F3985E10615}"/>
              </a:ext>
            </a:extLst>
          </p:cNvPr>
          <p:cNvSpPr txBox="1"/>
          <p:nvPr/>
        </p:nvSpPr>
        <p:spPr>
          <a:xfrm>
            <a:off x="587388" y="5024622"/>
            <a:ext cx="914400" cy="302242"/>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BD080C1D-A2BB-7E23-561F-C7EB8E754C2F}"/>
              </a:ext>
            </a:extLst>
          </p:cNvPr>
          <p:cNvSpPr txBox="1"/>
          <p:nvPr/>
        </p:nvSpPr>
        <p:spPr>
          <a:xfrm>
            <a:off x="1853356" y="2893050"/>
            <a:ext cx="1555186" cy="91440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1050" b="0" i="0" u="none" strike="noStrike" kern="1200" cap="none" spc="0" normalizeH="0" baseline="0" noProof="0" dirty="0" err="1">
                <a:ln>
                  <a:noFill/>
                </a:ln>
                <a:solidFill>
                  <a:srgbClr val="0070C0"/>
                </a:solidFill>
                <a:effectLst/>
                <a:uLnTx/>
                <a:uFillTx/>
                <a:latin typeface="Arial" panose="020B0604020202020204"/>
                <a:ea typeface="+mn-ea"/>
                <a:cs typeface="+mn-cs"/>
              </a:rPr>
              <a:t>Example</a:t>
            </a:r>
            <a:r>
              <a:rPr kumimoji="0" lang="de-DE" sz="1050" b="0" i="0" u="none" strike="noStrike" kern="1200" cap="none" spc="0" normalizeH="0" baseline="0" noProof="0" dirty="0">
                <a:ln>
                  <a:noFill/>
                </a:ln>
                <a:solidFill>
                  <a:srgbClr val="0070C0"/>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1050" b="0" i="0" u="none" strike="noStrike" kern="1200" cap="none" spc="0" normalizeH="0" baseline="0" noProof="0" dirty="0">
                <a:ln>
                  <a:noFill/>
                </a:ln>
                <a:solidFill>
                  <a:srgbClr val="0070C0"/>
                </a:solidFill>
                <a:effectLst/>
                <a:uLnTx/>
                <a:uFillTx/>
                <a:latin typeface="Arial" panose="020B0604020202020204"/>
                <a:ea typeface="+mn-ea"/>
                <a:cs typeface="+mn-cs"/>
              </a:rPr>
              <a:t>BG1 - EUR</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1050" b="0" i="0" u="none" strike="noStrike" kern="1200" cap="none" spc="0" normalizeH="0" baseline="0" noProof="0" dirty="0">
                <a:ln>
                  <a:noFill/>
                </a:ln>
                <a:solidFill>
                  <a:srgbClr val="0070C0"/>
                </a:solidFill>
                <a:effectLst/>
                <a:uLnTx/>
                <a:uFillTx/>
                <a:latin typeface="Arial" panose="020B0604020202020204"/>
                <a:ea typeface="+mn-ea"/>
                <a:cs typeface="+mn-cs"/>
              </a:rPr>
              <a:t>BG2 - EUR</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7FD076AF-8046-C089-7871-9C31E569F50C}"/>
              </a:ext>
            </a:extLst>
          </p:cNvPr>
          <p:cNvSpPr txBox="1"/>
          <p:nvPr/>
        </p:nvSpPr>
        <p:spPr>
          <a:xfrm>
            <a:off x="5105881" y="3283703"/>
            <a:ext cx="841755" cy="731828"/>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1050" b="0" i="0" u="none" strike="noStrike" kern="1200" cap="none" spc="0" normalizeH="0" baseline="0" noProof="0" dirty="0" err="1">
                <a:ln>
                  <a:noFill/>
                </a:ln>
                <a:solidFill>
                  <a:srgbClr val="0070C0"/>
                </a:solidFill>
                <a:effectLst/>
                <a:uLnTx/>
                <a:uFillTx/>
                <a:latin typeface="Arial" panose="020B0604020202020204"/>
                <a:ea typeface="+mn-ea"/>
                <a:cs typeface="+mn-cs"/>
              </a:rPr>
              <a:t>Example</a:t>
            </a:r>
            <a:r>
              <a:rPr kumimoji="0" lang="de-DE" sz="1050" b="0" i="0" u="none" strike="noStrike" kern="1200" cap="none" spc="0" normalizeH="0" baseline="0" noProof="0" dirty="0">
                <a:ln>
                  <a:noFill/>
                </a:ln>
                <a:solidFill>
                  <a:srgbClr val="0070C0"/>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1050" b="0" i="0" u="none" strike="noStrike" kern="1200" cap="none" spc="0" normalizeH="0" baseline="0" noProof="0" dirty="0">
                <a:ln>
                  <a:noFill/>
                </a:ln>
                <a:solidFill>
                  <a:srgbClr val="0070C0"/>
                </a:solidFill>
                <a:effectLst/>
                <a:uLnTx/>
                <a:uFillTx/>
                <a:latin typeface="Arial" panose="020B0604020202020204"/>
                <a:ea typeface="+mn-ea"/>
                <a:cs typeface="+mn-cs"/>
              </a:rPr>
              <a:t>BG1 - EUR</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1050" b="0" i="0" u="none" strike="noStrike" kern="1200" cap="none" spc="0" normalizeH="0" baseline="0" noProof="0" dirty="0">
                <a:ln>
                  <a:noFill/>
                </a:ln>
                <a:solidFill>
                  <a:srgbClr val="0070C0"/>
                </a:solidFill>
                <a:effectLst/>
                <a:uLnTx/>
                <a:uFillTx/>
                <a:latin typeface="Arial" panose="020B0604020202020204"/>
                <a:ea typeface="+mn-ea"/>
                <a:cs typeface="+mn-cs"/>
              </a:rPr>
              <a:t>BG2 - EUR</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pic>
        <p:nvPicPr>
          <p:cNvPr id="15" name="Picture 4" descr="Xetra Gold ETF Fails to deliver- Play by Play | News and views from a ...">
            <a:extLst>
              <a:ext uri="{FF2B5EF4-FFF2-40B4-BE49-F238E27FC236}">
                <a16:creationId xmlns:a16="http://schemas.microsoft.com/office/drawing/2014/main" id="{765D3827-28BB-5481-DB30-3BB0A19B666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674" t="33562" r="9220" b="28921"/>
          <a:stretch/>
        </p:blipFill>
        <p:spPr bwMode="auto">
          <a:xfrm>
            <a:off x="741111" y="1352313"/>
            <a:ext cx="2229790" cy="518927"/>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4" descr="Eurex Clearing - Derivsource">
            <a:extLst>
              <a:ext uri="{FF2B5EF4-FFF2-40B4-BE49-F238E27FC236}">
                <a16:creationId xmlns:a16="http://schemas.microsoft.com/office/drawing/2014/main" id="{5020534F-E211-1A1B-1119-C9E97937658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3282" y="3340887"/>
            <a:ext cx="1896707" cy="934900"/>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08DEC877-FEF3-08A9-E69C-5A8AEDF78149}"/>
              </a:ext>
            </a:extLst>
          </p:cNvPr>
          <p:cNvSpPr/>
          <p:nvPr/>
        </p:nvSpPr>
        <p:spPr>
          <a:xfrm>
            <a:off x="653282" y="4118770"/>
            <a:ext cx="2176181" cy="713065"/>
          </a:xfrm>
          <a:prstGeom prst="rect">
            <a:avLst/>
          </a:prstGeom>
          <a:solidFill>
            <a:schemeClr val="tx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E3E3E3"/>
                </a:solidFill>
                <a:effectLst/>
                <a:uLnTx/>
                <a:uFillTx/>
                <a:latin typeface="Arial" panose="020B0604020202020204"/>
                <a:ea typeface="+mn-ea"/>
                <a:cs typeface="+mn-cs"/>
              </a:rPr>
              <a:t>Clearing </a:t>
            </a:r>
            <a:r>
              <a:rPr kumimoji="0" lang="de-DE" sz="1400" b="0" i="0" u="none" strike="noStrike" kern="1200" cap="none" spc="0" normalizeH="0" baseline="0" noProof="0" dirty="0" err="1">
                <a:ln>
                  <a:noFill/>
                </a:ln>
                <a:solidFill>
                  <a:srgbClr val="E3E3E3"/>
                </a:solidFill>
                <a:effectLst/>
                <a:uLnTx/>
                <a:uFillTx/>
                <a:latin typeface="Arial" panose="020B0604020202020204"/>
                <a:ea typeface="+mn-ea"/>
                <a:cs typeface="+mn-cs"/>
              </a:rPr>
              <a:t>of</a:t>
            </a:r>
            <a:r>
              <a:rPr kumimoji="0" lang="de-DE" sz="1400" b="0" i="0" u="none" strike="noStrike" kern="1200" cap="none" spc="0" normalizeH="0" baseline="0" noProof="0" dirty="0">
                <a:ln>
                  <a:noFill/>
                </a:ln>
                <a:solidFill>
                  <a:srgbClr val="E3E3E3"/>
                </a:solidFill>
                <a:effectLst/>
                <a:uLnTx/>
                <a:uFillTx/>
                <a:latin typeface="Arial" panose="020B0604020202020204"/>
                <a:ea typeface="+mn-ea"/>
                <a:cs typeface="+mn-cs"/>
              </a:rPr>
              <a:t> BG ISINs EUR</a:t>
            </a:r>
            <a:endParaRPr kumimoji="0" lang="en-US" sz="1400" b="0" i="0" u="none" strike="noStrike" kern="1200" cap="none" spc="0" normalizeH="0" baseline="0" noProof="0" dirty="0">
              <a:ln>
                <a:noFill/>
              </a:ln>
              <a:solidFill>
                <a:srgbClr val="E3E3E3"/>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D144C34C-25E6-69C3-CFB8-BE69D6885641}"/>
              </a:ext>
            </a:extLst>
          </p:cNvPr>
          <p:cNvSpPr txBox="1"/>
          <p:nvPr/>
        </p:nvSpPr>
        <p:spPr>
          <a:xfrm>
            <a:off x="4050919" y="3288946"/>
            <a:ext cx="841755" cy="812192"/>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1050" b="0" i="0" u="none" strike="noStrike" kern="1200" cap="none" spc="0" normalizeH="0" baseline="0" noProof="0" dirty="0" err="1">
                <a:ln>
                  <a:noFill/>
                </a:ln>
                <a:solidFill>
                  <a:srgbClr val="0070C0"/>
                </a:solidFill>
                <a:effectLst/>
                <a:uLnTx/>
                <a:uFillTx/>
                <a:latin typeface="Arial" panose="020B0604020202020204"/>
                <a:ea typeface="+mn-ea"/>
                <a:cs typeface="+mn-cs"/>
              </a:rPr>
              <a:t>Example</a:t>
            </a:r>
            <a:r>
              <a:rPr kumimoji="0" lang="de-DE" sz="1050" b="0" i="0" u="none" strike="noStrike" kern="1200" cap="none" spc="0" normalizeH="0" baseline="0" noProof="0" dirty="0">
                <a:ln>
                  <a:noFill/>
                </a:ln>
                <a:solidFill>
                  <a:srgbClr val="0070C0"/>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1050" b="0" i="0" u="none" strike="noStrike" kern="1200" cap="none" spc="0" normalizeH="0" baseline="0" noProof="0" dirty="0">
                <a:ln>
                  <a:noFill/>
                </a:ln>
                <a:solidFill>
                  <a:srgbClr val="666666"/>
                </a:solidFill>
                <a:effectLst/>
                <a:uLnTx/>
                <a:uFillTx/>
                <a:latin typeface="Arial" panose="020B0604020202020204"/>
                <a:ea typeface="+mn-ea"/>
                <a:cs typeface="+mn-cs"/>
              </a:rPr>
              <a:t>BG3 - BG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1050" b="0" i="0" u="none" strike="noStrike" kern="1200" cap="none" spc="0" normalizeH="0" baseline="0" noProof="0" dirty="0">
                <a:ln>
                  <a:noFill/>
                </a:ln>
                <a:solidFill>
                  <a:srgbClr val="666666"/>
                </a:solidFill>
                <a:effectLst/>
                <a:uLnTx/>
                <a:uFillTx/>
                <a:latin typeface="Arial" panose="020B0604020202020204"/>
                <a:ea typeface="+mn-ea"/>
                <a:cs typeface="+mn-cs"/>
              </a:rPr>
              <a:t>BG4 - BGN</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F8B3C481-A9B8-24C4-0007-0B9FB6D8EF14}"/>
              </a:ext>
            </a:extLst>
          </p:cNvPr>
          <p:cNvSpPr txBox="1"/>
          <p:nvPr/>
        </p:nvSpPr>
        <p:spPr>
          <a:xfrm>
            <a:off x="6700423" y="3822486"/>
            <a:ext cx="2643881" cy="541209"/>
          </a:xfrm>
          <a:prstGeom prst="rect">
            <a:avLst/>
          </a:prstGeom>
          <a:noFill/>
        </p:spPr>
        <p:txBody>
          <a:bodyPr wrap="none" lIns="0" tIns="0" rIns="0" bIns="0" rtlCol="0">
            <a:no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de-DE" sz="1050" b="0" i="0" u="none" strike="noStrike" kern="1200" cap="none" spc="0" normalizeH="0" baseline="0" noProof="0" dirty="0">
                <a:ln>
                  <a:noFill/>
                </a:ln>
                <a:solidFill>
                  <a:srgbClr val="666666"/>
                </a:solidFill>
                <a:effectLst/>
                <a:uLnTx/>
                <a:uFillTx/>
                <a:latin typeface="Arial" panose="020B0604020202020204"/>
                <a:ea typeface="+mn-ea"/>
                <a:cs typeface="+mn-cs"/>
              </a:rPr>
              <a:t>CA Data for BG ISINs (BG3, BG4) in BGN</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de-DE" sz="1050" b="0" i="0" u="none" strike="noStrike" kern="1200" cap="none" spc="0" normalizeH="0" baseline="0" noProof="0" dirty="0">
                <a:ln>
                  <a:noFill/>
                </a:ln>
                <a:solidFill>
                  <a:srgbClr val="666666"/>
                </a:solidFill>
                <a:effectLst/>
                <a:uLnTx/>
                <a:uFillTx/>
                <a:latin typeface="Arial" panose="020B0604020202020204"/>
                <a:ea typeface="+mn-ea"/>
                <a:cs typeface="+mn-cs"/>
              </a:rPr>
              <a:t>CA Data for BG ISINs (</a:t>
            </a:r>
            <a:r>
              <a:rPr kumimoji="0" lang="de-DE" sz="1050" b="0" i="0" u="none" strike="noStrike" kern="1200" cap="none" spc="0" normalizeH="0" baseline="0" noProof="0" dirty="0">
                <a:ln>
                  <a:noFill/>
                </a:ln>
                <a:solidFill>
                  <a:srgbClr val="000099"/>
                </a:solidFill>
                <a:effectLst/>
                <a:uLnTx/>
                <a:uFillTx/>
                <a:latin typeface="Arial" panose="020B0604020202020204"/>
                <a:ea typeface="+mn-ea"/>
                <a:cs typeface="+mn-cs"/>
              </a:rPr>
              <a:t>BG1, BG2) in EUR</a:t>
            </a:r>
            <a:endParaRPr kumimoji="0" lang="en-US" sz="105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24" name="Rectangle 23">
            <a:extLst>
              <a:ext uri="{FF2B5EF4-FFF2-40B4-BE49-F238E27FC236}">
                <a16:creationId xmlns:a16="http://schemas.microsoft.com/office/drawing/2014/main" id="{DA86D074-49D6-5777-455B-CF03B644656B}"/>
              </a:ext>
            </a:extLst>
          </p:cNvPr>
          <p:cNvSpPr/>
          <p:nvPr/>
        </p:nvSpPr>
        <p:spPr>
          <a:xfrm>
            <a:off x="9461386" y="-2"/>
            <a:ext cx="2730776" cy="6858002"/>
          </a:xfrm>
          <a:prstGeom prst="rect">
            <a:avLst/>
          </a:prstGeom>
          <a:solidFill>
            <a:srgbClr val="00C78B"/>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7" name="Rechteck 19">
            <a:extLst>
              <a:ext uri="{FF2B5EF4-FFF2-40B4-BE49-F238E27FC236}">
                <a16:creationId xmlns:a16="http://schemas.microsoft.com/office/drawing/2014/main" id="{B8FE68F8-A299-BFF2-C396-F08661ADE3CE}"/>
              </a:ext>
            </a:extLst>
          </p:cNvPr>
          <p:cNvSpPr/>
          <p:nvPr>
            <p:custDataLst>
              <p:tags r:id="rId1"/>
            </p:custDataLst>
          </p:nvPr>
        </p:nvSpPr>
        <p:spPr bwMode="auto">
          <a:xfrm>
            <a:off x="9537959" y="1536618"/>
            <a:ext cx="2467825" cy="5177691"/>
          </a:xfrm>
          <a:prstGeom prst="rect">
            <a:avLst/>
          </a:prstGeom>
          <a:noFill/>
          <a:ln>
            <a:noFill/>
          </a:ln>
          <a:effectLst/>
        </p:spPr>
        <p:txBody>
          <a:bodyPr vert="horz" wrap="square" lIns="36000" tIns="108000" rIns="36000" bIns="45720" numCol="1" rtlCol="0" anchor="t" anchorCtr="0" compatLnSpc="1">
            <a:prstTxWarp prst="textNoShape">
              <a:avLst/>
            </a:prstTxWarp>
          </a:bodyPr>
          <a:lstStyle>
            <a:lvl1pPr marL="216000" indent="-216000" algn="l" defTabSz="914400" rtl="0" eaLnBrk="1" latinLnBrk="0" hangingPunct="1">
              <a:buClrTx/>
              <a:buFont typeface="Arial" panose="020B0604020202020204" pitchFamily="34" charset="0"/>
              <a:buChar char="–"/>
            </a:lvl1pPr>
            <a:lvl2pPr marL="216000" indent="-216000" algn="l" defTabSz="914400" rtl="0" eaLnBrk="1" latinLnBrk="0" hangingPunct="1">
              <a:buClrTx/>
              <a:buFont typeface="Arial" panose="020B0604020202020204" pitchFamily="34" charset="0"/>
              <a:buChar char="–"/>
            </a:lvl2pPr>
            <a:lvl3pPr marL="432000" indent="-216000" algn="l" defTabSz="914400" rtl="0" eaLnBrk="1" latinLnBrk="0" hangingPunct="1">
              <a:buClrTx/>
              <a:buFont typeface="Arial" panose="020B0604020202020204" pitchFamily="34" charset="0"/>
              <a:buChar char="–"/>
            </a:lvl3pPr>
            <a:lvl4pPr marL="648000" indent="-216000" algn="l" defTabSz="914400" rtl="0" eaLnBrk="1" latinLnBrk="0" hangingPunct="1">
              <a:buClrTx/>
              <a:buFont typeface="Arial" panose="020B0604020202020204" pitchFamily="34" charset="0"/>
              <a:buChar char="–"/>
            </a:lvl4pPr>
            <a:lvl5pPr marL="864000" indent="-216000" algn="l" defTabSz="914400" rtl="0" eaLnBrk="1" latinLnBrk="0" hangingPunct="1">
              <a:buClrTx/>
              <a:buFont typeface="Arial" panose="020B0604020202020204" pitchFamily="34" charset="0"/>
              <a:buChar char="–"/>
            </a:lvl5pPr>
            <a:lvl6pPr marL="864000" indent="-216000" algn="l" defTabSz="914400" rtl="0" eaLnBrk="1" latinLnBrk="0" hangingPunct="1">
              <a:buClrTx/>
              <a:buFont typeface="Arial" panose="020B0604020202020204" pitchFamily="34" charset="0"/>
              <a:buChar char="–"/>
            </a:lvl6pPr>
            <a:lvl7pPr marL="864000" indent="-216000" algn="l" defTabSz="914400" rtl="0" eaLnBrk="1" latinLnBrk="0" hangingPunct="1">
              <a:buClrTx/>
              <a:buFont typeface="Arial" panose="020B0604020202020204" pitchFamily="34" charset="0"/>
              <a:buChar char="–"/>
            </a:lvl7pPr>
            <a:lvl8pPr marL="864000" indent="-216000" algn="l" defTabSz="914400" rtl="0" eaLnBrk="1" latinLnBrk="0" hangingPunct="1">
              <a:buClrTx/>
              <a:buFont typeface="Arial" panose="020B0604020202020204" pitchFamily="34" charset="0"/>
              <a:buChar char="–"/>
            </a:lvl8pPr>
            <a:lvl9pPr marL="864000" indent="-216000" algn="l" defTabSz="914400" rtl="0" eaLnBrk="1" latinLnBrk="0" hangingPunct="1">
              <a:buClrTx/>
              <a:buFont typeface="Arial" panose="020B0604020202020204" pitchFamily="34" charset="0"/>
              <a:buChar char="–"/>
            </a:lvl9pPr>
          </a:lstStyle>
          <a:p>
            <a:pPr marL="215900" marR="0" lvl="0" indent="-21590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Existing flows for Clearstream stays as is today. Asset servicing will be received in BGN for the ISINs that are still traded in Bulgarian SE</a:t>
            </a:r>
          </a:p>
          <a:p>
            <a:pPr marL="215900" marR="0" lvl="0" indent="-21590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New flows added via XETRA are settled in EUR. Asset servicing information for those ISINs will be sent in EUR from the depository</a:t>
            </a:r>
          </a:p>
          <a:p>
            <a:pPr marL="215900" marR="0" lvl="0" indent="-21590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Clear differentiation between BGN and EUR flows:</a:t>
            </a:r>
            <a:endPar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endParaRPr>
          </a:p>
          <a:p>
            <a:pPr marL="444600" marR="0" lvl="2" indent="-228600" algn="just" defTabSz="914400" rtl="0" eaLnBrk="1" fontAlgn="auto" latinLnBrk="0" hangingPunct="1">
              <a:lnSpc>
                <a:spcPct val="100000"/>
              </a:lnSpc>
              <a:spcBef>
                <a:spcPts val="0"/>
              </a:spcBef>
              <a:spcAft>
                <a:spcPts val="1200"/>
              </a:spcAft>
              <a:buClrTx/>
              <a:buSzTx/>
              <a:buFont typeface="+mj-lt"/>
              <a:buAutoNum type="arabicParenR"/>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If an ISIN is traded in both stock exchanges, then the ISINs will be traded in EUR</a:t>
            </a:r>
          </a:p>
          <a:p>
            <a:pPr marL="444600" marR="0" lvl="2" indent="-228600" algn="just" defTabSz="914400" rtl="0" eaLnBrk="1" fontAlgn="auto" latinLnBrk="0" hangingPunct="1">
              <a:lnSpc>
                <a:spcPct val="100000"/>
              </a:lnSpc>
              <a:spcBef>
                <a:spcPts val="0"/>
              </a:spcBef>
              <a:spcAft>
                <a:spcPts val="1200"/>
              </a:spcAft>
              <a:buClrTx/>
              <a:buSzTx/>
              <a:buFont typeface="+mj-lt"/>
              <a:buAutoNum type="arabicParenR"/>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Same ISIN will not be traded in different currencies</a:t>
            </a:r>
          </a:p>
          <a:p>
            <a:pPr marL="215900" marR="0" lvl="0" indent="-21590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endParaRPr>
          </a:p>
          <a:p>
            <a:pPr marL="215900" marR="0" lvl="0" indent="-21590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srgbClr val="FFFFFF"/>
              </a:solidFill>
              <a:effectLst/>
              <a:uLnTx/>
              <a:uFillTx/>
              <a:latin typeface="Arial" panose="020B0604020202020204"/>
              <a:ea typeface="+mn-ea"/>
              <a:cs typeface="Arial"/>
            </a:endParaRPr>
          </a:p>
        </p:txBody>
      </p:sp>
      <p:sp>
        <p:nvSpPr>
          <p:cNvPr id="28" name="Rectangle 27">
            <a:extLst>
              <a:ext uri="{FF2B5EF4-FFF2-40B4-BE49-F238E27FC236}">
                <a16:creationId xmlns:a16="http://schemas.microsoft.com/office/drawing/2014/main" id="{D3D059CF-DA77-8BEE-6E71-C5B5553000C3}"/>
              </a:ext>
            </a:extLst>
          </p:cNvPr>
          <p:cNvSpPr/>
          <p:nvPr/>
        </p:nvSpPr>
        <p:spPr bwMode="auto">
          <a:xfrm>
            <a:off x="9910530" y="1131462"/>
            <a:ext cx="2095253" cy="391303"/>
          </a:xfrm>
          <a:prstGeom prst="rect">
            <a:avLst/>
          </a:prstGeom>
          <a:solidFill>
            <a:srgbClr val="00C78B"/>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FFFFFF"/>
                </a:solidFill>
                <a:effectLst/>
                <a:uLnTx/>
                <a:uFillTx/>
                <a:latin typeface="Arial" panose="020B0604020202020204"/>
                <a:ea typeface="+mn-ea"/>
                <a:cs typeface="+mn-cs"/>
              </a:rPr>
              <a:t>K</a:t>
            </a:r>
            <a:r>
              <a:rPr kumimoji="0" lang="en-US" sz="1600" b="0" i="0" u="none" strike="noStrike" kern="1200" cap="none" spc="0" normalizeH="0" baseline="0" noProof="0" dirty="0" err="1">
                <a:ln>
                  <a:noFill/>
                </a:ln>
                <a:solidFill>
                  <a:srgbClr val="FFFFFF"/>
                </a:solidFill>
                <a:effectLst/>
                <a:uLnTx/>
                <a:uFillTx/>
                <a:latin typeface="Arial" panose="020B0604020202020204"/>
                <a:ea typeface="+mn-ea"/>
                <a:cs typeface="+mn-cs"/>
              </a:rPr>
              <a:t>ey</a:t>
            </a: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 Facts</a:t>
            </a:r>
          </a:p>
        </p:txBody>
      </p:sp>
      <p:sp>
        <p:nvSpPr>
          <p:cNvPr id="9" name="Rectangle 8">
            <a:extLst>
              <a:ext uri="{FF2B5EF4-FFF2-40B4-BE49-F238E27FC236}">
                <a16:creationId xmlns:a16="http://schemas.microsoft.com/office/drawing/2014/main" id="{87CA83A7-D38E-5D96-9833-FFACD3D221EB}"/>
              </a:ext>
            </a:extLst>
          </p:cNvPr>
          <p:cNvSpPr/>
          <p:nvPr/>
        </p:nvSpPr>
        <p:spPr>
          <a:xfrm>
            <a:off x="7285943" y="2255749"/>
            <a:ext cx="1629955" cy="895646"/>
          </a:xfrm>
          <a:prstGeom prst="rect">
            <a:avLst/>
          </a:prstGeom>
          <a:solidFill>
            <a:schemeClr val="tx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FFFFFF"/>
                </a:solidFill>
                <a:effectLst/>
                <a:uLnTx/>
                <a:uFillTx/>
                <a:latin typeface="Arial" panose="020B0604020202020204"/>
                <a:ea typeface="+mn-ea"/>
                <a:cs typeface="+mn-cs"/>
              </a:rPr>
              <a:t>Settlement </a:t>
            </a:r>
            <a:r>
              <a:rPr kumimoji="0" lang="de-DE" sz="1400" b="0" i="0" u="none" strike="noStrike" kern="1200" cap="none" spc="0" normalizeH="0" baseline="0" noProof="0" dirty="0" err="1">
                <a:ln>
                  <a:noFill/>
                </a:ln>
                <a:solidFill>
                  <a:srgbClr val="FFFFFF"/>
                </a:solidFill>
                <a:effectLst/>
                <a:uLnTx/>
                <a:uFillTx/>
                <a:latin typeface="Arial" panose="020B0604020202020204"/>
                <a:ea typeface="+mn-ea"/>
                <a:cs typeface="+mn-cs"/>
              </a:rPr>
              <a:t>of</a:t>
            </a:r>
            <a:r>
              <a:rPr kumimoji="0" lang="de-DE" sz="14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de-DE" sz="1400" b="0" i="0" u="none" strike="noStrike" kern="1200" cap="none" spc="0" normalizeH="0" baseline="0" noProof="0" dirty="0" err="1">
                <a:ln>
                  <a:noFill/>
                </a:ln>
                <a:solidFill>
                  <a:srgbClr val="FFFFFF"/>
                </a:solidFill>
                <a:effectLst/>
                <a:uLnTx/>
                <a:uFillTx/>
                <a:latin typeface="Arial" panose="020B0604020202020204"/>
                <a:ea typeface="+mn-ea"/>
                <a:cs typeface="+mn-cs"/>
              </a:rPr>
              <a:t>Bulgarian</a:t>
            </a:r>
            <a:r>
              <a:rPr kumimoji="0" lang="de-DE" sz="1400" b="0" i="0" u="none" strike="noStrike" kern="1200" cap="none" spc="0" normalizeH="0" baseline="0" noProof="0" dirty="0">
                <a:ln>
                  <a:noFill/>
                </a:ln>
                <a:solidFill>
                  <a:srgbClr val="FFFFFF"/>
                </a:solidFill>
                <a:effectLst/>
                <a:uLnTx/>
                <a:uFillTx/>
                <a:latin typeface="Arial" panose="020B0604020202020204"/>
                <a:ea typeface="+mn-ea"/>
                <a:cs typeface="+mn-cs"/>
              </a:rPr>
              <a:t> ISINs</a:t>
            </a:r>
            <a:endParaRPr kumimoji="0" lang="en-US" sz="1400" b="0" i="0" u="none" strike="noStrike" kern="1200" cap="none" spc="0" normalizeH="0" baseline="0" noProof="0" dirty="0">
              <a:ln>
                <a:noFill/>
              </a:ln>
              <a:solidFill>
                <a:srgbClr val="E00034"/>
              </a:solidFill>
              <a:effectLst/>
              <a:uLnTx/>
              <a:uFillTx/>
              <a:latin typeface="Arial" panose="020B0604020202020204"/>
              <a:ea typeface="+mn-ea"/>
              <a:cs typeface="+mn-cs"/>
            </a:endParaRPr>
          </a:p>
        </p:txBody>
      </p:sp>
      <p:pic>
        <p:nvPicPr>
          <p:cNvPr id="25" name="Picture 24">
            <a:extLst>
              <a:ext uri="{FF2B5EF4-FFF2-40B4-BE49-F238E27FC236}">
                <a16:creationId xmlns:a16="http://schemas.microsoft.com/office/drawing/2014/main" id="{68E55936-F3DC-4043-975E-5ED7089906C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95835" y="1506822"/>
            <a:ext cx="1620064" cy="600819"/>
          </a:xfrm>
          <a:prstGeom prst="rect">
            <a:avLst/>
          </a:prstGeom>
        </p:spPr>
      </p:pic>
      <p:pic>
        <p:nvPicPr>
          <p:cNvPr id="29" name="Picture 28">
            <a:extLst>
              <a:ext uri="{FF2B5EF4-FFF2-40B4-BE49-F238E27FC236}">
                <a16:creationId xmlns:a16="http://schemas.microsoft.com/office/drawing/2014/main" id="{6B8990E6-F4E9-024E-A265-214FFEB37EE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13597" y="4431033"/>
            <a:ext cx="2841742" cy="461582"/>
          </a:xfrm>
          <a:prstGeom prst="rect">
            <a:avLst/>
          </a:prstGeom>
        </p:spPr>
      </p:pic>
      <p:pic>
        <p:nvPicPr>
          <p:cNvPr id="30" name="Graphic 29">
            <a:extLst>
              <a:ext uri="{FF2B5EF4-FFF2-40B4-BE49-F238E27FC236}">
                <a16:creationId xmlns:a16="http://schemas.microsoft.com/office/drawing/2014/main" id="{BF0717FA-778E-5841-A1BF-DCFD132B41A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69823" y="1220714"/>
            <a:ext cx="2528889" cy="980111"/>
          </a:xfrm>
          <a:prstGeom prst="rect">
            <a:avLst/>
          </a:prstGeom>
        </p:spPr>
      </p:pic>
    </p:spTree>
    <p:extLst>
      <p:ext uri="{BB962C8B-B14F-4D97-AF65-F5344CB8AC3E}">
        <p14:creationId xmlns:p14="http://schemas.microsoft.com/office/powerpoint/2010/main" val="230408674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FAF5696-B643-40A1-A440-C594713C4AF8}"/>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0" name="think-cell Folie" r:id="rId6" imgW="359" imgH="358" progId="TCLayout.ActiveDocument.1">
                  <p:embed/>
                </p:oleObj>
              </mc:Choice>
              <mc:Fallback>
                <p:oleObj name="think-cell Folie" r:id="rId6" imgW="359" imgH="358" progId="TCLayout.ActiveDocument.1">
                  <p:embed/>
                  <p:pic>
                    <p:nvPicPr>
                      <p:cNvPr id="8" name="Objekt 7" hidden="1">
                        <a:extLst>
                          <a:ext uri="{FF2B5EF4-FFF2-40B4-BE49-F238E27FC236}">
                            <a16:creationId xmlns:a16="http://schemas.microsoft.com/office/drawing/2014/main" id="{0FAF5696-B643-40A1-A440-C594713C4AF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8" name="Picture 2">
            <a:extLst>
              <a:ext uri="{FF2B5EF4-FFF2-40B4-BE49-F238E27FC236}">
                <a16:creationId xmlns:a16="http://schemas.microsoft.com/office/drawing/2014/main" id="{3B8571F2-1BEA-4F70-9A45-78820DE99BE0}"/>
              </a:ext>
            </a:extLst>
          </p:cNvPr>
          <p:cNvPicPr>
            <a:picLocks noGrp="1" noChangeAspect="1" noChangeArrowheads="1"/>
          </p:cNvPicPr>
          <p:nvPr>
            <p:ph type="pic" sz="quarter" idx="13"/>
          </p:nvPr>
        </p:nvPicPr>
        <p:blipFill rotWithShape="1">
          <a:blip r:embed="rId8" cstate="screen">
            <a:extLst>
              <a:ext uri="{28A0092B-C50C-407E-A947-70E740481C1C}">
                <a14:useLocalDpi xmlns:a14="http://schemas.microsoft.com/office/drawing/2010/main" val="0"/>
              </a:ext>
            </a:extLst>
          </a:blip>
          <a:srcRect t="19" b="19"/>
          <a:stretch/>
        </p:blipFill>
        <p:spPr/>
      </p:pic>
      <p:sp>
        <p:nvSpPr>
          <p:cNvPr id="6" name="Title 5">
            <a:extLst>
              <a:ext uri="{FF2B5EF4-FFF2-40B4-BE49-F238E27FC236}">
                <a16:creationId xmlns:a16="http://schemas.microsoft.com/office/drawing/2014/main" id="{51D4FA15-62DD-4FB4-BB78-18DC28B86B99}"/>
              </a:ext>
            </a:extLst>
          </p:cNvPr>
          <p:cNvSpPr>
            <a:spLocks noGrp="1"/>
          </p:cNvSpPr>
          <p:nvPr>
            <p:ph type="title"/>
          </p:nvPr>
        </p:nvSpPr>
        <p:spPr/>
        <p:txBody>
          <a:bodyPr/>
          <a:lstStyle/>
          <a:p>
            <a:pPr algn="ctr"/>
            <a:r>
              <a:rPr lang="de-DE" sz="7000" dirty="0"/>
              <a:t>QUIZ</a:t>
            </a:r>
          </a:p>
        </p:txBody>
      </p:sp>
      <p:sp>
        <p:nvSpPr>
          <p:cNvPr id="2" name="Slide Number Placeholder 1">
            <a:extLst>
              <a:ext uri="{FF2B5EF4-FFF2-40B4-BE49-F238E27FC236}">
                <a16:creationId xmlns:a16="http://schemas.microsoft.com/office/drawing/2014/main" id="{170A562C-6DFE-4653-8316-974F1F048594}"/>
              </a:ext>
            </a:extLst>
          </p:cNvPr>
          <p:cNvSpPr>
            <a:spLocks noGrp="1"/>
          </p:cNvSpPr>
          <p:nvPr>
            <p:ph type="sldNum" sz="quarter" idx="16"/>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72C9EDE-4A13-4E4A-9EAA-A59A97CC9CE2}" type="slidenum">
              <a:rPr kumimoji="0" lang="en-US" sz="800" b="0" i="0" u="none" strike="noStrike" kern="1200" cap="none" spc="0" normalizeH="0" baseline="0" noProof="0" smtClean="0">
                <a:ln>
                  <a:noFill/>
                </a:ln>
                <a:solidFill>
                  <a:srgbClr val="666666"/>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8</a:t>
            </a:fld>
            <a:endParaRPr kumimoji="0" lang="en-US" sz="80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Tree>
    <p:custDataLst>
      <p:tags r:id="rId2"/>
    </p:custDataLst>
    <p:extLst>
      <p:ext uri="{BB962C8B-B14F-4D97-AF65-F5344CB8AC3E}">
        <p14:creationId xmlns:p14="http://schemas.microsoft.com/office/powerpoint/2010/main" val="4233512869"/>
      </p:ext>
    </p:extLst>
  </p:cSld>
  <p:clrMapOvr>
    <a:masterClrMapping/>
  </p:clrMapOvr>
  <p:transition spd="slow"/>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FAF5696-B643-40A1-A440-C594713C4AF8}"/>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4" name="think-cell Folie" r:id="rId7" imgW="359" imgH="358" progId="TCLayout.ActiveDocument.1">
                  <p:embed/>
                </p:oleObj>
              </mc:Choice>
              <mc:Fallback>
                <p:oleObj name="think-cell Folie" r:id="rId7" imgW="359" imgH="358" progId="TCLayout.ActiveDocument.1">
                  <p:embed/>
                  <p:pic>
                    <p:nvPicPr>
                      <p:cNvPr id="8" name="Objekt 7" hidden="1">
                        <a:extLst>
                          <a:ext uri="{FF2B5EF4-FFF2-40B4-BE49-F238E27FC236}">
                            <a16:creationId xmlns:a16="http://schemas.microsoft.com/office/drawing/2014/main" id="{0FAF5696-B643-40A1-A440-C594713C4AF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8" name="Picture 2">
            <a:extLst>
              <a:ext uri="{FF2B5EF4-FFF2-40B4-BE49-F238E27FC236}">
                <a16:creationId xmlns:a16="http://schemas.microsoft.com/office/drawing/2014/main" id="{3B8571F2-1BEA-4F70-9A45-78820DE99BE0}"/>
              </a:ext>
            </a:extLst>
          </p:cNvPr>
          <p:cNvPicPr>
            <a:picLocks noGrp="1" noChangeAspect="1" noChangeArrowheads="1"/>
          </p:cNvPicPr>
          <p:nvPr>
            <p:ph type="pic" sz="quarter" idx="13"/>
          </p:nvPr>
        </p:nvPicPr>
        <p:blipFill rotWithShape="1">
          <a:blip r:embed="rId9" cstate="screen">
            <a:extLst>
              <a:ext uri="{28A0092B-C50C-407E-A947-70E740481C1C}">
                <a14:useLocalDpi xmlns:a14="http://schemas.microsoft.com/office/drawing/2010/main" val="0"/>
              </a:ext>
            </a:extLst>
          </a:blip>
          <a:srcRect t="19" b="19"/>
          <a:stretch/>
        </p:blipFill>
        <p:spPr/>
      </p:pic>
      <p:sp>
        <p:nvSpPr>
          <p:cNvPr id="2" name="Slide Number Placeholder 1">
            <a:extLst>
              <a:ext uri="{FF2B5EF4-FFF2-40B4-BE49-F238E27FC236}">
                <a16:creationId xmlns:a16="http://schemas.microsoft.com/office/drawing/2014/main" id="{170A562C-6DFE-4653-8316-974F1F048594}"/>
              </a:ext>
            </a:extLst>
          </p:cNvPr>
          <p:cNvSpPr>
            <a:spLocks noGrp="1"/>
          </p:cNvSpPr>
          <p:nvPr>
            <p:ph type="sldNum" sz="quarter" idx="16"/>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72C9EDE-4A13-4E4A-9EAA-A59A97CC9CE2}" type="slidenum">
              <a:rPr kumimoji="0" lang="en-US" sz="800" b="0" i="0" u="none" strike="noStrike" kern="1200" cap="none" spc="0" normalizeH="0" baseline="0" noProof="0" smtClean="0">
                <a:ln>
                  <a:noFill/>
                </a:ln>
                <a:solidFill>
                  <a:srgbClr val="666666"/>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9</a:t>
            </a:fld>
            <a:endParaRPr kumimoji="0" lang="en-US" sz="80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 name="Rechteck 19">
            <a:extLst>
              <a:ext uri="{FF2B5EF4-FFF2-40B4-BE49-F238E27FC236}">
                <a16:creationId xmlns:a16="http://schemas.microsoft.com/office/drawing/2014/main" id="{90508047-1400-6B9B-3282-C4B1C04B6777}"/>
              </a:ext>
            </a:extLst>
          </p:cNvPr>
          <p:cNvSpPr/>
          <p:nvPr>
            <p:custDataLst>
              <p:tags r:id="rId4"/>
            </p:custDataLst>
          </p:nvPr>
        </p:nvSpPr>
        <p:spPr bwMode="auto">
          <a:xfrm>
            <a:off x="4521820" y="509007"/>
            <a:ext cx="7191209" cy="5177691"/>
          </a:xfrm>
          <a:prstGeom prst="rect">
            <a:avLst/>
          </a:prstGeom>
          <a:noFill/>
          <a:ln>
            <a:noFill/>
          </a:ln>
          <a:effectLst/>
        </p:spPr>
        <p:txBody>
          <a:bodyPr vert="horz" wrap="square" lIns="36000" tIns="108000" rIns="36000" bIns="45720" numCol="1" rtlCol="0" anchor="t" anchorCtr="0" compatLnSpc="1">
            <a:prstTxWarp prst="textNoShape">
              <a:avLst/>
            </a:prstTxWarp>
          </a:bodyPr>
          <a:lstStyle>
            <a:lvl1pPr marL="216000" indent="-216000" algn="l" defTabSz="914400" rtl="0" eaLnBrk="1" latinLnBrk="0" hangingPunct="1">
              <a:buClrTx/>
              <a:buFont typeface="Arial" panose="020B0604020202020204" pitchFamily="34" charset="0"/>
              <a:buChar char="–"/>
            </a:lvl1pPr>
            <a:lvl2pPr marL="216000" indent="-216000" algn="l" defTabSz="914400" rtl="0" eaLnBrk="1" latinLnBrk="0" hangingPunct="1">
              <a:buClrTx/>
              <a:buFont typeface="Arial" panose="020B0604020202020204" pitchFamily="34" charset="0"/>
              <a:buChar char="–"/>
            </a:lvl2pPr>
            <a:lvl3pPr marL="432000" indent="-216000" algn="l" defTabSz="914400" rtl="0" eaLnBrk="1" latinLnBrk="0" hangingPunct="1">
              <a:buClrTx/>
              <a:buFont typeface="Arial" panose="020B0604020202020204" pitchFamily="34" charset="0"/>
              <a:buChar char="–"/>
            </a:lvl3pPr>
            <a:lvl4pPr marL="648000" indent="-216000" algn="l" defTabSz="914400" rtl="0" eaLnBrk="1" latinLnBrk="0" hangingPunct="1">
              <a:buClrTx/>
              <a:buFont typeface="Arial" panose="020B0604020202020204" pitchFamily="34" charset="0"/>
              <a:buChar char="–"/>
            </a:lvl4pPr>
            <a:lvl5pPr marL="864000" indent="-216000" algn="l" defTabSz="914400" rtl="0" eaLnBrk="1" latinLnBrk="0" hangingPunct="1">
              <a:buClrTx/>
              <a:buFont typeface="Arial" panose="020B0604020202020204" pitchFamily="34" charset="0"/>
              <a:buChar char="–"/>
            </a:lvl5pPr>
            <a:lvl6pPr marL="864000" indent="-216000" algn="l" defTabSz="914400" rtl="0" eaLnBrk="1" latinLnBrk="0" hangingPunct="1">
              <a:buClrTx/>
              <a:buFont typeface="Arial" panose="020B0604020202020204" pitchFamily="34" charset="0"/>
              <a:buChar char="–"/>
            </a:lvl6pPr>
            <a:lvl7pPr marL="864000" indent="-216000" algn="l" defTabSz="914400" rtl="0" eaLnBrk="1" latinLnBrk="0" hangingPunct="1">
              <a:buClrTx/>
              <a:buFont typeface="Arial" panose="020B0604020202020204" pitchFamily="34" charset="0"/>
              <a:buChar char="–"/>
            </a:lvl7pPr>
            <a:lvl8pPr marL="864000" indent="-216000" algn="l" defTabSz="914400" rtl="0" eaLnBrk="1" latinLnBrk="0" hangingPunct="1">
              <a:buClrTx/>
              <a:buFont typeface="Arial" panose="020B0604020202020204" pitchFamily="34" charset="0"/>
              <a:buChar char="–"/>
            </a:lvl8pPr>
            <a:lvl9pPr marL="864000" indent="-216000" algn="l" defTabSz="914400" rtl="0" eaLnBrk="1" latinLnBrk="0" hangingPunct="1">
              <a:buClrTx/>
              <a:buFont typeface="Arial" panose="020B0604020202020204" pitchFamily="34" charset="0"/>
              <a:buChar char="–"/>
            </a:lvl9pPr>
          </a:lstStyle>
          <a:p>
            <a:pPr marL="857250" marR="0" lvl="0" indent="-857250" algn="l" defTabSz="914400" rtl="0" eaLnBrk="1" fontAlgn="auto" latinLnBrk="0" hangingPunct="1">
              <a:lnSpc>
                <a:spcPct val="100000"/>
              </a:lnSpc>
              <a:spcBef>
                <a:spcPts val="0"/>
              </a:spcBef>
              <a:spcAft>
                <a:spcPts val="1200"/>
              </a:spcAft>
              <a:buClrTx/>
              <a:buSzTx/>
              <a:buFont typeface="+mj-lt"/>
              <a:buAutoNum type="romanUcPeriod"/>
              <a:tabLst/>
              <a:defRPr/>
            </a:pPr>
            <a:r>
              <a:rPr kumimoji="0" lang="en-US" sz="3600" b="0" i="0" u="none" strike="noStrike" kern="1200" cap="none" spc="0" normalizeH="0" baseline="0" noProof="0" dirty="0">
                <a:ln>
                  <a:noFill/>
                </a:ln>
                <a:solidFill>
                  <a:srgbClr val="00A5C0"/>
                </a:solidFill>
                <a:effectLst/>
                <a:uLnTx/>
                <a:uFillTx/>
                <a:latin typeface="Arial" panose="020B0604020202020204"/>
                <a:ea typeface="+mn-ea"/>
                <a:cs typeface="+mn-cs"/>
              </a:rPr>
              <a:t>What is the purpose of</a:t>
            </a:r>
            <a:r>
              <a:rPr kumimoji="0" lang="en-US" sz="3600" b="1" i="0" u="none" strike="noStrike" kern="1200" cap="none" spc="0" normalizeH="0" baseline="0" noProof="0" dirty="0">
                <a:ln>
                  <a:noFill/>
                </a:ln>
                <a:solidFill>
                  <a:srgbClr val="00A5C0"/>
                </a:solidFill>
                <a:effectLst/>
                <a:uLnTx/>
                <a:uFillTx/>
                <a:latin typeface="Arial" panose="020B0604020202020204"/>
                <a:ea typeface="+mn-ea"/>
                <a:cs typeface="+mn-cs"/>
              </a:rPr>
              <a:t> Deutsche Börse Group:</a:t>
            </a:r>
          </a:p>
          <a:p>
            <a:pPr marL="0" marR="0" lvl="0" indent="0" algn="l"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US" sz="3600" b="0" i="0" u="none" strike="noStrike" kern="1200" cap="none" spc="0" normalizeH="0" baseline="0" noProof="0" dirty="0">
              <a:ln>
                <a:noFill/>
              </a:ln>
              <a:solidFill>
                <a:srgbClr val="00A5C0"/>
              </a:solidFill>
              <a:effectLst/>
              <a:uLnTx/>
              <a:uFillTx/>
              <a:latin typeface="Arial" panose="020B0604020202020204"/>
              <a:ea typeface="+mn-ea"/>
              <a:cs typeface="+mn-cs"/>
            </a:endParaRPr>
          </a:p>
          <a:p>
            <a:pPr marL="946350" marR="0" lvl="3" indent="-51435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2600" b="0" i="0" u="none" strike="noStrike" kern="1200" cap="none" spc="0" normalizeH="0" baseline="0" noProof="0" dirty="0">
                <a:ln>
                  <a:noFill/>
                </a:ln>
                <a:solidFill>
                  <a:srgbClr val="00A5C0"/>
                </a:solidFill>
                <a:effectLst/>
                <a:uLnTx/>
                <a:uFillTx/>
                <a:latin typeface="Arial" panose="020B0604020202020204"/>
                <a:ea typeface="+mn-ea"/>
                <a:cs typeface="+mn-cs"/>
              </a:rPr>
              <a:t>We make cash markets work</a:t>
            </a:r>
          </a:p>
          <a:p>
            <a:pPr marL="946350" marR="0" lvl="3" indent="-51435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2600" b="0" i="0" u="none" strike="noStrike" kern="1200" cap="none" spc="0" normalizeH="0" baseline="0" noProof="0" dirty="0">
                <a:ln>
                  <a:noFill/>
                </a:ln>
                <a:solidFill>
                  <a:srgbClr val="00A5C0"/>
                </a:solidFill>
                <a:effectLst/>
                <a:uLnTx/>
                <a:uFillTx/>
                <a:latin typeface="Arial" panose="020B0604020202020204"/>
                <a:ea typeface="+mn-ea"/>
                <a:cs typeface="+mn-cs"/>
              </a:rPr>
              <a:t>Clearing a way for our customers</a:t>
            </a:r>
          </a:p>
          <a:p>
            <a:pPr marL="946350" marR="0" lvl="3" indent="-51435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2600" b="0" i="0" u="none" strike="noStrike" kern="1200" cap="none" spc="0" normalizeH="0" baseline="0" noProof="0" dirty="0">
                <a:ln>
                  <a:noFill/>
                </a:ln>
                <a:solidFill>
                  <a:srgbClr val="00A5C0"/>
                </a:solidFill>
                <a:effectLst/>
                <a:uLnTx/>
                <a:uFillTx/>
                <a:latin typeface="Arial" panose="020B0604020202020204"/>
                <a:ea typeface="+mn-ea"/>
                <a:cs typeface="+mn-cs"/>
              </a:rPr>
              <a:t>We create trust in the markets of today and tomorrow</a:t>
            </a:r>
            <a:endPar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endParaRPr>
          </a:p>
          <a:p>
            <a:pPr marL="215900" marR="0" lvl="0" indent="-21590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srgbClr val="FFFFFF"/>
              </a:solidFill>
              <a:effectLst/>
              <a:uLnTx/>
              <a:uFillTx/>
              <a:latin typeface="Arial" panose="020B0604020202020204"/>
              <a:ea typeface="+mn-ea"/>
              <a:cs typeface="Arial"/>
            </a:endParaRPr>
          </a:p>
        </p:txBody>
      </p:sp>
    </p:spTree>
    <p:custDataLst>
      <p:tags r:id="rId2"/>
    </p:custDataLst>
    <p:extLst>
      <p:ext uri="{BB962C8B-B14F-4D97-AF65-F5344CB8AC3E}">
        <p14:creationId xmlns:p14="http://schemas.microsoft.com/office/powerpoint/2010/main" val="639735916"/>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78623" y="282889"/>
            <a:ext cx="3195242" cy="249299"/>
          </a:xfrm>
        </p:spPr>
        <p:txBody>
          <a:bodyPr wrap="square" lIns="0" tIns="0" rIns="0" bIns="0" anchor="t">
            <a:spAutoFit/>
          </a:bodyPr>
          <a:lstStyle/>
          <a:p>
            <a:r>
              <a:rPr lang="en-GB" sz="1800" b="0" dirty="0">
                <a:solidFill>
                  <a:schemeClr val="accent3"/>
                </a:solidFill>
                <a:latin typeface="Montserrat" pitchFamily="2" charset="77"/>
              </a:rPr>
              <a:t>BSE Trading data </a:t>
            </a:r>
            <a:endParaRPr lang="en-GB" sz="1800" b="0" dirty="0">
              <a:solidFill>
                <a:schemeClr val="accent3"/>
              </a:solidFill>
              <a:effectLst>
                <a:outerShdw blurRad="38100" dist="38100" dir="2700000" algn="tl">
                  <a:srgbClr val="000000">
                    <a:alpha val="43137"/>
                  </a:srgbClr>
                </a:outerShdw>
              </a:effectLst>
              <a:latin typeface="Montserrat" pitchFamily="2" charset="77"/>
            </a:endParaRPr>
          </a:p>
        </p:txBody>
      </p:sp>
      <p:pic>
        <p:nvPicPr>
          <p:cNvPr id="1028" name="Picture 4" descr="http://www.caceis.de/fileadmin/templates/images/caceis.gif">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87500" y="-630238"/>
            <a:ext cx="2286000" cy="66675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caceis.de/fileadmin/templates/images/caceis.gif">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39900" y="-477838"/>
            <a:ext cx="2286000" cy="66675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Chart 7">
            <a:extLst>
              <a:ext uri="{FF2B5EF4-FFF2-40B4-BE49-F238E27FC236}">
                <a16:creationId xmlns:a16="http://schemas.microsoft.com/office/drawing/2014/main" id="{3AC61CB0-0167-EC42-9B35-9CB2A66425C3}"/>
              </a:ext>
            </a:extLst>
          </p:cNvPr>
          <p:cNvGraphicFramePr>
            <a:graphicFrameLocks/>
          </p:cNvGraphicFramePr>
          <p:nvPr/>
        </p:nvGraphicFramePr>
        <p:xfrm>
          <a:off x="603504" y="976827"/>
          <a:ext cx="4456447" cy="236242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Chart 8">
            <a:extLst>
              <a:ext uri="{FF2B5EF4-FFF2-40B4-BE49-F238E27FC236}">
                <a16:creationId xmlns:a16="http://schemas.microsoft.com/office/drawing/2014/main" id="{3BE962E9-28A2-A948-9241-7F99143CE251}"/>
              </a:ext>
            </a:extLst>
          </p:cNvPr>
          <p:cNvGraphicFramePr>
            <a:graphicFrameLocks/>
          </p:cNvGraphicFramePr>
          <p:nvPr/>
        </p:nvGraphicFramePr>
        <p:xfrm>
          <a:off x="603504" y="3663330"/>
          <a:ext cx="4585294" cy="299147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Chart 9">
            <a:extLst>
              <a:ext uri="{FF2B5EF4-FFF2-40B4-BE49-F238E27FC236}">
                <a16:creationId xmlns:a16="http://schemas.microsoft.com/office/drawing/2014/main" id="{4605EA90-EC65-5046-9556-118931CDCCDC}"/>
              </a:ext>
            </a:extLst>
          </p:cNvPr>
          <p:cNvGraphicFramePr>
            <a:graphicFrameLocks/>
          </p:cNvGraphicFramePr>
          <p:nvPr>
            <p:extLst>
              <p:ext uri="{D42A27DB-BD31-4B8C-83A1-F6EECF244321}">
                <p14:modId xmlns:p14="http://schemas.microsoft.com/office/powerpoint/2010/main" val="3961928180"/>
              </p:ext>
            </p:extLst>
          </p:nvPr>
        </p:nvGraphicFramePr>
        <p:xfrm>
          <a:off x="7030592" y="1036320"/>
          <a:ext cx="4704207" cy="3913632"/>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57103957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FAF5696-B643-40A1-A440-C594713C4AF8}"/>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8" name="think-cell Folie" r:id="rId7" imgW="359" imgH="358" progId="TCLayout.ActiveDocument.1">
                  <p:embed/>
                </p:oleObj>
              </mc:Choice>
              <mc:Fallback>
                <p:oleObj name="think-cell Folie" r:id="rId7" imgW="359" imgH="358" progId="TCLayout.ActiveDocument.1">
                  <p:embed/>
                  <p:pic>
                    <p:nvPicPr>
                      <p:cNvPr id="8" name="Objekt 7" hidden="1">
                        <a:extLst>
                          <a:ext uri="{FF2B5EF4-FFF2-40B4-BE49-F238E27FC236}">
                            <a16:creationId xmlns:a16="http://schemas.microsoft.com/office/drawing/2014/main" id="{0FAF5696-B643-40A1-A440-C594713C4AF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8" name="Picture 2">
            <a:extLst>
              <a:ext uri="{FF2B5EF4-FFF2-40B4-BE49-F238E27FC236}">
                <a16:creationId xmlns:a16="http://schemas.microsoft.com/office/drawing/2014/main" id="{3B8571F2-1BEA-4F70-9A45-78820DE99BE0}"/>
              </a:ext>
            </a:extLst>
          </p:cNvPr>
          <p:cNvPicPr>
            <a:picLocks noGrp="1" noChangeAspect="1" noChangeArrowheads="1"/>
          </p:cNvPicPr>
          <p:nvPr>
            <p:ph type="pic" sz="quarter" idx="13"/>
          </p:nvPr>
        </p:nvPicPr>
        <p:blipFill rotWithShape="1">
          <a:blip r:embed="rId9" cstate="screen">
            <a:extLst>
              <a:ext uri="{28A0092B-C50C-407E-A947-70E740481C1C}">
                <a14:useLocalDpi xmlns:a14="http://schemas.microsoft.com/office/drawing/2010/main" val="0"/>
              </a:ext>
            </a:extLst>
          </a:blip>
          <a:srcRect t="19" b="19"/>
          <a:stretch/>
        </p:blipFill>
        <p:spPr>
          <a:xfrm>
            <a:off x="8072873" y="0"/>
            <a:ext cx="4115780" cy="6858000"/>
          </a:xfrm>
        </p:spPr>
      </p:pic>
      <p:sp>
        <p:nvSpPr>
          <p:cNvPr id="2" name="Slide Number Placeholder 1">
            <a:extLst>
              <a:ext uri="{FF2B5EF4-FFF2-40B4-BE49-F238E27FC236}">
                <a16:creationId xmlns:a16="http://schemas.microsoft.com/office/drawing/2014/main" id="{170A562C-6DFE-4653-8316-974F1F048594}"/>
              </a:ext>
            </a:extLst>
          </p:cNvPr>
          <p:cNvSpPr>
            <a:spLocks noGrp="1"/>
          </p:cNvSpPr>
          <p:nvPr>
            <p:ph type="sldNum" sz="quarter" idx="16"/>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72C9EDE-4A13-4E4A-9EAA-A59A97CC9CE2}" type="slidenum">
              <a:rPr kumimoji="0" lang="en-US" sz="800" b="0" i="0" u="none" strike="noStrike" kern="1200" cap="none" spc="0" normalizeH="0" baseline="0" noProof="0" smtClean="0">
                <a:ln>
                  <a:noFill/>
                </a:ln>
                <a:solidFill>
                  <a:srgbClr val="666666"/>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0</a:t>
            </a:fld>
            <a:endParaRPr kumimoji="0" lang="en-US" sz="80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 name="Rechteck 19">
            <a:extLst>
              <a:ext uri="{FF2B5EF4-FFF2-40B4-BE49-F238E27FC236}">
                <a16:creationId xmlns:a16="http://schemas.microsoft.com/office/drawing/2014/main" id="{90508047-1400-6B9B-3282-C4B1C04B6777}"/>
              </a:ext>
            </a:extLst>
          </p:cNvPr>
          <p:cNvSpPr/>
          <p:nvPr>
            <p:custDataLst>
              <p:tags r:id="rId4"/>
            </p:custDataLst>
          </p:nvPr>
        </p:nvSpPr>
        <p:spPr bwMode="auto">
          <a:xfrm>
            <a:off x="289454" y="709304"/>
            <a:ext cx="7426340" cy="5177691"/>
          </a:xfrm>
          <a:prstGeom prst="rect">
            <a:avLst/>
          </a:prstGeom>
          <a:noFill/>
          <a:ln>
            <a:noFill/>
          </a:ln>
          <a:effectLst/>
        </p:spPr>
        <p:txBody>
          <a:bodyPr vert="horz" wrap="square" lIns="36000" tIns="108000" rIns="36000" bIns="45720" numCol="1" rtlCol="0" anchor="t" anchorCtr="0" compatLnSpc="1">
            <a:prstTxWarp prst="textNoShape">
              <a:avLst/>
            </a:prstTxWarp>
          </a:bodyPr>
          <a:lstStyle>
            <a:lvl1pPr marL="216000" indent="-216000" algn="l" defTabSz="914400" rtl="0" eaLnBrk="1" latinLnBrk="0" hangingPunct="1">
              <a:buClrTx/>
              <a:buFont typeface="Arial" panose="020B0604020202020204" pitchFamily="34" charset="0"/>
              <a:buChar char="–"/>
            </a:lvl1pPr>
            <a:lvl2pPr marL="216000" indent="-216000" algn="l" defTabSz="914400" rtl="0" eaLnBrk="1" latinLnBrk="0" hangingPunct="1">
              <a:buClrTx/>
              <a:buFont typeface="Arial" panose="020B0604020202020204" pitchFamily="34" charset="0"/>
              <a:buChar char="–"/>
            </a:lvl2pPr>
            <a:lvl3pPr marL="432000" indent="-216000" algn="l" defTabSz="914400" rtl="0" eaLnBrk="1" latinLnBrk="0" hangingPunct="1">
              <a:buClrTx/>
              <a:buFont typeface="Arial" panose="020B0604020202020204" pitchFamily="34" charset="0"/>
              <a:buChar char="–"/>
            </a:lvl3pPr>
            <a:lvl4pPr marL="648000" indent="-216000" algn="l" defTabSz="914400" rtl="0" eaLnBrk="1" latinLnBrk="0" hangingPunct="1">
              <a:buClrTx/>
              <a:buFont typeface="Arial" panose="020B0604020202020204" pitchFamily="34" charset="0"/>
              <a:buChar char="–"/>
            </a:lvl4pPr>
            <a:lvl5pPr marL="864000" indent="-216000" algn="l" defTabSz="914400" rtl="0" eaLnBrk="1" latinLnBrk="0" hangingPunct="1">
              <a:buClrTx/>
              <a:buFont typeface="Arial" panose="020B0604020202020204" pitchFamily="34" charset="0"/>
              <a:buChar char="–"/>
            </a:lvl5pPr>
            <a:lvl6pPr marL="864000" indent="-216000" algn="l" defTabSz="914400" rtl="0" eaLnBrk="1" latinLnBrk="0" hangingPunct="1">
              <a:buClrTx/>
              <a:buFont typeface="Arial" panose="020B0604020202020204" pitchFamily="34" charset="0"/>
              <a:buChar char="–"/>
            </a:lvl6pPr>
            <a:lvl7pPr marL="864000" indent="-216000" algn="l" defTabSz="914400" rtl="0" eaLnBrk="1" latinLnBrk="0" hangingPunct="1">
              <a:buClrTx/>
              <a:buFont typeface="Arial" panose="020B0604020202020204" pitchFamily="34" charset="0"/>
              <a:buChar char="–"/>
            </a:lvl7pPr>
            <a:lvl8pPr marL="864000" indent="-216000" algn="l" defTabSz="914400" rtl="0" eaLnBrk="1" latinLnBrk="0" hangingPunct="1">
              <a:buClrTx/>
              <a:buFont typeface="Arial" panose="020B0604020202020204" pitchFamily="34" charset="0"/>
              <a:buChar char="–"/>
            </a:lvl8pPr>
            <a:lvl9pPr marL="864000" indent="-216000" algn="l" defTabSz="914400" rtl="0" eaLnBrk="1" latinLnBrk="0" hangingPunct="1">
              <a:buClrTx/>
              <a:buFont typeface="Arial" panose="020B0604020202020204" pitchFamily="34" charset="0"/>
              <a:buChar char="–"/>
            </a:lvl9pPr>
          </a:lstStyle>
          <a:p>
            <a:pPr marL="857250" marR="0" lvl="0" indent="-857250" algn="l" defTabSz="914400" rtl="0" eaLnBrk="1" fontAlgn="auto" latinLnBrk="0" hangingPunct="1">
              <a:lnSpc>
                <a:spcPct val="100000"/>
              </a:lnSpc>
              <a:spcBef>
                <a:spcPts val="0"/>
              </a:spcBef>
              <a:spcAft>
                <a:spcPts val="1200"/>
              </a:spcAft>
              <a:buClrTx/>
              <a:buSzTx/>
              <a:buFont typeface="+mj-lt"/>
              <a:buAutoNum type="romanUcPeriod" startAt="2"/>
              <a:tabLst/>
              <a:defRPr/>
            </a:pPr>
            <a:r>
              <a:rPr kumimoji="0" lang="en-US" sz="3600" b="1" i="0" u="none" strike="noStrike" kern="1200" cap="none" spc="0" normalizeH="0" baseline="0" noProof="0" dirty="0">
                <a:ln>
                  <a:noFill/>
                </a:ln>
                <a:solidFill>
                  <a:srgbClr val="00A5C0"/>
                </a:solidFill>
                <a:effectLst/>
                <a:uLnTx/>
                <a:uFillTx/>
                <a:latin typeface="Arial" panose="020B0604020202020204"/>
                <a:ea typeface="+mn-ea"/>
                <a:cs typeface="+mn-cs"/>
              </a:rPr>
              <a:t>Deutsche Börse Group (DBG) </a:t>
            </a:r>
            <a:r>
              <a:rPr kumimoji="0" lang="en-US" sz="3600" b="0" i="0" u="none" strike="noStrike" kern="1200" cap="none" spc="0" normalizeH="0" baseline="0" noProof="0" dirty="0">
                <a:ln>
                  <a:noFill/>
                </a:ln>
                <a:solidFill>
                  <a:srgbClr val="00A5C0"/>
                </a:solidFill>
                <a:effectLst/>
                <a:uLnTx/>
                <a:uFillTx/>
                <a:latin typeface="Arial" panose="020B0604020202020204"/>
                <a:ea typeface="+mn-ea"/>
                <a:cs typeface="+mn-cs"/>
              </a:rPr>
              <a:t>offers the possibility for trading of the following instruments:</a:t>
            </a:r>
          </a:p>
          <a:p>
            <a:pPr marL="0" marR="0" lvl="0" indent="0" algn="l"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US" sz="3600" b="0" i="0" u="none" strike="noStrike" kern="1200" cap="none" spc="0" normalizeH="0" baseline="0" noProof="0" dirty="0">
              <a:ln>
                <a:noFill/>
              </a:ln>
              <a:solidFill>
                <a:srgbClr val="00A5C0"/>
              </a:solidFill>
              <a:effectLst/>
              <a:uLnTx/>
              <a:uFillTx/>
              <a:latin typeface="Arial" panose="020B0604020202020204"/>
              <a:ea typeface="+mn-ea"/>
              <a:cs typeface="+mn-cs"/>
            </a:endParaRPr>
          </a:p>
          <a:p>
            <a:pPr marL="946350" marR="0" lvl="3" indent="-51435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2600" b="0" i="0" u="none" strike="noStrike" kern="1200" cap="none" spc="0" normalizeH="0" baseline="0" noProof="0" dirty="0">
                <a:ln>
                  <a:noFill/>
                </a:ln>
                <a:solidFill>
                  <a:srgbClr val="00A5C0"/>
                </a:solidFill>
                <a:effectLst/>
                <a:uLnTx/>
                <a:uFillTx/>
                <a:latin typeface="Arial" panose="020B0604020202020204"/>
                <a:ea typeface="+mn-ea"/>
                <a:cs typeface="+mn-cs"/>
              </a:rPr>
              <a:t>Equities and ETFs only</a:t>
            </a:r>
          </a:p>
          <a:p>
            <a:pPr marL="946350" marR="0" lvl="3" indent="-51435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2600" b="0" i="0" u="none" strike="noStrike" kern="1200" cap="none" spc="0" normalizeH="0" baseline="0" noProof="0" dirty="0">
                <a:ln>
                  <a:noFill/>
                </a:ln>
                <a:solidFill>
                  <a:srgbClr val="00A5C0"/>
                </a:solidFill>
                <a:effectLst/>
                <a:uLnTx/>
                <a:uFillTx/>
                <a:latin typeface="Arial" panose="020B0604020202020204"/>
                <a:ea typeface="+mn-ea"/>
                <a:cs typeface="+mn-cs"/>
              </a:rPr>
              <a:t>Diverse range of asset classes, e.g. equities, derivatives, certificates and warrants, fixed income products</a:t>
            </a:r>
          </a:p>
          <a:p>
            <a:pPr marL="946350" marR="0" lvl="3" indent="-51435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2600" b="0" i="0" u="none" strike="noStrike" kern="1200" cap="none" spc="0" normalizeH="0" baseline="0" noProof="0" dirty="0">
                <a:ln>
                  <a:noFill/>
                </a:ln>
                <a:solidFill>
                  <a:srgbClr val="00A5C0"/>
                </a:solidFill>
                <a:effectLst/>
                <a:uLnTx/>
                <a:uFillTx/>
                <a:latin typeface="Arial" panose="020B0604020202020204"/>
                <a:ea typeface="+mn-ea"/>
                <a:cs typeface="+mn-cs"/>
              </a:rPr>
              <a:t>Equities and derivative products</a:t>
            </a:r>
          </a:p>
          <a:p>
            <a:pPr marL="432000" marR="0" lvl="3" indent="0" algn="l"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br>
              <a:rPr kumimoji="0" lang="en-US" sz="1200" b="0" i="0" u="none" strike="noStrike" kern="1200" cap="none" spc="0" normalizeH="0" baseline="0" noProof="0" dirty="0">
                <a:ln>
                  <a:noFill/>
                </a:ln>
                <a:solidFill>
                  <a:srgbClr val="666666"/>
                </a:solidFill>
                <a:effectLst/>
                <a:uLnTx/>
                <a:uFillTx/>
                <a:latin typeface="Calibri" panose="020F0502020204030204" pitchFamily="34" charset="0"/>
                <a:ea typeface="Calibri" panose="020F0502020204030204" pitchFamily="34" charset="0"/>
                <a:cs typeface="+mn-cs"/>
              </a:rPr>
            </a:br>
            <a:endPar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endParaRPr>
          </a:p>
          <a:p>
            <a:pPr marL="215900" marR="0" lvl="0" indent="-21590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srgbClr val="FFFFFF"/>
              </a:solidFill>
              <a:effectLst/>
              <a:uLnTx/>
              <a:uFillTx/>
              <a:latin typeface="Arial" panose="020B0604020202020204"/>
              <a:ea typeface="+mn-ea"/>
              <a:cs typeface="Arial"/>
            </a:endParaRPr>
          </a:p>
        </p:txBody>
      </p:sp>
    </p:spTree>
    <p:custDataLst>
      <p:tags r:id="rId2"/>
    </p:custDataLst>
    <p:extLst>
      <p:ext uri="{BB962C8B-B14F-4D97-AF65-F5344CB8AC3E}">
        <p14:creationId xmlns:p14="http://schemas.microsoft.com/office/powerpoint/2010/main" val="824604971"/>
      </p:ext>
    </p:extLst>
  </p:cSld>
  <p:clrMapOvr>
    <a:masterClrMapping/>
  </p:clrMapOvr>
  <p:transition spd="slow"/>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FAF5696-B643-40A1-A440-C594713C4AF8}"/>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2" name="think-cell Folie" r:id="rId7" imgW="359" imgH="358" progId="TCLayout.ActiveDocument.1">
                  <p:embed/>
                </p:oleObj>
              </mc:Choice>
              <mc:Fallback>
                <p:oleObj name="think-cell Folie" r:id="rId7" imgW="359" imgH="358" progId="TCLayout.ActiveDocument.1">
                  <p:embed/>
                  <p:pic>
                    <p:nvPicPr>
                      <p:cNvPr id="8" name="Objekt 7" hidden="1">
                        <a:extLst>
                          <a:ext uri="{FF2B5EF4-FFF2-40B4-BE49-F238E27FC236}">
                            <a16:creationId xmlns:a16="http://schemas.microsoft.com/office/drawing/2014/main" id="{0FAF5696-B643-40A1-A440-C594713C4AF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8" name="Picture 2">
            <a:extLst>
              <a:ext uri="{FF2B5EF4-FFF2-40B4-BE49-F238E27FC236}">
                <a16:creationId xmlns:a16="http://schemas.microsoft.com/office/drawing/2014/main" id="{3B8571F2-1BEA-4F70-9A45-78820DE99BE0}"/>
              </a:ext>
            </a:extLst>
          </p:cNvPr>
          <p:cNvPicPr>
            <a:picLocks noGrp="1" noChangeAspect="1" noChangeArrowheads="1"/>
          </p:cNvPicPr>
          <p:nvPr>
            <p:ph type="pic" sz="quarter" idx="13"/>
          </p:nvPr>
        </p:nvPicPr>
        <p:blipFill rotWithShape="1">
          <a:blip r:embed="rId9" cstate="screen">
            <a:extLst>
              <a:ext uri="{28A0092B-C50C-407E-A947-70E740481C1C}">
                <a14:useLocalDpi xmlns:a14="http://schemas.microsoft.com/office/drawing/2010/main" val="0"/>
              </a:ext>
            </a:extLst>
          </a:blip>
          <a:srcRect t="19" b="19"/>
          <a:stretch/>
        </p:blipFill>
        <p:spPr/>
      </p:pic>
      <p:sp>
        <p:nvSpPr>
          <p:cNvPr id="2" name="Slide Number Placeholder 1">
            <a:extLst>
              <a:ext uri="{FF2B5EF4-FFF2-40B4-BE49-F238E27FC236}">
                <a16:creationId xmlns:a16="http://schemas.microsoft.com/office/drawing/2014/main" id="{170A562C-6DFE-4653-8316-974F1F048594}"/>
              </a:ext>
            </a:extLst>
          </p:cNvPr>
          <p:cNvSpPr>
            <a:spLocks noGrp="1"/>
          </p:cNvSpPr>
          <p:nvPr>
            <p:ph type="sldNum" sz="quarter" idx="16"/>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72C9EDE-4A13-4E4A-9EAA-A59A97CC9CE2}" type="slidenum">
              <a:rPr kumimoji="0" lang="en-US" sz="800" b="0" i="0" u="none" strike="noStrike" kern="1200" cap="none" spc="0" normalizeH="0" baseline="0" noProof="0" smtClean="0">
                <a:ln>
                  <a:noFill/>
                </a:ln>
                <a:solidFill>
                  <a:srgbClr val="666666"/>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1</a:t>
            </a:fld>
            <a:endParaRPr kumimoji="0" lang="en-US" sz="80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 name="Rechteck 19">
            <a:extLst>
              <a:ext uri="{FF2B5EF4-FFF2-40B4-BE49-F238E27FC236}">
                <a16:creationId xmlns:a16="http://schemas.microsoft.com/office/drawing/2014/main" id="{90508047-1400-6B9B-3282-C4B1C04B6777}"/>
              </a:ext>
            </a:extLst>
          </p:cNvPr>
          <p:cNvSpPr/>
          <p:nvPr>
            <p:custDataLst>
              <p:tags r:id="rId4"/>
            </p:custDataLst>
          </p:nvPr>
        </p:nvSpPr>
        <p:spPr bwMode="auto">
          <a:xfrm>
            <a:off x="4206240" y="509007"/>
            <a:ext cx="7680960" cy="5872227"/>
          </a:xfrm>
          <a:prstGeom prst="rect">
            <a:avLst/>
          </a:prstGeom>
          <a:noFill/>
          <a:ln>
            <a:noFill/>
          </a:ln>
          <a:effectLst/>
        </p:spPr>
        <p:txBody>
          <a:bodyPr vert="horz" wrap="square" lIns="36000" tIns="108000" rIns="36000" bIns="45720" numCol="1" rtlCol="0" anchor="t" anchorCtr="0" compatLnSpc="1">
            <a:prstTxWarp prst="textNoShape">
              <a:avLst/>
            </a:prstTxWarp>
          </a:bodyPr>
          <a:lstStyle>
            <a:lvl1pPr marL="216000" indent="-216000" algn="l" defTabSz="914400" rtl="0" eaLnBrk="1" latinLnBrk="0" hangingPunct="1">
              <a:buClrTx/>
              <a:buFont typeface="Arial" panose="020B0604020202020204" pitchFamily="34" charset="0"/>
              <a:buChar char="–"/>
            </a:lvl1pPr>
            <a:lvl2pPr marL="216000" indent="-216000" algn="l" defTabSz="914400" rtl="0" eaLnBrk="1" latinLnBrk="0" hangingPunct="1">
              <a:buClrTx/>
              <a:buFont typeface="Arial" panose="020B0604020202020204" pitchFamily="34" charset="0"/>
              <a:buChar char="–"/>
            </a:lvl2pPr>
            <a:lvl3pPr marL="432000" indent="-216000" algn="l" defTabSz="914400" rtl="0" eaLnBrk="1" latinLnBrk="0" hangingPunct="1">
              <a:buClrTx/>
              <a:buFont typeface="Arial" panose="020B0604020202020204" pitchFamily="34" charset="0"/>
              <a:buChar char="–"/>
            </a:lvl3pPr>
            <a:lvl4pPr marL="648000" indent="-216000" algn="l" defTabSz="914400" rtl="0" eaLnBrk="1" latinLnBrk="0" hangingPunct="1">
              <a:buClrTx/>
              <a:buFont typeface="Arial" panose="020B0604020202020204" pitchFamily="34" charset="0"/>
              <a:buChar char="–"/>
            </a:lvl4pPr>
            <a:lvl5pPr marL="864000" indent="-216000" algn="l" defTabSz="914400" rtl="0" eaLnBrk="1" latinLnBrk="0" hangingPunct="1">
              <a:buClrTx/>
              <a:buFont typeface="Arial" panose="020B0604020202020204" pitchFamily="34" charset="0"/>
              <a:buChar char="–"/>
            </a:lvl5pPr>
            <a:lvl6pPr marL="864000" indent="-216000" algn="l" defTabSz="914400" rtl="0" eaLnBrk="1" latinLnBrk="0" hangingPunct="1">
              <a:buClrTx/>
              <a:buFont typeface="Arial" panose="020B0604020202020204" pitchFamily="34" charset="0"/>
              <a:buChar char="–"/>
            </a:lvl6pPr>
            <a:lvl7pPr marL="864000" indent="-216000" algn="l" defTabSz="914400" rtl="0" eaLnBrk="1" latinLnBrk="0" hangingPunct="1">
              <a:buClrTx/>
              <a:buFont typeface="Arial" panose="020B0604020202020204" pitchFamily="34" charset="0"/>
              <a:buChar char="–"/>
            </a:lvl7pPr>
            <a:lvl8pPr marL="864000" indent="-216000" algn="l" defTabSz="914400" rtl="0" eaLnBrk="1" latinLnBrk="0" hangingPunct="1">
              <a:buClrTx/>
              <a:buFont typeface="Arial" panose="020B0604020202020204" pitchFamily="34" charset="0"/>
              <a:buChar char="–"/>
            </a:lvl8pPr>
            <a:lvl9pPr marL="864000" indent="-216000" algn="l" defTabSz="914400" rtl="0" eaLnBrk="1" latinLnBrk="0" hangingPunct="1">
              <a:buClrTx/>
              <a:buFont typeface="Arial" panose="020B0604020202020204" pitchFamily="34" charset="0"/>
              <a:buChar char="–"/>
            </a:lvl9pPr>
          </a:lstStyle>
          <a:p>
            <a:pPr marL="857250" marR="0" lvl="0" indent="-857250" algn="l" defTabSz="914400" rtl="0" eaLnBrk="1" fontAlgn="auto" latinLnBrk="0" hangingPunct="1">
              <a:lnSpc>
                <a:spcPct val="100000"/>
              </a:lnSpc>
              <a:spcBef>
                <a:spcPts val="0"/>
              </a:spcBef>
              <a:spcAft>
                <a:spcPts val="1200"/>
              </a:spcAft>
              <a:buClrTx/>
              <a:buSzTx/>
              <a:buFont typeface="+mj-lt"/>
              <a:buAutoNum type="romanUcPeriod" startAt="3"/>
              <a:tabLst/>
              <a:defRPr/>
            </a:pPr>
            <a:r>
              <a:rPr kumimoji="0" lang="en-US" sz="3600" b="0" i="0" u="none" strike="noStrike" kern="1200" cap="none" spc="0" normalizeH="0" baseline="0" noProof="0" dirty="0">
                <a:ln>
                  <a:noFill/>
                </a:ln>
                <a:solidFill>
                  <a:srgbClr val="00A5C0"/>
                </a:solidFill>
                <a:effectLst/>
                <a:uLnTx/>
                <a:uFillTx/>
                <a:latin typeface="Arial" panose="020B0604020202020204"/>
                <a:ea typeface="+mn-ea"/>
                <a:cs typeface="+mn-cs"/>
              </a:rPr>
              <a:t>What are the benefits for a client using a </a:t>
            </a:r>
            <a:r>
              <a:rPr kumimoji="0" lang="en-US" sz="3600" b="1" i="0" u="none" strike="noStrike" kern="1200" cap="none" spc="0" normalizeH="0" baseline="0" noProof="0" dirty="0">
                <a:ln>
                  <a:noFill/>
                </a:ln>
                <a:solidFill>
                  <a:srgbClr val="00A5C0"/>
                </a:solidFill>
                <a:effectLst/>
                <a:uLnTx/>
                <a:uFillTx/>
                <a:latin typeface="Arial" panose="020B0604020202020204"/>
                <a:ea typeface="+mn-ea"/>
                <a:cs typeface="+mn-cs"/>
              </a:rPr>
              <a:t>Clearing house (CCP), e.g. Eurex Clearing </a:t>
            </a:r>
            <a:r>
              <a:rPr kumimoji="0" lang="en-US" sz="3600" b="0" i="0" u="none" strike="noStrike" kern="1200" cap="none" spc="0" normalizeH="0" baseline="0" noProof="0" dirty="0">
                <a:ln>
                  <a:noFill/>
                </a:ln>
                <a:solidFill>
                  <a:srgbClr val="00A5C0"/>
                </a:solidFill>
                <a:effectLst/>
                <a:uLnTx/>
                <a:uFillTx/>
                <a:latin typeface="Arial" panose="020B0604020202020204"/>
                <a:ea typeface="+mn-ea"/>
                <a:cs typeface="+mn-cs"/>
              </a:rPr>
              <a:t>compared to OTC bilateral trading?</a:t>
            </a:r>
          </a:p>
          <a:p>
            <a:pPr marL="946350" marR="0" lvl="3" indent="-51435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2400" b="0" i="0" u="none" strike="noStrike" kern="1200" cap="none" spc="0" normalizeH="0" baseline="0" noProof="0" dirty="0">
                <a:ln>
                  <a:noFill/>
                </a:ln>
                <a:solidFill>
                  <a:srgbClr val="00A5C0"/>
                </a:solidFill>
                <a:effectLst/>
                <a:uLnTx/>
                <a:uFillTx/>
                <a:latin typeface="Arial" panose="020B0604020202020204"/>
                <a:ea typeface="+mn-ea"/>
                <a:cs typeface="+mn-cs"/>
              </a:rPr>
              <a:t>The main benefits of a CCP are reduced counterparty risk, increased transparency and improved efficiency</a:t>
            </a:r>
          </a:p>
          <a:p>
            <a:pPr marL="946350" marR="0" lvl="3" indent="-51435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2000" b="0" i="0" u="none" strike="noStrike" kern="1200" cap="none" spc="0" normalizeH="0" baseline="0" noProof="0" dirty="0">
                <a:ln>
                  <a:noFill/>
                </a:ln>
                <a:solidFill>
                  <a:srgbClr val="00A5C0"/>
                </a:solidFill>
                <a:effectLst/>
                <a:uLnTx/>
                <a:uFillTx/>
                <a:latin typeface="Arial" panose="020B0604020202020204"/>
                <a:ea typeface="+mn-ea"/>
                <a:cs typeface="+mn-cs"/>
              </a:rPr>
              <a:t>Central clearing encourages interconnectedness while allowing buyer and seller to interact bilaterally. CCPs expose their clients to bilateral default risk</a:t>
            </a:r>
          </a:p>
          <a:p>
            <a:pPr marL="946350" marR="0" lvl="3" indent="-51435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2000" b="0" i="0" u="none" strike="noStrike" kern="1200" cap="none" spc="0" normalizeH="0" baseline="0" noProof="0" dirty="0">
                <a:ln>
                  <a:noFill/>
                </a:ln>
                <a:solidFill>
                  <a:srgbClr val="00A5C0"/>
                </a:solidFill>
                <a:effectLst/>
                <a:uLnTx/>
                <a:uFillTx/>
                <a:latin typeface="Arial" panose="020B0604020202020204"/>
                <a:ea typeface="+mn-ea"/>
                <a:cs typeface="+mn-cs"/>
              </a:rPr>
              <a:t>None. Because Clearing Houses (CCPs) charge a fee for their service offering without tangible benefits for the market</a:t>
            </a:r>
          </a:p>
          <a:p>
            <a:pPr marL="432000" marR="0" lvl="3" indent="0" algn="l"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br>
              <a:rPr kumimoji="0" lang="en-US" sz="2400" b="0" i="0" u="none" strike="noStrike" kern="1200" cap="none" spc="0" normalizeH="0" baseline="0" noProof="0" dirty="0">
                <a:ln>
                  <a:noFill/>
                </a:ln>
                <a:solidFill>
                  <a:srgbClr val="00A5C0"/>
                </a:solidFill>
                <a:effectLst/>
                <a:uLnTx/>
                <a:uFillTx/>
                <a:latin typeface="Arial" panose="020B0604020202020204"/>
                <a:ea typeface="+mn-ea"/>
                <a:cs typeface="+mn-cs"/>
              </a:rPr>
            </a:br>
            <a:endParaRPr kumimoji="0" lang="en-US" sz="2400" b="0" i="0" u="none" strike="noStrike" kern="1200" cap="none" spc="0" normalizeH="0" baseline="0" noProof="0" dirty="0">
              <a:ln>
                <a:noFill/>
              </a:ln>
              <a:solidFill>
                <a:srgbClr val="00A5C0"/>
              </a:solidFill>
              <a:effectLst/>
              <a:uLnTx/>
              <a:uFillTx/>
              <a:latin typeface="Arial" panose="020B0604020202020204"/>
              <a:ea typeface="+mn-ea"/>
              <a:cs typeface="+mn-cs"/>
            </a:endParaRPr>
          </a:p>
          <a:p>
            <a:pPr marL="215900" marR="0" lvl="0" indent="-21590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srgbClr val="FFFFFF"/>
              </a:solidFill>
              <a:effectLst/>
              <a:uLnTx/>
              <a:uFillTx/>
              <a:latin typeface="Arial" panose="020B0604020202020204"/>
              <a:ea typeface="+mn-ea"/>
              <a:cs typeface="Arial"/>
            </a:endParaRPr>
          </a:p>
        </p:txBody>
      </p:sp>
    </p:spTree>
    <p:custDataLst>
      <p:tags r:id="rId2"/>
    </p:custDataLst>
    <p:extLst>
      <p:ext uri="{BB962C8B-B14F-4D97-AF65-F5344CB8AC3E}">
        <p14:creationId xmlns:p14="http://schemas.microsoft.com/office/powerpoint/2010/main" val="3454967906"/>
      </p:ext>
    </p:extLst>
  </p:cSld>
  <p:clrMapOvr>
    <a:masterClrMapping/>
  </p:clrMapOvr>
  <p:transition spd="slow"/>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FAF5696-B643-40A1-A440-C594713C4AF8}"/>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6" name="think-cell Folie" r:id="rId7" imgW="359" imgH="358" progId="TCLayout.ActiveDocument.1">
                  <p:embed/>
                </p:oleObj>
              </mc:Choice>
              <mc:Fallback>
                <p:oleObj name="think-cell Folie" r:id="rId7" imgW="359" imgH="358" progId="TCLayout.ActiveDocument.1">
                  <p:embed/>
                  <p:pic>
                    <p:nvPicPr>
                      <p:cNvPr id="8" name="Objekt 7" hidden="1">
                        <a:extLst>
                          <a:ext uri="{FF2B5EF4-FFF2-40B4-BE49-F238E27FC236}">
                            <a16:creationId xmlns:a16="http://schemas.microsoft.com/office/drawing/2014/main" id="{0FAF5696-B643-40A1-A440-C594713C4AF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8" name="Picture 2">
            <a:extLst>
              <a:ext uri="{FF2B5EF4-FFF2-40B4-BE49-F238E27FC236}">
                <a16:creationId xmlns:a16="http://schemas.microsoft.com/office/drawing/2014/main" id="{3B8571F2-1BEA-4F70-9A45-78820DE99BE0}"/>
              </a:ext>
            </a:extLst>
          </p:cNvPr>
          <p:cNvPicPr>
            <a:picLocks noGrp="1" noChangeAspect="1" noChangeArrowheads="1"/>
          </p:cNvPicPr>
          <p:nvPr>
            <p:ph type="pic" sz="quarter" idx="13"/>
          </p:nvPr>
        </p:nvPicPr>
        <p:blipFill rotWithShape="1">
          <a:blip r:embed="rId9" cstate="screen">
            <a:extLst>
              <a:ext uri="{28A0092B-C50C-407E-A947-70E740481C1C}">
                <a14:useLocalDpi xmlns:a14="http://schemas.microsoft.com/office/drawing/2010/main" val="0"/>
              </a:ext>
            </a:extLst>
          </a:blip>
          <a:srcRect t="19" b="19"/>
          <a:stretch/>
        </p:blipFill>
        <p:spPr>
          <a:xfrm>
            <a:off x="8072873" y="0"/>
            <a:ext cx="4115780" cy="6858000"/>
          </a:xfrm>
        </p:spPr>
      </p:pic>
      <p:sp>
        <p:nvSpPr>
          <p:cNvPr id="2" name="Slide Number Placeholder 1">
            <a:extLst>
              <a:ext uri="{FF2B5EF4-FFF2-40B4-BE49-F238E27FC236}">
                <a16:creationId xmlns:a16="http://schemas.microsoft.com/office/drawing/2014/main" id="{170A562C-6DFE-4653-8316-974F1F048594}"/>
              </a:ext>
            </a:extLst>
          </p:cNvPr>
          <p:cNvSpPr>
            <a:spLocks noGrp="1"/>
          </p:cNvSpPr>
          <p:nvPr>
            <p:ph type="sldNum" sz="quarter" idx="16"/>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72C9EDE-4A13-4E4A-9EAA-A59A97CC9CE2}" type="slidenum">
              <a:rPr kumimoji="0" lang="en-US" sz="800" b="0" i="0" u="none" strike="noStrike" kern="1200" cap="none" spc="0" normalizeH="0" baseline="0" noProof="0" smtClean="0">
                <a:ln>
                  <a:noFill/>
                </a:ln>
                <a:solidFill>
                  <a:srgbClr val="666666"/>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2</a:t>
            </a:fld>
            <a:endParaRPr kumimoji="0" lang="en-US" sz="800" b="0" i="0" u="none" strike="noStrike" kern="1200" cap="none" spc="0" normalizeH="0" baseline="0" noProof="0" dirty="0">
              <a:ln>
                <a:noFill/>
              </a:ln>
              <a:solidFill>
                <a:srgbClr val="666666"/>
              </a:solidFill>
              <a:effectLst/>
              <a:uLnTx/>
              <a:uFillTx/>
              <a:latin typeface="Arial" panose="020B0604020202020204"/>
              <a:ea typeface="+mn-ea"/>
              <a:cs typeface="+mn-cs"/>
            </a:endParaRPr>
          </a:p>
        </p:txBody>
      </p:sp>
      <p:sp>
        <p:nvSpPr>
          <p:cNvPr id="3" name="Rechteck 19">
            <a:extLst>
              <a:ext uri="{FF2B5EF4-FFF2-40B4-BE49-F238E27FC236}">
                <a16:creationId xmlns:a16="http://schemas.microsoft.com/office/drawing/2014/main" id="{90508047-1400-6B9B-3282-C4B1C04B6777}"/>
              </a:ext>
            </a:extLst>
          </p:cNvPr>
          <p:cNvSpPr/>
          <p:nvPr>
            <p:custDataLst>
              <p:tags r:id="rId4"/>
            </p:custDataLst>
          </p:nvPr>
        </p:nvSpPr>
        <p:spPr bwMode="auto">
          <a:xfrm>
            <a:off x="289454" y="709304"/>
            <a:ext cx="7452466" cy="5177691"/>
          </a:xfrm>
          <a:prstGeom prst="rect">
            <a:avLst/>
          </a:prstGeom>
          <a:noFill/>
          <a:ln>
            <a:noFill/>
          </a:ln>
          <a:effectLst/>
        </p:spPr>
        <p:txBody>
          <a:bodyPr vert="horz" wrap="square" lIns="36000" tIns="108000" rIns="36000" bIns="45720" numCol="1" rtlCol="0" anchor="t" anchorCtr="0" compatLnSpc="1">
            <a:prstTxWarp prst="textNoShape">
              <a:avLst/>
            </a:prstTxWarp>
          </a:bodyPr>
          <a:lstStyle>
            <a:lvl1pPr marL="216000" indent="-216000" algn="l" defTabSz="914400" rtl="0" eaLnBrk="1" latinLnBrk="0" hangingPunct="1">
              <a:buClrTx/>
              <a:buFont typeface="Arial" panose="020B0604020202020204" pitchFamily="34" charset="0"/>
              <a:buChar char="–"/>
            </a:lvl1pPr>
            <a:lvl2pPr marL="216000" indent="-216000" algn="l" defTabSz="914400" rtl="0" eaLnBrk="1" latinLnBrk="0" hangingPunct="1">
              <a:buClrTx/>
              <a:buFont typeface="Arial" panose="020B0604020202020204" pitchFamily="34" charset="0"/>
              <a:buChar char="–"/>
            </a:lvl2pPr>
            <a:lvl3pPr marL="432000" indent="-216000" algn="l" defTabSz="914400" rtl="0" eaLnBrk="1" latinLnBrk="0" hangingPunct="1">
              <a:buClrTx/>
              <a:buFont typeface="Arial" panose="020B0604020202020204" pitchFamily="34" charset="0"/>
              <a:buChar char="–"/>
            </a:lvl3pPr>
            <a:lvl4pPr marL="648000" indent="-216000" algn="l" defTabSz="914400" rtl="0" eaLnBrk="1" latinLnBrk="0" hangingPunct="1">
              <a:buClrTx/>
              <a:buFont typeface="Arial" panose="020B0604020202020204" pitchFamily="34" charset="0"/>
              <a:buChar char="–"/>
            </a:lvl4pPr>
            <a:lvl5pPr marL="864000" indent="-216000" algn="l" defTabSz="914400" rtl="0" eaLnBrk="1" latinLnBrk="0" hangingPunct="1">
              <a:buClrTx/>
              <a:buFont typeface="Arial" panose="020B0604020202020204" pitchFamily="34" charset="0"/>
              <a:buChar char="–"/>
            </a:lvl5pPr>
            <a:lvl6pPr marL="864000" indent="-216000" algn="l" defTabSz="914400" rtl="0" eaLnBrk="1" latinLnBrk="0" hangingPunct="1">
              <a:buClrTx/>
              <a:buFont typeface="Arial" panose="020B0604020202020204" pitchFamily="34" charset="0"/>
              <a:buChar char="–"/>
            </a:lvl6pPr>
            <a:lvl7pPr marL="864000" indent="-216000" algn="l" defTabSz="914400" rtl="0" eaLnBrk="1" latinLnBrk="0" hangingPunct="1">
              <a:buClrTx/>
              <a:buFont typeface="Arial" panose="020B0604020202020204" pitchFamily="34" charset="0"/>
              <a:buChar char="–"/>
            </a:lvl7pPr>
            <a:lvl8pPr marL="864000" indent="-216000" algn="l" defTabSz="914400" rtl="0" eaLnBrk="1" latinLnBrk="0" hangingPunct="1">
              <a:buClrTx/>
              <a:buFont typeface="Arial" panose="020B0604020202020204" pitchFamily="34" charset="0"/>
              <a:buChar char="–"/>
            </a:lvl8pPr>
            <a:lvl9pPr marL="864000" indent="-216000" algn="l" defTabSz="914400" rtl="0" eaLnBrk="1" latinLnBrk="0" hangingPunct="1">
              <a:buClrTx/>
              <a:buFont typeface="Arial" panose="020B0604020202020204" pitchFamily="34" charset="0"/>
              <a:buChar char="–"/>
            </a:lvl9pPr>
          </a:lstStyle>
          <a:p>
            <a:pPr marL="857250" marR="0" lvl="0" indent="-857250" algn="l" defTabSz="914400" rtl="0" eaLnBrk="1" fontAlgn="auto" latinLnBrk="0" hangingPunct="1">
              <a:lnSpc>
                <a:spcPct val="100000"/>
              </a:lnSpc>
              <a:spcBef>
                <a:spcPts val="0"/>
              </a:spcBef>
              <a:spcAft>
                <a:spcPts val="1200"/>
              </a:spcAft>
              <a:buClrTx/>
              <a:buSzTx/>
              <a:buFont typeface="+mj-lt"/>
              <a:buAutoNum type="romanUcPeriod" startAt="4"/>
              <a:tabLst/>
              <a:defRPr/>
            </a:pPr>
            <a:r>
              <a:rPr kumimoji="0" lang="en-US" sz="3600" b="0" i="0" u="none" strike="noStrike" kern="1200" cap="none" spc="0" normalizeH="0" baseline="0" noProof="0" dirty="0">
                <a:ln>
                  <a:noFill/>
                </a:ln>
                <a:solidFill>
                  <a:srgbClr val="00A5C0"/>
                </a:solidFill>
                <a:effectLst/>
                <a:uLnTx/>
                <a:uFillTx/>
                <a:latin typeface="Arial" panose="020B0604020202020204"/>
                <a:ea typeface="+mn-ea"/>
                <a:cs typeface="+mn-cs"/>
              </a:rPr>
              <a:t>Within the value chain </a:t>
            </a:r>
            <a:r>
              <a:rPr kumimoji="0" lang="en-US" sz="3600" b="1" i="0" u="none" strike="noStrike" kern="1200" cap="none" spc="0" normalizeH="0" baseline="0" noProof="0" dirty="0">
                <a:ln>
                  <a:noFill/>
                </a:ln>
                <a:solidFill>
                  <a:srgbClr val="00A5C0"/>
                </a:solidFill>
                <a:effectLst/>
                <a:uLnTx/>
                <a:uFillTx/>
                <a:latin typeface="Arial" panose="020B0604020202020204"/>
                <a:ea typeface="+mn-ea"/>
                <a:cs typeface="+mn-cs"/>
              </a:rPr>
              <a:t>Clearstream Banking </a:t>
            </a:r>
            <a:r>
              <a:rPr kumimoji="0" lang="en-US" sz="3600" b="0" i="0" u="none" strike="noStrike" kern="1200" cap="none" spc="0" normalizeH="0" baseline="0" noProof="0" dirty="0">
                <a:ln>
                  <a:noFill/>
                </a:ln>
                <a:solidFill>
                  <a:srgbClr val="00A5C0"/>
                </a:solidFill>
                <a:effectLst/>
                <a:uLnTx/>
                <a:uFillTx/>
                <a:latin typeface="Arial" panose="020B0604020202020204"/>
                <a:ea typeface="+mn-ea"/>
                <a:cs typeface="+mn-cs"/>
              </a:rPr>
              <a:t>acts as a:</a:t>
            </a:r>
          </a:p>
          <a:p>
            <a:pPr marL="0" marR="0" lvl="0" indent="0" algn="l"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US" sz="3600" b="0" i="0" u="none" strike="noStrike" kern="1200" cap="none" spc="0" normalizeH="0" baseline="0" noProof="0" dirty="0">
              <a:ln>
                <a:noFill/>
              </a:ln>
              <a:solidFill>
                <a:srgbClr val="00A5C0"/>
              </a:solidFill>
              <a:effectLst/>
              <a:uLnTx/>
              <a:uFillTx/>
              <a:latin typeface="Arial" panose="020B0604020202020204"/>
              <a:ea typeface="+mn-ea"/>
              <a:cs typeface="+mn-cs"/>
            </a:endParaRPr>
          </a:p>
          <a:p>
            <a:pPr marL="946350" marR="0" lvl="3" indent="-51435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2600" b="0" i="0" u="none" strike="noStrike" kern="1200" cap="none" spc="0" normalizeH="0" baseline="0" noProof="0" dirty="0">
                <a:ln>
                  <a:noFill/>
                </a:ln>
                <a:solidFill>
                  <a:srgbClr val="00A5C0"/>
                </a:solidFill>
                <a:effectLst/>
                <a:uLnTx/>
                <a:uFillTx/>
                <a:latin typeface="Arial" panose="020B0604020202020204"/>
                <a:ea typeface="+mn-ea"/>
                <a:cs typeface="+mn-cs"/>
              </a:rPr>
              <a:t>Stock Exchange </a:t>
            </a:r>
          </a:p>
          <a:p>
            <a:pPr marL="946350" marR="0" lvl="3" indent="-51435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2600" b="0" i="0" u="none" strike="noStrike" kern="1200" cap="none" spc="0" normalizeH="0" baseline="0" noProof="0" dirty="0">
                <a:ln>
                  <a:noFill/>
                </a:ln>
                <a:solidFill>
                  <a:srgbClr val="00A5C0"/>
                </a:solidFill>
                <a:effectLst/>
                <a:uLnTx/>
                <a:uFillTx/>
                <a:latin typeface="Arial" panose="020B0604020202020204"/>
                <a:ea typeface="+mn-ea"/>
                <a:cs typeface="+mn-cs"/>
              </a:rPr>
              <a:t>Clearing House (CCP)</a:t>
            </a:r>
          </a:p>
          <a:p>
            <a:pPr marL="946350" marR="0" lvl="3" indent="-51435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2600" b="0" i="0" u="none" strike="noStrike" kern="1200" cap="none" spc="0" normalizeH="0" baseline="0" noProof="0" dirty="0">
                <a:ln>
                  <a:noFill/>
                </a:ln>
                <a:solidFill>
                  <a:srgbClr val="00A5C0"/>
                </a:solidFill>
                <a:effectLst/>
                <a:uLnTx/>
                <a:uFillTx/>
                <a:latin typeface="Arial" panose="020B0604020202020204"/>
                <a:ea typeface="+mn-ea"/>
                <a:cs typeface="+mn-cs"/>
              </a:rPr>
              <a:t>(International) Central Securities Depository/ (I)CSD</a:t>
            </a:r>
          </a:p>
          <a:p>
            <a:pPr marL="432000" marR="0" lvl="3" indent="0" algn="l"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br>
              <a:rPr kumimoji="0" lang="en-US" sz="2600" b="0" i="0" u="none" strike="noStrike" kern="1200" cap="none" spc="0" normalizeH="0" baseline="0" noProof="0" dirty="0">
                <a:ln>
                  <a:noFill/>
                </a:ln>
                <a:solidFill>
                  <a:srgbClr val="00A5C0"/>
                </a:solidFill>
                <a:effectLst/>
                <a:uLnTx/>
                <a:uFillTx/>
                <a:latin typeface="Arial" panose="020B0604020202020204"/>
                <a:ea typeface="+mn-ea"/>
                <a:cs typeface="+mn-cs"/>
              </a:rPr>
            </a:br>
            <a:endParaRPr kumimoji="0" lang="en-US" sz="2600" b="0" i="0" u="none" strike="noStrike" kern="1200" cap="none" spc="0" normalizeH="0" baseline="0" noProof="0" dirty="0">
              <a:ln>
                <a:noFill/>
              </a:ln>
              <a:solidFill>
                <a:srgbClr val="00A5C0"/>
              </a:solidFill>
              <a:effectLst/>
              <a:uLnTx/>
              <a:uFillTx/>
              <a:latin typeface="Arial" panose="020B0604020202020204"/>
              <a:ea typeface="+mn-ea"/>
              <a:cs typeface="+mn-cs"/>
            </a:endParaRPr>
          </a:p>
          <a:p>
            <a:pPr marL="215900" marR="0" lvl="0" indent="-21590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srgbClr val="FFFFFF"/>
              </a:solidFill>
              <a:effectLst/>
              <a:uLnTx/>
              <a:uFillTx/>
              <a:latin typeface="Arial" panose="020B0604020202020204"/>
              <a:ea typeface="+mn-ea"/>
              <a:cs typeface="Arial"/>
            </a:endParaRPr>
          </a:p>
        </p:txBody>
      </p:sp>
    </p:spTree>
    <p:custDataLst>
      <p:tags r:id="rId2"/>
    </p:custDataLst>
    <p:extLst>
      <p:ext uri="{BB962C8B-B14F-4D97-AF65-F5344CB8AC3E}">
        <p14:creationId xmlns:p14="http://schemas.microsoft.com/office/powerpoint/2010/main" val="643800365"/>
      </p:ext>
    </p:extLst>
  </p:cSld>
  <p:clrMapOvr>
    <a:masterClrMapping/>
  </p:clrMapOvr>
  <p:transition spd="slow"/>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66D78-54A5-1044-A741-2366FF5E52CC}"/>
              </a:ext>
            </a:extLst>
          </p:cNvPr>
          <p:cNvSpPr>
            <a:spLocks noGrp="1"/>
          </p:cNvSpPr>
          <p:nvPr>
            <p:ph type="ctrTitle"/>
          </p:nvPr>
        </p:nvSpPr>
        <p:spPr>
          <a:xfrm>
            <a:off x="1524000" y="4729698"/>
            <a:ext cx="9144000" cy="1218795"/>
          </a:xfrm>
        </p:spPr>
        <p:txBody>
          <a:bodyPr>
            <a:spAutoFit/>
          </a:bodyPr>
          <a:lstStyle/>
          <a:p>
            <a:r>
              <a:rPr lang="en-GB" sz="8000" b="0" dirty="0">
                <a:latin typeface="Bebas Neue Book" pitchFamily="2" charset="77"/>
              </a:rPr>
              <a:t>Maria </a:t>
            </a:r>
            <a:r>
              <a:rPr lang="en-GB" sz="8000" dirty="0" err="1"/>
              <a:t>Filipova</a:t>
            </a:r>
            <a:endParaRPr lang="en-BG" sz="8000" dirty="0">
              <a:solidFill>
                <a:srgbClr val="DA98FF"/>
              </a:solidFill>
            </a:endParaRPr>
          </a:p>
        </p:txBody>
      </p:sp>
      <p:sp>
        <p:nvSpPr>
          <p:cNvPr id="6" name="Oval 5">
            <a:extLst>
              <a:ext uri="{FF2B5EF4-FFF2-40B4-BE49-F238E27FC236}">
                <a16:creationId xmlns:a16="http://schemas.microsoft.com/office/drawing/2014/main" id="{36BA8D18-11C0-8649-ABBE-C006E05DCB99}"/>
              </a:ext>
            </a:extLst>
          </p:cNvPr>
          <p:cNvSpPr/>
          <p:nvPr/>
        </p:nvSpPr>
        <p:spPr>
          <a:xfrm>
            <a:off x="5904432" y="2711506"/>
            <a:ext cx="1467356" cy="1503096"/>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dirty="0">
              <a:solidFill>
                <a:schemeClr val="accent5"/>
              </a:solidFill>
            </a:endParaRPr>
          </a:p>
        </p:txBody>
      </p:sp>
      <p:sp>
        <p:nvSpPr>
          <p:cNvPr id="7" name="Oval 6">
            <a:extLst>
              <a:ext uri="{FF2B5EF4-FFF2-40B4-BE49-F238E27FC236}">
                <a16:creationId xmlns:a16="http://schemas.microsoft.com/office/drawing/2014/main" id="{BDF755ED-E1F8-B643-89B5-64DC1D8067F9}"/>
              </a:ext>
            </a:extLst>
          </p:cNvPr>
          <p:cNvSpPr/>
          <p:nvPr/>
        </p:nvSpPr>
        <p:spPr>
          <a:xfrm>
            <a:off x="4358851" y="1067739"/>
            <a:ext cx="2184849" cy="223806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a:p>
        </p:txBody>
      </p:sp>
      <p:pic>
        <p:nvPicPr>
          <p:cNvPr id="5" name="Picture 4">
            <a:extLst>
              <a:ext uri="{FF2B5EF4-FFF2-40B4-BE49-F238E27FC236}">
                <a16:creationId xmlns:a16="http://schemas.microsoft.com/office/drawing/2014/main" id="{3F912BD5-D828-BA44-8F5C-A035919F513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820213" y="1357801"/>
            <a:ext cx="2551573" cy="2716601"/>
          </a:xfrm>
          <a:prstGeom prst="rect">
            <a:avLst/>
          </a:prstGeom>
        </p:spPr>
      </p:pic>
      <p:sp>
        <p:nvSpPr>
          <p:cNvPr id="34" name="Title 1">
            <a:extLst>
              <a:ext uri="{FF2B5EF4-FFF2-40B4-BE49-F238E27FC236}">
                <a16:creationId xmlns:a16="http://schemas.microsoft.com/office/drawing/2014/main" id="{3480FDC6-882D-054E-AF3F-D9A7FDC7ABCB}"/>
              </a:ext>
            </a:extLst>
          </p:cNvPr>
          <p:cNvSpPr txBox="1">
            <a:spLocks/>
          </p:cNvSpPr>
          <p:nvPr/>
        </p:nvSpPr>
        <p:spPr>
          <a:xfrm>
            <a:off x="1524000" y="5948493"/>
            <a:ext cx="9144000" cy="369332"/>
          </a:xfrm>
          <a:prstGeom prst="rect">
            <a:avLst/>
          </a:prstGeom>
        </p:spPr>
        <p:txBody>
          <a:bodyPr vert="horz" lIns="91440" tIns="45720" rIns="91440" bIns="45720" rtlCol="0" anchor="b">
            <a:spAutoFit/>
          </a:bodyPr>
          <a:lstStyle>
            <a:lvl1pPr algn="ctr" defTabSz="914400" rtl="0" eaLnBrk="1" latinLnBrk="0" hangingPunct="1">
              <a:lnSpc>
                <a:spcPct val="90000"/>
              </a:lnSpc>
              <a:spcBef>
                <a:spcPct val="0"/>
              </a:spcBef>
              <a:buNone/>
              <a:defRPr sz="6000" b="1" i="0" kern="1200">
                <a:solidFill>
                  <a:schemeClr val="bg1"/>
                </a:solidFill>
                <a:latin typeface="Bebas Neue Bold" pitchFamily="2" charset="77"/>
                <a:ea typeface="+mj-ea"/>
                <a:cs typeface="+mj-cs"/>
              </a:defRPr>
            </a:lvl1pPr>
          </a:lstStyle>
          <a:p>
            <a:r>
              <a:rPr lang="en-GB" sz="2000" b="0" dirty="0">
                <a:solidFill>
                  <a:srgbClr val="DA98FF"/>
                </a:solidFill>
                <a:latin typeface="Montserrat" pitchFamily="2" charset="77"/>
              </a:rPr>
              <a:t>Deputy Chair of the Financial Supervision Commission </a:t>
            </a:r>
            <a:endParaRPr lang="en-BG" sz="2000" b="0" dirty="0">
              <a:solidFill>
                <a:srgbClr val="DA98FF"/>
              </a:solidFill>
              <a:latin typeface="Montserrat" pitchFamily="2" charset="77"/>
            </a:endParaRPr>
          </a:p>
        </p:txBody>
      </p:sp>
    </p:spTree>
    <p:extLst>
      <p:ext uri="{BB962C8B-B14F-4D97-AF65-F5344CB8AC3E}">
        <p14:creationId xmlns:p14="http://schemas.microsoft.com/office/powerpoint/2010/main" val="107959615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TextBox 5"/>
          <p:cNvSpPr txBox="1"/>
          <p:nvPr/>
        </p:nvSpPr>
        <p:spPr>
          <a:xfrm>
            <a:off x="1430405" y="2637675"/>
            <a:ext cx="9108584" cy="1200329"/>
          </a:xfrm>
          <a:prstGeom prst="rect">
            <a:avLst/>
          </a:prstGeom>
          <a:noFill/>
        </p:spPr>
        <p:txBody>
          <a:bodyPr wrap="none" rtlCol="0">
            <a:spAutoFit/>
          </a:bodyPr>
          <a:lstStyle/>
          <a:p>
            <a:pPr algn="ctr"/>
            <a:r>
              <a:rPr lang="bg-BG" sz="3600" dirty="0">
                <a:solidFill>
                  <a:schemeClr val="bg1"/>
                </a:solidFill>
                <a:latin typeface="Montserrat Black" pitchFamily="2" charset="-52"/>
              </a:rPr>
              <a:t>ДОСТЪП НА КОМПАНИИТЕ ДО </a:t>
            </a:r>
            <a:br>
              <a:rPr lang="en-US" sz="3600" dirty="0">
                <a:solidFill>
                  <a:schemeClr val="bg1"/>
                </a:solidFill>
                <a:latin typeface="Montserrat Black" pitchFamily="2" charset="-52"/>
              </a:rPr>
            </a:br>
            <a:r>
              <a:rPr lang="bg-BG" sz="3600" dirty="0">
                <a:solidFill>
                  <a:schemeClr val="bg1"/>
                </a:solidFill>
                <a:latin typeface="Montserrat Black" pitchFamily="2" charset="-52"/>
              </a:rPr>
              <a:t>БЪЛГАРСКИЯ КАПИТАЛОВ ПАЗАР</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69864" y="337099"/>
            <a:ext cx="1874066" cy="360645"/>
          </a:xfrm>
          <a:prstGeom prst="rect">
            <a:avLst/>
          </a:prstGeom>
        </p:spPr>
      </p:pic>
    </p:spTree>
    <p:extLst>
      <p:ext uri="{BB962C8B-B14F-4D97-AF65-F5344CB8AC3E}">
        <p14:creationId xmlns:p14="http://schemas.microsoft.com/office/powerpoint/2010/main" val="20517328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TextBox 5"/>
          <p:cNvSpPr txBox="1"/>
          <p:nvPr/>
        </p:nvSpPr>
        <p:spPr>
          <a:xfrm>
            <a:off x="1430405" y="2637675"/>
            <a:ext cx="8771953" cy="1754326"/>
          </a:xfrm>
          <a:prstGeom prst="rect">
            <a:avLst/>
          </a:prstGeom>
          <a:noFill/>
        </p:spPr>
        <p:txBody>
          <a:bodyPr wrap="none" rtlCol="0">
            <a:spAutoFit/>
          </a:bodyPr>
          <a:lstStyle/>
          <a:p>
            <a:pPr algn="ctr"/>
            <a:r>
              <a:rPr lang="en-US" sz="3600" dirty="0">
                <a:solidFill>
                  <a:schemeClr val="bg1"/>
                </a:solidFill>
                <a:latin typeface="Montserrat Black" pitchFamily="2" charset="-52"/>
              </a:rPr>
              <a:t>I. </a:t>
            </a:r>
            <a:r>
              <a:rPr lang="bg-BG" sz="3600" dirty="0">
                <a:solidFill>
                  <a:schemeClr val="bg1"/>
                </a:solidFill>
                <a:latin typeface="Montserrat Black" pitchFamily="2" charset="-52"/>
              </a:rPr>
              <a:t>КОМУНИКАЦИЯ МЕЖДУ </a:t>
            </a:r>
            <a:br>
              <a:rPr lang="bg-BG" sz="3600" dirty="0">
                <a:solidFill>
                  <a:schemeClr val="bg1"/>
                </a:solidFill>
                <a:latin typeface="Montserrat Black" pitchFamily="2" charset="-52"/>
              </a:rPr>
            </a:br>
            <a:r>
              <a:rPr lang="bg-BG" sz="3600" dirty="0">
                <a:solidFill>
                  <a:schemeClr val="bg1"/>
                </a:solidFill>
                <a:latin typeface="Montserrat Black" pitchFamily="2" charset="-52"/>
              </a:rPr>
              <a:t>РЕГУЛАТОРИТЕ И РЕГУЛАТОРНИ</a:t>
            </a:r>
            <a:br>
              <a:rPr lang="bg-BG" sz="3600" dirty="0">
                <a:solidFill>
                  <a:schemeClr val="bg1"/>
                </a:solidFill>
                <a:latin typeface="Montserrat Black" pitchFamily="2" charset="-52"/>
              </a:rPr>
            </a:br>
            <a:r>
              <a:rPr lang="bg-BG" sz="3600" dirty="0">
                <a:solidFill>
                  <a:schemeClr val="bg1"/>
                </a:solidFill>
                <a:latin typeface="Montserrat Black" pitchFamily="2" charset="-52"/>
              </a:rPr>
              <a:t> ПРОЦЕДУРИ</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69864" y="337099"/>
            <a:ext cx="1874066" cy="360645"/>
          </a:xfrm>
          <a:prstGeom prst="rect">
            <a:avLst/>
          </a:prstGeom>
        </p:spPr>
      </p:pic>
    </p:spTree>
    <p:extLst>
      <p:ext uri="{BB962C8B-B14F-4D97-AF65-F5344CB8AC3E}">
        <p14:creationId xmlns:p14="http://schemas.microsoft.com/office/powerpoint/2010/main" val="273809863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0800000">
            <a:off x="-4" y="0"/>
            <a:ext cx="12192003" cy="6858000"/>
          </a:xfrm>
          <a:prstGeom prst="rect">
            <a:avLst/>
          </a:prstGeom>
        </p:spPr>
      </p:pic>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t="35327" b="35532"/>
          <a:stretch/>
        </p:blipFill>
        <p:spPr>
          <a:xfrm>
            <a:off x="0" y="0"/>
            <a:ext cx="12192000" cy="1715678"/>
          </a:xfrm>
          <a:prstGeom prst="rect">
            <a:avLst/>
          </a:prstGeom>
        </p:spPr>
      </p:pic>
      <p:sp>
        <p:nvSpPr>
          <p:cNvPr id="5" name="TextBox 4"/>
          <p:cNvSpPr txBox="1"/>
          <p:nvPr/>
        </p:nvSpPr>
        <p:spPr>
          <a:xfrm>
            <a:off x="338540" y="219307"/>
            <a:ext cx="9192785" cy="830997"/>
          </a:xfrm>
          <a:prstGeom prst="rect">
            <a:avLst/>
          </a:prstGeom>
          <a:noFill/>
        </p:spPr>
        <p:txBody>
          <a:bodyPr wrap="square" rtlCol="0">
            <a:spAutoFit/>
          </a:bodyPr>
          <a:lstStyle/>
          <a:p>
            <a:r>
              <a:rPr lang="en-US" sz="2400" dirty="0">
                <a:solidFill>
                  <a:schemeClr val="bg1"/>
                </a:solidFill>
                <a:latin typeface="Montserrat Black" pitchFamily="2" charset="-52"/>
              </a:rPr>
              <a:t>I. </a:t>
            </a:r>
            <a:r>
              <a:rPr lang="bg-BG" sz="2400" dirty="0">
                <a:solidFill>
                  <a:schemeClr val="bg1"/>
                </a:solidFill>
                <a:latin typeface="Montserrat Black" pitchFamily="2" charset="-52"/>
              </a:rPr>
              <a:t>КОМУНИКАЦИЯ МЕЖДУ РЕГУЛАТОРИТЕ И РЕГУЛАТОРНИ ПРОЦЕДУРИ</a:t>
            </a:r>
          </a:p>
        </p:txBody>
      </p:sp>
      <p:sp>
        <p:nvSpPr>
          <p:cNvPr id="8" name="TextBox 7"/>
          <p:cNvSpPr txBox="1"/>
          <p:nvPr/>
        </p:nvSpPr>
        <p:spPr>
          <a:xfrm>
            <a:off x="338540" y="1050304"/>
            <a:ext cx="9192785" cy="369332"/>
          </a:xfrm>
          <a:prstGeom prst="rect">
            <a:avLst/>
          </a:prstGeom>
          <a:noFill/>
        </p:spPr>
        <p:txBody>
          <a:bodyPr wrap="square" rtlCol="0">
            <a:spAutoFit/>
          </a:bodyPr>
          <a:lstStyle/>
          <a:p>
            <a:r>
              <a:rPr lang="bg-BG" dirty="0">
                <a:solidFill>
                  <a:schemeClr val="bg1"/>
                </a:solidFill>
                <a:latin typeface="Montserrat" pitchFamily="2" charset="-52"/>
              </a:rPr>
              <a:t>Обхват на одобренията на проспектите в рамките на Съюза</a:t>
            </a:r>
          </a:p>
        </p:txBody>
      </p:sp>
      <p:sp>
        <p:nvSpPr>
          <p:cNvPr id="18" name="Pentagon 17"/>
          <p:cNvSpPr/>
          <p:nvPr/>
        </p:nvSpPr>
        <p:spPr>
          <a:xfrm rot="16200000">
            <a:off x="1262409" y="842164"/>
            <a:ext cx="4103503" cy="6221919"/>
          </a:xfrm>
          <a:prstGeom prst="homePlate">
            <a:avLst>
              <a:gd name="adj" fmla="val 0"/>
            </a:avLst>
          </a:prstGeom>
          <a:noFill/>
          <a:ln w="38100">
            <a:solidFill>
              <a:srgbClr val="093C6B"/>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 name="Rectangle 1"/>
          <p:cNvSpPr/>
          <p:nvPr/>
        </p:nvSpPr>
        <p:spPr>
          <a:xfrm>
            <a:off x="430155" y="2189237"/>
            <a:ext cx="5805713" cy="3293209"/>
          </a:xfrm>
          <a:prstGeom prst="rect">
            <a:avLst/>
          </a:prstGeom>
        </p:spPr>
        <p:txBody>
          <a:bodyPr wrap="square">
            <a:spAutoFit/>
          </a:bodyPr>
          <a:lstStyle/>
          <a:p>
            <a:pPr algn="just"/>
            <a:r>
              <a:rPr lang="ru-RU" sz="1600" dirty="0">
                <a:solidFill>
                  <a:srgbClr val="083966"/>
                </a:solidFill>
                <a:latin typeface="Montserrat" pitchFamily="2" charset="-52"/>
              </a:rPr>
              <a:t>При </a:t>
            </a:r>
            <a:r>
              <a:rPr lang="ru-RU" sz="1600" dirty="0" err="1">
                <a:solidFill>
                  <a:srgbClr val="083966"/>
                </a:solidFill>
                <a:latin typeface="Montserrat" pitchFamily="2" charset="-52"/>
              </a:rPr>
              <a:t>извършване</a:t>
            </a:r>
            <a:r>
              <a:rPr lang="ru-RU" sz="1600" dirty="0">
                <a:solidFill>
                  <a:srgbClr val="083966"/>
                </a:solidFill>
                <a:latin typeface="Montserrat" pitchFamily="2" charset="-52"/>
              </a:rPr>
              <a:t> на публично </a:t>
            </a:r>
            <a:r>
              <a:rPr lang="ru-RU" sz="1600" dirty="0" err="1">
                <a:solidFill>
                  <a:srgbClr val="083966"/>
                </a:solidFill>
                <a:latin typeface="Montserrat" pitchFamily="2" charset="-52"/>
              </a:rPr>
              <a:t>предлагане</a:t>
            </a:r>
            <a:r>
              <a:rPr lang="ru-RU" sz="1600" dirty="0">
                <a:solidFill>
                  <a:srgbClr val="083966"/>
                </a:solidFill>
                <a:latin typeface="Montserrat" pitchFamily="2" charset="-52"/>
              </a:rPr>
              <a:t> на </a:t>
            </a:r>
            <a:r>
              <a:rPr lang="ru-RU" sz="1600" dirty="0" err="1">
                <a:solidFill>
                  <a:srgbClr val="083966"/>
                </a:solidFill>
                <a:latin typeface="Montserrat" pitchFamily="2" charset="-52"/>
              </a:rPr>
              <a:t>ценни</a:t>
            </a:r>
            <a:r>
              <a:rPr lang="ru-RU" sz="1600" dirty="0">
                <a:solidFill>
                  <a:srgbClr val="083966"/>
                </a:solidFill>
                <a:latin typeface="Montserrat" pitchFamily="2" charset="-52"/>
              </a:rPr>
              <a:t> </a:t>
            </a:r>
            <a:r>
              <a:rPr lang="ru-RU" sz="1600" dirty="0" err="1">
                <a:solidFill>
                  <a:srgbClr val="083966"/>
                </a:solidFill>
                <a:latin typeface="Montserrat" pitchFamily="2" charset="-52"/>
              </a:rPr>
              <a:t>книжа</a:t>
            </a:r>
            <a:r>
              <a:rPr lang="ru-RU" sz="1600" dirty="0">
                <a:solidFill>
                  <a:srgbClr val="083966"/>
                </a:solidFill>
                <a:latin typeface="Montserrat" pitchFamily="2" charset="-52"/>
              </a:rPr>
              <a:t> или </a:t>
            </a:r>
            <a:r>
              <a:rPr lang="ru-RU" sz="1600" dirty="0" err="1">
                <a:solidFill>
                  <a:srgbClr val="083966"/>
                </a:solidFill>
                <a:latin typeface="Montserrat" pitchFamily="2" charset="-52"/>
              </a:rPr>
              <a:t>допускане</a:t>
            </a:r>
            <a:r>
              <a:rPr lang="ru-RU" sz="1600" dirty="0">
                <a:solidFill>
                  <a:srgbClr val="083966"/>
                </a:solidFill>
                <a:latin typeface="Montserrat" pitchFamily="2" charset="-52"/>
              </a:rPr>
              <a:t> до </a:t>
            </a:r>
            <a:r>
              <a:rPr lang="ru-RU" sz="1600" dirty="0" err="1">
                <a:solidFill>
                  <a:srgbClr val="083966"/>
                </a:solidFill>
                <a:latin typeface="Montserrat" pitchFamily="2" charset="-52"/>
              </a:rPr>
              <a:t>търговия</a:t>
            </a:r>
            <a:r>
              <a:rPr lang="ru-RU" sz="1600" dirty="0">
                <a:solidFill>
                  <a:srgbClr val="083966"/>
                </a:solidFill>
                <a:latin typeface="Montserrat" pitchFamily="2" charset="-52"/>
              </a:rPr>
              <a:t> на </a:t>
            </a:r>
            <a:r>
              <a:rPr lang="ru-RU" sz="1600" dirty="0" err="1">
                <a:solidFill>
                  <a:srgbClr val="083966"/>
                </a:solidFill>
                <a:latin typeface="Montserrat" pitchFamily="2" charset="-52"/>
              </a:rPr>
              <a:t>регулиран</a:t>
            </a:r>
            <a:r>
              <a:rPr lang="ru-RU" sz="1600" dirty="0">
                <a:solidFill>
                  <a:srgbClr val="083966"/>
                </a:solidFill>
                <a:latin typeface="Montserrat" pitchFamily="2" charset="-52"/>
              </a:rPr>
              <a:t> </a:t>
            </a:r>
            <a:r>
              <a:rPr lang="ru-RU" sz="1600" dirty="0" err="1">
                <a:solidFill>
                  <a:srgbClr val="083966"/>
                </a:solidFill>
                <a:latin typeface="Montserrat" pitchFamily="2" charset="-52"/>
              </a:rPr>
              <a:t>пазар</a:t>
            </a:r>
            <a:r>
              <a:rPr lang="ru-RU" sz="1600" dirty="0">
                <a:solidFill>
                  <a:srgbClr val="083966"/>
                </a:solidFill>
                <a:latin typeface="Montserrat" pitchFamily="2" charset="-52"/>
              </a:rPr>
              <a:t> в </a:t>
            </a:r>
            <a:r>
              <a:rPr lang="ru-RU" sz="1600" dirty="0" err="1">
                <a:solidFill>
                  <a:srgbClr val="083966"/>
                </a:solidFill>
                <a:latin typeface="Montserrat" pitchFamily="2" charset="-52"/>
              </a:rPr>
              <a:t>една</a:t>
            </a:r>
            <a:r>
              <a:rPr lang="ru-RU" sz="1600" dirty="0">
                <a:solidFill>
                  <a:srgbClr val="083966"/>
                </a:solidFill>
                <a:latin typeface="Montserrat" pitchFamily="2" charset="-52"/>
              </a:rPr>
              <a:t> или </a:t>
            </a:r>
            <a:r>
              <a:rPr lang="ru-RU" sz="1600" dirty="0" err="1">
                <a:solidFill>
                  <a:srgbClr val="083966"/>
                </a:solidFill>
                <a:latin typeface="Montserrat" pitchFamily="2" charset="-52"/>
              </a:rPr>
              <a:t>повече</a:t>
            </a:r>
            <a:r>
              <a:rPr lang="ru-RU" sz="1600" dirty="0">
                <a:solidFill>
                  <a:srgbClr val="083966"/>
                </a:solidFill>
                <a:latin typeface="Montserrat" pitchFamily="2" charset="-52"/>
              </a:rPr>
              <a:t> </a:t>
            </a:r>
            <a:r>
              <a:rPr lang="ru-RU" sz="1600" dirty="0" err="1">
                <a:solidFill>
                  <a:srgbClr val="083966"/>
                </a:solidFill>
                <a:latin typeface="Montserrat" pitchFamily="2" charset="-52"/>
              </a:rPr>
              <a:t>държави</a:t>
            </a:r>
            <a:r>
              <a:rPr lang="ru-RU" sz="1600" dirty="0">
                <a:solidFill>
                  <a:srgbClr val="083966"/>
                </a:solidFill>
                <a:latin typeface="Montserrat" pitchFamily="2" charset="-52"/>
              </a:rPr>
              <a:t> членки, или в </a:t>
            </a:r>
            <a:r>
              <a:rPr lang="ru-RU" sz="1600" dirty="0" err="1">
                <a:solidFill>
                  <a:srgbClr val="083966"/>
                </a:solidFill>
                <a:latin typeface="Montserrat" pitchFamily="2" charset="-52"/>
              </a:rPr>
              <a:t>държава</a:t>
            </a:r>
            <a:r>
              <a:rPr lang="ru-RU" sz="1600" dirty="0">
                <a:solidFill>
                  <a:srgbClr val="083966"/>
                </a:solidFill>
                <a:latin typeface="Montserrat" pitchFamily="2" charset="-52"/>
              </a:rPr>
              <a:t> членка, различна от </a:t>
            </a:r>
            <a:r>
              <a:rPr lang="ru-RU" sz="1600" dirty="0" err="1">
                <a:solidFill>
                  <a:srgbClr val="083966"/>
                </a:solidFill>
                <a:latin typeface="Montserrat" pitchFamily="2" charset="-52"/>
              </a:rPr>
              <a:t>държавата</a:t>
            </a:r>
            <a:r>
              <a:rPr lang="ru-RU" sz="1600" dirty="0">
                <a:solidFill>
                  <a:srgbClr val="083966"/>
                </a:solidFill>
                <a:latin typeface="Montserrat" pitchFamily="2" charset="-52"/>
              </a:rPr>
              <a:t> членка по </a:t>
            </a:r>
            <a:r>
              <a:rPr lang="ru-RU" sz="1600" dirty="0" err="1">
                <a:solidFill>
                  <a:srgbClr val="083966"/>
                </a:solidFill>
                <a:latin typeface="Montserrat" pitchFamily="2" charset="-52"/>
              </a:rPr>
              <a:t>произход</a:t>
            </a:r>
            <a:r>
              <a:rPr lang="ru-RU" sz="1600" dirty="0">
                <a:solidFill>
                  <a:srgbClr val="083966"/>
                </a:solidFill>
                <a:latin typeface="Montserrat" pitchFamily="2" charset="-52"/>
              </a:rPr>
              <a:t>, </a:t>
            </a:r>
            <a:r>
              <a:rPr lang="ru-RU" sz="1600" dirty="0" err="1">
                <a:solidFill>
                  <a:srgbClr val="083966"/>
                </a:solidFill>
                <a:latin typeface="Montserrat" pitchFamily="2" charset="-52"/>
              </a:rPr>
              <a:t>одобреният</a:t>
            </a:r>
            <a:r>
              <a:rPr lang="ru-RU" sz="1600" dirty="0">
                <a:solidFill>
                  <a:srgbClr val="083966"/>
                </a:solidFill>
                <a:latin typeface="Montserrat" pitchFamily="2" charset="-52"/>
              </a:rPr>
              <a:t> от </a:t>
            </a:r>
            <a:r>
              <a:rPr lang="ru-RU" sz="1600" dirty="0" err="1">
                <a:solidFill>
                  <a:srgbClr val="083966"/>
                </a:solidFill>
                <a:latin typeface="Montserrat" pitchFamily="2" charset="-52"/>
              </a:rPr>
              <a:t>държавата</a:t>
            </a:r>
            <a:r>
              <a:rPr lang="ru-RU" sz="1600" dirty="0">
                <a:solidFill>
                  <a:srgbClr val="083966"/>
                </a:solidFill>
                <a:latin typeface="Montserrat" pitchFamily="2" charset="-52"/>
              </a:rPr>
              <a:t> членка по </a:t>
            </a:r>
            <a:r>
              <a:rPr lang="ru-RU" sz="1600" dirty="0" err="1">
                <a:solidFill>
                  <a:srgbClr val="083966"/>
                </a:solidFill>
                <a:latin typeface="Montserrat" pitchFamily="2" charset="-52"/>
              </a:rPr>
              <a:t>произход</a:t>
            </a:r>
            <a:r>
              <a:rPr lang="ru-RU" sz="1600" dirty="0">
                <a:solidFill>
                  <a:srgbClr val="083966"/>
                </a:solidFill>
                <a:latin typeface="Montserrat" pitchFamily="2" charset="-52"/>
              </a:rPr>
              <a:t> проспект, </a:t>
            </a:r>
            <a:r>
              <a:rPr lang="ru-RU" sz="1600" dirty="0" err="1">
                <a:solidFill>
                  <a:srgbClr val="083966"/>
                </a:solidFill>
                <a:latin typeface="Montserrat" pitchFamily="2" charset="-52"/>
              </a:rPr>
              <a:t>както</a:t>
            </a:r>
            <a:r>
              <a:rPr lang="ru-RU" sz="1600" dirty="0">
                <a:solidFill>
                  <a:srgbClr val="083966"/>
                </a:solidFill>
                <a:latin typeface="Montserrat" pitchFamily="2" charset="-52"/>
              </a:rPr>
              <a:t> и </a:t>
            </a:r>
            <a:r>
              <a:rPr lang="ru-RU" sz="1600" dirty="0" err="1">
                <a:solidFill>
                  <a:srgbClr val="083966"/>
                </a:solidFill>
                <a:latin typeface="Montserrat" pitchFamily="2" charset="-52"/>
              </a:rPr>
              <a:t>всякакви</a:t>
            </a:r>
            <a:r>
              <a:rPr lang="ru-RU" sz="1600" dirty="0">
                <a:solidFill>
                  <a:srgbClr val="083966"/>
                </a:solidFill>
                <a:latin typeface="Montserrat" pitchFamily="2" charset="-52"/>
              </a:rPr>
              <a:t> </a:t>
            </a:r>
            <a:r>
              <a:rPr lang="ru-RU" sz="1600" dirty="0" err="1">
                <a:solidFill>
                  <a:srgbClr val="083966"/>
                </a:solidFill>
                <a:latin typeface="Montserrat" pitchFamily="2" charset="-52"/>
              </a:rPr>
              <a:t>допълнения</a:t>
            </a:r>
            <a:r>
              <a:rPr lang="ru-RU" sz="1600" dirty="0">
                <a:solidFill>
                  <a:srgbClr val="083966"/>
                </a:solidFill>
                <a:latin typeface="Montserrat" pitchFamily="2" charset="-52"/>
              </a:rPr>
              <a:t> към него, </a:t>
            </a:r>
            <a:r>
              <a:rPr lang="ru-RU" sz="1600" dirty="0" err="1">
                <a:solidFill>
                  <a:srgbClr val="083966"/>
                </a:solidFill>
                <a:latin typeface="Montserrat" pitchFamily="2" charset="-52"/>
              </a:rPr>
              <a:t>са</a:t>
            </a:r>
            <a:r>
              <a:rPr lang="ru-RU" sz="1600" dirty="0">
                <a:solidFill>
                  <a:srgbClr val="083966"/>
                </a:solidFill>
                <a:latin typeface="Montserrat" pitchFamily="2" charset="-52"/>
              </a:rPr>
              <a:t> </a:t>
            </a:r>
            <a:r>
              <a:rPr lang="ru-RU" sz="1600" dirty="0" err="1">
                <a:solidFill>
                  <a:srgbClr val="083966"/>
                </a:solidFill>
                <a:latin typeface="Montserrat" pitchFamily="2" charset="-52"/>
              </a:rPr>
              <a:t>валидни</a:t>
            </a:r>
            <a:r>
              <a:rPr lang="ru-RU" sz="1600" dirty="0">
                <a:solidFill>
                  <a:srgbClr val="083966"/>
                </a:solidFill>
                <a:latin typeface="Montserrat" pitchFamily="2" charset="-52"/>
              </a:rPr>
              <a:t> за </a:t>
            </a:r>
            <a:r>
              <a:rPr lang="ru-RU" sz="1600" dirty="0" err="1">
                <a:solidFill>
                  <a:srgbClr val="083966"/>
                </a:solidFill>
                <a:latin typeface="Montserrat" pitchFamily="2" charset="-52"/>
              </a:rPr>
              <a:t>публичното</a:t>
            </a:r>
            <a:r>
              <a:rPr lang="ru-RU" sz="1600" dirty="0">
                <a:solidFill>
                  <a:srgbClr val="083966"/>
                </a:solidFill>
                <a:latin typeface="Montserrat" pitchFamily="2" charset="-52"/>
              </a:rPr>
              <a:t> </a:t>
            </a:r>
            <a:r>
              <a:rPr lang="ru-RU" sz="1600" dirty="0" err="1">
                <a:solidFill>
                  <a:srgbClr val="083966"/>
                </a:solidFill>
                <a:latin typeface="Montserrat" pitchFamily="2" charset="-52"/>
              </a:rPr>
              <a:t>предлагане</a:t>
            </a:r>
            <a:r>
              <a:rPr lang="ru-RU" sz="1600" dirty="0">
                <a:solidFill>
                  <a:srgbClr val="083966"/>
                </a:solidFill>
                <a:latin typeface="Montserrat" pitchFamily="2" charset="-52"/>
              </a:rPr>
              <a:t> или </a:t>
            </a:r>
            <a:r>
              <a:rPr lang="ru-RU" sz="1600" dirty="0" err="1">
                <a:solidFill>
                  <a:srgbClr val="083966"/>
                </a:solidFill>
                <a:latin typeface="Montserrat" pitchFamily="2" charset="-52"/>
              </a:rPr>
              <a:t>допускането</a:t>
            </a:r>
            <a:r>
              <a:rPr lang="ru-RU" sz="1600" dirty="0">
                <a:solidFill>
                  <a:srgbClr val="083966"/>
                </a:solidFill>
                <a:latin typeface="Montserrat" pitchFamily="2" charset="-52"/>
              </a:rPr>
              <a:t> до </a:t>
            </a:r>
            <a:r>
              <a:rPr lang="ru-RU" sz="1600" dirty="0" err="1">
                <a:solidFill>
                  <a:srgbClr val="083966"/>
                </a:solidFill>
                <a:latin typeface="Montserrat" pitchFamily="2" charset="-52"/>
              </a:rPr>
              <a:t>търговия</a:t>
            </a:r>
            <a:r>
              <a:rPr lang="ru-RU" sz="1600" dirty="0">
                <a:solidFill>
                  <a:srgbClr val="083966"/>
                </a:solidFill>
                <a:latin typeface="Montserrat" pitchFamily="2" charset="-52"/>
              </a:rPr>
              <a:t> </a:t>
            </a:r>
            <a:r>
              <a:rPr lang="ru-RU" sz="1600" dirty="0" err="1">
                <a:solidFill>
                  <a:srgbClr val="083966"/>
                </a:solidFill>
                <a:latin typeface="Montserrat" pitchFamily="2" charset="-52"/>
              </a:rPr>
              <a:t>във</a:t>
            </a:r>
            <a:r>
              <a:rPr lang="ru-RU" sz="1600" dirty="0">
                <a:solidFill>
                  <a:srgbClr val="083966"/>
                </a:solidFill>
                <a:latin typeface="Montserrat" pitchFamily="2" charset="-52"/>
              </a:rPr>
              <a:t> </a:t>
            </a:r>
            <a:r>
              <a:rPr lang="ru-RU" sz="1600" dirty="0" err="1">
                <a:solidFill>
                  <a:srgbClr val="083966"/>
                </a:solidFill>
                <a:latin typeface="Montserrat" pitchFamily="2" charset="-52"/>
              </a:rPr>
              <a:t>всички</a:t>
            </a:r>
            <a:r>
              <a:rPr lang="ru-RU" sz="1600" dirty="0">
                <a:solidFill>
                  <a:srgbClr val="083966"/>
                </a:solidFill>
                <a:latin typeface="Montserrat" pitchFamily="2" charset="-52"/>
              </a:rPr>
              <a:t> </a:t>
            </a:r>
            <a:r>
              <a:rPr lang="ru-RU" sz="1600" dirty="0" err="1">
                <a:solidFill>
                  <a:srgbClr val="083966"/>
                </a:solidFill>
                <a:latin typeface="Montserrat" pitchFamily="2" charset="-52"/>
              </a:rPr>
              <a:t>приемащи</a:t>
            </a:r>
            <a:r>
              <a:rPr lang="ru-RU" sz="1600" dirty="0">
                <a:solidFill>
                  <a:srgbClr val="083966"/>
                </a:solidFill>
                <a:latin typeface="Montserrat" pitchFamily="2" charset="-52"/>
              </a:rPr>
              <a:t> </a:t>
            </a:r>
            <a:r>
              <a:rPr lang="ru-RU" sz="1600" dirty="0" err="1">
                <a:solidFill>
                  <a:srgbClr val="083966"/>
                </a:solidFill>
                <a:latin typeface="Montserrat" pitchFamily="2" charset="-52"/>
              </a:rPr>
              <a:t>държави</a:t>
            </a:r>
            <a:r>
              <a:rPr lang="ru-RU" sz="1600" dirty="0">
                <a:solidFill>
                  <a:srgbClr val="083966"/>
                </a:solidFill>
                <a:latin typeface="Montserrat" pitchFamily="2" charset="-52"/>
              </a:rPr>
              <a:t> членки, при условие че </a:t>
            </a:r>
            <a:r>
              <a:rPr lang="ru-RU" sz="1600" dirty="0" err="1">
                <a:solidFill>
                  <a:srgbClr val="083966"/>
                </a:solidFill>
                <a:latin typeface="Montserrat" pitchFamily="2" charset="-52"/>
              </a:rPr>
              <a:t>Европейският</a:t>
            </a:r>
            <a:r>
              <a:rPr lang="ru-RU" sz="1600" dirty="0">
                <a:solidFill>
                  <a:srgbClr val="083966"/>
                </a:solidFill>
                <a:latin typeface="Montserrat" pitchFamily="2" charset="-52"/>
              </a:rPr>
              <a:t> орган за </a:t>
            </a:r>
            <a:r>
              <a:rPr lang="ru-RU" sz="1600" dirty="0" err="1">
                <a:solidFill>
                  <a:srgbClr val="083966"/>
                </a:solidFill>
                <a:latin typeface="Montserrat" pitchFamily="2" charset="-52"/>
              </a:rPr>
              <a:t>ценни</a:t>
            </a:r>
            <a:r>
              <a:rPr lang="ru-RU" sz="1600" dirty="0">
                <a:solidFill>
                  <a:srgbClr val="083966"/>
                </a:solidFill>
                <a:latin typeface="Montserrat" pitchFamily="2" charset="-52"/>
              </a:rPr>
              <a:t> </a:t>
            </a:r>
            <a:r>
              <a:rPr lang="ru-RU" sz="1600" dirty="0" err="1">
                <a:solidFill>
                  <a:srgbClr val="083966"/>
                </a:solidFill>
                <a:latin typeface="Montserrat" pitchFamily="2" charset="-52"/>
              </a:rPr>
              <a:t>книжа</a:t>
            </a:r>
            <a:r>
              <a:rPr lang="ru-RU" sz="1600" dirty="0">
                <a:solidFill>
                  <a:srgbClr val="083966"/>
                </a:solidFill>
                <a:latin typeface="Montserrat" pitchFamily="2" charset="-52"/>
              </a:rPr>
              <a:t> и </a:t>
            </a:r>
            <a:r>
              <a:rPr lang="ru-RU" sz="1600" dirty="0" err="1">
                <a:solidFill>
                  <a:srgbClr val="083966"/>
                </a:solidFill>
                <a:latin typeface="Montserrat" pitchFamily="2" charset="-52"/>
              </a:rPr>
              <a:t>пазари</a:t>
            </a:r>
            <a:r>
              <a:rPr lang="ru-RU" sz="1600" dirty="0">
                <a:solidFill>
                  <a:srgbClr val="083966"/>
                </a:solidFill>
                <a:latin typeface="Montserrat" pitchFamily="2" charset="-52"/>
              </a:rPr>
              <a:t> и </a:t>
            </a:r>
            <a:r>
              <a:rPr lang="ru-RU" sz="1600" dirty="0" err="1">
                <a:solidFill>
                  <a:srgbClr val="083966"/>
                </a:solidFill>
                <a:latin typeface="Montserrat" pitchFamily="2" charset="-52"/>
              </a:rPr>
              <a:t>компетентният</a:t>
            </a:r>
            <a:r>
              <a:rPr lang="ru-RU" sz="1600" dirty="0">
                <a:solidFill>
                  <a:srgbClr val="083966"/>
                </a:solidFill>
                <a:latin typeface="Montserrat" pitchFamily="2" charset="-52"/>
              </a:rPr>
              <a:t> орган на всяка </a:t>
            </a:r>
            <a:r>
              <a:rPr lang="ru-RU" sz="1600" dirty="0" err="1">
                <a:solidFill>
                  <a:srgbClr val="083966"/>
                </a:solidFill>
                <a:latin typeface="Montserrat" pitchFamily="2" charset="-52"/>
              </a:rPr>
              <a:t>приемаща</a:t>
            </a:r>
            <a:r>
              <a:rPr lang="ru-RU" sz="1600" dirty="0">
                <a:solidFill>
                  <a:srgbClr val="083966"/>
                </a:solidFill>
                <a:latin typeface="Montserrat" pitchFamily="2" charset="-52"/>
              </a:rPr>
              <a:t> </a:t>
            </a:r>
            <a:r>
              <a:rPr lang="ru-RU" sz="1600" dirty="0" err="1">
                <a:solidFill>
                  <a:srgbClr val="083966"/>
                </a:solidFill>
                <a:latin typeface="Montserrat" pitchFamily="2" charset="-52"/>
              </a:rPr>
              <a:t>държава</a:t>
            </a:r>
            <a:r>
              <a:rPr lang="ru-RU" sz="1600" dirty="0">
                <a:solidFill>
                  <a:srgbClr val="083966"/>
                </a:solidFill>
                <a:latin typeface="Montserrat" pitchFamily="2" charset="-52"/>
              </a:rPr>
              <a:t> членка </a:t>
            </a:r>
            <a:r>
              <a:rPr lang="ru-RU" sz="1600" dirty="0" err="1">
                <a:solidFill>
                  <a:srgbClr val="083966"/>
                </a:solidFill>
                <a:latin typeface="Montserrat" pitchFamily="2" charset="-52"/>
              </a:rPr>
              <a:t>са</a:t>
            </a:r>
            <a:r>
              <a:rPr lang="ru-RU" sz="1600" dirty="0">
                <a:solidFill>
                  <a:srgbClr val="083966"/>
                </a:solidFill>
                <a:latin typeface="Montserrat" pitchFamily="2" charset="-52"/>
              </a:rPr>
              <a:t> </a:t>
            </a:r>
            <a:r>
              <a:rPr lang="ru-RU" sz="1600" dirty="0" err="1">
                <a:solidFill>
                  <a:srgbClr val="083966"/>
                </a:solidFill>
                <a:latin typeface="Montserrat" pitchFamily="2" charset="-52"/>
              </a:rPr>
              <a:t>уведомени</a:t>
            </a:r>
            <a:r>
              <a:rPr lang="ru-RU" sz="1600" dirty="0">
                <a:solidFill>
                  <a:srgbClr val="083966"/>
                </a:solidFill>
                <a:latin typeface="Montserrat" pitchFamily="2" charset="-52"/>
              </a:rPr>
              <a:t> в </a:t>
            </a:r>
            <a:r>
              <a:rPr lang="ru-RU" sz="1600" dirty="0" err="1">
                <a:solidFill>
                  <a:srgbClr val="083966"/>
                </a:solidFill>
                <a:latin typeface="Montserrat" pitchFamily="2" charset="-52"/>
              </a:rPr>
              <a:t>съответствие</a:t>
            </a:r>
            <a:r>
              <a:rPr lang="ru-RU" sz="1600" dirty="0">
                <a:solidFill>
                  <a:srgbClr val="083966"/>
                </a:solidFill>
                <a:latin typeface="Montserrat" pitchFamily="2" charset="-52"/>
              </a:rPr>
              <a:t> с член 25 от Регламент (ЕС) 2017/1129. </a:t>
            </a:r>
            <a:endParaRPr lang="bg-BG" sz="1600" dirty="0">
              <a:solidFill>
                <a:srgbClr val="083966"/>
              </a:solidFill>
              <a:latin typeface="Montserrat" pitchFamily="2" charset="-52"/>
            </a:endParaRPr>
          </a:p>
        </p:txBody>
      </p:sp>
      <p:sp>
        <p:nvSpPr>
          <p:cNvPr id="15" name="Pentagon 14"/>
          <p:cNvSpPr/>
          <p:nvPr/>
        </p:nvSpPr>
        <p:spPr>
          <a:xfrm rot="16200000">
            <a:off x="7268774" y="1265627"/>
            <a:ext cx="4103507" cy="5374992"/>
          </a:xfrm>
          <a:prstGeom prst="homePlate">
            <a:avLst>
              <a:gd name="adj" fmla="val 0"/>
            </a:avLst>
          </a:prstGeom>
          <a:solidFill>
            <a:srgbClr val="093C6B"/>
          </a:solidFill>
          <a:ln w="38100">
            <a:solidFill>
              <a:srgbClr val="093C6B"/>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6" name="Rectangle 5"/>
          <p:cNvSpPr/>
          <p:nvPr/>
        </p:nvSpPr>
        <p:spPr>
          <a:xfrm>
            <a:off x="6725388" y="2189237"/>
            <a:ext cx="5036457" cy="2308324"/>
          </a:xfrm>
          <a:prstGeom prst="rect">
            <a:avLst/>
          </a:prstGeom>
        </p:spPr>
        <p:txBody>
          <a:bodyPr wrap="square">
            <a:spAutoFit/>
          </a:bodyPr>
          <a:lstStyle/>
          <a:p>
            <a:pPr algn="just"/>
            <a:r>
              <a:rPr lang="ru-RU" dirty="0" err="1">
                <a:solidFill>
                  <a:schemeClr val="bg1"/>
                </a:solidFill>
                <a:latin typeface="Montserrat" pitchFamily="2" charset="-52"/>
              </a:rPr>
              <a:t>Компетентните</a:t>
            </a:r>
            <a:r>
              <a:rPr lang="ru-RU" dirty="0">
                <a:solidFill>
                  <a:schemeClr val="bg1"/>
                </a:solidFill>
                <a:latin typeface="Montserrat" pitchFamily="2" charset="-52"/>
              </a:rPr>
              <a:t> </a:t>
            </a:r>
            <a:r>
              <a:rPr lang="ru-RU" dirty="0" err="1">
                <a:solidFill>
                  <a:schemeClr val="bg1"/>
                </a:solidFill>
                <a:latin typeface="Montserrat" pitchFamily="2" charset="-52"/>
              </a:rPr>
              <a:t>органи</a:t>
            </a:r>
            <a:r>
              <a:rPr lang="ru-RU" dirty="0">
                <a:solidFill>
                  <a:schemeClr val="bg1"/>
                </a:solidFill>
                <a:latin typeface="Montserrat" pitchFamily="2" charset="-52"/>
              </a:rPr>
              <a:t> на </a:t>
            </a:r>
            <a:r>
              <a:rPr lang="ru-RU" dirty="0" err="1">
                <a:solidFill>
                  <a:schemeClr val="bg1"/>
                </a:solidFill>
                <a:latin typeface="Montserrat" pitchFamily="2" charset="-52"/>
              </a:rPr>
              <a:t>приемащите</a:t>
            </a:r>
            <a:r>
              <a:rPr lang="ru-RU" dirty="0">
                <a:solidFill>
                  <a:schemeClr val="bg1"/>
                </a:solidFill>
                <a:latin typeface="Montserrat" pitchFamily="2" charset="-52"/>
              </a:rPr>
              <a:t> </a:t>
            </a:r>
            <a:r>
              <a:rPr lang="ru-RU" dirty="0" err="1">
                <a:solidFill>
                  <a:schemeClr val="bg1"/>
                </a:solidFill>
                <a:latin typeface="Montserrat" pitchFamily="2" charset="-52"/>
              </a:rPr>
              <a:t>държави</a:t>
            </a:r>
            <a:r>
              <a:rPr lang="ru-RU" dirty="0">
                <a:solidFill>
                  <a:schemeClr val="bg1"/>
                </a:solidFill>
                <a:latin typeface="Montserrat" pitchFamily="2" charset="-52"/>
              </a:rPr>
              <a:t> </a:t>
            </a:r>
            <a:r>
              <a:rPr lang="ru-RU" dirty="0" err="1">
                <a:solidFill>
                  <a:schemeClr val="bg1"/>
                </a:solidFill>
                <a:latin typeface="Montserrat" pitchFamily="2" charset="-52"/>
              </a:rPr>
              <a:t>членки</a:t>
            </a:r>
            <a:r>
              <a:rPr lang="ru-RU" dirty="0">
                <a:solidFill>
                  <a:schemeClr val="bg1"/>
                </a:solidFill>
                <a:latin typeface="Montserrat" pitchFamily="2" charset="-52"/>
              </a:rPr>
              <a:t> не </a:t>
            </a:r>
            <a:r>
              <a:rPr lang="ru-RU" dirty="0" err="1">
                <a:solidFill>
                  <a:schemeClr val="bg1"/>
                </a:solidFill>
                <a:latin typeface="Montserrat" pitchFamily="2" charset="-52"/>
              </a:rPr>
              <a:t>предприемат</a:t>
            </a:r>
            <a:r>
              <a:rPr lang="ru-RU" dirty="0">
                <a:solidFill>
                  <a:schemeClr val="bg1"/>
                </a:solidFill>
                <a:latin typeface="Montserrat" pitchFamily="2" charset="-52"/>
              </a:rPr>
              <a:t> </a:t>
            </a:r>
            <a:r>
              <a:rPr lang="ru-RU" dirty="0" err="1">
                <a:solidFill>
                  <a:schemeClr val="bg1"/>
                </a:solidFill>
                <a:latin typeface="Montserrat" pitchFamily="2" charset="-52"/>
              </a:rPr>
              <a:t>процедури</a:t>
            </a:r>
            <a:r>
              <a:rPr lang="ru-RU" dirty="0">
                <a:solidFill>
                  <a:schemeClr val="bg1"/>
                </a:solidFill>
                <a:latin typeface="Montserrat" pitchFamily="2" charset="-52"/>
              </a:rPr>
              <a:t> по одобрение или </a:t>
            </a:r>
            <a:r>
              <a:rPr lang="ru-RU" dirty="0" err="1">
                <a:solidFill>
                  <a:schemeClr val="bg1"/>
                </a:solidFill>
                <a:latin typeface="Montserrat" pitchFamily="2" charset="-52"/>
              </a:rPr>
              <a:t>административни</a:t>
            </a:r>
            <a:r>
              <a:rPr lang="ru-RU" dirty="0">
                <a:solidFill>
                  <a:schemeClr val="bg1"/>
                </a:solidFill>
                <a:latin typeface="Montserrat" pitchFamily="2" charset="-52"/>
              </a:rPr>
              <a:t> </a:t>
            </a:r>
            <a:r>
              <a:rPr lang="ru-RU" dirty="0" err="1">
                <a:solidFill>
                  <a:schemeClr val="bg1"/>
                </a:solidFill>
                <a:latin typeface="Montserrat" pitchFamily="2" charset="-52"/>
              </a:rPr>
              <a:t>процедури</a:t>
            </a:r>
            <a:r>
              <a:rPr lang="ru-RU" dirty="0">
                <a:solidFill>
                  <a:schemeClr val="bg1"/>
                </a:solidFill>
                <a:latin typeface="Montserrat" pitchFamily="2" charset="-52"/>
              </a:rPr>
              <a:t> </a:t>
            </a:r>
            <a:r>
              <a:rPr lang="ru-RU" dirty="0" err="1">
                <a:solidFill>
                  <a:schemeClr val="bg1"/>
                </a:solidFill>
                <a:latin typeface="Montserrat" pitchFamily="2" charset="-52"/>
              </a:rPr>
              <a:t>във</a:t>
            </a:r>
            <a:r>
              <a:rPr lang="ru-RU" dirty="0">
                <a:solidFill>
                  <a:schemeClr val="bg1"/>
                </a:solidFill>
                <a:latin typeface="Montserrat" pitchFamily="2" charset="-52"/>
              </a:rPr>
              <a:t> </a:t>
            </a:r>
            <a:r>
              <a:rPr lang="ru-RU" dirty="0" err="1">
                <a:solidFill>
                  <a:schemeClr val="bg1"/>
                </a:solidFill>
                <a:latin typeface="Montserrat" pitchFamily="2" charset="-52"/>
              </a:rPr>
              <a:t>връзка</a:t>
            </a:r>
            <a:r>
              <a:rPr lang="ru-RU" dirty="0">
                <a:solidFill>
                  <a:schemeClr val="bg1"/>
                </a:solidFill>
                <a:latin typeface="Montserrat" pitchFamily="2" charset="-52"/>
              </a:rPr>
              <a:t> с </a:t>
            </a:r>
            <a:r>
              <a:rPr lang="ru-RU" dirty="0" err="1">
                <a:solidFill>
                  <a:schemeClr val="bg1"/>
                </a:solidFill>
                <a:latin typeface="Montserrat" pitchFamily="2" charset="-52"/>
              </a:rPr>
              <a:t>проспектите</a:t>
            </a:r>
            <a:r>
              <a:rPr lang="ru-RU" dirty="0">
                <a:solidFill>
                  <a:schemeClr val="bg1"/>
                </a:solidFill>
                <a:latin typeface="Montserrat" pitchFamily="2" charset="-52"/>
              </a:rPr>
              <a:t> и </a:t>
            </a:r>
            <a:r>
              <a:rPr lang="ru-RU" dirty="0" err="1">
                <a:solidFill>
                  <a:schemeClr val="bg1"/>
                </a:solidFill>
                <a:latin typeface="Montserrat" pitchFamily="2" charset="-52"/>
              </a:rPr>
              <a:t>допълненията</a:t>
            </a:r>
            <a:r>
              <a:rPr lang="ru-RU" dirty="0">
                <a:solidFill>
                  <a:schemeClr val="bg1"/>
                </a:solidFill>
                <a:latin typeface="Montserrat" pitchFamily="2" charset="-52"/>
              </a:rPr>
              <a:t>, </a:t>
            </a:r>
            <a:r>
              <a:rPr lang="ru-RU" dirty="0" err="1">
                <a:solidFill>
                  <a:schemeClr val="bg1"/>
                </a:solidFill>
                <a:latin typeface="Montserrat" pitchFamily="2" charset="-52"/>
              </a:rPr>
              <a:t>одобрени</a:t>
            </a:r>
            <a:r>
              <a:rPr lang="ru-RU" dirty="0">
                <a:solidFill>
                  <a:schemeClr val="bg1"/>
                </a:solidFill>
                <a:latin typeface="Montserrat" pitchFamily="2" charset="-52"/>
              </a:rPr>
              <a:t> от </a:t>
            </a:r>
            <a:r>
              <a:rPr lang="ru-RU" dirty="0" err="1">
                <a:solidFill>
                  <a:schemeClr val="bg1"/>
                </a:solidFill>
                <a:latin typeface="Montserrat" pitchFamily="2" charset="-52"/>
              </a:rPr>
              <a:t>компетентните</a:t>
            </a:r>
            <a:r>
              <a:rPr lang="ru-RU" dirty="0">
                <a:solidFill>
                  <a:schemeClr val="bg1"/>
                </a:solidFill>
                <a:latin typeface="Montserrat" pitchFamily="2" charset="-52"/>
              </a:rPr>
              <a:t> </a:t>
            </a:r>
            <a:r>
              <a:rPr lang="ru-RU" dirty="0" err="1">
                <a:solidFill>
                  <a:schemeClr val="bg1"/>
                </a:solidFill>
                <a:latin typeface="Montserrat" pitchFamily="2" charset="-52"/>
              </a:rPr>
              <a:t>органи</a:t>
            </a:r>
            <a:r>
              <a:rPr lang="ru-RU" dirty="0">
                <a:solidFill>
                  <a:schemeClr val="bg1"/>
                </a:solidFill>
                <a:latin typeface="Montserrat" pitchFamily="2" charset="-52"/>
              </a:rPr>
              <a:t> на </a:t>
            </a:r>
            <a:r>
              <a:rPr lang="ru-RU" dirty="0" err="1">
                <a:solidFill>
                  <a:schemeClr val="bg1"/>
                </a:solidFill>
                <a:latin typeface="Montserrat" pitchFamily="2" charset="-52"/>
              </a:rPr>
              <a:t>други</a:t>
            </a:r>
            <a:r>
              <a:rPr lang="ru-RU" dirty="0">
                <a:solidFill>
                  <a:schemeClr val="bg1"/>
                </a:solidFill>
                <a:latin typeface="Montserrat" pitchFamily="2" charset="-52"/>
              </a:rPr>
              <a:t> </a:t>
            </a:r>
            <a:r>
              <a:rPr lang="ru-RU" dirty="0" err="1">
                <a:solidFill>
                  <a:schemeClr val="bg1"/>
                </a:solidFill>
                <a:latin typeface="Montserrat" pitchFamily="2" charset="-52"/>
              </a:rPr>
              <a:t>държави</a:t>
            </a:r>
            <a:r>
              <a:rPr lang="ru-RU" dirty="0">
                <a:solidFill>
                  <a:schemeClr val="bg1"/>
                </a:solidFill>
                <a:latin typeface="Montserrat" pitchFamily="2" charset="-52"/>
              </a:rPr>
              <a:t> </a:t>
            </a:r>
            <a:r>
              <a:rPr lang="ru-RU" dirty="0" err="1">
                <a:solidFill>
                  <a:schemeClr val="bg1"/>
                </a:solidFill>
                <a:latin typeface="Montserrat" pitchFamily="2" charset="-52"/>
              </a:rPr>
              <a:t>членки</a:t>
            </a:r>
            <a:r>
              <a:rPr lang="ru-RU" dirty="0">
                <a:solidFill>
                  <a:schemeClr val="bg1"/>
                </a:solidFill>
                <a:latin typeface="Montserrat" pitchFamily="2" charset="-52"/>
              </a:rPr>
              <a:t>, и </a:t>
            </a:r>
            <a:r>
              <a:rPr lang="ru-RU" dirty="0" err="1">
                <a:solidFill>
                  <a:schemeClr val="bg1"/>
                </a:solidFill>
                <a:latin typeface="Montserrat" pitchFamily="2" charset="-52"/>
              </a:rPr>
              <a:t>които</a:t>
            </a:r>
            <a:r>
              <a:rPr lang="ru-RU" dirty="0">
                <a:solidFill>
                  <a:schemeClr val="bg1"/>
                </a:solidFill>
                <a:latin typeface="Montserrat" pitchFamily="2" charset="-52"/>
              </a:rPr>
              <a:t> </a:t>
            </a:r>
            <a:r>
              <a:rPr lang="ru-RU" dirty="0" err="1">
                <a:solidFill>
                  <a:schemeClr val="bg1"/>
                </a:solidFill>
                <a:latin typeface="Montserrat" pitchFamily="2" charset="-52"/>
              </a:rPr>
              <a:t>са</a:t>
            </a:r>
            <a:r>
              <a:rPr lang="ru-RU" dirty="0">
                <a:solidFill>
                  <a:schemeClr val="bg1"/>
                </a:solidFill>
                <a:latin typeface="Montserrat" pitchFamily="2" charset="-52"/>
              </a:rPr>
              <a:t> свързани с </a:t>
            </a:r>
            <a:r>
              <a:rPr lang="ru-RU" dirty="0" err="1">
                <a:solidFill>
                  <a:schemeClr val="bg1"/>
                </a:solidFill>
                <a:latin typeface="Montserrat" pitchFamily="2" charset="-52"/>
              </a:rPr>
              <a:t>окончателните</a:t>
            </a:r>
            <a:r>
              <a:rPr lang="ru-RU" dirty="0">
                <a:solidFill>
                  <a:schemeClr val="bg1"/>
                </a:solidFill>
                <a:latin typeface="Montserrat" pitchFamily="2" charset="-52"/>
              </a:rPr>
              <a:t> условия.</a:t>
            </a:r>
            <a:endParaRPr lang="bg-BG" dirty="0">
              <a:solidFill>
                <a:schemeClr val="bg1"/>
              </a:solidFill>
              <a:latin typeface="Montserrat" pitchFamily="2" charset="-52"/>
            </a:endParaRPr>
          </a:p>
        </p:txBody>
      </p:sp>
      <p:sp>
        <p:nvSpPr>
          <p:cNvPr id="3" name="Arrow: Left-Right 2">
            <a:extLst>
              <a:ext uri="{FF2B5EF4-FFF2-40B4-BE49-F238E27FC236}">
                <a16:creationId xmlns:a16="http://schemas.microsoft.com/office/drawing/2014/main" id="{E1C6FF00-8A48-88C8-27B7-B23EA30906A8}"/>
              </a:ext>
            </a:extLst>
          </p:cNvPr>
          <p:cNvSpPr/>
          <p:nvPr/>
        </p:nvSpPr>
        <p:spPr>
          <a:xfrm>
            <a:off x="5954555" y="5161270"/>
            <a:ext cx="1148514" cy="607644"/>
          </a:xfrm>
          <a:prstGeom prst="leftRightArrow">
            <a:avLst/>
          </a:prstGeom>
          <a:solidFill>
            <a:srgbClr val="F9F9F9"/>
          </a:solidFill>
          <a:ln w="38100">
            <a:solidFill>
              <a:srgbClr val="093C6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131552" y="6292745"/>
            <a:ext cx="1876472" cy="361108"/>
          </a:xfrm>
          <a:prstGeom prst="rect">
            <a:avLst/>
          </a:prstGeom>
        </p:spPr>
      </p:pic>
    </p:spTree>
    <p:extLst>
      <p:ext uri="{BB962C8B-B14F-4D97-AF65-F5344CB8AC3E}">
        <p14:creationId xmlns:p14="http://schemas.microsoft.com/office/powerpoint/2010/main" val="397186744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0800000">
            <a:off x="0" y="149064"/>
            <a:ext cx="12192003" cy="6858000"/>
          </a:xfrm>
          <a:prstGeom prst="rect">
            <a:avLst/>
          </a:prstGeom>
        </p:spPr>
      </p:pic>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t="35327" b="35532"/>
          <a:stretch/>
        </p:blipFill>
        <p:spPr>
          <a:xfrm>
            <a:off x="0" y="0"/>
            <a:ext cx="12192000" cy="1715678"/>
          </a:xfrm>
          <a:prstGeom prst="rect">
            <a:avLst/>
          </a:prstGeom>
        </p:spPr>
      </p:pic>
      <p:sp>
        <p:nvSpPr>
          <p:cNvPr id="5" name="TextBox 4"/>
          <p:cNvSpPr txBox="1"/>
          <p:nvPr/>
        </p:nvSpPr>
        <p:spPr>
          <a:xfrm>
            <a:off x="338540" y="171682"/>
            <a:ext cx="9192785" cy="830997"/>
          </a:xfrm>
          <a:prstGeom prst="rect">
            <a:avLst/>
          </a:prstGeom>
          <a:noFill/>
        </p:spPr>
        <p:txBody>
          <a:bodyPr wrap="square" rtlCol="0">
            <a:spAutoFit/>
          </a:bodyPr>
          <a:lstStyle/>
          <a:p>
            <a:r>
              <a:rPr lang="en-US" sz="2400" dirty="0">
                <a:solidFill>
                  <a:schemeClr val="bg1"/>
                </a:solidFill>
                <a:latin typeface="Montserrat Black" pitchFamily="2" charset="-52"/>
              </a:rPr>
              <a:t>I. </a:t>
            </a:r>
            <a:r>
              <a:rPr lang="bg-BG" sz="2400" dirty="0">
                <a:solidFill>
                  <a:schemeClr val="bg1"/>
                </a:solidFill>
                <a:latin typeface="Montserrat Black" pitchFamily="2" charset="-52"/>
              </a:rPr>
              <a:t>КОМУНИКАЦИЯ МЕЖДУ РЕГУЛАТОРИТЕ И РЕГУЛАТОРНИ ПРОЦЕДУРИ</a:t>
            </a:r>
          </a:p>
        </p:txBody>
      </p:sp>
      <p:sp>
        <p:nvSpPr>
          <p:cNvPr id="8" name="TextBox 7"/>
          <p:cNvSpPr txBox="1"/>
          <p:nvPr/>
        </p:nvSpPr>
        <p:spPr>
          <a:xfrm>
            <a:off x="338539" y="898984"/>
            <a:ext cx="9192785" cy="646331"/>
          </a:xfrm>
          <a:prstGeom prst="rect">
            <a:avLst/>
          </a:prstGeom>
          <a:noFill/>
        </p:spPr>
        <p:txBody>
          <a:bodyPr wrap="square" rtlCol="0">
            <a:spAutoFit/>
          </a:bodyPr>
          <a:lstStyle/>
          <a:p>
            <a:r>
              <a:rPr lang="ru-RU" dirty="0" err="1">
                <a:solidFill>
                  <a:schemeClr val="bg1"/>
                </a:solidFill>
                <a:latin typeface="Montserrat" pitchFamily="2" charset="-52"/>
              </a:rPr>
              <a:t>Уведомяване</a:t>
            </a:r>
            <a:r>
              <a:rPr lang="ru-RU" dirty="0">
                <a:solidFill>
                  <a:schemeClr val="bg1"/>
                </a:solidFill>
                <a:latin typeface="Montserrat" pitchFamily="2" charset="-52"/>
              </a:rPr>
              <a:t> </a:t>
            </a:r>
            <a:r>
              <a:rPr lang="ru-RU" dirty="0" err="1">
                <a:solidFill>
                  <a:schemeClr val="bg1"/>
                </a:solidFill>
                <a:latin typeface="Montserrat" pitchFamily="2" charset="-52"/>
              </a:rPr>
              <a:t>относно</a:t>
            </a:r>
            <a:r>
              <a:rPr lang="ru-RU" dirty="0">
                <a:solidFill>
                  <a:schemeClr val="bg1"/>
                </a:solidFill>
                <a:latin typeface="Montserrat" pitchFamily="2" charset="-52"/>
              </a:rPr>
              <a:t> </a:t>
            </a:r>
            <a:r>
              <a:rPr lang="ru-RU" dirty="0" err="1">
                <a:solidFill>
                  <a:schemeClr val="bg1"/>
                </a:solidFill>
                <a:latin typeface="Montserrat" pitchFamily="2" charset="-52"/>
              </a:rPr>
              <a:t>проспектите</a:t>
            </a:r>
            <a:r>
              <a:rPr lang="ru-RU" dirty="0">
                <a:solidFill>
                  <a:schemeClr val="bg1"/>
                </a:solidFill>
                <a:latin typeface="Montserrat" pitchFamily="2" charset="-52"/>
              </a:rPr>
              <a:t> и </a:t>
            </a:r>
            <a:r>
              <a:rPr lang="ru-RU" dirty="0" err="1">
                <a:solidFill>
                  <a:schemeClr val="bg1"/>
                </a:solidFill>
                <a:latin typeface="Montserrat" pitchFamily="2" charset="-52"/>
              </a:rPr>
              <a:t>допълненията</a:t>
            </a:r>
            <a:r>
              <a:rPr lang="ru-RU" dirty="0">
                <a:solidFill>
                  <a:schemeClr val="bg1"/>
                </a:solidFill>
                <a:latin typeface="Montserrat" pitchFamily="2" charset="-52"/>
              </a:rPr>
              <a:t> при </a:t>
            </a:r>
            <a:r>
              <a:rPr lang="ru-RU" dirty="0" err="1">
                <a:solidFill>
                  <a:schemeClr val="bg1"/>
                </a:solidFill>
                <a:latin typeface="Montserrat" pitchFamily="2" charset="-52"/>
              </a:rPr>
              <a:t>трансгранично</a:t>
            </a:r>
            <a:r>
              <a:rPr lang="ru-RU" dirty="0">
                <a:solidFill>
                  <a:schemeClr val="bg1"/>
                </a:solidFill>
                <a:latin typeface="Montserrat" pitchFamily="2" charset="-52"/>
              </a:rPr>
              <a:t> </a:t>
            </a:r>
            <a:r>
              <a:rPr lang="ru-RU" dirty="0" err="1">
                <a:solidFill>
                  <a:schemeClr val="bg1"/>
                </a:solidFill>
                <a:latin typeface="Montserrat" pitchFamily="2" charset="-52"/>
              </a:rPr>
              <a:t>предлагане</a:t>
            </a:r>
            <a:r>
              <a:rPr lang="ru-RU" dirty="0">
                <a:solidFill>
                  <a:schemeClr val="bg1"/>
                </a:solidFill>
                <a:latin typeface="Montserrat" pitchFamily="2" charset="-52"/>
              </a:rPr>
              <a:t> и </a:t>
            </a:r>
            <a:r>
              <a:rPr lang="ru-RU" dirty="0" err="1">
                <a:solidFill>
                  <a:schemeClr val="bg1"/>
                </a:solidFill>
                <a:latin typeface="Montserrat" pitchFamily="2" charset="-52"/>
              </a:rPr>
              <a:t>допускане</a:t>
            </a:r>
            <a:r>
              <a:rPr lang="ru-RU" dirty="0">
                <a:solidFill>
                  <a:schemeClr val="bg1"/>
                </a:solidFill>
                <a:latin typeface="Montserrat" pitchFamily="2" charset="-52"/>
              </a:rPr>
              <a:t> до </a:t>
            </a:r>
            <a:r>
              <a:rPr lang="ru-RU" dirty="0" err="1">
                <a:solidFill>
                  <a:schemeClr val="bg1"/>
                </a:solidFill>
                <a:latin typeface="Montserrat" pitchFamily="2" charset="-52"/>
              </a:rPr>
              <a:t>търговия</a:t>
            </a:r>
            <a:r>
              <a:rPr lang="ru-RU" dirty="0">
                <a:solidFill>
                  <a:schemeClr val="bg1"/>
                </a:solidFill>
                <a:latin typeface="Montserrat" pitchFamily="2" charset="-52"/>
              </a:rPr>
              <a:t> на </a:t>
            </a:r>
            <a:r>
              <a:rPr lang="ru-RU" dirty="0" err="1">
                <a:solidFill>
                  <a:schemeClr val="bg1"/>
                </a:solidFill>
                <a:latin typeface="Montserrat" pitchFamily="2" charset="-52"/>
              </a:rPr>
              <a:t>регулиран</a:t>
            </a:r>
            <a:r>
              <a:rPr lang="ru-RU" dirty="0">
                <a:solidFill>
                  <a:schemeClr val="bg1"/>
                </a:solidFill>
                <a:latin typeface="Montserrat" pitchFamily="2" charset="-52"/>
              </a:rPr>
              <a:t> </a:t>
            </a:r>
            <a:r>
              <a:rPr lang="ru-RU" dirty="0" err="1">
                <a:solidFill>
                  <a:schemeClr val="bg1"/>
                </a:solidFill>
                <a:latin typeface="Montserrat" pitchFamily="2" charset="-52"/>
              </a:rPr>
              <a:t>пазар</a:t>
            </a:r>
            <a:endParaRPr lang="bg-BG" dirty="0">
              <a:solidFill>
                <a:schemeClr val="bg1"/>
              </a:solidFill>
              <a:latin typeface="Montserrat" pitchFamily="2" charset="-52"/>
            </a:endParaRPr>
          </a:p>
        </p:txBody>
      </p:sp>
      <p:pic>
        <p:nvPicPr>
          <p:cNvPr id="19" name="Picture 18"/>
          <p:cNvPicPr>
            <a:picLocks noChangeAspect="1"/>
          </p:cNvPicPr>
          <p:nvPr/>
        </p:nvPicPr>
        <p:blipFill>
          <a:blip r:embed="rId4" cstate="print">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rot="16200000">
            <a:off x="-2013556" y="2065263"/>
            <a:ext cx="4141411" cy="4141411"/>
          </a:xfrm>
          <a:prstGeom prst="rect">
            <a:avLst/>
          </a:prstGeom>
        </p:spPr>
      </p:pic>
      <p:sp>
        <p:nvSpPr>
          <p:cNvPr id="20" name="Oval 19"/>
          <p:cNvSpPr/>
          <p:nvPr/>
        </p:nvSpPr>
        <p:spPr>
          <a:xfrm>
            <a:off x="1701578" y="2904285"/>
            <a:ext cx="141729" cy="141729"/>
          </a:xfrm>
          <a:prstGeom prst="ellipse">
            <a:avLst/>
          </a:prstGeom>
          <a:solidFill>
            <a:srgbClr val="0329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18" name="Rectangle 17"/>
          <p:cNvSpPr/>
          <p:nvPr/>
        </p:nvSpPr>
        <p:spPr>
          <a:xfrm>
            <a:off x="72581" y="3524779"/>
            <a:ext cx="1899255" cy="1077218"/>
          </a:xfrm>
          <a:prstGeom prst="rect">
            <a:avLst/>
          </a:prstGeom>
        </p:spPr>
        <p:txBody>
          <a:bodyPr wrap="square">
            <a:spAutoFit/>
          </a:bodyPr>
          <a:lstStyle/>
          <a:p>
            <a:r>
              <a:rPr lang="ru-RU" sz="1600" dirty="0" err="1">
                <a:solidFill>
                  <a:schemeClr val="bg1"/>
                </a:solidFill>
                <a:latin typeface="Montserrat ExtraBold" pitchFamily="2" charset="-52"/>
              </a:rPr>
              <a:t>Уведомяване</a:t>
            </a:r>
            <a:r>
              <a:rPr lang="ru-RU" sz="1600" dirty="0">
                <a:solidFill>
                  <a:schemeClr val="bg1"/>
                </a:solidFill>
                <a:latin typeface="Montserrat ExtraBold" pitchFamily="2" charset="-52"/>
              </a:rPr>
              <a:t> </a:t>
            </a:r>
            <a:r>
              <a:rPr lang="ru-RU" sz="1600" dirty="0" err="1">
                <a:solidFill>
                  <a:schemeClr val="bg1"/>
                </a:solidFill>
                <a:latin typeface="Montserrat ExtraBold" pitchFamily="2" charset="-52"/>
              </a:rPr>
              <a:t>относно</a:t>
            </a:r>
            <a:r>
              <a:rPr lang="ru-RU" sz="1600" dirty="0">
                <a:solidFill>
                  <a:schemeClr val="bg1"/>
                </a:solidFill>
                <a:latin typeface="Montserrat ExtraBold" pitchFamily="2" charset="-52"/>
              </a:rPr>
              <a:t> </a:t>
            </a:r>
            <a:r>
              <a:rPr lang="ru-RU" sz="1600" dirty="0" err="1">
                <a:solidFill>
                  <a:schemeClr val="bg1"/>
                </a:solidFill>
                <a:latin typeface="Montserrat ExtraBold" pitchFamily="2" charset="-52"/>
              </a:rPr>
              <a:t>проспектите</a:t>
            </a:r>
            <a:r>
              <a:rPr lang="ru-RU" sz="1600" dirty="0">
                <a:solidFill>
                  <a:schemeClr val="bg1"/>
                </a:solidFill>
                <a:latin typeface="Montserrat ExtraBold" pitchFamily="2" charset="-52"/>
              </a:rPr>
              <a:t> и </a:t>
            </a:r>
            <a:r>
              <a:rPr lang="ru-RU" sz="1600" dirty="0" err="1">
                <a:solidFill>
                  <a:schemeClr val="bg1"/>
                </a:solidFill>
                <a:latin typeface="Montserrat ExtraBold" pitchFamily="2" charset="-52"/>
              </a:rPr>
              <a:t>допълненията</a:t>
            </a:r>
            <a:r>
              <a:rPr lang="ru-RU" sz="1600" dirty="0">
                <a:solidFill>
                  <a:schemeClr val="bg1"/>
                </a:solidFill>
                <a:latin typeface="Montserrat ExtraBold" pitchFamily="2" charset="-52"/>
              </a:rPr>
              <a:t> </a:t>
            </a:r>
            <a:endParaRPr lang="bg-BG" sz="1600" dirty="0">
              <a:latin typeface="Montserrat ExtraBold" pitchFamily="2" charset="-52"/>
            </a:endParaRPr>
          </a:p>
        </p:txBody>
      </p:sp>
      <p:grpSp>
        <p:nvGrpSpPr>
          <p:cNvPr id="34" name="Group 33"/>
          <p:cNvGrpSpPr/>
          <p:nvPr/>
        </p:nvGrpSpPr>
        <p:grpSpPr>
          <a:xfrm>
            <a:off x="1736644" y="2026534"/>
            <a:ext cx="9648388" cy="1434981"/>
            <a:chOff x="1736644" y="2026534"/>
            <a:chExt cx="9648388" cy="1434981"/>
          </a:xfrm>
        </p:grpSpPr>
        <p:sp>
          <p:nvSpPr>
            <p:cNvPr id="3" name="Rectangle 2"/>
            <p:cNvSpPr/>
            <p:nvPr/>
          </p:nvSpPr>
          <p:spPr>
            <a:xfrm>
              <a:off x="2322574" y="2026534"/>
              <a:ext cx="8865042" cy="1323439"/>
            </a:xfrm>
            <a:prstGeom prst="rect">
              <a:avLst/>
            </a:prstGeom>
          </p:spPr>
          <p:txBody>
            <a:bodyPr wrap="square">
              <a:spAutoFit/>
            </a:bodyPr>
            <a:lstStyle/>
            <a:p>
              <a:r>
                <a:rPr lang="bg-BG" sz="1600" dirty="0">
                  <a:solidFill>
                    <a:srgbClr val="083966"/>
                  </a:solidFill>
                  <a:latin typeface="Montserrat" pitchFamily="2" charset="-52"/>
                </a:rPr>
                <a:t>Компетентният орган на държавата членка по произход в рамките на 1 работен ден след получаването на такова искане или, когато искането е представено едновременно с проекта за проспект, в рамките на 1 работен ден след одобрението на проспекта, уведомява компетентния орган на приемащата държава членка чрез удостоверение за одобрение</a:t>
              </a:r>
              <a:r>
                <a:rPr lang="en-US" sz="1600" dirty="0">
                  <a:solidFill>
                    <a:srgbClr val="083966"/>
                  </a:solidFill>
                  <a:latin typeface="Montserrat" pitchFamily="2" charset="-52"/>
                </a:rPr>
                <a:t>.</a:t>
              </a:r>
              <a:endParaRPr lang="bg-BG" sz="1600" dirty="0">
                <a:solidFill>
                  <a:srgbClr val="083966"/>
                </a:solidFill>
                <a:latin typeface="Montserrat" pitchFamily="2" charset="-52"/>
              </a:endParaRPr>
            </a:p>
          </p:txBody>
        </p:sp>
        <p:grpSp>
          <p:nvGrpSpPr>
            <p:cNvPr id="6" name="Group 5"/>
            <p:cNvGrpSpPr/>
            <p:nvPr/>
          </p:nvGrpSpPr>
          <p:grpSpPr>
            <a:xfrm>
              <a:off x="1736644" y="2975150"/>
              <a:ext cx="9648388" cy="486365"/>
              <a:chOff x="1736644" y="2975150"/>
              <a:chExt cx="9648388" cy="486365"/>
            </a:xfrm>
          </p:grpSpPr>
          <p:cxnSp>
            <p:nvCxnSpPr>
              <p:cNvPr id="2" name="Straight Connector 1">
                <a:extLst>
                  <a:ext uri="{FF2B5EF4-FFF2-40B4-BE49-F238E27FC236}">
                    <a16:creationId xmlns:a16="http://schemas.microsoft.com/office/drawing/2014/main" id="{78F4B401-C15D-A4C1-79B0-3BDB248D7D22}"/>
                  </a:ext>
                </a:extLst>
              </p:cNvPr>
              <p:cNvCxnSpPr>
                <a:cxnSpLocks/>
              </p:cNvCxnSpPr>
              <p:nvPr/>
            </p:nvCxnSpPr>
            <p:spPr>
              <a:xfrm>
                <a:off x="1736644" y="2975150"/>
                <a:ext cx="301382" cy="0"/>
              </a:xfrm>
              <a:prstGeom prst="line">
                <a:avLst/>
              </a:prstGeom>
              <a:ln w="19050">
                <a:solidFill>
                  <a:srgbClr val="02295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CCAEDF3-5A52-2B67-1633-6005DDB35F29}"/>
                  </a:ext>
                </a:extLst>
              </p:cNvPr>
              <p:cNvCxnSpPr/>
              <p:nvPr/>
            </p:nvCxnSpPr>
            <p:spPr>
              <a:xfrm>
                <a:off x="2038026" y="2975151"/>
                <a:ext cx="336429" cy="415499"/>
              </a:xfrm>
              <a:prstGeom prst="line">
                <a:avLst/>
              </a:prstGeom>
              <a:ln w="19050">
                <a:solidFill>
                  <a:srgbClr val="02295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0D09BA9-0900-E79D-D431-F1621563A73E}"/>
                  </a:ext>
                </a:extLst>
              </p:cNvPr>
              <p:cNvCxnSpPr>
                <a:cxnSpLocks/>
              </p:cNvCxnSpPr>
              <p:nvPr/>
            </p:nvCxnSpPr>
            <p:spPr>
              <a:xfrm>
                <a:off x="2374455" y="3390650"/>
                <a:ext cx="8868848" cy="0"/>
              </a:xfrm>
              <a:prstGeom prst="line">
                <a:avLst/>
              </a:prstGeom>
              <a:ln w="19050">
                <a:solidFill>
                  <a:srgbClr val="022952"/>
                </a:solidFill>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07985217-7A5E-9922-E183-14A1332F9248}"/>
                  </a:ext>
                </a:extLst>
              </p:cNvPr>
              <p:cNvSpPr/>
              <p:nvPr/>
            </p:nvSpPr>
            <p:spPr>
              <a:xfrm>
                <a:off x="11243303" y="3319786"/>
                <a:ext cx="141729" cy="141729"/>
              </a:xfrm>
              <a:prstGeom prst="ellipse">
                <a:avLst/>
              </a:prstGeom>
              <a:solidFill>
                <a:srgbClr val="022A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grpSp>
        <p:nvGrpSpPr>
          <p:cNvPr id="33" name="Group 32"/>
          <p:cNvGrpSpPr/>
          <p:nvPr/>
        </p:nvGrpSpPr>
        <p:grpSpPr>
          <a:xfrm>
            <a:off x="2027680" y="3685989"/>
            <a:ext cx="9607328" cy="643052"/>
            <a:chOff x="2027680" y="3685989"/>
            <a:chExt cx="9607328" cy="643052"/>
          </a:xfrm>
        </p:grpSpPr>
        <p:sp>
          <p:nvSpPr>
            <p:cNvPr id="4" name="Rectangle 3"/>
            <p:cNvSpPr/>
            <p:nvPr/>
          </p:nvSpPr>
          <p:spPr>
            <a:xfrm>
              <a:off x="2686413" y="3685989"/>
              <a:ext cx="8726416" cy="584775"/>
            </a:xfrm>
            <a:prstGeom prst="rect">
              <a:avLst/>
            </a:prstGeom>
          </p:spPr>
          <p:txBody>
            <a:bodyPr wrap="square">
              <a:spAutoFit/>
            </a:bodyPr>
            <a:lstStyle/>
            <a:p>
              <a:r>
                <a:rPr lang="bg-BG" sz="1600" dirty="0">
                  <a:solidFill>
                    <a:srgbClr val="083966"/>
                  </a:solidFill>
                  <a:latin typeface="Montserrat" pitchFamily="2" charset="-52"/>
                </a:rPr>
                <a:t>Потвърждение, че проспектът е бил изготвен в съответствие с Регламент (ЕС) 2017/1129, както и чрез предоставяне на електронно копие на този проспект.</a:t>
              </a:r>
            </a:p>
          </p:txBody>
        </p:sp>
        <p:grpSp>
          <p:nvGrpSpPr>
            <p:cNvPr id="23" name="Group 22"/>
            <p:cNvGrpSpPr/>
            <p:nvPr/>
          </p:nvGrpSpPr>
          <p:grpSpPr>
            <a:xfrm>
              <a:off x="2027680" y="3787957"/>
              <a:ext cx="9607328" cy="541084"/>
              <a:chOff x="2027680" y="3787957"/>
              <a:chExt cx="9607328" cy="541084"/>
            </a:xfrm>
          </p:grpSpPr>
          <p:grpSp>
            <p:nvGrpSpPr>
              <p:cNvPr id="15" name="Group 14"/>
              <p:cNvGrpSpPr/>
              <p:nvPr/>
            </p:nvGrpSpPr>
            <p:grpSpPr>
              <a:xfrm>
                <a:off x="2027680" y="3787957"/>
                <a:ext cx="9576155" cy="486365"/>
                <a:chOff x="2027680" y="3787957"/>
                <a:chExt cx="9576155" cy="486365"/>
              </a:xfrm>
            </p:grpSpPr>
            <p:sp>
              <p:nvSpPr>
                <p:cNvPr id="21" name="Oval 20"/>
                <p:cNvSpPr/>
                <p:nvPr/>
              </p:nvSpPr>
              <p:spPr>
                <a:xfrm>
                  <a:off x="2027680" y="3787957"/>
                  <a:ext cx="141729" cy="141729"/>
                </a:xfrm>
                <a:prstGeom prst="ellipse">
                  <a:avLst/>
                </a:prstGeom>
                <a:solidFill>
                  <a:srgbClr val="0B43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nvGrpSpPr>
                <p:cNvPr id="31" name="Group 30">
                  <a:extLst>
                    <a:ext uri="{FF2B5EF4-FFF2-40B4-BE49-F238E27FC236}">
                      <a16:creationId xmlns:a16="http://schemas.microsoft.com/office/drawing/2014/main" id="{5EA48C20-0044-FDD2-3C9A-1387AF22A1F7}"/>
                    </a:ext>
                  </a:extLst>
                </p:cNvPr>
                <p:cNvGrpSpPr/>
                <p:nvPr/>
              </p:nvGrpSpPr>
              <p:grpSpPr>
                <a:xfrm>
                  <a:off x="2097176" y="3858822"/>
                  <a:ext cx="9506659" cy="415500"/>
                  <a:chOff x="2097176" y="3858822"/>
                  <a:chExt cx="9506659" cy="415500"/>
                </a:xfrm>
              </p:grpSpPr>
              <p:cxnSp>
                <p:nvCxnSpPr>
                  <p:cNvPr id="17" name="Straight Connector 16">
                    <a:extLst>
                      <a:ext uri="{FF2B5EF4-FFF2-40B4-BE49-F238E27FC236}">
                        <a16:creationId xmlns:a16="http://schemas.microsoft.com/office/drawing/2014/main" id="{0C3D7060-F789-F1A7-5122-2BC12B41A342}"/>
                      </a:ext>
                    </a:extLst>
                  </p:cNvPr>
                  <p:cNvCxnSpPr>
                    <a:cxnSpLocks/>
                  </p:cNvCxnSpPr>
                  <p:nvPr/>
                </p:nvCxnSpPr>
                <p:spPr>
                  <a:xfrm>
                    <a:off x="2097176" y="3858822"/>
                    <a:ext cx="301382" cy="0"/>
                  </a:xfrm>
                  <a:prstGeom prst="line">
                    <a:avLst/>
                  </a:prstGeom>
                  <a:ln w="19050">
                    <a:solidFill>
                      <a:srgbClr val="0B4383"/>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6B5FB45-B689-3054-8028-BC932944C5DD}"/>
                      </a:ext>
                    </a:extLst>
                  </p:cNvPr>
                  <p:cNvCxnSpPr/>
                  <p:nvPr/>
                </p:nvCxnSpPr>
                <p:spPr>
                  <a:xfrm>
                    <a:off x="2398558" y="3858823"/>
                    <a:ext cx="336429" cy="415499"/>
                  </a:xfrm>
                  <a:prstGeom prst="line">
                    <a:avLst/>
                  </a:prstGeom>
                  <a:ln w="19050">
                    <a:solidFill>
                      <a:srgbClr val="0B4383"/>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470FACF-BB9E-D1D3-F7A7-2B67E6B07087}"/>
                      </a:ext>
                    </a:extLst>
                  </p:cNvPr>
                  <p:cNvCxnSpPr>
                    <a:cxnSpLocks/>
                  </p:cNvCxnSpPr>
                  <p:nvPr/>
                </p:nvCxnSpPr>
                <p:spPr>
                  <a:xfrm>
                    <a:off x="2734987" y="4274322"/>
                    <a:ext cx="8868848" cy="0"/>
                  </a:xfrm>
                  <a:prstGeom prst="line">
                    <a:avLst/>
                  </a:prstGeom>
                  <a:ln w="19050">
                    <a:solidFill>
                      <a:srgbClr val="0B4383"/>
                    </a:solidFill>
                  </a:ln>
                </p:spPr>
                <p:style>
                  <a:lnRef idx="1">
                    <a:schemeClr val="accent1"/>
                  </a:lnRef>
                  <a:fillRef idx="0">
                    <a:schemeClr val="accent1"/>
                  </a:fillRef>
                  <a:effectRef idx="0">
                    <a:schemeClr val="accent1"/>
                  </a:effectRef>
                  <a:fontRef idx="minor">
                    <a:schemeClr val="tx1"/>
                  </a:fontRef>
                </p:style>
              </p:cxnSp>
            </p:grpSp>
          </p:grpSp>
          <p:sp>
            <p:nvSpPr>
              <p:cNvPr id="30" name="Oval 29">
                <a:extLst>
                  <a:ext uri="{FF2B5EF4-FFF2-40B4-BE49-F238E27FC236}">
                    <a16:creationId xmlns:a16="http://schemas.microsoft.com/office/drawing/2014/main" id="{A8F6D6A9-425E-DBB8-AD39-52727D261C4E}"/>
                  </a:ext>
                </a:extLst>
              </p:cNvPr>
              <p:cNvSpPr/>
              <p:nvPr/>
            </p:nvSpPr>
            <p:spPr>
              <a:xfrm>
                <a:off x="11493279" y="4187312"/>
                <a:ext cx="141729" cy="141729"/>
              </a:xfrm>
              <a:prstGeom prst="ellipse">
                <a:avLst/>
              </a:prstGeom>
              <a:solidFill>
                <a:srgbClr val="0B43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grpSp>
        <p:nvGrpSpPr>
          <p:cNvPr id="29" name="Group 28"/>
          <p:cNvGrpSpPr/>
          <p:nvPr/>
        </p:nvGrpSpPr>
        <p:grpSpPr>
          <a:xfrm>
            <a:off x="1971836" y="4678803"/>
            <a:ext cx="9342332" cy="532601"/>
            <a:chOff x="1971836" y="4678803"/>
            <a:chExt cx="9342332" cy="532601"/>
          </a:xfrm>
        </p:grpSpPr>
        <p:sp>
          <p:nvSpPr>
            <p:cNvPr id="9" name="Rectangle 8"/>
            <p:cNvSpPr/>
            <p:nvPr/>
          </p:nvSpPr>
          <p:spPr>
            <a:xfrm>
              <a:off x="2322574" y="4749668"/>
              <a:ext cx="8991594" cy="338554"/>
            </a:xfrm>
            <a:prstGeom prst="rect">
              <a:avLst/>
            </a:prstGeom>
          </p:spPr>
          <p:txBody>
            <a:bodyPr wrap="square">
              <a:spAutoFit/>
            </a:bodyPr>
            <a:lstStyle/>
            <a:p>
              <a:r>
                <a:rPr lang="ru-RU" sz="1600" dirty="0" err="1">
                  <a:solidFill>
                    <a:srgbClr val="083966"/>
                  </a:solidFill>
                  <a:latin typeface="Montserrat" pitchFamily="2" charset="-52"/>
                </a:rPr>
                <a:t>Удостоверението</a:t>
              </a:r>
              <a:r>
                <a:rPr lang="ru-RU" sz="1600" dirty="0">
                  <a:solidFill>
                    <a:srgbClr val="083966"/>
                  </a:solidFill>
                  <a:latin typeface="Montserrat" pitchFamily="2" charset="-52"/>
                </a:rPr>
                <a:t> се </a:t>
              </a:r>
              <a:r>
                <a:rPr lang="ru-RU" sz="1600" dirty="0" err="1">
                  <a:solidFill>
                    <a:srgbClr val="083966"/>
                  </a:solidFill>
                  <a:latin typeface="Montserrat" pitchFamily="2" charset="-52"/>
                </a:rPr>
                <a:t>изготвя</a:t>
              </a:r>
              <a:r>
                <a:rPr lang="ru-RU" sz="1600" dirty="0">
                  <a:solidFill>
                    <a:srgbClr val="083966"/>
                  </a:solidFill>
                  <a:latin typeface="Montserrat" pitchFamily="2" charset="-52"/>
                </a:rPr>
                <a:t> по </a:t>
              </a:r>
              <a:r>
                <a:rPr lang="ru-RU" sz="1600" dirty="0" err="1">
                  <a:solidFill>
                    <a:srgbClr val="083966"/>
                  </a:solidFill>
                  <a:latin typeface="Montserrat" pitchFamily="2" charset="-52"/>
                </a:rPr>
                <a:t>унифициран</a:t>
              </a:r>
              <a:r>
                <a:rPr lang="ru-RU" sz="1600" dirty="0">
                  <a:solidFill>
                    <a:srgbClr val="083966"/>
                  </a:solidFill>
                  <a:latin typeface="Montserrat" pitchFamily="2" charset="-52"/>
                </a:rPr>
                <a:t> образец, </a:t>
              </a:r>
              <a:r>
                <a:rPr lang="ru-RU" sz="1600" dirty="0" err="1">
                  <a:solidFill>
                    <a:srgbClr val="083966"/>
                  </a:solidFill>
                  <a:latin typeface="Montserrat" pitchFamily="2" charset="-52"/>
                </a:rPr>
                <a:t>разработен</a:t>
              </a:r>
              <a:r>
                <a:rPr lang="ru-RU" sz="1600" dirty="0">
                  <a:solidFill>
                    <a:srgbClr val="083966"/>
                  </a:solidFill>
                  <a:latin typeface="Montserrat" pitchFamily="2" charset="-52"/>
                </a:rPr>
                <a:t> от ЕОЦКП</a:t>
              </a:r>
              <a:r>
                <a:rPr lang="en-US" sz="1600" dirty="0">
                  <a:solidFill>
                    <a:srgbClr val="083966"/>
                  </a:solidFill>
                  <a:latin typeface="Montserrat" pitchFamily="2" charset="-52"/>
                </a:rPr>
                <a:t>.</a:t>
              </a:r>
              <a:endParaRPr lang="bg-BG" sz="1600" dirty="0">
                <a:solidFill>
                  <a:srgbClr val="083966"/>
                </a:solidFill>
                <a:latin typeface="Montserrat" pitchFamily="2" charset="-52"/>
              </a:endParaRPr>
            </a:p>
          </p:txBody>
        </p:sp>
        <p:grpSp>
          <p:nvGrpSpPr>
            <p:cNvPr id="16" name="Group 15"/>
            <p:cNvGrpSpPr/>
            <p:nvPr/>
          </p:nvGrpSpPr>
          <p:grpSpPr>
            <a:xfrm>
              <a:off x="1971836" y="4678803"/>
              <a:ext cx="8938509" cy="532601"/>
              <a:chOff x="1971836" y="4678803"/>
              <a:chExt cx="8938509" cy="532601"/>
            </a:xfrm>
          </p:grpSpPr>
          <p:grpSp>
            <p:nvGrpSpPr>
              <p:cNvPr id="32" name="Group 31">
                <a:extLst>
                  <a:ext uri="{FF2B5EF4-FFF2-40B4-BE49-F238E27FC236}">
                    <a16:creationId xmlns:a16="http://schemas.microsoft.com/office/drawing/2014/main" id="{081353F1-A608-AACC-1DA7-C7A5D559317D}"/>
                  </a:ext>
                </a:extLst>
              </p:cNvPr>
              <p:cNvGrpSpPr/>
              <p:nvPr/>
            </p:nvGrpSpPr>
            <p:grpSpPr>
              <a:xfrm>
                <a:off x="2051809" y="4725041"/>
                <a:ext cx="8830256" cy="415499"/>
                <a:chOff x="2398558" y="3858823"/>
                <a:chExt cx="9205277" cy="415499"/>
              </a:xfrm>
            </p:grpSpPr>
            <p:cxnSp>
              <p:nvCxnSpPr>
                <p:cNvPr id="37" name="Straight Connector 36">
                  <a:extLst>
                    <a:ext uri="{FF2B5EF4-FFF2-40B4-BE49-F238E27FC236}">
                      <a16:creationId xmlns:a16="http://schemas.microsoft.com/office/drawing/2014/main" id="{8AC3D0AB-8ED7-190E-8AE2-6755FB59B5CB}"/>
                    </a:ext>
                  </a:extLst>
                </p:cNvPr>
                <p:cNvCxnSpPr/>
                <p:nvPr/>
              </p:nvCxnSpPr>
              <p:spPr>
                <a:xfrm>
                  <a:off x="2398558" y="3858823"/>
                  <a:ext cx="336429" cy="415499"/>
                </a:xfrm>
                <a:prstGeom prst="line">
                  <a:avLst/>
                </a:prstGeom>
                <a:ln w="19050">
                  <a:solidFill>
                    <a:srgbClr val="1561A8"/>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2B60177-5A77-E6F6-7B0A-AC240758E681}"/>
                    </a:ext>
                  </a:extLst>
                </p:cNvPr>
                <p:cNvCxnSpPr>
                  <a:cxnSpLocks/>
                </p:cNvCxnSpPr>
                <p:nvPr/>
              </p:nvCxnSpPr>
              <p:spPr>
                <a:xfrm>
                  <a:off x="2734987" y="4274322"/>
                  <a:ext cx="8868848" cy="0"/>
                </a:xfrm>
                <a:prstGeom prst="line">
                  <a:avLst/>
                </a:prstGeom>
                <a:ln w="19050">
                  <a:solidFill>
                    <a:srgbClr val="1561A8"/>
                  </a:solidFill>
                </a:ln>
              </p:spPr>
              <p:style>
                <a:lnRef idx="1">
                  <a:schemeClr val="accent1"/>
                </a:lnRef>
                <a:fillRef idx="0">
                  <a:schemeClr val="accent1"/>
                </a:fillRef>
                <a:effectRef idx="0">
                  <a:schemeClr val="accent1"/>
                </a:effectRef>
                <a:fontRef idx="minor">
                  <a:schemeClr val="tx1"/>
                </a:fontRef>
              </p:style>
            </p:cxnSp>
          </p:grpSp>
          <p:sp>
            <p:nvSpPr>
              <p:cNvPr id="22" name="Oval 21"/>
              <p:cNvSpPr/>
              <p:nvPr/>
            </p:nvSpPr>
            <p:spPr>
              <a:xfrm>
                <a:off x="1971836" y="4678803"/>
                <a:ext cx="141729" cy="141729"/>
              </a:xfrm>
              <a:prstGeom prst="ellipse">
                <a:avLst/>
              </a:prstGeom>
              <a:solidFill>
                <a:srgbClr val="1561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9" name="Oval 38">
                <a:extLst>
                  <a:ext uri="{FF2B5EF4-FFF2-40B4-BE49-F238E27FC236}">
                    <a16:creationId xmlns:a16="http://schemas.microsoft.com/office/drawing/2014/main" id="{D5BF5FA2-EEFB-43AC-48D6-9B3EE36F0F59}"/>
                  </a:ext>
                </a:extLst>
              </p:cNvPr>
              <p:cNvSpPr/>
              <p:nvPr/>
            </p:nvSpPr>
            <p:spPr>
              <a:xfrm>
                <a:off x="10768616" y="5069675"/>
                <a:ext cx="141729" cy="141729"/>
              </a:xfrm>
              <a:prstGeom prst="ellipse">
                <a:avLst/>
              </a:prstGeom>
              <a:solidFill>
                <a:srgbClr val="1561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grpSp>
        <p:nvGrpSpPr>
          <p:cNvPr id="28" name="Group 27"/>
          <p:cNvGrpSpPr/>
          <p:nvPr/>
        </p:nvGrpSpPr>
        <p:grpSpPr>
          <a:xfrm>
            <a:off x="1246699" y="5332247"/>
            <a:ext cx="9940917" cy="929139"/>
            <a:chOff x="1246699" y="5332247"/>
            <a:chExt cx="9940917" cy="929139"/>
          </a:xfrm>
        </p:grpSpPr>
        <p:sp>
          <p:nvSpPr>
            <p:cNvPr id="11" name="Rectangle 10"/>
            <p:cNvSpPr/>
            <p:nvPr/>
          </p:nvSpPr>
          <p:spPr>
            <a:xfrm>
              <a:off x="2001302" y="5332247"/>
              <a:ext cx="9186314" cy="830997"/>
            </a:xfrm>
            <a:prstGeom prst="rect">
              <a:avLst/>
            </a:prstGeom>
          </p:spPr>
          <p:txBody>
            <a:bodyPr wrap="square">
              <a:spAutoFit/>
            </a:bodyPr>
            <a:lstStyle/>
            <a:p>
              <a:r>
                <a:rPr lang="ru-RU" sz="1600" dirty="0" err="1">
                  <a:solidFill>
                    <a:srgbClr val="083966"/>
                  </a:solidFill>
                  <a:latin typeface="Montserrat" pitchFamily="2" charset="-52"/>
                </a:rPr>
                <a:t>Съпровожда</a:t>
              </a:r>
              <a:r>
                <a:rPr lang="ru-RU" sz="1600" dirty="0">
                  <a:solidFill>
                    <a:srgbClr val="083966"/>
                  </a:solidFill>
                  <a:latin typeface="Montserrat" pitchFamily="2" charset="-52"/>
                </a:rPr>
                <a:t> с </a:t>
              </a:r>
              <a:r>
                <a:rPr lang="ru-RU" sz="1600" dirty="0" err="1">
                  <a:solidFill>
                    <a:srgbClr val="083966"/>
                  </a:solidFill>
                  <a:latin typeface="Montserrat" pitchFamily="2" charset="-52"/>
                </a:rPr>
                <a:t>превод</a:t>
              </a:r>
              <a:r>
                <a:rPr lang="ru-RU" sz="1600" dirty="0">
                  <a:solidFill>
                    <a:srgbClr val="083966"/>
                  </a:solidFill>
                  <a:latin typeface="Montserrat" pitchFamily="2" charset="-52"/>
                </a:rPr>
                <a:t> на проспекта и </a:t>
              </a:r>
              <a:r>
                <a:rPr lang="ru-RU" sz="1600" dirty="0" err="1">
                  <a:solidFill>
                    <a:srgbClr val="083966"/>
                  </a:solidFill>
                  <a:latin typeface="Montserrat" pitchFamily="2" charset="-52"/>
                </a:rPr>
                <a:t>резюмето</a:t>
              </a:r>
              <a:r>
                <a:rPr lang="ru-RU" sz="1600" dirty="0">
                  <a:solidFill>
                    <a:srgbClr val="083966"/>
                  </a:solidFill>
                  <a:latin typeface="Montserrat" pitchFamily="2" charset="-52"/>
                </a:rPr>
                <a:t>, </a:t>
              </a:r>
              <a:r>
                <a:rPr lang="ru-RU" sz="1600" dirty="0" err="1">
                  <a:solidFill>
                    <a:srgbClr val="083966"/>
                  </a:solidFill>
                  <a:latin typeface="Montserrat" pitchFamily="2" charset="-52"/>
                </a:rPr>
                <a:t>предоставени</a:t>
              </a:r>
              <a:r>
                <a:rPr lang="ru-RU" sz="1600" dirty="0">
                  <a:solidFill>
                    <a:srgbClr val="083966"/>
                  </a:solidFill>
                  <a:latin typeface="Montserrat" pitchFamily="2" charset="-52"/>
                </a:rPr>
                <a:t> от </a:t>
              </a:r>
              <a:r>
                <a:rPr lang="ru-RU" sz="1600" dirty="0" err="1">
                  <a:solidFill>
                    <a:srgbClr val="083966"/>
                  </a:solidFill>
                  <a:latin typeface="Montserrat" pitchFamily="2" charset="-52"/>
                </a:rPr>
                <a:t>емитента</a:t>
              </a:r>
              <a:r>
                <a:rPr lang="ru-RU" sz="1600" dirty="0">
                  <a:solidFill>
                    <a:srgbClr val="083966"/>
                  </a:solidFill>
                  <a:latin typeface="Montserrat" pitchFamily="2" charset="-52"/>
                </a:rPr>
                <a:t>, </a:t>
              </a:r>
              <a:r>
                <a:rPr lang="ru-RU" sz="1600" dirty="0" err="1">
                  <a:solidFill>
                    <a:srgbClr val="083966"/>
                  </a:solidFill>
                  <a:latin typeface="Montserrat" pitchFamily="2" charset="-52"/>
                </a:rPr>
                <a:t>предложителя</a:t>
              </a:r>
              <a:r>
                <a:rPr lang="ru-RU" sz="1600" dirty="0">
                  <a:solidFill>
                    <a:srgbClr val="083966"/>
                  </a:solidFill>
                  <a:latin typeface="Montserrat" pitchFamily="2" charset="-52"/>
                </a:rPr>
                <a:t>, </a:t>
              </a:r>
              <a:r>
                <a:rPr lang="ru-RU" sz="1600" dirty="0" err="1">
                  <a:solidFill>
                    <a:srgbClr val="083966"/>
                  </a:solidFill>
                  <a:latin typeface="Montserrat" pitchFamily="2" charset="-52"/>
                </a:rPr>
                <a:t>лицето</a:t>
              </a:r>
              <a:r>
                <a:rPr lang="ru-RU" sz="1600" dirty="0">
                  <a:solidFill>
                    <a:srgbClr val="083966"/>
                  </a:solidFill>
                  <a:latin typeface="Montserrat" pitchFamily="2" charset="-52"/>
                </a:rPr>
                <a:t>, </a:t>
              </a:r>
              <a:r>
                <a:rPr lang="ru-RU" sz="1600" dirty="0" err="1">
                  <a:solidFill>
                    <a:srgbClr val="083966"/>
                  </a:solidFill>
                  <a:latin typeface="Montserrat" pitchFamily="2" charset="-52"/>
                </a:rPr>
                <a:t>което</a:t>
              </a:r>
              <a:r>
                <a:rPr lang="ru-RU" sz="1600" dirty="0">
                  <a:solidFill>
                    <a:srgbClr val="083966"/>
                  </a:solidFill>
                  <a:latin typeface="Montserrat" pitchFamily="2" charset="-52"/>
                </a:rPr>
                <a:t> иска </a:t>
              </a:r>
              <a:r>
                <a:rPr lang="ru-RU" sz="1600" dirty="0" err="1">
                  <a:solidFill>
                    <a:srgbClr val="083966"/>
                  </a:solidFill>
                  <a:latin typeface="Montserrat" pitchFamily="2" charset="-52"/>
                </a:rPr>
                <a:t>допускане</a:t>
              </a:r>
              <a:r>
                <a:rPr lang="ru-RU" sz="1600" dirty="0">
                  <a:solidFill>
                    <a:srgbClr val="083966"/>
                  </a:solidFill>
                  <a:latin typeface="Montserrat" pitchFamily="2" charset="-52"/>
                </a:rPr>
                <a:t> на </a:t>
              </a:r>
              <a:r>
                <a:rPr lang="ru-RU" sz="1600" dirty="0" err="1">
                  <a:solidFill>
                    <a:srgbClr val="083966"/>
                  </a:solidFill>
                  <a:latin typeface="Montserrat" pitchFamily="2" charset="-52"/>
                </a:rPr>
                <a:t>ценни</a:t>
              </a:r>
              <a:r>
                <a:rPr lang="ru-RU" sz="1600" dirty="0">
                  <a:solidFill>
                    <a:srgbClr val="083966"/>
                  </a:solidFill>
                  <a:latin typeface="Montserrat" pitchFamily="2" charset="-52"/>
                </a:rPr>
                <a:t> </a:t>
              </a:r>
              <a:r>
                <a:rPr lang="ru-RU" sz="1600" dirty="0" err="1">
                  <a:solidFill>
                    <a:srgbClr val="083966"/>
                  </a:solidFill>
                  <a:latin typeface="Montserrat" pitchFamily="2" charset="-52"/>
                </a:rPr>
                <a:t>книжа</a:t>
              </a:r>
              <a:r>
                <a:rPr lang="ru-RU" sz="1600" dirty="0">
                  <a:solidFill>
                    <a:srgbClr val="083966"/>
                  </a:solidFill>
                  <a:latin typeface="Montserrat" pitchFamily="2" charset="-52"/>
                </a:rPr>
                <a:t> до </a:t>
              </a:r>
              <a:r>
                <a:rPr lang="ru-RU" sz="1600" dirty="0" err="1">
                  <a:solidFill>
                    <a:srgbClr val="083966"/>
                  </a:solidFill>
                  <a:latin typeface="Montserrat" pitchFamily="2" charset="-52"/>
                </a:rPr>
                <a:t>търговия</a:t>
              </a:r>
              <a:r>
                <a:rPr lang="ru-RU" sz="1600" dirty="0">
                  <a:solidFill>
                    <a:srgbClr val="083966"/>
                  </a:solidFill>
                  <a:latin typeface="Montserrat" pitchFamily="2" charset="-52"/>
                </a:rPr>
                <a:t> на </a:t>
              </a:r>
              <a:r>
                <a:rPr lang="ru-RU" sz="1600" dirty="0" err="1">
                  <a:solidFill>
                    <a:srgbClr val="083966"/>
                  </a:solidFill>
                  <a:latin typeface="Montserrat" pitchFamily="2" charset="-52"/>
                </a:rPr>
                <a:t>регулиран</a:t>
              </a:r>
              <a:r>
                <a:rPr lang="ru-RU" sz="1600" dirty="0">
                  <a:solidFill>
                    <a:srgbClr val="083966"/>
                  </a:solidFill>
                  <a:latin typeface="Montserrat" pitchFamily="2" charset="-52"/>
                </a:rPr>
                <a:t> </a:t>
              </a:r>
              <a:r>
                <a:rPr lang="ru-RU" sz="1600" dirty="0" err="1">
                  <a:solidFill>
                    <a:srgbClr val="083966"/>
                  </a:solidFill>
                  <a:latin typeface="Montserrat" pitchFamily="2" charset="-52"/>
                </a:rPr>
                <a:t>пазар</a:t>
              </a:r>
              <a:r>
                <a:rPr lang="ru-RU" sz="1600" dirty="0">
                  <a:solidFill>
                    <a:srgbClr val="083966"/>
                  </a:solidFill>
                  <a:latin typeface="Montserrat" pitchFamily="2" charset="-52"/>
                </a:rPr>
                <a:t>, или </a:t>
              </a:r>
              <a:r>
                <a:rPr lang="ru-RU" sz="1600" dirty="0" err="1">
                  <a:solidFill>
                    <a:srgbClr val="083966"/>
                  </a:solidFill>
                  <a:latin typeface="Montserrat" pitchFamily="2" charset="-52"/>
                </a:rPr>
                <a:t>лицето</a:t>
              </a:r>
              <a:r>
                <a:rPr lang="ru-RU" sz="1600" dirty="0">
                  <a:solidFill>
                    <a:srgbClr val="083966"/>
                  </a:solidFill>
                  <a:latin typeface="Montserrat" pitchFamily="2" charset="-52"/>
                </a:rPr>
                <a:t>, </a:t>
              </a:r>
              <a:r>
                <a:rPr lang="ru-RU" sz="1600" dirty="0" err="1">
                  <a:solidFill>
                    <a:srgbClr val="083966"/>
                  </a:solidFill>
                  <a:latin typeface="Montserrat" pitchFamily="2" charset="-52"/>
                </a:rPr>
                <a:t>което</a:t>
              </a:r>
              <a:r>
                <a:rPr lang="ru-RU" sz="1600" dirty="0">
                  <a:solidFill>
                    <a:srgbClr val="083966"/>
                  </a:solidFill>
                  <a:latin typeface="Montserrat" pitchFamily="2" charset="-52"/>
                </a:rPr>
                <a:t> </a:t>
              </a:r>
              <a:r>
                <a:rPr lang="ru-RU" sz="1600" dirty="0" err="1">
                  <a:solidFill>
                    <a:srgbClr val="083966"/>
                  </a:solidFill>
                  <a:latin typeface="Montserrat" pitchFamily="2" charset="-52"/>
                </a:rPr>
                <a:t>отговаря</a:t>
              </a:r>
              <a:r>
                <a:rPr lang="ru-RU" sz="1600" dirty="0">
                  <a:solidFill>
                    <a:srgbClr val="083966"/>
                  </a:solidFill>
                  <a:latin typeface="Montserrat" pitchFamily="2" charset="-52"/>
                </a:rPr>
                <a:t> за </a:t>
              </a:r>
              <a:r>
                <a:rPr lang="ru-RU" sz="1600" dirty="0" err="1">
                  <a:solidFill>
                    <a:srgbClr val="083966"/>
                  </a:solidFill>
                  <a:latin typeface="Montserrat" pitchFamily="2" charset="-52"/>
                </a:rPr>
                <a:t>изготвянето</a:t>
              </a:r>
              <a:r>
                <a:rPr lang="ru-RU" sz="1600" dirty="0">
                  <a:solidFill>
                    <a:srgbClr val="083966"/>
                  </a:solidFill>
                  <a:latin typeface="Montserrat" pitchFamily="2" charset="-52"/>
                </a:rPr>
                <a:t> на проспекта.</a:t>
              </a:r>
              <a:endParaRPr lang="bg-BG" sz="1600" dirty="0">
                <a:solidFill>
                  <a:srgbClr val="083966"/>
                </a:solidFill>
                <a:latin typeface="Montserrat" pitchFamily="2" charset="-52"/>
              </a:endParaRPr>
            </a:p>
          </p:txBody>
        </p:sp>
        <p:grpSp>
          <p:nvGrpSpPr>
            <p:cNvPr id="25" name="Group 24"/>
            <p:cNvGrpSpPr/>
            <p:nvPr/>
          </p:nvGrpSpPr>
          <p:grpSpPr>
            <a:xfrm>
              <a:off x="1246699" y="5704157"/>
              <a:ext cx="9260401" cy="557229"/>
              <a:chOff x="1246699" y="5704157"/>
              <a:chExt cx="9260401" cy="557229"/>
            </a:xfrm>
          </p:grpSpPr>
          <p:grpSp>
            <p:nvGrpSpPr>
              <p:cNvPr id="40" name="Group 39">
                <a:extLst>
                  <a:ext uri="{FF2B5EF4-FFF2-40B4-BE49-F238E27FC236}">
                    <a16:creationId xmlns:a16="http://schemas.microsoft.com/office/drawing/2014/main" id="{0CDF47F6-E564-D11C-2358-7B669B3CD4DD}"/>
                  </a:ext>
                </a:extLst>
              </p:cNvPr>
              <p:cNvGrpSpPr/>
              <p:nvPr/>
            </p:nvGrpSpPr>
            <p:grpSpPr>
              <a:xfrm>
                <a:off x="1342670" y="5775022"/>
                <a:ext cx="9044585" cy="415500"/>
                <a:chOff x="2097176" y="3858822"/>
                <a:chExt cx="9506659" cy="415500"/>
              </a:xfrm>
            </p:grpSpPr>
            <p:cxnSp>
              <p:nvCxnSpPr>
                <p:cNvPr id="41" name="Straight Connector 40">
                  <a:extLst>
                    <a:ext uri="{FF2B5EF4-FFF2-40B4-BE49-F238E27FC236}">
                      <a16:creationId xmlns:a16="http://schemas.microsoft.com/office/drawing/2014/main" id="{467168FC-F5A5-C80D-50E8-0AE3974A30C7}"/>
                    </a:ext>
                  </a:extLst>
                </p:cNvPr>
                <p:cNvCxnSpPr>
                  <a:cxnSpLocks/>
                </p:cNvCxnSpPr>
                <p:nvPr/>
              </p:nvCxnSpPr>
              <p:spPr>
                <a:xfrm>
                  <a:off x="2097176" y="3858822"/>
                  <a:ext cx="301382" cy="0"/>
                </a:xfrm>
                <a:prstGeom prst="line">
                  <a:avLst/>
                </a:prstGeom>
                <a:ln w="19050">
                  <a:solidFill>
                    <a:srgbClr val="1C77BD"/>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B68433C-A96F-8FA0-4A1D-68B11C6CA655}"/>
                    </a:ext>
                  </a:extLst>
                </p:cNvPr>
                <p:cNvCxnSpPr/>
                <p:nvPr/>
              </p:nvCxnSpPr>
              <p:spPr>
                <a:xfrm>
                  <a:off x="2398558" y="3858823"/>
                  <a:ext cx="336429" cy="415499"/>
                </a:xfrm>
                <a:prstGeom prst="line">
                  <a:avLst/>
                </a:prstGeom>
                <a:ln w="19050">
                  <a:solidFill>
                    <a:srgbClr val="1C77BD"/>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987171B-CA14-86B8-C2A9-F378A434088C}"/>
                    </a:ext>
                  </a:extLst>
                </p:cNvPr>
                <p:cNvCxnSpPr>
                  <a:cxnSpLocks/>
                </p:cNvCxnSpPr>
                <p:nvPr/>
              </p:nvCxnSpPr>
              <p:spPr>
                <a:xfrm>
                  <a:off x="2734987" y="4274322"/>
                  <a:ext cx="8868848" cy="0"/>
                </a:xfrm>
                <a:prstGeom prst="line">
                  <a:avLst/>
                </a:prstGeom>
                <a:ln w="19050">
                  <a:solidFill>
                    <a:srgbClr val="1C77BD"/>
                  </a:solidFill>
                </a:ln>
              </p:spPr>
              <p:style>
                <a:lnRef idx="1">
                  <a:schemeClr val="accent1"/>
                </a:lnRef>
                <a:fillRef idx="0">
                  <a:schemeClr val="accent1"/>
                </a:fillRef>
                <a:effectRef idx="0">
                  <a:schemeClr val="accent1"/>
                </a:effectRef>
                <a:fontRef idx="minor">
                  <a:schemeClr val="tx1"/>
                </a:fontRef>
              </p:style>
            </p:cxnSp>
          </p:grpSp>
          <p:sp>
            <p:nvSpPr>
              <p:cNvPr id="24" name="Oval 23"/>
              <p:cNvSpPr/>
              <p:nvPr/>
            </p:nvSpPr>
            <p:spPr>
              <a:xfrm>
                <a:off x="1246699" y="5704157"/>
                <a:ext cx="141729" cy="141729"/>
              </a:xfrm>
              <a:prstGeom prst="ellipse">
                <a:avLst/>
              </a:prstGeom>
              <a:solidFill>
                <a:srgbClr val="1C77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4" name="Oval 43">
                <a:extLst>
                  <a:ext uri="{FF2B5EF4-FFF2-40B4-BE49-F238E27FC236}">
                    <a16:creationId xmlns:a16="http://schemas.microsoft.com/office/drawing/2014/main" id="{4BCC5EC7-615A-BCF7-4634-B2AAB2CA62A0}"/>
                  </a:ext>
                </a:extLst>
              </p:cNvPr>
              <p:cNvSpPr/>
              <p:nvPr/>
            </p:nvSpPr>
            <p:spPr>
              <a:xfrm>
                <a:off x="10365371" y="6119657"/>
                <a:ext cx="141729" cy="141729"/>
              </a:xfrm>
              <a:prstGeom prst="ellipse">
                <a:avLst/>
              </a:prstGeom>
              <a:solidFill>
                <a:srgbClr val="1C77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pic>
        <p:nvPicPr>
          <p:cNvPr id="45" name="Picture 4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131552" y="6292745"/>
            <a:ext cx="1876472" cy="361108"/>
          </a:xfrm>
          <a:prstGeom prst="rect">
            <a:avLst/>
          </a:prstGeom>
        </p:spPr>
      </p:pic>
    </p:spTree>
    <p:extLst>
      <p:ext uri="{BB962C8B-B14F-4D97-AF65-F5344CB8AC3E}">
        <p14:creationId xmlns:p14="http://schemas.microsoft.com/office/powerpoint/2010/main" val="380820337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800000">
            <a:off x="-4" y="0"/>
            <a:ext cx="12192003" cy="6858000"/>
          </a:xfrm>
          <a:prstGeom prst="rect">
            <a:avLst/>
          </a:prstGeom>
        </p:spPr>
      </p:pic>
      <p:pic>
        <p:nvPicPr>
          <p:cNvPr id="10" name="Picture 9"/>
          <p:cNvPicPr>
            <a:picLocks noChangeAspect="1"/>
          </p:cNvPicPr>
          <p:nvPr/>
        </p:nvPicPr>
        <p:blipFill rotWithShape="1">
          <a:blip r:embed="rId4">
            <a:extLst>
              <a:ext uri="{28A0092B-C50C-407E-A947-70E740481C1C}">
                <a14:useLocalDpi xmlns:a14="http://schemas.microsoft.com/office/drawing/2010/main" val="0"/>
              </a:ext>
            </a:extLst>
          </a:blip>
          <a:srcRect t="35327" b="39795"/>
          <a:stretch/>
        </p:blipFill>
        <p:spPr>
          <a:xfrm rot="10800000">
            <a:off x="0" y="-9526"/>
            <a:ext cx="12192000" cy="1706153"/>
          </a:xfrm>
          <a:prstGeom prst="rect">
            <a:avLst/>
          </a:prstGeom>
        </p:spPr>
      </p:pic>
      <p:sp>
        <p:nvSpPr>
          <p:cNvPr id="5" name="TextBox 4"/>
          <p:cNvSpPr txBox="1"/>
          <p:nvPr/>
        </p:nvSpPr>
        <p:spPr>
          <a:xfrm>
            <a:off x="338541" y="352405"/>
            <a:ext cx="9192785" cy="830997"/>
          </a:xfrm>
          <a:prstGeom prst="rect">
            <a:avLst/>
          </a:prstGeom>
          <a:noFill/>
        </p:spPr>
        <p:txBody>
          <a:bodyPr wrap="square" rtlCol="0">
            <a:spAutoFit/>
          </a:bodyPr>
          <a:lstStyle/>
          <a:p>
            <a:r>
              <a:rPr lang="en-US" sz="2400" dirty="0">
                <a:solidFill>
                  <a:schemeClr val="bg1"/>
                </a:solidFill>
                <a:latin typeface="Montserrat Black" pitchFamily="2" charset="-52"/>
              </a:rPr>
              <a:t>I. </a:t>
            </a:r>
            <a:r>
              <a:rPr lang="bg-BG" sz="2400" dirty="0">
                <a:solidFill>
                  <a:schemeClr val="bg1"/>
                </a:solidFill>
                <a:latin typeface="Montserrat Black" pitchFamily="2" charset="-52"/>
              </a:rPr>
              <a:t>КОМУНИКАЦИЯ МЕЖДУ РЕГУЛАТОРИТЕ И РЕГУЛАТОРНИ ПРОЦЕДУРИ</a:t>
            </a:r>
          </a:p>
        </p:txBody>
      </p:sp>
      <p:sp>
        <p:nvSpPr>
          <p:cNvPr id="8" name="TextBox 7"/>
          <p:cNvSpPr txBox="1"/>
          <p:nvPr/>
        </p:nvSpPr>
        <p:spPr>
          <a:xfrm>
            <a:off x="338540" y="1079707"/>
            <a:ext cx="9192785" cy="369332"/>
          </a:xfrm>
          <a:prstGeom prst="rect">
            <a:avLst/>
          </a:prstGeom>
          <a:noFill/>
        </p:spPr>
        <p:txBody>
          <a:bodyPr wrap="square" rtlCol="0">
            <a:spAutoFit/>
          </a:bodyPr>
          <a:lstStyle/>
          <a:p>
            <a:r>
              <a:rPr lang="ru-RU" dirty="0">
                <a:solidFill>
                  <a:schemeClr val="bg1"/>
                </a:solidFill>
                <a:latin typeface="Montserrat" pitchFamily="2" charset="-52"/>
              </a:rPr>
              <a:t>Уведомления</a:t>
            </a:r>
            <a:endParaRPr lang="bg-BG" dirty="0">
              <a:solidFill>
                <a:schemeClr val="bg1"/>
              </a:solidFill>
              <a:latin typeface="Montserrat" pitchFamily="2" charset="-52"/>
            </a:endParaRPr>
          </a:p>
        </p:txBody>
      </p:sp>
      <p:sp>
        <p:nvSpPr>
          <p:cNvPr id="26" name="TextBox 25"/>
          <p:cNvSpPr txBox="1"/>
          <p:nvPr/>
        </p:nvSpPr>
        <p:spPr>
          <a:xfrm>
            <a:off x="10223695" y="3767122"/>
            <a:ext cx="2004610" cy="369332"/>
          </a:xfrm>
          <a:prstGeom prst="rect">
            <a:avLst/>
          </a:prstGeom>
          <a:noFill/>
        </p:spPr>
        <p:txBody>
          <a:bodyPr wrap="square" rtlCol="0">
            <a:spAutoFit/>
          </a:bodyPr>
          <a:lstStyle/>
          <a:p>
            <a:r>
              <a:rPr lang="ru-RU" dirty="0">
                <a:solidFill>
                  <a:schemeClr val="bg1"/>
                </a:solidFill>
                <a:latin typeface="Montserrat" pitchFamily="2" charset="-52"/>
              </a:rPr>
              <a:t>Уведомления</a:t>
            </a:r>
            <a:endParaRPr lang="bg-BG" dirty="0">
              <a:solidFill>
                <a:schemeClr val="bg1"/>
              </a:solidFill>
              <a:latin typeface="Montserrat" pitchFamily="2" charset="-52"/>
            </a:endParaRPr>
          </a:p>
        </p:txBody>
      </p:sp>
      <p:cxnSp>
        <p:nvCxnSpPr>
          <p:cNvPr id="34" name="Straight Connector 33"/>
          <p:cNvCxnSpPr/>
          <p:nvPr/>
        </p:nvCxnSpPr>
        <p:spPr>
          <a:xfrm>
            <a:off x="9143775" y="3896214"/>
            <a:ext cx="738024" cy="3745"/>
          </a:xfrm>
          <a:prstGeom prst="line">
            <a:avLst/>
          </a:prstGeom>
          <a:ln w="28575">
            <a:solidFill>
              <a:srgbClr val="0E4889"/>
            </a:solidFill>
          </a:ln>
        </p:spPr>
        <p:style>
          <a:lnRef idx="1">
            <a:schemeClr val="accent1"/>
          </a:lnRef>
          <a:fillRef idx="0">
            <a:schemeClr val="accent1"/>
          </a:fillRef>
          <a:effectRef idx="0">
            <a:schemeClr val="accent1"/>
          </a:effectRef>
          <a:fontRef idx="minor">
            <a:schemeClr val="tx1"/>
          </a:fontRef>
        </p:style>
      </p:cxnSp>
      <p:sp>
        <p:nvSpPr>
          <p:cNvPr id="31" name="Oval 30"/>
          <p:cNvSpPr/>
          <p:nvPr/>
        </p:nvSpPr>
        <p:spPr>
          <a:xfrm>
            <a:off x="9846378" y="3841790"/>
            <a:ext cx="141729" cy="141729"/>
          </a:xfrm>
          <a:prstGeom prst="ellipse">
            <a:avLst/>
          </a:prstGeom>
          <a:solidFill>
            <a:srgbClr val="0E48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nvGrpSpPr>
          <p:cNvPr id="2" name="Group 1"/>
          <p:cNvGrpSpPr/>
          <p:nvPr/>
        </p:nvGrpSpPr>
        <p:grpSpPr>
          <a:xfrm>
            <a:off x="1068414" y="4784025"/>
            <a:ext cx="9639210" cy="1352824"/>
            <a:chOff x="3223127" y="4813035"/>
            <a:chExt cx="9639210" cy="1110781"/>
          </a:xfrm>
        </p:grpSpPr>
        <p:sp>
          <p:nvSpPr>
            <p:cNvPr id="27" name="Pentagon 26"/>
            <p:cNvSpPr/>
            <p:nvPr/>
          </p:nvSpPr>
          <p:spPr>
            <a:xfrm>
              <a:off x="5247672" y="4978352"/>
              <a:ext cx="7614665" cy="945464"/>
            </a:xfrm>
            <a:prstGeom prst="homePlate">
              <a:avLst>
                <a:gd name="adj" fmla="val 0"/>
              </a:avLst>
            </a:prstGeom>
            <a:solidFill>
              <a:srgbClr val="09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9" name="Pentagon 28"/>
            <p:cNvSpPr/>
            <p:nvPr/>
          </p:nvSpPr>
          <p:spPr>
            <a:xfrm rot="10800000">
              <a:off x="3223127" y="4813035"/>
              <a:ext cx="2213482" cy="934245"/>
            </a:xfrm>
            <a:prstGeom prst="homePlate">
              <a:avLst/>
            </a:prstGeom>
            <a:solidFill>
              <a:srgbClr val="0C4F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6" name="Right Triangle 35"/>
            <p:cNvSpPr/>
            <p:nvPr/>
          </p:nvSpPr>
          <p:spPr>
            <a:xfrm rot="10800000" flipH="1">
              <a:off x="5251354" y="5746785"/>
              <a:ext cx="190930" cy="166414"/>
            </a:xfrm>
            <a:prstGeom prst="rtTriangle">
              <a:avLst/>
            </a:prstGeom>
            <a:solidFill>
              <a:srgbClr val="093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37" name="Group 36"/>
          <p:cNvGrpSpPr/>
          <p:nvPr/>
        </p:nvGrpSpPr>
        <p:grpSpPr>
          <a:xfrm>
            <a:off x="1068415" y="3501440"/>
            <a:ext cx="9639209" cy="1110781"/>
            <a:chOff x="3182227" y="4813035"/>
            <a:chExt cx="9639209" cy="1110781"/>
          </a:xfrm>
        </p:grpSpPr>
        <p:sp>
          <p:nvSpPr>
            <p:cNvPr id="38" name="Pentagon 37"/>
            <p:cNvSpPr/>
            <p:nvPr/>
          </p:nvSpPr>
          <p:spPr>
            <a:xfrm>
              <a:off x="5247672" y="4978352"/>
              <a:ext cx="7573764" cy="945464"/>
            </a:xfrm>
            <a:prstGeom prst="homePlate">
              <a:avLst>
                <a:gd name="adj" fmla="val 0"/>
              </a:avLst>
            </a:prstGeom>
            <a:solidFill>
              <a:srgbClr val="09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9" name="Pentagon 38"/>
            <p:cNvSpPr/>
            <p:nvPr/>
          </p:nvSpPr>
          <p:spPr>
            <a:xfrm rot="10800000">
              <a:off x="3182227" y="4813035"/>
              <a:ext cx="2254382" cy="934245"/>
            </a:xfrm>
            <a:prstGeom prst="homePlate">
              <a:avLst/>
            </a:prstGeom>
            <a:solidFill>
              <a:srgbClr val="0C4F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0" name="Right Triangle 39"/>
            <p:cNvSpPr/>
            <p:nvPr/>
          </p:nvSpPr>
          <p:spPr>
            <a:xfrm rot="10800000" flipH="1">
              <a:off x="5251354" y="5746785"/>
              <a:ext cx="190930" cy="166414"/>
            </a:xfrm>
            <a:prstGeom prst="rtTriangle">
              <a:avLst/>
            </a:prstGeom>
            <a:solidFill>
              <a:srgbClr val="093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41" name="Group 40"/>
          <p:cNvGrpSpPr/>
          <p:nvPr/>
        </p:nvGrpSpPr>
        <p:grpSpPr>
          <a:xfrm>
            <a:off x="1068416" y="2139309"/>
            <a:ext cx="9639208" cy="1110781"/>
            <a:chOff x="3151051" y="4813035"/>
            <a:chExt cx="9639208" cy="1110781"/>
          </a:xfrm>
        </p:grpSpPr>
        <p:sp>
          <p:nvSpPr>
            <p:cNvPr id="42" name="Pentagon 41"/>
            <p:cNvSpPr/>
            <p:nvPr/>
          </p:nvSpPr>
          <p:spPr>
            <a:xfrm>
              <a:off x="5247672" y="4978352"/>
              <a:ext cx="7542587" cy="945464"/>
            </a:xfrm>
            <a:prstGeom prst="homePlate">
              <a:avLst>
                <a:gd name="adj" fmla="val 0"/>
              </a:avLst>
            </a:prstGeom>
            <a:solidFill>
              <a:srgbClr val="09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3" name="Pentagon 42"/>
            <p:cNvSpPr/>
            <p:nvPr/>
          </p:nvSpPr>
          <p:spPr>
            <a:xfrm rot="10800000">
              <a:off x="3151051" y="4813035"/>
              <a:ext cx="2285558" cy="934245"/>
            </a:xfrm>
            <a:prstGeom prst="homePlate">
              <a:avLst/>
            </a:prstGeom>
            <a:solidFill>
              <a:srgbClr val="0C4F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4" name="Right Triangle 43"/>
            <p:cNvSpPr/>
            <p:nvPr/>
          </p:nvSpPr>
          <p:spPr>
            <a:xfrm rot="10800000" flipH="1">
              <a:off x="5251354" y="5746785"/>
              <a:ext cx="190930" cy="166414"/>
            </a:xfrm>
            <a:prstGeom prst="rtTriangle">
              <a:avLst/>
            </a:prstGeom>
            <a:solidFill>
              <a:srgbClr val="093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sp>
        <p:nvSpPr>
          <p:cNvPr id="6" name="Rectangle 5"/>
          <p:cNvSpPr/>
          <p:nvPr/>
        </p:nvSpPr>
        <p:spPr>
          <a:xfrm>
            <a:off x="1584286" y="2316480"/>
            <a:ext cx="1769688" cy="584775"/>
          </a:xfrm>
          <a:prstGeom prst="rect">
            <a:avLst/>
          </a:prstGeom>
        </p:spPr>
        <p:txBody>
          <a:bodyPr wrap="square">
            <a:spAutoFit/>
          </a:bodyPr>
          <a:lstStyle/>
          <a:p>
            <a:r>
              <a:rPr lang="bg-BG" sz="1600" dirty="0">
                <a:solidFill>
                  <a:schemeClr val="bg1"/>
                </a:solidFill>
                <a:latin typeface="Montserrat ExtraBold" panose="00000900000000000000" pitchFamily="50" charset="-52"/>
              </a:rPr>
              <a:t>Уведомяване на заявителя</a:t>
            </a:r>
          </a:p>
        </p:txBody>
      </p:sp>
      <p:sp>
        <p:nvSpPr>
          <p:cNvPr id="7" name="Rectangle 6"/>
          <p:cNvSpPr/>
          <p:nvPr/>
        </p:nvSpPr>
        <p:spPr>
          <a:xfrm>
            <a:off x="3544882" y="2414518"/>
            <a:ext cx="6906710" cy="738664"/>
          </a:xfrm>
          <a:prstGeom prst="rect">
            <a:avLst/>
          </a:prstGeom>
        </p:spPr>
        <p:txBody>
          <a:bodyPr wrap="square">
            <a:spAutoFit/>
          </a:bodyPr>
          <a:lstStyle/>
          <a:p>
            <a:pPr algn="just"/>
            <a:r>
              <a:rPr lang="bg-BG" sz="1400" dirty="0">
                <a:solidFill>
                  <a:schemeClr val="bg1"/>
                </a:solidFill>
                <a:latin typeface="Montserrat" pitchFamily="2" charset="-52"/>
              </a:rPr>
              <a:t>Емитентът, предложителят, лицето, което иска допускане на ценни книжа до търговия на регулиран пазар, или лицето, което отговаря за изготвянето на проспекта</a:t>
            </a:r>
            <a:endParaRPr lang="bg-BG" sz="1200" dirty="0">
              <a:solidFill>
                <a:schemeClr val="bg1"/>
              </a:solidFill>
              <a:latin typeface="Montserrat" pitchFamily="2" charset="-52"/>
            </a:endParaRPr>
          </a:p>
        </p:txBody>
      </p:sp>
      <p:sp>
        <p:nvSpPr>
          <p:cNvPr id="14" name="Rectangle 13"/>
          <p:cNvSpPr/>
          <p:nvPr/>
        </p:nvSpPr>
        <p:spPr>
          <a:xfrm>
            <a:off x="1458138" y="3697224"/>
            <a:ext cx="1774845" cy="584775"/>
          </a:xfrm>
          <a:prstGeom prst="rect">
            <a:avLst/>
          </a:prstGeom>
        </p:spPr>
        <p:txBody>
          <a:bodyPr wrap="none">
            <a:spAutoFit/>
          </a:bodyPr>
          <a:lstStyle/>
          <a:p>
            <a:pPr algn="ctr"/>
            <a:r>
              <a:rPr lang="bg-BG" sz="1600" dirty="0">
                <a:solidFill>
                  <a:schemeClr val="bg1"/>
                </a:solidFill>
                <a:latin typeface="Montserrat ExtraBold" panose="00000900000000000000" pitchFamily="50" charset="-52"/>
              </a:rPr>
              <a:t>Уведомяване </a:t>
            </a:r>
          </a:p>
          <a:p>
            <a:pPr algn="ctr"/>
            <a:r>
              <a:rPr lang="bg-BG" sz="1600" dirty="0">
                <a:solidFill>
                  <a:schemeClr val="bg1"/>
                </a:solidFill>
                <a:latin typeface="Montserrat ExtraBold" panose="00000900000000000000" pitchFamily="50" charset="-52"/>
              </a:rPr>
              <a:t>на ЕОЦКП</a:t>
            </a:r>
          </a:p>
        </p:txBody>
      </p:sp>
      <p:sp>
        <p:nvSpPr>
          <p:cNvPr id="15" name="Rectangle 14"/>
          <p:cNvSpPr/>
          <p:nvPr/>
        </p:nvSpPr>
        <p:spPr>
          <a:xfrm>
            <a:off x="3542110" y="3754756"/>
            <a:ext cx="6909481" cy="738664"/>
          </a:xfrm>
          <a:prstGeom prst="rect">
            <a:avLst/>
          </a:prstGeom>
        </p:spPr>
        <p:txBody>
          <a:bodyPr wrap="square">
            <a:spAutoFit/>
          </a:bodyPr>
          <a:lstStyle/>
          <a:p>
            <a:pPr algn="just"/>
            <a:r>
              <a:rPr lang="bg-BG" sz="1400" dirty="0">
                <a:solidFill>
                  <a:schemeClr val="bg1"/>
                </a:solidFill>
                <a:latin typeface="Montserrat" pitchFamily="2" charset="-52"/>
              </a:rPr>
              <a:t>Уведомява ЕОЦКП относно удостоверението за одобрение на проспекта или допълнението към него едновременно с уведомяването на компетентния орган на приемащата държава членка</a:t>
            </a:r>
          </a:p>
        </p:txBody>
      </p:sp>
      <p:sp>
        <p:nvSpPr>
          <p:cNvPr id="16" name="Rectangle 15"/>
          <p:cNvSpPr/>
          <p:nvPr/>
        </p:nvSpPr>
        <p:spPr>
          <a:xfrm>
            <a:off x="1429283" y="4920688"/>
            <a:ext cx="1832553" cy="784830"/>
          </a:xfrm>
          <a:prstGeom prst="rect">
            <a:avLst/>
          </a:prstGeom>
        </p:spPr>
        <p:txBody>
          <a:bodyPr wrap="none">
            <a:spAutoFit/>
          </a:bodyPr>
          <a:lstStyle/>
          <a:p>
            <a:pPr algn="ctr"/>
            <a:r>
              <a:rPr lang="bg-BG" sz="1500" dirty="0">
                <a:solidFill>
                  <a:schemeClr val="bg1"/>
                </a:solidFill>
                <a:latin typeface="Montserrat ExtraBold" panose="00000900000000000000" pitchFamily="50" charset="-52"/>
              </a:rPr>
              <a:t>Разходи във </a:t>
            </a:r>
          </a:p>
          <a:p>
            <a:pPr algn="ctr"/>
            <a:r>
              <a:rPr lang="bg-BG" sz="1500" dirty="0">
                <a:solidFill>
                  <a:schemeClr val="bg1"/>
                </a:solidFill>
                <a:latin typeface="Montserrat ExtraBold" panose="00000900000000000000" pitchFamily="50" charset="-52"/>
              </a:rPr>
              <a:t>връзка с</a:t>
            </a:r>
          </a:p>
          <a:p>
            <a:pPr algn="ctr"/>
            <a:r>
              <a:rPr lang="bg-BG" sz="1500" dirty="0">
                <a:solidFill>
                  <a:schemeClr val="bg1"/>
                </a:solidFill>
                <a:latin typeface="Montserrat ExtraBold" panose="00000900000000000000" pitchFamily="50" charset="-52"/>
              </a:rPr>
              <a:t>уведомяването</a:t>
            </a:r>
          </a:p>
        </p:txBody>
      </p:sp>
      <p:sp>
        <p:nvSpPr>
          <p:cNvPr id="17" name="Rectangle 16"/>
          <p:cNvSpPr/>
          <p:nvPr/>
        </p:nvSpPr>
        <p:spPr>
          <a:xfrm>
            <a:off x="3539207" y="4945410"/>
            <a:ext cx="6912384" cy="1169551"/>
          </a:xfrm>
          <a:prstGeom prst="rect">
            <a:avLst/>
          </a:prstGeom>
        </p:spPr>
        <p:txBody>
          <a:bodyPr wrap="square">
            <a:spAutoFit/>
          </a:bodyPr>
          <a:lstStyle/>
          <a:p>
            <a:pPr algn="just"/>
            <a:r>
              <a:rPr lang="ru-RU" sz="1400" dirty="0" err="1">
                <a:solidFill>
                  <a:schemeClr val="bg1"/>
                </a:solidFill>
                <a:latin typeface="Montserrat" pitchFamily="2" charset="-52"/>
              </a:rPr>
              <a:t>Компетентните</a:t>
            </a:r>
            <a:r>
              <a:rPr lang="ru-RU" sz="1400" dirty="0">
                <a:solidFill>
                  <a:schemeClr val="bg1"/>
                </a:solidFill>
                <a:latin typeface="Montserrat" pitchFamily="2" charset="-52"/>
              </a:rPr>
              <a:t> </a:t>
            </a:r>
            <a:r>
              <a:rPr lang="ru-RU" sz="1400" dirty="0" err="1">
                <a:solidFill>
                  <a:schemeClr val="bg1"/>
                </a:solidFill>
                <a:latin typeface="Montserrat" pitchFamily="2" charset="-52"/>
              </a:rPr>
              <a:t>органи</a:t>
            </a:r>
            <a:r>
              <a:rPr lang="ru-RU" sz="1400" dirty="0">
                <a:solidFill>
                  <a:schemeClr val="bg1"/>
                </a:solidFill>
                <a:latin typeface="Montserrat" pitchFamily="2" charset="-52"/>
              </a:rPr>
              <a:t> не </a:t>
            </a:r>
            <a:r>
              <a:rPr lang="ru-RU" sz="1400" dirty="0" err="1">
                <a:solidFill>
                  <a:schemeClr val="bg1"/>
                </a:solidFill>
                <a:latin typeface="Montserrat" pitchFamily="2" charset="-52"/>
              </a:rPr>
              <a:t>налагат</a:t>
            </a:r>
            <a:r>
              <a:rPr lang="ru-RU" sz="1400" dirty="0">
                <a:solidFill>
                  <a:schemeClr val="bg1"/>
                </a:solidFill>
                <a:latin typeface="Montserrat" pitchFamily="2" charset="-52"/>
              </a:rPr>
              <a:t> такса за </a:t>
            </a:r>
            <a:r>
              <a:rPr lang="ru-RU" sz="1400" dirty="0" err="1">
                <a:solidFill>
                  <a:schemeClr val="bg1"/>
                </a:solidFill>
                <a:latin typeface="Montserrat" pitchFamily="2" charset="-52"/>
              </a:rPr>
              <a:t>уведомяването</a:t>
            </a:r>
            <a:r>
              <a:rPr lang="ru-RU" sz="1400" dirty="0">
                <a:solidFill>
                  <a:schemeClr val="bg1"/>
                </a:solidFill>
                <a:latin typeface="Montserrat" pitchFamily="2" charset="-52"/>
              </a:rPr>
              <a:t> или </a:t>
            </a:r>
            <a:r>
              <a:rPr lang="ru-RU" sz="1400" dirty="0" err="1">
                <a:solidFill>
                  <a:schemeClr val="bg1"/>
                </a:solidFill>
                <a:latin typeface="Montserrat" pitchFamily="2" charset="-52"/>
              </a:rPr>
              <a:t>получаването</a:t>
            </a:r>
            <a:r>
              <a:rPr lang="ru-RU" sz="1400" dirty="0">
                <a:solidFill>
                  <a:schemeClr val="bg1"/>
                </a:solidFill>
                <a:latin typeface="Montserrat" pitchFamily="2" charset="-52"/>
              </a:rPr>
              <a:t> на уведомление за </a:t>
            </a:r>
            <a:r>
              <a:rPr lang="ru-RU" sz="1400" dirty="0" err="1">
                <a:solidFill>
                  <a:schemeClr val="bg1"/>
                </a:solidFill>
                <a:latin typeface="Montserrat" pitchFamily="2" charset="-52"/>
              </a:rPr>
              <a:t>проспекти</a:t>
            </a:r>
            <a:r>
              <a:rPr lang="ru-RU" sz="1400" dirty="0">
                <a:solidFill>
                  <a:schemeClr val="bg1"/>
                </a:solidFill>
                <a:latin typeface="Montserrat" pitchFamily="2" charset="-52"/>
              </a:rPr>
              <a:t> и </a:t>
            </a:r>
            <a:r>
              <a:rPr lang="ru-RU" sz="1400" dirty="0" err="1">
                <a:solidFill>
                  <a:schemeClr val="bg1"/>
                </a:solidFill>
                <a:latin typeface="Montserrat" pitchFamily="2" charset="-52"/>
              </a:rPr>
              <a:t>допълнения</a:t>
            </a:r>
            <a:r>
              <a:rPr lang="ru-RU" sz="1400" dirty="0">
                <a:solidFill>
                  <a:schemeClr val="bg1"/>
                </a:solidFill>
                <a:latin typeface="Montserrat" pitchFamily="2" charset="-52"/>
              </a:rPr>
              <a:t> към </a:t>
            </a:r>
            <a:r>
              <a:rPr lang="ru-RU" sz="1400" dirty="0" err="1">
                <a:solidFill>
                  <a:schemeClr val="bg1"/>
                </a:solidFill>
                <a:latin typeface="Montserrat" pitchFamily="2" charset="-52"/>
              </a:rPr>
              <a:t>тях</a:t>
            </a:r>
            <a:r>
              <a:rPr lang="ru-RU" sz="1400" dirty="0">
                <a:solidFill>
                  <a:schemeClr val="bg1"/>
                </a:solidFill>
                <a:latin typeface="Montserrat" pitchFamily="2" charset="-52"/>
              </a:rPr>
              <a:t> или за </a:t>
            </a:r>
            <a:r>
              <a:rPr lang="ru-RU" sz="1400" dirty="0" err="1">
                <a:solidFill>
                  <a:schemeClr val="bg1"/>
                </a:solidFill>
                <a:latin typeface="Montserrat" pitchFamily="2" charset="-52"/>
              </a:rPr>
              <a:t>свързана</a:t>
            </a:r>
            <a:r>
              <a:rPr lang="ru-RU" sz="1400" dirty="0">
                <a:solidFill>
                  <a:schemeClr val="bg1"/>
                </a:solidFill>
                <a:latin typeface="Montserrat" pitchFamily="2" charset="-52"/>
              </a:rPr>
              <a:t> </a:t>
            </a:r>
            <a:r>
              <a:rPr lang="ru-RU" sz="1400" dirty="0" err="1">
                <a:solidFill>
                  <a:schemeClr val="bg1"/>
                </a:solidFill>
                <a:latin typeface="Montserrat" pitchFamily="2" charset="-52"/>
              </a:rPr>
              <a:t>дейност</a:t>
            </a:r>
            <a:r>
              <a:rPr lang="ru-RU" sz="1400" dirty="0">
                <a:solidFill>
                  <a:schemeClr val="bg1"/>
                </a:solidFill>
                <a:latin typeface="Montserrat" pitchFamily="2" charset="-52"/>
              </a:rPr>
              <a:t> по надзор, независимо дали се </a:t>
            </a:r>
            <a:r>
              <a:rPr lang="ru-RU" sz="1400" dirty="0" err="1">
                <a:solidFill>
                  <a:schemeClr val="bg1"/>
                </a:solidFill>
                <a:latin typeface="Montserrat" pitchFamily="2" charset="-52"/>
              </a:rPr>
              <a:t>осъществява</a:t>
            </a:r>
            <a:r>
              <a:rPr lang="ru-RU" sz="1400" dirty="0">
                <a:solidFill>
                  <a:schemeClr val="bg1"/>
                </a:solidFill>
                <a:latin typeface="Montserrat" pitchFamily="2" charset="-52"/>
              </a:rPr>
              <a:t> в </a:t>
            </a:r>
            <a:r>
              <a:rPr lang="ru-RU" sz="1400" dirty="0" err="1">
                <a:solidFill>
                  <a:schemeClr val="bg1"/>
                </a:solidFill>
                <a:latin typeface="Montserrat" pitchFamily="2" charset="-52"/>
              </a:rPr>
              <a:t>държавата</a:t>
            </a:r>
            <a:r>
              <a:rPr lang="ru-RU" sz="1400" dirty="0">
                <a:solidFill>
                  <a:schemeClr val="bg1"/>
                </a:solidFill>
                <a:latin typeface="Montserrat" pitchFamily="2" charset="-52"/>
              </a:rPr>
              <a:t> </a:t>
            </a:r>
            <a:r>
              <a:rPr lang="ru-RU" sz="1400" dirty="0" err="1">
                <a:solidFill>
                  <a:schemeClr val="bg1"/>
                </a:solidFill>
                <a:latin typeface="Montserrat" pitchFamily="2" charset="-52"/>
              </a:rPr>
              <a:t>членка</a:t>
            </a:r>
            <a:r>
              <a:rPr lang="ru-RU" sz="1400" dirty="0">
                <a:solidFill>
                  <a:schemeClr val="bg1"/>
                </a:solidFill>
                <a:latin typeface="Montserrat" pitchFamily="2" charset="-52"/>
              </a:rPr>
              <a:t> по </a:t>
            </a:r>
            <a:r>
              <a:rPr lang="ru-RU" sz="1400" dirty="0" err="1">
                <a:solidFill>
                  <a:schemeClr val="bg1"/>
                </a:solidFill>
                <a:latin typeface="Montserrat" pitchFamily="2" charset="-52"/>
              </a:rPr>
              <a:t>произход</a:t>
            </a:r>
            <a:r>
              <a:rPr lang="ru-RU" sz="1400" dirty="0">
                <a:solidFill>
                  <a:schemeClr val="bg1"/>
                </a:solidFill>
                <a:latin typeface="Montserrat" pitchFamily="2" charset="-52"/>
              </a:rPr>
              <a:t> или в </a:t>
            </a:r>
            <a:r>
              <a:rPr lang="ru-RU" sz="1400" dirty="0" err="1">
                <a:solidFill>
                  <a:schemeClr val="bg1"/>
                </a:solidFill>
                <a:latin typeface="Montserrat" pitchFamily="2" charset="-52"/>
              </a:rPr>
              <a:t>приемащата</a:t>
            </a:r>
            <a:r>
              <a:rPr lang="ru-RU" sz="1400" dirty="0">
                <a:solidFill>
                  <a:schemeClr val="bg1"/>
                </a:solidFill>
                <a:latin typeface="Montserrat" pitchFamily="2" charset="-52"/>
              </a:rPr>
              <a:t> </a:t>
            </a:r>
            <a:r>
              <a:rPr lang="ru-RU" sz="1400" dirty="0" err="1">
                <a:solidFill>
                  <a:schemeClr val="bg1"/>
                </a:solidFill>
                <a:latin typeface="Montserrat" pitchFamily="2" charset="-52"/>
              </a:rPr>
              <a:t>държава</a:t>
            </a:r>
            <a:r>
              <a:rPr lang="ru-RU" sz="1400" dirty="0">
                <a:solidFill>
                  <a:schemeClr val="bg1"/>
                </a:solidFill>
                <a:latin typeface="Montserrat" pitchFamily="2" charset="-52"/>
              </a:rPr>
              <a:t>/</a:t>
            </a:r>
            <a:r>
              <a:rPr lang="ru-RU" sz="1400" dirty="0" err="1">
                <a:solidFill>
                  <a:schemeClr val="bg1"/>
                </a:solidFill>
                <a:latin typeface="Montserrat" pitchFamily="2" charset="-52"/>
              </a:rPr>
              <a:t>приемащите</a:t>
            </a:r>
            <a:r>
              <a:rPr lang="ru-RU" sz="1400" dirty="0">
                <a:solidFill>
                  <a:schemeClr val="bg1"/>
                </a:solidFill>
                <a:latin typeface="Montserrat" pitchFamily="2" charset="-52"/>
              </a:rPr>
              <a:t> </a:t>
            </a:r>
            <a:r>
              <a:rPr lang="ru-RU" sz="1400" dirty="0" err="1">
                <a:solidFill>
                  <a:schemeClr val="bg1"/>
                </a:solidFill>
                <a:latin typeface="Montserrat" pitchFamily="2" charset="-52"/>
              </a:rPr>
              <a:t>държави</a:t>
            </a:r>
            <a:r>
              <a:rPr lang="ru-RU" sz="1400" dirty="0">
                <a:solidFill>
                  <a:schemeClr val="bg1"/>
                </a:solidFill>
                <a:latin typeface="Montserrat" pitchFamily="2" charset="-52"/>
              </a:rPr>
              <a:t>.</a:t>
            </a:r>
          </a:p>
        </p:txBody>
      </p:sp>
      <p:pic>
        <p:nvPicPr>
          <p:cNvPr id="30" name="Picture 2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131552" y="6292745"/>
            <a:ext cx="1876472" cy="361108"/>
          </a:xfrm>
          <a:prstGeom prst="rect">
            <a:avLst/>
          </a:prstGeom>
        </p:spPr>
      </p:pic>
    </p:spTree>
    <p:extLst>
      <p:ext uri="{BB962C8B-B14F-4D97-AF65-F5344CB8AC3E}">
        <p14:creationId xmlns:p14="http://schemas.microsoft.com/office/powerpoint/2010/main" val="220746695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TextBox 5"/>
          <p:cNvSpPr txBox="1"/>
          <p:nvPr/>
        </p:nvSpPr>
        <p:spPr>
          <a:xfrm>
            <a:off x="1430405" y="2637675"/>
            <a:ext cx="9616735" cy="1754326"/>
          </a:xfrm>
          <a:prstGeom prst="rect">
            <a:avLst/>
          </a:prstGeom>
          <a:noFill/>
        </p:spPr>
        <p:txBody>
          <a:bodyPr wrap="none" rtlCol="0">
            <a:spAutoFit/>
          </a:bodyPr>
          <a:lstStyle/>
          <a:p>
            <a:pPr algn="ctr"/>
            <a:r>
              <a:rPr lang="en-US" sz="3600" dirty="0">
                <a:solidFill>
                  <a:schemeClr val="bg1"/>
                </a:solidFill>
                <a:latin typeface="Montserrat Black" pitchFamily="2" charset="-52"/>
              </a:rPr>
              <a:t>II. </a:t>
            </a:r>
            <a:r>
              <a:rPr lang="bg-BG" sz="3600" dirty="0">
                <a:solidFill>
                  <a:schemeClr val="bg1"/>
                </a:solidFill>
                <a:latin typeface="Montserrat Black" pitchFamily="2" charset="-52"/>
              </a:rPr>
              <a:t>ПЪТЯТ НА ЕДНА КОМПАНИЯ</a:t>
            </a:r>
            <a:br>
              <a:rPr lang="bg-BG" sz="3600" dirty="0">
                <a:solidFill>
                  <a:schemeClr val="bg1"/>
                </a:solidFill>
                <a:latin typeface="Montserrat Black" pitchFamily="2" charset="-52"/>
              </a:rPr>
            </a:br>
            <a:r>
              <a:rPr lang="bg-BG" sz="3600" dirty="0">
                <a:solidFill>
                  <a:schemeClr val="bg1"/>
                </a:solidFill>
                <a:latin typeface="Montserrat Black" pitchFamily="2" charset="-52"/>
              </a:rPr>
              <a:t> КЪМ ПУБЛИЧНО ПРЕДЛАГАНЕ И </a:t>
            </a:r>
            <a:br>
              <a:rPr lang="bg-BG" sz="3600" dirty="0">
                <a:solidFill>
                  <a:schemeClr val="bg1"/>
                </a:solidFill>
                <a:latin typeface="Montserrat Black" pitchFamily="2" charset="-52"/>
              </a:rPr>
            </a:br>
            <a:r>
              <a:rPr lang="bg-BG" sz="3600" dirty="0">
                <a:solidFill>
                  <a:schemeClr val="bg1"/>
                </a:solidFill>
                <a:latin typeface="Montserrat Black" pitchFamily="2" charset="-52"/>
              </a:rPr>
              <a:t>ДОПУСКАНЕ ДО РЕГУЛИРАН ПАЗАР</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69864" y="337099"/>
            <a:ext cx="1874066" cy="360645"/>
          </a:xfrm>
          <a:prstGeom prst="rect">
            <a:avLst/>
          </a:prstGeom>
        </p:spPr>
      </p:pic>
    </p:spTree>
    <p:extLst>
      <p:ext uri="{BB962C8B-B14F-4D97-AF65-F5344CB8AC3E}">
        <p14:creationId xmlns:p14="http://schemas.microsoft.com/office/powerpoint/2010/main" val="21090493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78623" y="282889"/>
            <a:ext cx="3195242" cy="249299"/>
          </a:xfrm>
        </p:spPr>
        <p:txBody>
          <a:bodyPr wrap="square" lIns="0" tIns="0" rIns="0" bIns="0" anchor="t">
            <a:spAutoFit/>
          </a:bodyPr>
          <a:lstStyle/>
          <a:p>
            <a:r>
              <a:rPr lang="en-US" sz="1800" b="0" dirty="0">
                <a:solidFill>
                  <a:schemeClr val="accent3"/>
                </a:solidFill>
                <a:latin typeface="Montserrat" pitchFamily="2" charset="77"/>
              </a:rPr>
              <a:t>Investor </a:t>
            </a:r>
            <a:r>
              <a:rPr lang="en-GB" sz="1800" b="0" dirty="0">
                <a:solidFill>
                  <a:schemeClr val="accent3"/>
                </a:solidFill>
                <a:latin typeface="Montserrat" pitchFamily="2" charset="77"/>
              </a:rPr>
              <a:t>data </a:t>
            </a:r>
            <a:endParaRPr lang="en-GB" sz="1800" b="0" dirty="0">
              <a:solidFill>
                <a:schemeClr val="accent3"/>
              </a:solidFill>
              <a:effectLst>
                <a:outerShdw blurRad="38100" dist="38100" dir="2700000" algn="tl">
                  <a:srgbClr val="000000">
                    <a:alpha val="43137"/>
                  </a:srgbClr>
                </a:outerShdw>
              </a:effectLst>
              <a:latin typeface="Montserrat" pitchFamily="2" charset="77"/>
            </a:endParaRPr>
          </a:p>
        </p:txBody>
      </p:sp>
      <p:pic>
        <p:nvPicPr>
          <p:cNvPr id="1028" name="Picture 4" descr="http://www.caceis.de/fileadmin/templates/images/caceis.gif">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87500" y="-630238"/>
            <a:ext cx="2286000" cy="66675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caceis.de/fileadmin/templates/images/caceis.gif">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39900" y="-477838"/>
            <a:ext cx="2286000" cy="666751"/>
          </a:xfrm>
          <a:prstGeom prst="rect">
            <a:avLst/>
          </a:prstGeom>
          <a:noFill/>
          <a:extLst>
            <a:ext uri="{909E8E84-426E-40DD-AFC4-6F175D3DCCD1}">
              <a14:hiddenFill xmlns:a14="http://schemas.microsoft.com/office/drawing/2010/main">
                <a:solidFill>
                  <a:srgbClr val="FFFFFF"/>
                </a:solidFill>
              </a14:hiddenFill>
            </a:ext>
          </a:extLst>
        </p:spPr>
      </p:pic>
      <p:sp>
        <p:nvSpPr>
          <p:cNvPr id="8" name="Content Placeholder 2">
            <a:extLst>
              <a:ext uri="{FF2B5EF4-FFF2-40B4-BE49-F238E27FC236}">
                <a16:creationId xmlns:a16="http://schemas.microsoft.com/office/drawing/2014/main" id="{B4C6B1E9-D652-8145-89EB-588CBEAD3D68}"/>
              </a:ext>
            </a:extLst>
          </p:cNvPr>
          <p:cNvSpPr txBox="1">
            <a:spLocks/>
          </p:cNvSpPr>
          <p:nvPr/>
        </p:nvSpPr>
        <p:spPr>
          <a:xfrm>
            <a:off x="6659659" y="5107241"/>
            <a:ext cx="5094349" cy="653256"/>
          </a:xfrm>
          <a:prstGeom prst="rect">
            <a:avLst/>
          </a:prstGeom>
        </p:spPr>
        <p:txBody>
          <a:bodyPr vert="horz"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spcBef>
                <a:spcPts val="500"/>
              </a:spcBef>
              <a:buClr>
                <a:schemeClr val="accent3"/>
              </a:buClr>
              <a:buSzPct val="65000"/>
              <a:buFont typeface="Arial" panose="020B0604020202020204" pitchFamily="34" charset="0"/>
              <a:buChar char="►"/>
            </a:pPr>
            <a:r>
              <a:rPr lang="en-GB" sz="1400" dirty="0">
                <a:latin typeface="Montserrat" pitchFamily="2" charset="77"/>
              </a:rPr>
              <a:t>More than </a:t>
            </a:r>
            <a:r>
              <a:rPr lang="en-GB" sz="1400" b="1" dirty="0">
                <a:latin typeface="Montserrat SemiBold" pitchFamily="2" charset="77"/>
              </a:rPr>
              <a:t>1</a:t>
            </a:r>
            <a:r>
              <a:rPr lang="bg-BG" sz="1400" b="1" dirty="0">
                <a:latin typeface="Montserrat SemiBold" pitchFamily="2" charset="77"/>
              </a:rPr>
              <a:t>1</a:t>
            </a:r>
            <a:r>
              <a:rPr lang="en-GB" sz="1400" b="1" dirty="0">
                <a:latin typeface="Montserrat SemiBold" pitchFamily="2" charset="77"/>
              </a:rPr>
              <a:t>,000 </a:t>
            </a:r>
            <a:r>
              <a:rPr lang="en-GB" sz="1400" dirty="0">
                <a:latin typeface="Montserrat" pitchFamily="2" charset="77"/>
              </a:rPr>
              <a:t>new investors for the last 3 years;</a:t>
            </a:r>
            <a:endParaRPr lang="bg-BG" sz="1400" dirty="0">
              <a:latin typeface="Montserrat" pitchFamily="2" charset="77"/>
            </a:endParaRPr>
          </a:p>
          <a:p>
            <a:pPr>
              <a:lnSpc>
                <a:spcPct val="120000"/>
              </a:lnSpc>
              <a:spcBef>
                <a:spcPts val="500"/>
              </a:spcBef>
              <a:buClr>
                <a:schemeClr val="accent3"/>
              </a:buClr>
              <a:buSzPct val="65000"/>
              <a:buFont typeface="Arial" panose="020B0604020202020204" pitchFamily="34" charset="0"/>
              <a:buChar char="►"/>
            </a:pPr>
            <a:r>
              <a:rPr lang="en-GB" sz="1400" b="1" dirty="0">
                <a:latin typeface="Montserrat SemiBold" pitchFamily="2" charset="77"/>
              </a:rPr>
              <a:t>32% </a:t>
            </a:r>
            <a:r>
              <a:rPr lang="en-GB" sz="1400" dirty="0">
                <a:latin typeface="Montserrat" pitchFamily="2" charset="77"/>
              </a:rPr>
              <a:t>of the new individual investors </a:t>
            </a:r>
            <a:r>
              <a:rPr lang="en-GB" sz="1400" b="1" dirty="0">
                <a:latin typeface="Montserrat SemiBold" pitchFamily="2" charset="77"/>
              </a:rPr>
              <a:t>in 2023</a:t>
            </a:r>
            <a:r>
              <a:rPr lang="en-GB" sz="1400" dirty="0">
                <a:latin typeface="Montserrat" pitchFamily="2" charset="77"/>
              </a:rPr>
              <a:t>.</a:t>
            </a:r>
            <a:endParaRPr lang="en-GB" sz="1200" dirty="0">
              <a:latin typeface="Montserrat" pitchFamily="2" charset="77"/>
            </a:endParaRPr>
          </a:p>
        </p:txBody>
      </p:sp>
      <p:sp>
        <p:nvSpPr>
          <p:cNvPr id="9" name="TextBox 8">
            <a:extLst>
              <a:ext uri="{FF2B5EF4-FFF2-40B4-BE49-F238E27FC236}">
                <a16:creationId xmlns:a16="http://schemas.microsoft.com/office/drawing/2014/main" id="{14B21956-9DF4-8A4D-AC95-B3745BE51AB6}"/>
              </a:ext>
            </a:extLst>
          </p:cNvPr>
          <p:cNvSpPr txBox="1"/>
          <p:nvPr/>
        </p:nvSpPr>
        <p:spPr>
          <a:xfrm>
            <a:off x="457423" y="5097370"/>
            <a:ext cx="6069802" cy="658385"/>
          </a:xfrm>
          <a:prstGeom prst="rect">
            <a:avLst/>
          </a:prstGeom>
          <a:noFill/>
        </p:spPr>
        <p:txBody>
          <a:bodyPr wrap="square" rtlCol="0">
            <a:spAutoFit/>
          </a:bodyPr>
          <a:lstStyle/>
          <a:p>
            <a:pPr marL="228600" indent="-228600">
              <a:lnSpc>
                <a:spcPct val="120000"/>
              </a:lnSpc>
              <a:spcBef>
                <a:spcPts val="500"/>
              </a:spcBef>
              <a:buClr>
                <a:schemeClr val="accent3"/>
              </a:buClr>
              <a:buSzPct val="65000"/>
              <a:buFont typeface="Arial" panose="020B0604020202020204" pitchFamily="34" charset="0"/>
              <a:buChar char="►"/>
            </a:pPr>
            <a:r>
              <a:rPr lang="en-GB" sz="1400" b="1" dirty="0">
                <a:latin typeface="Montserrat SemiBold" pitchFamily="2" charset="77"/>
              </a:rPr>
              <a:t>76% growth in investment fund </a:t>
            </a:r>
            <a:r>
              <a:rPr lang="en-GB" sz="1400" dirty="0">
                <a:latin typeface="Montserrat" pitchFamily="2" charset="77"/>
              </a:rPr>
              <a:t>assets for the last 3 years;</a:t>
            </a:r>
          </a:p>
          <a:p>
            <a:pPr marL="228600" indent="-228600">
              <a:lnSpc>
                <a:spcPct val="120000"/>
              </a:lnSpc>
              <a:spcBef>
                <a:spcPts val="500"/>
              </a:spcBef>
              <a:buClr>
                <a:schemeClr val="accent3"/>
              </a:buClr>
              <a:buSzPct val="65000"/>
              <a:buFont typeface="Arial" panose="020B0604020202020204" pitchFamily="34" charset="0"/>
              <a:buChar char="►"/>
            </a:pPr>
            <a:r>
              <a:rPr lang="en-GB" sz="1400" b="1" dirty="0">
                <a:latin typeface="Montserrat SemiBold" pitchFamily="2" charset="77"/>
              </a:rPr>
              <a:t>30% growth in pension fund </a:t>
            </a:r>
            <a:r>
              <a:rPr lang="en-GB" sz="1400" dirty="0">
                <a:latin typeface="Montserrat" pitchFamily="2" charset="77"/>
              </a:rPr>
              <a:t>assets for the last 3 years.</a:t>
            </a:r>
          </a:p>
        </p:txBody>
      </p:sp>
      <p:graphicFrame>
        <p:nvGraphicFramePr>
          <p:cNvPr id="10" name="Chart 9">
            <a:extLst>
              <a:ext uri="{FF2B5EF4-FFF2-40B4-BE49-F238E27FC236}">
                <a16:creationId xmlns:a16="http://schemas.microsoft.com/office/drawing/2014/main" id="{32ED87C6-9B3E-AC43-9444-445A05F7C6C8}"/>
              </a:ext>
            </a:extLst>
          </p:cNvPr>
          <p:cNvGraphicFramePr>
            <a:graphicFrameLocks/>
          </p:cNvGraphicFramePr>
          <p:nvPr>
            <p:extLst>
              <p:ext uri="{D42A27DB-BD31-4B8C-83A1-F6EECF244321}">
                <p14:modId xmlns:p14="http://schemas.microsoft.com/office/powerpoint/2010/main" val="2368435024"/>
              </p:ext>
            </p:extLst>
          </p:nvPr>
        </p:nvGraphicFramePr>
        <p:xfrm>
          <a:off x="457423" y="1459140"/>
          <a:ext cx="5074920" cy="300273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1" name="Chart 10">
            <a:extLst>
              <a:ext uri="{FF2B5EF4-FFF2-40B4-BE49-F238E27FC236}">
                <a16:creationId xmlns:a16="http://schemas.microsoft.com/office/drawing/2014/main" id="{24F25F4B-6978-104D-A86C-3151913A9F14}"/>
              </a:ext>
            </a:extLst>
          </p:cNvPr>
          <p:cNvGraphicFramePr>
            <a:graphicFrameLocks/>
          </p:cNvGraphicFramePr>
          <p:nvPr>
            <p:extLst>
              <p:ext uri="{D42A27DB-BD31-4B8C-83A1-F6EECF244321}">
                <p14:modId xmlns:p14="http://schemas.microsoft.com/office/powerpoint/2010/main" val="421752680"/>
              </p:ext>
            </p:extLst>
          </p:nvPr>
        </p:nvGraphicFramePr>
        <p:xfrm>
          <a:off x="6659659" y="1459140"/>
          <a:ext cx="4385569" cy="2902426"/>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47675079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0800000">
            <a:off x="-4" y="0"/>
            <a:ext cx="12192003" cy="6858000"/>
          </a:xfrm>
          <a:prstGeom prst="rect">
            <a:avLst/>
          </a:prstGeom>
        </p:spPr>
      </p:pic>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t="35327" b="35532"/>
          <a:stretch/>
        </p:blipFill>
        <p:spPr>
          <a:xfrm>
            <a:off x="0" y="0"/>
            <a:ext cx="12192000" cy="1715678"/>
          </a:xfrm>
          <a:prstGeom prst="rect">
            <a:avLst/>
          </a:prstGeom>
        </p:spPr>
      </p:pic>
      <p:sp>
        <p:nvSpPr>
          <p:cNvPr id="5" name="TextBox 4"/>
          <p:cNvSpPr txBox="1"/>
          <p:nvPr/>
        </p:nvSpPr>
        <p:spPr>
          <a:xfrm>
            <a:off x="338540" y="257407"/>
            <a:ext cx="9531323" cy="830997"/>
          </a:xfrm>
          <a:prstGeom prst="rect">
            <a:avLst/>
          </a:prstGeom>
          <a:noFill/>
        </p:spPr>
        <p:txBody>
          <a:bodyPr wrap="square" rtlCol="0">
            <a:spAutoFit/>
          </a:bodyPr>
          <a:lstStyle/>
          <a:p>
            <a:r>
              <a:rPr lang="en-US" sz="2400" dirty="0">
                <a:solidFill>
                  <a:schemeClr val="bg1"/>
                </a:solidFill>
                <a:latin typeface="Montserrat Black" pitchFamily="2" charset="-52"/>
              </a:rPr>
              <a:t>II. </a:t>
            </a:r>
            <a:r>
              <a:rPr lang="bg-BG" sz="2400" dirty="0">
                <a:solidFill>
                  <a:schemeClr val="bg1"/>
                </a:solidFill>
                <a:latin typeface="Montserrat Black" pitchFamily="2" charset="-52"/>
              </a:rPr>
              <a:t>ПЪТЯТ НА ЕДНА КОМПАНИЯ КЪМ ПУБЛИЧНО ПРЕДЛАГАНЕ И ДОПУСКАНЕ ДО РЕГУЛИРАН ПАЗАР</a:t>
            </a:r>
          </a:p>
        </p:txBody>
      </p:sp>
      <p:sp>
        <p:nvSpPr>
          <p:cNvPr id="8" name="TextBox 7"/>
          <p:cNvSpPr txBox="1"/>
          <p:nvPr/>
        </p:nvSpPr>
        <p:spPr>
          <a:xfrm>
            <a:off x="338540" y="1042237"/>
            <a:ext cx="9192785" cy="369332"/>
          </a:xfrm>
          <a:prstGeom prst="rect">
            <a:avLst/>
          </a:prstGeom>
          <a:noFill/>
        </p:spPr>
        <p:txBody>
          <a:bodyPr wrap="square" rtlCol="0">
            <a:spAutoFit/>
          </a:bodyPr>
          <a:lstStyle/>
          <a:p>
            <a:r>
              <a:rPr lang="ru-RU" dirty="0" err="1">
                <a:solidFill>
                  <a:schemeClr val="bg1"/>
                </a:solidFill>
                <a:latin typeface="Montserrat" pitchFamily="2" charset="-52"/>
              </a:rPr>
              <a:t>Изискване</a:t>
            </a:r>
            <a:r>
              <a:rPr lang="ru-RU" dirty="0">
                <a:solidFill>
                  <a:schemeClr val="bg1"/>
                </a:solidFill>
                <a:latin typeface="Montserrat" pitchFamily="2" charset="-52"/>
              </a:rPr>
              <a:t> за проспект. </a:t>
            </a:r>
            <a:r>
              <a:rPr lang="ru-RU" dirty="0" err="1">
                <a:solidFill>
                  <a:schemeClr val="bg1"/>
                </a:solidFill>
                <a:latin typeface="Montserrat" pitchFamily="2" charset="-52"/>
              </a:rPr>
              <a:t>Приложими</a:t>
            </a:r>
            <a:r>
              <a:rPr lang="ru-RU" dirty="0">
                <a:solidFill>
                  <a:schemeClr val="bg1"/>
                </a:solidFill>
                <a:latin typeface="Montserrat" pitchFamily="2" charset="-52"/>
              </a:rPr>
              <a:t> </a:t>
            </a:r>
            <a:r>
              <a:rPr lang="ru-RU" dirty="0" err="1">
                <a:solidFill>
                  <a:schemeClr val="bg1"/>
                </a:solidFill>
                <a:latin typeface="Montserrat" pitchFamily="2" charset="-52"/>
              </a:rPr>
              <a:t>нормативни</a:t>
            </a:r>
            <a:r>
              <a:rPr lang="ru-RU" dirty="0">
                <a:solidFill>
                  <a:schemeClr val="bg1"/>
                </a:solidFill>
                <a:latin typeface="Montserrat" pitchFamily="2" charset="-52"/>
              </a:rPr>
              <a:t> </a:t>
            </a:r>
            <a:r>
              <a:rPr lang="ru-RU" dirty="0" err="1">
                <a:solidFill>
                  <a:schemeClr val="bg1"/>
                </a:solidFill>
                <a:latin typeface="Montserrat" pitchFamily="2" charset="-52"/>
              </a:rPr>
              <a:t>актове</a:t>
            </a:r>
            <a:r>
              <a:rPr lang="ru-RU" dirty="0">
                <a:solidFill>
                  <a:schemeClr val="bg1"/>
                </a:solidFill>
                <a:latin typeface="Montserrat" pitchFamily="2" charset="-52"/>
              </a:rPr>
              <a:t> (НА). </a:t>
            </a:r>
            <a:endParaRPr lang="bg-BG" dirty="0">
              <a:solidFill>
                <a:schemeClr val="bg1"/>
              </a:solidFill>
              <a:latin typeface="Montserrat" pitchFamily="2" charset="-52"/>
            </a:endParaRPr>
          </a:p>
        </p:txBody>
      </p:sp>
      <p:sp>
        <p:nvSpPr>
          <p:cNvPr id="6" name="Rectangle 5"/>
          <p:cNvSpPr/>
          <p:nvPr/>
        </p:nvSpPr>
        <p:spPr>
          <a:xfrm>
            <a:off x="2138836" y="2009060"/>
            <a:ext cx="6732177" cy="830997"/>
          </a:xfrm>
          <a:prstGeom prst="rect">
            <a:avLst/>
          </a:prstGeom>
        </p:spPr>
        <p:txBody>
          <a:bodyPr wrap="square">
            <a:spAutoFit/>
          </a:bodyPr>
          <a:lstStyle/>
          <a:p>
            <a:r>
              <a:rPr lang="ru-RU" sz="1600" dirty="0">
                <a:solidFill>
                  <a:srgbClr val="093C6B"/>
                </a:solidFill>
                <a:latin typeface="Montserrat" pitchFamily="2" charset="-52"/>
              </a:rPr>
              <a:t>Публично </a:t>
            </a:r>
            <a:r>
              <a:rPr lang="ru-RU" sz="1600" dirty="0" err="1">
                <a:solidFill>
                  <a:srgbClr val="093C6B"/>
                </a:solidFill>
                <a:latin typeface="Montserrat" pitchFamily="2" charset="-52"/>
              </a:rPr>
              <a:t>предлагане</a:t>
            </a:r>
            <a:r>
              <a:rPr lang="ru-RU" sz="1600" dirty="0">
                <a:solidFill>
                  <a:srgbClr val="093C6B"/>
                </a:solidFill>
                <a:latin typeface="Montserrat" pitchFamily="2" charset="-52"/>
              </a:rPr>
              <a:t> на </a:t>
            </a:r>
            <a:r>
              <a:rPr lang="ru-RU" sz="1600" dirty="0" err="1">
                <a:solidFill>
                  <a:srgbClr val="093C6B"/>
                </a:solidFill>
                <a:latin typeface="Montserrat" pitchFamily="2" charset="-52"/>
              </a:rPr>
              <a:t>ценни</a:t>
            </a:r>
            <a:r>
              <a:rPr lang="ru-RU" sz="1600" dirty="0">
                <a:solidFill>
                  <a:srgbClr val="093C6B"/>
                </a:solidFill>
                <a:latin typeface="Montserrat" pitchFamily="2" charset="-52"/>
              </a:rPr>
              <a:t> </a:t>
            </a:r>
            <a:r>
              <a:rPr lang="ru-RU" sz="1600" dirty="0" err="1">
                <a:solidFill>
                  <a:srgbClr val="093C6B"/>
                </a:solidFill>
                <a:latin typeface="Montserrat" pitchFamily="2" charset="-52"/>
              </a:rPr>
              <a:t>книжа</a:t>
            </a:r>
            <a:r>
              <a:rPr lang="ru-RU" sz="1600" dirty="0">
                <a:solidFill>
                  <a:srgbClr val="093C6B"/>
                </a:solidFill>
                <a:latin typeface="Montserrat" pitchFamily="2" charset="-52"/>
              </a:rPr>
              <a:t> и/или </a:t>
            </a:r>
            <a:r>
              <a:rPr lang="ru-RU" sz="1600" dirty="0" err="1">
                <a:solidFill>
                  <a:srgbClr val="093C6B"/>
                </a:solidFill>
                <a:latin typeface="Montserrat" pitchFamily="2" charset="-52"/>
              </a:rPr>
              <a:t>допускане</a:t>
            </a:r>
            <a:r>
              <a:rPr lang="ru-RU" sz="1600" dirty="0">
                <a:solidFill>
                  <a:srgbClr val="093C6B"/>
                </a:solidFill>
                <a:latin typeface="Montserrat" pitchFamily="2" charset="-52"/>
              </a:rPr>
              <a:t> на </a:t>
            </a:r>
            <a:r>
              <a:rPr lang="ru-RU" sz="1600" dirty="0" err="1">
                <a:solidFill>
                  <a:srgbClr val="093C6B"/>
                </a:solidFill>
                <a:latin typeface="Montserrat" pitchFamily="2" charset="-52"/>
              </a:rPr>
              <a:t>ценни</a:t>
            </a:r>
            <a:r>
              <a:rPr lang="ru-RU" sz="1600" dirty="0">
                <a:solidFill>
                  <a:srgbClr val="093C6B"/>
                </a:solidFill>
                <a:latin typeface="Montserrat" pitchFamily="2" charset="-52"/>
              </a:rPr>
              <a:t> </a:t>
            </a:r>
            <a:r>
              <a:rPr lang="ru-RU" sz="1600" dirty="0" err="1">
                <a:solidFill>
                  <a:srgbClr val="093C6B"/>
                </a:solidFill>
                <a:latin typeface="Montserrat" pitchFamily="2" charset="-52"/>
              </a:rPr>
              <a:t>книжа</a:t>
            </a:r>
            <a:r>
              <a:rPr lang="ru-RU" sz="1600" dirty="0">
                <a:solidFill>
                  <a:srgbClr val="093C6B"/>
                </a:solidFill>
                <a:latin typeface="Montserrat" pitchFamily="2" charset="-52"/>
              </a:rPr>
              <a:t> до </a:t>
            </a:r>
            <a:r>
              <a:rPr lang="ru-RU" sz="1600" dirty="0" err="1">
                <a:solidFill>
                  <a:srgbClr val="093C6B"/>
                </a:solidFill>
                <a:latin typeface="Montserrat" pitchFamily="2" charset="-52"/>
              </a:rPr>
              <a:t>търговия</a:t>
            </a:r>
            <a:r>
              <a:rPr lang="ru-RU" sz="1600" dirty="0">
                <a:solidFill>
                  <a:srgbClr val="093C6B"/>
                </a:solidFill>
                <a:latin typeface="Montserrat" pitchFamily="2" charset="-52"/>
              </a:rPr>
              <a:t> на </a:t>
            </a:r>
            <a:r>
              <a:rPr lang="ru-RU" sz="1600" dirty="0" err="1">
                <a:solidFill>
                  <a:srgbClr val="093C6B"/>
                </a:solidFill>
                <a:latin typeface="Montserrat" pitchFamily="2" charset="-52"/>
              </a:rPr>
              <a:t>регулиран</a:t>
            </a:r>
            <a:r>
              <a:rPr lang="ru-RU" sz="1600" dirty="0">
                <a:solidFill>
                  <a:srgbClr val="093C6B"/>
                </a:solidFill>
                <a:latin typeface="Montserrat" pitchFamily="2" charset="-52"/>
              </a:rPr>
              <a:t> </a:t>
            </a:r>
            <a:r>
              <a:rPr lang="ru-RU" sz="1600" dirty="0" err="1">
                <a:solidFill>
                  <a:srgbClr val="093C6B"/>
                </a:solidFill>
                <a:latin typeface="Montserrat" pitchFamily="2" charset="-52"/>
              </a:rPr>
              <a:t>пазар</a:t>
            </a:r>
            <a:r>
              <a:rPr lang="ru-RU" sz="1600" dirty="0">
                <a:solidFill>
                  <a:srgbClr val="093C6B"/>
                </a:solidFill>
                <a:latin typeface="Montserrat" pitchFamily="2" charset="-52"/>
              </a:rPr>
              <a:t> се </a:t>
            </a:r>
            <a:r>
              <a:rPr lang="ru-RU" sz="1600" dirty="0" err="1">
                <a:solidFill>
                  <a:srgbClr val="093C6B"/>
                </a:solidFill>
                <a:latin typeface="Montserrat" pitchFamily="2" charset="-52"/>
              </a:rPr>
              <a:t>извършва</a:t>
            </a:r>
            <a:r>
              <a:rPr lang="ru-RU" sz="1600" dirty="0">
                <a:solidFill>
                  <a:srgbClr val="093C6B"/>
                </a:solidFill>
                <a:latin typeface="Montserrat" pitchFamily="2" charset="-52"/>
              </a:rPr>
              <a:t> след </a:t>
            </a:r>
            <a:r>
              <a:rPr lang="ru-RU" sz="1600" dirty="0" err="1">
                <a:solidFill>
                  <a:srgbClr val="093C6B"/>
                </a:solidFill>
                <a:latin typeface="Montserrat" pitchFamily="2" charset="-52"/>
              </a:rPr>
              <a:t>публикуване</a:t>
            </a:r>
            <a:r>
              <a:rPr lang="ru-RU" sz="1600" dirty="0">
                <a:solidFill>
                  <a:srgbClr val="093C6B"/>
                </a:solidFill>
                <a:latin typeface="Montserrat" pitchFamily="2" charset="-52"/>
              </a:rPr>
              <a:t> на одобрен от КФН проспект.</a:t>
            </a:r>
            <a:endParaRPr lang="bg-BG" sz="1600" dirty="0">
              <a:solidFill>
                <a:srgbClr val="093C6B"/>
              </a:solidFill>
              <a:latin typeface="Montserrat" pitchFamily="2" charset="-52"/>
            </a:endParaRPr>
          </a:p>
        </p:txBody>
      </p:sp>
      <p:pic>
        <p:nvPicPr>
          <p:cNvPr id="15" name="Picture 14"/>
          <p:cNvPicPr>
            <a:picLocks noChangeAspect="1"/>
          </p:cNvPicPr>
          <p:nvPr/>
        </p:nvPicPr>
        <p:blipFill>
          <a:blip r:embed="rId4" cstate="print">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rot="16200000">
            <a:off x="-2078202" y="2074685"/>
            <a:ext cx="4141411" cy="4141411"/>
          </a:xfrm>
          <a:prstGeom prst="rect">
            <a:avLst/>
          </a:prstGeom>
        </p:spPr>
      </p:pic>
      <p:sp>
        <p:nvSpPr>
          <p:cNvPr id="18" name="Rectangle 17"/>
          <p:cNvSpPr/>
          <p:nvPr/>
        </p:nvSpPr>
        <p:spPr>
          <a:xfrm>
            <a:off x="177251" y="3856999"/>
            <a:ext cx="2133468" cy="400110"/>
          </a:xfrm>
          <a:prstGeom prst="rect">
            <a:avLst/>
          </a:prstGeom>
        </p:spPr>
        <p:txBody>
          <a:bodyPr wrap="square">
            <a:spAutoFit/>
          </a:bodyPr>
          <a:lstStyle/>
          <a:p>
            <a:r>
              <a:rPr lang="ru-RU" sz="2000" dirty="0">
                <a:solidFill>
                  <a:schemeClr val="bg1"/>
                </a:solidFill>
                <a:latin typeface="Montserrat ExtraBold" panose="00000900000000000000" pitchFamily="50" charset="-52"/>
              </a:rPr>
              <a:t>ПРОСПЕКТ</a:t>
            </a:r>
            <a:endParaRPr lang="bg-BG" sz="2000" dirty="0">
              <a:latin typeface="Montserrat ExtraBold" panose="00000900000000000000" pitchFamily="50" charset="-52"/>
            </a:endParaRPr>
          </a:p>
        </p:txBody>
      </p:sp>
      <p:sp>
        <p:nvSpPr>
          <p:cNvPr id="31" name="Oval 30"/>
          <p:cNvSpPr/>
          <p:nvPr/>
        </p:nvSpPr>
        <p:spPr>
          <a:xfrm>
            <a:off x="1008060" y="2309756"/>
            <a:ext cx="141729" cy="141729"/>
          </a:xfrm>
          <a:prstGeom prst="ellipse">
            <a:avLst/>
          </a:prstGeom>
          <a:solidFill>
            <a:srgbClr val="022A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cxnSp>
        <p:nvCxnSpPr>
          <p:cNvPr id="34" name="Straight Connector 33"/>
          <p:cNvCxnSpPr/>
          <p:nvPr/>
        </p:nvCxnSpPr>
        <p:spPr>
          <a:xfrm>
            <a:off x="1083687" y="2382159"/>
            <a:ext cx="801474" cy="6422"/>
          </a:xfrm>
          <a:prstGeom prst="line">
            <a:avLst/>
          </a:prstGeom>
          <a:ln w="19050">
            <a:solidFill>
              <a:srgbClr val="02295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1885161" y="2388582"/>
            <a:ext cx="336429" cy="415499"/>
          </a:xfrm>
          <a:prstGeom prst="line">
            <a:avLst/>
          </a:prstGeom>
          <a:ln w="19050">
            <a:solidFill>
              <a:srgbClr val="02295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1590" y="2804081"/>
            <a:ext cx="6604321" cy="0"/>
          </a:xfrm>
          <a:prstGeom prst="line">
            <a:avLst/>
          </a:prstGeom>
          <a:ln w="19050">
            <a:solidFill>
              <a:srgbClr val="022952"/>
            </a:solidFill>
          </a:ln>
        </p:spPr>
        <p:style>
          <a:lnRef idx="1">
            <a:schemeClr val="accent1"/>
          </a:lnRef>
          <a:fillRef idx="0">
            <a:schemeClr val="accent1"/>
          </a:fillRef>
          <a:effectRef idx="0">
            <a:schemeClr val="accent1"/>
          </a:effectRef>
          <a:fontRef idx="minor">
            <a:schemeClr val="tx1"/>
          </a:fontRef>
        </p:style>
      </p:cxnSp>
      <p:sp>
        <p:nvSpPr>
          <p:cNvPr id="40" name="Oval 39"/>
          <p:cNvSpPr/>
          <p:nvPr/>
        </p:nvSpPr>
        <p:spPr>
          <a:xfrm>
            <a:off x="8741648" y="2733217"/>
            <a:ext cx="141729" cy="141729"/>
          </a:xfrm>
          <a:prstGeom prst="ellipse">
            <a:avLst/>
          </a:prstGeom>
          <a:solidFill>
            <a:srgbClr val="022A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nvGrpSpPr>
          <p:cNvPr id="20" name="Group 19">
            <a:extLst>
              <a:ext uri="{FF2B5EF4-FFF2-40B4-BE49-F238E27FC236}">
                <a16:creationId xmlns:a16="http://schemas.microsoft.com/office/drawing/2014/main" id="{EB95C0A3-5E46-E65B-E233-9C258477E652}"/>
              </a:ext>
            </a:extLst>
          </p:cNvPr>
          <p:cNvGrpSpPr/>
          <p:nvPr/>
        </p:nvGrpSpPr>
        <p:grpSpPr>
          <a:xfrm>
            <a:off x="1971971" y="3153955"/>
            <a:ext cx="9886950" cy="1389504"/>
            <a:chOff x="1939773" y="3667476"/>
            <a:chExt cx="9886950" cy="1389504"/>
          </a:xfrm>
        </p:grpSpPr>
        <p:sp>
          <p:nvSpPr>
            <p:cNvPr id="14" name="Rectangle 13"/>
            <p:cNvSpPr/>
            <p:nvPr/>
          </p:nvSpPr>
          <p:spPr>
            <a:xfrm>
              <a:off x="2556625" y="3667476"/>
              <a:ext cx="9270098" cy="1323439"/>
            </a:xfrm>
            <a:prstGeom prst="rect">
              <a:avLst/>
            </a:prstGeom>
          </p:spPr>
          <p:txBody>
            <a:bodyPr wrap="square">
              <a:spAutoFit/>
            </a:bodyPr>
            <a:lstStyle/>
            <a:p>
              <a:r>
                <a:rPr lang="ru-RU" sz="1600" dirty="0">
                  <a:solidFill>
                    <a:srgbClr val="093C6B"/>
                  </a:solidFill>
                  <a:latin typeface="Montserrat" pitchFamily="2" charset="-52"/>
                </a:rPr>
                <a:t>Регламент (EС) 2017/1129 на </a:t>
              </a:r>
              <a:r>
                <a:rPr lang="ru-RU" sz="1600" dirty="0" err="1">
                  <a:solidFill>
                    <a:srgbClr val="093C6B"/>
                  </a:solidFill>
                  <a:latin typeface="Montserrat" pitchFamily="2" charset="-52"/>
                </a:rPr>
                <a:t>Европейския</a:t>
              </a:r>
              <a:r>
                <a:rPr lang="ru-RU" sz="1600" dirty="0">
                  <a:solidFill>
                    <a:srgbClr val="093C6B"/>
                  </a:solidFill>
                  <a:latin typeface="Montserrat" pitchFamily="2" charset="-52"/>
                </a:rPr>
                <a:t> парламент и на </a:t>
              </a:r>
              <a:r>
                <a:rPr lang="ru-RU" sz="1600" dirty="0" err="1">
                  <a:solidFill>
                    <a:srgbClr val="093C6B"/>
                  </a:solidFill>
                  <a:latin typeface="Montserrat" pitchFamily="2" charset="-52"/>
                </a:rPr>
                <a:t>Съвета</a:t>
              </a:r>
              <a:r>
                <a:rPr lang="ru-RU" sz="1600" dirty="0">
                  <a:solidFill>
                    <a:srgbClr val="093C6B"/>
                  </a:solidFill>
                  <a:latin typeface="Montserrat" pitchFamily="2" charset="-52"/>
                </a:rPr>
                <a:t> от 14 </a:t>
              </a:r>
              <a:r>
                <a:rPr lang="ru-RU" sz="1600" dirty="0" err="1">
                  <a:solidFill>
                    <a:srgbClr val="093C6B"/>
                  </a:solidFill>
                  <a:latin typeface="Montserrat" pitchFamily="2" charset="-52"/>
                </a:rPr>
                <a:t>юни</a:t>
              </a:r>
              <a:r>
                <a:rPr lang="ru-RU" sz="1600" dirty="0">
                  <a:solidFill>
                    <a:srgbClr val="093C6B"/>
                  </a:solidFill>
                  <a:latin typeface="Montserrat" pitchFamily="2" charset="-52"/>
                </a:rPr>
                <a:t> 2017 г. </a:t>
              </a:r>
              <a:r>
                <a:rPr lang="ru-RU" sz="1600" dirty="0" err="1">
                  <a:solidFill>
                    <a:srgbClr val="093C6B"/>
                  </a:solidFill>
                  <a:latin typeface="Montserrat" pitchFamily="2" charset="-52"/>
                </a:rPr>
                <a:t>относно</a:t>
              </a:r>
              <a:r>
                <a:rPr lang="ru-RU" sz="1600" dirty="0">
                  <a:solidFill>
                    <a:srgbClr val="093C6B"/>
                  </a:solidFill>
                  <a:latin typeface="Montserrat" pitchFamily="2" charset="-52"/>
                </a:rPr>
                <a:t> проспекта, </a:t>
              </a:r>
              <a:r>
                <a:rPr lang="ru-RU" sz="1600" dirty="0" err="1">
                  <a:solidFill>
                    <a:srgbClr val="093C6B"/>
                  </a:solidFill>
                  <a:latin typeface="Montserrat" pitchFamily="2" charset="-52"/>
                </a:rPr>
                <a:t>който</a:t>
              </a:r>
              <a:r>
                <a:rPr lang="ru-RU" sz="1600" dirty="0">
                  <a:solidFill>
                    <a:srgbClr val="093C6B"/>
                  </a:solidFill>
                  <a:latin typeface="Montserrat" pitchFamily="2" charset="-52"/>
                </a:rPr>
                <a:t> </a:t>
              </a:r>
              <a:r>
                <a:rPr lang="ru-RU" sz="1600" dirty="0" err="1">
                  <a:solidFill>
                    <a:srgbClr val="093C6B"/>
                  </a:solidFill>
                  <a:latin typeface="Montserrat" pitchFamily="2" charset="-52"/>
                </a:rPr>
                <a:t>трябва</a:t>
              </a:r>
              <a:r>
                <a:rPr lang="ru-RU" sz="1600" dirty="0">
                  <a:solidFill>
                    <a:srgbClr val="093C6B"/>
                  </a:solidFill>
                  <a:latin typeface="Montserrat" pitchFamily="2" charset="-52"/>
                </a:rPr>
                <a:t> да се </a:t>
              </a:r>
              <a:r>
                <a:rPr lang="ru-RU" sz="1600" dirty="0" err="1">
                  <a:solidFill>
                    <a:srgbClr val="093C6B"/>
                  </a:solidFill>
                  <a:latin typeface="Montserrat" pitchFamily="2" charset="-52"/>
                </a:rPr>
                <a:t>публикува</a:t>
              </a:r>
              <a:r>
                <a:rPr lang="ru-RU" sz="1600" dirty="0">
                  <a:solidFill>
                    <a:srgbClr val="093C6B"/>
                  </a:solidFill>
                  <a:latin typeface="Montserrat" pitchFamily="2" charset="-52"/>
                </a:rPr>
                <a:t> при публично </a:t>
              </a:r>
              <a:r>
                <a:rPr lang="ru-RU" sz="1600" dirty="0" err="1">
                  <a:solidFill>
                    <a:srgbClr val="093C6B"/>
                  </a:solidFill>
                  <a:latin typeface="Montserrat" pitchFamily="2" charset="-52"/>
                </a:rPr>
                <a:t>предлагане</a:t>
              </a:r>
              <a:r>
                <a:rPr lang="ru-RU" sz="1600" dirty="0">
                  <a:solidFill>
                    <a:srgbClr val="093C6B"/>
                  </a:solidFill>
                  <a:latin typeface="Montserrat" pitchFamily="2" charset="-52"/>
                </a:rPr>
                <a:t> или </a:t>
              </a:r>
              <a:r>
                <a:rPr lang="ru-RU" sz="1600" dirty="0" err="1">
                  <a:solidFill>
                    <a:srgbClr val="093C6B"/>
                  </a:solidFill>
                  <a:latin typeface="Montserrat" pitchFamily="2" charset="-52"/>
                </a:rPr>
                <a:t>допускане</a:t>
              </a:r>
              <a:r>
                <a:rPr lang="ru-RU" sz="1600" dirty="0">
                  <a:solidFill>
                    <a:srgbClr val="093C6B"/>
                  </a:solidFill>
                  <a:latin typeface="Montserrat" pitchFamily="2" charset="-52"/>
                </a:rPr>
                <a:t> на </a:t>
              </a:r>
              <a:r>
                <a:rPr lang="ru-RU" sz="1600" dirty="0" err="1">
                  <a:solidFill>
                    <a:srgbClr val="093C6B"/>
                  </a:solidFill>
                  <a:latin typeface="Montserrat" pitchFamily="2" charset="-52"/>
                </a:rPr>
                <a:t>ценни</a:t>
              </a:r>
              <a:r>
                <a:rPr lang="ru-RU" sz="1600" dirty="0">
                  <a:solidFill>
                    <a:srgbClr val="093C6B"/>
                  </a:solidFill>
                  <a:latin typeface="Montserrat" pitchFamily="2" charset="-52"/>
                </a:rPr>
                <a:t> </a:t>
              </a:r>
              <a:r>
                <a:rPr lang="ru-RU" sz="1600" dirty="0" err="1">
                  <a:solidFill>
                    <a:srgbClr val="093C6B"/>
                  </a:solidFill>
                  <a:latin typeface="Montserrat" pitchFamily="2" charset="-52"/>
                </a:rPr>
                <a:t>книжа</a:t>
              </a:r>
              <a:r>
                <a:rPr lang="ru-RU" sz="1600" dirty="0">
                  <a:solidFill>
                    <a:srgbClr val="093C6B"/>
                  </a:solidFill>
                  <a:latin typeface="Montserrat" pitchFamily="2" charset="-52"/>
                </a:rPr>
                <a:t> до </a:t>
              </a:r>
              <a:r>
                <a:rPr lang="ru-RU" sz="1600" dirty="0" err="1">
                  <a:solidFill>
                    <a:srgbClr val="093C6B"/>
                  </a:solidFill>
                  <a:latin typeface="Montserrat" pitchFamily="2" charset="-52"/>
                </a:rPr>
                <a:t>търговия</a:t>
              </a:r>
              <a:r>
                <a:rPr lang="ru-RU" sz="1600" dirty="0">
                  <a:solidFill>
                    <a:srgbClr val="093C6B"/>
                  </a:solidFill>
                  <a:latin typeface="Montserrat" pitchFamily="2" charset="-52"/>
                </a:rPr>
                <a:t> на </a:t>
              </a:r>
              <a:r>
                <a:rPr lang="ru-RU" sz="1600" dirty="0" err="1">
                  <a:solidFill>
                    <a:srgbClr val="093C6B"/>
                  </a:solidFill>
                  <a:latin typeface="Montserrat" pitchFamily="2" charset="-52"/>
                </a:rPr>
                <a:t>регулиран</a:t>
              </a:r>
              <a:r>
                <a:rPr lang="ru-RU" sz="1600" dirty="0">
                  <a:solidFill>
                    <a:srgbClr val="093C6B"/>
                  </a:solidFill>
                  <a:latin typeface="Montserrat" pitchFamily="2" charset="-52"/>
                </a:rPr>
                <a:t> </a:t>
              </a:r>
              <a:r>
                <a:rPr lang="ru-RU" sz="1600" dirty="0" err="1">
                  <a:solidFill>
                    <a:srgbClr val="093C6B"/>
                  </a:solidFill>
                  <a:latin typeface="Montserrat" pitchFamily="2" charset="-52"/>
                </a:rPr>
                <a:t>пазар</a:t>
              </a:r>
              <a:r>
                <a:rPr lang="ru-RU" sz="1600" dirty="0">
                  <a:solidFill>
                    <a:srgbClr val="093C6B"/>
                  </a:solidFill>
                  <a:latin typeface="Montserrat" pitchFamily="2" charset="-52"/>
                </a:rPr>
                <a:t>, и за </a:t>
              </a:r>
              <a:r>
                <a:rPr lang="ru-RU" sz="1600" dirty="0" err="1">
                  <a:solidFill>
                    <a:srgbClr val="093C6B"/>
                  </a:solidFill>
                  <a:latin typeface="Montserrat" pitchFamily="2" charset="-52"/>
                </a:rPr>
                <a:t>отмяна</a:t>
              </a:r>
              <a:r>
                <a:rPr lang="ru-RU" sz="1600" dirty="0">
                  <a:solidFill>
                    <a:srgbClr val="093C6B"/>
                  </a:solidFill>
                  <a:latin typeface="Montserrat" pitchFamily="2" charset="-52"/>
                </a:rPr>
                <a:t> на Директива 2003/71/ЕО (Регламент (EС) 2017/1129), Глава шеста от Закона за </a:t>
              </a:r>
              <a:r>
                <a:rPr lang="ru-RU" sz="1600" dirty="0" err="1">
                  <a:solidFill>
                    <a:srgbClr val="093C6B"/>
                  </a:solidFill>
                  <a:latin typeface="Montserrat" pitchFamily="2" charset="-52"/>
                </a:rPr>
                <a:t>публичното</a:t>
              </a:r>
              <a:r>
                <a:rPr lang="ru-RU" sz="1600" dirty="0">
                  <a:solidFill>
                    <a:srgbClr val="093C6B"/>
                  </a:solidFill>
                  <a:latin typeface="Montserrat" pitchFamily="2" charset="-52"/>
                </a:rPr>
                <a:t> </a:t>
              </a:r>
              <a:r>
                <a:rPr lang="ru-RU" sz="1600" dirty="0" err="1">
                  <a:solidFill>
                    <a:srgbClr val="093C6B"/>
                  </a:solidFill>
                  <a:latin typeface="Montserrat" pitchFamily="2" charset="-52"/>
                </a:rPr>
                <a:t>предлагане</a:t>
              </a:r>
              <a:r>
                <a:rPr lang="ru-RU" sz="1600" dirty="0">
                  <a:solidFill>
                    <a:srgbClr val="093C6B"/>
                  </a:solidFill>
                  <a:latin typeface="Montserrat" pitchFamily="2" charset="-52"/>
                </a:rPr>
                <a:t> на </a:t>
              </a:r>
              <a:r>
                <a:rPr lang="ru-RU" sz="1600" dirty="0" err="1">
                  <a:solidFill>
                    <a:srgbClr val="093C6B"/>
                  </a:solidFill>
                  <a:latin typeface="Montserrat" pitchFamily="2" charset="-52"/>
                </a:rPr>
                <a:t>ценни</a:t>
              </a:r>
              <a:r>
                <a:rPr lang="ru-RU" sz="1600" dirty="0">
                  <a:solidFill>
                    <a:srgbClr val="093C6B"/>
                  </a:solidFill>
                  <a:latin typeface="Montserrat" pitchFamily="2" charset="-52"/>
                </a:rPr>
                <a:t> </a:t>
              </a:r>
              <a:r>
                <a:rPr lang="ru-RU" sz="1600" dirty="0" err="1">
                  <a:solidFill>
                    <a:srgbClr val="093C6B"/>
                  </a:solidFill>
                  <a:latin typeface="Montserrat" pitchFamily="2" charset="-52"/>
                </a:rPr>
                <a:t>книжа</a:t>
              </a:r>
              <a:r>
                <a:rPr lang="ru-RU" sz="1600" dirty="0">
                  <a:solidFill>
                    <a:srgbClr val="093C6B"/>
                  </a:solidFill>
                  <a:latin typeface="Montserrat" pitchFamily="2" charset="-52"/>
                </a:rPr>
                <a:t> и </a:t>
              </a:r>
              <a:r>
                <a:rPr lang="ru-RU" sz="1600" dirty="0" err="1">
                  <a:solidFill>
                    <a:srgbClr val="093C6B"/>
                  </a:solidFill>
                  <a:latin typeface="Montserrat" pitchFamily="2" charset="-52"/>
                </a:rPr>
                <a:t>актовете</a:t>
              </a:r>
              <a:r>
                <a:rPr lang="ru-RU" sz="1600" dirty="0">
                  <a:solidFill>
                    <a:srgbClr val="093C6B"/>
                  </a:solidFill>
                  <a:latin typeface="Montserrat" pitchFamily="2" charset="-52"/>
                </a:rPr>
                <a:t> по </a:t>
              </a:r>
              <a:r>
                <a:rPr lang="ru-RU" sz="1600" dirty="0" err="1">
                  <a:solidFill>
                    <a:srgbClr val="093C6B"/>
                  </a:solidFill>
                  <a:latin typeface="Montserrat" pitchFamily="2" charset="-52"/>
                </a:rPr>
                <a:t>прилагането</a:t>
              </a:r>
              <a:r>
                <a:rPr lang="ru-RU" sz="1600" dirty="0">
                  <a:solidFill>
                    <a:srgbClr val="093C6B"/>
                  </a:solidFill>
                  <a:latin typeface="Montserrat" pitchFamily="2" charset="-52"/>
                </a:rPr>
                <a:t> им.</a:t>
              </a:r>
              <a:endParaRPr lang="bg-BG" sz="1600" dirty="0">
                <a:solidFill>
                  <a:srgbClr val="093C6B"/>
                </a:solidFill>
                <a:latin typeface="Montserrat" pitchFamily="2" charset="-52"/>
              </a:endParaRPr>
            </a:p>
          </p:txBody>
        </p:sp>
        <p:grpSp>
          <p:nvGrpSpPr>
            <p:cNvPr id="19" name="Group 18">
              <a:extLst>
                <a:ext uri="{FF2B5EF4-FFF2-40B4-BE49-F238E27FC236}">
                  <a16:creationId xmlns:a16="http://schemas.microsoft.com/office/drawing/2014/main" id="{98859616-A995-4BCC-E491-1CF640AC37CA}"/>
                </a:ext>
              </a:extLst>
            </p:cNvPr>
            <p:cNvGrpSpPr/>
            <p:nvPr/>
          </p:nvGrpSpPr>
          <p:grpSpPr>
            <a:xfrm>
              <a:off x="1939773" y="4466128"/>
              <a:ext cx="9814198" cy="590852"/>
              <a:chOff x="1939773" y="4466128"/>
              <a:chExt cx="9814198" cy="590852"/>
            </a:xfrm>
          </p:grpSpPr>
          <p:grpSp>
            <p:nvGrpSpPr>
              <p:cNvPr id="12" name="Group 11">
                <a:extLst>
                  <a:ext uri="{FF2B5EF4-FFF2-40B4-BE49-F238E27FC236}">
                    <a16:creationId xmlns:a16="http://schemas.microsoft.com/office/drawing/2014/main" id="{1CAC925A-5F14-4BDA-1573-A12A6B70AD1D}"/>
                  </a:ext>
                </a:extLst>
              </p:cNvPr>
              <p:cNvGrpSpPr/>
              <p:nvPr/>
            </p:nvGrpSpPr>
            <p:grpSpPr>
              <a:xfrm>
                <a:off x="1939773" y="4466128"/>
                <a:ext cx="9814198" cy="539808"/>
                <a:chOff x="1939773" y="4466128"/>
                <a:chExt cx="9814198" cy="539808"/>
              </a:xfrm>
              <a:solidFill>
                <a:srgbClr val="105092"/>
              </a:solidFill>
            </p:grpSpPr>
            <p:grpSp>
              <p:nvGrpSpPr>
                <p:cNvPr id="2" name="Group 1"/>
                <p:cNvGrpSpPr/>
                <p:nvPr/>
              </p:nvGrpSpPr>
              <p:grpSpPr>
                <a:xfrm>
                  <a:off x="1939773" y="4466128"/>
                  <a:ext cx="338747" cy="141729"/>
                  <a:chOff x="1896209" y="4836654"/>
                  <a:chExt cx="338747" cy="141729"/>
                </a:xfrm>
                <a:grpFill/>
              </p:grpSpPr>
              <p:sp>
                <p:nvSpPr>
                  <p:cNvPr id="23" name="Oval 22"/>
                  <p:cNvSpPr/>
                  <p:nvPr/>
                </p:nvSpPr>
                <p:spPr>
                  <a:xfrm>
                    <a:off x="1896209" y="4836654"/>
                    <a:ext cx="141729" cy="141729"/>
                  </a:xfrm>
                  <a:prstGeom prst="ellipse">
                    <a:avLst/>
                  </a:prstGeom>
                  <a:grpFill/>
                  <a:ln>
                    <a:solidFill>
                      <a:srgbClr val="1050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cxnSp>
                <p:nvCxnSpPr>
                  <p:cNvPr id="28" name="Straight Connector 27"/>
                  <p:cNvCxnSpPr/>
                  <p:nvPr/>
                </p:nvCxnSpPr>
                <p:spPr>
                  <a:xfrm>
                    <a:off x="1971836" y="4909056"/>
                    <a:ext cx="263120" cy="0"/>
                  </a:xfrm>
                  <a:prstGeom prst="line">
                    <a:avLst/>
                  </a:prstGeom>
                  <a:grpFill/>
                  <a:ln w="19050">
                    <a:solidFill>
                      <a:srgbClr val="105092"/>
                    </a:solidFill>
                  </a:ln>
                </p:spPr>
                <p:style>
                  <a:lnRef idx="1">
                    <a:schemeClr val="accent1"/>
                  </a:lnRef>
                  <a:fillRef idx="0">
                    <a:schemeClr val="accent1"/>
                  </a:fillRef>
                  <a:effectRef idx="0">
                    <a:schemeClr val="accent1"/>
                  </a:effectRef>
                  <a:fontRef idx="minor">
                    <a:schemeClr val="tx1"/>
                  </a:fontRef>
                </p:style>
              </p:cxnSp>
            </p:grpSp>
            <p:cxnSp>
              <p:nvCxnSpPr>
                <p:cNvPr id="43" name="Straight Connector 42"/>
                <p:cNvCxnSpPr>
                  <a:cxnSpLocks/>
                </p:cNvCxnSpPr>
                <p:nvPr/>
              </p:nvCxnSpPr>
              <p:spPr>
                <a:xfrm>
                  <a:off x="2278166" y="4528166"/>
                  <a:ext cx="282712" cy="477770"/>
                </a:xfrm>
                <a:prstGeom prst="line">
                  <a:avLst/>
                </a:prstGeom>
                <a:grpFill/>
                <a:ln w="19050">
                  <a:solidFill>
                    <a:srgbClr val="10509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a:cxnSpLocks/>
                  <a:endCxn id="45" idx="6"/>
                </p:cNvCxnSpPr>
                <p:nvPr/>
              </p:nvCxnSpPr>
              <p:spPr>
                <a:xfrm flipV="1">
                  <a:off x="2560878" y="4986116"/>
                  <a:ext cx="9193093" cy="17894"/>
                </a:xfrm>
                <a:prstGeom prst="line">
                  <a:avLst/>
                </a:prstGeom>
                <a:grpFill/>
                <a:ln w="19050">
                  <a:solidFill>
                    <a:srgbClr val="105092"/>
                  </a:solidFill>
                </a:ln>
              </p:spPr>
              <p:style>
                <a:lnRef idx="1">
                  <a:schemeClr val="accent1"/>
                </a:lnRef>
                <a:fillRef idx="0">
                  <a:schemeClr val="accent1"/>
                </a:fillRef>
                <a:effectRef idx="0">
                  <a:schemeClr val="accent1"/>
                </a:effectRef>
                <a:fontRef idx="minor">
                  <a:schemeClr val="tx1"/>
                </a:fontRef>
              </p:style>
            </p:cxnSp>
          </p:grpSp>
          <p:sp>
            <p:nvSpPr>
              <p:cNvPr id="45" name="Oval 44"/>
              <p:cNvSpPr/>
              <p:nvPr/>
            </p:nvSpPr>
            <p:spPr>
              <a:xfrm>
                <a:off x="11612242" y="4915251"/>
                <a:ext cx="141729" cy="141729"/>
              </a:xfrm>
              <a:prstGeom prst="ellipse">
                <a:avLst/>
              </a:prstGeom>
              <a:solidFill>
                <a:srgbClr val="1050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grpSp>
        <p:nvGrpSpPr>
          <p:cNvPr id="21" name="Group 20">
            <a:extLst>
              <a:ext uri="{FF2B5EF4-FFF2-40B4-BE49-F238E27FC236}">
                <a16:creationId xmlns:a16="http://schemas.microsoft.com/office/drawing/2014/main" id="{E7DC1E63-218E-E831-AB4A-B08470FB422D}"/>
              </a:ext>
            </a:extLst>
          </p:cNvPr>
          <p:cNvGrpSpPr/>
          <p:nvPr/>
        </p:nvGrpSpPr>
        <p:grpSpPr>
          <a:xfrm>
            <a:off x="1712586" y="5076389"/>
            <a:ext cx="7622327" cy="545000"/>
            <a:chOff x="1231744" y="5695441"/>
            <a:chExt cx="7622327" cy="545000"/>
          </a:xfrm>
        </p:grpSpPr>
        <p:sp>
          <p:nvSpPr>
            <p:cNvPr id="16" name="Rectangle 15"/>
            <p:cNvSpPr/>
            <p:nvPr/>
          </p:nvSpPr>
          <p:spPr>
            <a:xfrm>
              <a:off x="2110652" y="5800563"/>
              <a:ext cx="6743419" cy="338554"/>
            </a:xfrm>
            <a:prstGeom prst="rect">
              <a:avLst/>
            </a:prstGeom>
          </p:spPr>
          <p:txBody>
            <a:bodyPr wrap="square">
              <a:spAutoFit/>
            </a:bodyPr>
            <a:lstStyle/>
            <a:p>
              <a:r>
                <a:rPr lang="ru-RU" sz="1600" dirty="0" err="1">
                  <a:solidFill>
                    <a:srgbClr val="093C6B"/>
                  </a:solidFill>
                  <a:latin typeface="Montserrat" pitchFamily="2" charset="-52"/>
                </a:rPr>
                <a:t>Делегирани</a:t>
              </a:r>
              <a:r>
                <a:rPr lang="ru-RU" sz="1600" dirty="0">
                  <a:solidFill>
                    <a:srgbClr val="093C6B"/>
                  </a:solidFill>
                  <a:latin typeface="Montserrat" pitchFamily="2" charset="-52"/>
                </a:rPr>
                <a:t> </a:t>
              </a:r>
              <a:r>
                <a:rPr lang="ru-RU" sz="1600" dirty="0" err="1">
                  <a:solidFill>
                    <a:srgbClr val="093C6B"/>
                  </a:solidFill>
                  <a:latin typeface="Montserrat" pitchFamily="2" charset="-52"/>
                </a:rPr>
                <a:t>актове</a:t>
              </a:r>
              <a:r>
                <a:rPr lang="ru-RU" sz="1600" dirty="0">
                  <a:solidFill>
                    <a:srgbClr val="093C6B"/>
                  </a:solidFill>
                  <a:latin typeface="Montserrat" pitchFamily="2" charset="-52"/>
                </a:rPr>
                <a:t> по </a:t>
              </a:r>
              <a:r>
                <a:rPr lang="ru-RU" sz="1600" dirty="0" err="1">
                  <a:solidFill>
                    <a:srgbClr val="093C6B"/>
                  </a:solidFill>
                  <a:latin typeface="Montserrat" pitchFamily="2" charset="-52"/>
                </a:rPr>
                <a:t>прилагане</a:t>
              </a:r>
              <a:r>
                <a:rPr lang="ru-RU" sz="1600" dirty="0">
                  <a:solidFill>
                    <a:srgbClr val="093C6B"/>
                  </a:solidFill>
                  <a:latin typeface="Montserrat" pitchFamily="2" charset="-52"/>
                </a:rPr>
                <a:t> на Регламент (EС) 2017/1129.</a:t>
              </a:r>
              <a:endParaRPr lang="bg-BG" sz="1600" dirty="0">
                <a:solidFill>
                  <a:srgbClr val="093C6B"/>
                </a:solidFill>
                <a:latin typeface="Montserrat" pitchFamily="2" charset="-52"/>
              </a:endParaRPr>
            </a:p>
          </p:txBody>
        </p:sp>
        <p:sp>
          <p:nvSpPr>
            <p:cNvPr id="26" name="Oval 25"/>
            <p:cNvSpPr/>
            <p:nvPr/>
          </p:nvSpPr>
          <p:spPr>
            <a:xfrm>
              <a:off x="1231744" y="5695441"/>
              <a:ext cx="141729" cy="141729"/>
            </a:xfrm>
            <a:prstGeom prst="ellipse">
              <a:avLst/>
            </a:prstGeom>
            <a:solidFill>
              <a:srgbClr val="1C77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nvGrpSpPr>
            <p:cNvPr id="13" name="Group 12">
              <a:extLst>
                <a:ext uri="{FF2B5EF4-FFF2-40B4-BE49-F238E27FC236}">
                  <a16:creationId xmlns:a16="http://schemas.microsoft.com/office/drawing/2014/main" id="{1E40B44B-CEED-2C4D-AAC5-C0BB1B395D83}"/>
                </a:ext>
              </a:extLst>
            </p:cNvPr>
            <p:cNvGrpSpPr/>
            <p:nvPr/>
          </p:nvGrpSpPr>
          <p:grpSpPr>
            <a:xfrm>
              <a:off x="1343760" y="5766306"/>
              <a:ext cx="7431779" cy="406071"/>
              <a:chOff x="1343760" y="5766306"/>
              <a:chExt cx="7431779" cy="406071"/>
            </a:xfrm>
          </p:grpSpPr>
          <p:cxnSp>
            <p:nvCxnSpPr>
              <p:cNvPr id="27" name="Straight Connector 26"/>
              <p:cNvCxnSpPr>
                <a:cxnSpLocks/>
              </p:cNvCxnSpPr>
              <p:nvPr/>
            </p:nvCxnSpPr>
            <p:spPr>
              <a:xfrm>
                <a:off x="1343760" y="5766306"/>
                <a:ext cx="622465" cy="0"/>
              </a:xfrm>
              <a:prstGeom prst="line">
                <a:avLst/>
              </a:prstGeom>
              <a:ln w="19050">
                <a:solidFill>
                  <a:srgbClr val="1C77BD"/>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cxnSpLocks/>
              </p:cNvCxnSpPr>
              <p:nvPr/>
            </p:nvCxnSpPr>
            <p:spPr>
              <a:xfrm>
                <a:off x="1948999" y="5774025"/>
                <a:ext cx="222219" cy="398352"/>
              </a:xfrm>
              <a:prstGeom prst="line">
                <a:avLst/>
              </a:prstGeom>
              <a:ln w="19050">
                <a:solidFill>
                  <a:srgbClr val="1C77BD"/>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2171218" y="6171054"/>
                <a:ext cx="6604321" cy="0"/>
              </a:xfrm>
              <a:prstGeom prst="line">
                <a:avLst/>
              </a:prstGeom>
              <a:ln w="19050">
                <a:solidFill>
                  <a:srgbClr val="1C77BD"/>
                </a:solidFill>
              </a:ln>
            </p:spPr>
            <p:style>
              <a:lnRef idx="1">
                <a:schemeClr val="accent1"/>
              </a:lnRef>
              <a:fillRef idx="0">
                <a:schemeClr val="accent1"/>
              </a:fillRef>
              <a:effectRef idx="0">
                <a:schemeClr val="accent1"/>
              </a:effectRef>
              <a:fontRef idx="minor">
                <a:schemeClr val="tx1"/>
              </a:fontRef>
            </p:style>
          </p:cxnSp>
        </p:grpSp>
        <p:sp>
          <p:nvSpPr>
            <p:cNvPr id="50" name="Oval 49"/>
            <p:cNvSpPr/>
            <p:nvPr/>
          </p:nvSpPr>
          <p:spPr>
            <a:xfrm>
              <a:off x="8712342" y="6098712"/>
              <a:ext cx="141729" cy="141729"/>
            </a:xfrm>
            <a:prstGeom prst="ellipse">
              <a:avLst/>
            </a:prstGeom>
            <a:solidFill>
              <a:srgbClr val="1C77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pic>
        <p:nvPicPr>
          <p:cNvPr id="32" name="Picture 3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131552" y="6292745"/>
            <a:ext cx="1876472" cy="361108"/>
          </a:xfrm>
          <a:prstGeom prst="rect">
            <a:avLst/>
          </a:prstGeom>
        </p:spPr>
      </p:pic>
    </p:spTree>
    <p:extLst>
      <p:ext uri="{BB962C8B-B14F-4D97-AF65-F5344CB8AC3E}">
        <p14:creationId xmlns:p14="http://schemas.microsoft.com/office/powerpoint/2010/main" val="15730316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29" y="-297"/>
            <a:ext cx="12193057" cy="6858594"/>
          </a:xfrm>
          <a:prstGeom prst="rect">
            <a:avLst/>
          </a:prstGeom>
        </p:spPr>
      </p:pic>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t="35327" b="35532"/>
          <a:stretch/>
        </p:blipFill>
        <p:spPr>
          <a:xfrm>
            <a:off x="0" y="-298"/>
            <a:ext cx="12192000" cy="1715975"/>
          </a:xfrm>
          <a:prstGeom prst="rect">
            <a:avLst/>
          </a:prstGeom>
        </p:spPr>
      </p:pic>
      <p:sp>
        <p:nvSpPr>
          <p:cNvPr id="5" name="TextBox 4"/>
          <p:cNvSpPr txBox="1"/>
          <p:nvPr/>
        </p:nvSpPr>
        <p:spPr>
          <a:xfrm>
            <a:off x="338540" y="171682"/>
            <a:ext cx="9531323" cy="830997"/>
          </a:xfrm>
          <a:prstGeom prst="rect">
            <a:avLst/>
          </a:prstGeom>
          <a:noFill/>
        </p:spPr>
        <p:txBody>
          <a:bodyPr wrap="square" rtlCol="0">
            <a:spAutoFit/>
          </a:bodyPr>
          <a:lstStyle/>
          <a:p>
            <a:r>
              <a:rPr lang="en-US" sz="2400" dirty="0">
                <a:solidFill>
                  <a:schemeClr val="bg1"/>
                </a:solidFill>
                <a:latin typeface="Montserrat Black" pitchFamily="2" charset="-52"/>
              </a:rPr>
              <a:t>II. </a:t>
            </a:r>
            <a:r>
              <a:rPr lang="bg-BG" sz="2400" dirty="0">
                <a:solidFill>
                  <a:schemeClr val="bg1"/>
                </a:solidFill>
                <a:latin typeface="Montserrat Black" pitchFamily="2" charset="-52"/>
              </a:rPr>
              <a:t>ПЪТЯТ НА ЕДНА КОМПАНИЯ КЪМ ПУБЛИЧНО ПРЕДЛАГАНЕ И ДОПУСКАНЕ ДО РЕГУЛИРАН ПАЗАР</a:t>
            </a:r>
          </a:p>
        </p:txBody>
      </p:sp>
      <p:sp>
        <p:nvSpPr>
          <p:cNvPr id="8" name="TextBox 7"/>
          <p:cNvSpPr txBox="1"/>
          <p:nvPr/>
        </p:nvSpPr>
        <p:spPr>
          <a:xfrm>
            <a:off x="338540" y="956512"/>
            <a:ext cx="9192785" cy="646331"/>
          </a:xfrm>
          <a:prstGeom prst="rect">
            <a:avLst/>
          </a:prstGeom>
          <a:noFill/>
        </p:spPr>
        <p:txBody>
          <a:bodyPr wrap="square" rtlCol="0">
            <a:spAutoFit/>
          </a:bodyPr>
          <a:lstStyle/>
          <a:p>
            <a:r>
              <a:rPr lang="ru-RU" dirty="0" err="1">
                <a:solidFill>
                  <a:schemeClr val="bg1"/>
                </a:solidFill>
                <a:latin typeface="Montserrat" pitchFamily="2" charset="-52"/>
              </a:rPr>
              <a:t>Изискване</a:t>
            </a:r>
            <a:r>
              <a:rPr lang="ru-RU" dirty="0">
                <a:solidFill>
                  <a:schemeClr val="bg1"/>
                </a:solidFill>
                <a:latin typeface="Montserrat" pitchFamily="2" charset="-52"/>
              </a:rPr>
              <a:t> за </a:t>
            </a:r>
            <a:r>
              <a:rPr lang="ru-RU" dirty="0" err="1">
                <a:solidFill>
                  <a:schemeClr val="bg1"/>
                </a:solidFill>
                <a:latin typeface="Montserrat" pitchFamily="2" charset="-52"/>
              </a:rPr>
              <a:t>подаване</a:t>
            </a:r>
            <a:r>
              <a:rPr lang="ru-RU" dirty="0">
                <a:solidFill>
                  <a:schemeClr val="bg1"/>
                </a:solidFill>
                <a:latin typeface="Montserrat" pitchFamily="2" charset="-52"/>
              </a:rPr>
              <a:t> на заявление за одобрение на проспект и </a:t>
            </a:r>
            <a:r>
              <a:rPr lang="ru-RU" dirty="0" err="1">
                <a:solidFill>
                  <a:schemeClr val="bg1"/>
                </a:solidFill>
                <a:latin typeface="Montserrat" pitchFamily="2" charset="-52"/>
              </a:rPr>
              <a:t>прилагани</a:t>
            </a:r>
            <a:r>
              <a:rPr lang="ru-RU" dirty="0">
                <a:solidFill>
                  <a:schemeClr val="bg1"/>
                </a:solidFill>
                <a:latin typeface="Montserrat" pitchFamily="2" charset="-52"/>
              </a:rPr>
              <a:t> </a:t>
            </a:r>
            <a:r>
              <a:rPr lang="ru-RU" dirty="0" err="1">
                <a:solidFill>
                  <a:schemeClr val="bg1"/>
                </a:solidFill>
                <a:latin typeface="Montserrat" pitchFamily="2" charset="-52"/>
              </a:rPr>
              <a:t>документи</a:t>
            </a:r>
            <a:r>
              <a:rPr lang="ru-RU" dirty="0">
                <a:solidFill>
                  <a:schemeClr val="bg1"/>
                </a:solidFill>
                <a:latin typeface="Montserrat" pitchFamily="2" charset="-52"/>
              </a:rPr>
              <a:t>.</a:t>
            </a:r>
            <a:endParaRPr lang="bg-BG" dirty="0">
              <a:solidFill>
                <a:schemeClr val="bg1"/>
              </a:solidFill>
              <a:latin typeface="Montserrat" pitchFamily="2" charset="-52"/>
            </a:endParaRPr>
          </a:p>
        </p:txBody>
      </p:sp>
      <p:grpSp>
        <p:nvGrpSpPr>
          <p:cNvPr id="70" name="Group 69">
            <a:extLst>
              <a:ext uri="{FF2B5EF4-FFF2-40B4-BE49-F238E27FC236}">
                <a16:creationId xmlns:a16="http://schemas.microsoft.com/office/drawing/2014/main" id="{8E21D796-730E-B377-2E56-8AFF60F7AEB0}"/>
              </a:ext>
            </a:extLst>
          </p:cNvPr>
          <p:cNvGrpSpPr/>
          <p:nvPr/>
        </p:nvGrpSpPr>
        <p:grpSpPr>
          <a:xfrm>
            <a:off x="1878475" y="2116341"/>
            <a:ext cx="9140412" cy="825591"/>
            <a:chOff x="1438152" y="2408876"/>
            <a:chExt cx="9140412" cy="825591"/>
          </a:xfrm>
        </p:grpSpPr>
        <p:grpSp>
          <p:nvGrpSpPr>
            <p:cNvPr id="12" name="Group 11">
              <a:extLst>
                <a:ext uri="{FF2B5EF4-FFF2-40B4-BE49-F238E27FC236}">
                  <a16:creationId xmlns:a16="http://schemas.microsoft.com/office/drawing/2014/main" id="{0482D4E3-DC62-5E5C-BDD5-8FB76DFDD3BC}"/>
                </a:ext>
              </a:extLst>
            </p:cNvPr>
            <p:cNvGrpSpPr/>
            <p:nvPr/>
          </p:nvGrpSpPr>
          <p:grpSpPr>
            <a:xfrm>
              <a:off x="1438152" y="2408876"/>
              <a:ext cx="9140412" cy="825591"/>
              <a:chOff x="1641144" y="2121508"/>
              <a:chExt cx="9066480" cy="1550813"/>
            </a:xfrm>
          </p:grpSpPr>
          <p:grpSp>
            <p:nvGrpSpPr>
              <p:cNvPr id="13" name="Group 12">
                <a:extLst>
                  <a:ext uri="{FF2B5EF4-FFF2-40B4-BE49-F238E27FC236}">
                    <a16:creationId xmlns:a16="http://schemas.microsoft.com/office/drawing/2014/main" id="{BE68A511-72C8-6AF3-0C99-64EB93F9BB77}"/>
                  </a:ext>
                </a:extLst>
              </p:cNvPr>
              <p:cNvGrpSpPr/>
              <p:nvPr/>
            </p:nvGrpSpPr>
            <p:grpSpPr>
              <a:xfrm>
                <a:off x="2385300" y="2121508"/>
                <a:ext cx="8322324" cy="1550813"/>
                <a:chOff x="4467935" y="4813035"/>
                <a:chExt cx="8322324" cy="1110781"/>
              </a:xfrm>
            </p:grpSpPr>
            <p:sp>
              <p:nvSpPr>
                <p:cNvPr id="26" name="Pentagon 19">
                  <a:extLst>
                    <a:ext uri="{FF2B5EF4-FFF2-40B4-BE49-F238E27FC236}">
                      <a16:creationId xmlns:a16="http://schemas.microsoft.com/office/drawing/2014/main" id="{DB528595-5E15-1643-C9BB-B4A106265726}"/>
                    </a:ext>
                  </a:extLst>
                </p:cNvPr>
                <p:cNvSpPr/>
                <p:nvPr/>
              </p:nvSpPr>
              <p:spPr>
                <a:xfrm>
                  <a:off x="5247672" y="4978352"/>
                  <a:ext cx="7542587" cy="945464"/>
                </a:xfrm>
                <a:prstGeom prst="homePlate">
                  <a:avLst>
                    <a:gd name="adj" fmla="val 0"/>
                  </a:avLst>
                </a:prstGeom>
                <a:solidFill>
                  <a:srgbClr val="09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7" name="Pentagon 20">
                  <a:extLst>
                    <a:ext uri="{FF2B5EF4-FFF2-40B4-BE49-F238E27FC236}">
                      <a16:creationId xmlns:a16="http://schemas.microsoft.com/office/drawing/2014/main" id="{D2F8F3AB-D82B-F630-49DF-36C1B1758DA1}"/>
                    </a:ext>
                  </a:extLst>
                </p:cNvPr>
                <p:cNvSpPr/>
                <p:nvPr/>
              </p:nvSpPr>
              <p:spPr>
                <a:xfrm rot="10800000">
                  <a:off x="4467935" y="4813035"/>
                  <a:ext cx="968673" cy="934245"/>
                </a:xfrm>
                <a:prstGeom prst="homePlate">
                  <a:avLst/>
                </a:prstGeom>
                <a:solidFill>
                  <a:srgbClr val="0C4F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dirty="0"/>
                </a:p>
              </p:txBody>
            </p:sp>
            <p:sp>
              <p:nvSpPr>
                <p:cNvPr id="28" name="Right Triangle 27">
                  <a:extLst>
                    <a:ext uri="{FF2B5EF4-FFF2-40B4-BE49-F238E27FC236}">
                      <a16:creationId xmlns:a16="http://schemas.microsoft.com/office/drawing/2014/main" id="{37CB983C-3625-F645-1E50-9F2860784EFC}"/>
                    </a:ext>
                  </a:extLst>
                </p:cNvPr>
                <p:cNvSpPr/>
                <p:nvPr/>
              </p:nvSpPr>
              <p:spPr>
                <a:xfrm rot="10800000" flipH="1">
                  <a:off x="5251354" y="5746785"/>
                  <a:ext cx="190930" cy="166414"/>
                </a:xfrm>
                <a:prstGeom prst="rtTriangle">
                  <a:avLst/>
                </a:prstGeom>
                <a:solidFill>
                  <a:srgbClr val="093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sp>
            <p:nvSpPr>
              <p:cNvPr id="24" name="Rectangle 23">
                <a:extLst>
                  <a:ext uri="{FF2B5EF4-FFF2-40B4-BE49-F238E27FC236}">
                    <a16:creationId xmlns:a16="http://schemas.microsoft.com/office/drawing/2014/main" id="{DA36801C-0EA5-E0F6-B4E8-77BADE514795}"/>
                  </a:ext>
                </a:extLst>
              </p:cNvPr>
              <p:cNvSpPr/>
              <p:nvPr/>
            </p:nvSpPr>
            <p:spPr>
              <a:xfrm>
                <a:off x="3474720" y="2491085"/>
                <a:ext cx="7104888" cy="635949"/>
              </a:xfrm>
              <a:prstGeom prst="rect">
                <a:avLst/>
              </a:prstGeom>
            </p:spPr>
            <p:txBody>
              <a:bodyPr wrap="square">
                <a:spAutoFit/>
              </a:bodyPr>
              <a:lstStyle/>
              <a:p>
                <a:pPr algn="just"/>
                <a:endParaRPr lang="bg-BG" sz="1600" dirty="0">
                  <a:solidFill>
                    <a:schemeClr val="bg1"/>
                  </a:solidFill>
                  <a:latin typeface="Montserrat" pitchFamily="2" charset="-52"/>
                </a:endParaRPr>
              </a:p>
            </p:txBody>
          </p:sp>
          <p:sp>
            <p:nvSpPr>
              <p:cNvPr id="25" name="Rectangle 24">
                <a:extLst>
                  <a:ext uri="{FF2B5EF4-FFF2-40B4-BE49-F238E27FC236}">
                    <a16:creationId xmlns:a16="http://schemas.microsoft.com/office/drawing/2014/main" id="{C6E21E23-5D28-384C-E1CB-E777B2FC535E}"/>
                  </a:ext>
                </a:extLst>
              </p:cNvPr>
              <p:cNvSpPr/>
              <p:nvPr/>
            </p:nvSpPr>
            <p:spPr>
              <a:xfrm>
                <a:off x="1641144" y="2566829"/>
                <a:ext cx="183237" cy="693763"/>
              </a:xfrm>
              <a:prstGeom prst="rect">
                <a:avLst/>
              </a:prstGeom>
            </p:spPr>
            <p:txBody>
              <a:bodyPr wrap="none">
                <a:spAutoFit/>
              </a:bodyPr>
              <a:lstStyle/>
              <a:p>
                <a:endParaRPr lang="bg-BG" dirty="0">
                  <a:latin typeface="Montserrat ExtraBold" panose="00000900000000000000" pitchFamily="50" charset="-52"/>
                </a:endParaRPr>
              </a:p>
            </p:txBody>
          </p:sp>
        </p:grpSp>
        <p:sp>
          <p:nvSpPr>
            <p:cNvPr id="30" name="TextBox 29">
              <a:extLst>
                <a:ext uri="{FF2B5EF4-FFF2-40B4-BE49-F238E27FC236}">
                  <a16:creationId xmlns:a16="http://schemas.microsoft.com/office/drawing/2014/main" id="{96349F3F-A838-458A-B24D-261B93075F74}"/>
                </a:ext>
              </a:extLst>
            </p:cNvPr>
            <p:cNvSpPr txBox="1"/>
            <p:nvPr/>
          </p:nvSpPr>
          <p:spPr>
            <a:xfrm>
              <a:off x="3293205" y="2559941"/>
              <a:ext cx="6094428" cy="584775"/>
            </a:xfrm>
            <a:prstGeom prst="rect">
              <a:avLst/>
            </a:prstGeom>
            <a:noFill/>
          </p:spPr>
          <p:txBody>
            <a:bodyPr wrap="square">
              <a:spAutoFit/>
            </a:bodyPr>
            <a:lstStyle/>
            <a:p>
              <a:pPr algn="just"/>
              <a:r>
                <a:rPr lang="ru-RU" sz="1600" dirty="0">
                  <a:solidFill>
                    <a:schemeClr val="bg1"/>
                  </a:solidFill>
                  <a:latin typeface="Montserrat" pitchFamily="2" charset="-52"/>
                </a:rPr>
                <a:t>образец на заявление за одобрение на проспект </a:t>
              </a:r>
              <a:r>
                <a:rPr lang="ru-RU" sz="1600" dirty="0" err="1">
                  <a:solidFill>
                    <a:schemeClr val="bg1"/>
                  </a:solidFill>
                  <a:latin typeface="Montserrat" pitchFamily="2" charset="-52"/>
                </a:rPr>
                <a:t>съгласно</a:t>
              </a:r>
              <a:r>
                <a:rPr lang="ru-RU" sz="1600" dirty="0">
                  <a:solidFill>
                    <a:schemeClr val="bg1"/>
                  </a:solidFill>
                  <a:latin typeface="Montserrat" pitchFamily="2" charset="-52"/>
                </a:rPr>
                <a:t> ЗППЦК;</a:t>
              </a:r>
            </a:p>
          </p:txBody>
        </p:sp>
      </p:grpSp>
      <p:grpSp>
        <p:nvGrpSpPr>
          <p:cNvPr id="69" name="Group 68">
            <a:extLst>
              <a:ext uri="{FF2B5EF4-FFF2-40B4-BE49-F238E27FC236}">
                <a16:creationId xmlns:a16="http://schemas.microsoft.com/office/drawing/2014/main" id="{FFBD53F5-D5EA-E9F5-FFF7-E79F57915E5E}"/>
              </a:ext>
            </a:extLst>
          </p:cNvPr>
          <p:cNvGrpSpPr/>
          <p:nvPr/>
        </p:nvGrpSpPr>
        <p:grpSpPr>
          <a:xfrm>
            <a:off x="1878475" y="2934882"/>
            <a:ext cx="9140412" cy="825591"/>
            <a:chOff x="1438152" y="3248801"/>
            <a:chExt cx="9140412" cy="825591"/>
          </a:xfrm>
        </p:grpSpPr>
        <p:grpSp>
          <p:nvGrpSpPr>
            <p:cNvPr id="31" name="Group 30">
              <a:extLst>
                <a:ext uri="{FF2B5EF4-FFF2-40B4-BE49-F238E27FC236}">
                  <a16:creationId xmlns:a16="http://schemas.microsoft.com/office/drawing/2014/main" id="{42D9EE44-C138-61BD-5D37-8091E43C0FD5}"/>
                </a:ext>
              </a:extLst>
            </p:cNvPr>
            <p:cNvGrpSpPr/>
            <p:nvPr/>
          </p:nvGrpSpPr>
          <p:grpSpPr>
            <a:xfrm>
              <a:off x="1438152" y="3248801"/>
              <a:ext cx="9140412" cy="825591"/>
              <a:chOff x="1641144" y="2121508"/>
              <a:chExt cx="9066480" cy="1550813"/>
            </a:xfrm>
          </p:grpSpPr>
          <p:grpSp>
            <p:nvGrpSpPr>
              <p:cNvPr id="32" name="Group 31">
                <a:extLst>
                  <a:ext uri="{FF2B5EF4-FFF2-40B4-BE49-F238E27FC236}">
                    <a16:creationId xmlns:a16="http://schemas.microsoft.com/office/drawing/2014/main" id="{0BCB625C-18B2-645F-B398-423502A9310B}"/>
                  </a:ext>
                </a:extLst>
              </p:cNvPr>
              <p:cNvGrpSpPr/>
              <p:nvPr/>
            </p:nvGrpSpPr>
            <p:grpSpPr>
              <a:xfrm>
                <a:off x="2385300" y="2121508"/>
                <a:ext cx="8322324" cy="1550813"/>
                <a:chOff x="4467935" y="4813035"/>
                <a:chExt cx="8322324" cy="1110781"/>
              </a:xfrm>
            </p:grpSpPr>
            <p:sp>
              <p:nvSpPr>
                <p:cNvPr id="35" name="Pentagon 19">
                  <a:extLst>
                    <a:ext uri="{FF2B5EF4-FFF2-40B4-BE49-F238E27FC236}">
                      <a16:creationId xmlns:a16="http://schemas.microsoft.com/office/drawing/2014/main" id="{9DE17E60-1904-2B1C-4C4A-128588EDB841}"/>
                    </a:ext>
                  </a:extLst>
                </p:cNvPr>
                <p:cNvSpPr/>
                <p:nvPr/>
              </p:nvSpPr>
              <p:spPr>
                <a:xfrm>
                  <a:off x="5247672" y="4978352"/>
                  <a:ext cx="7542587" cy="945464"/>
                </a:xfrm>
                <a:prstGeom prst="homePlate">
                  <a:avLst>
                    <a:gd name="adj" fmla="val 0"/>
                  </a:avLst>
                </a:prstGeom>
                <a:solidFill>
                  <a:srgbClr val="09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6" name="Pentagon 20">
                  <a:extLst>
                    <a:ext uri="{FF2B5EF4-FFF2-40B4-BE49-F238E27FC236}">
                      <a16:creationId xmlns:a16="http://schemas.microsoft.com/office/drawing/2014/main" id="{91D1547D-AF8C-B1A5-FF33-6E293DB0ACDE}"/>
                    </a:ext>
                  </a:extLst>
                </p:cNvPr>
                <p:cNvSpPr/>
                <p:nvPr/>
              </p:nvSpPr>
              <p:spPr>
                <a:xfrm rot="10800000">
                  <a:off x="4467935" y="4813035"/>
                  <a:ext cx="968673" cy="934245"/>
                </a:xfrm>
                <a:prstGeom prst="homePlate">
                  <a:avLst/>
                </a:prstGeom>
                <a:solidFill>
                  <a:srgbClr val="0C4F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dirty="0"/>
                </a:p>
              </p:txBody>
            </p:sp>
            <p:sp>
              <p:nvSpPr>
                <p:cNvPr id="37" name="Right Triangle 36">
                  <a:extLst>
                    <a:ext uri="{FF2B5EF4-FFF2-40B4-BE49-F238E27FC236}">
                      <a16:creationId xmlns:a16="http://schemas.microsoft.com/office/drawing/2014/main" id="{AC276AFE-9FD0-52DA-925D-63110CEBD00B}"/>
                    </a:ext>
                  </a:extLst>
                </p:cNvPr>
                <p:cNvSpPr/>
                <p:nvPr/>
              </p:nvSpPr>
              <p:spPr>
                <a:xfrm rot="10800000" flipH="1">
                  <a:off x="5251354" y="5746785"/>
                  <a:ext cx="190930" cy="166414"/>
                </a:xfrm>
                <a:prstGeom prst="rtTriangle">
                  <a:avLst/>
                </a:prstGeom>
                <a:solidFill>
                  <a:srgbClr val="093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sp>
            <p:nvSpPr>
              <p:cNvPr id="33" name="Rectangle 32">
                <a:extLst>
                  <a:ext uri="{FF2B5EF4-FFF2-40B4-BE49-F238E27FC236}">
                    <a16:creationId xmlns:a16="http://schemas.microsoft.com/office/drawing/2014/main" id="{74FECF1D-5D67-86CE-B42B-229D3DD19DE1}"/>
                  </a:ext>
                </a:extLst>
              </p:cNvPr>
              <p:cNvSpPr/>
              <p:nvPr/>
            </p:nvSpPr>
            <p:spPr>
              <a:xfrm>
                <a:off x="3474720" y="2491085"/>
                <a:ext cx="7104888" cy="635949"/>
              </a:xfrm>
              <a:prstGeom prst="rect">
                <a:avLst/>
              </a:prstGeom>
            </p:spPr>
            <p:txBody>
              <a:bodyPr wrap="square">
                <a:spAutoFit/>
              </a:bodyPr>
              <a:lstStyle/>
              <a:p>
                <a:pPr algn="just"/>
                <a:endParaRPr lang="bg-BG" sz="1600" dirty="0">
                  <a:solidFill>
                    <a:schemeClr val="bg1"/>
                  </a:solidFill>
                  <a:latin typeface="Montserrat" pitchFamily="2" charset="-52"/>
                </a:endParaRPr>
              </a:p>
            </p:txBody>
          </p:sp>
          <p:sp>
            <p:nvSpPr>
              <p:cNvPr id="34" name="Rectangle 33">
                <a:extLst>
                  <a:ext uri="{FF2B5EF4-FFF2-40B4-BE49-F238E27FC236}">
                    <a16:creationId xmlns:a16="http://schemas.microsoft.com/office/drawing/2014/main" id="{E5AB1609-E21C-EB7F-CF11-70DFEB347537}"/>
                  </a:ext>
                </a:extLst>
              </p:cNvPr>
              <p:cNvSpPr/>
              <p:nvPr/>
            </p:nvSpPr>
            <p:spPr>
              <a:xfrm>
                <a:off x="1641144" y="2566829"/>
                <a:ext cx="183237" cy="693763"/>
              </a:xfrm>
              <a:prstGeom prst="rect">
                <a:avLst/>
              </a:prstGeom>
            </p:spPr>
            <p:txBody>
              <a:bodyPr wrap="none">
                <a:spAutoFit/>
              </a:bodyPr>
              <a:lstStyle/>
              <a:p>
                <a:endParaRPr lang="bg-BG" dirty="0">
                  <a:latin typeface="Montserrat ExtraBold" panose="00000900000000000000" pitchFamily="50" charset="-52"/>
                </a:endParaRPr>
              </a:p>
            </p:txBody>
          </p:sp>
        </p:grpSp>
        <p:sp>
          <p:nvSpPr>
            <p:cNvPr id="39" name="TextBox 38">
              <a:extLst>
                <a:ext uri="{FF2B5EF4-FFF2-40B4-BE49-F238E27FC236}">
                  <a16:creationId xmlns:a16="http://schemas.microsoft.com/office/drawing/2014/main" id="{B98F0F66-E23E-891D-8EB5-DEF19DD2EC22}"/>
                </a:ext>
              </a:extLst>
            </p:cNvPr>
            <p:cNvSpPr txBox="1"/>
            <p:nvPr/>
          </p:nvSpPr>
          <p:spPr>
            <a:xfrm>
              <a:off x="3293205" y="3347372"/>
              <a:ext cx="6094428" cy="584775"/>
            </a:xfrm>
            <a:prstGeom prst="rect">
              <a:avLst/>
            </a:prstGeom>
            <a:noFill/>
          </p:spPr>
          <p:txBody>
            <a:bodyPr wrap="square">
              <a:spAutoFit/>
            </a:bodyPr>
            <a:lstStyle/>
            <a:p>
              <a:pPr algn="just"/>
              <a:r>
                <a:rPr lang="ru-RU" sz="1600" dirty="0" err="1">
                  <a:solidFill>
                    <a:schemeClr val="bg1"/>
                  </a:solidFill>
                  <a:latin typeface="Montserrat" pitchFamily="2" charset="-52"/>
                </a:rPr>
                <a:t>проспектът</a:t>
              </a:r>
              <a:r>
                <a:rPr lang="ru-RU" sz="1600" dirty="0">
                  <a:solidFill>
                    <a:schemeClr val="bg1"/>
                  </a:solidFill>
                  <a:latin typeface="Montserrat" pitchFamily="2" charset="-52"/>
                </a:rPr>
                <a:t> в </a:t>
              </a:r>
              <a:r>
                <a:rPr lang="ru-RU" sz="1600" dirty="0" err="1">
                  <a:solidFill>
                    <a:schemeClr val="bg1"/>
                  </a:solidFill>
                  <a:latin typeface="Montserrat" pitchFamily="2" charset="-52"/>
                </a:rPr>
                <a:t>електронен</a:t>
              </a:r>
              <a:r>
                <a:rPr lang="ru-RU" sz="1600" dirty="0">
                  <a:solidFill>
                    <a:schemeClr val="bg1"/>
                  </a:solidFill>
                  <a:latin typeface="Montserrat" pitchFamily="2" charset="-52"/>
                </a:rPr>
                <a:t> формат с </a:t>
              </a:r>
              <a:r>
                <a:rPr lang="ru-RU" sz="1600" dirty="0" err="1">
                  <a:solidFill>
                    <a:schemeClr val="bg1"/>
                  </a:solidFill>
                  <a:latin typeface="Montserrat" pitchFamily="2" charset="-52"/>
                </a:rPr>
                <a:t>възможност</a:t>
              </a:r>
              <a:r>
                <a:rPr lang="ru-RU" sz="1600" dirty="0">
                  <a:solidFill>
                    <a:schemeClr val="bg1"/>
                  </a:solidFill>
                  <a:latin typeface="Montserrat" pitchFamily="2" charset="-52"/>
                </a:rPr>
                <a:t> за </a:t>
              </a:r>
              <a:r>
                <a:rPr lang="ru-RU" sz="1600" dirty="0" err="1">
                  <a:solidFill>
                    <a:schemeClr val="bg1"/>
                  </a:solidFill>
                  <a:latin typeface="Montserrat" pitchFamily="2" charset="-52"/>
                </a:rPr>
                <a:t>търсене</a:t>
              </a:r>
              <a:r>
                <a:rPr lang="ru-RU" sz="1600" dirty="0">
                  <a:solidFill>
                    <a:schemeClr val="bg1"/>
                  </a:solidFill>
                  <a:latin typeface="Montserrat" pitchFamily="2" charset="-52"/>
                </a:rPr>
                <a:t> в документа;</a:t>
              </a:r>
            </a:p>
          </p:txBody>
        </p:sp>
      </p:grpSp>
      <p:grpSp>
        <p:nvGrpSpPr>
          <p:cNvPr id="68" name="Group 67">
            <a:extLst>
              <a:ext uri="{FF2B5EF4-FFF2-40B4-BE49-F238E27FC236}">
                <a16:creationId xmlns:a16="http://schemas.microsoft.com/office/drawing/2014/main" id="{E72831E8-171D-0566-CE4B-0B9638C76623}"/>
              </a:ext>
            </a:extLst>
          </p:cNvPr>
          <p:cNvGrpSpPr/>
          <p:nvPr/>
        </p:nvGrpSpPr>
        <p:grpSpPr>
          <a:xfrm>
            <a:off x="1878475" y="3753423"/>
            <a:ext cx="9140412" cy="825591"/>
            <a:chOff x="1438152" y="3992758"/>
            <a:chExt cx="9140412" cy="825591"/>
          </a:xfrm>
        </p:grpSpPr>
        <p:grpSp>
          <p:nvGrpSpPr>
            <p:cNvPr id="40" name="Group 39">
              <a:extLst>
                <a:ext uri="{FF2B5EF4-FFF2-40B4-BE49-F238E27FC236}">
                  <a16:creationId xmlns:a16="http://schemas.microsoft.com/office/drawing/2014/main" id="{266F4B96-13EF-940E-FA22-41811590B4F8}"/>
                </a:ext>
              </a:extLst>
            </p:cNvPr>
            <p:cNvGrpSpPr/>
            <p:nvPr/>
          </p:nvGrpSpPr>
          <p:grpSpPr>
            <a:xfrm>
              <a:off x="1438152" y="3992758"/>
              <a:ext cx="9140412" cy="825591"/>
              <a:chOff x="1641144" y="2121508"/>
              <a:chExt cx="9066480" cy="1550813"/>
            </a:xfrm>
          </p:grpSpPr>
          <p:grpSp>
            <p:nvGrpSpPr>
              <p:cNvPr id="41" name="Group 40">
                <a:extLst>
                  <a:ext uri="{FF2B5EF4-FFF2-40B4-BE49-F238E27FC236}">
                    <a16:creationId xmlns:a16="http://schemas.microsoft.com/office/drawing/2014/main" id="{82EB78DD-FBF5-C8B5-DE99-9A7C030C8753}"/>
                  </a:ext>
                </a:extLst>
              </p:cNvPr>
              <p:cNvGrpSpPr/>
              <p:nvPr/>
            </p:nvGrpSpPr>
            <p:grpSpPr>
              <a:xfrm>
                <a:off x="2385300" y="2121508"/>
                <a:ext cx="8322324" cy="1550813"/>
                <a:chOff x="4467935" y="4813035"/>
                <a:chExt cx="8322324" cy="1110781"/>
              </a:xfrm>
            </p:grpSpPr>
            <p:sp>
              <p:nvSpPr>
                <p:cNvPr id="44" name="Pentagon 19">
                  <a:extLst>
                    <a:ext uri="{FF2B5EF4-FFF2-40B4-BE49-F238E27FC236}">
                      <a16:creationId xmlns:a16="http://schemas.microsoft.com/office/drawing/2014/main" id="{8F345677-FEF0-C728-DCB3-67AE52F454C5}"/>
                    </a:ext>
                  </a:extLst>
                </p:cNvPr>
                <p:cNvSpPr/>
                <p:nvPr/>
              </p:nvSpPr>
              <p:spPr>
                <a:xfrm>
                  <a:off x="5247672" y="4978352"/>
                  <a:ext cx="7542587" cy="945464"/>
                </a:xfrm>
                <a:prstGeom prst="homePlate">
                  <a:avLst>
                    <a:gd name="adj" fmla="val 0"/>
                  </a:avLst>
                </a:prstGeom>
                <a:solidFill>
                  <a:srgbClr val="09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5" name="Pentagon 20">
                  <a:extLst>
                    <a:ext uri="{FF2B5EF4-FFF2-40B4-BE49-F238E27FC236}">
                      <a16:creationId xmlns:a16="http://schemas.microsoft.com/office/drawing/2014/main" id="{02DD1F09-A98A-D5A3-9AB3-CFA0BAC33933}"/>
                    </a:ext>
                  </a:extLst>
                </p:cNvPr>
                <p:cNvSpPr/>
                <p:nvPr/>
              </p:nvSpPr>
              <p:spPr>
                <a:xfrm rot="10800000">
                  <a:off x="4467935" y="4813035"/>
                  <a:ext cx="968673" cy="934245"/>
                </a:xfrm>
                <a:prstGeom prst="homePlate">
                  <a:avLst/>
                </a:prstGeom>
                <a:solidFill>
                  <a:srgbClr val="0C4F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dirty="0"/>
                </a:p>
              </p:txBody>
            </p:sp>
            <p:sp>
              <p:nvSpPr>
                <p:cNvPr id="46" name="Right Triangle 45">
                  <a:extLst>
                    <a:ext uri="{FF2B5EF4-FFF2-40B4-BE49-F238E27FC236}">
                      <a16:creationId xmlns:a16="http://schemas.microsoft.com/office/drawing/2014/main" id="{6B840098-78D7-8F87-695F-4B82CD46B8D2}"/>
                    </a:ext>
                  </a:extLst>
                </p:cNvPr>
                <p:cNvSpPr/>
                <p:nvPr/>
              </p:nvSpPr>
              <p:spPr>
                <a:xfrm rot="10800000" flipH="1">
                  <a:off x="5251354" y="5746785"/>
                  <a:ext cx="190930" cy="166414"/>
                </a:xfrm>
                <a:prstGeom prst="rtTriangle">
                  <a:avLst/>
                </a:prstGeom>
                <a:solidFill>
                  <a:srgbClr val="093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sp>
            <p:nvSpPr>
              <p:cNvPr id="42" name="Rectangle 41">
                <a:extLst>
                  <a:ext uri="{FF2B5EF4-FFF2-40B4-BE49-F238E27FC236}">
                    <a16:creationId xmlns:a16="http://schemas.microsoft.com/office/drawing/2014/main" id="{9C2162E3-6A82-101D-912D-F274A2999FD5}"/>
                  </a:ext>
                </a:extLst>
              </p:cNvPr>
              <p:cNvSpPr/>
              <p:nvPr/>
            </p:nvSpPr>
            <p:spPr>
              <a:xfrm>
                <a:off x="3474720" y="2491085"/>
                <a:ext cx="7104888" cy="635949"/>
              </a:xfrm>
              <a:prstGeom prst="rect">
                <a:avLst/>
              </a:prstGeom>
            </p:spPr>
            <p:txBody>
              <a:bodyPr wrap="square">
                <a:spAutoFit/>
              </a:bodyPr>
              <a:lstStyle/>
              <a:p>
                <a:pPr algn="just"/>
                <a:endParaRPr lang="bg-BG" sz="1600" dirty="0">
                  <a:solidFill>
                    <a:schemeClr val="bg1"/>
                  </a:solidFill>
                  <a:latin typeface="Montserrat" pitchFamily="2" charset="-52"/>
                </a:endParaRPr>
              </a:p>
            </p:txBody>
          </p:sp>
          <p:sp>
            <p:nvSpPr>
              <p:cNvPr id="43" name="Rectangle 42">
                <a:extLst>
                  <a:ext uri="{FF2B5EF4-FFF2-40B4-BE49-F238E27FC236}">
                    <a16:creationId xmlns:a16="http://schemas.microsoft.com/office/drawing/2014/main" id="{21DEEA4F-6F9B-95F4-206E-04610F65B854}"/>
                  </a:ext>
                </a:extLst>
              </p:cNvPr>
              <p:cNvSpPr/>
              <p:nvPr/>
            </p:nvSpPr>
            <p:spPr>
              <a:xfrm>
                <a:off x="1641144" y="2566829"/>
                <a:ext cx="183237" cy="693763"/>
              </a:xfrm>
              <a:prstGeom prst="rect">
                <a:avLst/>
              </a:prstGeom>
            </p:spPr>
            <p:txBody>
              <a:bodyPr wrap="none">
                <a:spAutoFit/>
              </a:bodyPr>
              <a:lstStyle/>
              <a:p>
                <a:endParaRPr lang="bg-BG" dirty="0">
                  <a:latin typeface="Montserrat ExtraBold" panose="00000900000000000000" pitchFamily="50" charset="-52"/>
                </a:endParaRPr>
              </a:p>
            </p:txBody>
          </p:sp>
        </p:grpSp>
        <p:sp>
          <p:nvSpPr>
            <p:cNvPr id="47" name="TextBox 46">
              <a:extLst>
                <a:ext uri="{FF2B5EF4-FFF2-40B4-BE49-F238E27FC236}">
                  <a16:creationId xmlns:a16="http://schemas.microsoft.com/office/drawing/2014/main" id="{15A8E570-0354-ADD6-68A8-1D6C99AF4DC1}"/>
                </a:ext>
              </a:extLst>
            </p:cNvPr>
            <p:cNvSpPr txBox="1"/>
            <p:nvPr/>
          </p:nvSpPr>
          <p:spPr>
            <a:xfrm>
              <a:off x="3293205" y="4287738"/>
              <a:ext cx="6094428" cy="338554"/>
            </a:xfrm>
            <a:prstGeom prst="rect">
              <a:avLst/>
            </a:prstGeom>
            <a:noFill/>
          </p:spPr>
          <p:txBody>
            <a:bodyPr wrap="square">
              <a:spAutoFit/>
            </a:bodyPr>
            <a:lstStyle/>
            <a:p>
              <a:pPr algn="just"/>
              <a:r>
                <a:rPr lang="ru-RU" sz="1600" dirty="0" err="1">
                  <a:solidFill>
                    <a:schemeClr val="bg1"/>
                  </a:solidFill>
                  <a:latin typeface="Montserrat" pitchFamily="2" charset="-52"/>
                </a:rPr>
                <a:t>документи</a:t>
              </a:r>
              <a:r>
                <a:rPr lang="ru-RU" sz="1600" dirty="0">
                  <a:solidFill>
                    <a:schemeClr val="bg1"/>
                  </a:solidFill>
                  <a:latin typeface="Montserrat" pitchFamily="2" charset="-52"/>
                </a:rPr>
                <a:t> за заявителя;</a:t>
              </a:r>
            </a:p>
          </p:txBody>
        </p:sp>
      </p:grpSp>
      <p:grpSp>
        <p:nvGrpSpPr>
          <p:cNvPr id="67" name="Group 66">
            <a:extLst>
              <a:ext uri="{FF2B5EF4-FFF2-40B4-BE49-F238E27FC236}">
                <a16:creationId xmlns:a16="http://schemas.microsoft.com/office/drawing/2014/main" id="{06A1E898-231B-1E6D-6D02-C6A87791E144}"/>
              </a:ext>
            </a:extLst>
          </p:cNvPr>
          <p:cNvGrpSpPr/>
          <p:nvPr/>
        </p:nvGrpSpPr>
        <p:grpSpPr>
          <a:xfrm>
            <a:off x="1878475" y="4571964"/>
            <a:ext cx="9140412" cy="825591"/>
            <a:chOff x="1438152" y="4755547"/>
            <a:chExt cx="9140412" cy="825591"/>
          </a:xfrm>
        </p:grpSpPr>
        <p:grpSp>
          <p:nvGrpSpPr>
            <p:cNvPr id="50" name="Group 49">
              <a:extLst>
                <a:ext uri="{FF2B5EF4-FFF2-40B4-BE49-F238E27FC236}">
                  <a16:creationId xmlns:a16="http://schemas.microsoft.com/office/drawing/2014/main" id="{BAB25878-E60D-F73E-FA99-BAEB8E54FB6A}"/>
                </a:ext>
              </a:extLst>
            </p:cNvPr>
            <p:cNvGrpSpPr/>
            <p:nvPr/>
          </p:nvGrpSpPr>
          <p:grpSpPr>
            <a:xfrm>
              <a:off x="1438152" y="4755547"/>
              <a:ext cx="9140412" cy="825591"/>
              <a:chOff x="1641144" y="2121508"/>
              <a:chExt cx="9066480" cy="1550813"/>
            </a:xfrm>
          </p:grpSpPr>
          <p:grpSp>
            <p:nvGrpSpPr>
              <p:cNvPr id="51" name="Group 50">
                <a:extLst>
                  <a:ext uri="{FF2B5EF4-FFF2-40B4-BE49-F238E27FC236}">
                    <a16:creationId xmlns:a16="http://schemas.microsoft.com/office/drawing/2014/main" id="{02409E11-4AAE-B1AB-4E57-3772D92DB266}"/>
                  </a:ext>
                </a:extLst>
              </p:cNvPr>
              <p:cNvGrpSpPr/>
              <p:nvPr/>
            </p:nvGrpSpPr>
            <p:grpSpPr>
              <a:xfrm>
                <a:off x="2385300" y="2121508"/>
                <a:ext cx="8322324" cy="1550813"/>
                <a:chOff x="4467935" y="4813035"/>
                <a:chExt cx="8322324" cy="1110781"/>
              </a:xfrm>
            </p:grpSpPr>
            <p:sp>
              <p:nvSpPr>
                <p:cNvPr id="54" name="Pentagon 19">
                  <a:extLst>
                    <a:ext uri="{FF2B5EF4-FFF2-40B4-BE49-F238E27FC236}">
                      <a16:creationId xmlns:a16="http://schemas.microsoft.com/office/drawing/2014/main" id="{43E38C33-F515-A866-3726-56E4BBC53DD0}"/>
                    </a:ext>
                  </a:extLst>
                </p:cNvPr>
                <p:cNvSpPr/>
                <p:nvPr/>
              </p:nvSpPr>
              <p:spPr>
                <a:xfrm>
                  <a:off x="5247672" y="4978352"/>
                  <a:ext cx="7542587" cy="945464"/>
                </a:xfrm>
                <a:prstGeom prst="homePlate">
                  <a:avLst>
                    <a:gd name="adj" fmla="val 0"/>
                  </a:avLst>
                </a:prstGeom>
                <a:solidFill>
                  <a:srgbClr val="09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5" name="Pentagon 20">
                  <a:extLst>
                    <a:ext uri="{FF2B5EF4-FFF2-40B4-BE49-F238E27FC236}">
                      <a16:creationId xmlns:a16="http://schemas.microsoft.com/office/drawing/2014/main" id="{96AB5B38-5C55-C11E-CCA8-B459B3C8F82E}"/>
                    </a:ext>
                  </a:extLst>
                </p:cNvPr>
                <p:cNvSpPr/>
                <p:nvPr/>
              </p:nvSpPr>
              <p:spPr>
                <a:xfrm rot="10800000">
                  <a:off x="4467935" y="4813035"/>
                  <a:ext cx="968673" cy="934245"/>
                </a:xfrm>
                <a:prstGeom prst="homePlate">
                  <a:avLst/>
                </a:prstGeom>
                <a:solidFill>
                  <a:srgbClr val="0C4F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dirty="0"/>
                </a:p>
              </p:txBody>
            </p:sp>
            <p:sp>
              <p:nvSpPr>
                <p:cNvPr id="56" name="Right Triangle 55">
                  <a:extLst>
                    <a:ext uri="{FF2B5EF4-FFF2-40B4-BE49-F238E27FC236}">
                      <a16:creationId xmlns:a16="http://schemas.microsoft.com/office/drawing/2014/main" id="{D9BA4455-D7A3-0DEA-6FB2-A22B3394C124}"/>
                    </a:ext>
                  </a:extLst>
                </p:cNvPr>
                <p:cNvSpPr/>
                <p:nvPr/>
              </p:nvSpPr>
              <p:spPr>
                <a:xfrm rot="10800000" flipH="1">
                  <a:off x="5251354" y="5746785"/>
                  <a:ext cx="190930" cy="166414"/>
                </a:xfrm>
                <a:prstGeom prst="rtTriangle">
                  <a:avLst/>
                </a:prstGeom>
                <a:solidFill>
                  <a:srgbClr val="093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sp>
            <p:nvSpPr>
              <p:cNvPr id="52" name="Rectangle 51">
                <a:extLst>
                  <a:ext uri="{FF2B5EF4-FFF2-40B4-BE49-F238E27FC236}">
                    <a16:creationId xmlns:a16="http://schemas.microsoft.com/office/drawing/2014/main" id="{68A863EB-FB78-45DB-CB2A-869D12756D41}"/>
                  </a:ext>
                </a:extLst>
              </p:cNvPr>
              <p:cNvSpPr/>
              <p:nvPr/>
            </p:nvSpPr>
            <p:spPr>
              <a:xfrm>
                <a:off x="3474720" y="2491085"/>
                <a:ext cx="7104888" cy="635949"/>
              </a:xfrm>
              <a:prstGeom prst="rect">
                <a:avLst/>
              </a:prstGeom>
            </p:spPr>
            <p:txBody>
              <a:bodyPr wrap="square">
                <a:spAutoFit/>
              </a:bodyPr>
              <a:lstStyle/>
              <a:p>
                <a:pPr algn="just"/>
                <a:endParaRPr lang="bg-BG" sz="1600" dirty="0">
                  <a:solidFill>
                    <a:schemeClr val="bg1"/>
                  </a:solidFill>
                  <a:latin typeface="Montserrat" pitchFamily="2" charset="-52"/>
                </a:endParaRPr>
              </a:p>
            </p:txBody>
          </p:sp>
          <p:sp>
            <p:nvSpPr>
              <p:cNvPr id="53" name="Rectangle 52">
                <a:extLst>
                  <a:ext uri="{FF2B5EF4-FFF2-40B4-BE49-F238E27FC236}">
                    <a16:creationId xmlns:a16="http://schemas.microsoft.com/office/drawing/2014/main" id="{2935E2F7-6BB5-FB3E-0EB2-14E8891D70CC}"/>
                  </a:ext>
                </a:extLst>
              </p:cNvPr>
              <p:cNvSpPr/>
              <p:nvPr/>
            </p:nvSpPr>
            <p:spPr>
              <a:xfrm>
                <a:off x="1641144" y="2566829"/>
                <a:ext cx="183237" cy="693763"/>
              </a:xfrm>
              <a:prstGeom prst="rect">
                <a:avLst/>
              </a:prstGeom>
            </p:spPr>
            <p:txBody>
              <a:bodyPr wrap="none">
                <a:spAutoFit/>
              </a:bodyPr>
              <a:lstStyle/>
              <a:p>
                <a:endParaRPr lang="bg-BG" dirty="0">
                  <a:latin typeface="Montserrat ExtraBold" panose="00000900000000000000" pitchFamily="50" charset="-52"/>
                </a:endParaRPr>
              </a:p>
            </p:txBody>
          </p:sp>
        </p:grpSp>
        <p:sp>
          <p:nvSpPr>
            <p:cNvPr id="49" name="TextBox 48">
              <a:extLst>
                <a:ext uri="{FF2B5EF4-FFF2-40B4-BE49-F238E27FC236}">
                  <a16:creationId xmlns:a16="http://schemas.microsoft.com/office/drawing/2014/main" id="{54C749A4-5083-7A4E-5420-70E307C8A6D0}"/>
                </a:ext>
              </a:extLst>
            </p:cNvPr>
            <p:cNvSpPr txBox="1"/>
            <p:nvPr/>
          </p:nvSpPr>
          <p:spPr>
            <a:xfrm>
              <a:off x="3293205" y="4907956"/>
              <a:ext cx="7162823" cy="584775"/>
            </a:xfrm>
            <a:prstGeom prst="rect">
              <a:avLst/>
            </a:prstGeom>
            <a:noFill/>
          </p:spPr>
          <p:txBody>
            <a:bodyPr wrap="square">
              <a:spAutoFit/>
            </a:bodyPr>
            <a:lstStyle/>
            <a:p>
              <a:pPr algn="just"/>
              <a:r>
                <a:rPr lang="ru-RU" sz="1600" dirty="0" err="1">
                  <a:solidFill>
                    <a:schemeClr val="bg1"/>
                  </a:solidFill>
                  <a:latin typeface="Montserrat" pitchFamily="2" charset="-52"/>
                </a:rPr>
                <a:t>решението</a:t>
              </a:r>
              <a:r>
                <a:rPr lang="ru-RU" sz="1600" dirty="0">
                  <a:solidFill>
                    <a:schemeClr val="bg1"/>
                  </a:solidFill>
                  <a:latin typeface="Montserrat" pitchFamily="2" charset="-52"/>
                </a:rPr>
                <a:t> за </a:t>
              </a:r>
              <a:r>
                <a:rPr lang="ru-RU" sz="1600" dirty="0" err="1">
                  <a:solidFill>
                    <a:schemeClr val="bg1"/>
                  </a:solidFill>
                  <a:latin typeface="Montserrat" pitchFamily="2" charset="-52"/>
                </a:rPr>
                <a:t>публичното</a:t>
              </a:r>
              <a:r>
                <a:rPr lang="ru-RU" sz="1600" dirty="0">
                  <a:solidFill>
                    <a:schemeClr val="bg1"/>
                  </a:solidFill>
                  <a:latin typeface="Montserrat" pitchFamily="2" charset="-52"/>
                </a:rPr>
                <a:t> </a:t>
              </a:r>
              <a:r>
                <a:rPr lang="ru-RU" sz="1600" dirty="0" err="1">
                  <a:solidFill>
                    <a:schemeClr val="bg1"/>
                  </a:solidFill>
                  <a:latin typeface="Montserrat" pitchFamily="2" charset="-52"/>
                </a:rPr>
                <a:t>предлагане</a:t>
              </a:r>
              <a:r>
                <a:rPr lang="ru-RU" sz="1600" dirty="0">
                  <a:solidFill>
                    <a:schemeClr val="bg1"/>
                  </a:solidFill>
                  <a:latin typeface="Montserrat" pitchFamily="2" charset="-52"/>
                </a:rPr>
                <a:t> на </a:t>
              </a:r>
              <a:r>
                <a:rPr lang="ru-RU" sz="1600" dirty="0" err="1">
                  <a:solidFill>
                    <a:schemeClr val="bg1"/>
                  </a:solidFill>
                  <a:latin typeface="Montserrat" pitchFamily="2" charset="-52"/>
                </a:rPr>
                <a:t>ценни</a:t>
              </a:r>
              <a:r>
                <a:rPr lang="ru-RU" sz="1600" dirty="0">
                  <a:solidFill>
                    <a:schemeClr val="bg1"/>
                  </a:solidFill>
                  <a:latin typeface="Montserrat" pitchFamily="2" charset="-52"/>
                </a:rPr>
                <a:t> </a:t>
              </a:r>
              <a:r>
                <a:rPr lang="ru-RU" sz="1600" dirty="0" err="1">
                  <a:solidFill>
                    <a:schemeClr val="bg1"/>
                  </a:solidFill>
                  <a:latin typeface="Montserrat" pitchFamily="2" charset="-52"/>
                </a:rPr>
                <a:t>книжа</a:t>
              </a:r>
              <a:r>
                <a:rPr lang="ru-RU" sz="1600" dirty="0">
                  <a:solidFill>
                    <a:schemeClr val="bg1"/>
                  </a:solidFill>
                  <a:latin typeface="Montserrat" pitchFamily="2" charset="-52"/>
                </a:rPr>
                <a:t> и/или за </a:t>
              </a:r>
              <a:r>
                <a:rPr lang="ru-RU" sz="1600" dirty="0" err="1">
                  <a:solidFill>
                    <a:schemeClr val="bg1"/>
                  </a:solidFill>
                  <a:latin typeface="Montserrat" pitchFamily="2" charset="-52"/>
                </a:rPr>
                <a:t>допускането</a:t>
              </a:r>
              <a:r>
                <a:rPr lang="ru-RU" sz="1600" dirty="0">
                  <a:solidFill>
                    <a:schemeClr val="bg1"/>
                  </a:solidFill>
                  <a:latin typeface="Montserrat" pitchFamily="2" charset="-52"/>
                </a:rPr>
                <a:t> на </a:t>
              </a:r>
              <a:r>
                <a:rPr lang="ru-RU" sz="1600" dirty="0" err="1">
                  <a:solidFill>
                    <a:schemeClr val="bg1"/>
                  </a:solidFill>
                  <a:latin typeface="Montserrat" pitchFamily="2" charset="-52"/>
                </a:rPr>
                <a:t>ценните</a:t>
              </a:r>
              <a:r>
                <a:rPr lang="ru-RU" sz="1600" dirty="0">
                  <a:solidFill>
                    <a:schemeClr val="bg1"/>
                  </a:solidFill>
                  <a:latin typeface="Montserrat" pitchFamily="2" charset="-52"/>
                </a:rPr>
                <a:t> </a:t>
              </a:r>
              <a:r>
                <a:rPr lang="ru-RU" sz="1600" dirty="0" err="1">
                  <a:solidFill>
                    <a:schemeClr val="bg1"/>
                  </a:solidFill>
                  <a:latin typeface="Montserrat" pitchFamily="2" charset="-52"/>
                </a:rPr>
                <a:t>книжа</a:t>
              </a:r>
              <a:r>
                <a:rPr lang="ru-RU" sz="1600" dirty="0">
                  <a:solidFill>
                    <a:schemeClr val="bg1"/>
                  </a:solidFill>
                  <a:latin typeface="Montserrat" pitchFamily="2" charset="-52"/>
                </a:rPr>
                <a:t> до </a:t>
              </a:r>
              <a:r>
                <a:rPr lang="ru-RU" sz="1600" dirty="0" err="1">
                  <a:solidFill>
                    <a:schemeClr val="bg1"/>
                  </a:solidFill>
                  <a:latin typeface="Montserrat" pitchFamily="2" charset="-52"/>
                </a:rPr>
                <a:t>търговия</a:t>
              </a:r>
              <a:r>
                <a:rPr lang="ru-RU" sz="1600" dirty="0">
                  <a:solidFill>
                    <a:schemeClr val="bg1"/>
                  </a:solidFill>
                  <a:latin typeface="Montserrat" pitchFamily="2" charset="-52"/>
                </a:rPr>
                <a:t> на </a:t>
              </a:r>
              <a:r>
                <a:rPr lang="ru-RU" sz="1600" dirty="0" err="1">
                  <a:solidFill>
                    <a:schemeClr val="bg1"/>
                  </a:solidFill>
                  <a:latin typeface="Montserrat" pitchFamily="2" charset="-52"/>
                </a:rPr>
                <a:t>регулиран</a:t>
              </a:r>
              <a:r>
                <a:rPr lang="ru-RU" sz="1600" dirty="0">
                  <a:solidFill>
                    <a:schemeClr val="bg1"/>
                  </a:solidFill>
                  <a:latin typeface="Montserrat" pitchFamily="2" charset="-52"/>
                </a:rPr>
                <a:t> </a:t>
              </a:r>
              <a:r>
                <a:rPr lang="ru-RU" sz="1600" dirty="0" err="1">
                  <a:solidFill>
                    <a:schemeClr val="bg1"/>
                  </a:solidFill>
                  <a:latin typeface="Montserrat" pitchFamily="2" charset="-52"/>
                </a:rPr>
                <a:t>пазар</a:t>
              </a:r>
              <a:r>
                <a:rPr lang="ru-RU" sz="1600" dirty="0">
                  <a:solidFill>
                    <a:schemeClr val="bg1"/>
                  </a:solidFill>
                  <a:latin typeface="Montserrat" pitchFamily="2" charset="-52"/>
                </a:rPr>
                <a:t>;</a:t>
              </a:r>
            </a:p>
          </p:txBody>
        </p:sp>
      </p:grpSp>
      <p:grpSp>
        <p:nvGrpSpPr>
          <p:cNvPr id="66" name="Group 65">
            <a:extLst>
              <a:ext uri="{FF2B5EF4-FFF2-40B4-BE49-F238E27FC236}">
                <a16:creationId xmlns:a16="http://schemas.microsoft.com/office/drawing/2014/main" id="{4CD0B7BF-A40A-D019-230A-AF5E95F3972E}"/>
              </a:ext>
            </a:extLst>
          </p:cNvPr>
          <p:cNvGrpSpPr/>
          <p:nvPr/>
        </p:nvGrpSpPr>
        <p:grpSpPr>
          <a:xfrm>
            <a:off x="1878475" y="5390505"/>
            <a:ext cx="9140412" cy="825591"/>
            <a:chOff x="1438152" y="5683040"/>
            <a:chExt cx="9140412" cy="825591"/>
          </a:xfrm>
        </p:grpSpPr>
        <p:grpSp>
          <p:nvGrpSpPr>
            <p:cNvPr id="57" name="Group 56">
              <a:extLst>
                <a:ext uri="{FF2B5EF4-FFF2-40B4-BE49-F238E27FC236}">
                  <a16:creationId xmlns:a16="http://schemas.microsoft.com/office/drawing/2014/main" id="{D99A2F6A-8FE1-EC43-5125-88ABCC5CF44C}"/>
                </a:ext>
              </a:extLst>
            </p:cNvPr>
            <p:cNvGrpSpPr/>
            <p:nvPr/>
          </p:nvGrpSpPr>
          <p:grpSpPr>
            <a:xfrm>
              <a:off x="1438152" y="5683040"/>
              <a:ext cx="9140412" cy="825591"/>
              <a:chOff x="1641144" y="2121508"/>
              <a:chExt cx="9066480" cy="1550813"/>
            </a:xfrm>
          </p:grpSpPr>
          <p:grpSp>
            <p:nvGrpSpPr>
              <p:cNvPr id="58" name="Group 57">
                <a:extLst>
                  <a:ext uri="{FF2B5EF4-FFF2-40B4-BE49-F238E27FC236}">
                    <a16:creationId xmlns:a16="http://schemas.microsoft.com/office/drawing/2014/main" id="{4B02CE79-0817-F11C-6897-89AB7125821C}"/>
                  </a:ext>
                </a:extLst>
              </p:cNvPr>
              <p:cNvGrpSpPr/>
              <p:nvPr/>
            </p:nvGrpSpPr>
            <p:grpSpPr>
              <a:xfrm>
                <a:off x="2385300" y="2121508"/>
                <a:ext cx="8322324" cy="1550813"/>
                <a:chOff x="4467935" y="4813035"/>
                <a:chExt cx="8322324" cy="1110781"/>
              </a:xfrm>
            </p:grpSpPr>
            <p:sp>
              <p:nvSpPr>
                <p:cNvPr id="61" name="Pentagon 19">
                  <a:extLst>
                    <a:ext uri="{FF2B5EF4-FFF2-40B4-BE49-F238E27FC236}">
                      <a16:creationId xmlns:a16="http://schemas.microsoft.com/office/drawing/2014/main" id="{4E99E168-B7B0-5D4A-F557-51FCDC003CED}"/>
                    </a:ext>
                  </a:extLst>
                </p:cNvPr>
                <p:cNvSpPr/>
                <p:nvPr/>
              </p:nvSpPr>
              <p:spPr>
                <a:xfrm>
                  <a:off x="5247672" y="4978352"/>
                  <a:ext cx="7542587" cy="945464"/>
                </a:xfrm>
                <a:prstGeom prst="homePlate">
                  <a:avLst>
                    <a:gd name="adj" fmla="val 0"/>
                  </a:avLst>
                </a:prstGeom>
                <a:solidFill>
                  <a:srgbClr val="09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62" name="Pentagon 20">
                  <a:extLst>
                    <a:ext uri="{FF2B5EF4-FFF2-40B4-BE49-F238E27FC236}">
                      <a16:creationId xmlns:a16="http://schemas.microsoft.com/office/drawing/2014/main" id="{4646084C-1FD4-BE97-FACA-4F66E29376AA}"/>
                    </a:ext>
                  </a:extLst>
                </p:cNvPr>
                <p:cNvSpPr/>
                <p:nvPr/>
              </p:nvSpPr>
              <p:spPr>
                <a:xfrm rot="10800000">
                  <a:off x="4467935" y="4813035"/>
                  <a:ext cx="968673" cy="934245"/>
                </a:xfrm>
                <a:prstGeom prst="homePlate">
                  <a:avLst/>
                </a:prstGeom>
                <a:solidFill>
                  <a:srgbClr val="0C4F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dirty="0"/>
                </a:p>
              </p:txBody>
            </p:sp>
            <p:sp>
              <p:nvSpPr>
                <p:cNvPr id="63" name="Right Triangle 62">
                  <a:extLst>
                    <a:ext uri="{FF2B5EF4-FFF2-40B4-BE49-F238E27FC236}">
                      <a16:creationId xmlns:a16="http://schemas.microsoft.com/office/drawing/2014/main" id="{45038745-560E-213B-3822-28F0AF681B6F}"/>
                    </a:ext>
                  </a:extLst>
                </p:cNvPr>
                <p:cNvSpPr/>
                <p:nvPr/>
              </p:nvSpPr>
              <p:spPr>
                <a:xfrm rot="10800000" flipH="1">
                  <a:off x="5251354" y="5746785"/>
                  <a:ext cx="190930" cy="166414"/>
                </a:xfrm>
                <a:prstGeom prst="rtTriangle">
                  <a:avLst/>
                </a:prstGeom>
                <a:solidFill>
                  <a:srgbClr val="093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sp>
            <p:nvSpPr>
              <p:cNvPr id="59" name="Rectangle 58">
                <a:extLst>
                  <a:ext uri="{FF2B5EF4-FFF2-40B4-BE49-F238E27FC236}">
                    <a16:creationId xmlns:a16="http://schemas.microsoft.com/office/drawing/2014/main" id="{BF6185D1-41E6-95B4-F501-7706E57D1607}"/>
                  </a:ext>
                </a:extLst>
              </p:cNvPr>
              <p:cNvSpPr/>
              <p:nvPr/>
            </p:nvSpPr>
            <p:spPr>
              <a:xfrm>
                <a:off x="3474720" y="2491085"/>
                <a:ext cx="7104888" cy="635949"/>
              </a:xfrm>
              <a:prstGeom prst="rect">
                <a:avLst/>
              </a:prstGeom>
            </p:spPr>
            <p:txBody>
              <a:bodyPr wrap="square">
                <a:spAutoFit/>
              </a:bodyPr>
              <a:lstStyle/>
              <a:p>
                <a:pPr algn="just"/>
                <a:endParaRPr lang="bg-BG" sz="1600" dirty="0">
                  <a:solidFill>
                    <a:schemeClr val="bg1"/>
                  </a:solidFill>
                  <a:latin typeface="Montserrat" pitchFamily="2" charset="-52"/>
                </a:endParaRPr>
              </a:p>
            </p:txBody>
          </p:sp>
          <p:sp>
            <p:nvSpPr>
              <p:cNvPr id="60" name="Rectangle 59">
                <a:extLst>
                  <a:ext uri="{FF2B5EF4-FFF2-40B4-BE49-F238E27FC236}">
                    <a16:creationId xmlns:a16="http://schemas.microsoft.com/office/drawing/2014/main" id="{381436D0-A69A-C140-61F6-A949187A25DE}"/>
                  </a:ext>
                </a:extLst>
              </p:cNvPr>
              <p:cNvSpPr/>
              <p:nvPr/>
            </p:nvSpPr>
            <p:spPr>
              <a:xfrm>
                <a:off x="1641144" y="2566829"/>
                <a:ext cx="183237" cy="693763"/>
              </a:xfrm>
              <a:prstGeom prst="rect">
                <a:avLst/>
              </a:prstGeom>
            </p:spPr>
            <p:txBody>
              <a:bodyPr wrap="none">
                <a:spAutoFit/>
              </a:bodyPr>
              <a:lstStyle/>
              <a:p>
                <a:endParaRPr lang="bg-BG" dirty="0">
                  <a:latin typeface="Montserrat ExtraBold" panose="00000900000000000000" pitchFamily="50" charset="-52"/>
                </a:endParaRPr>
              </a:p>
            </p:txBody>
          </p:sp>
        </p:grpSp>
        <p:sp>
          <p:nvSpPr>
            <p:cNvPr id="65" name="TextBox 64">
              <a:extLst>
                <a:ext uri="{FF2B5EF4-FFF2-40B4-BE49-F238E27FC236}">
                  <a16:creationId xmlns:a16="http://schemas.microsoft.com/office/drawing/2014/main" id="{A9147831-C1D7-338C-6B55-42CEE37EDB37}"/>
                </a:ext>
              </a:extLst>
            </p:cNvPr>
            <p:cNvSpPr txBox="1"/>
            <p:nvPr/>
          </p:nvSpPr>
          <p:spPr>
            <a:xfrm>
              <a:off x="3293205" y="5853961"/>
              <a:ext cx="6971877" cy="584775"/>
            </a:xfrm>
            <a:prstGeom prst="rect">
              <a:avLst/>
            </a:prstGeom>
            <a:noFill/>
          </p:spPr>
          <p:txBody>
            <a:bodyPr wrap="square">
              <a:spAutoFit/>
            </a:bodyPr>
            <a:lstStyle/>
            <a:p>
              <a:pPr algn="just"/>
              <a:r>
                <a:rPr lang="ru-RU" sz="1600" dirty="0" err="1">
                  <a:solidFill>
                    <a:schemeClr val="bg1"/>
                  </a:solidFill>
                  <a:latin typeface="Montserrat" pitchFamily="2" charset="-52"/>
                </a:rPr>
                <a:t>други</a:t>
              </a:r>
              <a:r>
                <a:rPr lang="ru-RU" sz="1600" dirty="0">
                  <a:solidFill>
                    <a:schemeClr val="bg1"/>
                  </a:solidFill>
                  <a:latin typeface="Montserrat" pitchFamily="2" charset="-52"/>
                </a:rPr>
                <a:t> </a:t>
              </a:r>
              <a:r>
                <a:rPr lang="ru-RU" sz="1600" dirty="0" err="1">
                  <a:solidFill>
                    <a:schemeClr val="bg1"/>
                  </a:solidFill>
                  <a:latin typeface="Montserrat" pitchFamily="2" charset="-52"/>
                </a:rPr>
                <a:t>документи</a:t>
              </a:r>
              <a:r>
                <a:rPr lang="ru-RU" sz="1600" dirty="0">
                  <a:solidFill>
                    <a:schemeClr val="bg1"/>
                  </a:solidFill>
                  <a:latin typeface="Montserrat" pitchFamily="2" charset="-52"/>
                </a:rPr>
                <a:t>, </a:t>
              </a:r>
              <a:r>
                <a:rPr lang="ru-RU" sz="1600" dirty="0" err="1">
                  <a:solidFill>
                    <a:schemeClr val="bg1"/>
                  </a:solidFill>
                  <a:latin typeface="Montserrat" pitchFamily="2" charset="-52"/>
                </a:rPr>
                <a:t>изрично</a:t>
              </a:r>
              <a:r>
                <a:rPr lang="ru-RU" sz="1600" dirty="0">
                  <a:solidFill>
                    <a:schemeClr val="bg1"/>
                  </a:solidFill>
                  <a:latin typeface="Montserrat" pitchFamily="2" charset="-52"/>
                </a:rPr>
                <a:t> </a:t>
              </a:r>
              <a:r>
                <a:rPr lang="ru-RU" sz="1600" dirty="0" err="1">
                  <a:solidFill>
                    <a:schemeClr val="bg1"/>
                  </a:solidFill>
                  <a:latin typeface="Montserrat" pitchFamily="2" charset="-52"/>
                </a:rPr>
                <a:t>посочени</a:t>
              </a:r>
              <a:r>
                <a:rPr lang="ru-RU" sz="1600" dirty="0">
                  <a:solidFill>
                    <a:schemeClr val="bg1"/>
                  </a:solidFill>
                  <a:latin typeface="Montserrat" pitchFamily="2" charset="-52"/>
                </a:rPr>
                <a:t> в </a:t>
              </a:r>
              <a:r>
                <a:rPr lang="ru-RU" sz="1600" dirty="0" err="1">
                  <a:solidFill>
                    <a:schemeClr val="bg1"/>
                  </a:solidFill>
                  <a:latin typeface="Montserrat" pitchFamily="2" charset="-52"/>
                </a:rPr>
                <a:t>приложимото</a:t>
              </a:r>
              <a:r>
                <a:rPr lang="ru-RU" sz="1600" dirty="0">
                  <a:solidFill>
                    <a:schemeClr val="bg1"/>
                  </a:solidFill>
                  <a:latin typeface="Montserrat" pitchFamily="2" charset="-52"/>
                </a:rPr>
                <a:t> </a:t>
              </a:r>
              <a:r>
                <a:rPr lang="ru-RU" sz="1600" dirty="0" err="1">
                  <a:solidFill>
                    <a:schemeClr val="bg1"/>
                  </a:solidFill>
                  <a:latin typeface="Montserrat" pitchFamily="2" charset="-52"/>
                </a:rPr>
                <a:t>законодателство</a:t>
              </a:r>
              <a:r>
                <a:rPr lang="ru-RU" sz="1600" dirty="0">
                  <a:solidFill>
                    <a:schemeClr val="bg1"/>
                  </a:solidFill>
                  <a:latin typeface="Montserrat" pitchFamily="2" charset="-52"/>
                </a:rPr>
                <a:t>.</a:t>
              </a:r>
              <a:endParaRPr lang="bg-BG" sz="1600" dirty="0">
                <a:solidFill>
                  <a:schemeClr val="bg1"/>
                </a:solidFill>
                <a:latin typeface="Montserrat" pitchFamily="2" charset="-52"/>
              </a:endParaRPr>
            </a:p>
          </p:txBody>
        </p:sp>
      </p:grpSp>
      <p:pic>
        <p:nvPicPr>
          <p:cNvPr id="71" name="Picture 70">
            <a:extLst>
              <a:ext uri="{FF2B5EF4-FFF2-40B4-BE49-F238E27FC236}">
                <a16:creationId xmlns:a16="http://schemas.microsoft.com/office/drawing/2014/main" id="{86F23EF0-CF12-A76C-1EEB-EA27D907C1A5}"/>
              </a:ext>
            </a:extLst>
          </p:cNvPr>
          <p:cNvPicPr>
            <a:picLocks noChangeAspect="1"/>
          </p:cNvPicPr>
          <p:nvPr/>
        </p:nvPicPr>
        <p:blipFill>
          <a:blip r:embed="rId4" cstate="print">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rot="16200000">
            <a:off x="-2078202" y="2074685"/>
            <a:ext cx="4141411" cy="4141411"/>
          </a:xfrm>
          <a:prstGeom prst="rect">
            <a:avLst/>
          </a:prstGeom>
        </p:spPr>
      </p:pic>
      <p:sp>
        <p:nvSpPr>
          <p:cNvPr id="72" name="Rectangle 71">
            <a:extLst>
              <a:ext uri="{FF2B5EF4-FFF2-40B4-BE49-F238E27FC236}">
                <a16:creationId xmlns:a16="http://schemas.microsoft.com/office/drawing/2014/main" id="{C07DAA15-6239-80C1-D39D-C976C0BF50DF}"/>
              </a:ext>
            </a:extLst>
          </p:cNvPr>
          <p:cNvSpPr/>
          <p:nvPr/>
        </p:nvSpPr>
        <p:spPr>
          <a:xfrm>
            <a:off x="-28281" y="3762557"/>
            <a:ext cx="2039144" cy="584775"/>
          </a:xfrm>
          <a:prstGeom prst="rect">
            <a:avLst/>
          </a:prstGeom>
        </p:spPr>
        <p:txBody>
          <a:bodyPr wrap="square">
            <a:spAutoFit/>
          </a:bodyPr>
          <a:lstStyle/>
          <a:p>
            <a:pPr algn="ctr"/>
            <a:r>
              <a:rPr lang="ru-RU" sz="1600" dirty="0">
                <a:solidFill>
                  <a:schemeClr val="bg1"/>
                </a:solidFill>
                <a:latin typeface="Montserrat ExtraBold" panose="00000900000000000000" pitchFamily="50" charset="-52"/>
              </a:rPr>
              <a:t>ЗАЯВЛЕНИЕ И ПР</a:t>
            </a:r>
            <a:r>
              <a:rPr lang="bg-BG" sz="1600" dirty="0">
                <a:solidFill>
                  <a:schemeClr val="bg1"/>
                </a:solidFill>
                <a:latin typeface="Montserrat ExtraBold" panose="00000900000000000000" pitchFamily="50" charset="-52"/>
              </a:rPr>
              <a:t>И</a:t>
            </a:r>
            <a:r>
              <a:rPr lang="ru-RU" sz="1600" dirty="0">
                <a:solidFill>
                  <a:schemeClr val="bg1"/>
                </a:solidFill>
                <a:latin typeface="Montserrat ExtraBold" panose="00000900000000000000" pitchFamily="50" charset="-52"/>
              </a:rPr>
              <a:t>ЛОЖЕНИЕ</a:t>
            </a:r>
            <a:endParaRPr lang="bg-BG" sz="1600" dirty="0">
              <a:latin typeface="Montserrat ExtraBold" panose="00000900000000000000" pitchFamily="50" charset="-52"/>
            </a:endParaRPr>
          </a:p>
        </p:txBody>
      </p:sp>
      <p:pic>
        <p:nvPicPr>
          <p:cNvPr id="73" name="Picture 2" descr="check mark icon. 18888319 PNG">
            <a:extLst>
              <a:ext uri="{FF2B5EF4-FFF2-40B4-BE49-F238E27FC236}">
                <a16:creationId xmlns:a16="http://schemas.microsoft.com/office/drawing/2014/main" id="{96016255-89F2-3BDB-A67B-7A28C8CC41EF}"/>
              </a:ext>
            </a:extLst>
          </p:cNvPr>
          <p:cNvPicPr>
            <a:picLocks noChangeAspect="1" noChangeArrowheads="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3062994" y="2231322"/>
            <a:ext cx="444897" cy="444897"/>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2" descr="check mark icon. 18888319 PNG">
            <a:extLst>
              <a:ext uri="{FF2B5EF4-FFF2-40B4-BE49-F238E27FC236}">
                <a16:creationId xmlns:a16="http://schemas.microsoft.com/office/drawing/2014/main" id="{5D45DF5A-5F84-F707-9431-72C18011BA90}"/>
              </a:ext>
            </a:extLst>
          </p:cNvPr>
          <p:cNvPicPr>
            <a:picLocks noChangeAspect="1" noChangeArrowheads="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3062994" y="3039907"/>
            <a:ext cx="444897" cy="444897"/>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2" descr="check mark icon. 18888319 PNG">
            <a:extLst>
              <a:ext uri="{FF2B5EF4-FFF2-40B4-BE49-F238E27FC236}">
                <a16:creationId xmlns:a16="http://schemas.microsoft.com/office/drawing/2014/main" id="{5E43C1FF-AC66-3090-40C3-992FAF7AE023}"/>
              </a:ext>
            </a:extLst>
          </p:cNvPr>
          <p:cNvPicPr>
            <a:picLocks noChangeAspect="1" noChangeArrowheads="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3062994" y="3896999"/>
            <a:ext cx="444897" cy="444897"/>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2" descr="check mark icon. 18888319 PNG">
            <a:extLst>
              <a:ext uri="{FF2B5EF4-FFF2-40B4-BE49-F238E27FC236}">
                <a16:creationId xmlns:a16="http://schemas.microsoft.com/office/drawing/2014/main" id="{57254486-0AE3-85BF-C2EA-74BAAEB31A1E}"/>
              </a:ext>
            </a:extLst>
          </p:cNvPr>
          <p:cNvPicPr>
            <a:picLocks noChangeAspect="1" noChangeArrowheads="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3062994" y="4713025"/>
            <a:ext cx="444897" cy="444897"/>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2" descr="check mark icon. 18888319 PNG">
            <a:extLst>
              <a:ext uri="{FF2B5EF4-FFF2-40B4-BE49-F238E27FC236}">
                <a16:creationId xmlns:a16="http://schemas.microsoft.com/office/drawing/2014/main" id="{C32750C1-DE6F-DD1E-5705-C91C355DAC3E}"/>
              </a:ext>
            </a:extLst>
          </p:cNvPr>
          <p:cNvPicPr>
            <a:picLocks noChangeAspect="1" noChangeArrowheads="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3062994" y="5529829"/>
            <a:ext cx="444897" cy="444897"/>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6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31552" y="6292745"/>
            <a:ext cx="1876472" cy="361108"/>
          </a:xfrm>
          <a:prstGeom prst="rect">
            <a:avLst/>
          </a:prstGeom>
        </p:spPr>
      </p:pic>
    </p:spTree>
    <p:extLst>
      <p:ext uri="{BB962C8B-B14F-4D97-AF65-F5344CB8AC3E}">
        <p14:creationId xmlns:p14="http://schemas.microsoft.com/office/powerpoint/2010/main" val="291611779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0800000">
            <a:off x="-4" y="0"/>
            <a:ext cx="12192003" cy="6858000"/>
          </a:xfrm>
          <a:prstGeom prst="rect">
            <a:avLst/>
          </a:prstGeom>
        </p:spPr>
      </p:pic>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t="35327" b="35532"/>
          <a:stretch/>
        </p:blipFill>
        <p:spPr>
          <a:xfrm>
            <a:off x="0" y="-2"/>
            <a:ext cx="12192000" cy="1715680"/>
          </a:xfrm>
          <a:prstGeom prst="rect">
            <a:avLst/>
          </a:prstGeom>
        </p:spPr>
      </p:pic>
      <p:sp>
        <p:nvSpPr>
          <p:cNvPr id="5" name="TextBox 4"/>
          <p:cNvSpPr txBox="1"/>
          <p:nvPr/>
        </p:nvSpPr>
        <p:spPr>
          <a:xfrm>
            <a:off x="338540" y="238357"/>
            <a:ext cx="9531323" cy="830997"/>
          </a:xfrm>
          <a:prstGeom prst="rect">
            <a:avLst/>
          </a:prstGeom>
          <a:noFill/>
        </p:spPr>
        <p:txBody>
          <a:bodyPr wrap="square" rtlCol="0">
            <a:spAutoFit/>
          </a:bodyPr>
          <a:lstStyle/>
          <a:p>
            <a:r>
              <a:rPr lang="en-US" sz="2400" dirty="0">
                <a:solidFill>
                  <a:schemeClr val="bg1"/>
                </a:solidFill>
                <a:latin typeface="Montserrat Black" pitchFamily="2" charset="-52"/>
              </a:rPr>
              <a:t>II. </a:t>
            </a:r>
            <a:r>
              <a:rPr lang="bg-BG" sz="2400" dirty="0">
                <a:solidFill>
                  <a:schemeClr val="bg1"/>
                </a:solidFill>
                <a:latin typeface="Montserrat Black" pitchFamily="2" charset="-52"/>
              </a:rPr>
              <a:t>ПЪТЯТ НА ЕДНА КОМПАНИЯ КЪМ ПУБЛИЧНО ПРЕДЛАГАНЕ И ДОПУСКАНЕ ДО РЕГУЛИРАН ПАЗАР</a:t>
            </a:r>
          </a:p>
        </p:txBody>
      </p:sp>
      <p:sp>
        <p:nvSpPr>
          <p:cNvPr id="8" name="TextBox 7"/>
          <p:cNvSpPr txBox="1"/>
          <p:nvPr/>
        </p:nvSpPr>
        <p:spPr>
          <a:xfrm>
            <a:off x="338540" y="1023187"/>
            <a:ext cx="9192785" cy="369332"/>
          </a:xfrm>
          <a:prstGeom prst="rect">
            <a:avLst/>
          </a:prstGeom>
          <a:noFill/>
        </p:spPr>
        <p:txBody>
          <a:bodyPr wrap="square" rtlCol="0">
            <a:spAutoFit/>
          </a:bodyPr>
          <a:lstStyle/>
          <a:p>
            <a:r>
              <a:rPr lang="ru-RU" dirty="0" err="1">
                <a:solidFill>
                  <a:schemeClr val="bg1"/>
                </a:solidFill>
                <a:latin typeface="Montserrat" pitchFamily="2" charset="-52"/>
              </a:rPr>
              <a:t>Срокове</a:t>
            </a:r>
            <a:r>
              <a:rPr lang="ru-RU" dirty="0">
                <a:solidFill>
                  <a:schemeClr val="bg1"/>
                </a:solidFill>
                <a:latin typeface="Montserrat" pitchFamily="2" charset="-52"/>
              </a:rPr>
              <a:t> за </a:t>
            </a:r>
            <a:r>
              <a:rPr lang="ru-RU" dirty="0" err="1">
                <a:solidFill>
                  <a:schemeClr val="bg1"/>
                </a:solidFill>
                <a:latin typeface="Montserrat" pitchFamily="2" charset="-52"/>
              </a:rPr>
              <a:t>разглеждане</a:t>
            </a:r>
            <a:r>
              <a:rPr lang="ru-RU" dirty="0">
                <a:solidFill>
                  <a:schemeClr val="bg1"/>
                </a:solidFill>
                <a:latin typeface="Montserrat" pitchFamily="2" charset="-52"/>
              </a:rPr>
              <a:t> на </a:t>
            </a:r>
            <a:r>
              <a:rPr lang="ru-RU" dirty="0" err="1">
                <a:solidFill>
                  <a:schemeClr val="bg1"/>
                </a:solidFill>
                <a:latin typeface="Montserrat" pitchFamily="2" charset="-52"/>
              </a:rPr>
              <a:t>проспектите</a:t>
            </a:r>
            <a:r>
              <a:rPr lang="ru-RU" dirty="0">
                <a:solidFill>
                  <a:schemeClr val="bg1"/>
                </a:solidFill>
                <a:latin typeface="Montserrat" pitchFamily="2" charset="-52"/>
              </a:rPr>
              <a:t>.</a:t>
            </a:r>
            <a:endParaRPr lang="bg-BG" dirty="0">
              <a:solidFill>
                <a:schemeClr val="bg1"/>
              </a:solidFill>
              <a:latin typeface="Montserrat" pitchFamily="2" charset="-52"/>
            </a:endParaRPr>
          </a:p>
        </p:txBody>
      </p:sp>
      <p:sp>
        <p:nvSpPr>
          <p:cNvPr id="4" name="Rectangle 3"/>
          <p:cNvSpPr/>
          <p:nvPr/>
        </p:nvSpPr>
        <p:spPr>
          <a:xfrm>
            <a:off x="1589849" y="5611089"/>
            <a:ext cx="10715134" cy="338554"/>
          </a:xfrm>
          <a:prstGeom prst="rect">
            <a:avLst/>
          </a:prstGeom>
        </p:spPr>
        <p:txBody>
          <a:bodyPr wrap="square">
            <a:spAutoFit/>
          </a:bodyPr>
          <a:lstStyle/>
          <a:p>
            <a:r>
              <a:rPr lang="ru-RU" sz="1600" dirty="0">
                <a:solidFill>
                  <a:srgbClr val="093C6B"/>
                </a:solidFill>
                <a:latin typeface="Montserrat" pitchFamily="2" charset="-52"/>
              </a:rPr>
              <a:t>С </a:t>
            </a:r>
            <a:r>
              <a:rPr lang="ru-RU" sz="1600" dirty="0" err="1">
                <a:solidFill>
                  <a:srgbClr val="093C6B"/>
                </a:solidFill>
                <a:latin typeface="Montserrat" pitchFamily="2" charset="-52"/>
              </a:rPr>
              <a:t>писмено</a:t>
            </a:r>
            <a:r>
              <a:rPr lang="ru-RU" sz="1600" dirty="0">
                <a:solidFill>
                  <a:srgbClr val="093C6B"/>
                </a:solidFill>
                <a:latin typeface="Montserrat" pitchFamily="2" charset="-52"/>
              </a:rPr>
              <a:t> </a:t>
            </a:r>
            <a:r>
              <a:rPr lang="ru-RU" sz="1600" dirty="0" err="1">
                <a:solidFill>
                  <a:srgbClr val="093C6B"/>
                </a:solidFill>
                <a:latin typeface="Montserrat" pitchFamily="2" charset="-52"/>
              </a:rPr>
              <a:t>мотивирано</a:t>
            </a:r>
            <a:r>
              <a:rPr lang="ru-RU" sz="1600" dirty="0">
                <a:solidFill>
                  <a:srgbClr val="093C6B"/>
                </a:solidFill>
                <a:latin typeface="Montserrat" pitchFamily="2" charset="-52"/>
              </a:rPr>
              <a:t> решение КФН </a:t>
            </a:r>
            <a:r>
              <a:rPr lang="ru-RU" sz="1600" dirty="0" err="1">
                <a:solidFill>
                  <a:srgbClr val="093C6B"/>
                </a:solidFill>
                <a:latin typeface="Montserrat" pitchFamily="2" charset="-52"/>
              </a:rPr>
              <a:t>може</a:t>
            </a:r>
            <a:r>
              <a:rPr lang="ru-RU" sz="1600" dirty="0">
                <a:solidFill>
                  <a:srgbClr val="093C6B"/>
                </a:solidFill>
                <a:latin typeface="Montserrat" pitchFamily="2" charset="-52"/>
              </a:rPr>
              <a:t> да одобри или да </a:t>
            </a:r>
            <a:r>
              <a:rPr lang="ru-RU" sz="1600" dirty="0" err="1">
                <a:solidFill>
                  <a:srgbClr val="093C6B"/>
                </a:solidFill>
                <a:latin typeface="Montserrat" pitchFamily="2" charset="-52"/>
              </a:rPr>
              <a:t>откаже</a:t>
            </a:r>
            <a:r>
              <a:rPr lang="ru-RU" sz="1600" dirty="0">
                <a:solidFill>
                  <a:srgbClr val="093C6B"/>
                </a:solidFill>
                <a:latin typeface="Montserrat" pitchFamily="2" charset="-52"/>
              </a:rPr>
              <a:t> одобрение на проспект.</a:t>
            </a:r>
            <a:endParaRPr lang="bg-BG" sz="1600" dirty="0">
              <a:solidFill>
                <a:srgbClr val="093C6B"/>
              </a:solidFill>
              <a:latin typeface="Montserrat" pitchFamily="2" charset="-52"/>
            </a:endParaRPr>
          </a:p>
        </p:txBody>
      </p:sp>
      <p:sp>
        <p:nvSpPr>
          <p:cNvPr id="3" name="Rectangle 2"/>
          <p:cNvSpPr/>
          <p:nvPr/>
        </p:nvSpPr>
        <p:spPr>
          <a:xfrm>
            <a:off x="2301562" y="4438449"/>
            <a:ext cx="8940355" cy="830997"/>
          </a:xfrm>
          <a:prstGeom prst="rect">
            <a:avLst/>
          </a:prstGeom>
        </p:spPr>
        <p:txBody>
          <a:bodyPr wrap="square">
            <a:spAutoFit/>
          </a:bodyPr>
          <a:lstStyle/>
          <a:p>
            <a:r>
              <a:rPr lang="bg-BG" sz="1600" dirty="0">
                <a:solidFill>
                  <a:srgbClr val="093C6B"/>
                </a:solidFill>
                <a:latin typeface="Montserrat" pitchFamily="2" charset="-52"/>
              </a:rPr>
              <a:t>П</a:t>
            </a:r>
            <a:r>
              <a:rPr lang="ru-RU" sz="1600" dirty="0" err="1">
                <a:solidFill>
                  <a:srgbClr val="093C6B"/>
                </a:solidFill>
                <a:latin typeface="Montserrat" pitchFamily="2" charset="-52"/>
              </a:rPr>
              <a:t>ри</a:t>
            </a:r>
            <a:r>
              <a:rPr lang="ru-RU" sz="1600" dirty="0">
                <a:solidFill>
                  <a:srgbClr val="093C6B"/>
                </a:solidFill>
                <a:latin typeface="Montserrat" pitchFamily="2" charset="-52"/>
              </a:rPr>
              <a:t> </a:t>
            </a:r>
            <a:r>
              <a:rPr lang="ru-RU" sz="1600" dirty="0" err="1">
                <a:solidFill>
                  <a:srgbClr val="093C6B"/>
                </a:solidFill>
                <a:latin typeface="Montserrat" pitchFamily="2" charset="-52"/>
              </a:rPr>
              <a:t>необходимост</a:t>
            </a:r>
            <a:r>
              <a:rPr lang="ru-RU" sz="1600" dirty="0">
                <a:solidFill>
                  <a:srgbClr val="093C6B"/>
                </a:solidFill>
                <a:latin typeface="Montserrat" pitchFamily="2" charset="-52"/>
              </a:rPr>
              <a:t> от </a:t>
            </a:r>
            <a:r>
              <a:rPr lang="ru-RU" sz="1600" dirty="0" err="1">
                <a:solidFill>
                  <a:srgbClr val="093C6B"/>
                </a:solidFill>
                <a:latin typeface="Montserrat" pitchFamily="2" charset="-52"/>
              </a:rPr>
              <a:t>последващо</a:t>
            </a:r>
            <a:r>
              <a:rPr lang="ru-RU" sz="1600" dirty="0">
                <a:solidFill>
                  <a:srgbClr val="093C6B"/>
                </a:solidFill>
                <a:latin typeface="Montserrat" pitchFamily="2" charset="-52"/>
              </a:rPr>
              <a:t> </a:t>
            </a:r>
            <a:r>
              <a:rPr lang="ru-RU" sz="1600" dirty="0" err="1">
                <a:solidFill>
                  <a:srgbClr val="093C6B"/>
                </a:solidFill>
                <a:latin typeface="Montserrat" pitchFamily="2" charset="-52"/>
              </a:rPr>
              <a:t>представяне</a:t>
            </a:r>
            <a:r>
              <a:rPr lang="ru-RU" sz="1600" dirty="0">
                <a:solidFill>
                  <a:srgbClr val="093C6B"/>
                </a:solidFill>
                <a:latin typeface="Montserrat" pitchFamily="2" charset="-52"/>
              </a:rPr>
              <a:t> на </a:t>
            </a:r>
            <a:r>
              <a:rPr lang="ru-RU" sz="1600" dirty="0" err="1">
                <a:solidFill>
                  <a:srgbClr val="093C6B"/>
                </a:solidFill>
                <a:latin typeface="Montserrat" pitchFamily="2" charset="-52"/>
              </a:rPr>
              <a:t>коригиран</a:t>
            </a:r>
            <a:r>
              <a:rPr lang="ru-RU" sz="1600" dirty="0">
                <a:solidFill>
                  <a:srgbClr val="093C6B"/>
                </a:solidFill>
                <a:latin typeface="Montserrat" pitchFamily="2" charset="-52"/>
              </a:rPr>
              <a:t> проспект и/или </a:t>
            </a:r>
            <a:r>
              <a:rPr lang="ru-RU" sz="1600" dirty="0" err="1">
                <a:solidFill>
                  <a:srgbClr val="093C6B"/>
                </a:solidFill>
                <a:latin typeface="Montserrat" pitchFamily="2" charset="-52"/>
              </a:rPr>
              <a:t>допълнителна</a:t>
            </a:r>
            <a:r>
              <a:rPr lang="ru-RU" sz="1600" dirty="0">
                <a:solidFill>
                  <a:srgbClr val="093C6B"/>
                </a:solidFill>
                <a:latin typeface="Montserrat" pitchFamily="2" charset="-52"/>
              </a:rPr>
              <a:t> информация, КФН </a:t>
            </a:r>
            <a:r>
              <a:rPr lang="ru-RU" sz="1600" dirty="0" err="1">
                <a:solidFill>
                  <a:srgbClr val="093C6B"/>
                </a:solidFill>
                <a:latin typeface="Montserrat" pitchFamily="2" charset="-52"/>
              </a:rPr>
              <a:t>следва</a:t>
            </a:r>
            <a:r>
              <a:rPr lang="ru-RU" sz="1600" dirty="0">
                <a:solidFill>
                  <a:srgbClr val="093C6B"/>
                </a:solidFill>
                <a:latin typeface="Montserrat" pitchFamily="2" charset="-52"/>
              </a:rPr>
              <a:t> да се </a:t>
            </a:r>
            <a:r>
              <a:rPr lang="ru-RU" sz="1600" dirty="0" err="1">
                <a:solidFill>
                  <a:srgbClr val="093C6B"/>
                </a:solidFill>
                <a:latin typeface="Montserrat" pitchFamily="2" charset="-52"/>
              </a:rPr>
              <a:t>произнесе</a:t>
            </a:r>
            <a:r>
              <a:rPr lang="ru-RU" sz="1600" dirty="0">
                <a:solidFill>
                  <a:srgbClr val="093C6B"/>
                </a:solidFill>
                <a:latin typeface="Montserrat" pitchFamily="2" charset="-52"/>
              </a:rPr>
              <a:t> в </a:t>
            </a:r>
            <a:r>
              <a:rPr lang="ru-RU" sz="1600" dirty="0" err="1">
                <a:solidFill>
                  <a:srgbClr val="093C6B"/>
                </a:solidFill>
                <a:latin typeface="Montserrat" pitchFamily="2" charset="-52"/>
              </a:rPr>
              <a:t>рамките</a:t>
            </a:r>
            <a:r>
              <a:rPr lang="ru-RU" sz="1600" dirty="0">
                <a:solidFill>
                  <a:srgbClr val="093C6B"/>
                </a:solidFill>
                <a:latin typeface="Montserrat" pitchFamily="2" charset="-52"/>
              </a:rPr>
              <a:t> на </a:t>
            </a:r>
            <a:r>
              <a:rPr lang="ru-RU" sz="1600" dirty="0" err="1">
                <a:solidFill>
                  <a:srgbClr val="093C6B"/>
                </a:solidFill>
                <a:latin typeface="Montserrat" pitchFamily="2" charset="-52"/>
              </a:rPr>
              <a:t>по-краткия</a:t>
            </a:r>
            <a:r>
              <a:rPr lang="ru-RU" sz="1600" dirty="0">
                <a:solidFill>
                  <a:srgbClr val="093C6B"/>
                </a:solidFill>
                <a:latin typeface="Montserrat" pitchFamily="2" charset="-52"/>
              </a:rPr>
              <a:t> срок от 10 работни дни.</a:t>
            </a:r>
            <a:endParaRPr lang="bg-BG" sz="1600" dirty="0">
              <a:solidFill>
                <a:srgbClr val="093C6B"/>
              </a:solidFill>
              <a:latin typeface="Montserrat" pitchFamily="2" charset="-52"/>
            </a:endParaRPr>
          </a:p>
        </p:txBody>
      </p:sp>
      <p:sp>
        <p:nvSpPr>
          <p:cNvPr id="9" name="Rectangle 8"/>
          <p:cNvSpPr/>
          <p:nvPr/>
        </p:nvSpPr>
        <p:spPr>
          <a:xfrm>
            <a:off x="2650435" y="2993466"/>
            <a:ext cx="8632445" cy="1077218"/>
          </a:xfrm>
          <a:prstGeom prst="rect">
            <a:avLst/>
          </a:prstGeom>
        </p:spPr>
        <p:txBody>
          <a:bodyPr wrap="square">
            <a:spAutoFit/>
          </a:bodyPr>
          <a:lstStyle/>
          <a:p>
            <a:r>
              <a:rPr lang="bg-BG" sz="1600" dirty="0">
                <a:solidFill>
                  <a:srgbClr val="093C6B"/>
                </a:solidFill>
                <a:latin typeface="Montserrat" pitchFamily="2" charset="-52"/>
              </a:rPr>
              <a:t>10 работни дни за редовни емитенти и </a:t>
            </a:r>
            <a:r>
              <a:rPr lang="ru-RU" sz="1600" dirty="0">
                <a:solidFill>
                  <a:srgbClr val="093C6B"/>
                </a:solidFill>
                <a:latin typeface="Montserrat" pitchFamily="2" charset="-52"/>
              </a:rPr>
              <a:t>20 работни дни, </a:t>
            </a:r>
            <a:r>
              <a:rPr lang="ru-RU" sz="1600" dirty="0" err="1">
                <a:solidFill>
                  <a:srgbClr val="093C6B"/>
                </a:solidFill>
                <a:latin typeface="Montserrat" pitchFamily="2" charset="-52"/>
              </a:rPr>
              <a:t>когато</a:t>
            </a:r>
            <a:r>
              <a:rPr lang="ru-RU" sz="1600" dirty="0">
                <a:solidFill>
                  <a:srgbClr val="093C6B"/>
                </a:solidFill>
                <a:latin typeface="Montserrat" pitchFamily="2" charset="-52"/>
              </a:rPr>
              <a:t> </a:t>
            </a:r>
            <a:r>
              <a:rPr lang="ru-RU" sz="1600" dirty="0" err="1">
                <a:solidFill>
                  <a:srgbClr val="093C6B"/>
                </a:solidFill>
                <a:latin typeface="Montserrat" pitchFamily="2" charset="-52"/>
              </a:rPr>
              <a:t>публичното</a:t>
            </a:r>
            <a:r>
              <a:rPr lang="ru-RU" sz="1600" dirty="0">
                <a:solidFill>
                  <a:srgbClr val="093C6B"/>
                </a:solidFill>
                <a:latin typeface="Montserrat" pitchFamily="2" charset="-52"/>
              </a:rPr>
              <a:t> </a:t>
            </a:r>
            <a:r>
              <a:rPr lang="ru-RU" sz="1600" dirty="0" err="1">
                <a:solidFill>
                  <a:srgbClr val="093C6B"/>
                </a:solidFill>
                <a:latin typeface="Montserrat" pitchFamily="2" charset="-52"/>
              </a:rPr>
              <a:t>предлагане</a:t>
            </a:r>
            <a:r>
              <a:rPr lang="ru-RU" sz="1600" dirty="0">
                <a:solidFill>
                  <a:srgbClr val="093C6B"/>
                </a:solidFill>
                <a:latin typeface="Montserrat" pitchFamily="2" charset="-52"/>
              </a:rPr>
              <a:t> </a:t>
            </a:r>
            <a:r>
              <a:rPr lang="ru-RU" sz="1600" dirty="0" err="1">
                <a:solidFill>
                  <a:srgbClr val="093C6B"/>
                </a:solidFill>
                <a:latin typeface="Montserrat" pitchFamily="2" charset="-52"/>
              </a:rPr>
              <a:t>включва</a:t>
            </a:r>
            <a:r>
              <a:rPr lang="ru-RU" sz="1600" dirty="0">
                <a:solidFill>
                  <a:srgbClr val="093C6B"/>
                </a:solidFill>
                <a:latin typeface="Montserrat" pitchFamily="2" charset="-52"/>
              </a:rPr>
              <a:t> </a:t>
            </a:r>
            <a:r>
              <a:rPr lang="ru-RU" sz="1600" dirty="0" err="1">
                <a:solidFill>
                  <a:srgbClr val="093C6B"/>
                </a:solidFill>
                <a:latin typeface="Montserrat" pitchFamily="2" charset="-52"/>
              </a:rPr>
              <a:t>ценни</a:t>
            </a:r>
            <a:r>
              <a:rPr lang="ru-RU" sz="1600" dirty="0">
                <a:solidFill>
                  <a:srgbClr val="093C6B"/>
                </a:solidFill>
                <a:latin typeface="Montserrat" pitchFamily="2" charset="-52"/>
              </a:rPr>
              <a:t> </a:t>
            </a:r>
            <a:r>
              <a:rPr lang="ru-RU" sz="1600" dirty="0" err="1">
                <a:solidFill>
                  <a:srgbClr val="093C6B"/>
                </a:solidFill>
                <a:latin typeface="Montserrat" pitchFamily="2" charset="-52"/>
              </a:rPr>
              <a:t>книжа</a:t>
            </a:r>
            <a:r>
              <a:rPr lang="ru-RU" sz="1600" dirty="0">
                <a:solidFill>
                  <a:srgbClr val="093C6B"/>
                </a:solidFill>
                <a:latin typeface="Montserrat" pitchFamily="2" charset="-52"/>
              </a:rPr>
              <a:t>, </a:t>
            </a:r>
            <a:r>
              <a:rPr lang="ru-RU" sz="1600" dirty="0" err="1">
                <a:solidFill>
                  <a:srgbClr val="093C6B"/>
                </a:solidFill>
                <a:latin typeface="Montserrat" pitchFamily="2" charset="-52"/>
              </a:rPr>
              <a:t>които</a:t>
            </a:r>
            <a:r>
              <a:rPr lang="ru-RU" sz="1600" dirty="0">
                <a:solidFill>
                  <a:srgbClr val="093C6B"/>
                </a:solidFill>
                <a:latin typeface="Montserrat" pitchFamily="2" charset="-52"/>
              </a:rPr>
              <a:t> </a:t>
            </a:r>
            <a:r>
              <a:rPr lang="ru-RU" sz="1600" dirty="0" err="1">
                <a:solidFill>
                  <a:srgbClr val="093C6B"/>
                </a:solidFill>
                <a:latin typeface="Montserrat" pitchFamily="2" charset="-52"/>
              </a:rPr>
              <a:t>са</a:t>
            </a:r>
            <a:r>
              <a:rPr lang="ru-RU" sz="1600" dirty="0">
                <a:solidFill>
                  <a:srgbClr val="093C6B"/>
                </a:solidFill>
                <a:latin typeface="Montserrat" pitchFamily="2" charset="-52"/>
              </a:rPr>
              <a:t> </a:t>
            </a:r>
            <a:r>
              <a:rPr lang="ru-RU" sz="1600" dirty="0" err="1">
                <a:solidFill>
                  <a:srgbClr val="093C6B"/>
                </a:solidFill>
                <a:latin typeface="Montserrat" pitchFamily="2" charset="-52"/>
              </a:rPr>
              <a:t>издадени</a:t>
            </a:r>
            <a:r>
              <a:rPr lang="ru-RU" sz="1600" dirty="0">
                <a:solidFill>
                  <a:srgbClr val="093C6B"/>
                </a:solidFill>
                <a:latin typeface="Montserrat" pitchFamily="2" charset="-52"/>
              </a:rPr>
              <a:t> от </a:t>
            </a:r>
            <a:r>
              <a:rPr lang="ru-RU" sz="1600" dirty="0" err="1">
                <a:solidFill>
                  <a:srgbClr val="093C6B"/>
                </a:solidFill>
                <a:latin typeface="Montserrat" pitchFamily="2" charset="-52"/>
              </a:rPr>
              <a:t>емитент</a:t>
            </a:r>
            <a:r>
              <a:rPr lang="ru-RU" sz="1600" dirty="0">
                <a:solidFill>
                  <a:srgbClr val="093C6B"/>
                </a:solidFill>
                <a:latin typeface="Montserrat" pitchFamily="2" charset="-52"/>
              </a:rPr>
              <a:t>, </a:t>
            </a:r>
            <a:r>
              <a:rPr lang="ru-RU" sz="1600" dirty="0" err="1">
                <a:solidFill>
                  <a:srgbClr val="093C6B"/>
                </a:solidFill>
                <a:latin typeface="Montserrat" pitchFamily="2" charset="-52"/>
              </a:rPr>
              <a:t>който</a:t>
            </a:r>
            <a:r>
              <a:rPr lang="ru-RU" sz="1600" dirty="0">
                <a:solidFill>
                  <a:srgbClr val="093C6B"/>
                </a:solidFill>
                <a:latin typeface="Montserrat" pitchFamily="2" charset="-52"/>
              </a:rPr>
              <a:t> не </a:t>
            </a:r>
            <a:r>
              <a:rPr lang="ru-RU" sz="1600" dirty="0" err="1">
                <a:solidFill>
                  <a:srgbClr val="093C6B"/>
                </a:solidFill>
                <a:latin typeface="Montserrat" pitchFamily="2" charset="-52"/>
              </a:rPr>
              <a:t>притежава</a:t>
            </a:r>
            <a:r>
              <a:rPr lang="ru-RU" sz="1600" dirty="0">
                <a:solidFill>
                  <a:srgbClr val="093C6B"/>
                </a:solidFill>
                <a:latin typeface="Montserrat" pitchFamily="2" charset="-52"/>
              </a:rPr>
              <a:t> </a:t>
            </a:r>
            <a:r>
              <a:rPr lang="ru-RU" sz="1600" dirty="0" err="1">
                <a:solidFill>
                  <a:srgbClr val="093C6B"/>
                </a:solidFill>
                <a:latin typeface="Montserrat" pitchFamily="2" charset="-52"/>
              </a:rPr>
              <a:t>каквито</a:t>
            </a:r>
            <a:r>
              <a:rPr lang="ru-RU" sz="1600" dirty="0">
                <a:solidFill>
                  <a:srgbClr val="093C6B"/>
                </a:solidFill>
                <a:latin typeface="Montserrat" pitchFamily="2" charset="-52"/>
              </a:rPr>
              <a:t> и да било </a:t>
            </a:r>
            <a:r>
              <a:rPr lang="ru-RU" sz="1600" dirty="0" err="1">
                <a:solidFill>
                  <a:srgbClr val="093C6B"/>
                </a:solidFill>
                <a:latin typeface="Montserrat" pitchFamily="2" charset="-52"/>
              </a:rPr>
              <a:t>ценни</a:t>
            </a:r>
            <a:r>
              <a:rPr lang="ru-RU" sz="1600" dirty="0">
                <a:solidFill>
                  <a:srgbClr val="093C6B"/>
                </a:solidFill>
                <a:latin typeface="Montserrat" pitchFamily="2" charset="-52"/>
              </a:rPr>
              <a:t> </a:t>
            </a:r>
            <a:r>
              <a:rPr lang="ru-RU" sz="1600" dirty="0" err="1">
                <a:solidFill>
                  <a:srgbClr val="093C6B"/>
                </a:solidFill>
                <a:latin typeface="Montserrat" pitchFamily="2" charset="-52"/>
              </a:rPr>
              <a:t>книжа</a:t>
            </a:r>
            <a:r>
              <a:rPr lang="ru-RU" sz="1600" dirty="0">
                <a:solidFill>
                  <a:srgbClr val="093C6B"/>
                </a:solidFill>
                <a:latin typeface="Montserrat" pitchFamily="2" charset="-52"/>
              </a:rPr>
              <a:t>, </a:t>
            </a:r>
            <a:r>
              <a:rPr lang="ru-RU" sz="1600" dirty="0" err="1">
                <a:solidFill>
                  <a:srgbClr val="093C6B"/>
                </a:solidFill>
                <a:latin typeface="Montserrat" pitchFamily="2" charset="-52"/>
              </a:rPr>
              <a:t>допуснати</a:t>
            </a:r>
            <a:r>
              <a:rPr lang="ru-RU" sz="1600" dirty="0">
                <a:solidFill>
                  <a:srgbClr val="093C6B"/>
                </a:solidFill>
                <a:latin typeface="Montserrat" pitchFamily="2" charset="-52"/>
              </a:rPr>
              <a:t> до </a:t>
            </a:r>
            <a:r>
              <a:rPr lang="ru-RU" sz="1600" dirty="0" err="1">
                <a:solidFill>
                  <a:srgbClr val="093C6B"/>
                </a:solidFill>
                <a:latin typeface="Montserrat" pitchFamily="2" charset="-52"/>
              </a:rPr>
              <a:t>търговия</a:t>
            </a:r>
            <a:r>
              <a:rPr lang="ru-RU" sz="1600" dirty="0">
                <a:solidFill>
                  <a:srgbClr val="093C6B"/>
                </a:solidFill>
                <a:latin typeface="Montserrat" pitchFamily="2" charset="-52"/>
              </a:rPr>
              <a:t> на </a:t>
            </a:r>
            <a:r>
              <a:rPr lang="ru-RU" sz="1600" dirty="0" err="1">
                <a:solidFill>
                  <a:srgbClr val="093C6B"/>
                </a:solidFill>
                <a:latin typeface="Montserrat" pitchFamily="2" charset="-52"/>
              </a:rPr>
              <a:t>регулиран</a:t>
            </a:r>
            <a:r>
              <a:rPr lang="ru-RU" sz="1600" dirty="0">
                <a:solidFill>
                  <a:srgbClr val="093C6B"/>
                </a:solidFill>
                <a:latin typeface="Montserrat" pitchFamily="2" charset="-52"/>
              </a:rPr>
              <a:t> </a:t>
            </a:r>
            <a:r>
              <a:rPr lang="ru-RU" sz="1600" dirty="0" err="1">
                <a:solidFill>
                  <a:srgbClr val="093C6B"/>
                </a:solidFill>
                <a:latin typeface="Montserrat" pitchFamily="2" charset="-52"/>
              </a:rPr>
              <a:t>пазар</a:t>
            </a:r>
            <a:r>
              <a:rPr lang="ru-RU" sz="1600" dirty="0">
                <a:solidFill>
                  <a:srgbClr val="093C6B"/>
                </a:solidFill>
                <a:latin typeface="Montserrat" pitchFamily="2" charset="-52"/>
              </a:rPr>
              <a:t>, и </a:t>
            </a:r>
            <a:r>
              <a:rPr lang="ru-RU" sz="1600" dirty="0" err="1">
                <a:solidFill>
                  <a:srgbClr val="093C6B"/>
                </a:solidFill>
                <a:latin typeface="Montserrat" pitchFamily="2" charset="-52"/>
              </a:rPr>
              <a:t>който</a:t>
            </a:r>
            <a:r>
              <a:rPr lang="ru-RU" sz="1600" dirty="0">
                <a:solidFill>
                  <a:srgbClr val="093C6B"/>
                </a:solidFill>
                <a:latin typeface="Montserrat" pitchFamily="2" charset="-52"/>
              </a:rPr>
              <a:t> </a:t>
            </a:r>
            <a:r>
              <a:rPr lang="ru-RU" sz="1600" dirty="0" err="1">
                <a:solidFill>
                  <a:srgbClr val="093C6B"/>
                </a:solidFill>
                <a:latin typeface="Montserrat" pitchFamily="2" charset="-52"/>
              </a:rPr>
              <a:t>преди</a:t>
            </a:r>
            <a:r>
              <a:rPr lang="ru-RU" sz="1600" dirty="0">
                <a:solidFill>
                  <a:srgbClr val="093C6B"/>
                </a:solidFill>
                <a:latin typeface="Montserrat" pitchFamily="2" charset="-52"/>
              </a:rPr>
              <a:t> </a:t>
            </a:r>
            <a:r>
              <a:rPr lang="ru-RU" sz="1600" dirty="0" err="1">
                <a:solidFill>
                  <a:srgbClr val="093C6B"/>
                </a:solidFill>
                <a:latin typeface="Montserrat" pitchFamily="2" charset="-52"/>
              </a:rPr>
              <a:t>това</a:t>
            </a:r>
            <a:r>
              <a:rPr lang="ru-RU" sz="1600" dirty="0">
                <a:solidFill>
                  <a:srgbClr val="093C6B"/>
                </a:solidFill>
                <a:latin typeface="Montserrat" pitchFamily="2" charset="-52"/>
              </a:rPr>
              <a:t> не е предлагал публично </a:t>
            </a:r>
            <a:r>
              <a:rPr lang="ru-RU" sz="1600" dirty="0" err="1">
                <a:solidFill>
                  <a:srgbClr val="093C6B"/>
                </a:solidFill>
                <a:latin typeface="Montserrat" pitchFamily="2" charset="-52"/>
              </a:rPr>
              <a:t>ценни</a:t>
            </a:r>
            <a:r>
              <a:rPr lang="ru-RU" sz="1600" dirty="0">
                <a:solidFill>
                  <a:srgbClr val="093C6B"/>
                </a:solidFill>
                <a:latin typeface="Montserrat" pitchFamily="2" charset="-52"/>
              </a:rPr>
              <a:t> </a:t>
            </a:r>
            <a:r>
              <a:rPr lang="ru-RU" sz="1600" dirty="0" err="1">
                <a:solidFill>
                  <a:srgbClr val="093C6B"/>
                </a:solidFill>
                <a:latin typeface="Montserrat" pitchFamily="2" charset="-52"/>
              </a:rPr>
              <a:t>книжа</a:t>
            </a:r>
            <a:r>
              <a:rPr lang="ru-RU" sz="1600" dirty="0">
                <a:solidFill>
                  <a:srgbClr val="093C6B"/>
                </a:solidFill>
                <a:latin typeface="Montserrat" pitchFamily="2" charset="-52"/>
              </a:rPr>
              <a:t>.</a:t>
            </a:r>
            <a:endParaRPr lang="bg-BG" sz="1600" dirty="0">
              <a:solidFill>
                <a:srgbClr val="093C6B"/>
              </a:solidFill>
              <a:latin typeface="Montserrat" pitchFamily="2" charset="-52"/>
            </a:endParaRPr>
          </a:p>
        </p:txBody>
      </p:sp>
      <p:sp>
        <p:nvSpPr>
          <p:cNvPr id="6" name="Rectangle 5"/>
          <p:cNvSpPr/>
          <p:nvPr/>
        </p:nvSpPr>
        <p:spPr>
          <a:xfrm>
            <a:off x="2221590" y="2406507"/>
            <a:ext cx="10715135" cy="338554"/>
          </a:xfrm>
          <a:prstGeom prst="rect">
            <a:avLst/>
          </a:prstGeom>
        </p:spPr>
        <p:txBody>
          <a:bodyPr wrap="square">
            <a:spAutoFit/>
          </a:bodyPr>
          <a:lstStyle/>
          <a:p>
            <a:r>
              <a:rPr lang="bg-BG" sz="1600" dirty="0">
                <a:solidFill>
                  <a:srgbClr val="093C6B"/>
                </a:solidFill>
                <a:latin typeface="Montserrat" pitchFamily="2" charset="-52"/>
              </a:rPr>
              <a:t>Мотивирано решение на КФН.</a:t>
            </a:r>
          </a:p>
        </p:txBody>
      </p:sp>
      <p:pic>
        <p:nvPicPr>
          <p:cNvPr id="20" name="Picture 19"/>
          <p:cNvPicPr>
            <a:picLocks noChangeAspect="1"/>
          </p:cNvPicPr>
          <p:nvPr/>
        </p:nvPicPr>
        <p:blipFill>
          <a:blip r:embed="rId4" cstate="print">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rot="16200000">
            <a:off x="-2078202" y="2074685"/>
            <a:ext cx="4141411" cy="4141411"/>
          </a:xfrm>
          <a:prstGeom prst="rect">
            <a:avLst/>
          </a:prstGeom>
        </p:spPr>
      </p:pic>
      <p:sp>
        <p:nvSpPr>
          <p:cNvPr id="24" name="Rectangle 23"/>
          <p:cNvSpPr/>
          <p:nvPr/>
        </p:nvSpPr>
        <p:spPr>
          <a:xfrm>
            <a:off x="220446" y="3839033"/>
            <a:ext cx="1899255" cy="400110"/>
          </a:xfrm>
          <a:prstGeom prst="rect">
            <a:avLst/>
          </a:prstGeom>
        </p:spPr>
        <p:txBody>
          <a:bodyPr wrap="square">
            <a:spAutoFit/>
          </a:bodyPr>
          <a:lstStyle/>
          <a:p>
            <a:r>
              <a:rPr lang="ru-RU" sz="2000" dirty="0">
                <a:solidFill>
                  <a:schemeClr val="bg1"/>
                </a:solidFill>
                <a:latin typeface="Montserrat ExtraBold" panose="00000900000000000000" pitchFamily="50" charset="-52"/>
              </a:rPr>
              <a:t>СРОКОВЕ</a:t>
            </a:r>
            <a:endParaRPr lang="bg-BG" sz="2000" dirty="0">
              <a:latin typeface="Montserrat ExtraBold" panose="00000900000000000000" pitchFamily="50" charset="-52"/>
            </a:endParaRPr>
          </a:p>
        </p:txBody>
      </p:sp>
      <p:sp>
        <p:nvSpPr>
          <p:cNvPr id="25" name="Oval 24"/>
          <p:cNvSpPr/>
          <p:nvPr/>
        </p:nvSpPr>
        <p:spPr>
          <a:xfrm>
            <a:off x="1342695" y="5610087"/>
            <a:ext cx="141729" cy="141729"/>
          </a:xfrm>
          <a:prstGeom prst="ellipse">
            <a:avLst/>
          </a:prstGeom>
          <a:solidFill>
            <a:srgbClr val="1C77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7" name="Oval 26"/>
          <p:cNvSpPr/>
          <p:nvPr/>
        </p:nvSpPr>
        <p:spPr>
          <a:xfrm>
            <a:off x="1932093" y="3620802"/>
            <a:ext cx="141729" cy="141729"/>
          </a:xfrm>
          <a:prstGeom prst="ellipse">
            <a:avLst/>
          </a:prstGeom>
          <a:solidFill>
            <a:srgbClr val="0A3F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9" name="Oval 28"/>
          <p:cNvSpPr/>
          <p:nvPr/>
        </p:nvSpPr>
        <p:spPr>
          <a:xfrm>
            <a:off x="1008060" y="2309756"/>
            <a:ext cx="141729" cy="141729"/>
          </a:xfrm>
          <a:prstGeom prst="ellipse">
            <a:avLst/>
          </a:prstGeom>
          <a:solidFill>
            <a:srgbClr val="022A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0" name="Oval 29"/>
          <p:cNvSpPr/>
          <p:nvPr/>
        </p:nvSpPr>
        <p:spPr>
          <a:xfrm>
            <a:off x="1844493" y="4837956"/>
            <a:ext cx="141729" cy="141729"/>
          </a:xfrm>
          <a:prstGeom prst="ellipse">
            <a:avLst/>
          </a:prstGeom>
          <a:solidFill>
            <a:srgbClr val="135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nvGrpSpPr>
          <p:cNvPr id="14" name="Group 13">
            <a:extLst>
              <a:ext uri="{FF2B5EF4-FFF2-40B4-BE49-F238E27FC236}">
                <a16:creationId xmlns:a16="http://schemas.microsoft.com/office/drawing/2014/main" id="{830E40E0-A234-4CFF-8FBB-76A8EB155A87}"/>
              </a:ext>
            </a:extLst>
          </p:cNvPr>
          <p:cNvGrpSpPr/>
          <p:nvPr/>
        </p:nvGrpSpPr>
        <p:grpSpPr>
          <a:xfrm>
            <a:off x="1083687" y="2382159"/>
            <a:ext cx="7742224" cy="421922"/>
            <a:chOff x="1083687" y="2382159"/>
            <a:chExt cx="7742224" cy="421922"/>
          </a:xfrm>
        </p:grpSpPr>
        <p:cxnSp>
          <p:nvCxnSpPr>
            <p:cNvPr id="2" name="Straight Connector 1">
              <a:extLst>
                <a:ext uri="{FF2B5EF4-FFF2-40B4-BE49-F238E27FC236}">
                  <a16:creationId xmlns:a16="http://schemas.microsoft.com/office/drawing/2014/main" id="{6AF2B421-CA84-8CB1-D745-B28C6D32F4E6}"/>
                </a:ext>
              </a:extLst>
            </p:cNvPr>
            <p:cNvCxnSpPr/>
            <p:nvPr/>
          </p:nvCxnSpPr>
          <p:spPr>
            <a:xfrm>
              <a:off x="1083687" y="2382159"/>
              <a:ext cx="801474" cy="6422"/>
            </a:xfrm>
            <a:prstGeom prst="line">
              <a:avLst/>
            </a:prstGeom>
            <a:ln w="19050">
              <a:solidFill>
                <a:srgbClr val="02295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D1F5050-BFA8-FA19-BA8F-639640EA9205}"/>
                </a:ext>
              </a:extLst>
            </p:cNvPr>
            <p:cNvCxnSpPr/>
            <p:nvPr/>
          </p:nvCxnSpPr>
          <p:spPr>
            <a:xfrm>
              <a:off x="1885161" y="2388582"/>
              <a:ext cx="336429" cy="415499"/>
            </a:xfrm>
            <a:prstGeom prst="line">
              <a:avLst/>
            </a:prstGeom>
            <a:ln w="19050">
              <a:solidFill>
                <a:srgbClr val="02295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D8034FF-3982-7E7B-DDE0-1813EEF8E8CF}"/>
                </a:ext>
              </a:extLst>
            </p:cNvPr>
            <p:cNvCxnSpPr/>
            <p:nvPr/>
          </p:nvCxnSpPr>
          <p:spPr>
            <a:xfrm>
              <a:off x="2221590" y="2804081"/>
              <a:ext cx="6604321" cy="0"/>
            </a:xfrm>
            <a:prstGeom prst="line">
              <a:avLst/>
            </a:prstGeom>
            <a:ln w="19050">
              <a:solidFill>
                <a:srgbClr val="022952"/>
              </a:solidFill>
            </a:ln>
          </p:spPr>
          <p:style>
            <a:lnRef idx="1">
              <a:schemeClr val="accent1"/>
            </a:lnRef>
            <a:fillRef idx="0">
              <a:schemeClr val="accent1"/>
            </a:fillRef>
            <a:effectRef idx="0">
              <a:schemeClr val="accent1"/>
            </a:effectRef>
            <a:fontRef idx="minor">
              <a:schemeClr val="tx1"/>
            </a:fontRef>
          </p:style>
        </p:cxnSp>
      </p:grpSp>
      <p:sp>
        <p:nvSpPr>
          <p:cNvPr id="13" name="Oval 12">
            <a:extLst>
              <a:ext uri="{FF2B5EF4-FFF2-40B4-BE49-F238E27FC236}">
                <a16:creationId xmlns:a16="http://schemas.microsoft.com/office/drawing/2014/main" id="{8E82B9A3-7373-7AD6-6256-B9CFCCD671CF}"/>
              </a:ext>
            </a:extLst>
          </p:cNvPr>
          <p:cNvSpPr/>
          <p:nvPr/>
        </p:nvSpPr>
        <p:spPr>
          <a:xfrm>
            <a:off x="8741648" y="2733217"/>
            <a:ext cx="141729" cy="141729"/>
          </a:xfrm>
          <a:prstGeom prst="ellipse">
            <a:avLst/>
          </a:prstGeom>
          <a:solidFill>
            <a:srgbClr val="022A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nvGrpSpPr>
          <p:cNvPr id="15" name="Group 14">
            <a:extLst>
              <a:ext uri="{FF2B5EF4-FFF2-40B4-BE49-F238E27FC236}">
                <a16:creationId xmlns:a16="http://schemas.microsoft.com/office/drawing/2014/main" id="{40DC8832-5546-B08D-157C-F1AF41389F26}"/>
              </a:ext>
            </a:extLst>
          </p:cNvPr>
          <p:cNvGrpSpPr/>
          <p:nvPr/>
        </p:nvGrpSpPr>
        <p:grpSpPr>
          <a:xfrm>
            <a:off x="1986222" y="3694488"/>
            <a:ext cx="9296658" cy="415500"/>
            <a:chOff x="1533121" y="2388581"/>
            <a:chExt cx="9296658" cy="415500"/>
          </a:xfrm>
        </p:grpSpPr>
        <p:cxnSp>
          <p:nvCxnSpPr>
            <p:cNvPr id="16" name="Straight Connector 15">
              <a:extLst>
                <a:ext uri="{FF2B5EF4-FFF2-40B4-BE49-F238E27FC236}">
                  <a16:creationId xmlns:a16="http://schemas.microsoft.com/office/drawing/2014/main" id="{433A56AB-1199-43D7-4497-E6876EA3D966}"/>
                </a:ext>
              </a:extLst>
            </p:cNvPr>
            <p:cNvCxnSpPr>
              <a:cxnSpLocks/>
            </p:cNvCxnSpPr>
            <p:nvPr/>
          </p:nvCxnSpPr>
          <p:spPr>
            <a:xfrm>
              <a:off x="1533121" y="2388581"/>
              <a:ext cx="352040" cy="0"/>
            </a:xfrm>
            <a:prstGeom prst="line">
              <a:avLst/>
            </a:prstGeom>
            <a:ln w="19050">
              <a:solidFill>
                <a:srgbClr val="0A3F7D"/>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1FD538A-BDCE-2A86-141A-EF1772955217}"/>
                </a:ext>
              </a:extLst>
            </p:cNvPr>
            <p:cNvCxnSpPr/>
            <p:nvPr/>
          </p:nvCxnSpPr>
          <p:spPr>
            <a:xfrm>
              <a:off x="1885161" y="2388582"/>
              <a:ext cx="336429" cy="415499"/>
            </a:xfrm>
            <a:prstGeom prst="line">
              <a:avLst/>
            </a:prstGeom>
            <a:ln w="19050">
              <a:solidFill>
                <a:srgbClr val="0A3F7D"/>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1425412-5BCC-D311-8EB2-E6051EA7F514}"/>
                </a:ext>
              </a:extLst>
            </p:cNvPr>
            <p:cNvCxnSpPr>
              <a:cxnSpLocks/>
            </p:cNvCxnSpPr>
            <p:nvPr/>
          </p:nvCxnSpPr>
          <p:spPr>
            <a:xfrm>
              <a:off x="2221590" y="2804081"/>
              <a:ext cx="8608189" cy="0"/>
            </a:xfrm>
            <a:prstGeom prst="line">
              <a:avLst/>
            </a:prstGeom>
            <a:ln w="19050">
              <a:solidFill>
                <a:srgbClr val="0A3F7D"/>
              </a:solidFill>
            </a:ln>
          </p:spPr>
          <p:style>
            <a:lnRef idx="1">
              <a:schemeClr val="accent1"/>
            </a:lnRef>
            <a:fillRef idx="0">
              <a:schemeClr val="accent1"/>
            </a:fillRef>
            <a:effectRef idx="0">
              <a:schemeClr val="accent1"/>
            </a:effectRef>
            <a:fontRef idx="minor">
              <a:schemeClr val="tx1"/>
            </a:fontRef>
          </p:style>
        </p:cxnSp>
      </p:grpSp>
      <p:sp>
        <p:nvSpPr>
          <p:cNvPr id="21" name="Oval 20">
            <a:extLst>
              <a:ext uri="{FF2B5EF4-FFF2-40B4-BE49-F238E27FC236}">
                <a16:creationId xmlns:a16="http://schemas.microsoft.com/office/drawing/2014/main" id="{501D3535-4739-45A9-FCCC-00692EFA7016}"/>
              </a:ext>
            </a:extLst>
          </p:cNvPr>
          <p:cNvSpPr/>
          <p:nvPr/>
        </p:nvSpPr>
        <p:spPr>
          <a:xfrm>
            <a:off x="11212015" y="4039123"/>
            <a:ext cx="141729" cy="141729"/>
          </a:xfrm>
          <a:prstGeom prst="ellipse">
            <a:avLst/>
          </a:prstGeom>
          <a:solidFill>
            <a:srgbClr val="0A3F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nvGrpSpPr>
          <p:cNvPr id="23" name="Group 22">
            <a:extLst>
              <a:ext uri="{FF2B5EF4-FFF2-40B4-BE49-F238E27FC236}">
                <a16:creationId xmlns:a16="http://schemas.microsoft.com/office/drawing/2014/main" id="{758805F0-111C-436C-3C65-3C6C3EE254FB}"/>
              </a:ext>
            </a:extLst>
          </p:cNvPr>
          <p:cNvGrpSpPr/>
          <p:nvPr/>
        </p:nvGrpSpPr>
        <p:grpSpPr>
          <a:xfrm>
            <a:off x="1908876" y="4908822"/>
            <a:ext cx="8944618" cy="415499"/>
            <a:chOff x="1885161" y="2388582"/>
            <a:chExt cx="8944618" cy="415499"/>
          </a:xfrm>
        </p:grpSpPr>
        <p:cxnSp>
          <p:nvCxnSpPr>
            <p:cNvPr id="32" name="Straight Connector 31">
              <a:extLst>
                <a:ext uri="{FF2B5EF4-FFF2-40B4-BE49-F238E27FC236}">
                  <a16:creationId xmlns:a16="http://schemas.microsoft.com/office/drawing/2014/main" id="{CA9B43E9-24DA-2C87-826E-134154BB66ED}"/>
                </a:ext>
              </a:extLst>
            </p:cNvPr>
            <p:cNvCxnSpPr/>
            <p:nvPr/>
          </p:nvCxnSpPr>
          <p:spPr>
            <a:xfrm>
              <a:off x="1885161" y="2388582"/>
              <a:ext cx="336429" cy="415499"/>
            </a:xfrm>
            <a:prstGeom prst="line">
              <a:avLst/>
            </a:prstGeom>
            <a:ln w="19050">
              <a:solidFill>
                <a:srgbClr val="1359A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86869C6-CCFB-3E57-E7C3-18077221C448}"/>
                </a:ext>
              </a:extLst>
            </p:cNvPr>
            <p:cNvCxnSpPr>
              <a:cxnSpLocks/>
            </p:cNvCxnSpPr>
            <p:nvPr/>
          </p:nvCxnSpPr>
          <p:spPr>
            <a:xfrm>
              <a:off x="2221590" y="2804081"/>
              <a:ext cx="8608189" cy="0"/>
            </a:xfrm>
            <a:prstGeom prst="line">
              <a:avLst/>
            </a:prstGeom>
            <a:ln w="19050">
              <a:solidFill>
                <a:srgbClr val="1359A1"/>
              </a:solidFill>
            </a:ln>
          </p:spPr>
          <p:style>
            <a:lnRef idx="1">
              <a:schemeClr val="accent1"/>
            </a:lnRef>
            <a:fillRef idx="0">
              <a:schemeClr val="accent1"/>
            </a:fillRef>
            <a:effectRef idx="0">
              <a:schemeClr val="accent1"/>
            </a:effectRef>
            <a:fontRef idx="minor">
              <a:schemeClr val="tx1"/>
            </a:fontRef>
          </p:style>
        </p:cxnSp>
      </p:grpSp>
      <p:sp>
        <p:nvSpPr>
          <p:cNvPr id="34" name="Oval 33">
            <a:extLst>
              <a:ext uri="{FF2B5EF4-FFF2-40B4-BE49-F238E27FC236}">
                <a16:creationId xmlns:a16="http://schemas.microsoft.com/office/drawing/2014/main" id="{2FFC7550-939E-337B-EC9A-D7EC92A8595B}"/>
              </a:ext>
            </a:extLst>
          </p:cNvPr>
          <p:cNvSpPr/>
          <p:nvPr/>
        </p:nvSpPr>
        <p:spPr>
          <a:xfrm>
            <a:off x="10782629" y="5253456"/>
            <a:ext cx="141729" cy="141729"/>
          </a:xfrm>
          <a:prstGeom prst="ellipse">
            <a:avLst/>
          </a:prstGeom>
          <a:solidFill>
            <a:srgbClr val="135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nvGrpSpPr>
          <p:cNvPr id="35" name="Group 34">
            <a:extLst>
              <a:ext uri="{FF2B5EF4-FFF2-40B4-BE49-F238E27FC236}">
                <a16:creationId xmlns:a16="http://schemas.microsoft.com/office/drawing/2014/main" id="{1D25F55F-4E89-396E-6F53-E3527F35376B}"/>
              </a:ext>
            </a:extLst>
          </p:cNvPr>
          <p:cNvGrpSpPr/>
          <p:nvPr/>
        </p:nvGrpSpPr>
        <p:grpSpPr>
          <a:xfrm>
            <a:off x="1379334" y="5626869"/>
            <a:ext cx="10498034" cy="415499"/>
            <a:chOff x="1885161" y="2388582"/>
            <a:chExt cx="10498034" cy="415499"/>
          </a:xfrm>
          <a:solidFill>
            <a:srgbClr val="1C77BD"/>
          </a:solidFill>
        </p:grpSpPr>
        <p:cxnSp>
          <p:nvCxnSpPr>
            <p:cNvPr id="37" name="Straight Connector 36">
              <a:extLst>
                <a:ext uri="{FF2B5EF4-FFF2-40B4-BE49-F238E27FC236}">
                  <a16:creationId xmlns:a16="http://schemas.microsoft.com/office/drawing/2014/main" id="{0AFAD831-78AD-4E9A-6ED9-D7A15088324A}"/>
                </a:ext>
              </a:extLst>
            </p:cNvPr>
            <p:cNvCxnSpPr/>
            <p:nvPr/>
          </p:nvCxnSpPr>
          <p:spPr>
            <a:xfrm>
              <a:off x="1885161" y="2388582"/>
              <a:ext cx="336429" cy="415499"/>
            </a:xfrm>
            <a:prstGeom prst="line">
              <a:avLst/>
            </a:prstGeom>
            <a:grpFill/>
            <a:ln w="19050">
              <a:solidFill>
                <a:srgbClr val="1C77BD"/>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CC6F76A-8311-1AAE-E812-3CB3266F789B}"/>
                </a:ext>
              </a:extLst>
            </p:cNvPr>
            <p:cNvCxnSpPr>
              <a:cxnSpLocks/>
            </p:cNvCxnSpPr>
            <p:nvPr/>
          </p:nvCxnSpPr>
          <p:spPr>
            <a:xfrm>
              <a:off x="2221590" y="2804081"/>
              <a:ext cx="10161605" cy="0"/>
            </a:xfrm>
            <a:prstGeom prst="line">
              <a:avLst/>
            </a:prstGeom>
            <a:grpFill/>
            <a:ln w="19050">
              <a:solidFill>
                <a:srgbClr val="1C77BD"/>
              </a:solidFill>
            </a:ln>
          </p:spPr>
          <p:style>
            <a:lnRef idx="1">
              <a:schemeClr val="accent1"/>
            </a:lnRef>
            <a:fillRef idx="0">
              <a:schemeClr val="accent1"/>
            </a:fillRef>
            <a:effectRef idx="0">
              <a:schemeClr val="accent1"/>
            </a:effectRef>
            <a:fontRef idx="minor">
              <a:schemeClr val="tx1"/>
            </a:fontRef>
          </p:style>
        </p:cxnSp>
      </p:grpSp>
      <p:sp>
        <p:nvSpPr>
          <p:cNvPr id="40" name="Oval 39">
            <a:extLst>
              <a:ext uri="{FF2B5EF4-FFF2-40B4-BE49-F238E27FC236}">
                <a16:creationId xmlns:a16="http://schemas.microsoft.com/office/drawing/2014/main" id="{0EB9C330-A54F-043C-3761-82DFB3649E94}"/>
              </a:ext>
            </a:extLst>
          </p:cNvPr>
          <p:cNvSpPr/>
          <p:nvPr/>
        </p:nvSpPr>
        <p:spPr>
          <a:xfrm>
            <a:off x="11792131" y="5965866"/>
            <a:ext cx="141729" cy="141729"/>
          </a:xfrm>
          <a:prstGeom prst="ellipse">
            <a:avLst/>
          </a:prstGeom>
          <a:solidFill>
            <a:srgbClr val="1C77BD"/>
          </a:solidFill>
          <a:ln>
            <a:solidFill>
              <a:srgbClr val="1C77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pic>
        <p:nvPicPr>
          <p:cNvPr id="36" name="Picture 3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131552" y="6292745"/>
            <a:ext cx="1876472" cy="361108"/>
          </a:xfrm>
          <a:prstGeom prst="rect">
            <a:avLst/>
          </a:prstGeom>
        </p:spPr>
      </p:pic>
    </p:spTree>
    <p:extLst>
      <p:ext uri="{BB962C8B-B14F-4D97-AF65-F5344CB8AC3E}">
        <p14:creationId xmlns:p14="http://schemas.microsoft.com/office/powerpoint/2010/main" val="149711506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0800000">
            <a:off x="-4" y="0"/>
            <a:ext cx="12192003" cy="6858000"/>
          </a:xfrm>
          <a:prstGeom prst="rect">
            <a:avLst/>
          </a:prstGeom>
          <a:ln>
            <a:noFill/>
          </a:ln>
        </p:spPr>
      </p:pic>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t="35327" b="35532"/>
          <a:stretch/>
        </p:blipFill>
        <p:spPr>
          <a:xfrm>
            <a:off x="0" y="0"/>
            <a:ext cx="12192000" cy="1715678"/>
          </a:xfrm>
          <a:prstGeom prst="rect">
            <a:avLst/>
          </a:prstGeom>
        </p:spPr>
      </p:pic>
      <p:sp>
        <p:nvSpPr>
          <p:cNvPr id="5" name="TextBox 4"/>
          <p:cNvSpPr txBox="1"/>
          <p:nvPr/>
        </p:nvSpPr>
        <p:spPr>
          <a:xfrm>
            <a:off x="338540" y="266932"/>
            <a:ext cx="9531323" cy="830997"/>
          </a:xfrm>
          <a:prstGeom prst="rect">
            <a:avLst/>
          </a:prstGeom>
          <a:noFill/>
        </p:spPr>
        <p:txBody>
          <a:bodyPr wrap="square" rtlCol="0">
            <a:spAutoFit/>
          </a:bodyPr>
          <a:lstStyle/>
          <a:p>
            <a:r>
              <a:rPr lang="en-US" sz="2400" dirty="0">
                <a:solidFill>
                  <a:schemeClr val="bg1"/>
                </a:solidFill>
                <a:latin typeface="Montserrat Black" pitchFamily="2" charset="-52"/>
              </a:rPr>
              <a:t>II. </a:t>
            </a:r>
            <a:r>
              <a:rPr lang="bg-BG" sz="2400" dirty="0">
                <a:solidFill>
                  <a:schemeClr val="bg1"/>
                </a:solidFill>
                <a:latin typeface="Montserrat Black" pitchFamily="2" charset="-52"/>
              </a:rPr>
              <a:t>ПЪТЯТ НА ЕДНА КОМПАНИЯ КЪМ ПУБЛИЧНО ПРЕДЛАГАНЕ И ДОПУСКАНЕ ДО РЕГУЛИРАН ПАЗАР</a:t>
            </a:r>
          </a:p>
        </p:txBody>
      </p:sp>
      <p:sp>
        <p:nvSpPr>
          <p:cNvPr id="8" name="TextBox 7"/>
          <p:cNvSpPr txBox="1"/>
          <p:nvPr/>
        </p:nvSpPr>
        <p:spPr>
          <a:xfrm>
            <a:off x="338540" y="1051762"/>
            <a:ext cx="9192785" cy="369332"/>
          </a:xfrm>
          <a:prstGeom prst="rect">
            <a:avLst/>
          </a:prstGeom>
          <a:noFill/>
        </p:spPr>
        <p:txBody>
          <a:bodyPr wrap="square" rtlCol="0">
            <a:spAutoFit/>
          </a:bodyPr>
          <a:lstStyle/>
          <a:p>
            <a:r>
              <a:rPr lang="bg-BG" dirty="0">
                <a:solidFill>
                  <a:schemeClr val="bg1"/>
                </a:solidFill>
                <a:latin typeface="Montserrat" pitchFamily="2" charset="-52"/>
              </a:rPr>
              <a:t>Структура и обхват на проспекта.</a:t>
            </a:r>
          </a:p>
        </p:txBody>
      </p:sp>
      <p:grpSp>
        <p:nvGrpSpPr>
          <p:cNvPr id="3" name="Group 2"/>
          <p:cNvGrpSpPr/>
          <p:nvPr/>
        </p:nvGrpSpPr>
        <p:grpSpPr>
          <a:xfrm>
            <a:off x="5104201" y="1843564"/>
            <a:ext cx="5976941" cy="4300207"/>
            <a:chOff x="2767012" y="1849596"/>
            <a:chExt cx="5976941" cy="4300207"/>
          </a:xfrm>
        </p:grpSpPr>
        <p:cxnSp>
          <p:nvCxnSpPr>
            <p:cNvPr id="26" name="Straight Connector 25"/>
            <p:cNvCxnSpPr>
              <a:cxnSpLocks/>
              <a:stCxn id="19" idx="0"/>
            </p:cNvCxnSpPr>
            <p:nvPr/>
          </p:nvCxnSpPr>
          <p:spPr>
            <a:xfrm flipH="1" flipV="1">
              <a:off x="5757863" y="2514600"/>
              <a:ext cx="1600203" cy="434379"/>
            </a:xfrm>
            <a:prstGeom prst="line">
              <a:avLst/>
            </a:prstGeom>
            <a:ln w="19050">
              <a:solidFill>
                <a:srgbClr val="083966"/>
              </a:solidFill>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2767012" y="1849596"/>
              <a:ext cx="5976941" cy="4300207"/>
              <a:chOff x="2767012" y="1849596"/>
              <a:chExt cx="5976941" cy="4300207"/>
            </a:xfrm>
          </p:grpSpPr>
          <p:sp>
            <p:nvSpPr>
              <p:cNvPr id="17" name="Rectangle 16"/>
              <p:cNvSpPr/>
              <p:nvPr/>
            </p:nvSpPr>
            <p:spPr>
              <a:xfrm>
                <a:off x="4371975" y="1849596"/>
                <a:ext cx="2771775" cy="665004"/>
              </a:xfrm>
              <a:prstGeom prst="rect">
                <a:avLst/>
              </a:prstGeom>
              <a:gradFill>
                <a:gsLst>
                  <a:gs pos="0">
                    <a:srgbClr val="09345F"/>
                  </a:gs>
                  <a:gs pos="100000">
                    <a:srgbClr val="09487E"/>
                  </a:gs>
                </a:gsLst>
                <a:lin ang="81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bg-BG" sz="1600" dirty="0">
                    <a:latin typeface="Montserrat" pitchFamily="2" charset="-52"/>
                  </a:rPr>
                  <a:t>СТРУКТУРА НА ПРОСПЕКТА</a:t>
                </a:r>
              </a:p>
            </p:txBody>
          </p:sp>
          <p:sp>
            <p:nvSpPr>
              <p:cNvPr id="18" name="Rectangle 17"/>
              <p:cNvSpPr/>
              <p:nvPr/>
            </p:nvSpPr>
            <p:spPr>
              <a:xfrm>
                <a:off x="2767012" y="2948980"/>
                <a:ext cx="2771775" cy="682206"/>
              </a:xfrm>
              <a:prstGeom prst="rect">
                <a:avLst/>
              </a:prstGeom>
              <a:gradFill>
                <a:gsLst>
                  <a:gs pos="0">
                    <a:srgbClr val="09345F"/>
                  </a:gs>
                  <a:gs pos="100000">
                    <a:srgbClr val="09487E"/>
                  </a:gs>
                </a:gsLst>
                <a:lin ang="81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bg-BG" sz="1600" dirty="0">
                    <a:latin typeface="Montserrat" pitchFamily="2" charset="-52"/>
                  </a:rPr>
                  <a:t>ЕДИНЕН</a:t>
                </a:r>
                <a:br>
                  <a:rPr lang="bg-BG" sz="1600" dirty="0">
                    <a:latin typeface="Montserrat" pitchFamily="2" charset="-52"/>
                  </a:rPr>
                </a:br>
                <a:r>
                  <a:rPr lang="bg-BG" sz="1600" dirty="0">
                    <a:latin typeface="Montserrat" pitchFamily="2" charset="-52"/>
                  </a:rPr>
                  <a:t>ДОКУМЕНТ</a:t>
                </a:r>
              </a:p>
            </p:txBody>
          </p:sp>
          <p:sp>
            <p:nvSpPr>
              <p:cNvPr id="19" name="Rectangle 18"/>
              <p:cNvSpPr/>
              <p:nvPr/>
            </p:nvSpPr>
            <p:spPr>
              <a:xfrm>
                <a:off x="5972178" y="2948979"/>
                <a:ext cx="2771775" cy="682205"/>
              </a:xfrm>
              <a:prstGeom prst="rect">
                <a:avLst/>
              </a:prstGeom>
              <a:gradFill>
                <a:gsLst>
                  <a:gs pos="0">
                    <a:srgbClr val="09345F"/>
                  </a:gs>
                  <a:gs pos="100000">
                    <a:srgbClr val="09487E"/>
                  </a:gs>
                </a:gsLst>
                <a:lin ang="81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bg-BG" sz="1600" dirty="0">
                    <a:latin typeface="Montserrat" pitchFamily="2" charset="-52"/>
                  </a:rPr>
                  <a:t>ОТДЕЛНИ </a:t>
                </a:r>
                <a:br>
                  <a:rPr lang="bg-BG" sz="1600" dirty="0">
                    <a:latin typeface="Montserrat" pitchFamily="2" charset="-52"/>
                  </a:rPr>
                </a:br>
                <a:r>
                  <a:rPr lang="bg-BG" sz="1600" dirty="0">
                    <a:latin typeface="Montserrat" pitchFamily="2" charset="-52"/>
                  </a:rPr>
                  <a:t>ДОКУМЕНТИ</a:t>
                </a:r>
              </a:p>
            </p:txBody>
          </p:sp>
          <p:sp>
            <p:nvSpPr>
              <p:cNvPr id="20" name="Rectangle 19"/>
              <p:cNvSpPr/>
              <p:nvPr/>
            </p:nvSpPr>
            <p:spPr>
              <a:xfrm>
                <a:off x="6353175" y="4000672"/>
                <a:ext cx="2390778" cy="571500"/>
              </a:xfrm>
              <a:prstGeom prst="rect">
                <a:avLst/>
              </a:prstGeom>
              <a:gradFill>
                <a:gsLst>
                  <a:gs pos="0">
                    <a:srgbClr val="09345F"/>
                  </a:gs>
                  <a:gs pos="100000">
                    <a:srgbClr val="09487E"/>
                  </a:gs>
                </a:gsLst>
                <a:lin ang="81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err="1">
                    <a:solidFill>
                      <a:schemeClr val="bg1"/>
                    </a:solidFill>
                    <a:latin typeface="Montserrat" pitchFamily="2" charset="-52"/>
                  </a:rPr>
                  <a:t>Регистрационен</a:t>
                </a:r>
                <a:r>
                  <a:rPr lang="ru-RU" sz="1600" dirty="0">
                    <a:solidFill>
                      <a:schemeClr val="bg1"/>
                    </a:solidFill>
                    <a:latin typeface="Montserrat" pitchFamily="2" charset="-52"/>
                  </a:rPr>
                  <a:t> документ</a:t>
                </a:r>
                <a:endParaRPr lang="bg-BG" sz="1600" dirty="0">
                  <a:solidFill>
                    <a:schemeClr val="bg1"/>
                  </a:solidFill>
                  <a:latin typeface="Montserrat" pitchFamily="2" charset="-52"/>
                </a:endParaRPr>
              </a:p>
            </p:txBody>
          </p:sp>
          <p:sp>
            <p:nvSpPr>
              <p:cNvPr id="21" name="Rectangle 20"/>
              <p:cNvSpPr/>
              <p:nvPr/>
            </p:nvSpPr>
            <p:spPr>
              <a:xfrm>
                <a:off x="6353175" y="4791498"/>
                <a:ext cx="2390777" cy="571500"/>
              </a:xfrm>
              <a:prstGeom prst="rect">
                <a:avLst/>
              </a:prstGeom>
              <a:gradFill>
                <a:gsLst>
                  <a:gs pos="0">
                    <a:srgbClr val="09345F"/>
                  </a:gs>
                  <a:gs pos="100000">
                    <a:srgbClr val="09487E"/>
                  </a:gs>
                </a:gsLst>
                <a:lin ang="81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a:solidFill>
                      <a:schemeClr val="bg1"/>
                    </a:solidFill>
                    <a:latin typeface="Montserrat" pitchFamily="2" charset="-52"/>
                  </a:rPr>
                  <a:t>Документ за </a:t>
                </a:r>
                <a:r>
                  <a:rPr lang="ru-RU" sz="1600" dirty="0" err="1">
                    <a:solidFill>
                      <a:schemeClr val="bg1"/>
                    </a:solidFill>
                    <a:latin typeface="Montserrat" pitchFamily="2" charset="-52"/>
                  </a:rPr>
                  <a:t>ценните</a:t>
                </a:r>
                <a:r>
                  <a:rPr lang="ru-RU" sz="1600" dirty="0">
                    <a:solidFill>
                      <a:schemeClr val="bg1"/>
                    </a:solidFill>
                    <a:latin typeface="Montserrat" pitchFamily="2" charset="-52"/>
                  </a:rPr>
                  <a:t> </a:t>
                </a:r>
                <a:r>
                  <a:rPr lang="ru-RU" sz="1600" dirty="0" err="1">
                    <a:solidFill>
                      <a:schemeClr val="bg1"/>
                    </a:solidFill>
                    <a:latin typeface="Montserrat" pitchFamily="2" charset="-52"/>
                  </a:rPr>
                  <a:t>книжа</a:t>
                </a:r>
                <a:endParaRPr lang="bg-BG" sz="1600" dirty="0">
                  <a:solidFill>
                    <a:schemeClr val="bg1"/>
                  </a:solidFill>
                  <a:latin typeface="Montserrat" pitchFamily="2" charset="-52"/>
                </a:endParaRPr>
              </a:p>
            </p:txBody>
          </p:sp>
          <p:sp>
            <p:nvSpPr>
              <p:cNvPr id="22" name="Rectangle 21"/>
              <p:cNvSpPr/>
              <p:nvPr/>
            </p:nvSpPr>
            <p:spPr>
              <a:xfrm>
                <a:off x="6353175" y="5578303"/>
                <a:ext cx="2390776" cy="571500"/>
              </a:xfrm>
              <a:prstGeom prst="rect">
                <a:avLst/>
              </a:prstGeom>
              <a:gradFill>
                <a:gsLst>
                  <a:gs pos="0">
                    <a:srgbClr val="09345F"/>
                  </a:gs>
                  <a:gs pos="100000">
                    <a:srgbClr val="09487E"/>
                  </a:gs>
                </a:gsLst>
                <a:lin ang="81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bg-BG" sz="1600" dirty="0">
                    <a:latin typeface="Montserrat" pitchFamily="2" charset="-52"/>
                  </a:rPr>
                  <a:t>Резюме</a:t>
                </a:r>
              </a:p>
            </p:txBody>
          </p:sp>
          <p:cxnSp>
            <p:nvCxnSpPr>
              <p:cNvPr id="24" name="Straight Connector 23"/>
              <p:cNvCxnSpPr>
                <a:cxnSpLocks/>
                <a:endCxn id="17" idx="2"/>
              </p:cNvCxnSpPr>
              <p:nvPr/>
            </p:nvCxnSpPr>
            <p:spPr>
              <a:xfrm flipV="1">
                <a:off x="4133850" y="2514600"/>
                <a:ext cx="1624013" cy="434380"/>
              </a:xfrm>
              <a:prstGeom prst="line">
                <a:avLst/>
              </a:prstGeom>
              <a:ln w="19050">
                <a:solidFill>
                  <a:srgbClr val="08396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6076950" y="3743325"/>
                <a:ext cx="0" cy="2129049"/>
              </a:xfrm>
              <a:prstGeom prst="line">
                <a:avLst/>
              </a:prstGeom>
              <a:ln w="19050">
                <a:solidFill>
                  <a:srgbClr val="083966"/>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20" idx="1"/>
              </p:cNvCxnSpPr>
              <p:nvPr/>
            </p:nvCxnSpPr>
            <p:spPr>
              <a:xfrm flipH="1" flipV="1">
                <a:off x="6076950" y="4286250"/>
                <a:ext cx="276225" cy="172"/>
              </a:xfrm>
              <a:prstGeom prst="line">
                <a:avLst/>
              </a:prstGeom>
              <a:ln w="19050">
                <a:solidFill>
                  <a:srgbClr val="08396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1"/>
              </p:cNvCxnSpPr>
              <p:nvPr/>
            </p:nvCxnSpPr>
            <p:spPr>
              <a:xfrm flipH="1" flipV="1">
                <a:off x="6076950" y="5076825"/>
                <a:ext cx="276225" cy="423"/>
              </a:xfrm>
              <a:prstGeom prst="line">
                <a:avLst/>
              </a:prstGeom>
              <a:ln w="19050">
                <a:solidFill>
                  <a:srgbClr val="083966"/>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1"/>
              </p:cNvCxnSpPr>
              <p:nvPr/>
            </p:nvCxnSpPr>
            <p:spPr>
              <a:xfrm flipH="1">
                <a:off x="6076949" y="5864053"/>
                <a:ext cx="276226" cy="8321"/>
              </a:xfrm>
              <a:prstGeom prst="line">
                <a:avLst/>
              </a:prstGeom>
              <a:ln w="19050">
                <a:solidFill>
                  <a:srgbClr val="083966"/>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6076949" y="3733800"/>
                <a:ext cx="1281117" cy="0"/>
              </a:xfrm>
              <a:prstGeom prst="line">
                <a:avLst/>
              </a:prstGeom>
              <a:ln w="19050">
                <a:solidFill>
                  <a:srgbClr val="083966"/>
                </a:solidFill>
              </a:ln>
            </p:spPr>
            <p:style>
              <a:lnRef idx="1">
                <a:schemeClr val="accent1"/>
              </a:lnRef>
              <a:fillRef idx="0">
                <a:schemeClr val="accent1"/>
              </a:fillRef>
              <a:effectRef idx="0">
                <a:schemeClr val="accent1"/>
              </a:effectRef>
              <a:fontRef idx="minor">
                <a:schemeClr val="tx1"/>
              </a:fontRef>
            </p:style>
          </p:cxnSp>
        </p:grpSp>
        <p:cxnSp>
          <p:nvCxnSpPr>
            <p:cNvPr id="40" name="Straight Connector 39"/>
            <p:cNvCxnSpPr>
              <a:cxnSpLocks/>
              <a:endCxn id="19" idx="2"/>
            </p:cNvCxnSpPr>
            <p:nvPr/>
          </p:nvCxnSpPr>
          <p:spPr>
            <a:xfrm flipV="1">
              <a:off x="7358066" y="3631184"/>
              <a:ext cx="0" cy="112141"/>
            </a:xfrm>
            <a:prstGeom prst="line">
              <a:avLst/>
            </a:prstGeom>
            <a:ln w="19050">
              <a:solidFill>
                <a:srgbClr val="083966"/>
              </a:solidFill>
            </a:ln>
          </p:spPr>
          <p:style>
            <a:lnRef idx="1">
              <a:schemeClr val="accent1"/>
            </a:lnRef>
            <a:fillRef idx="0">
              <a:schemeClr val="accent1"/>
            </a:fillRef>
            <a:effectRef idx="0">
              <a:schemeClr val="accent1"/>
            </a:effectRef>
            <a:fontRef idx="minor">
              <a:schemeClr val="tx1"/>
            </a:fontRef>
          </p:style>
        </p:cxnSp>
      </p:grpSp>
      <p:sp>
        <p:nvSpPr>
          <p:cNvPr id="4" name="Rectangle 3"/>
          <p:cNvSpPr/>
          <p:nvPr/>
        </p:nvSpPr>
        <p:spPr>
          <a:xfrm>
            <a:off x="657219" y="2779799"/>
            <a:ext cx="3974165" cy="646331"/>
          </a:xfrm>
          <a:prstGeom prst="rect">
            <a:avLst/>
          </a:prstGeom>
        </p:spPr>
        <p:txBody>
          <a:bodyPr wrap="none">
            <a:spAutoFit/>
          </a:bodyPr>
          <a:lstStyle/>
          <a:p>
            <a:pPr marL="285750" indent="-285750">
              <a:buFont typeface="Arial" panose="020B0604020202020204" pitchFamily="34" charset="0"/>
              <a:buChar char="•"/>
            </a:pPr>
            <a:r>
              <a:rPr lang="bg-BG" dirty="0">
                <a:solidFill>
                  <a:srgbClr val="083966"/>
                </a:solidFill>
                <a:latin typeface="Montserrat" pitchFamily="2" charset="-52"/>
              </a:rPr>
              <a:t>Приложения към Делегиран</a:t>
            </a:r>
            <a:br>
              <a:rPr lang="bg-BG" dirty="0">
                <a:solidFill>
                  <a:srgbClr val="083966"/>
                </a:solidFill>
                <a:latin typeface="Montserrat" pitchFamily="2" charset="-52"/>
              </a:rPr>
            </a:br>
            <a:r>
              <a:rPr lang="bg-BG" dirty="0">
                <a:solidFill>
                  <a:srgbClr val="083966"/>
                </a:solidFill>
                <a:latin typeface="Montserrat" pitchFamily="2" charset="-52"/>
              </a:rPr>
              <a:t>регламент (ЕС) 2017/980</a:t>
            </a:r>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20893730">
            <a:off x="192927" y="2580949"/>
            <a:ext cx="4247656" cy="4233724"/>
          </a:xfrm>
          <a:prstGeom prst="rect">
            <a:avLst/>
          </a:prstGeom>
        </p:spPr>
      </p:pic>
      <p:pic>
        <p:nvPicPr>
          <p:cNvPr id="25" name="Picture 2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131552" y="6292745"/>
            <a:ext cx="1876472" cy="361108"/>
          </a:xfrm>
          <a:prstGeom prst="rect">
            <a:avLst/>
          </a:prstGeom>
        </p:spPr>
      </p:pic>
    </p:spTree>
    <p:extLst>
      <p:ext uri="{BB962C8B-B14F-4D97-AF65-F5344CB8AC3E}">
        <p14:creationId xmlns:p14="http://schemas.microsoft.com/office/powerpoint/2010/main" val="172696109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0800000">
            <a:off x="-4" y="0"/>
            <a:ext cx="12192003" cy="6858000"/>
          </a:xfrm>
          <a:prstGeom prst="rect">
            <a:avLst/>
          </a:prstGeom>
        </p:spPr>
      </p:pic>
      <p:sp>
        <p:nvSpPr>
          <p:cNvPr id="18" name="Rectangle 17"/>
          <p:cNvSpPr/>
          <p:nvPr/>
        </p:nvSpPr>
        <p:spPr>
          <a:xfrm>
            <a:off x="693142" y="1883815"/>
            <a:ext cx="10805710" cy="830997"/>
          </a:xfrm>
          <a:prstGeom prst="rect">
            <a:avLst/>
          </a:prstGeom>
        </p:spPr>
        <p:txBody>
          <a:bodyPr wrap="square">
            <a:spAutoFit/>
          </a:bodyPr>
          <a:lstStyle/>
          <a:p>
            <a:pPr algn="just"/>
            <a:r>
              <a:rPr lang="ru-RU" sz="1600" dirty="0">
                <a:solidFill>
                  <a:srgbClr val="093C6B"/>
                </a:solidFill>
                <a:latin typeface="Montserrat" pitchFamily="2" charset="-52"/>
              </a:rPr>
              <a:t>За </a:t>
            </a:r>
            <a:r>
              <a:rPr lang="ru-RU" sz="1600" dirty="0" err="1">
                <a:solidFill>
                  <a:srgbClr val="093C6B"/>
                </a:solidFill>
                <a:latin typeface="Montserrat" pitchFamily="2" charset="-52"/>
              </a:rPr>
              <a:t>определени</a:t>
            </a:r>
            <a:r>
              <a:rPr lang="ru-RU" sz="1600" dirty="0">
                <a:solidFill>
                  <a:srgbClr val="093C6B"/>
                </a:solidFill>
                <a:latin typeface="Montserrat" pitchFamily="2" charset="-52"/>
              </a:rPr>
              <a:t> лица е </a:t>
            </a:r>
            <a:r>
              <a:rPr lang="ru-RU" sz="1600" dirty="0" err="1">
                <a:solidFill>
                  <a:srgbClr val="093C6B"/>
                </a:solidFill>
                <a:latin typeface="Montserrat" pitchFamily="2" charset="-52"/>
              </a:rPr>
              <a:t>налице</a:t>
            </a:r>
            <a:r>
              <a:rPr lang="ru-RU" sz="1600" dirty="0">
                <a:solidFill>
                  <a:srgbClr val="093C6B"/>
                </a:solidFill>
                <a:latin typeface="Montserrat" pitchFamily="2" charset="-52"/>
              </a:rPr>
              <a:t> </a:t>
            </a:r>
            <a:r>
              <a:rPr lang="ru-RU" sz="1600" dirty="0" err="1">
                <a:solidFill>
                  <a:srgbClr val="093C6B"/>
                </a:solidFill>
                <a:latin typeface="Montserrat" pitchFamily="2" charset="-52"/>
              </a:rPr>
              <a:t>възможност</a:t>
            </a:r>
            <a:r>
              <a:rPr lang="ru-RU" sz="1600" dirty="0">
                <a:solidFill>
                  <a:srgbClr val="093C6B"/>
                </a:solidFill>
                <a:latin typeface="Montserrat" pitchFamily="2" charset="-52"/>
              </a:rPr>
              <a:t> да </a:t>
            </a:r>
            <a:r>
              <a:rPr lang="ru-RU" sz="1600" dirty="0" err="1">
                <a:solidFill>
                  <a:srgbClr val="093C6B"/>
                </a:solidFill>
                <a:latin typeface="Montserrat" pitchFamily="2" charset="-52"/>
              </a:rPr>
              <a:t>изберат</a:t>
            </a:r>
            <a:r>
              <a:rPr lang="ru-RU" sz="1600" dirty="0">
                <a:solidFill>
                  <a:srgbClr val="093C6B"/>
                </a:solidFill>
                <a:latin typeface="Montserrat" pitchFamily="2" charset="-52"/>
              </a:rPr>
              <a:t> да </a:t>
            </a:r>
            <a:r>
              <a:rPr lang="ru-RU" sz="1600" dirty="0" err="1">
                <a:solidFill>
                  <a:srgbClr val="093C6B"/>
                </a:solidFill>
                <a:latin typeface="Montserrat" pitchFamily="2" charset="-52"/>
              </a:rPr>
              <a:t>изготвят</a:t>
            </a:r>
            <a:r>
              <a:rPr lang="ru-RU" sz="1600" dirty="0">
                <a:solidFill>
                  <a:srgbClr val="093C6B"/>
                </a:solidFill>
                <a:latin typeface="Montserrat" pitchFamily="2" charset="-52"/>
              </a:rPr>
              <a:t> </a:t>
            </a:r>
            <a:r>
              <a:rPr lang="ru-RU" sz="1600" dirty="0" err="1">
                <a:solidFill>
                  <a:srgbClr val="093C6B"/>
                </a:solidFill>
                <a:latin typeface="Montserrat" pitchFamily="2" charset="-52"/>
              </a:rPr>
              <a:t>опростен</a:t>
            </a:r>
            <a:r>
              <a:rPr lang="ru-RU" sz="1600" dirty="0">
                <a:solidFill>
                  <a:srgbClr val="093C6B"/>
                </a:solidFill>
                <a:latin typeface="Montserrat" pitchFamily="2" charset="-52"/>
              </a:rPr>
              <a:t> проспект </a:t>
            </a:r>
            <a:r>
              <a:rPr lang="ru-RU" sz="1600" dirty="0" err="1">
                <a:solidFill>
                  <a:srgbClr val="093C6B"/>
                </a:solidFill>
                <a:latin typeface="Montserrat" pitchFamily="2" charset="-52"/>
              </a:rPr>
              <a:t>съгласно</a:t>
            </a:r>
            <a:r>
              <a:rPr lang="ru-RU" sz="1600" dirty="0">
                <a:solidFill>
                  <a:srgbClr val="093C6B"/>
                </a:solidFill>
                <a:latin typeface="Montserrat" pitchFamily="2" charset="-52"/>
              </a:rPr>
              <a:t> </a:t>
            </a:r>
            <a:r>
              <a:rPr lang="ru-RU" sz="1600" dirty="0" err="1">
                <a:solidFill>
                  <a:srgbClr val="093C6B"/>
                </a:solidFill>
                <a:latin typeface="Montserrat" pitchFamily="2" charset="-52"/>
              </a:rPr>
              <a:t>опростен</a:t>
            </a:r>
            <a:r>
              <a:rPr lang="ru-RU" sz="1600" dirty="0">
                <a:solidFill>
                  <a:srgbClr val="093C6B"/>
                </a:solidFill>
                <a:latin typeface="Montserrat" pitchFamily="2" charset="-52"/>
              </a:rPr>
              <a:t> режим на </a:t>
            </a:r>
            <a:r>
              <a:rPr lang="ru-RU" sz="1600" dirty="0" err="1">
                <a:solidFill>
                  <a:srgbClr val="093C6B"/>
                </a:solidFill>
                <a:latin typeface="Montserrat" pitchFamily="2" charset="-52"/>
              </a:rPr>
              <a:t>оповестяване</a:t>
            </a:r>
            <a:r>
              <a:rPr lang="ru-RU" sz="1600" dirty="0">
                <a:solidFill>
                  <a:srgbClr val="093C6B"/>
                </a:solidFill>
                <a:latin typeface="Montserrat" pitchFamily="2" charset="-52"/>
              </a:rPr>
              <a:t> за </a:t>
            </a:r>
            <a:r>
              <a:rPr lang="ru-RU" sz="1600" dirty="0" err="1">
                <a:solidFill>
                  <a:srgbClr val="093C6B"/>
                </a:solidFill>
                <a:latin typeface="Montserrat" pitchFamily="2" charset="-52"/>
              </a:rPr>
              <a:t>вторични</a:t>
            </a:r>
            <a:r>
              <a:rPr lang="ru-RU" sz="1600" dirty="0">
                <a:solidFill>
                  <a:srgbClr val="093C6B"/>
                </a:solidFill>
                <a:latin typeface="Montserrat" pitchFamily="2" charset="-52"/>
              </a:rPr>
              <a:t> </a:t>
            </a:r>
            <a:r>
              <a:rPr lang="ru-RU" sz="1600" dirty="0" err="1">
                <a:solidFill>
                  <a:srgbClr val="093C6B"/>
                </a:solidFill>
                <a:latin typeface="Montserrat" pitchFamily="2" charset="-52"/>
              </a:rPr>
              <a:t>емисии</a:t>
            </a:r>
            <a:r>
              <a:rPr lang="ru-RU" sz="1600" dirty="0">
                <a:solidFill>
                  <a:srgbClr val="093C6B"/>
                </a:solidFill>
                <a:latin typeface="Montserrat" pitchFamily="2" charset="-52"/>
              </a:rPr>
              <a:t> при публично </a:t>
            </a:r>
            <a:r>
              <a:rPr lang="ru-RU" sz="1600" dirty="0" err="1">
                <a:solidFill>
                  <a:srgbClr val="093C6B"/>
                </a:solidFill>
                <a:latin typeface="Montserrat" pitchFamily="2" charset="-52"/>
              </a:rPr>
              <a:t>предлагане</a:t>
            </a:r>
            <a:r>
              <a:rPr lang="ru-RU" sz="1600" dirty="0">
                <a:solidFill>
                  <a:srgbClr val="093C6B"/>
                </a:solidFill>
                <a:latin typeface="Montserrat" pitchFamily="2" charset="-52"/>
              </a:rPr>
              <a:t> на </a:t>
            </a:r>
            <a:r>
              <a:rPr lang="ru-RU" sz="1600" dirty="0" err="1">
                <a:solidFill>
                  <a:srgbClr val="093C6B"/>
                </a:solidFill>
                <a:latin typeface="Montserrat" pitchFamily="2" charset="-52"/>
              </a:rPr>
              <a:t>ценни</a:t>
            </a:r>
            <a:r>
              <a:rPr lang="ru-RU" sz="1600" dirty="0">
                <a:solidFill>
                  <a:srgbClr val="093C6B"/>
                </a:solidFill>
                <a:latin typeface="Montserrat" pitchFamily="2" charset="-52"/>
              </a:rPr>
              <a:t> </a:t>
            </a:r>
            <a:r>
              <a:rPr lang="ru-RU" sz="1600" dirty="0" err="1">
                <a:solidFill>
                  <a:srgbClr val="093C6B"/>
                </a:solidFill>
                <a:latin typeface="Montserrat" pitchFamily="2" charset="-52"/>
              </a:rPr>
              <a:t>книжа</a:t>
            </a:r>
            <a:r>
              <a:rPr lang="ru-RU" sz="1600" dirty="0">
                <a:solidFill>
                  <a:srgbClr val="093C6B"/>
                </a:solidFill>
                <a:latin typeface="Montserrat" pitchFamily="2" charset="-52"/>
              </a:rPr>
              <a:t> или </a:t>
            </a:r>
            <a:r>
              <a:rPr lang="ru-RU" sz="1600" dirty="0" err="1">
                <a:solidFill>
                  <a:srgbClr val="093C6B"/>
                </a:solidFill>
                <a:latin typeface="Montserrat" pitchFamily="2" charset="-52"/>
              </a:rPr>
              <a:t>допускане</a:t>
            </a:r>
            <a:r>
              <a:rPr lang="ru-RU" sz="1600" dirty="0">
                <a:solidFill>
                  <a:srgbClr val="093C6B"/>
                </a:solidFill>
                <a:latin typeface="Montserrat" pitchFamily="2" charset="-52"/>
              </a:rPr>
              <a:t> на </a:t>
            </a:r>
            <a:r>
              <a:rPr lang="ru-RU" sz="1600" dirty="0" err="1">
                <a:solidFill>
                  <a:srgbClr val="093C6B"/>
                </a:solidFill>
                <a:latin typeface="Montserrat" pitchFamily="2" charset="-52"/>
              </a:rPr>
              <a:t>ценни</a:t>
            </a:r>
            <a:r>
              <a:rPr lang="ru-RU" sz="1600" dirty="0">
                <a:solidFill>
                  <a:srgbClr val="093C6B"/>
                </a:solidFill>
                <a:latin typeface="Montserrat" pitchFamily="2" charset="-52"/>
              </a:rPr>
              <a:t> </a:t>
            </a:r>
            <a:r>
              <a:rPr lang="ru-RU" sz="1600" dirty="0" err="1">
                <a:solidFill>
                  <a:srgbClr val="093C6B"/>
                </a:solidFill>
                <a:latin typeface="Montserrat" pitchFamily="2" charset="-52"/>
              </a:rPr>
              <a:t>книжа</a:t>
            </a:r>
            <a:r>
              <a:rPr lang="ru-RU" sz="1600" dirty="0">
                <a:solidFill>
                  <a:srgbClr val="093C6B"/>
                </a:solidFill>
                <a:latin typeface="Montserrat" pitchFamily="2" charset="-52"/>
              </a:rPr>
              <a:t> до </a:t>
            </a:r>
            <a:r>
              <a:rPr lang="ru-RU" sz="1600" dirty="0" err="1">
                <a:solidFill>
                  <a:srgbClr val="093C6B"/>
                </a:solidFill>
                <a:latin typeface="Montserrat" pitchFamily="2" charset="-52"/>
              </a:rPr>
              <a:t>търговия</a:t>
            </a:r>
            <a:r>
              <a:rPr lang="ru-RU" sz="1600" dirty="0">
                <a:solidFill>
                  <a:srgbClr val="093C6B"/>
                </a:solidFill>
                <a:latin typeface="Montserrat" pitchFamily="2" charset="-52"/>
              </a:rPr>
              <a:t> на </a:t>
            </a:r>
            <a:r>
              <a:rPr lang="ru-RU" sz="1600" dirty="0" err="1">
                <a:solidFill>
                  <a:srgbClr val="093C6B"/>
                </a:solidFill>
                <a:latin typeface="Montserrat" pitchFamily="2" charset="-52"/>
              </a:rPr>
              <a:t>регулиран</a:t>
            </a:r>
            <a:r>
              <a:rPr lang="ru-RU" sz="1600" dirty="0">
                <a:solidFill>
                  <a:srgbClr val="093C6B"/>
                </a:solidFill>
                <a:latin typeface="Montserrat" pitchFamily="2" charset="-52"/>
              </a:rPr>
              <a:t> </a:t>
            </a:r>
            <a:r>
              <a:rPr lang="ru-RU" sz="1600" dirty="0" err="1">
                <a:solidFill>
                  <a:srgbClr val="093C6B"/>
                </a:solidFill>
                <a:latin typeface="Montserrat" pitchFamily="2" charset="-52"/>
              </a:rPr>
              <a:t>пазар</a:t>
            </a:r>
            <a:r>
              <a:rPr lang="ru-RU" sz="1600" dirty="0">
                <a:solidFill>
                  <a:srgbClr val="093C6B"/>
                </a:solidFill>
                <a:latin typeface="Montserrat" pitchFamily="2" charset="-52"/>
              </a:rPr>
              <a:t>. </a:t>
            </a:r>
            <a:endParaRPr lang="bg-BG" sz="1600" dirty="0">
              <a:solidFill>
                <a:srgbClr val="093C6B"/>
              </a:solidFill>
              <a:latin typeface="Montserrat" pitchFamily="2" charset="-52"/>
            </a:endParaRPr>
          </a:p>
        </p:txBody>
      </p:sp>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t="35327" b="35532"/>
          <a:stretch/>
        </p:blipFill>
        <p:spPr>
          <a:xfrm>
            <a:off x="0" y="0"/>
            <a:ext cx="12192000" cy="1715678"/>
          </a:xfrm>
          <a:prstGeom prst="rect">
            <a:avLst/>
          </a:prstGeom>
        </p:spPr>
      </p:pic>
      <p:sp>
        <p:nvSpPr>
          <p:cNvPr id="5" name="TextBox 4"/>
          <p:cNvSpPr txBox="1"/>
          <p:nvPr/>
        </p:nvSpPr>
        <p:spPr>
          <a:xfrm>
            <a:off x="338540" y="247882"/>
            <a:ext cx="9531323" cy="830997"/>
          </a:xfrm>
          <a:prstGeom prst="rect">
            <a:avLst/>
          </a:prstGeom>
          <a:noFill/>
        </p:spPr>
        <p:txBody>
          <a:bodyPr wrap="square" rtlCol="0">
            <a:spAutoFit/>
          </a:bodyPr>
          <a:lstStyle/>
          <a:p>
            <a:r>
              <a:rPr lang="en-US" sz="2400" dirty="0">
                <a:solidFill>
                  <a:schemeClr val="bg1"/>
                </a:solidFill>
                <a:latin typeface="Montserrat Black" pitchFamily="2" charset="-52"/>
              </a:rPr>
              <a:t>II. </a:t>
            </a:r>
            <a:r>
              <a:rPr lang="bg-BG" sz="2400" dirty="0">
                <a:solidFill>
                  <a:schemeClr val="bg1"/>
                </a:solidFill>
                <a:latin typeface="Montserrat Black" pitchFamily="2" charset="-52"/>
              </a:rPr>
              <a:t>ПЪТЯТ НА ЕДНА КОМПАНИЯ КЪМ ПУБЛИЧНО ПРЕДЛАГАНЕ И ДОПУСКАНЕ ДО РЕГУЛИРАН ПАЗАР</a:t>
            </a:r>
          </a:p>
        </p:txBody>
      </p:sp>
      <p:sp>
        <p:nvSpPr>
          <p:cNvPr id="8" name="TextBox 7"/>
          <p:cNvSpPr txBox="1"/>
          <p:nvPr/>
        </p:nvSpPr>
        <p:spPr>
          <a:xfrm>
            <a:off x="338540" y="1032712"/>
            <a:ext cx="9192785" cy="369332"/>
          </a:xfrm>
          <a:prstGeom prst="rect">
            <a:avLst/>
          </a:prstGeom>
          <a:noFill/>
        </p:spPr>
        <p:txBody>
          <a:bodyPr wrap="square" rtlCol="0">
            <a:spAutoFit/>
          </a:bodyPr>
          <a:lstStyle/>
          <a:p>
            <a:r>
              <a:rPr lang="ru-RU" dirty="0" err="1">
                <a:solidFill>
                  <a:schemeClr val="bg1"/>
                </a:solidFill>
                <a:latin typeface="Montserrat" pitchFamily="2" charset="-52"/>
              </a:rPr>
              <a:t>Опростяване</a:t>
            </a:r>
            <a:r>
              <a:rPr lang="ru-RU" dirty="0">
                <a:solidFill>
                  <a:schemeClr val="bg1"/>
                </a:solidFill>
                <a:latin typeface="Montserrat" pitchFamily="2" charset="-52"/>
              </a:rPr>
              <a:t> на </a:t>
            </a:r>
            <a:r>
              <a:rPr lang="ru-RU" dirty="0" err="1">
                <a:solidFill>
                  <a:schemeClr val="bg1"/>
                </a:solidFill>
                <a:latin typeface="Montserrat" pitchFamily="2" charset="-52"/>
              </a:rPr>
              <a:t>съдържанието</a:t>
            </a:r>
            <a:r>
              <a:rPr lang="ru-RU" dirty="0">
                <a:solidFill>
                  <a:schemeClr val="bg1"/>
                </a:solidFill>
                <a:latin typeface="Montserrat" pitchFamily="2" charset="-52"/>
              </a:rPr>
              <a:t> на проспекта. </a:t>
            </a:r>
            <a:endParaRPr lang="bg-BG" dirty="0">
              <a:solidFill>
                <a:schemeClr val="bg1"/>
              </a:solidFill>
              <a:latin typeface="Montserrat" pitchFamily="2" charset="-52"/>
            </a:endParaRPr>
          </a:p>
        </p:txBody>
      </p:sp>
      <p:grpSp>
        <p:nvGrpSpPr>
          <p:cNvPr id="6" name="Group 5"/>
          <p:cNvGrpSpPr/>
          <p:nvPr/>
        </p:nvGrpSpPr>
        <p:grpSpPr>
          <a:xfrm>
            <a:off x="1719069" y="2998914"/>
            <a:ext cx="8841930" cy="1110782"/>
            <a:chOff x="1719069" y="2998914"/>
            <a:chExt cx="8841930" cy="1110782"/>
          </a:xfrm>
        </p:grpSpPr>
        <p:grpSp>
          <p:nvGrpSpPr>
            <p:cNvPr id="22" name="Group 21"/>
            <p:cNvGrpSpPr/>
            <p:nvPr/>
          </p:nvGrpSpPr>
          <p:grpSpPr>
            <a:xfrm>
              <a:off x="1719069" y="2998914"/>
              <a:ext cx="8841930" cy="1110782"/>
              <a:chOff x="3948329" y="4813034"/>
              <a:chExt cx="8841930" cy="1110782"/>
            </a:xfrm>
          </p:grpSpPr>
          <p:sp>
            <p:nvSpPr>
              <p:cNvPr id="23" name="Pentagon 22"/>
              <p:cNvSpPr/>
              <p:nvPr/>
            </p:nvSpPr>
            <p:spPr>
              <a:xfrm>
                <a:off x="5247672" y="4978352"/>
                <a:ext cx="7542587" cy="945464"/>
              </a:xfrm>
              <a:prstGeom prst="homePlate">
                <a:avLst>
                  <a:gd name="adj" fmla="val 0"/>
                </a:avLst>
              </a:prstGeom>
              <a:solidFill>
                <a:srgbClr val="09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4" name="Pentagon 23"/>
              <p:cNvSpPr/>
              <p:nvPr/>
            </p:nvSpPr>
            <p:spPr>
              <a:xfrm rot="10800000">
                <a:off x="3948329" y="4813034"/>
                <a:ext cx="1488279" cy="934245"/>
              </a:xfrm>
              <a:prstGeom prst="homePlate">
                <a:avLst/>
              </a:prstGeom>
              <a:solidFill>
                <a:srgbClr val="0C4F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5" name="Right Triangle 24"/>
              <p:cNvSpPr/>
              <p:nvPr/>
            </p:nvSpPr>
            <p:spPr>
              <a:xfrm rot="10800000" flipH="1">
                <a:off x="5251354" y="5746785"/>
                <a:ext cx="190930" cy="166414"/>
              </a:xfrm>
              <a:prstGeom prst="rtTriangle">
                <a:avLst/>
              </a:prstGeom>
              <a:solidFill>
                <a:srgbClr val="093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sp>
          <p:nvSpPr>
            <p:cNvPr id="2" name="Rectangle 1"/>
            <p:cNvSpPr/>
            <p:nvPr/>
          </p:nvSpPr>
          <p:spPr>
            <a:xfrm>
              <a:off x="3352971" y="3295890"/>
              <a:ext cx="7062404" cy="584775"/>
            </a:xfrm>
            <a:prstGeom prst="rect">
              <a:avLst/>
            </a:prstGeom>
          </p:spPr>
          <p:txBody>
            <a:bodyPr wrap="square">
              <a:spAutoFit/>
            </a:bodyPr>
            <a:lstStyle/>
            <a:p>
              <a:pPr algn="just"/>
              <a:r>
                <a:rPr lang="ru-RU" sz="1600" dirty="0" err="1">
                  <a:solidFill>
                    <a:schemeClr val="bg1"/>
                  </a:solidFill>
                  <a:latin typeface="Montserrat" pitchFamily="2" charset="-52"/>
                </a:rPr>
                <a:t>Изключва</a:t>
              </a:r>
              <a:r>
                <a:rPr lang="ru-RU" sz="1600" dirty="0">
                  <a:solidFill>
                    <a:schemeClr val="bg1"/>
                  </a:solidFill>
                  <a:latin typeface="Montserrat" pitchFamily="2" charset="-52"/>
                </a:rPr>
                <a:t> се част от стандартно </a:t>
              </a:r>
              <a:r>
                <a:rPr lang="ru-RU" sz="1600" dirty="0" err="1">
                  <a:solidFill>
                    <a:schemeClr val="bg1"/>
                  </a:solidFill>
                  <a:latin typeface="Montserrat" pitchFamily="2" charset="-52"/>
                </a:rPr>
                <a:t>изискваната</a:t>
              </a:r>
              <a:r>
                <a:rPr lang="ru-RU" sz="1600" dirty="0">
                  <a:solidFill>
                    <a:schemeClr val="bg1"/>
                  </a:solidFill>
                  <a:latin typeface="Montserrat" pitchFamily="2" charset="-52"/>
                </a:rPr>
                <a:t> информация за </a:t>
              </a:r>
              <a:r>
                <a:rPr lang="ru-RU" sz="1600" dirty="0" err="1">
                  <a:solidFill>
                    <a:schemeClr val="bg1"/>
                  </a:solidFill>
                  <a:latin typeface="Montserrat" pitchFamily="2" charset="-52"/>
                </a:rPr>
                <a:t>емитента</a:t>
              </a:r>
              <a:r>
                <a:rPr lang="ru-RU" sz="1600" dirty="0">
                  <a:solidFill>
                    <a:schemeClr val="bg1"/>
                  </a:solidFill>
                  <a:latin typeface="Montserrat" pitchFamily="2" charset="-52"/>
                </a:rPr>
                <a:t>, а в </a:t>
              </a:r>
              <a:r>
                <a:rPr lang="ru-RU" sz="1600" dirty="0" err="1">
                  <a:solidFill>
                    <a:schemeClr val="bg1"/>
                  </a:solidFill>
                  <a:latin typeface="Montserrat" pitchFamily="2" charset="-52"/>
                </a:rPr>
                <a:t>определени</a:t>
              </a:r>
              <a:r>
                <a:rPr lang="ru-RU" sz="1600" dirty="0">
                  <a:solidFill>
                    <a:schemeClr val="bg1"/>
                  </a:solidFill>
                  <a:latin typeface="Montserrat" pitchFamily="2" charset="-52"/>
                </a:rPr>
                <a:t> </a:t>
              </a:r>
              <a:r>
                <a:rPr lang="ru-RU" sz="1600" dirty="0" err="1">
                  <a:solidFill>
                    <a:schemeClr val="bg1"/>
                  </a:solidFill>
                  <a:latin typeface="Montserrat" pitchFamily="2" charset="-52"/>
                </a:rPr>
                <a:t>хипотези</a:t>
              </a:r>
              <a:r>
                <a:rPr lang="ru-RU" sz="1600" dirty="0">
                  <a:solidFill>
                    <a:schemeClr val="bg1"/>
                  </a:solidFill>
                  <a:latin typeface="Montserrat" pitchFamily="2" charset="-52"/>
                </a:rPr>
                <a:t> и за </a:t>
              </a:r>
              <a:r>
                <a:rPr lang="ru-RU" sz="1600" dirty="0" err="1">
                  <a:solidFill>
                    <a:schemeClr val="bg1"/>
                  </a:solidFill>
                  <a:latin typeface="Montserrat" pitchFamily="2" charset="-52"/>
                </a:rPr>
                <a:t>ценните</a:t>
              </a:r>
              <a:r>
                <a:rPr lang="ru-RU" sz="1600" dirty="0">
                  <a:solidFill>
                    <a:schemeClr val="bg1"/>
                  </a:solidFill>
                  <a:latin typeface="Montserrat" pitchFamily="2" charset="-52"/>
                </a:rPr>
                <a:t> </a:t>
              </a:r>
              <a:r>
                <a:rPr lang="ru-RU" sz="1600" dirty="0" err="1">
                  <a:solidFill>
                    <a:schemeClr val="bg1"/>
                  </a:solidFill>
                  <a:latin typeface="Montserrat" pitchFamily="2" charset="-52"/>
                </a:rPr>
                <a:t>книжа</a:t>
              </a:r>
              <a:endParaRPr lang="bg-BG" sz="1600" dirty="0">
                <a:solidFill>
                  <a:schemeClr val="bg1"/>
                </a:solidFill>
                <a:latin typeface="Montserrat" pitchFamily="2" charset="-52"/>
              </a:endParaRPr>
            </a:p>
          </p:txBody>
        </p:sp>
        <p:pic>
          <p:nvPicPr>
            <p:cNvPr id="1026" name="Picture 2" descr="check mark icon. 18888319 PNG"/>
            <p:cNvPicPr>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2269025" y="3096388"/>
              <a:ext cx="743711" cy="7437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1719067" y="4236409"/>
            <a:ext cx="8841931" cy="1110783"/>
            <a:chOff x="1719067" y="4236409"/>
            <a:chExt cx="8841931" cy="1110783"/>
          </a:xfrm>
        </p:grpSpPr>
        <p:grpSp>
          <p:nvGrpSpPr>
            <p:cNvPr id="26" name="Group 25"/>
            <p:cNvGrpSpPr/>
            <p:nvPr/>
          </p:nvGrpSpPr>
          <p:grpSpPr>
            <a:xfrm>
              <a:off x="1719067" y="4236409"/>
              <a:ext cx="8841931" cy="1110783"/>
              <a:chOff x="3948328" y="4813033"/>
              <a:chExt cx="8841931" cy="1110783"/>
            </a:xfrm>
          </p:grpSpPr>
          <p:sp>
            <p:nvSpPr>
              <p:cNvPr id="27" name="Pentagon 26"/>
              <p:cNvSpPr/>
              <p:nvPr/>
            </p:nvSpPr>
            <p:spPr>
              <a:xfrm>
                <a:off x="5247672" y="4978352"/>
                <a:ext cx="7542587" cy="945464"/>
              </a:xfrm>
              <a:prstGeom prst="homePlate">
                <a:avLst>
                  <a:gd name="adj" fmla="val 0"/>
                </a:avLst>
              </a:prstGeom>
              <a:solidFill>
                <a:srgbClr val="09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8" name="Pentagon 27"/>
              <p:cNvSpPr/>
              <p:nvPr/>
            </p:nvSpPr>
            <p:spPr>
              <a:xfrm rot="10800000">
                <a:off x="3948328" y="4813033"/>
                <a:ext cx="1488279" cy="934245"/>
              </a:xfrm>
              <a:prstGeom prst="homePlate">
                <a:avLst/>
              </a:prstGeom>
              <a:solidFill>
                <a:srgbClr val="0C4F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9" name="Right Triangle 28"/>
              <p:cNvSpPr/>
              <p:nvPr/>
            </p:nvSpPr>
            <p:spPr>
              <a:xfrm rot="10800000" flipH="1">
                <a:off x="5251354" y="5746785"/>
                <a:ext cx="190930" cy="166414"/>
              </a:xfrm>
              <a:prstGeom prst="rtTriangle">
                <a:avLst/>
              </a:prstGeom>
              <a:solidFill>
                <a:srgbClr val="093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sp>
          <p:nvSpPr>
            <p:cNvPr id="3" name="Rectangle 2"/>
            <p:cNvSpPr/>
            <p:nvPr/>
          </p:nvSpPr>
          <p:spPr>
            <a:xfrm>
              <a:off x="3352971" y="4449602"/>
              <a:ext cx="7190099" cy="830997"/>
            </a:xfrm>
            <a:prstGeom prst="rect">
              <a:avLst/>
            </a:prstGeom>
          </p:spPr>
          <p:txBody>
            <a:bodyPr wrap="square">
              <a:spAutoFit/>
            </a:bodyPr>
            <a:lstStyle/>
            <a:p>
              <a:pPr algn="just"/>
              <a:r>
                <a:rPr lang="ru-RU" sz="1600" dirty="0" err="1">
                  <a:solidFill>
                    <a:schemeClr val="bg1"/>
                  </a:solidFill>
                  <a:latin typeface="Montserrat" pitchFamily="2" charset="-52"/>
                </a:rPr>
                <a:t>Емитентите</a:t>
              </a:r>
              <a:r>
                <a:rPr lang="ru-RU" sz="1600" dirty="0">
                  <a:solidFill>
                    <a:schemeClr val="bg1"/>
                  </a:solidFill>
                  <a:latin typeface="Montserrat" pitchFamily="2" charset="-52"/>
                </a:rPr>
                <a:t>, </a:t>
              </a:r>
              <a:r>
                <a:rPr lang="ru-RU" sz="1600" dirty="0" err="1">
                  <a:solidFill>
                    <a:schemeClr val="bg1"/>
                  </a:solidFill>
                  <a:latin typeface="Montserrat" pitchFamily="2" charset="-52"/>
                </a:rPr>
                <a:t>чиито</a:t>
              </a:r>
              <a:r>
                <a:rPr lang="ru-RU" sz="1600" dirty="0">
                  <a:solidFill>
                    <a:schemeClr val="bg1"/>
                  </a:solidFill>
                  <a:latin typeface="Montserrat" pitchFamily="2" charset="-52"/>
                </a:rPr>
                <a:t> </a:t>
              </a:r>
              <a:r>
                <a:rPr lang="ru-RU" sz="1600" dirty="0" err="1">
                  <a:solidFill>
                    <a:schemeClr val="bg1"/>
                  </a:solidFill>
                  <a:latin typeface="Montserrat" pitchFamily="2" charset="-52"/>
                </a:rPr>
                <a:t>ценни</a:t>
              </a:r>
              <a:r>
                <a:rPr lang="ru-RU" sz="1600" dirty="0">
                  <a:solidFill>
                    <a:schemeClr val="bg1"/>
                  </a:solidFill>
                  <a:latin typeface="Montserrat" pitchFamily="2" charset="-52"/>
                </a:rPr>
                <a:t> </a:t>
              </a:r>
              <a:r>
                <a:rPr lang="ru-RU" sz="1600" dirty="0" err="1">
                  <a:solidFill>
                    <a:schemeClr val="bg1"/>
                  </a:solidFill>
                  <a:latin typeface="Montserrat" pitchFamily="2" charset="-52"/>
                </a:rPr>
                <a:t>книжа</a:t>
              </a:r>
              <a:r>
                <a:rPr lang="ru-RU" sz="1600" dirty="0">
                  <a:solidFill>
                    <a:schemeClr val="bg1"/>
                  </a:solidFill>
                  <a:latin typeface="Montserrat" pitchFamily="2" charset="-52"/>
                </a:rPr>
                <a:t> </a:t>
              </a:r>
              <a:r>
                <a:rPr lang="ru-RU" sz="1600" dirty="0" err="1">
                  <a:solidFill>
                    <a:schemeClr val="bg1"/>
                  </a:solidFill>
                  <a:latin typeface="Montserrat" pitchFamily="2" charset="-52"/>
                </a:rPr>
                <a:t>са</a:t>
              </a:r>
              <a:r>
                <a:rPr lang="ru-RU" sz="1600" dirty="0">
                  <a:solidFill>
                    <a:schemeClr val="bg1"/>
                  </a:solidFill>
                  <a:latin typeface="Montserrat" pitchFamily="2" charset="-52"/>
                </a:rPr>
                <a:t> били постоянно </a:t>
              </a:r>
              <a:r>
                <a:rPr lang="ru-RU" sz="1600" dirty="0" err="1">
                  <a:solidFill>
                    <a:schemeClr val="bg1"/>
                  </a:solidFill>
                  <a:latin typeface="Montserrat" pitchFamily="2" charset="-52"/>
                </a:rPr>
                <a:t>допуснати</a:t>
              </a:r>
              <a:r>
                <a:rPr lang="ru-RU" sz="1600" dirty="0">
                  <a:solidFill>
                    <a:schemeClr val="bg1"/>
                  </a:solidFill>
                  <a:latin typeface="Montserrat" pitchFamily="2" charset="-52"/>
                </a:rPr>
                <a:t> до </a:t>
              </a:r>
              <a:r>
                <a:rPr lang="ru-RU" sz="1600" dirty="0" err="1">
                  <a:solidFill>
                    <a:schemeClr val="bg1"/>
                  </a:solidFill>
                  <a:latin typeface="Montserrat" pitchFamily="2" charset="-52"/>
                </a:rPr>
                <a:t>търговия</a:t>
              </a:r>
              <a:r>
                <a:rPr lang="ru-RU" sz="1600" dirty="0">
                  <a:solidFill>
                    <a:schemeClr val="bg1"/>
                  </a:solidFill>
                  <a:latin typeface="Montserrat" pitchFamily="2" charset="-52"/>
                </a:rPr>
                <a:t> на </a:t>
              </a:r>
              <a:r>
                <a:rPr lang="ru-RU" sz="1600" dirty="0" err="1">
                  <a:solidFill>
                    <a:schemeClr val="bg1"/>
                  </a:solidFill>
                  <a:latin typeface="Montserrat" pitchFamily="2" charset="-52"/>
                </a:rPr>
                <a:t>регулиран</a:t>
              </a:r>
              <a:r>
                <a:rPr lang="ru-RU" sz="1600" dirty="0">
                  <a:solidFill>
                    <a:schemeClr val="bg1"/>
                  </a:solidFill>
                  <a:latin typeface="Montserrat" pitchFamily="2" charset="-52"/>
                </a:rPr>
                <a:t> </a:t>
              </a:r>
              <a:r>
                <a:rPr lang="ru-RU" sz="1600" dirty="0" err="1">
                  <a:solidFill>
                    <a:schemeClr val="bg1"/>
                  </a:solidFill>
                  <a:latin typeface="Montserrat" pitchFamily="2" charset="-52"/>
                </a:rPr>
                <a:t>пазар</a:t>
              </a:r>
              <a:r>
                <a:rPr lang="ru-RU" sz="1600" dirty="0">
                  <a:solidFill>
                    <a:schemeClr val="bg1"/>
                  </a:solidFill>
                  <a:latin typeface="Montserrat" pitchFamily="2" charset="-52"/>
                </a:rPr>
                <a:t> или на </a:t>
              </a:r>
              <a:r>
                <a:rPr lang="ru-RU" sz="1600" dirty="0" err="1">
                  <a:solidFill>
                    <a:schemeClr val="bg1"/>
                  </a:solidFill>
                  <a:latin typeface="Montserrat" pitchFamily="2" charset="-52"/>
                </a:rPr>
                <a:t>пазар</a:t>
              </a:r>
              <a:r>
                <a:rPr lang="ru-RU" sz="1600" dirty="0">
                  <a:solidFill>
                    <a:schemeClr val="bg1"/>
                  </a:solidFill>
                  <a:latin typeface="Montserrat" pitchFamily="2" charset="-52"/>
                </a:rPr>
                <a:t> за </a:t>
              </a:r>
              <a:r>
                <a:rPr lang="ru-RU" sz="1600" dirty="0" err="1">
                  <a:solidFill>
                    <a:schemeClr val="bg1"/>
                  </a:solidFill>
                  <a:latin typeface="Montserrat" pitchFamily="2" charset="-52"/>
                </a:rPr>
                <a:t>растеж</a:t>
              </a:r>
              <a:r>
                <a:rPr lang="ru-RU" sz="1600" dirty="0">
                  <a:solidFill>
                    <a:schemeClr val="bg1"/>
                  </a:solidFill>
                  <a:latin typeface="Montserrat" pitchFamily="2" charset="-52"/>
                </a:rPr>
                <a:t> на малки и </a:t>
              </a:r>
              <a:r>
                <a:rPr lang="ru-RU" sz="1600" dirty="0" err="1">
                  <a:solidFill>
                    <a:schemeClr val="bg1"/>
                  </a:solidFill>
                  <a:latin typeface="Montserrat" pitchFamily="2" charset="-52"/>
                </a:rPr>
                <a:t>средни</a:t>
              </a:r>
              <a:r>
                <a:rPr lang="ru-RU" sz="1600" dirty="0">
                  <a:solidFill>
                    <a:schemeClr val="bg1"/>
                  </a:solidFill>
                  <a:latin typeface="Montserrat" pitchFamily="2" charset="-52"/>
                </a:rPr>
                <a:t> предприятия </a:t>
              </a:r>
              <a:r>
                <a:rPr lang="ru-RU" sz="1600" dirty="0" err="1">
                  <a:solidFill>
                    <a:schemeClr val="bg1"/>
                  </a:solidFill>
                  <a:latin typeface="Montserrat" pitchFamily="2" charset="-52"/>
                </a:rPr>
                <a:t>през</a:t>
              </a:r>
              <a:r>
                <a:rPr lang="ru-RU" sz="1600" dirty="0">
                  <a:solidFill>
                    <a:schemeClr val="bg1"/>
                  </a:solidFill>
                  <a:latin typeface="Montserrat" pitchFamily="2" charset="-52"/>
                </a:rPr>
                <a:t> </a:t>
              </a:r>
              <a:r>
                <a:rPr lang="ru-RU" sz="1600" dirty="0" err="1">
                  <a:solidFill>
                    <a:schemeClr val="bg1"/>
                  </a:solidFill>
                  <a:latin typeface="Montserrat" pitchFamily="2" charset="-52"/>
                </a:rPr>
                <a:t>най-малко</a:t>
              </a:r>
              <a:r>
                <a:rPr lang="ru-RU" sz="1600" dirty="0">
                  <a:solidFill>
                    <a:schemeClr val="bg1"/>
                  </a:solidFill>
                  <a:latin typeface="Montserrat" pitchFamily="2" charset="-52"/>
                </a:rPr>
                <a:t> </a:t>
              </a:r>
              <a:r>
                <a:rPr lang="ru-RU" sz="1600" dirty="0" err="1">
                  <a:solidFill>
                    <a:schemeClr val="bg1"/>
                  </a:solidFill>
                  <a:latin typeface="Montserrat" pitchFamily="2" charset="-52"/>
                </a:rPr>
                <a:t>последните</a:t>
              </a:r>
              <a:r>
                <a:rPr lang="ru-RU" sz="1600" dirty="0">
                  <a:solidFill>
                    <a:schemeClr val="bg1"/>
                  </a:solidFill>
                  <a:latin typeface="Montserrat" pitchFamily="2" charset="-52"/>
                </a:rPr>
                <a:t> 18 </a:t>
              </a:r>
              <a:r>
                <a:rPr lang="ru-RU" sz="1600" dirty="0" err="1">
                  <a:solidFill>
                    <a:schemeClr val="bg1"/>
                  </a:solidFill>
                  <a:latin typeface="Montserrat" pitchFamily="2" charset="-52"/>
                </a:rPr>
                <a:t>месеца</a:t>
              </a:r>
              <a:endParaRPr lang="bg-BG" sz="1600" dirty="0">
                <a:solidFill>
                  <a:schemeClr val="bg1"/>
                </a:solidFill>
                <a:latin typeface="Montserrat" pitchFamily="2" charset="-52"/>
              </a:endParaRPr>
            </a:p>
          </p:txBody>
        </p:sp>
        <p:pic>
          <p:nvPicPr>
            <p:cNvPr id="30" name="Picture 2" descr="check mark icon. 18888319 PNG"/>
            <p:cNvPicPr>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2254868" y="4331675"/>
              <a:ext cx="743711" cy="743711"/>
            </a:xfrm>
            <a:prstGeom prst="rect">
              <a:avLst/>
            </a:prstGeom>
            <a:noFill/>
            <a:extLst>
              <a:ext uri="{909E8E84-426E-40DD-AFC4-6F175D3DCCD1}">
                <a14:hiddenFill xmlns:a14="http://schemas.microsoft.com/office/drawing/2010/main">
                  <a:solidFill>
                    <a:srgbClr val="FFFFFF"/>
                  </a:solidFill>
                </a14:hiddenFill>
              </a:ext>
            </a:extLst>
          </p:spPr>
        </p:pic>
      </p:grpSp>
      <p:pic>
        <p:nvPicPr>
          <p:cNvPr id="21" name="Pictur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131552" y="6292745"/>
            <a:ext cx="1876472" cy="361108"/>
          </a:xfrm>
          <a:prstGeom prst="rect">
            <a:avLst/>
          </a:prstGeom>
        </p:spPr>
      </p:pic>
    </p:spTree>
    <p:extLst>
      <p:ext uri="{BB962C8B-B14F-4D97-AF65-F5344CB8AC3E}">
        <p14:creationId xmlns:p14="http://schemas.microsoft.com/office/powerpoint/2010/main" val="372907976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0800000">
            <a:off x="-4" y="0"/>
            <a:ext cx="12192003" cy="6858000"/>
          </a:xfrm>
          <a:prstGeom prst="rect">
            <a:avLst/>
          </a:prstGeom>
        </p:spPr>
      </p:pic>
      <p:sp>
        <p:nvSpPr>
          <p:cNvPr id="14" name="Pentagon 13"/>
          <p:cNvSpPr/>
          <p:nvPr/>
        </p:nvSpPr>
        <p:spPr>
          <a:xfrm>
            <a:off x="1" y="4447232"/>
            <a:ext cx="6245351" cy="1350064"/>
          </a:xfrm>
          <a:prstGeom prst="homePlate">
            <a:avLst>
              <a:gd name="adj" fmla="val 0"/>
            </a:avLst>
          </a:prstGeom>
          <a:solidFill>
            <a:srgbClr val="1C77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1" name="Pentagon 20"/>
          <p:cNvSpPr/>
          <p:nvPr/>
        </p:nvSpPr>
        <p:spPr>
          <a:xfrm>
            <a:off x="6245353" y="4447231"/>
            <a:ext cx="5946642" cy="1350065"/>
          </a:xfrm>
          <a:prstGeom prst="homePlate">
            <a:avLst>
              <a:gd name="adj" fmla="val 0"/>
            </a:avLst>
          </a:prstGeom>
          <a:solidFill>
            <a:srgbClr val="0C4E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0" name="Rectangle 19"/>
          <p:cNvSpPr/>
          <p:nvPr/>
        </p:nvSpPr>
        <p:spPr>
          <a:xfrm>
            <a:off x="448055" y="2542845"/>
            <a:ext cx="11494009" cy="1077218"/>
          </a:xfrm>
          <a:prstGeom prst="rect">
            <a:avLst/>
          </a:prstGeom>
        </p:spPr>
        <p:txBody>
          <a:bodyPr wrap="square">
            <a:spAutoFit/>
          </a:bodyPr>
          <a:lstStyle/>
          <a:p>
            <a:pPr algn="just"/>
            <a:r>
              <a:rPr lang="ru-RU" sz="1600" dirty="0">
                <a:solidFill>
                  <a:srgbClr val="093C6B"/>
                </a:solidFill>
                <a:latin typeface="Montserrat" pitchFamily="2" charset="-52"/>
              </a:rPr>
              <a:t>При </a:t>
            </a:r>
            <a:r>
              <a:rPr lang="ru-RU" sz="1600" dirty="0" err="1">
                <a:solidFill>
                  <a:srgbClr val="093C6B"/>
                </a:solidFill>
                <a:latin typeface="Montserrat" pitchFamily="2" charset="-52"/>
              </a:rPr>
              <a:t>настъпване</a:t>
            </a:r>
            <a:r>
              <a:rPr lang="ru-RU" sz="1600" dirty="0">
                <a:solidFill>
                  <a:srgbClr val="093C6B"/>
                </a:solidFill>
                <a:latin typeface="Montserrat" pitchFamily="2" charset="-52"/>
              </a:rPr>
              <a:t>, </a:t>
            </a:r>
            <a:r>
              <a:rPr lang="ru-RU" sz="1600" dirty="0" err="1">
                <a:solidFill>
                  <a:srgbClr val="093C6B"/>
                </a:solidFill>
                <a:latin typeface="Montserrat" pitchFamily="2" charset="-52"/>
              </a:rPr>
              <a:t>съответно</a:t>
            </a:r>
            <a:r>
              <a:rPr lang="ru-RU" sz="1600" dirty="0">
                <a:solidFill>
                  <a:srgbClr val="093C6B"/>
                </a:solidFill>
                <a:latin typeface="Montserrat" pitchFamily="2" charset="-52"/>
              </a:rPr>
              <a:t> </a:t>
            </a:r>
            <a:r>
              <a:rPr lang="ru-RU" sz="1600" dirty="0" err="1">
                <a:solidFill>
                  <a:srgbClr val="093C6B"/>
                </a:solidFill>
                <a:latin typeface="Montserrat" pitchFamily="2" charset="-52"/>
              </a:rPr>
              <a:t>узнаване</a:t>
            </a:r>
            <a:r>
              <a:rPr lang="ru-RU" sz="1600" dirty="0">
                <a:solidFill>
                  <a:srgbClr val="093C6B"/>
                </a:solidFill>
                <a:latin typeface="Montserrat" pitchFamily="2" charset="-52"/>
              </a:rPr>
              <a:t> на </a:t>
            </a:r>
            <a:r>
              <a:rPr lang="ru-RU" sz="1600" dirty="0" err="1">
                <a:solidFill>
                  <a:srgbClr val="093C6B"/>
                </a:solidFill>
                <a:latin typeface="Montserrat" pitchFamily="2" charset="-52"/>
              </a:rPr>
              <a:t>съществено</a:t>
            </a:r>
            <a:r>
              <a:rPr lang="ru-RU" sz="1600" dirty="0">
                <a:solidFill>
                  <a:srgbClr val="093C6B"/>
                </a:solidFill>
                <a:latin typeface="Montserrat" pitchFamily="2" charset="-52"/>
              </a:rPr>
              <a:t> ново </a:t>
            </a:r>
            <a:r>
              <a:rPr lang="ru-RU" sz="1600" dirty="0" err="1">
                <a:solidFill>
                  <a:srgbClr val="093C6B"/>
                </a:solidFill>
                <a:latin typeface="Montserrat" pitchFamily="2" charset="-52"/>
              </a:rPr>
              <a:t>обстоятелство</a:t>
            </a:r>
            <a:r>
              <a:rPr lang="ru-RU" sz="1600" dirty="0">
                <a:solidFill>
                  <a:srgbClr val="093C6B"/>
                </a:solidFill>
                <a:latin typeface="Montserrat" pitchFamily="2" charset="-52"/>
              </a:rPr>
              <a:t>, грешка или </a:t>
            </a:r>
            <a:r>
              <a:rPr lang="ru-RU" sz="1600" dirty="0" err="1">
                <a:solidFill>
                  <a:srgbClr val="093C6B"/>
                </a:solidFill>
                <a:latin typeface="Montserrat" pitchFamily="2" charset="-52"/>
              </a:rPr>
              <a:t>неточност</a:t>
            </a:r>
            <a:r>
              <a:rPr lang="ru-RU" sz="1600" dirty="0">
                <a:solidFill>
                  <a:srgbClr val="093C6B"/>
                </a:solidFill>
                <a:latin typeface="Montserrat" pitchFamily="2" charset="-52"/>
              </a:rPr>
              <a:t>, свързани </a:t>
            </a:r>
            <a:r>
              <a:rPr lang="ru-RU" sz="1600" dirty="0" err="1">
                <a:solidFill>
                  <a:srgbClr val="093C6B"/>
                </a:solidFill>
                <a:latin typeface="Montserrat" pitchFamily="2" charset="-52"/>
              </a:rPr>
              <a:t>със</a:t>
            </a:r>
            <a:r>
              <a:rPr lang="ru-RU" sz="1600" dirty="0">
                <a:solidFill>
                  <a:srgbClr val="093C6B"/>
                </a:solidFill>
                <a:latin typeface="Montserrat" pitchFamily="2" charset="-52"/>
              </a:rPr>
              <a:t> </a:t>
            </a:r>
            <a:r>
              <a:rPr lang="ru-RU" sz="1600" dirty="0" err="1">
                <a:solidFill>
                  <a:srgbClr val="093C6B"/>
                </a:solidFill>
                <a:latin typeface="Montserrat" pitchFamily="2" charset="-52"/>
              </a:rPr>
              <a:t>съдържащата</a:t>
            </a:r>
            <a:r>
              <a:rPr lang="ru-RU" sz="1600" dirty="0">
                <a:solidFill>
                  <a:srgbClr val="093C6B"/>
                </a:solidFill>
                <a:latin typeface="Montserrat" pitchFamily="2" charset="-52"/>
              </a:rPr>
              <a:t> се в проспекта информация, </a:t>
            </a:r>
            <a:r>
              <a:rPr lang="ru-RU" sz="1600" dirty="0" err="1">
                <a:solidFill>
                  <a:srgbClr val="093C6B"/>
                </a:solidFill>
                <a:latin typeface="Montserrat" pitchFamily="2" charset="-52"/>
              </a:rPr>
              <a:t>които</a:t>
            </a:r>
            <a:r>
              <a:rPr lang="ru-RU" sz="1600" dirty="0">
                <a:solidFill>
                  <a:srgbClr val="093C6B"/>
                </a:solidFill>
                <a:latin typeface="Montserrat" pitchFamily="2" charset="-52"/>
              </a:rPr>
              <a:t> </a:t>
            </a:r>
            <a:r>
              <a:rPr lang="ru-RU" sz="1600" dirty="0" err="1">
                <a:solidFill>
                  <a:srgbClr val="093C6B"/>
                </a:solidFill>
                <a:latin typeface="Montserrat" pitchFamily="2" charset="-52"/>
              </a:rPr>
              <a:t>може</a:t>
            </a:r>
            <a:r>
              <a:rPr lang="ru-RU" sz="1600" dirty="0">
                <a:solidFill>
                  <a:srgbClr val="093C6B"/>
                </a:solidFill>
                <a:latin typeface="Montserrat" pitchFamily="2" charset="-52"/>
              </a:rPr>
              <a:t> да </a:t>
            </a:r>
            <a:r>
              <a:rPr lang="ru-RU" sz="1600" dirty="0" err="1">
                <a:solidFill>
                  <a:srgbClr val="093C6B"/>
                </a:solidFill>
                <a:latin typeface="Montserrat" pitchFamily="2" charset="-52"/>
              </a:rPr>
              <a:t>повлияят</a:t>
            </a:r>
            <a:r>
              <a:rPr lang="ru-RU" sz="1600" dirty="0">
                <a:solidFill>
                  <a:srgbClr val="093C6B"/>
                </a:solidFill>
                <a:latin typeface="Montserrat" pitchFamily="2" charset="-52"/>
              </a:rPr>
              <a:t> на </a:t>
            </a:r>
            <a:r>
              <a:rPr lang="ru-RU" sz="1600" dirty="0" err="1">
                <a:solidFill>
                  <a:srgbClr val="093C6B"/>
                </a:solidFill>
                <a:latin typeface="Montserrat" pitchFamily="2" charset="-52"/>
              </a:rPr>
              <a:t>оценката</a:t>
            </a:r>
            <a:r>
              <a:rPr lang="ru-RU" sz="1600" dirty="0">
                <a:solidFill>
                  <a:srgbClr val="093C6B"/>
                </a:solidFill>
                <a:latin typeface="Montserrat" pitchFamily="2" charset="-52"/>
              </a:rPr>
              <a:t> на </a:t>
            </a:r>
            <a:r>
              <a:rPr lang="ru-RU" sz="1600" dirty="0" err="1">
                <a:solidFill>
                  <a:srgbClr val="093C6B"/>
                </a:solidFill>
                <a:latin typeface="Montserrat" pitchFamily="2" charset="-52"/>
              </a:rPr>
              <a:t>ценните</a:t>
            </a:r>
            <a:r>
              <a:rPr lang="ru-RU" sz="1600" dirty="0">
                <a:solidFill>
                  <a:srgbClr val="093C6B"/>
                </a:solidFill>
                <a:latin typeface="Montserrat" pitchFamily="2" charset="-52"/>
              </a:rPr>
              <a:t> </a:t>
            </a:r>
            <a:r>
              <a:rPr lang="ru-RU" sz="1600" dirty="0" err="1">
                <a:solidFill>
                  <a:srgbClr val="093C6B"/>
                </a:solidFill>
                <a:latin typeface="Montserrat" pitchFamily="2" charset="-52"/>
              </a:rPr>
              <a:t>книжа</a:t>
            </a:r>
            <a:r>
              <a:rPr lang="ru-RU" sz="1600" dirty="0">
                <a:solidFill>
                  <a:srgbClr val="093C6B"/>
                </a:solidFill>
                <a:latin typeface="Montserrat" pitchFamily="2" charset="-52"/>
              </a:rPr>
              <a:t> в периода от </a:t>
            </a:r>
            <a:r>
              <a:rPr lang="ru-RU" sz="1600" dirty="0" err="1">
                <a:solidFill>
                  <a:srgbClr val="093C6B"/>
                </a:solidFill>
                <a:latin typeface="Montserrat" pitchFamily="2" charset="-52"/>
              </a:rPr>
              <a:t>издаване</a:t>
            </a:r>
            <a:r>
              <a:rPr lang="ru-RU" sz="1600" dirty="0">
                <a:solidFill>
                  <a:srgbClr val="093C6B"/>
                </a:solidFill>
                <a:latin typeface="Montserrat" pitchFamily="2" charset="-52"/>
              </a:rPr>
              <a:t> на одобрение на проспекта до </a:t>
            </a:r>
            <a:r>
              <a:rPr lang="ru-RU" sz="1600" dirty="0" err="1">
                <a:solidFill>
                  <a:srgbClr val="093C6B"/>
                </a:solidFill>
                <a:latin typeface="Montserrat" pitchFamily="2" charset="-52"/>
              </a:rPr>
              <a:t>изтичането</a:t>
            </a:r>
            <a:r>
              <a:rPr lang="ru-RU" sz="1600" dirty="0">
                <a:solidFill>
                  <a:srgbClr val="093C6B"/>
                </a:solidFill>
                <a:latin typeface="Montserrat" pitchFamily="2" charset="-52"/>
              </a:rPr>
              <a:t> на </a:t>
            </a:r>
            <a:r>
              <a:rPr lang="ru-RU" sz="1600" dirty="0" err="1">
                <a:solidFill>
                  <a:srgbClr val="093C6B"/>
                </a:solidFill>
                <a:latin typeface="Montserrat" pitchFamily="2" charset="-52"/>
              </a:rPr>
              <a:t>крайния</a:t>
            </a:r>
            <a:r>
              <a:rPr lang="ru-RU" sz="1600" dirty="0">
                <a:solidFill>
                  <a:srgbClr val="093C6B"/>
                </a:solidFill>
                <a:latin typeface="Montserrat" pitchFamily="2" charset="-52"/>
              </a:rPr>
              <a:t> срок на </a:t>
            </a:r>
            <a:r>
              <a:rPr lang="ru-RU" sz="1600" dirty="0" err="1">
                <a:solidFill>
                  <a:srgbClr val="093C6B"/>
                </a:solidFill>
                <a:latin typeface="Montserrat" pitchFamily="2" charset="-52"/>
              </a:rPr>
              <a:t>публичното</a:t>
            </a:r>
            <a:r>
              <a:rPr lang="ru-RU" sz="1600" dirty="0">
                <a:solidFill>
                  <a:srgbClr val="093C6B"/>
                </a:solidFill>
                <a:latin typeface="Montserrat" pitchFamily="2" charset="-52"/>
              </a:rPr>
              <a:t> </a:t>
            </a:r>
            <a:r>
              <a:rPr lang="ru-RU" sz="1600" dirty="0" err="1">
                <a:solidFill>
                  <a:srgbClr val="093C6B"/>
                </a:solidFill>
                <a:latin typeface="Montserrat" pitchFamily="2" charset="-52"/>
              </a:rPr>
              <a:t>предлагане</a:t>
            </a:r>
            <a:r>
              <a:rPr lang="ru-RU" sz="1600" dirty="0">
                <a:solidFill>
                  <a:srgbClr val="093C6B"/>
                </a:solidFill>
                <a:latin typeface="Montserrat" pitchFamily="2" charset="-52"/>
              </a:rPr>
              <a:t> или </a:t>
            </a:r>
            <a:r>
              <a:rPr lang="ru-RU" sz="1600" dirty="0" err="1">
                <a:solidFill>
                  <a:srgbClr val="093C6B"/>
                </a:solidFill>
                <a:latin typeface="Montserrat" pitchFamily="2" charset="-52"/>
              </a:rPr>
              <a:t>започването</a:t>
            </a:r>
            <a:r>
              <a:rPr lang="ru-RU" sz="1600" dirty="0">
                <a:solidFill>
                  <a:srgbClr val="093C6B"/>
                </a:solidFill>
                <a:latin typeface="Montserrat" pitchFamily="2" charset="-52"/>
              </a:rPr>
              <a:t> на </a:t>
            </a:r>
            <a:r>
              <a:rPr lang="ru-RU" sz="1600" dirty="0" err="1">
                <a:solidFill>
                  <a:srgbClr val="093C6B"/>
                </a:solidFill>
                <a:latin typeface="Montserrat" pitchFamily="2" charset="-52"/>
              </a:rPr>
              <a:t>търговията</a:t>
            </a:r>
            <a:r>
              <a:rPr lang="ru-RU" sz="1600" dirty="0">
                <a:solidFill>
                  <a:srgbClr val="093C6B"/>
                </a:solidFill>
                <a:latin typeface="Montserrat" pitchFamily="2" charset="-52"/>
              </a:rPr>
              <a:t> на </a:t>
            </a:r>
            <a:r>
              <a:rPr lang="ru-RU" sz="1600" dirty="0" err="1">
                <a:solidFill>
                  <a:srgbClr val="093C6B"/>
                </a:solidFill>
                <a:latin typeface="Montserrat" pitchFamily="2" charset="-52"/>
              </a:rPr>
              <a:t>регулиран</a:t>
            </a:r>
            <a:r>
              <a:rPr lang="ru-RU" sz="1600" dirty="0">
                <a:solidFill>
                  <a:srgbClr val="093C6B"/>
                </a:solidFill>
                <a:latin typeface="Montserrat" pitchFamily="2" charset="-52"/>
              </a:rPr>
              <a:t> </a:t>
            </a:r>
            <a:r>
              <a:rPr lang="ru-RU" sz="1600" dirty="0" err="1">
                <a:solidFill>
                  <a:srgbClr val="093C6B"/>
                </a:solidFill>
                <a:latin typeface="Montserrat" pitchFamily="2" charset="-52"/>
              </a:rPr>
              <a:t>пазар</a:t>
            </a:r>
            <a:r>
              <a:rPr lang="ru-RU" sz="1600" dirty="0">
                <a:solidFill>
                  <a:srgbClr val="093C6B"/>
                </a:solidFill>
                <a:latin typeface="Montserrat" pitchFamily="2" charset="-52"/>
              </a:rPr>
              <a:t>, се </a:t>
            </a:r>
            <a:r>
              <a:rPr lang="ru-RU" sz="1600" dirty="0" err="1">
                <a:solidFill>
                  <a:srgbClr val="093C6B"/>
                </a:solidFill>
                <a:latin typeface="Montserrat" pitchFamily="2" charset="-52"/>
              </a:rPr>
              <a:t>изготвя</a:t>
            </a:r>
            <a:r>
              <a:rPr lang="ru-RU" sz="1600" dirty="0">
                <a:solidFill>
                  <a:srgbClr val="093C6B"/>
                </a:solidFill>
                <a:latin typeface="Montserrat" pitchFamily="2" charset="-52"/>
              </a:rPr>
              <a:t> </a:t>
            </a:r>
            <a:r>
              <a:rPr lang="ru-RU" sz="1600" b="1" dirty="0" err="1">
                <a:solidFill>
                  <a:srgbClr val="093C6B"/>
                </a:solidFill>
                <a:latin typeface="Montserrat" pitchFamily="2" charset="-52"/>
              </a:rPr>
              <a:t>допълнение</a:t>
            </a:r>
            <a:r>
              <a:rPr lang="ru-RU" sz="1600" b="1" dirty="0">
                <a:solidFill>
                  <a:srgbClr val="093C6B"/>
                </a:solidFill>
                <a:latin typeface="Montserrat" pitchFamily="2" charset="-52"/>
              </a:rPr>
              <a:t> към проспекта</a:t>
            </a:r>
            <a:r>
              <a:rPr lang="ru-RU" sz="1600" dirty="0">
                <a:solidFill>
                  <a:srgbClr val="093C6B"/>
                </a:solidFill>
                <a:latin typeface="Montserrat" pitchFamily="2" charset="-52"/>
              </a:rPr>
              <a:t>.</a:t>
            </a:r>
            <a:endParaRPr lang="bg-BG" sz="1600" dirty="0">
              <a:solidFill>
                <a:srgbClr val="093C6B"/>
              </a:solidFill>
              <a:latin typeface="Montserrat" pitchFamily="2" charset="-52"/>
            </a:endParaRPr>
          </a:p>
        </p:txBody>
      </p:sp>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t="35327" b="35532"/>
          <a:stretch/>
        </p:blipFill>
        <p:spPr>
          <a:xfrm>
            <a:off x="0" y="0"/>
            <a:ext cx="12192000" cy="1715678"/>
          </a:xfrm>
          <a:prstGeom prst="rect">
            <a:avLst/>
          </a:prstGeom>
        </p:spPr>
      </p:pic>
      <p:sp>
        <p:nvSpPr>
          <p:cNvPr id="5" name="TextBox 4"/>
          <p:cNvSpPr txBox="1"/>
          <p:nvPr/>
        </p:nvSpPr>
        <p:spPr>
          <a:xfrm>
            <a:off x="338540" y="285982"/>
            <a:ext cx="9531323" cy="830997"/>
          </a:xfrm>
          <a:prstGeom prst="rect">
            <a:avLst/>
          </a:prstGeom>
          <a:noFill/>
        </p:spPr>
        <p:txBody>
          <a:bodyPr wrap="square" rtlCol="0">
            <a:spAutoFit/>
          </a:bodyPr>
          <a:lstStyle/>
          <a:p>
            <a:r>
              <a:rPr lang="en-US" sz="2400" dirty="0">
                <a:solidFill>
                  <a:schemeClr val="bg1"/>
                </a:solidFill>
                <a:latin typeface="Montserrat Black" pitchFamily="2" charset="-52"/>
              </a:rPr>
              <a:t>II. </a:t>
            </a:r>
            <a:r>
              <a:rPr lang="bg-BG" sz="2400" dirty="0">
                <a:solidFill>
                  <a:schemeClr val="bg1"/>
                </a:solidFill>
                <a:latin typeface="Montserrat Black" pitchFamily="2" charset="-52"/>
              </a:rPr>
              <a:t>ПЪТЯТ НА ЕДНА КОМПАНИЯ КЪМ ПУБЛИЧНО ПРЕДЛАГАНЕ И ДОПУСКАНЕ ДО РЕГУЛИРАН ПАЗАР</a:t>
            </a:r>
          </a:p>
        </p:txBody>
      </p:sp>
      <p:sp>
        <p:nvSpPr>
          <p:cNvPr id="8" name="TextBox 7"/>
          <p:cNvSpPr txBox="1"/>
          <p:nvPr/>
        </p:nvSpPr>
        <p:spPr>
          <a:xfrm>
            <a:off x="338540" y="1070812"/>
            <a:ext cx="9192785" cy="369332"/>
          </a:xfrm>
          <a:prstGeom prst="rect">
            <a:avLst/>
          </a:prstGeom>
          <a:noFill/>
        </p:spPr>
        <p:txBody>
          <a:bodyPr wrap="square" rtlCol="0">
            <a:spAutoFit/>
          </a:bodyPr>
          <a:lstStyle/>
          <a:p>
            <a:r>
              <a:rPr lang="bg-BG">
                <a:solidFill>
                  <a:schemeClr val="bg1"/>
                </a:solidFill>
                <a:latin typeface="Montserrat" pitchFamily="2" charset="-52"/>
              </a:rPr>
              <a:t>Допълнения към проспекта. </a:t>
            </a:r>
            <a:endParaRPr lang="bg-BG" dirty="0">
              <a:solidFill>
                <a:schemeClr val="bg1"/>
              </a:solidFill>
              <a:latin typeface="Montserrat" pitchFamily="2" charset="-52"/>
            </a:endParaRPr>
          </a:p>
        </p:txBody>
      </p:sp>
      <p:sp>
        <p:nvSpPr>
          <p:cNvPr id="2" name="Rectangle 1"/>
          <p:cNvSpPr/>
          <p:nvPr/>
        </p:nvSpPr>
        <p:spPr>
          <a:xfrm>
            <a:off x="6603806" y="4669607"/>
            <a:ext cx="5418923" cy="830997"/>
          </a:xfrm>
          <a:prstGeom prst="rect">
            <a:avLst/>
          </a:prstGeom>
        </p:spPr>
        <p:txBody>
          <a:bodyPr wrap="square">
            <a:spAutoFit/>
          </a:bodyPr>
          <a:lstStyle/>
          <a:p>
            <a:pPr algn="just"/>
            <a:r>
              <a:rPr lang="bg-BG" sz="1600" b="1" dirty="0">
                <a:solidFill>
                  <a:schemeClr val="bg1"/>
                </a:solidFill>
                <a:latin typeface="Montserrat" pitchFamily="2" charset="-52"/>
              </a:rPr>
              <a:t>Допълнението</a:t>
            </a:r>
            <a:r>
              <a:rPr lang="bg-BG" sz="1600" dirty="0">
                <a:solidFill>
                  <a:schemeClr val="bg1"/>
                </a:solidFill>
                <a:latin typeface="Montserrat" pitchFamily="2" charset="-52"/>
              </a:rPr>
              <a:t> се п</a:t>
            </a:r>
            <a:r>
              <a:rPr lang="ru-RU" sz="1600" dirty="0" err="1">
                <a:solidFill>
                  <a:schemeClr val="bg1"/>
                </a:solidFill>
                <a:latin typeface="Montserrat" pitchFamily="2" charset="-52"/>
              </a:rPr>
              <a:t>убликува</a:t>
            </a:r>
            <a:r>
              <a:rPr lang="ru-RU" sz="1600" dirty="0">
                <a:solidFill>
                  <a:schemeClr val="bg1"/>
                </a:solidFill>
                <a:latin typeface="Montserrat" pitchFamily="2" charset="-52"/>
              </a:rPr>
              <a:t> в </a:t>
            </a:r>
            <a:r>
              <a:rPr lang="ru-RU" sz="1600" dirty="0" err="1">
                <a:solidFill>
                  <a:schemeClr val="bg1"/>
                </a:solidFill>
                <a:latin typeface="Montserrat" pitchFamily="2" charset="-52"/>
              </a:rPr>
              <a:t>съответствие</a:t>
            </a:r>
            <a:r>
              <a:rPr lang="ru-RU" sz="1600" dirty="0">
                <a:solidFill>
                  <a:schemeClr val="bg1"/>
                </a:solidFill>
                <a:latin typeface="Montserrat" pitchFamily="2" charset="-52"/>
              </a:rPr>
              <a:t> </a:t>
            </a:r>
            <a:r>
              <a:rPr lang="ru-RU" sz="1600" dirty="0" err="1">
                <a:solidFill>
                  <a:schemeClr val="bg1"/>
                </a:solidFill>
                <a:latin typeface="Montserrat" pitchFamily="2" charset="-52"/>
              </a:rPr>
              <a:t>със</a:t>
            </a:r>
            <a:r>
              <a:rPr lang="ru-RU" sz="1600" dirty="0">
                <a:solidFill>
                  <a:schemeClr val="bg1"/>
                </a:solidFill>
                <a:latin typeface="Montserrat" pitchFamily="2" charset="-52"/>
              </a:rPr>
              <a:t> </a:t>
            </a:r>
            <a:r>
              <a:rPr lang="ru-RU" sz="1600" dirty="0" err="1">
                <a:solidFill>
                  <a:schemeClr val="bg1"/>
                </a:solidFill>
                <a:latin typeface="Montserrat" pitchFamily="2" charset="-52"/>
              </a:rPr>
              <a:t>същите</a:t>
            </a:r>
            <a:r>
              <a:rPr lang="ru-RU" sz="1600" dirty="0">
                <a:solidFill>
                  <a:schemeClr val="bg1"/>
                </a:solidFill>
                <a:latin typeface="Montserrat" pitchFamily="2" charset="-52"/>
              </a:rPr>
              <a:t> </a:t>
            </a:r>
            <a:r>
              <a:rPr lang="ru-RU" sz="1600" dirty="0" err="1">
                <a:solidFill>
                  <a:schemeClr val="bg1"/>
                </a:solidFill>
                <a:latin typeface="Montserrat" pitchFamily="2" charset="-52"/>
              </a:rPr>
              <a:t>изисквания</a:t>
            </a:r>
            <a:r>
              <a:rPr lang="ru-RU" sz="1600" dirty="0">
                <a:solidFill>
                  <a:schemeClr val="bg1"/>
                </a:solidFill>
                <a:latin typeface="Montserrat" pitchFamily="2" charset="-52"/>
              </a:rPr>
              <a:t>, </a:t>
            </a:r>
            <a:r>
              <a:rPr lang="ru-RU" sz="1600" dirty="0" err="1">
                <a:solidFill>
                  <a:schemeClr val="bg1"/>
                </a:solidFill>
                <a:latin typeface="Montserrat" pitchFamily="2" charset="-52"/>
              </a:rPr>
              <a:t>които</a:t>
            </a:r>
            <a:r>
              <a:rPr lang="ru-RU" sz="1600" dirty="0">
                <a:solidFill>
                  <a:schemeClr val="bg1"/>
                </a:solidFill>
                <a:latin typeface="Montserrat" pitchFamily="2" charset="-52"/>
              </a:rPr>
              <a:t> </a:t>
            </a:r>
            <a:r>
              <a:rPr lang="ru-RU" sz="1600" dirty="0" err="1">
                <a:solidFill>
                  <a:schemeClr val="bg1"/>
                </a:solidFill>
                <a:latin typeface="Montserrat" pitchFamily="2" charset="-52"/>
              </a:rPr>
              <a:t>са</a:t>
            </a:r>
            <a:r>
              <a:rPr lang="ru-RU" sz="1600" dirty="0">
                <a:solidFill>
                  <a:schemeClr val="bg1"/>
                </a:solidFill>
                <a:latin typeface="Montserrat" pitchFamily="2" charset="-52"/>
              </a:rPr>
              <a:t> </a:t>
            </a:r>
            <a:r>
              <a:rPr lang="ru-RU" sz="1600" dirty="0" err="1">
                <a:solidFill>
                  <a:schemeClr val="bg1"/>
                </a:solidFill>
                <a:latin typeface="Montserrat" pitchFamily="2" charset="-52"/>
              </a:rPr>
              <a:t>приложими</a:t>
            </a:r>
            <a:r>
              <a:rPr lang="ru-RU" sz="1600" dirty="0">
                <a:solidFill>
                  <a:schemeClr val="bg1"/>
                </a:solidFill>
                <a:latin typeface="Montserrat" pitchFamily="2" charset="-52"/>
              </a:rPr>
              <a:t> при </a:t>
            </a:r>
            <a:r>
              <a:rPr lang="ru-RU" sz="1600" dirty="0" err="1">
                <a:solidFill>
                  <a:schemeClr val="bg1"/>
                </a:solidFill>
                <a:latin typeface="Montserrat" pitchFamily="2" charset="-52"/>
              </a:rPr>
              <a:t>публикуването</a:t>
            </a:r>
            <a:r>
              <a:rPr lang="ru-RU" sz="1600" dirty="0">
                <a:solidFill>
                  <a:schemeClr val="bg1"/>
                </a:solidFill>
                <a:latin typeface="Montserrat" pitchFamily="2" charset="-52"/>
              </a:rPr>
              <a:t> на одобрения проспект.</a:t>
            </a:r>
            <a:endParaRPr lang="bg-BG" sz="1600" dirty="0">
              <a:solidFill>
                <a:schemeClr val="bg1"/>
              </a:solidFill>
              <a:latin typeface="Montserrat" pitchFamily="2" charset="-52"/>
            </a:endParaRPr>
          </a:p>
        </p:txBody>
      </p:sp>
      <p:sp>
        <p:nvSpPr>
          <p:cNvPr id="3" name="Rectangle 2"/>
          <p:cNvSpPr/>
          <p:nvPr/>
        </p:nvSpPr>
        <p:spPr>
          <a:xfrm>
            <a:off x="448055" y="4669607"/>
            <a:ext cx="5696713" cy="830997"/>
          </a:xfrm>
          <a:prstGeom prst="rect">
            <a:avLst/>
          </a:prstGeom>
        </p:spPr>
        <p:txBody>
          <a:bodyPr wrap="square">
            <a:spAutoFit/>
          </a:bodyPr>
          <a:lstStyle/>
          <a:p>
            <a:r>
              <a:rPr lang="ru-RU" sz="1600" b="1" dirty="0" err="1">
                <a:solidFill>
                  <a:schemeClr val="bg1"/>
                </a:solidFill>
                <a:latin typeface="Montserrat" pitchFamily="2" charset="-52"/>
              </a:rPr>
              <a:t>Допълнението</a:t>
            </a:r>
            <a:r>
              <a:rPr lang="ru-RU" sz="1600" dirty="0">
                <a:solidFill>
                  <a:schemeClr val="bg1"/>
                </a:solidFill>
                <a:latin typeface="Montserrat" pitchFamily="2" charset="-52"/>
              </a:rPr>
              <a:t> към проспект се </a:t>
            </a:r>
            <a:r>
              <a:rPr lang="ru-RU" sz="1600" dirty="0" err="1">
                <a:solidFill>
                  <a:schemeClr val="bg1"/>
                </a:solidFill>
                <a:latin typeface="Montserrat" pitchFamily="2" charset="-52"/>
              </a:rPr>
              <a:t>одобрява</a:t>
            </a:r>
            <a:r>
              <a:rPr lang="ru-RU" sz="1600" dirty="0">
                <a:solidFill>
                  <a:schemeClr val="bg1"/>
                </a:solidFill>
                <a:latin typeface="Montserrat" pitchFamily="2" charset="-52"/>
              </a:rPr>
              <a:t> от КФН по </a:t>
            </a:r>
            <a:r>
              <a:rPr lang="ru-RU" sz="1600" dirty="0" err="1">
                <a:solidFill>
                  <a:schemeClr val="bg1"/>
                </a:solidFill>
                <a:latin typeface="Montserrat" pitchFamily="2" charset="-52"/>
              </a:rPr>
              <a:t>същия</a:t>
            </a:r>
            <a:r>
              <a:rPr lang="ru-RU" sz="1600" dirty="0">
                <a:solidFill>
                  <a:schemeClr val="bg1"/>
                </a:solidFill>
                <a:latin typeface="Montserrat" pitchFamily="2" charset="-52"/>
              </a:rPr>
              <a:t> начин </a:t>
            </a:r>
            <a:r>
              <a:rPr lang="ru-RU" sz="1600" dirty="0" err="1">
                <a:solidFill>
                  <a:schemeClr val="bg1"/>
                </a:solidFill>
                <a:latin typeface="Montserrat" pitchFamily="2" charset="-52"/>
              </a:rPr>
              <a:t>като</a:t>
            </a:r>
            <a:r>
              <a:rPr lang="ru-RU" sz="1600" dirty="0">
                <a:solidFill>
                  <a:schemeClr val="bg1"/>
                </a:solidFill>
                <a:latin typeface="Montserrat" pitchFamily="2" charset="-52"/>
              </a:rPr>
              <a:t> проспект в </a:t>
            </a:r>
            <a:r>
              <a:rPr lang="ru-RU" sz="1600" dirty="0" err="1">
                <a:solidFill>
                  <a:schemeClr val="bg1"/>
                </a:solidFill>
                <a:latin typeface="Montserrat" pitchFamily="2" charset="-52"/>
              </a:rPr>
              <a:t>рамките</a:t>
            </a:r>
            <a:r>
              <a:rPr lang="ru-RU" sz="1600" dirty="0">
                <a:solidFill>
                  <a:schemeClr val="bg1"/>
                </a:solidFill>
                <a:latin typeface="Montserrat" pitchFamily="2" charset="-52"/>
              </a:rPr>
              <a:t> на не </a:t>
            </a:r>
            <a:r>
              <a:rPr lang="ru-RU" sz="1600" dirty="0" err="1">
                <a:solidFill>
                  <a:schemeClr val="bg1"/>
                </a:solidFill>
                <a:latin typeface="Montserrat" pitchFamily="2" charset="-52"/>
              </a:rPr>
              <a:t>повече</a:t>
            </a:r>
            <a:r>
              <a:rPr lang="ru-RU" sz="1600" dirty="0">
                <a:solidFill>
                  <a:schemeClr val="bg1"/>
                </a:solidFill>
                <a:latin typeface="Montserrat" pitchFamily="2" charset="-52"/>
              </a:rPr>
              <a:t> от 5 работни дни. </a:t>
            </a:r>
            <a:endParaRPr lang="bg-BG" sz="1600" dirty="0">
              <a:solidFill>
                <a:schemeClr val="bg1"/>
              </a:solidFill>
            </a:endParaRPr>
          </a:p>
        </p:txBody>
      </p:sp>
      <p:pic>
        <p:nvPicPr>
          <p:cNvPr id="4" name="Picture 2" descr="check mark icon. 18888319 PNG">
            <a:extLst>
              <a:ext uri="{FF2B5EF4-FFF2-40B4-BE49-F238E27FC236}">
                <a16:creationId xmlns:a16="http://schemas.microsoft.com/office/drawing/2014/main" id="{498B34BA-FA3E-5524-DD73-09C5C64C1967}"/>
              </a:ext>
            </a:extLst>
          </p:cNvPr>
          <p:cNvPicPr>
            <a:picLocks noChangeAspect="1" noChangeArrowheads="1"/>
          </p:cNvPicPr>
          <p:nvPr/>
        </p:nvPicPr>
        <p:blipFill>
          <a:blip r:embed="rId4"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2727857" y="3684836"/>
            <a:ext cx="743711" cy="74371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check mark icon. 18888319 PNG">
            <a:extLst>
              <a:ext uri="{FF2B5EF4-FFF2-40B4-BE49-F238E27FC236}">
                <a16:creationId xmlns:a16="http://schemas.microsoft.com/office/drawing/2014/main" id="{DEE9F038-E0EE-E66D-2DCE-163DC0C1CE70}"/>
              </a:ext>
            </a:extLst>
          </p:cNvPr>
          <p:cNvPicPr>
            <a:picLocks noChangeAspect="1" noChangeArrowheads="1"/>
          </p:cNvPicPr>
          <p:nvPr/>
        </p:nvPicPr>
        <p:blipFill>
          <a:blip r:embed="rId4"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8941411" y="3684836"/>
            <a:ext cx="743711" cy="74371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131552" y="6292745"/>
            <a:ext cx="1876472" cy="361108"/>
          </a:xfrm>
          <a:prstGeom prst="rect">
            <a:avLst/>
          </a:prstGeom>
        </p:spPr>
      </p:pic>
    </p:spTree>
    <p:extLst>
      <p:ext uri="{BB962C8B-B14F-4D97-AF65-F5344CB8AC3E}">
        <p14:creationId xmlns:p14="http://schemas.microsoft.com/office/powerpoint/2010/main" val="47462226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TextBox 5"/>
          <p:cNvSpPr txBox="1"/>
          <p:nvPr/>
        </p:nvSpPr>
        <p:spPr>
          <a:xfrm>
            <a:off x="1430405" y="2637675"/>
            <a:ext cx="9629559" cy="1200329"/>
          </a:xfrm>
          <a:prstGeom prst="rect">
            <a:avLst/>
          </a:prstGeom>
          <a:noFill/>
        </p:spPr>
        <p:txBody>
          <a:bodyPr wrap="none" rtlCol="0">
            <a:spAutoFit/>
          </a:bodyPr>
          <a:lstStyle/>
          <a:p>
            <a:pPr algn="ctr"/>
            <a:r>
              <a:rPr lang="en-US" sz="3600" dirty="0">
                <a:solidFill>
                  <a:schemeClr val="bg1"/>
                </a:solidFill>
                <a:latin typeface="Montserrat Black" pitchFamily="2" charset="-52"/>
              </a:rPr>
              <a:t>III. </a:t>
            </a:r>
            <a:r>
              <a:rPr lang="ru-RU" sz="3600" dirty="0">
                <a:solidFill>
                  <a:schemeClr val="bg1"/>
                </a:solidFill>
                <a:latin typeface="Montserrat Black" pitchFamily="2" charset="-52"/>
              </a:rPr>
              <a:t>ПОСЛЕДВАЩИ ИЗИСКВАНИЯ </a:t>
            </a:r>
            <a:br>
              <a:rPr lang="ru-RU" sz="3600" dirty="0">
                <a:solidFill>
                  <a:schemeClr val="bg1"/>
                </a:solidFill>
                <a:latin typeface="Montserrat Black" pitchFamily="2" charset="-52"/>
              </a:rPr>
            </a:br>
            <a:r>
              <a:rPr lang="ru-RU" sz="3600" dirty="0">
                <a:solidFill>
                  <a:schemeClr val="bg1"/>
                </a:solidFill>
                <a:latin typeface="Montserrat Black" pitchFamily="2" charset="-52"/>
              </a:rPr>
              <a:t>ЗА РАЗКРИВАНЕ НА ИНФОРМАЦИЯ </a:t>
            </a:r>
            <a:endParaRPr lang="bg-BG" sz="3600" dirty="0">
              <a:solidFill>
                <a:schemeClr val="bg1"/>
              </a:solidFill>
              <a:latin typeface="Montserrat Black" pitchFamily="2" charset="-52"/>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69864" y="337099"/>
            <a:ext cx="1874066" cy="360645"/>
          </a:xfrm>
          <a:prstGeom prst="rect">
            <a:avLst/>
          </a:prstGeom>
        </p:spPr>
      </p:pic>
    </p:spTree>
    <p:extLst>
      <p:ext uri="{BB962C8B-B14F-4D97-AF65-F5344CB8AC3E}">
        <p14:creationId xmlns:p14="http://schemas.microsoft.com/office/powerpoint/2010/main" val="353213210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0800000">
            <a:off x="0" y="8838"/>
            <a:ext cx="12192003" cy="6858000"/>
          </a:xfrm>
          <a:prstGeom prst="rect">
            <a:avLst/>
          </a:prstGeom>
        </p:spPr>
      </p:pic>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t="35327" b="35532"/>
          <a:stretch/>
        </p:blipFill>
        <p:spPr>
          <a:xfrm>
            <a:off x="0" y="-2"/>
            <a:ext cx="12192000" cy="1715680"/>
          </a:xfrm>
          <a:prstGeom prst="rect">
            <a:avLst/>
          </a:prstGeom>
        </p:spPr>
      </p:pic>
      <p:sp>
        <p:nvSpPr>
          <p:cNvPr id="5" name="TextBox 4"/>
          <p:cNvSpPr txBox="1"/>
          <p:nvPr/>
        </p:nvSpPr>
        <p:spPr>
          <a:xfrm>
            <a:off x="338540" y="171682"/>
            <a:ext cx="9531323" cy="830997"/>
          </a:xfrm>
          <a:prstGeom prst="rect">
            <a:avLst/>
          </a:prstGeom>
          <a:noFill/>
        </p:spPr>
        <p:txBody>
          <a:bodyPr wrap="square" rtlCol="0">
            <a:spAutoFit/>
          </a:bodyPr>
          <a:lstStyle/>
          <a:p>
            <a:r>
              <a:rPr lang="en-US" sz="2400" dirty="0">
                <a:solidFill>
                  <a:schemeClr val="bg1"/>
                </a:solidFill>
                <a:latin typeface="Montserrat Black" pitchFamily="2" charset="-52"/>
              </a:rPr>
              <a:t>III. </a:t>
            </a:r>
            <a:r>
              <a:rPr lang="ru-RU" sz="2400" dirty="0">
                <a:solidFill>
                  <a:schemeClr val="bg1"/>
                </a:solidFill>
                <a:latin typeface="Montserrat Black" pitchFamily="2" charset="-52"/>
              </a:rPr>
              <a:t>ПОСЛЕДВАЩИ ИЗИСКВАНИЯ ЗА РАЗКРИВАНЕ НА ИНФОРМАЦИЯ </a:t>
            </a:r>
            <a:endParaRPr lang="bg-BG" sz="2400" dirty="0">
              <a:solidFill>
                <a:schemeClr val="bg1"/>
              </a:solidFill>
              <a:latin typeface="Montserrat Black" pitchFamily="2" charset="-52"/>
            </a:endParaRPr>
          </a:p>
        </p:txBody>
      </p:sp>
      <p:sp>
        <p:nvSpPr>
          <p:cNvPr id="8" name="TextBox 7"/>
          <p:cNvSpPr txBox="1"/>
          <p:nvPr/>
        </p:nvSpPr>
        <p:spPr>
          <a:xfrm>
            <a:off x="338540" y="956512"/>
            <a:ext cx="9192785" cy="646331"/>
          </a:xfrm>
          <a:prstGeom prst="rect">
            <a:avLst/>
          </a:prstGeom>
          <a:noFill/>
        </p:spPr>
        <p:txBody>
          <a:bodyPr wrap="square" rtlCol="0">
            <a:spAutoFit/>
          </a:bodyPr>
          <a:lstStyle/>
          <a:p>
            <a:r>
              <a:rPr lang="ru-RU" dirty="0" err="1">
                <a:solidFill>
                  <a:schemeClr val="bg1"/>
                </a:solidFill>
                <a:latin typeface="Montserrat" pitchFamily="2" charset="-52"/>
              </a:rPr>
              <a:t>Допълнителни</a:t>
            </a:r>
            <a:r>
              <a:rPr lang="ru-RU" dirty="0">
                <a:solidFill>
                  <a:schemeClr val="bg1"/>
                </a:solidFill>
                <a:latin typeface="Montserrat" pitchFamily="2" charset="-52"/>
              </a:rPr>
              <a:t> </a:t>
            </a:r>
            <a:r>
              <a:rPr lang="ru-RU" dirty="0" err="1">
                <a:solidFill>
                  <a:schemeClr val="bg1"/>
                </a:solidFill>
                <a:latin typeface="Montserrat" pitchFamily="2" charset="-52"/>
              </a:rPr>
              <a:t>изисквания</a:t>
            </a:r>
            <a:r>
              <a:rPr lang="ru-RU" dirty="0">
                <a:solidFill>
                  <a:schemeClr val="bg1"/>
                </a:solidFill>
                <a:latin typeface="Montserrat" pitchFamily="2" charset="-52"/>
              </a:rPr>
              <a:t> към </a:t>
            </a:r>
            <a:r>
              <a:rPr lang="ru-RU" dirty="0" err="1">
                <a:solidFill>
                  <a:schemeClr val="bg1"/>
                </a:solidFill>
                <a:latin typeface="Montserrat" pitchFamily="2" charset="-52"/>
              </a:rPr>
              <a:t>дейността</a:t>
            </a:r>
            <a:r>
              <a:rPr lang="ru-RU" dirty="0">
                <a:solidFill>
                  <a:schemeClr val="bg1"/>
                </a:solidFill>
                <a:latin typeface="Montserrat" pitchFamily="2" charset="-52"/>
              </a:rPr>
              <a:t> на </a:t>
            </a:r>
            <a:r>
              <a:rPr lang="ru-RU" dirty="0" err="1">
                <a:solidFill>
                  <a:schemeClr val="bg1"/>
                </a:solidFill>
                <a:latin typeface="Montserrat" pitchFamily="2" charset="-52"/>
              </a:rPr>
              <a:t>дружествата</a:t>
            </a:r>
            <a:endParaRPr lang="ru-RU" dirty="0">
              <a:solidFill>
                <a:schemeClr val="bg1"/>
              </a:solidFill>
              <a:latin typeface="Montserrat" pitchFamily="2" charset="-52"/>
            </a:endParaRPr>
          </a:p>
          <a:p>
            <a:r>
              <a:rPr lang="ru-RU" dirty="0">
                <a:solidFill>
                  <a:schemeClr val="bg1"/>
                </a:solidFill>
                <a:latin typeface="Montserrat" pitchFamily="2" charset="-52"/>
              </a:rPr>
              <a:t>и </a:t>
            </a:r>
            <a:r>
              <a:rPr lang="ru-RU" dirty="0" err="1">
                <a:solidFill>
                  <a:schemeClr val="bg1"/>
                </a:solidFill>
                <a:latin typeface="Montserrat" pitchFamily="2" charset="-52"/>
              </a:rPr>
              <a:t>разкриваната</a:t>
            </a:r>
            <a:r>
              <a:rPr lang="ru-RU" dirty="0">
                <a:solidFill>
                  <a:schemeClr val="bg1"/>
                </a:solidFill>
                <a:latin typeface="Montserrat" pitchFamily="2" charset="-52"/>
              </a:rPr>
              <a:t> от </a:t>
            </a:r>
            <a:r>
              <a:rPr lang="ru-RU" dirty="0" err="1">
                <a:solidFill>
                  <a:schemeClr val="bg1"/>
                </a:solidFill>
                <a:latin typeface="Montserrat" pitchFamily="2" charset="-52"/>
              </a:rPr>
              <a:t>тях</a:t>
            </a:r>
            <a:r>
              <a:rPr lang="ru-RU" dirty="0">
                <a:solidFill>
                  <a:schemeClr val="bg1"/>
                </a:solidFill>
                <a:latin typeface="Montserrat" pitchFamily="2" charset="-52"/>
              </a:rPr>
              <a:t> информация</a:t>
            </a:r>
            <a:endParaRPr lang="bg-BG" dirty="0">
              <a:solidFill>
                <a:schemeClr val="bg1"/>
              </a:solidFill>
              <a:latin typeface="Montserrat" pitchFamily="2" charset="-52"/>
            </a:endParaRPr>
          </a:p>
        </p:txBody>
      </p:sp>
      <p:sp>
        <p:nvSpPr>
          <p:cNvPr id="30" name="Rectangle 29"/>
          <p:cNvSpPr/>
          <p:nvPr/>
        </p:nvSpPr>
        <p:spPr>
          <a:xfrm>
            <a:off x="730961" y="2220229"/>
            <a:ext cx="5581271" cy="1708160"/>
          </a:xfrm>
          <a:prstGeom prst="rect">
            <a:avLst/>
          </a:prstGeom>
        </p:spPr>
        <p:txBody>
          <a:bodyPr wrap="square">
            <a:spAutoFit/>
          </a:bodyPr>
          <a:lstStyle/>
          <a:p>
            <a:r>
              <a:rPr lang="bg-BG" sz="1500" dirty="0">
                <a:solidFill>
                  <a:srgbClr val="093E70"/>
                </a:solidFill>
                <a:latin typeface="Montserrat" pitchFamily="2" charset="-52"/>
              </a:rPr>
              <a:t>С цел защита правата на инвеститорите/акционерите в публичните дружества, и в частност на непрофесионалните такива, законодателят е предвидил по-строги от общите изисквания към дейността им, както и различни по естеството си контролни и надзорни механизми. </a:t>
            </a:r>
          </a:p>
        </p:txBody>
      </p:sp>
      <p:grpSp>
        <p:nvGrpSpPr>
          <p:cNvPr id="39" name="Group 38"/>
          <p:cNvGrpSpPr/>
          <p:nvPr/>
        </p:nvGrpSpPr>
        <p:grpSpPr>
          <a:xfrm>
            <a:off x="5791200" y="273745"/>
            <a:ext cx="6096000" cy="5850615"/>
            <a:chOff x="5941659" y="427312"/>
            <a:chExt cx="6096000" cy="6321475"/>
          </a:xfrm>
        </p:grpSpPr>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28705" y="3131955"/>
              <a:ext cx="6008954" cy="3580747"/>
            </a:xfrm>
            <a:prstGeom prst="rect">
              <a:avLst/>
            </a:prstGeom>
          </p:spPr>
        </p:pic>
        <p:grpSp>
          <p:nvGrpSpPr>
            <p:cNvPr id="29" name="Group 28"/>
            <p:cNvGrpSpPr/>
            <p:nvPr/>
          </p:nvGrpSpPr>
          <p:grpSpPr>
            <a:xfrm>
              <a:off x="7916205" y="427312"/>
              <a:ext cx="2664834" cy="2948393"/>
              <a:chOff x="3703538" y="1787509"/>
              <a:chExt cx="1530106" cy="1692921"/>
            </a:xfrm>
            <a:effectLst>
              <a:outerShdw blurRad="152400" dist="127000" dir="6000000" sx="75000" sy="75000" rotWithShape="0">
                <a:prstClr val="black">
                  <a:alpha val="28000"/>
                </a:prstClr>
              </a:outerShdw>
            </a:effectLst>
          </p:grpSpPr>
          <p:grpSp>
            <p:nvGrpSpPr>
              <p:cNvPr id="19" name="Group 18"/>
              <p:cNvGrpSpPr/>
              <p:nvPr/>
            </p:nvGrpSpPr>
            <p:grpSpPr>
              <a:xfrm>
                <a:off x="3703538" y="2154769"/>
                <a:ext cx="1325661" cy="1325661"/>
                <a:chOff x="-150403" y="4035704"/>
                <a:chExt cx="1080000" cy="1080000"/>
              </a:xfrm>
            </p:grpSpPr>
            <p:sp>
              <p:nvSpPr>
                <p:cNvPr id="18" name="Oval 17"/>
                <p:cNvSpPr/>
                <p:nvPr/>
              </p:nvSpPr>
              <p:spPr>
                <a:xfrm>
                  <a:off x="-150403" y="4035704"/>
                  <a:ext cx="1080000" cy="1080000"/>
                </a:xfrm>
                <a:prstGeom prst="ellipse">
                  <a:avLst/>
                </a:prstGeom>
                <a:solidFill>
                  <a:srgbClr val="0C4E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endParaRPr lang="bg-BG" dirty="0"/>
                </a:p>
              </p:txBody>
            </p:sp>
            <p:sp>
              <p:nvSpPr>
                <p:cNvPr id="17" name="Oval 16"/>
                <p:cNvSpPr/>
                <p:nvPr/>
              </p:nvSpPr>
              <p:spPr>
                <a:xfrm>
                  <a:off x="-60403" y="4125704"/>
                  <a:ext cx="900000" cy="90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endParaRPr lang="bg-BG" dirty="0"/>
                </a:p>
              </p:txBody>
            </p:sp>
            <p:sp>
              <p:nvSpPr>
                <p:cNvPr id="16" name="Oval 15"/>
                <p:cNvSpPr/>
                <p:nvPr/>
              </p:nvSpPr>
              <p:spPr>
                <a:xfrm>
                  <a:off x="29597" y="4215704"/>
                  <a:ext cx="720000" cy="720000"/>
                </a:xfrm>
                <a:prstGeom prst="ellipse">
                  <a:avLst/>
                </a:prstGeom>
                <a:solidFill>
                  <a:srgbClr val="0C4E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endParaRPr lang="bg-BG" dirty="0"/>
                </a:p>
              </p:txBody>
            </p:sp>
            <p:sp>
              <p:nvSpPr>
                <p:cNvPr id="15" name="Oval 14"/>
                <p:cNvSpPr/>
                <p:nvPr/>
              </p:nvSpPr>
              <p:spPr>
                <a:xfrm>
                  <a:off x="119825" y="4305932"/>
                  <a:ext cx="539544" cy="5395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endParaRPr lang="bg-BG" dirty="0"/>
                </a:p>
              </p:txBody>
            </p:sp>
            <p:sp>
              <p:nvSpPr>
                <p:cNvPr id="13" name="Oval 12"/>
                <p:cNvSpPr/>
                <p:nvPr/>
              </p:nvSpPr>
              <p:spPr>
                <a:xfrm>
                  <a:off x="209597" y="4395704"/>
                  <a:ext cx="360000" cy="360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endParaRPr lang="bg-BG" dirty="0"/>
                </a:p>
              </p:txBody>
            </p:sp>
          </p:grpSp>
          <p:grpSp>
            <p:nvGrpSpPr>
              <p:cNvPr id="28" name="Group 27"/>
              <p:cNvGrpSpPr/>
              <p:nvPr/>
            </p:nvGrpSpPr>
            <p:grpSpPr>
              <a:xfrm>
                <a:off x="4706053" y="1787509"/>
                <a:ext cx="527591" cy="1163470"/>
                <a:chOff x="4706053" y="1787509"/>
                <a:chExt cx="527591" cy="1163470"/>
              </a:xfrm>
            </p:grpSpPr>
            <p:sp>
              <p:nvSpPr>
                <p:cNvPr id="20" name="Rectangle 19"/>
                <p:cNvSpPr/>
                <p:nvPr/>
              </p:nvSpPr>
              <p:spPr>
                <a:xfrm rot="2312230">
                  <a:off x="4706053" y="1793751"/>
                  <a:ext cx="42262" cy="1157228"/>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1" name="Rectangle 20"/>
                <p:cNvSpPr/>
                <p:nvPr/>
              </p:nvSpPr>
              <p:spPr>
                <a:xfrm>
                  <a:off x="5002948" y="1787509"/>
                  <a:ext cx="26251" cy="220943"/>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2" name="Rectangle 21"/>
                <p:cNvSpPr/>
                <p:nvPr/>
              </p:nvSpPr>
              <p:spPr>
                <a:xfrm>
                  <a:off x="4928614" y="1878591"/>
                  <a:ext cx="32988" cy="220943"/>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3" name="Rectangle 22"/>
                <p:cNvSpPr/>
                <p:nvPr/>
              </p:nvSpPr>
              <p:spPr>
                <a:xfrm>
                  <a:off x="4859906" y="1963761"/>
                  <a:ext cx="34099" cy="220943"/>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5" name="Rectangle 24"/>
                <p:cNvSpPr/>
                <p:nvPr/>
              </p:nvSpPr>
              <p:spPr>
                <a:xfrm rot="4620000">
                  <a:off x="5037841" y="1965603"/>
                  <a:ext cx="30231" cy="221293"/>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6" name="Rectangle 25"/>
                <p:cNvSpPr/>
                <p:nvPr/>
              </p:nvSpPr>
              <p:spPr>
                <a:xfrm rot="4620000">
                  <a:off x="5109872" y="1870212"/>
                  <a:ext cx="26251" cy="221293"/>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7" name="Rectangle 26"/>
                <p:cNvSpPr/>
                <p:nvPr/>
              </p:nvSpPr>
              <p:spPr>
                <a:xfrm rot="4620000">
                  <a:off x="4950969" y="2058768"/>
                  <a:ext cx="30653" cy="221293"/>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sp>
          <p:nvSpPr>
            <p:cNvPr id="32" name="Rectangle 31"/>
            <p:cNvSpPr/>
            <p:nvPr/>
          </p:nvSpPr>
          <p:spPr>
            <a:xfrm>
              <a:off x="6767494" y="4098846"/>
              <a:ext cx="4156587" cy="338554"/>
            </a:xfrm>
            <a:prstGeom prst="rect">
              <a:avLst/>
            </a:prstGeom>
          </p:spPr>
          <p:txBody>
            <a:bodyPr wrap="none">
              <a:spAutoFit/>
            </a:bodyPr>
            <a:lstStyle/>
            <a:p>
              <a:pPr marL="442912" lvl="0" algn="just"/>
              <a:r>
                <a:rPr lang="bg-BG" sz="1600" dirty="0">
                  <a:solidFill>
                    <a:srgbClr val="093E70"/>
                  </a:solidFill>
                  <a:latin typeface="Montserrat" pitchFamily="2" charset="-52"/>
                </a:rPr>
                <a:t>Свикване и провеждане на ОСА;</a:t>
              </a:r>
            </a:p>
          </p:txBody>
        </p:sp>
        <p:sp>
          <p:nvSpPr>
            <p:cNvPr id="33" name="Rectangle 32"/>
            <p:cNvSpPr/>
            <p:nvPr/>
          </p:nvSpPr>
          <p:spPr>
            <a:xfrm>
              <a:off x="5941659" y="4862731"/>
              <a:ext cx="6096000" cy="338554"/>
            </a:xfrm>
            <a:prstGeom prst="rect">
              <a:avLst/>
            </a:prstGeom>
          </p:spPr>
          <p:txBody>
            <a:bodyPr>
              <a:spAutoFit/>
            </a:bodyPr>
            <a:lstStyle/>
            <a:p>
              <a:pPr marL="442912" lvl="0" algn="just"/>
              <a:r>
                <a:rPr lang="bg-BG" sz="1600" dirty="0">
                  <a:solidFill>
                    <a:srgbClr val="093E70"/>
                  </a:solidFill>
                  <a:latin typeface="Montserrat" pitchFamily="2" charset="-52"/>
                </a:rPr>
                <a:t>Сключване на сделки от управителните органи;</a:t>
              </a:r>
            </a:p>
          </p:txBody>
        </p:sp>
        <p:sp>
          <p:nvSpPr>
            <p:cNvPr id="35" name="Rectangle 34"/>
            <p:cNvSpPr/>
            <p:nvPr/>
          </p:nvSpPr>
          <p:spPr>
            <a:xfrm>
              <a:off x="6860440" y="5612009"/>
              <a:ext cx="4604146" cy="365801"/>
            </a:xfrm>
            <a:prstGeom prst="rect">
              <a:avLst/>
            </a:prstGeom>
          </p:spPr>
          <p:txBody>
            <a:bodyPr wrap="none">
              <a:spAutoFit/>
            </a:bodyPr>
            <a:lstStyle/>
            <a:p>
              <a:r>
                <a:rPr lang="bg-BG" sz="1600" dirty="0">
                  <a:solidFill>
                    <a:srgbClr val="093E70"/>
                  </a:solidFill>
                  <a:latin typeface="Montserrat" pitchFamily="2" charset="-52"/>
                </a:rPr>
                <a:t>Разкриване на регулирана информация</a:t>
              </a:r>
              <a:r>
                <a:rPr lang="en-US" sz="1600" dirty="0">
                  <a:solidFill>
                    <a:srgbClr val="093E70"/>
                  </a:solidFill>
                  <a:latin typeface="Montserrat" pitchFamily="2" charset="-52"/>
                </a:rPr>
                <a:t>;</a:t>
              </a:r>
              <a:endParaRPr lang="bg-BG" sz="1600" dirty="0"/>
            </a:p>
          </p:txBody>
        </p:sp>
        <p:sp>
          <p:nvSpPr>
            <p:cNvPr id="36" name="Rectangle 35"/>
            <p:cNvSpPr/>
            <p:nvPr/>
          </p:nvSpPr>
          <p:spPr>
            <a:xfrm>
              <a:off x="6627178" y="6382986"/>
              <a:ext cx="4804200" cy="365801"/>
            </a:xfrm>
            <a:prstGeom prst="rect">
              <a:avLst/>
            </a:prstGeom>
          </p:spPr>
          <p:txBody>
            <a:bodyPr wrap="none">
              <a:spAutoFit/>
            </a:bodyPr>
            <a:lstStyle/>
            <a:p>
              <a:pPr marL="442912" lvl="0" algn="just"/>
              <a:r>
                <a:rPr lang="bg-BG" sz="1600" dirty="0">
                  <a:solidFill>
                    <a:srgbClr val="093E70"/>
                  </a:solidFill>
                  <a:latin typeface="Montserrat" pitchFamily="2" charset="-52"/>
                </a:rPr>
                <a:t>Разкриване на вътрешна информация</a:t>
              </a:r>
              <a:r>
                <a:rPr lang="en-US" sz="1600" dirty="0">
                  <a:solidFill>
                    <a:srgbClr val="093E70"/>
                  </a:solidFill>
                  <a:latin typeface="Montserrat" pitchFamily="2" charset="-52"/>
                </a:rPr>
                <a:t>.</a:t>
              </a:r>
              <a:endParaRPr lang="bg-BG" sz="1600" dirty="0">
                <a:solidFill>
                  <a:srgbClr val="093E70"/>
                </a:solidFill>
                <a:latin typeface="Montserrat" pitchFamily="2" charset="-52"/>
              </a:endParaRPr>
            </a:p>
          </p:txBody>
        </p:sp>
        <p:sp>
          <p:nvSpPr>
            <p:cNvPr id="37" name="Rectangle 36"/>
            <p:cNvSpPr/>
            <p:nvPr/>
          </p:nvSpPr>
          <p:spPr>
            <a:xfrm>
              <a:off x="7008967" y="3351314"/>
              <a:ext cx="4123245" cy="584775"/>
            </a:xfrm>
            <a:prstGeom prst="rect">
              <a:avLst/>
            </a:prstGeom>
          </p:spPr>
          <p:txBody>
            <a:bodyPr wrap="none">
              <a:spAutoFit/>
            </a:bodyPr>
            <a:lstStyle/>
            <a:p>
              <a:pPr algn="ctr"/>
              <a:r>
                <a:rPr lang="bg-BG" sz="1600" b="1" dirty="0">
                  <a:solidFill>
                    <a:srgbClr val="093E70"/>
                  </a:solidFill>
                  <a:latin typeface="Montserrat" pitchFamily="2" charset="-52"/>
                </a:rPr>
                <a:t>ЗАЩИТА ПРАВАТА НА </a:t>
              </a:r>
            </a:p>
            <a:p>
              <a:pPr algn="ctr"/>
              <a:r>
                <a:rPr lang="bg-BG" sz="1600" b="1" dirty="0">
                  <a:solidFill>
                    <a:srgbClr val="093E70"/>
                  </a:solidFill>
                  <a:latin typeface="Montserrat" pitchFamily="2" charset="-52"/>
                </a:rPr>
                <a:t>ИНВЕСТИТОРИТЕ И АКЦИОНЕРИТЕ </a:t>
              </a:r>
              <a:endParaRPr lang="bg-BG" sz="1600" b="1" dirty="0"/>
            </a:p>
          </p:txBody>
        </p:sp>
      </p:grpSp>
      <p:sp>
        <p:nvSpPr>
          <p:cNvPr id="38" name="Rectangle 37"/>
          <p:cNvSpPr/>
          <p:nvPr/>
        </p:nvSpPr>
        <p:spPr>
          <a:xfrm>
            <a:off x="730961" y="4283832"/>
            <a:ext cx="4850673" cy="1246495"/>
          </a:xfrm>
          <a:prstGeom prst="rect">
            <a:avLst/>
          </a:prstGeom>
        </p:spPr>
        <p:txBody>
          <a:bodyPr wrap="square">
            <a:spAutoFit/>
          </a:bodyPr>
          <a:lstStyle/>
          <a:p>
            <a:r>
              <a:rPr lang="bg-BG" sz="1500" dirty="0">
                <a:solidFill>
                  <a:srgbClr val="093E70"/>
                </a:solidFill>
                <a:latin typeface="Montserrat" pitchFamily="2" charset="-52"/>
              </a:rPr>
              <a:t>Публичните дружества са длъжни да разкриват публично информация, относно своето финансово-икономическо и правно състояние, допълнена по обем спрямо дължимата от обикновените АД. </a:t>
            </a:r>
          </a:p>
        </p:txBody>
      </p:sp>
      <p:pic>
        <p:nvPicPr>
          <p:cNvPr id="46" name="Picture 2" descr="check mark icon. 18888319 PNG">
            <a:extLst>
              <a:ext uri="{FF2B5EF4-FFF2-40B4-BE49-F238E27FC236}">
                <a16:creationId xmlns:a16="http://schemas.microsoft.com/office/drawing/2014/main" id="{498B34BA-FA3E-5524-DD73-09C5C64C1967}"/>
              </a:ext>
            </a:extLst>
          </p:cNvPr>
          <p:cNvPicPr>
            <a:picLocks noChangeAspect="1" noChangeArrowheads="1"/>
          </p:cNvPicPr>
          <p:nvPr/>
        </p:nvPicPr>
        <p:blipFill>
          <a:blip r:embed="rId5"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276706" y="2220229"/>
            <a:ext cx="454255" cy="454255"/>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check mark icon. 18888319 PNG">
            <a:extLst>
              <a:ext uri="{FF2B5EF4-FFF2-40B4-BE49-F238E27FC236}">
                <a16:creationId xmlns:a16="http://schemas.microsoft.com/office/drawing/2014/main" id="{498B34BA-FA3E-5524-DD73-09C5C64C1967}"/>
              </a:ext>
            </a:extLst>
          </p:cNvPr>
          <p:cNvPicPr>
            <a:picLocks noChangeAspect="1" noChangeArrowheads="1"/>
          </p:cNvPicPr>
          <p:nvPr/>
        </p:nvPicPr>
        <p:blipFill>
          <a:blip r:embed="rId5"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278925" y="4300348"/>
            <a:ext cx="454255" cy="454255"/>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131552" y="6292745"/>
            <a:ext cx="1876472" cy="361108"/>
          </a:xfrm>
          <a:prstGeom prst="rect">
            <a:avLst/>
          </a:prstGeom>
        </p:spPr>
      </p:pic>
    </p:spTree>
    <p:extLst>
      <p:ext uri="{BB962C8B-B14F-4D97-AF65-F5344CB8AC3E}">
        <p14:creationId xmlns:p14="http://schemas.microsoft.com/office/powerpoint/2010/main" val="197144992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0800000">
            <a:off x="-4" y="0"/>
            <a:ext cx="12192003" cy="6858000"/>
          </a:xfrm>
          <a:prstGeom prst="rect">
            <a:avLst/>
          </a:prstGeom>
        </p:spPr>
      </p:pic>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t="35327" b="35532"/>
          <a:stretch/>
        </p:blipFill>
        <p:spPr>
          <a:xfrm>
            <a:off x="0" y="0"/>
            <a:ext cx="12192000" cy="1715678"/>
          </a:xfrm>
          <a:prstGeom prst="rect">
            <a:avLst/>
          </a:prstGeom>
        </p:spPr>
      </p:pic>
      <p:sp>
        <p:nvSpPr>
          <p:cNvPr id="5" name="TextBox 4"/>
          <p:cNvSpPr txBox="1"/>
          <p:nvPr/>
        </p:nvSpPr>
        <p:spPr>
          <a:xfrm>
            <a:off x="338540" y="247882"/>
            <a:ext cx="9531323" cy="830997"/>
          </a:xfrm>
          <a:prstGeom prst="rect">
            <a:avLst/>
          </a:prstGeom>
          <a:noFill/>
        </p:spPr>
        <p:txBody>
          <a:bodyPr wrap="square" rtlCol="0">
            <a:spAutoFit/>
          </a:bodyPr>
          <a:lstStyle/>
          <a:p>
            <a:r>
              <a:rPr lang="en-US" sz="2400" dirty="0">
                <a:solidFill>
                  <a:schemeClr val="bg1"/>
                </a:solidFill>
                <a:latin typeface="Montserrat Black" pitchFamily="2" charset="-52"/>
              </a:rPr>
              <a:t>III. </a:t>
            </a:r>
            <a:r>
              <a:rPr lang="ru-RU" sz="2400" dirty="0">
                <a:solidFill>
                  <a:schemeClr val="bg1"/>
                </a:solidFill>
                <a:latin typeface="Montserrat Black" pitchFamily="2" charset="-52"/>
              </a:rPr>
              <a:t>ПОСЛЕДВАЩИ ИЗИСКВАНИЯ ЗА РАЗКРИВАНЕ НА ИНФОРМАЦИЯ </a:t>
            </a:r>
            <a:r>
              <a:rPr lang="en-US" sz="2400" dirty="0">
                <a:solidFill>
                  <a:schemeClr val="bg1"/>
                </a:solidFill>
                <a:latin typeface="Montserrat Black" pitchFamily="2" charset="-52"/>
              </a:rPr>
              <a:t>– </a:t>
            </a:r>
            <a:r>
              <a:rPr lang="bg-BG" sz="2400" dirty="0">
                <a:solidFill>
                  <a:schemeClr val="bg1"/>
                </a:solidFill>
                <a:latin typeface="Montserrat Black" pitchFamily="2" charset="-52"/>
              </a:rPr>
              <a:t>ДИГИТАЛИЗАЦИЯ НА ПАЗАРА</a:t>
            </a:r>
          </a:p>
        </p:txBody>
      </p:sp>
      <p:sp>
        <p:nvSpPr>
          <p:cNvPr id="8" name="TextBox 7"/>
          <p:cNvSpPr txBox="1"/>
          <p:nvPr/>
        </p:nvSpPr>
        <p:spPr>
          <a:xfrm>
            <a:off x="338540" y="1032712"/>
            <a:ext cx="9192785" cy="369332"/>
          </a:xfrm>
          <a:prstGeom prst="rect">
            <a:avLst/>
          </a:prstGeom>
          <a:noFill/>
        </p:spPr>
        <p:txBody>
          <a:bodyPr wrap="square" rtlCol="0">
            <a:spAutoFit/>
          </a:bodyPr>
          <a:lstStyle/>
          <a:p>
            <a:r>
              <a:rPr lang="ru-RU" dirty="0" err="1">
                <a:solidFill>
                  <a:schemeClr val="bg1"/>
                </a:solidFill>
                <a:latin typeface="Montserrat" pitchFamily="2" charset="-52"/>
              </a:rPr>
              <a:t>Възможност</a:t>
            </a:r>
            <a:r>
              <a:rPr lang="ru-RU" dirty="0">
                <a:solidFill>
                  <a:schemeClr val="bg1"/>
                </a:solidFill>
                <a:latin typeface="Montserrat" pitchFamily="2" charset="-52"/>
              </a:rPr>
              <a:t> за </a:t>
            </a:r>
            <a:r>
              <a:rPr lang="ru-RU" dirty="0" err="1">
                <a:solidFill>
                  <a:schemeClr val="bg1"/>
                </a:solidFill>
                <a:latin typeface="Montserrat" pitchFamily="2" charset="-52"/>
              </a:rPr>
              <a:t>използване</a:t>
            </a:r>
            <a:r>
              <a:rPr lang="ru-RU" dirty="0">
                <a:solidFill>
                  <a:schemeClr val="bg1"/>
                </a:solidFill>
                <a:latin typeface="Montserrat" pitchFamily="2" charset="-52"/>
              </a:rPr>
              <a:t> на </a:t>
            </a:r>
            <a:r>
              <a:rPr lang="ru-RU" dirty="0" err="1">
                <a:solidFill>
                  <a:schemeClr val="bg1"/>
                </a:solidFill>
                <a:latin typeface="Montserrat" pitchFamily="2" charset="-52"/>
              </a:rPr>
              <a:t>електронни</a:t>
            </a:r>
            <a:r>
              <a:rPr lang="ru-RU" dirty="0">
                <a:solidFill>
                  <a:schemeClr val="bg1"/>
                </a:solidFill>
                <a:latin typeface="Montserrat" pitchFamily="2" charset="-52"/>
              </a:rPr>
              <a:t> средства </a:t>
            </a:r>
            <a:endParaRPr lang="bg-BG" dirty="0">
              <a:solidFill>
                <a:schemeClr val="bg1"/>
              </a:solidFill>
              <a:latin typeface="Montserrat" pitchFamily="2" charset="-52"/>
            </a:endParaRPr>
          </a:p>
        </p:txBody>
      </p:sp>
      <p:sp>
        <p:nvSpPr>
          <p:cNvPr id="4" name="Rectangle 3"/>
          <p:cNvSpPr/>
          <p:nvPr/>
        </p:nvSpPr>
        <p:spPr>
          <a:xfrm>
            <a:off x="1648012" y="2034461"/>
            <a:ext cx="9041284" cy="1077218"/>
          </a:xfrm>
          <a:prstGeom prst="rect">
            <a:avLst/>
          </a:prstGeom>
        </p:spPr>
        <p:txBody>
          <a:bodyPr wrap="square">
            <a:spAutoFit/>
          </a:bodyPr>
          <a:lstStyle/>
          <a:p>
            <a:pPr algn="just"/>
            <a:r>
              <a:rPr lang="ru-RU" sz="1600" dirty="0" err="1">
                <a:solidFill>
                  <a:srgbClr val="093E70"/>
                </a:solidFill>
                <a:latin typeface="Montserrat" pitchFamily="2" charset="-52"/>
              </a:rPr>
              <a:t>Законодателят</a:t>
            </a:r>
            <a:r>
              <a:rPr lang="ru-RU" sz="1600" dirty="0">
                <a:solidFill>
                  <a:srgbClr val="093E70"/>
                </a:solidFill>
                <a:latin typeface="Montserrat" pitchFamily="2" charset="-52"/>
              </a:rPr>
              <a:t> е </a:t>
            </a:r>
            <a:r>
              <a:rPr lang="ru-RU" sz="1600" dirty="0" err="1">
                <a:solidFill>
                  <a:srgbClr val="093E70"/>
                </a:solidFill>
                <a:latin typeface="Montserrat" pitchFamily="2" charset="-52"/>
              </a:rPr>
              <a:t>допуснал</a:t>
            </a:r>
            <a:r>
              <a:rPr lang="ru-RU" sz="1600" dirty="0">
                <a:solidFill>
                  <a:srgbClr val="093E70"/>
                </a:solidFill>
                <a:latin typeface="Montserrat" pitchFamily="2" charset="-52"/>
              </a:rPr>
              <a:t> </a:t>
            </a:r>
            <a:r>
              <a:rPr lang="ru-RU" sz="1600" dirty="0" err="1">
                <a:solidFill>
                  <a:srgbClr val="093E70"/>
                </a:solidFill>
                <a:latin typeface="Montserrat" pitchFamily="2" charset="-52"/>
              </a:rPr>
              <a:t>възможност</a:t>
            </a:r>
            <a:r>
              <a:rPr lang="ru-RU" sz="1600" dirty="0">
                <a:solidFill>
                  <a:srgbClr val="093E70"/>
                </a:solidFill>
                <a:latin typeface="Montserrat" pitchFamily="2" charset="-52"/>
              </a:rPr>
              <a:t>, ПД да </a:t>
            </a:r>
            <a:r>
              <a:rPr lang="ru-RU" sz="1600" dirty="0" err="1">
                <a:solidFill>
                  <a:srgbClr val="093E70"/>
                </a:solidFill>
                <a:latin typeface="Montserrat" pitchFamily="2" charset="-52"/>
              </a:rPr>
              <a:t>предвиди</a:t>
            </a:r>
            <a:r>
              <a:rPr lang="ru-RU" sz="1600" dirty="0">
                <a:solidFill>
                  <a:srgbClr val="093E70"/>
                </a:solidFill>
                <a:latin typeface="Montserrat" pitchFamily="2" charset="-52"/>
              </a:rPr>
              <a:t> в своя устав и/или в </a:t>
            </a:r>
            <a:r>
              <a:rPr lang="ru-RU" sz="1600" dirty="0" err="1">
                <a:solidFill>
                  <a:srgbClr val="093E70"/>
                </a:solidFill>
                <a:latin typeface="Montserrat" pitchFamily="2" charset="-52"/>
              </a:rPr>
              <a:t>поканата</a:t>
            </a:r>
            <a:r>
              <a:rPr lang="ru-RU" sz="1600" dirty="0">
                <a:solidFill>
                  <a:srgbClr val="093E70"/>
                </a:solidFill>
                <a:latin typeface="Montserrat" pitchFamily="2" charset="-52"/>
              </a:rPr>
              <a:t> за </a:t>
            </a:r>
            <a:r>
              <a:rPr lang="ru-RU" sz="1600" dirty="0" err="1">
                <a:solidFill>
                  <a:srgbClr val="093E70"/>
                </a:solidFill>
                <a:latin typeface="Montserrat" pitchFamily="2" charset="-52"/>
              </a:rPr>
              <a:t>свикване</a:t>
            </a:r>
            <a:r>
              <a:rPr lang="ru-RU" sz="1600" dirty="0">
                <a:solidFill>
                  <a:srgbClr val="093E70"/>
                </a:solidFill>
                <a:latin typeface="Montserrat" pitchFamily="2" charset="-52"/>
              </a:rPr>
              <a:t> на </a:t>
            </a:r>
            <a:r>
              <a:rPr lang="ru-RU" sz="1600" dirty="0" err="1">
                <a:solidFill>
                  <a:srgbClr val="093E70"/>
                </a:solidFill>
                <a:latin typeface="Montserrat" pitchFamily="2" charset="-52"/>
              </a:rPr>
              <a:t>общото</a:t>
            </a:r>
            <a:r>
              <a:rPr lang="ru-RU" sz="1600" dirty="0">
                <a:solidFill>
                  <a:srgbClr val="093E70"/>
                </a:solidFill>
                <a:latin typeface="Montserrat" pitchFamily="2" charset="-52"/>
              </a:rPr>
              <a:t> </a:t>
            </a:r>
            <a:r>
              <a:rPr lang="ru-RU" sz="1600" dirty="0" err="1">
                <a:solidFill>
                  <a:srgbClr val="093E70"/>
                </a:solidFill>
                <a:latin typeface="Montserrat" pitchFamily="2" charset="-52"/>
              </a:rPr>
              <a:t>събрание</a:t>
            </a:r>
            <a:r>
              <a:rPr lang="ru-RU" sz="1600" dirty="0">
                <a:solidFill>
                  <a:srgbClr val="093E70"/>
                </a:solidFill>
                <a:latin typeface="Montserrat" pitchFamily="2" charset="-52"/>
              </a:rPr>
              <a:t>, то да се </a:t>
            </a:r>
            <a:r>
              <a:rPr lang="ru-RU" sz="1600" dirty="0" err="1">
                <a:solidFill>
                  <a:srgbClr val="093E70"/>
                </a:solidFill>
                <a:latin typeface="Montserrat" pitchFamily="2" charset="-52"/>
              </a:rPr>
              <a:t>провежда</a:t>
            </a:r>
            <a:r>
              <a:rPr lang="ru-RU" sz="1600" dirty="0">
                <a:solidFill>
                  <a:srgbClr val="093E70"/>
                </a:solidFill>
                <a:latin typeface="Montserrat" pitchFamily="2" charset="-52"/>
              </a:rPr>
              <a:t> чрез </a:t>
            </a:r>
            <a:r>
              <a:rPr lang="ru-RU" sz="1600" dirty="0" err="1">
                <a:solidFill>
                  <a:srgbClr val="093E70"/>
                </a:solidFill>
                <a:latin typeface="Montserrat" pitchFamily="2" charset="-52"/>
              </a:rPr>
              <a:t>използване</a:t>
            </a:r>
            <a:r>
              <a:rPr lang="ru-RU" sz="1600" dirty="0">
                <a:solidFill>
                  <a:srgbClr val="093E70"/>
                </a:solidFill>
                <a:latin typeface="Montserrat" pitchFamily="2" charset="-52"/>
              </a:rPr>
              <a:t> на </a:t>
            </a:r>
            <a:r>
              <a:rPr lang="ru-RU" sz="1600" dirty="0" err="1">
                <a:solidFill>
                  <a:srgbClr val="093E70"/>
                </a:solidFill>
                <a:latin typeface="Montserrat" pitchFamily="2" charset="-52"/>
              </a:rPr>
              <a:t>електронни</a:t>
            </a:r>
            <a:r>
              <a:rPr lang="ru-RU" sz="1600" dirty="0">
                <a:solidFill>
                  <a:srgbClr val="093E70"/>
                </a:solidFill>
                <a:latin typeface="Montserrat" pitchFamily="2" charset="-52"/>
              </a:rPr>
              <a:t> средства, посредством </a:t>
            </a:r>
            <a:r>
              <a:rPr lang="ru-RU" sz="1600" dirty="0" err="1">
                <a:solidFill>
                  <a:srgbClr val="093E70"/>
                </a:solidFill>
                <a:latin typeface="Montserrat" pitchFamily="2" charset="-52"/>
              </a:rPr>
              <a:t>една</a:t>
            </a:r>
            <a:r>
              <a:rPr lang="ru-RU" sz="1600" dirty="0">
                <a:solidFill>
                  <a:srgbClr val="093E70"/>
                </a:solidFill>
                <a:latin typeface="Montserrat" pitchFamily="2" charset="-52"/>
              </a:rPr>
              <a:t> или </a:t>
            </a:r>
            <a:r>
              <a:rPr lang="ru-RU" sz="1600" dirty="0" err="1">
                <a:solidFill>
                  <a:srgbClr val="093E70"/>
                </a:solidFill>
                <a:latin typeface="Montserrat" pitchFamily="2" charset="-52"/>
              </a:rPr>
              <a:t>повече</a:t>
            </a:r>
            <a:r>
              <a:rPr lang="ru-RU" sz="1600" dirty="0">
                <a:solidFill>
                  <a:srgbClr val="093E70"/>
                </a:solidFill>
                <a:latin typeface="Montserrat" pitchFamily="2" charset="-52"/>
              </a:rPr>
              <a:t> от </a:t>
            </a:r>
            <a:r>
              <a:rPr lang="ru-RU" sz="1600" dirty="0" err="1">
                <a:solidFill>
                  <a:srgbClr val="093E70"/>
                </a:solidFill>
                <a:latin typeface="Montserrat" pitchFamily="2" charset="-52"/>
              </a:rPr>
              <a:t>следните</a:t>
            </a:r>
            <a:r>
              <a:rPr lang="ru-RU" sz="1600" dirty="0">
                <a:solidFill>
                  <a:srgbClr val="093E70"/>
                </a:solidFill>
                <a:latin typeface="Montserrat" pitchFamily="2" charset="-52"/>
              </a:rPr>
              <a:t> </a:t>
            </a:r>
            <a:r>
              <a:rPr lang="ru-RU" sz="1600" dirty="0" err="1">
                <a:solidFill>
                  <a:srgbClr val="093E70"/>
                </a:solidFill>
                <a:latin typeface="Montserrat" pitchFamily="2" charset="-52"/>
              </a:rPr>
              <a:t>форми</a:t>
            </a:r>
            <a:r>
              <a:rPr lang="ru-RU" sz="1600" dirty="0">
                <a:solidFill>
                  <a:srgbClr val="093E70"/>
                </a:solidFill>
                <a:latin typeface="Montserrat" pitchFamily="2" charset="-52"/>
              </a:rPr>
              <a:t>:</a:t>
            </a:r>
          </a:p>
          <a:p>
            <a:pPr algn="just"/>
            <a:endParaRPr lang="ru-RU" sz="1600" dirty="0">
              <a:solidFill>
                <a:srgbClr val="093E70"/>
              </a:solidFill>
              <a:latin typeface="Montserrat" pitchFamily="2" charset="-52"/>
            </a:endParaRPr>
          </a:p>
        </p:txBody>
      </p:sp>
      <p:grpSp>
        <p:nvGrpSpPr>
          <p:cNvPr id="12" name="Group 11">
            <a:extLst>
              <a:ext uri="{FF2B5EF4-FFF2-40B4-BE49-F238E27FC236}">
                <a16:creationId xmlns:a16="http://schemas.microsoft.com/office/drawing/2014/main" id="{8E21D796-730E-B377-2E56-8AFF60F7AEB0}"/>
              </a:ext>
            </a:extLst>
          </p:cNvPr>
          <p:cNvGrpSpPr/>
          <p:nvPr/>
        </p:nvGrpSpPr>
        <p:grpSpPr>
          <a:xfrm>
            <a:off x="1497799" y="3139535"/>
            <a:ext cx="9140412" cy="825591"/>
            <a:chOff x="1438152" y="2408876"/>
            <a:chExt cx="9140412" cy="825591"/>
          </a:xfrm>
        </p:grpSpPr>
        <p:grpSp>
          <p:nvGrpSpPr>
            <p:cNvPr id="14" name="Group 13">
              <a:extLst>
                <a:ext uri="{FF2B5EF4-FFF2-40B4-BE49-F238E27FC236}">
                  <a16:creationId xmlns:a16="http://schemas.microsoft.com/office/drawing/2014/main" id="{0482D4E3-DC62-5E5C-BDD5-8FB76DFDD3BC}"/>
                </a:ext>
              </a:extLst>
            </p:cNvPr>
            <p:cNvGrpSpPr/>
            <p:nvPr/>
          </p:nvGrpSpPr>
          <p:grpSpPr>
            <a:xfrm>
              <a:off x="1438152" y="2408876"/>
              <a:ext cx="9140412" cy="825591"/>
              <a:chOff x="1641144" y="2121508"/>
              <a:chExt cx="9066480" cy="1550813"/>
            </a:xfrm>
          </p:grpSpPr>
          <p:grpSp>
            <p:nvGrpSpPr>
              <p:cNvPr id="16" name="Group 15">
                <a:extLst>
                  <a:ext uri="{FF2B5EF4-FFF2-40B4-BE49-F238E27FC236}">
                    <a16:creationId xmlns:a16="http://schemas.microsoft.com/office/drawing/2014/main" id="{BE68A511-72C8-6AF3-0C99-64EB93F9BB77}"/>
                  </a:ext>
                </a:extLst>
              </p:cNvPr>
              <p:cNvGrpSpPr/>
              <p:nvPr/>
            </p:nvGrpSpPr>
            <p:grpSpPr>
              <a:xfrm>
                <a:off x="2385300" y="2121508"/>
                <a:ext cx="8322324" cy="1550813"/>
                <a:chOff x="4467935" y="4813035"/>
                <a:chExt cx="8322324" cy="1110781"/>
              </a:xfrm>
            </p:grpSpPr>
            <p:sp>
              <p:nvSpPr>
                <p:cNvPr id="19" name="Pentagon 19">
                  <a:extLst>
                    <a:ext uri="{FF2B5EF4-FFF2-40B4-BE49-F238E27FC236}">
                      <a16:creationId xmlns:a16="http://schemas.microsoft.com/office/drawing/2014/main" id="{DB528595-5E15-1643-C9BB-B4A106265726}"/>
                    </a:ext>
                  </a:extLst>
                </p:cNvPr>
                <p:cNvSpPr/>
                <p:nvPr/>
              </p:nvSpPr>
              <p:spPr>
                <a:xfrm>
                  <a:off x="5247672" y="4978352"/>
                  <a:ext cx="7542587" cy="945464"/>
                </a:xfrm>
                <a:prstGeom prst="homePlate">
                  <a:avLst>
                    <a:gd name="adj" fmla="val 0"/>
                  </a:avLst>
                </a:prstGeom>
                <a:solidFill>
                  <a:srgbClr val="09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0" name="Pentagon 20">
                  <a:extLst>
                    <a:ext uri="{FF2B5EF4-FFF2-40B4-BE49-F238E27FC236}">
                      <a16:creationId xmlns:a16="http://schemas.microsoft.com/office/drawing/2014/main" id="{D2F8F3AB-D82B-F630-49DF-36C1B1758DA1}"/>
                    </a:ext>
                  </a:extLst>
                </p:cNvPr>
                <p:cNvSpPr/>
                <p:nvPr/>
              </p:nvSpPr>
              <p:spPr>
                <a:xfrm rot="10800000">
                  <a:off x="4467935" y="4813035"/>
                  <a:ext cx="968673" cy="934245"/>
                </a:xfrm>
                <a:prstGeom prst="homePlate">
                  <a:avLst/>
                </a:prstGeom>
                <a:solidFill>
                  <a:srgbClr val="0C4F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dirty="0"/>
                </a:p>
              </p:txBody>
            </p:sp>
            <p:sp>
              <p:nvSpPr>
                <p:cNvPr id="21" name="Right Triangle 20">
                  <a:extLst>
                    <a:ext uri="{FF2B5EF4-FFF2-40B4-BE49-F238E27FC236}">
                      <a16:creationId xmlns:a16="http://schemas.microsoft.com/office/drawing/2014/main" id="{37CB983C-3625-F645-1E50-9F2860784EFC}"/>
                    </a:ext>
                  </a:extLst>
                </p:cNvPr>
                <p:cNvSpPr/>
                <p:nvPr/>
              </p:nvSpPr>
              <p:spPr>
                <a:xfrm rot="10800000" flipH="1">
                  <a:off x="5251354" y="5746785"/>
                  <a:ext cx="190930" cy="166414"/>
                </a:xfrm>
                <a:prstGeom prst="rtTriangle">
                  <a:avLst/>
                </a:prstGeom>
                <a:solidFill>
                  <a:srgbClr val="093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sp>
            <p:nvSpPr>
              <p:cNvPr id="17" name="Rectangle 16">
                <a:extLst>
                  <a:ext uri="{FF2B5EF4-FFF2-40B4-BE49-F238E27FC236}">
                    <a16:creationId xmlns:a16="http://schemas.microsoft.com/office/drawing/2014/main" id="{DA36801C-0EA5-E0F6-B4E8-77BADE514795}"/>
                  </a:ext>
                </a:extLst>
              </p:cNvPr>
              <p:cNvSpPr/>
              <p:nvPr/>
            </p:nvSpPr>
            <p:spPr>
              <a:xfrm>
                <a:off x="3474720" y="2491085"/>
                <a:ext cx="7104888" cy="635949"/>
              </a:xfrm>
              <a:prstGeom prst="rect">
                <a:avLst/>
              </a:prstGeom>
            </p:spPr>
            <p:txBody>
              <a:bodyPr wrap="square">
                <a:spAutoFit/>
              </a:bodyPr>
              <a:lstStyle/>
              <a:p>
                <a:pPr algn="just"/>
                <a:endParaRPr lang="bg-BG" sz="1600" dirty="0">
                  <a:solidFill>
                    <a:schemeClr val="bg1"/>
                  </a:solidFill>
                  <a:latin typeface="Montserrat" pitchFamily="2" charset="-52"/>
                </a:endParaRPr>
              </a:p>
            </p:txBody>
          </p:sp>
          <p:sp>
            <p:nvSpPr>
              <p:cNvPr id="18" name="Rectangle 17">
                <a:extLst>
                  <a:ext uri="{FF2B5EF4-FFF2-40B4-BE49-F238E27FC236}">
                    <a16:creationId xmlns:a16="http://schemas.microsoft.com/office/drawing/2014/main" id="{C6E21E23-5D28-384C-E1CB-E777B2FC535E}"/>
                  </a:ext>
                </a:extLst>
              </p:cNvPr>
              <p:cNvSpPr/>
              <p:nvPr/>
            </p:nvSpPr>
            <p:spPr>
              <a:xfrm>
                <a:off x="1641144" y="2566829"/>
                <a:ext cx="183237" cy="693763"/>
              </a:xfrm>
              <a:prstGeom prst="rect">
                <a:avLst/>
              </a:prstGeom>
            </p:spPr>
            <p:txBody>
              <a:bodyPr wrap="none">
                <a:spAutoFit/>
              </a:bodyPr>
              <a:lstStyle/>
              <a:p>
                <a:endParaRPr lang="bg-BG" dirty="0">
                  <a:latin typeface="Montserrat ExtraBold" panose="00000900000000000000" pitchFamily="50" charset="-52"/>
                </a:endParaRPr>
              </a:p>
            </p:txBody>
          </p:sp>
        </p:grpSp>
        <p:sp>
          <p:nvSpPr>
            <p:cNvPr id="15" name="TextBox 14">
              <a:extLst>
                <a:ext uri="{FF2B5EF4-FFF2-40B4-BE49-F238E27FC236}">
                  <a16:creationId xmlns:a16="http://schemas.microsoft.com/office/drawing/2014/main" id="{96349F3F-A838-458A-B24D-261B93075F74}"/>
                </a:ext>
              </a:extLst>
            </p:cNvPr>
            <p:cNvSpPr txBox="1"/>
            <p:nvPr/>
          </p:nvSpPr>
          <p:spPr>
            <a:xfrm>
              <a:off x="3293205" y="2697145"/>
              <a:ext cx="6094428" cy="323165"/>
            </a:xfrm>
            <a:prstGeom prst="rect">
              <a:avLst/>
            </a:prstGeom>
            <a:noFill/>
          </p:spPr>
          <p:txBody>
            <a:bodyPr wrap="square">
              <a:spAutoFit/>
            </a:bodyPr>
            <a:lstStyle/>
            <a:p>
              <a:pPr algn="just"/>
              <a:r>
                <a:rPr lang="ru-RU" sz="1500" dirty="0" err="1">
                  <a:solidFill>
                    <a:schemeClr val="bg1"/>
                  </a:solidFill>
                  <a:latin typeface="Montserrat" pitchFamily="2" charset="-52"/>
                </a:rPr>
                <a:t>предаване</a:t>
              </a:r>
              <a:r>
                <a:rPr lang="ru-RU" sz="1500" dirty="0">
                  <a:solidFill>
                    <a:schemeClr val="bg1"/>
                  </a:solidFill>
                  <a:latin typeface="Montserrat" pitchFamily="2" charset="-52"/>
                </a:rPr>
                <a:t> в </a:t>
              </a:r>
              <a:r>
                <a:rPr lang="ru-RU" sz="1500" dirty="0" err="1">
                  <a:solidFill>
                    <a:schemeClr val="bg1"/>
                  </a:solidFill>
                  <a:latin typeface="Montserrat" pitchFamily="2" charset="-52"/>
                </a:rPr>
                <a:t>реално</a:t>
              </a:r>
              <a:r>
                <a:rPr lang="ru-RU" sz="1500" dirty="0">
                  <a:solidFill>
                    <a:schemeClr val="bg1"/>
                  </a:solidFill>
                  <a:latin typeface="Montserrat" pitchFamily="2" charset="-52"/>
                </a:rPr>
                <a:t> </a:t>
              </a:r>
              <a:r>
                <a:rPr lang="ru-RU" sz="1500" dirty="0" err="1">
                  <a:solidFill>
                    <a:schemeClr val="bg1"/>
                  </a:solidFill>
                  <a:latin typeface="Montserrat" pitchFamily="2" charset="-52"/>
                </a:rPr>
                <a:t>време</a:t>
              </a:r>
              <a:r>
                <a:rPr lang="ru-RU" sz="1500" dirty="0">
                  <a:solidFill>
                    <a:schemeClr val="bg1"/>
                  </a:solidFill>
                  <a:latin typeface="Montserrat" pitchFamily="2" charset="-52"/>
                </a:rPr>
                <a:t> на </a:t>
              </a:r>
              <a:r>
                <a:rPr lang="ru-RU" sz="1500" dirty="0" err="1">
                  <a:solidFill>
                    <a:schemeClr val="bg1"/>
                  </a:solidFill>
                  <a:latin typeface="Montserrat" pitchFamily="2" charset="-52"/>
                </a:rPr>
                <a:t>общото</a:t>
              </a:r>
              <a:r>
                <a:rPr lang="ru-RU" sz="1500" dirty="0">
                  <a:solidFill>
                    <a:schemeClr val="bg1"/>
                  </a:solidFill>
                  <a:latin typeface="Montserrat" pitchFamily="2" charset="-52"/>
                </a:rPr>
                <a:t> </a:t>
              </a:r>
              <a:r>
                <a:rPr lang="ru-RU" sz="1500" dirty="0" err="1">
                  <a:solidFill>
                    <a:schemeClr val="bg1"/>
                  </a:solidFill>
                  <a:latin typeface="Montserrat" pitchFamily="2" charset="-52"/>
                </a:rPr>
                <a:t>събрание</a:t>
              </a:r>
              <a:r>
                <a:rPr lang="ru-RU" sz="1500" dirty="0">
                  <a:solidFill>
                    <a:schemeClr val="bg1"/>
                  </a:solidFill>
                  <a:latin typeface="Montserrat" pitchFamily="2" charset="-52"/>
                </a:rPr>
                <a:t>;</a:t>
              </a:r>
            </a:p>
          </p:txBody>
        </p:sp>
      </p:grpSp>
      <p:grpSp>
        <p:nvGrpSpPr>
          <p:cNvPr id="22" name="Group 21">
            <a:extLst>
              <a:ext uri="{FF2B5EF4-FFF2-40B4-BE49-F238E27FC236}">
                <a16:creationId xmlns:a16="http://schemas.microsoft.com/office/drawing/2014/main" id="{FFBD53F5-D5EA-E9F5-FFF7-E79F57915E5E}"/>
              </a:ext>
            </a:extLst>
          </p:cNvPr>
          <p:cNvGrpSpPr/>
          <p:nvPr/>
        </p:nvGrpSpPr>
        <p:grpSpPr>
          <a:xfrm>
            <a:off x="1497799" y="3958076"/>
            <a:ext cx="9226015" cy="855969"/>
            <a:chOff x="1438152" y="3248801"/>
            <a:chExt cx="9226015" cy="855969"/>
          </a:xfrm>
        </p:grpSpPr>
        <p:grpSp>
          <p:nvGrpSpPr>
            <p:cNvPr id="23" name="Group 22">
              <a:extLst>
                <a:ext uri="{FF2B5EF4-FFF2-40B4-BE49-F238E27FC236}">
                  <a16:creationId xmlns:a16="http://schemas.microsoft.com/office/drawing/2014/main" id="{42D9EE44-C138-61BD-5D37-8091E43C0FD5}"/>
                </a:ext>
              </a:extLst>
            </p:cNvPr>
            <p:cNvGrpSpPr/>
            <p:nvPr/>
          </p:nvGrpSpPr>
          <p:grpSpPr>
            <a:xfrm>
              <a:off x="1438152" y="3248801"/>
              <a:ext cx="9140412" cy="825591"/>
              <a:chOff x="1641144" y="2121508"/>
              <a:chExt cx="9066480" cy="1550813"/>
            </a:xfrm>
          </p:grpSpPr>
          <p:grpSp>
            <p:nvGrpSpPr>
              <p:cNvPr id="25" name="Group 24">
                <a:extLst>
                  <a:ext uri="{FF2B5EF4-FFF2-40B4-BE49-F238E27FC236}">
                    <a16:creationId xmlns:a16="http://schemas.microsoft.com/office/drawing/2014/main" id="{0BCB625C-18B2-645F-B398-423502A9310B}"/>
                  </a:ext>
                </a:extLst>
              </p:cNvPr>
              <p:cNvGrpSpPr/>
              <p:nvPr/>
            </p:nvGrpSpPr>
            <p:grpSpPr>
              <a:xfrm>
                <a:off x="2385300" y="2121508"/>
                <a:ext cx="8322324" cy="1550813"/>
                <a:chOff x="4467935" y="4813035"/>
                <a:chExt cx="8322324" cy="1110781"/>
              </a:xfrm>
            </p:grpSpPr>
            <p:sp>
              <p:nvSpPr>
                <p:cNvPr id="28" name="Pentagon 19">
                  <a:extLst>
                    <a:ext uri="{FF2B5EF4-FFF2-40B4-BE49-F238E27FC236}">
                      <a16:creationId xmlns:a16="http://schemas.microsoft.com/office/drawing/2014/main" id="{9DE17E60-1904-2B1C-4C4A-128588EDB841}"/>
                    </a:ext>
                  </a:extLst>
                </p:cNvPr>
                <p:cNvSpPr/>
                <p:nvPr/>
              </p:nvSpPr>
              <p:spPr>
                <a:xfrm>
                  <a:off x="5247672" y="4978352"/>
                  <a:ext cx="7542587" cy="945464"/>
                </a:xfrm>
                <a:prstGeom prst="homePlate">
                  <a:avLst>
                    <a:gd name="adj" fmla="val 0"/>
                  </a:avLst>
                </a:prstGeom>
                <a:solidFill>
                  <a:srgbClr val="09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9" name="Pentagon 20">
                  <a:extLst>
                    <a:ext uri="{FF2B5EF4-FFF2-40B4-BE49-F238E27FC236}">
                      <a16:creationId xmlns:a16="http://schemas.microsoft.com/office/drawing/2014/main" id="{91D1547D-AF8C-B1A5-FF33-6E293DB0ACDE}"/>
                    </a:ext>
                  </a:extLst>
                </p:cNvPr>
                <p:cNvSpPr/>
                <p:nvPr/>
              </p:nvSpPr>
              <p:spPr>
                <a:xfrm rot="10800000">
                  <a:off x="4467935" y="4813035"/>
                  <a:ext cx="968673" cy="934245"/>
                </a:xfrm>
                <a:prstGeom prst="homePlate">
                  <a:avLst/>
                </a:prstGeom>
                <a:solidFill>
                  <a:srgbClr val="0C4F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dirty="0"/>
                </a:p>
              </p:txBody>
            </p:sp>
            <p:sp>
              <p:nvSpPr>
                <p:cNvPr id="30" name="Right Triangle 29">
                  <a:extLst>
                    <a:ext uri="{FF2B5EF4-FFF2-40B4-BE49-F238E27FC236}">
                      <a16:creationId xmlns:a16="http://schemas.microsoft.com/office/drawing/2014/main" id="{AC276AFE-9FD0-52DA-925D-63110CEBD00B}"/>
                    </a:ext>
                  </a:extLst>
                </p:cNvPr>
                <p:cNvSpPr/>
                <p:nvPr/>
              </p:nvSpPr>
              <p:spPr>
                <a:xfrm rot="10800000" flipH="1">
                  <a:off x="5251354" y="5746785"/>
                  <a:ext cx="190930" cy="166414"/>
                </a:xfrm>
                <a:prstGeom prst="rtTriangle">
                  <a:avLst/>
                </a:prstGeom>
                <a:solidFill>
                  <a:srgbClr val="093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sp>
            <p:nvSpPr>
              <p:cNvPr id="26" name="Rectangle 25">
                <a:extLst>
                  <a:ext uri="{FF2B5EF4-FFF2-40B4-BE49-F238E27FC236}">
                    <a16:creationId xmlns:a16="http://schemas.microsoft.com/office/drawing/2014/main" id="{74FECF1D-5D67-86CE-B42B-229D3DD19DE1}"/>
                  </a:ext>
                </a:extLst>
              </p:cNvPr>
              <p:cNvSpPr/>
              <p:nvPr/>
            </p:nvSpPr>
            <p:spPr>
              <a:xfrm>
                <a:off x="3474720" y="2491085"/>
                <a:ext cx="7104888" cy="635949"/>
              </a:xfrm>
              <a:prstGeom prst="rect">
                <a:avLst/>
              </a:prstGeom>
            </p:spPr>
            <p:txBody>
              <a:bodyPr wrap="square">
                <a:spAutoFit/>
              </a:bodyPr>
              <a:lstStyle/>
              <a:p>
                <a:pPr algn="just"/>
                <a:endParaRPr lang="bg-BG" sz="1600" dirty="0">
                  <a:solidFill>
                    <a:schemeClr val="bg1"/>
                  </a:solidFill>
                  <a:latin typeface="Montserrat" pitchFamily="2" charset="-52"/>
                </a:endParaRPr>
              </a:p>
            </p:txBody>
          </p:sp>
          <p:sp>
            <p:nvSpPr>
              <p:cNvPr id="27" name="Rectangle 26">
                <a:extLst>
                  <a:ext uri="{FF2B5EF4-FFF2-40B4-BE49-F238E27FC236}">
                    <a16:creationId xmlns:a16="http://schemas.microsoft.com/office/drawing/2014/main" id="{E5AB1609-E21C-EB7F-CF11-70DFEB347537}"/>
                  </a:ext>
                </a:extLst>
              </p:cNvPr>
              <p:cNvSpPr/>
              <p:nvPr/>
            </p:nvSpPr>
            <p:spPr>
              <a:xfrm>
                <a:off x="1641144" y="2566829"/>
                <a:ext cx="183237" cy="693763"/>
              </a:xfrm>
              <a:prstGeom prst="rect">
                <a:avLst/>
              </a:prstGeom>
            </p:spPr>
            <p:txBody>
              <a:bodyPr wrap="none">
                <a:spAutoFit/>
              </a:bodyPr>
              <a:lstStyle/>
              <a:p>
                <a:endParaRPr lang="bg-BG" dirty="0">
                  <a:latin typeface="Montserrat ExtraBold" panose="00000900000000000000" pitchFamily="50" charset="-52"/>
                </a:endParaRPr>
              </a:p>
            </p:txBody>
          </p:sp>
        </p:grpSp>
        <p:sp>
          <p:nvSpPr>
            <p:cNvPr id="24" name="TextBox 23">
              <a:extLst>
                <a:ext uri="{FF2B5EF4-FFF2-40B4-BE49-F238E27FC236}">
                  <a16:creationId xmlns:a16="http://schemas.microsoft.com/office/drawing/2014/main" id="{B98F0F66-E23E-891D-8EB5-DEF19DD2EC22}"/>
                </a:ext>
              </a:extLst>
            </p:cNvPr>
            <p:cNvSpPr txBox="1"/>
            <p:nvPr/>
          </p:nvSpPr>
          <p:spPr>
            <a:xfrm>
              <a:off x="3293204" y="3319940"/>
              <a:ext cx="7370963" cy="784830"/>
            </a:xfrm>
            <a:prstGeom prst="rect">
              <a:avLst/>
            </a:prstGeom>
            <a:noFill/>
          </p:spPr>
          <p:txBody>
            <a:bodyPr wrap="square">
              <a:spAutoFit/>
            </a:bodyPr>
            <a:lstStyle/>
            <a:p>
              <a:r>
                <a:rPr lang="ru-RU" sz="1500" dirty="0" err="1">
                  <a:solidFill>
                    <a:schemeClr val="bg1"/>
                  </a:solidFill>
                  <a:latin typeface="Montserrat" pitchFamily="2" charset="-52"/>
                </a:rPr>
                <a:t>двупосочни</a:t>
              </a:r>
              <a:r>
                <a:rPr lang="ru-RU" sz="1500" dirty="0">
                  <a:solidFill>
                    <a:schemeClr val="bg1"/>
                  </a:solidFill>
                  <a:latin typeface="Montserrat" pitchFamily="2" charset="-52"/>
                </a:rPr>
                <a:t> </a:t>
              </a:r>
              <a:r>
                <a:rPr lang="ru-RU" sz="1500" dirty="0" err="1">
                  <a:solidFill>
                    <a:schemeClr val="bg1"/>
                  </a:solidFill>
                  <a:latin typeface="Montserrat" pitchFamily="2" charset="-52"/>
                </a:rPr>
                <a:t>съобщения</a:t>
              </a:r>
              <a:r>
                <a:rPr lang="ru-RU" sz="1500" dirty="0">
                  <a:solidFill>
                    <a:schemeClr val="bg1"/>
                  </a:solidFill>
                  <a:latin typeface="Montserrat" pitchFamily="2" charset="-52"/>
                </a:rPr>
                <a:t> в </a:t>
              </a:r>
              <a:r>
                <a:rPr lang="ru-RU" sz="1500" dirty="0" err="1">
                  <a:solidFill>
                    <a:schemeClr val="bg1"/>
                  </a:solidFill>
                  <a:latin typeface="Montserrat" pitchFamily="2" charset="-52"/>
                </a:rPr>
                <a:t>реално</a:t>
              </a:r>
              <a:r>
                <a:rPr lang="ru-RU" sz="1500" dirty="0">
                  <a:solidFill>
                    <a:schemeClr val="bg1"/>
                  </a:solidFill>
                  <a:latin typeface="Montserrat" pitchFamily="2" charset="-52"/>
                </a:rPr>
                <a:t> </a:t>
              </a:r>
              <a:r>
                <a:rPr lang="ru-RU" sz="1500" dirty="0" err="1">
                  <a:solidFill>
                    <a:schemeClr val="bg1"/>
                  </a:solidFill>
                  <a:latin typeface="Montserrat" pitchFamily="2" charset="-52"/>
                </a:rPr>
                <a:t>време</a:t>
              </a:r>
              <a:r>
                <a:rPr lang="ru-RU" sz="1500" dirty="0">
                  <a:solidFill>
                    <a:schemeClr val="bg1"/>
                  </a:solidFill>
                  <a:latin typeface="Montserrat" pitchFamily="2" charset="-52"/>
                </a:rPr>
                <a:t>, </a:t>
              </a:r>
              <a:r>
                <a:rPr lang="ru-RU" sz="1500" dirty="0" err="1">
                  <a:solidFill>
                    <a:schemeClr val="bg1"/>
                  </a:solidFill>
                  <a:latin typeface="Montserrat" pitchFamily="2" charset="-52"/>
                </a:rPr>
                <a:t>позволяващи</a:t>
              </a:r>
              <a:r>
                <a:rPr lang="ru-RU" sz="1500" dirty="0">
                  <a:solidFill>
                    <a:schemeClr val="bg1"/>
                  </a:solidFill>
                  <a:latin typeface="Montserrat" pitchFamily="2" charset="-52"/>
                </a:rPr>
                <a:t> на </a:t>
              </a:r>
              <a:r>
                <a:rPr lang="ru-RU" sz="1500" dirty="0" err="1">
                  <a:solidFill>
                    <a:schemeClr val="bg1"/>
                  </a:solidFill>
                  <a:latin typeface="Montserrat" pitchFamily="2" charset="-52"/>
                </a:rPr>
                <a:t>акционерите</a:t>
              </a:r>
              <a:r>
                <a:rPr lang="ru-RU" sz="1500" dirty="0">
                  <a:solidFill>
                    <a:schemeClr val="bg1"/>
                  </a:solidFill>
                  <a:latin typeface="Montserrat" pitchFamily="2" charset="-52"/>
                </a:rPr>
                <a:t> да </a:t>
              </a:r>
              <a:r>
                <a:rPr lang="ru-RU" sz="1500" dirty="0" err="1">
                  <a:solidFill>
                    <a:schemeClr val="bg1"/>
                  </a:solidFill>
                  <a:latin typeface="Montserrat" pitchFamily="2" charset="-52"/>
                </a:rPr>
                <a:t>участват</a:t>
              </a:r>
              <a:r>
                <a:rPr lang="ru-RU" sz="1500" dirty="0">
                  <a:solidFill>
                    <a:schemeClr val="bg1"/>
                  </a:solidFill>
                  <a:latin typeface="Montserrat" pitchFamily="2" charset="-52"/>
                </a:rPr>
                <a:t> в </a:t>
              </a:r>
              <a:r>
                <a:rPr lang="ru-RU" sz="1500" dirty="0" err="1">
                  <a:solidFill>
                    <a:schemeClr val="bg1"/>
                  </a:solidFill>
                  <a:latin typeface="Montserrat" pitchFamily="2" charset="-52"/>
                </a:rPr>
                <a:t>обсъждането</a:t>
              </a:r>
              <a:r>
                <a:rPr lang="ru-RU" sz="1500" dirty="0">
                  <a:solidFill>
                    <a:schemeClr val="bg1"/>
                  </a:solidFill>
                  <a:latin typeface="Montserrat" pitchFamily="2" charset="-52"/>
                </a:rPr>
                <a:t> и </a:t>
              </a:r>
              <a:r>
                <a:rPr lang="ru-RU" sz="1500" dirty="0" err="1">
                  <a:solidFill>
                    <a:schemeClr val="bg1"/>
                  </a:solidFill>
                  <a:latin typeface="Montserrat" pitchFamily="2" charset="-52"/>
                </a:rPr>
                <a:t>вземането</a:t>
              </a:r>
              <a:r>
                <a:rPr lang="ru-RU" sz="1500" dirty="0">
                  <a:solidFill>
                    <a:schemeClr val="bg1"/>
                  </a:solidFill>
                  <a:latin typeface="Montserrat" pitchFamily="2" charset="-52"/>
                </a:rPr>
                <a:t> на решения в </a:t>
              </a:r>
              <a:r>
                <a:rPr lang="ru-RU" sz="1500" dirty="0" err="1">
                  <a:solidFill>
                    <a:schemeClr val="bg1"/>
                  </a:solidFill>
                  <a:latin typeface="Montserrat" pitchFamily="2" charset="-52"/>
                </a:rPr>
                <a:t>общото</a:t>
              </a:r>
              <a:r>
                <a:rPr lang="ru-RU" sz="1500" dirty="0">
                  <a:solidFill>
                    <a:schemeClr val="bg1"/>
                  </a:solidFill>
                  <a:latin typeface="Montserrat" pitchFamily="2" charset="-52"/>
                </a:rPr>
                <a:t> </a:t>
              </a:r>
              <a:r>
                <a:rPr lang="ru-RU" sz="1500" dirty="0" err="1">
                  <a:solidFill>
                    <a:schemeClr val="bg1"/>
                  </a:solidFill>
                  <a:latin typeface="Montserrat" pitchFamily="2" charset="-52"/>
                </a:rPr>
                <a:t>събрание</a:t>
              </a:r>
              <a:r>
                <a:rPr lang="ru-RU" sz="1500" dirty="0">
                  <a:solidFill>
                    <a:schemeClr val="bg1"/>
                  </a:solidFill>
                  <a:latin typeface="Montserrat" pitchFamily="2" charset="-52"/>
                </a:rPr>
                <a:t> от </a:t>
              </a:r>
              <a:r>
                <a:rPr lang="ru-RU" sz="1500" dirty="0" err="1">
                  <a:solidFill>
                    <a:schemeClr val="bg1"/>
                  </a:solidFill>
                  <a:latin typeface="Montserrat" pitchFamily="2" charset="-52"/>
                </a:rPr>
                <a:t>разстояние</a:t>
              </a:r>
              <a:r>
                <a:rPr lang="ru-RU" sz="1500" dirty="0">
                  <a:solidFill>
                    <a:schemeClr val="bg1"/>
                  </a:solidFill>
                  <a:latin typeface="Montserrat" pitchFamily="2" charset="-52"/>
                </a:rPr>
                <a:t>;</a:t>
              </a:r>
            </a:p>
          </p:txBody>
        </p:sp>
      </p:grpSp>
      <p:grpSp>
        <p:nvGrpSpPr>
          <p:cNvPr id="31" name="Group 30">
            <a:extLst>
              <a:ext uri="{FF2B5EF4-FFF2-40B4-BE49-F238E27FC236}">
                <a16:creationId xmlns:a16="http://schemas.microsoft.com/office/drawing/2014/main" id="{E72831E8-171D-0566-CE4B-0B9638C76623}"/>
              </a:ext>
            </a:extLst>
          </p:cNvPr>
          <p:cNvGrpSpPr/>
          <p:nvPr/>
        </p:nvGrpSpPr>
        <p:grpSpPr>
          <a:xfrm>
            <a:off x="1497799" y="4776617"/>
            <a:ext cx="9140412" cy="863181"/>
            <a:chOff x="1438152" y="3992758"/>
            <a:chExt cx="9140412" cy="863181"/>
          </a:xfrm>
        </p:grpSpPr>
        <p:grpSp>
          <p:nvGrpSpPr>
            <p:cNvPr id="32" name="Group 31">
              <a:extLst>
                <a:ext uri="{FF2B5EF4-FFF2-40B4-BE49-F238E27FC236}">
                  <a16:creationId xmlns:a16="http://schemas.microsoft.com/office/drawing/2014/main" id="{266F4B96-13EF-940E-FA22-41811590B4F8}"/>
                </a:ext>
              </a:extLst>
            </p:cNvPr>
            <p:cNvGrpSpPr/>
            <p:nvPr/>
          </p:nvGrpSpPr>
          <p:grpSpPr>
            <a:xfrm>
              <a:off x="1438152" y="3992758"/>
              <a:ext cx="9140412" cy="825591"/>
              <a:chOff x="1641144" y="2121508"/>
              <a:chExt cx="9066480" cy="1550813"/>
            </a:xfrm>
          </p:grpSpPr>
          <p:grpSp>
            <p:nvGrpSpPr>
              <p:cNvPr id="34" name="Group 33">
                <a:extLst>
                  <a:ext uri="{FF2B5EF4-FFF2-40B4-BE49-F238E27FC236}">
                    <a16:creationId xmlns:a16="http://schemas.microsoft.com/office/drawing/2014/main" id="{82EB78DD-FBF5-C8B5-DE99-9A7C030C8753}"/>
                  </a:ext>
                </a:extLst>
              </p:cNvPr>
              <p:cNvGrpSpPr/>
              <p:nvPr/>
            </p:nvGrpSpPr>
            <p:grpSpPr>
              <a:xfrm>
                <a:off x="2385300" y="2121508"/>
                <a:ext cx="8322324" cy="1550813"/>
                <a:chOff x="4467935" y="4813035"/>
                <a:chExt cx="8322324" cy="1110781"/>
              </a:xfrm>
            </p:grpSpPr>
            <p:sp>
              <p:nvSpPr>
                <p:cNvPr id="37" name="Pentagon 19">
                  <a:extLst>
                    <a:ext uri="{FF2B5EF4-FFF2-40B4-BE49-F238E27FC236}">
                      <a16:creationId xmlns:a16="http://schemas.microsoft.com/office/drawing/2014/main" id="{8F345677-FEF0-C728-DCB3-67AE52F454C5}"/>
                    </a:ext>
                  </a:extLst>
                </p:cNvPr>
                <p:cNvSpPr/>
                <p:nvPr/>
              </p:nvSpPr>
              <p:spPr>
                <a:xfrm>
                  <a:off x="5247672" y="4978352"/>
                  <a:ext cx="7542587" cy="945464"/>
                </a:xfrm>
                <a:prstGeom prst="homePlate">
                  <a:avLst>
                    <a:gd name="adj" fmla="val 0"/>
                  </a:avLst>
                </a:prstGeom>
                <a:solidFill>
                  <a:srgbClr val="09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8" name="Pentagon 20">
                  <a:extLst>
                    <a:ext uri="{FF2B5EF4-FFF2-40B4-BE49-F238E27FC236}">
                      <a16:creationId xmlns:a16="http://schemas.microsoft.com/office/drawing/2014/main" id="{02DD1F09-A98A-D5A3-9AB3-CFA0BAC33933}"/>
                    </a:ext>
                  </a:extLst>
                </p:cNvPr>
                <p:cNvSpPr/>
                <p:nvPr/>
              </p:nvSpPr>
              <p:spPr>
                <a:xfrm rot="10800000">
                  <a:off x="4467935" y="4813035"/>
                  <a:ext cx="968673" cy="934245"/>
                </a:xfrm>
                <a:prstGeom prst="homePlate">
                  <a:avLst/>
                </a:prstGeom>
                <a:solidFill>
                  <a:srgbClr val="0C4F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dirty="0"/>
                </a:p>
              </p:txBody>
            </p:sp>
            <p:sp>
              <p:nvSpPr>
                <p:cNvPr id="39" name="Right Triangle 38">
                  <a:extLst>
                    <a:ext uri="{FF2B5EF4-FFF2-40B4-BE49-F238E27FC236}">
                      <a16:creationId xmlns:a16="http://schemas.microsoft.com/office/drawing/2014/main" id="{6B840098-78D7-8F87-695F-4B82CD46B8D2}"/>
                    </a:ext>
                  </a:extLst>
                </p:cNvPr>
                <p:cNvSpPr/>
                <p:nvPr/>
              </p:nvSpPr>
              <p:spPr>
                <a:xfrm rot="10800000" flipH="1">
                  <a:off x="5251354" y="5746785"/>
                  <a:ext cx="190930" cy="166414"/>
                </a:xfrm>
                <a:prstGeom prst="rtTriangle">
                  <a:avLst/>
                </a:prstGeom>
                <a:solidFill>
                  <a:srgbClr val="093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sp>
            <p:nvSpPr>
              <p:cNvPr id="35" name="Rectangle 34">
                <a:extLst>
                  <a:ext uri="{FF2B5EF4-FFF2-40B4-BE49-F238E27FC236}">
                    <a16:creationId xmlns:a16="http://schemas.microsoft.com/office/drawing/2014/main" id="{9C2162E3-6A82-101D-912D-F274A2999FD5}"/>
                  </a:ext>
                </a:extLst>
              </p:cNvPr>
              <p:cNvSpPr/>
              <p:nvPr/>
            </p:nvSpPr>
            <p:spPr>
              <a:xfrm>
                <a:off x="3474720" y="2491085"/>
                <a:ext cx="7104888" cy="635949"/>
              </a:xfrm>
              <a:prstGeom prst="rect">
                <a:avLst/>
              </a:prstGeom>
            </p:spPr>
            <p:txBody>
              <a:bodyPr wrap="square">
                <a:spAutoFit/>
              </a:bodyPr>
              <a:lstStyle/>
              <a:p>
                <a:pPr algn="just"/>
                <a:endParaRPr lang="bg-BG" sz="1600" dirty="0">
                  <a:solidFill>
                    <a:schemeClr val="bg1"/>
                  </a:solidFill>
                  <a:latin typeface="Montserrat" pitchFamily="2" charset="-52"/>
                </a:endParaRPr>
              </a:p>
            </p:txBody>
          </p:sp>
          <p:sp>
            <p:nvSpPr>
              <p:cNvPr id="36" name="Rectangle 35">
                <a:extLst>
                  <a:ext uri="{FF2B5EF4-FFF2-40B4-BE49-F238E27FC236}">
                    <a16:creationId xmlns:a16="http://schemas.microsoft.com/office/drawing/2014/main" id="{21DEEA4F-6F9B-95F4-206E-04610F65B854}"/>
                  </a:ext>
                </a:extLst>
              </p:cNvPr>
              <p:cNvSpPr/>
              <p:nvPr/>
            </p:nvSpPr>
            <p:spPr>
              <a:xfrm>
                <a:off x="1641144" y="2566829"/>
                <a:ext cx="183237" cy="693763"/>
              </a:xfrm>
              <a:prstGeom prst="rect">
                <a:avLst/>
              </a:prstGeom>
            </p:spPr>
            <p:txBody>
              <a:bodyPr wrap="none">
                <a:spAutoFit/>
              </a:bodyPr>
              <a:lstStyle/>
              <a:p>
                <a:endParaRPr lang="bg-BG" dirty="0">
                  <a:latin typeface="Montserrat ExtraBold" panose="00000900000000000000" pitchFamily="50" charset="-52"/>
                </a:endParaRPr>
              </a:p>
            </p:txBody>
          </p:sp>
        </p:grpSp>
        <p:sp>
          <p:nvSpPr>
            <p:cNvPr id="33" name="TextBox 32">
              <a:extLst>
                <a:ext uri="{FF2B5EF4-FFF2-40B4-BE49-F238E27FC236}">
                  <a16:creationId xmlns:a16="http://schemas.microsoft.com/office/drawing/2014/main" id="{15A8E570-0354-ADD6-68A8-1D6C99AF4DC1}"/>
                </a:ext>
              </a:extLst>
            </p:cNvPr>
            <p:cNvSpPr txBox="1"/>
            <p:nvPr/>
          </p:nvSpPr>
          <p:spPr>
            <a:xfrm>
              <a:off x="3293204" y="4071109"/>
              <a:ext cx="7285359" cy="784830"/>
            </a:xfrm>
            <a:prstGeom prst="rect">
              <a:avLst/>
            </a:prstGeom>
            <a:noFill/>
          </p:spPr>
          <p:txBody>
            <a:bodyPr wrap="square">
              <a:spAutoFit/>
            </a:bodyPr>
            <a:lstStyle/>
            <a:p>
              <a:r>
                <a:rPr lang="ru-RU" sz="1500" dirty="0" err="1">
                  <a:solidFill>
                    <a:schemeClr val="bg1"/>
                  </a:solidFill>
                  <a:latin typeface="Montserrat" pitchFamily="2" charset="-52"/>
                </a:rPr>
                <a:t>механизъм</a:t>
              </a:r>
              <a:r>
                <a:rPr lang="ru-RU" sz="1500" dirty="0">
                  <a:solidFill>
                    <a:schemeClr val="bg1"/>
                  </a:solidFill>
                  <a:latin typeface="Montserrat" pitchFamily="2" charset="-52"/>
                </a:rPr>
                <a:t> за </a:t>
              </a:r>
              <a:r>
                <a:rPr lang="ru-RU" sz="1500" dirty="0" err="1">
                  <a:solidFill>
                    <a:schemeClr val="bg1"/>
                  </a:solidFill>
                  <a:latin typeface="Montserrat" pitchFamily="2" charset="-52"/>
                </a:rPr>
                <a:t>гласуване</a:t>
              </a:r>
              <a:r>
                <a:rPr lang="ru-RU" sz="1500" dirty="0">
                  <a:solidFill>
                    <a:schemeClr val="bg1"/>
                  </a:solidFill>
                  <a:latin typeface="Montserrat" pitchFamily="2" charset="-52"/>
                </a:rPr>
                <a:t> </a:t>
              </a:r>
              <a:r>
                <a:rPr lang="ru-RU" sz="1500" dirty="0" err="1">
                  <a:solidFill>
                    <a:schemeClr val="bg1"/>
                  </a:solidFill>
                  <a:latin typeface="Montserrat" pitchFamily="2" charset="-52"/>
                </a:rPr>
                <a:t>преди</a:t>
              </a:r>
              <a:r>
                <a:rPr lang="ru-RU" sz="1500" dirty="0">
                  <a:solidFill>
                    <a:schemeClr val="bg1"/>
                  </a:solidFill>
                  <a:latin typeface="Montserrat" pitchFamily="2" charset="-52"/>
                </a:rPr>
                <a:t> или по </a:t>
              </a:r>
              <a:r>
                <a:rPr lang="ru-RU" sz="1500" dirty="0" err="1">
                  <a:solidFill>
                    <a:schemeClr val="bg1"/>
                  </a:solidFill>
                  <a:latin typeface="Montserrat" pitchFamily="2" charset="-52"/>
                </a:rPr>
                <a:t>време</a:t>
              </a:r>
              <a:r>
                <a:rPr lang="ru-RU" sz="1500" dirty="0">
                  <a:solidFill>
                    <a:schemeClr val="bg1"/>
                  </a:solidFill>
                  <a:latin typeface="Montserrat" pitchFamily="2" charset="-52"/>
                </a:rPr>
                <a:t> на </a:t>
              </a:r>
              <a:r>
                <a:rPr lang="ru-RU" sz="1500" dirty="0" err="1">
                  <a:solidFill>
                    <a:schemeClr val="bg1"/>
                  </a:solidFill>
                  <a:latin typeface="Montserrat" pitchFamily="2" charset="-52"/>
                </a:rPr>
                <a:t>общото</a:t>
              </a:r>
              <a:r>
                <a:rPr lang="ru-RU" sz="1500" dirty="0">
                  <a:solidFill>
                    <a:schemeClr val="bg1"/>
                  </a:solidFill>
                  <a:latin typeface="Montserrat" pitchFamily="2" charset="-52"/>
                </a:rPr>
                <a:t> </a:t>
              </a:r>
              <a:r>
                <a:rPr lang="ru-RU" sz="1500" dirty="0" err="1">
                  <a:solidFill>
                    <a:schemeClr val="bg1"/>
                  </a:solidFill>
                  <a:latin typeface="Montserrat" pitchFamily="2" charset="-52"/>
                </a:rPr>
                <a:t>събрание</a:t>
              </a:r>
              <a:r>
                <a:rPr lang="ru-RU" sz="1500" dirty="0">
                  <a:solidFill>
                    <a:schemeClr val="bg1"/>
                  </a:solidFill>
                  <a:latin typeface="Montserrat" pitchFamily="2" charset="-52"/>
                </a:rPr>
                <a:t>, без да е необходимо </a:t>
              </a:r>
              <a:r>
                <a:rPr lang="ru-RU" sz="1500" dirty="0" err="1">
                  <a:solidFill>
                    <a:schemeClr val="bg1"/>
                  </a:solidFill>
                  <a:latin typeface="Montserrat" pitchFamily="2" charset="-52"/>
                </a:rPr>
                <a:t>упълномощаване</a:t>
              </a:r>
              <a:r>
                <a:rPr lang="ru-RU" sz="1500" dirty="0">
                  <a:solidFill>
                    <a:schemeClr val="bg1"/>
                  </a:solidFill>
                  <a:latin typeface="Montserrat" pitchFamily="2" charset="-52"/>
                </a:rPr>
                <a:t> на лице, </a:t>
              </a:r>
              <a:r>
                <a:rPr lang="ru-RU" sz="1500" dirty="0" err="1">
                  <a:solidFill>
                    <a:schemeClr val="bg1"/>
                  </a:solidFill>
                  <a:latin typeface="Montserrat" pitchFamily="2" charset="-52"/>
                </a:rPr>
                <a:t>което</a:t>
              </a:r>
              <a:r>
                <a:rPr lang="ru-RU" sz="1500" dirty="0">
                  <a:solidFill>
                    <a:schemeClr val="bg1"/>
                  </a:solidFill>
                  <a:latin typeface="Montserrat" pitchFamily="2" charset="-52"/>
                </a:rPr>
                <a:t> да </a:t>
              </a:r>
              <a:r>
                <a:rPr lang="ru-RU" sz="1500" dirty="0" err="1">
                  <a:solidFill>
                    <a:schemeClr val="bg1"/>
                  </a:solidFill>
                  <a:latin typeface="Montserrat" pitchFamily="2" charset="-52"/>
                </a:rPr>
                <a:t>участва</a:t>
              </a:r>
              <a:r>
                <a:rPr lang="ru-RU" sz="1500" dirty="0">
                  <a:solidFill>
                    <a:schemeClr val="bg1"/>
                  </a:solidFill>
                  <a:latin typeface="Montserrat" pitchFamily="2" charset="-52"/>
                </a:rPr>
                <a:t> лично на </a:t>
              </a:r>
              <a:r>
                <a:rPr lang="ru-RU" sz="1500" dirty="0" err="1">
                  <a:solidFill>
                    <a:schemeClr val="bg1"/>
                  </a:solidFill>
                  <a:latin typeface="Montserrat" pitchFamily="2" charset="-52"/>
                </a:rPr>
                <a:t>общото</a:t>
              </a:r>
              <a:r>
                <a:rPr lang="ru-RU" sz="1500" dirty="0">
                  <a:solidFill>
                    <a:schemeClr val="bg1"/>
                  </a:solidFill>
                  <a:latin typeface="Montserrat" pitchFamily="2" charset="-52"/>
                </a:rPr>
                <a:t> </a:t>
              </a:r>
              <a:r>
                <a:rPr lang="ru-RU" sz="1500" dirty="0" err="1">
                  <a:solidFill>
                    <a:schemeClr val="bg1"/>
                  </a:solidFill>
                  <a:latin typeface="Montserrat" pitchFamily="2" charset="-52"/>
                </a:rPr>
                <a:t>събрание</a:t>
              </a:r>
              <a:r>
                <a:rPr lang="ru-RU" sz="1500" dirty="0">
                  <a:solidFill>
                    <a:schemeClr val="bg1"/>
                  </a:solidFill>
                  <a:latin typeface="Montserrat" pitchFamily="2" charset="-52"/>
                </a:rPr>
                <a:t>. </a:t>
              </a:r>
            </a:p>
          </p:txBody>
        </p:sp>
      </p:grpSp>
      <p:pic>
        <p:nvPicPr>
          <p:cNvPr id="40" name="Picture 2" descr="check mark icon. 18888319 PNG">
            <a:extLst>
              <a:ext uri="{FF2B5EF4-FFF2-40B4-BE49-F238E27FC236}">
                <a16:creationId xmlns:a16="http://schemas.microsoft.com/office/drawing/2014/main" id="{96016255-89F2-3BDB-A67B-7A28C8CC41EF}"/>
              </a:ext>
            </a:extLst>
          </p:cNvPr>
          <p:cNvPicPr>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2682318" y="3254516"/>
            <a:ext cx="444897" cy="444897"/>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 descr="check mark icon. 18888319 PNG">
            <a:extLst>
              <a:ext uri="{FF2B5EF4-FFF2-40B4-BE49-F238E27FC236}">
                <a16:creationId xmlns:a16="http://schemas.microsoft.com/office/drawing/2014/main" id="{5D45DF5A-5F84-F707-9431-72C18011BA90}"/>
              </a:ext>
            </a:extLst>
          </p:cNvPr>
          <p:cNvPicPr>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2682318" y="4063101"/>
            <a:ext cx="444897" cy="444897"/>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 descr="check mark icon. 18888319 PNG">
            <a:extLst>
              <a:ext uri="{FF2B5EF4-FFF2-40B4-BE49-F238E27FC236}">
                <a16:creationId xmlns:a16="http://schemas.microsoft.com/office/drawing/2014/main" id="{5E43C1FF-AC66-3090-40C3-992FAF7AE023}"/>
              </a:ext>
            </a:extLst>
          </p:cNvPr>
          <p:cNvPicPr>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2682318" y="4920193"/>
            <a:ext cx="444897" cy="444897"/>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a:extLst>
              <a:ext uri="{FF2B5EF4-FFF2-40B4-BE49-F238E27FC236}">
                <a16:creationId xmlns:a16="http://schemas.microsoft.com/office/drawing/2014/main" id="{86F23EF0-CF12-A76C-1EEB-EA27D907C1A5}"/>
              </a:ext>
            </a:extLst>
          </p:cNvPr>
          <p:cNvPicPr>
            <a:picLocks noChangeAspect="1"/>
          </p:cNvPicPr>
          <p:nvPr/>
        </p:nvPicPr>
        <p:blipFill>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rot="16200000">
            <a:off x="-2129720" y="2225167"/>
            <a:ext cx="4152528" cy="4152528"/>
          </a:xfrm>
          <a:prstGeom prst="rect">
            <a:avLst/>
          </a:prstGeom>
        </p:spPr>
      </p:pic>
      <p:sp>
        <p:nvSpPr>
          <p:cNvPr id="44" name="Rectangle 43">
            <a:extLst>
              <a:ext uri="{FF2B5EF4-FFF2-40B4-BE49-F238E27FC236}">
                <a16:creationId xmlns:a16="http://schemas.microsoft.com/office/drawing/2014/main" id="{C07DAA15-6239-80C1-D39D-C976C0BF50DF}"/>
              </a:ext>
            </a:extLst>
          </p:cNvPr>
          <p:cNvSpPr/>
          <p:nvPr/>
        </p:nvSpPr>
        <p:spPr>
          <a:xfrm>
            <a:off x="-602826" y="3802049"/>
            <a:ext cx="3109244" cy="830997"/>
          </a:xfrm>
          <a:prstGeom prst="rect">
            <a:avLst/>
          </a:prstGeom>
        </p:spPr>
        <p:txBody>
          <a:bodyPr wrap="square">
            <a:spAutoFit/>
          </a:bodyPr>
          <a:lstStyle/>
          <a:p>
            <a:pPr algn="ctr"/>
            <a:r>
              <a:rPr lang="ru-RU" sz="1600" dirty="0">
                <a:solidFill>
                  <a:schemeClr val="bg1"/>
                </a:solidFill>
                <a:latin typeface="Montserrat ExtraBold" panose="00000900000000000000" pitchFamily="50" charset="-52"/>
              </a:rPr>
              <a:t>ФОРМИ </a:t>
            </a:r>
            <a:br>
              <a:rPr lang="ru-RU" sz="1600" dirty="0">
                <a:solidFill>
                  <a:schemeClr val="bg1"/>
                </a:solidFill>
                <a:latin typeface="Montserrat ExtraBold" panose="00000900000000000000" pitchFamily="50" charset="-52"/>
              </a:rPr>
            </a:br>
            <a:r>
              <a:rPr lang="ru-RU" sz="1600" dirty="0">
                <a:solidFill>
                  <a:schemeClr val="bg1"/>
                </a:solidFill>
                <a:latin typeface="Montserrat ExtraBold" panose="00000900000000000000" pitchFamily="50" charset="-52"/>
              </a:rPr>
              <a:t>НА </a:t>
            </a:r>
            <a:br>
              <a:rPr lang="ru-RU" sz="1600" dirty="0">
                <a:solidFill>
                  <a:schemeClr val="bg1"/>
                </a:solidFill>
                <a:latin typeface="Montserrat ExtraBold" panose="00000900000000000000" pitchFamily="50" charset="-52"/>
              </a:rPr>
            </a:br>
            <a:r>
              <a:rPr lang="ru-RU" sz="1600" dirty="0">
                <a:solidFill>
                  <a:schemeClr val="bg1"/>
                </a:solidFill>
                <a:latin typeface="Montserrat ExtraBold" panose="00000900000000000000" pitchFamily="50" charset="-52"/>
              </a:rPr>
              <a:t>ПРОВЕЖДАНЕ</a:t>
            </a:r>
            <a:endParaRPr lang="bg-BG" sz="1600" dirty="0">
              <a:latin typeface="Montserrat ExtraBold" panose="00000900000000000000" pitchFamily="50" charset="-52"/>
            </a:endParaRPr>
          </a:p>
        </p:txBody>
      </p:sp>
      <p:pic>
        <p:nvPicPr>
          <p:cNvPr id="45" name="Picture 4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31552" y="6292745"/>
            <a:ext cx="1876472" cy="361108"/>
          </a:xfrm>
          <a:prstGeom prst="rect">
            <a:avLst/>
          </a:prstGeom>
        </p:spPr>
      </p:pic>
    </p:spTree>
    <p:extLst>
      <p:ext uri="{BB962C8B-B14F-4D97-AF65-F5344CB8AC3E}">
        <p14:creationId xmlns:p14="http://schemas.microsoft.com/office/powerpoint/2010/main" val="57290849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0800000">
            <a:off x="-4" y="0"/>
            <a:ext cx="12192003" cy="6858000"/>
          </a:xfrm>
          <a:prstGeom prst="rect">
            <a:avLst/>
          </a:prstGeom>
        </p:spPr>
      </p:pic>
      <p:pic>
        <p:nvPicPr>
          <p:cNvPr id="14" name="Picture 13"/>
          <p:cNvPicPr>
            <a:picLocks noChangeAspect="1"/>
          </p:cNvPicPr>
          <p:nvPr/>
        </p:nvPicPr>
        <p:blipFill rotWithShape="1">
          <a:blip r:embed="rId3">
            <a:extLst>
              <a:ext uri="{28A0092B-C50C-407E-A947-70E740481C1C}">
                <a14:useLocalDpi xmlns:a14="http://schemas.microsoft.com/office/drawing/2010/main" val="0"/>
              </a:ext>
            </a:extLst>
          </a:blip>
          <a:srcRect t="35327" b="35532"/>
          <a:stretch/>
        </p:blipFill>
        <p:spPr>
          <a:xfrm>
            <a:off x="0" y="0"/>
            <a:ext cx="12192000" cy="1715678"/>
          </a:xfrm>
          <a:prstGeom prst="rect">
            <a:avLst/>
          </a:prstGeom>
        </p:spPr>
      </p:pic>
      <p:sp>
        <p:nvSpPr>
          <p:cNvPr id="5" name="TextBox 4"/>
          <p:cNvSpPr txBox="1"/>
          <p:nvPr/>
        </p:nvSpPr>
        <p:spPr>
          <a:xfrm>
            <a:off x="338540" y="237315"/>
            <a:ext cx="9531323" cy="830997"/>
          </a:xfrm>
          <a:prstGeom prst="rect">
            <a:avLst/>
          </a:prstGeom>
          <a:noFill/>
        </p:spPr>
        <p:txBody>
          <a:bodyPr wrap="square" rtlCol="0">
            <a:spAutoFit/>
          </a:bodyPr>
          <a:lstStyle/>
          <a:p>
            <a:r>
              <a:rPr lang="en-US" sz="2400" dirty="0">
                <a:solidFill>
                  <a:schemeClr val="bg1"/>
                </a:solidFill>
                <a:latin typeface="Montserrat Black" pitchFamily="2" charset="-52"/>
              </a:rPr>
              <a:t>III. </a:t>
            </a:r>
            <a:r>
              <a:rPr lang="ru-RU" sz="2400" dirty="0">
                <a:solidFill>
                  <a:schemeClr val="bg1"/>
                </a:solidFill>
                <a:latin typeface="Montserrat Black" pitchFamily="2" charset="-52"/>
              </a:rPr>
              <a:t>ПОСЛЕДВАЩИ ИЗИСКВАНИЯ ЗА РАЗКРИВАНЕ НА ИНФОРМАЦИЯ </a:t>
            </a:r>
            <a:r>
              <a:rPr lang="en-US" sz="2400" dirty="0">
                <a:solidFill>
                  <a:schemeClr val="bg1"/>
                </a:solidFill>
                <a:latin typeface="Montserrat Black" pitchFamily="2" charset="-52"/>
              </a:rPr>
              <a:t>– </a:t>
            </a:r>
            <a:endParaRPr lang="bg-BG" sz="2400" dirty="0">
              <a:solidFill>
                <a:schemeClr val="bg1"/>
              </a:solidFill>
              <a:latin typeface="Montserrat Black" pitchFamily="2" charset="-52"/>
            </a:endParaRPr>
          </a:p>
        </p:txBody>
      </p:sp>
      <p:sp>
        <p:nvSpPr>
          <p:cNvPr id="8" name="TextBox 7"/>
          <p:cNvSpPr txBox="1"/>
          <p:nvPr/>
        </p:nvSpPr>
        <p:spPr>
          <a:xfrm>
            <a:off x="338540" y="1022145"/>
            <a:ext cx="9192785" cy="369332"/>
          </a:xfrm>
          <a:prstGeom prst="rect">
            <a:avLst/>
          </a:prstGeom>
          <a:noFill/>
        </p:spPr>
        <p:txBody>
          <a:bodyPr wrap="square" rtlCol="0">
            <a:spAutoFit/>
          </a:bodyPr>
          <a:lstStyle/>
          <a:p>
            <a:r>
              <a:rPr lang="ru-RU" dirty="0" err="1">
                <a:solidFill>
                  <a:schemeClr val="bg1"/>
                </a:solidFill>
                <a:latin typeface="Montserrat" pitchFamily="2" charset="-52"/>
              </a:rPr>
              <a:t>Изплащане</a:t>
            </a:r>
            <a:r>
              <a:rPr lang="ru-RU" dirty="0">
                <a:solidFill>
                  <a:schemeClr val="bg1"/>
                </a:solidFill>
                <a:latin typeface="Montserrat" pitchFamily="2" charset="-52"/>
              </a:rPr>
              <a:t> на </a:t>
            </a:r>
            <a:r>
              <a:rPr lang="ru-RU" dirty="0" err="1">
                <a:solidFill>
                  <a:schemeClr val="bg1"/>
                </a:solidFill>
                <a:latin typeface="Montserrat" pitchFamily="2" charset="-52"/>
              </a:rPr>
              <a:t>шестмесечен</a:t>
            </a:r>
            <a:r>
              <a:rPr lang="ru-RU" dirty="0">
                <a:solidFill>
                  <a:schemeClr val="bg1"/>
                </a:solidFill>
                <a:latin typeface="Montserrat" pitchFamily="2" charset="-52"/>
              </a:rPr>
              <a:t> </a:t>
            </a:r>
            <a:r>
              <a:rPr lang="ru-RU" dirty="0" err="1">
                <a:solidFill>
                  <a:schemeClr val="bg1"/>
                </a:solidFill>
                <a:latin typeface="Montserrat" pitchFamily="2" charset="-52"/>
              </a:rPr>
              <a:t>дивидент</a:t>
            </a:r>
            <a:endParaRPr lang="bg-BG" dirty="0">
              <a:solidFill>
                <a:schemeClr val="bg1"/>
              </a:solidFill>
              <a:latin typeface="Montserrat" pitchFamily="2" charset="-52"/>
            </a:endParaRPr>
          </a:p>
        </p:txBody>
      </p:sp>
      <p:pic>
        <p:nvPicPr>
          <p:cNvPr id="10" name="Picture 9"/>
          <p:cNvPicPr>
            <a:picLocks noChangeAspect="1"/>
          </p:cNvPicPr>
          <p:nvPr/>
        </p:nvPicPr>
        <p:blipFill>
          <a:blip r:embed="rId4" cstate="print">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rot="16200000">
            <a:off x="-2152974" y="2176307"/>
            <a:ext cx="4141411" cy="4141411"/>
          </a:xfrm>
          <a:prstGeom prst="rect">
            <a:avLst/>
          </a:prstGeom>
        </p:spPr>
      </p:pic>
      <p:sp>
        <p:nvSpPr>
          <p:cNvPr id="15" name="Rectangle 14"/>
          <p:cNvSpPr/>
          <p:nvPr/>
        </p:nvSpPr>
        <p:spPr>
          <a:xfrm>
            <a:off x="-260945" y="4044648"/>
            <a:ext cx="2327392" cy="369332"/>
          </a:xfrm>
          <a:prstGeom prst="rect">
            <a:avLst/>
          </a:prstGeom>
        </p:spPr>
        <p:txBody>
          <a:bodyPr wrap="square">
            <a:spAutoFit/>
          </a:bodyPr>
          <a:lstStyle/>
          <a:p>
            <a:pPr algn="ctr"/>
            <a:r>
              <a:rPr lang="ru-RU" dirty="0">
                <a:solidFill>
                  <a:schemeClr val="bg1"/>
                </a:solidFill>
                <a:latin typeface="Montserrat ExtraBold" pitchFamily="2" charset="-52"/>
              </a:rPr>
              <a:t>ДИВИДЕНТ</a:t>
            </a:r>
            <a:endParaRPr lang="bg-BG" dirty="0">
              <a:latin typeface="Montserrat ExtraBold" pitchFamily="2" charset="-52"/>
            </a:endParaRPr>
          </a:p>
        </p:txBody>
      </p:sp>
      <p:grpSp>
        <p:nvGrpSpPr>
          <p:cNvPr id="23" name="Group 22"/>
          <p:cNvGrpSpPr/>
          <p:nvPr/>
        </p:nvGrpSpPr>
        <p:grpSpPr>
          <a:xfrm>
            <a:off x="1905247" y="3700642"/>
            <a:ext cx="9708373" cy="1131937"/>
            <a:chOff x="1926635" y="3197104"/>
            <a:chExt cx="9708373" cy="1131937"/>
          </a:xfrm>
        </p:grpSpPr>
        <p:sp>
          <p:nvSpPr>
            <p:cNvPr id="24" name="Rectangle 23"/>
            <p:cNvSpPr/>
            <p:nvPr/>
          </p:nvSpPr>
          <p:spPr>
            <a:xfrm>
              <a:off x="2648270" y="3197104"/>
              <a:ext cx="8688990" cy="1077218"/>
            </a:xfrm>
            <a:prstGeom prst="rect">
              <a:avLst/>
            </a:prstGeom>
          </p:spPr>
          <p:txBody>
            <a:bodyPr wrap="square">
              <a:spAutoFit/>
            </a:bodyPr>
            <a:lstStyle/>
            <a:p>
              <a:r>
                <a:rPr lang="ru-RU" sz="1600" dirty="0" err="1">
                  <a:solidFill>
                    <a:srgbClr val="093E70"/>
                  </a:solidFill>
                  <a:latin typeface="Montserrat" pitchFamily="2" charset="-52"/>
                </a:rPr>
                <a:t>Правото</a:t>
              </a:r>
              <a:r>
                <a:rPr lang="ru-RU" sz="1600" dirty="0">
                  <a:solidFill>
                    <a:srgbClr val="093E70"/>
                  </a:solidFill>
                  <a:latin typeface="Montserrat" pitchFamily="2" charset="-52"/>
                </a:rPr>
                <a:t> да получат </a:t>
              </a:r>
              <a:r>
                <a:rPr lang="ru-RU" sz="1600" dirty="0" err="1">
                  <a:solidFill>
                    <a:srgbClr val="093E70"/>
                  </a:solidFill>
                  <a:latin typeface="Montserrat" pitchFamily="2" charset="-52"/>
                </a:rPr>
                <a:t>дивидент</a:t>
              </a:r>
              <a:r>
                <a:rPr lang="ru-RU" sz="1600" dirty="0">
                  <a:solidFill>
                    <a:srgbClr val="093E70"/>
                  </a:solidFill>
                  <a:latin typeface="Montserrat" pitchFamily="2" charset="-52"/>
                </a:rPr>
                <a:t> </a:t>
              </a:r>
              <a:r>
                <a:rPr lang="ru-RU" sz="1600" dirty="0" err="1">
                  <a:solidFill>
                    <a:srgbClr val="093E70"/>
                  </a:solidFill>
                  <a:latin typeface="Montserrat" pitchFamily="2" charset="-52"/>
                </a:rPr>
                <a:t>ще</a:t>
              </a:r>
              <a:r>
                <a:rPr lang="ru-RU" sz="1600" dirty="0">
                  <a:solidFill>
                    <a:srgbClr val="093E70"/>
                  </a:solidFill>
                  <a:latin typeface="Montserrat" pitchFamily="2" charset="-52"/>
                </a:rPr>
                <a:t> имат </a:t>
              </a:r>
              <a:r>
                <a:rPr lang="ru-RU" sz="1600" dirty="0" err="1">
                  <a:solidFill>
                    <a:srgbClr val="093E70"/>
                  </a:solidFill>
                  <a:latin typeface="Montserrat" pitchFamily="2" charset="-52"/>
                </a:rPr>
                <a:t>лицата</a:t>
              </a:r>
              <a:r>
                <a:rPr lang="ru-RU" sz="1600" dirty="0">
                  <a:solidFill>
                    <a:srgbClr val="093E70"/>
                  </a:solidFill>
                  <a:latin typeface="Montserrat" pitchFamily="2" charset="-52"/>
                </a:rPr>
                <a:t>, </a:t>
              </a:r>
              <a:r>
                <a:rPr lang="ru-RU" sz="1600" dirty="0" err="1">
                  <a:solidFill>
                    <a:srgbClr val="093E70"/>
                  </a:solidFill>
                  <a:latin typeface="Montserrat" pitchFamily="2" charset="-52"/>
                </a:rPr>
                <a:t>вписани</a:t>
              </a:r>
              <a:r>
                <a:rPr lang="ru-RU" sz="1600" dirty="0">
                  <a:solidFill>
                    <a:srgbClr val="093E70"/>
                  </a:solidFill>
                  <a:latin typeface="Montserrat" pitchFamily="2" charset="-52"/>
                </a:rPr>
                <a:t> в </a:t>
              </a:r>
              <a:r>
                <a:rPr lang="ru-RU" sz="1600" dirty="0" err="1">
                  <a:solidFill>
                    <a:srgbClr val="093E70"/>
                  </a:solidFill>
                  <a:latin typeface="Montserrat" pitchFamily="2" charset="-52"/>
                </a:rPr>
                <a:t>регистрите</a:t>
              </a:r>
              <a:r>
                <a:rPr lang="ru-RU" sz="1600" dirty="0">
                  <a:solidFill>
                    <a:srgbClr val="093E70"/>
                  </a:solidFill>
                  <a:latin typeface="Montserrat" pitchFamily="2" charset="-52"/>
                </a:rPr>
                <a:t> на </a:t>
              </a:r>
              <a:r>
                <a:rPr lang="ru-RU" sz="1600" dirty="0" err="1">
                  <a:solidFill>
                    <a:srgbClr val="093E70"/>
                  </a:solidFill>
                  <a:latin typeface="Montserrat" pitchFamily="2" charset="-52"/>
                </a:rPr>
                <a:t>Централния</a:t>
              </a:r>
              <a:r>
                <a:rPr lang="ru-RU" sz="1600" dirty="0">
                  <a:solidFill>
                    <a:srgbClr val="093E70"/>
                  </a:solidFill>
                  <a:latin typeface="Montserrat" pitchFamily="2" charset="-52"/>
                </a:rPr>
                <a:t> </a:t>
              </a:r>
              <a:r>
                <a:rPr lang="ru-RU" sz="1600" dirty="0" err="1">
                  <a:solidFill>
                    <a:srgbClr val="093E70"/>
                  </a:solidFill>
                  <a:latin typeface="Montserrat" pitchFamily="2" charset="-52"/>
                </a:rPr>
                <a:t>депозитар</a:t>
              </a:r>
              <a:r>
                <a:rPr lang="ru-RU" sz="1600" dirty="0">
                  <a:solidFill>
                    <a:srgbClr val="093E70"/>
                  </a:solidFill>
                  <a:latin typeface="Montserrat" pitchFamily="2" charset="-52"/>
                </a:rPr>
                <a:t> </a:t>
              </a:r>
              <a:r>
                <a:rPr lang="ru-RU" sz="1600" dirty="0" err="1">
                  <a:solidFill>
                    <a:srgbClr val="093E70"/>
                  </a:solidFill>
                  <a:latin typeface="Montserrat" pitchFamily="2" charset="-52"/>
                </a:rPr>
                <a:t>като</a:t>
              </a:r>
              <a:r>
                <a:rPr lang="ru-RU" sz="1600" dirty="0">
                  <a:solidFill>
                    <a:srgbClr val="093E70"/>
                  </a:solidFill>
                  <a:latin typeface="Montserrat" pitchFamily="2" charset="-52"/>
                </a:rPr>
                <a:t> </a:t>
              </a:r>
              <a:r>
                <a:rPr lang="ru-RU" sz="1600" dirty="0" err="1">
                  <a:solidFill>
                    <a:srgbClr val="093E70"/>
                  </a:solidFill>
                  <a:latin typeface="Montserrat" pitchFamily="2" charset="-52"/>
                </a:rPr>
                <a:t>такива</a:t>
              </a:r>
              <a:r>
                <a:rPr lang="ru-RU" sz="1600" dirty="0">
                  <a:solidFill>
                    <a:srgbClr val="093E70"/>
                  </a:solidFill>
                  <a:latin typeface="Montserrat" pitchFamily="2" charset="-52"/>
                </a:rPr>
                <a:t> с право на </a:t>
              </a:r>
              <a:r>
                <a:rPr lang="ru-RU" sz="1600" dirty="0" err="1">
                  <a:solidFill>
                    <a:srgbClr val="093E70"/>
                  </a:solidFill>
                  <a:latin typeface="Montserrat" pitchFamily="2" charset="-52"/>
                </a:rPr>
                <a:t>дивидент</a:t>
              </a:r>
              <a:r>
                <a:rPr lang="ru-RU" sz="1600" dirty="0">
                  <a:solidFill>
                    <a:srgbClr val="093E70"/>
                  </a:solidFill>
                  <a:latin typeface="Montserrat" pitchFamily="2" charset="-52"/>
                </a:rPr>
                <a:t> на 14-ия </a:t>
              </a:r>
              <a:r>
                <a:rPr lang="ru-RU" sz="1600" dirty="0" err="1">
                  <a:solidFill>
                    <a:srgbClr val="093E70"/>
                  </a:solidFill>
                  <a:latin typeface="Montserrat" pitchFamily="2" charset="-52"/>
                </a:rPr>
                <a:t>ден</a:t>
              </a:r>
              <a:r>
                <a:rPr lang="ru-RU" sz="1600" dirty="0">
                  <a:solidFill>
                    <a:srgbClr val="093E70"/>
                  </a:solidFill>
                  <a:latin typeface="Montserrat" pitchFamily="2" charset="-52"/>
                </a:rPr>
                <a:t> след </a:t>
              </a:r>
              <a:r>
                <a:rPr lang="ru-RU" sz="1600" dirty="0" err="1">
                  <a:solidFill>
                    <a:srgbClr val="093E70"/>
                  </a:solidFill>
                  <a:latin typeface="Montserrat" pitchFamily="2" charset="-52"/>
                </a:rPr>
                <a:t>деня</a:t>
              </a:r>
              <a:r>
                <a:rPr lang="ru-RU" sz="1600" dirty="0">
                  <a:solidFill>
                    <a:srgbClr val="093E70"/>
                  </a:solidFill>
                  <a:latin typeface="Montserrat" pitchFamily="2" charset="-52"/>
                </a:rPr>
                <a:t> на </a:t>
              </a:r>
              <a:r>
                <a:rPr lang="ru-RU" sz="1600" dirty="0" err="1">
                  <a:solidFill>
                    <a:srgbClr val="093E70"/>
                  </a:solidFill>
                  <a:latin typeface="Montserrat" pitchFamily="2" charset="-52"/>
                </a:rPr>
                <a:t>общото</a:t>
              </a:r>
              <a:r>
                <a:rPr lang="ru-RU" sz="1600" dirty="0">
                  <a:solidFill>
                    <a:srgbClr val="093E70"/>
                  </a:solidFill>
                  <a:latin typeface="Montserrat" pitchFamily="2" charset="-52"/>
                </a:rPr>
                <a:t> </a:t>
              </a:r>
              <a:r>
                <a:rPr lang="ru-RU" sz="1600" dirty="0" err="1">
                  <a:solidFill>
                    <a:srgbClr val="093E70"/>
                  </a:solidFill>
                  <a:latin typeface="Montserrat" pitchFamily="2" charset="-52"/>
                </a:rPr>
                <a:t>събрание</a:t>
              </a:r>
              <a:r>
                <a:rPr lang="ru-RU" sz="1600" dirty="0">
                  <a:solidFill>
                    <a:srgbClr val="093E70"/>
                  </a:solidFill>
                  <a:latin typeface="Montserrat" pitchFamily="2" charset="-52"/>
                </a:rPr>
                <a:t>, на </a:t>
              </a:r>
              <a:r>
                <a:rPr lang="ru-RU" sz="1600" dirty="0" err="1">
                  <a:solidFill>
                    <a:srgbClr val="093E70"/>
                  </a:solidFill>
                  <a:latin typeface="Montserrat" pitchFamily="2" charset="-52"/>
                </a:rPr>
                <a:t>което</a:t>
              </a:r>
              <a:r>
                <a:rPr lang="ru-RU" sz="1600" dirty="0">
                  <a:solidFill>
                    <a:srgbClr val="093E70"/>
                  </a:solidFill>
                  <a:latin typeface="Montserrat" pitchFamily="2" charset="-52"/>
                </a:rPr>
                <a:t> е </a:t>
              </a:r>
              <a:r>
                <a:rPr lang="ru-RU" sz="1600" dirty="0" err="1">
                  <a:solidFill>
                    <a:srgbClr val="093E70"/>
                  </a:solidFill>
                  <a:latin typeface="Montserrat" pitchFamily="2" charset="-52"/>
                </a:rPr>
                <a:t>приет</a:t>
              </a:r>
              <a:r>
                <a:rPr lang="ru-RU" sz="1600" dirty="0">
                  <a:solidFill>
                    <a:srgbClr val="093E70"/>
                  </a:solidFill>
                  <a:latin typeface="Montserrat" pitchFamily="2" charset="-52"/>
                </a:rPr>
                <a:t> </a:t>
              </a:r>
              <a:r>
                <a:rPr lang="ru-RU" sz="1600" dirty="0" err="1">
                  <a:solidFill>
                    <a:srgbClr val="093E70"/>
                  </a:solidFill>
                  <a:latin typeface="Montserrat" pitchFamily="2" charset="-52"/>
                </a:rPr>
                <a:t>годишният</a:t>
              </a:r>
              <a:r>
                <a:rPr lang="ru-RU" sz="1600" dirty="0">
                  <a:solidFill>
                    <a:srgbClr val="093E70"/>
                  </a:solidFill>
                  <a:latin typeface="Montserrat" pitchFamily="2" charset="-52"/>
                </a:rPr>
                <a:t>, </a:t>
              </a:r>
              <a:r>
                <a:rPr lang="ru-RU" sz="1600" dirty="0" err="1">
                  <a:solidFill>
                    <a:srgbClr val="093E70"/>
                  </a:solidFill>
                  <a:latin typeface="Montserrat" pitchFamily="2" charset="-52"/>
                </a:rPr>
                <a:t>съответно</a:t>
              </a:r>
              <a:r>
                <a:rPr lang="ru-RU" sz="1600" dirty="0">
                  <a:solidFill>
                    <a:srgbClr val="093E70"/>
                  </a:solidFill>
                  <a:latin typeface="Montserrat" pitchFamily="2" charset="-52"/>
                </a:rPr>
                <a:t> 6-месечният финансов отчет</a:t>
              </a:r>
              <a:r>
                <a:rPr lang="en-US" sz="1600" dirty="0">
                  <a:solidFill>
                    <a:srgbClr val="093E70"/>
                  </a:solidFill>
                  <a:latin typeface="Montserrat" pitchFamily="2" charset="-52"/>
                </a:rPr>
                <a:t>,</a:t>
              </a:r>
              <a:r>
                <a:rPr lang="ru-RU" sz="1600" dirty="0">
                  <a:solidFill>
                    <a:srgbClr val="093E70"/>
                  </a:solidFill>
                  <a:latin typeface="Montserrat" pitchFamily="2" charset="-52"/>
                </a:rPr>
                <a:t> и е </a:t>
              </a:r>
              <a:r>
                <a:rPr lang="ru-RU" sz="1600" dirty="0" err="1">
                  <a:solidFill>
                    <a:srgbClr val="093E70"/>
                  </a:solidFill>
                  <a:latin typeface="Montserrat" pitchFamily="2" charset="-52"/>
                </a:rPr>
                <a:t>взето</a:t>
              </a:r>
              <a:r>
                <a:rPr lang="ru-RU" sz="1600" dirty="0">
                  <a:solidFill>
                    <a:srgbClr val="093E70"/>
                  </a:solidFill>
                  <a:latin typeface="Montserrat" pitchFamily="2" charset="-52"/>
                </a:rPr>
                <a:t> решение за </a:t>
              </a:r>
              <a:r>
                <a:rPr lang="ru-RU" sz="1600" dirty="0" err="1">
                  <a:solidFill>
                    <a:srgbClr val="093E70"/>
                  </a:solidFill>
                  <a:latin typeface="Montserrat" pitchFamily="2" charset="-52"/>
                </a:rPr>
                <a:t>разпределение</a:t>
              </a:r>
              <a:r>
                <a:rPr lang="ru-RU" sz="1600" dirty="0">
                  <a:solidFill>
                    <a:srgbClr val="093E70"/>
                  </a:solidFill>
                  <a:latin typeface="Montserrat" pitchFamily="2" charset="-52"/>
                </a:rPr>
                <a:t> на </a:t>
              </a:r>
              <a:r>
                <a:rPr lang="ru-RU" sz="1600" dirty="0" err="1">
                  <a:solidFill>
                    <a:srgbClr val="093E70"/>
                  </a:solidFill>
                  <a:latin typeface="Montserrat" pitchFamily="2" charset="-52"/>
                </a:rPr>
                <a:t>печалбата</a:t>
              </a:r>
              <a:r>
                <a:rPr lang="ru-RU" sz="1600" dirty="0">
                  <a:solidFill>
                    <a:srgbClr val="093E70"/>
                  </a:solidFill>
                  <a:latin typeface="Montserrat" pitchFamily="2" charset="-52"/>
                </a:rPr>
                <a:t>.</a:t>
              </a:r>
              <a:endParaRPr lang="bg-BG" sz="1600" dirty="0">
                <a:solidFill>
                  <a:srgbClr val="093E70"/>
                </a:solidFill>
                <a:latin typeface="Montserrat" pitchFamily="2" charset="-52"/>
              </a:endParaRPr>
            </a:p>
          </p:txBody>
        </p:sp>
        <p:grpSp>
          <p:nvGrpSpPr>
            <p:cNvPr id="25" name="Group 24"/>
            <p:cNvGrpSpPr/>
            <p:nvPr/>
          </p:nvGrpSpPr>
          <p:grpSpPr>
            <a:xfrm>
              <a:off x="1926635" y="3787957"/>
              <a:ext cx="9708373" cy="541084"/>
              <a:chOff x="1926635" y="3787957"/>
              <a:chExt cx="9708373" cy="541084"/>
            </a:xfrm>
          </p:grpSpPr>
          <p:grpSp>
            <p:nvGrpSpPr>
              <p:cNvPr id="26" name="Group 25"/>
              <p:cNvGrpSpPr/>
              <p:nvPr/>
            </p:nvGrpSpPr>
            <p:grpSpPr>
              <a:xfrm>
                <a:off x="1926635" y="3787957"/>
                <a:ext cx="9677200" cy="486365"/>
                <a:chOff x="1926635" y="3787957"/>
                <a:chExt cx="9677200" cy="486365"/>
              </a:xfrm>
            </p:grpSpPr>
            <p:sp>
              <p:nvSpPr>
                <p:cNvPr id="28" name="Oval 27"/>
                <p:cNvSpPr/>
                <p:nvPr/>
              </p:nvSpPr>
              <p:spPr>
                <a:xfrm>
                  <a:off x="1926635" y="3787957"/>
                  <a:ext cx="141729" cy="141729"/>
                </a:xfrm>
                <a:prstGeom prst="ellipse">
                  <a:avLst/>
                </a:prstGeom>
                <a:solidFill>
                  <a:srgbClr val="0B43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nvGrpSpPr>
                <p:cNvPr id="29" name="Group 28">
                  <a:extLst>
                    <a:ext uri="{FF2B5EF4-FFF2-40B4-BE49-F238E27FC236}">
                      <a16:creationId xmlns:a16="http://schemas.microsoft.com/office/drawing/2014/main" id="{5EA48C20-0044-FDD2-3C9A-1387AF22A1F7}"/>
                    </a:ext>
                  </a:extLst>
                </p:cNvPr>
                <p:cNvGrpSpPr/>
                <p:nvPr/>
              </p:nvGrpSpPr>
              <p:grpSpPr>
                <a:xfrm>
                  <a:off x="1926635" y="3858822"/>
                  <a:ext cx="9677200" cy="415500"/>
                  <a:chOff x="1926635" y="3858822"/>
                  <a:chExt cx="9677200" cy="415500"/>
                </a:xfrm>
              </p:grpSpPr>
              <p:cxnSp>
                <p:nvCxnSpPr>
                  <p:cNvPr id="30" name="Straight Connector 29">
                    <a:extLst>
                      <a:ext uri="{FF2B5EF4-FFF2-40B4-BE49-F238E27FC236}">
                        <a16:creationId xmlns:a16="http://schemas.microsoft.com/office/drawing/2014/main" id="{0C3D7060-F789-F1A7-5122-2BC12B41A342}"/>
                      </a:ext>
                    </a:extLst>
                  </p:cNvPr>
                  <p:cNvCxnSpPr>
                    <a:cxnSpLocks/>
                    <a:stCxn id="28" idx="2"/>
                  </p:cNvCxnSpPr>
                  <p:nvPr/>
                </p:nvCxnSpPr>
                <p:spPr>
                  <a:xfrm>
                    <a:off x="1926635" y="3858822"/>
                    <a:ext cx="471923" cy="0"/>
                  </a:xfrm>
                  <a:prstGeom prst="line">
                    <a:avLst/>
                  </a:prstGeom>
                  <a:ln w="19050">
                    <a:solidFill>
                      <a:srgbClr val="0B4383"/>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6B5FB45-B689-3054-8028-BC932944C5DD}"/>
                      </a:ext>
                    </a:extLst>
                  </p:cNvPr>
                  <p:cNvCxnSpPr/>
                  <p:nvPr/>
                </p:nvCxnSpPr>
                <p:spPr>
                  <a:xfrm>
                    <a:off x="2398558" y="3858823"/>
                    <a:ext cx="336429" cy="415499"/>
                  </a:xfrm>
                  <a:prstGeom prst="line">
                    <a:avLst/>
                  </a:prstGeom>
                  <a:ln w="19050">
                    <a:solidFill>
                      <a:srgbClr val="0B4383"/>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470FACF-BB9E-D1D3-F7A7-2B67E6B07087}"/>
                      </a:ext>
                    </a:extLst>
                  </p:cNvPr>
                  <p:cNvCxnSpPr>
                    <a:cxnSpLocks/>
                  </p:cNvCxnSpPr>
                  <p:nvPr/>
                </p:nvCxnSpPr>
                <p:spPr>
                  <a:xfrm>
                    <a:off x="2734987" y="4274322"/>
                    <a:ext cx="8868848" cy="0"/>
                  </a:xfrm>
                  <a:prstGeom prst="line">
                    <a:avLst/>
                  </a:prstGeom>
                  <a:ln w="19050">
                    <a:solidFill>
                      <a:srgbClr val="0B4383"/>
                    </a:solidFill>
                  </a:ln>
                </p:spPr>
                <p:style>
                  <a:lnRef idx="1">
                    <a:schemeClr val="accent1"/>
                  </a:lnRef>
                  <a:fillRef idx="0">
                    <a:schemeClr val="accent1"/>
                  </a:fillRef>
                  <a:effectRef idx="0">
                    <a:schemeClr val="accent1"/>
                  </a:effectRef>
                  <a:fontRef idx="minor">
                    <a:schemeClr val="tx1"/>
                  </a:fontRef>
                </p:style>
              </p:cxnSp>
            </p:grpSp>
          </p:grpSp>
          <p:sp>
            <p:nvSpPr>
              <p:cNvPr id="27" name="Oval 26">
                <a:extLst>
                  <a:ext uri="{FF2B5EF4-FFF2-40B4-BE49-F238E27FC236}">
                    <a16:creationId xmlns:a16="http://schemas.microsoft.com/office/drawing/2014/main" id="{A8F6D6A9-425E-DBB8-AD39-52727D261C4E}"/>
                  </a:ext>
                </a:extLst>
              </p:cNvPr>
              <p:cNvSpPr/>
              <p:nvPr/>
            </p:nvSpPr>
            <p:spPr>
              <a:xfrm>
                <a:off x="11493279" y="4187312"/>
                <a:ext cx="141729" cy="141729"/>
              </a:xfrm>
              <a:prstGeom prst="ellipse">
                <a:avLst/>
              </a:prstGeom>
              <a:solidFill>
                <a:srgbClr val="0B43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grpSp>
        <p:nvGrpSpPr>
          <p:cNvPr id="41" name="Group 40"/>
          <p:cNvGrpSpPr/>
          <p:nvPr/>
        </p:nvGrpSpPr>
        <p:grpSpPr>
          <a:xfrm>
            <a:off x="1229141" y="5085963"/>
            <a:ext cx="9889094" cy="1246495"/>
            <a:chOff x="1246699" y="5131194"/>
            <a:chExt cx="9889094" cy="1246495"/>
          </a:xfrm>
        </p:grpSpPr>
        <p:sp>
          <p:nvSpPr>
            <p:cNvPr id="42" name="Rectangle 41"/>
            <p:cNvSpPr/>
            <p:nvPr/>
          </p:nvSpPr>
          <p:spPr>
            <a:xfrm>
              <a:off x="1949479" y="5131194"/>
              <a:ext cx="9186314" cy="1246495"/>
            </a:xfrm>
            <a:prstGeom prst="rect">
              <a:avLst/>
            </a:prstGeom>
          </p:spPr>
          <p:txBody>
            <a:bodyPr wrap="square">
              <a:spAutoFit/>
            </a:bodyPr>
            <a:lstStyle/>
            <a:p>
              <a:r>
                <a:rPr lang="ru-RU" sz="1500" dirty="0" err="1">
                  <a:solidFill>
                    <a:srgbClr val="093E70"/>
                  </a:solidFill>
                  <a:latin typeface="Montserrat" pitchFamily="2" charset="-52"/>
                </a:rPr>
                <a:t>Дружеството</a:t>
              </a:r>
              <a:r>
                <a:rPr lang="ru-RU" sz="1500" dirty="0">
                  <a:solidFill>
                    <a:srgbClr val="093E70"/>
                  </a:solidFill>
                  <a:latin typeface="Montserrat" pitchFamily="2" charset="-52"/>
                </a:rPr>
                <a:t> е </a:t>
              </a:r>
              <a:r>
                <a:rPr lang="ru-RU" sz="1500" dirty="0" err="1">
                  <a:solidFill>
                    <a:srgbClr val="093E70"/>
                  </a:solidFill>
                  <a:latin typeface="Montserrat" pitchFamily="2" charset="-52"/>
                </a:rPr>
                <a:t>длъжно</a:t>
              </a:r>
              <a:r>
                <a:rPr lang="ru-RU" sz="1500" dirty="0">
                  <a:solidFill>
                    <a:srgbClr val="093E70"/>
                  </a:solidFill>
                  <a:latin typeface="Montserrat" pitchFamily="2" charset="-52"/>
                </a:rPr>
                <a:t> </a:t>
              </a:r>
              <a:r>
                <a:rPr lang="ru-RU" sz="1500" dirty="0" err="1">
                  <a:solidFill>
                    <a:srgbClr val="093E70"/>
                  </a:solidFill>
                  <a:latin typeface="Montserrat" pitchFamily="2" charset="-52"/>
                </a:rPr>
                <a:t>незабавно</a:t>
              </a:r>
              <a:r>
                <a:rPr lang="ru-RU" sz="1500" dirty="0">
                  <a:solidFill>
                    <a:srgbClr val="093E70"/>
                  </a:solidFill>
                  <a:latin typeface="Montserrat" pitchFamily="2" charset="-52"/>
                </a:rPr>
                <a:t> да </a:t>
              </a:r>
              <a:r>
                <a:rPr lang="ru-RU" sz="1500" dirty="0" err="1">
                  <a:solidFill>
                    <a:srgbClr val="093E70"/>
                  </a:solidFill>
                  <a:latin typeface="Montserrat" pitchFamily="2" charset="-52"/>
                </a:rPr>
                <a:t>уведоми</a:t>
              </a:r>
              <a:r>
                <a:rPr lang="ru-RU" sz="1500" dirty="0">
                  <a:solidFill>
                    <a:srgbClr val="093E70"/>
                  </a:solidFill>
                  <a:latin typeface="Montserrat" pitchFamily="2" charset="-52"/>
                </a:rPr>
                <a:t> </a:t>
              </a:r>
              <a:r>
                <a:rPr lang="ru-RU" sz="1500" dirty="0" err="1">
                  <a:solidFill>
                    <a:srgbClr val="093E70"/>
                  </a:solidFill>
                  <a:latin typeface="Montserrat" pitchFamily="2" charset="-52"/>
                </a:rPr>
                <a:t>комисията</a:t>
              </a:r>
              <a:r>
                <a:rPr lang="ru-RU" sz="1500" dirty="0">
                  <a:solidFill>
                    <a:srgbClr val="093E70"/>
                  </a:solidFill>
                  <a:latin typeface="Montserrat" pitchFamily="2" charset="-52"/>
                </a:rPr>
                <a:t>, </a:t>
              </a:r>
              <a:r>
                <a:rPr lang="ru-RU" sz="1500" dirty="0" err="1">
                  <a:solidFill>
                    <a:srgbClr val="093E70"/>
                  </a:solidFill>
                  <a:latin typeface="Montserrat" pitchFamily="2" charset="-52"/>
                </a:rPr>
                <a:t>Централния</a:t>
              </a:r>
              <a:r>
                <a:rPr lang="ru-RU" sz="1500" dirty="0">
                  <a:solidFill>
                    <a:srgbClr val="093E70"/>
                  </a:solidFill>
                  <a:latin typeface="Montserrat" pitchFamily="2" charset="-52"/>
                </a:rPr>
                <a:t> </a:t>
              </a:r>
              <a:r>
                <a:rPr lang="ru-RU" sz="1500" dirty="0" err="1">
                  <a:solidFill>
                    <a:srgbClr val="093E70"/>
                  </a:solidFill>
                  <a:latin typeface="Montserrat" pitchFamily="2" charset="-52"/>
                </a:rPr>
                <a:t>депозитар</a:t>
              </a:r>
              <a:r>
                <a:rPr lang="ru-RU" sz="1500" dirty="0">
                  <a:solidFill>
                    <a:srgbClr val="093E70"/>
                  </a:solidFill>
                  <a:latin typeface="Montserrat" pitchFamily="2" charset="-52"/>
                </a:rPr>
                <a:t> и </a:t>
              </a:r>
              <a:r>
                <a:rPr lang="ru-RU" sz="1500" dirty="0" err="1">
                  <a:solidFill>
                    <a:srgbClr val="093E70"/>
                  </a:solidFill>
                  <a:latin typeface="Montserrat" pitchFamily="2" charset="-52"/>
                </a:rPr>
                <a:t>регулирания</a:t>
              </a:r>
              <a:r>
                <a:rPr lang="ru-RU" sz="1500" dirty="0">
                  <a:solidFill>
                    <a:srgbClr val="093E70"/>
                  </a:solidFill>
                  <a:latin typeface="Montserrat" pitchFamily="2" charset="-52"/>
                </a:rPr>
                <a:t> </a:t>
              </a:r>
              <a:r>
                <a:rPr lang="ru-RU" sz="1500" dirty="0" err="1">
                  <a:solidFill>
                    <a:srgbClr val="093E70"/>
                  </a:solidFill>
                  <a:latin typeface="Montserrat" pitchFamily="2" charset="-52"/>
                </a:rPr>
                <a:t>пазар</a:t>
              </a:r>
              <a:r>
                <a:rPr lang="ru-RU" sz="1500" dirty="0">
                  <a:solidFill>
                    <a:srgbClr val="093E70"/>
                  </a:solidFill>
                  <a:latin typeface="Montserrat" pitchFamily="2" charset="-52"/>
                </a:rPr>
                <a:t> за </a:t>
              </a:r>
              <a:r>
                <a:rPr lang="ru-RU" sz="1500" dirty="0" err="1">
                  <a:solidFill>
                    <a:srgbClr val="093E70"/>
                  </a:solidFill>
                  <a:latin typeface="Montserrat" pitchFamily="2" charset="-52"/>
                </a:rPr>
                <a:t>решението</a:t>
              </a:r>
              <a:r>
                <a:rPr lang="ru-RU" sz="1500" dirty="0">
                  <a:solidFill>
                    <a:srgbClr val="093E70"/>
                  </a:solidFill>
                  <a:latin typeface="Montserrat" pitchFamily="2" charset="-52"/>
                </a:rPr>
                <a:t> на </a:t>
              </a:r>
              <a:r>
                <a:rPr lang="ru-RU" sz="1500" dirty="0" err="1">
                  <a:solidFill>
                    <a:srgbClr val="093E70"/>
                  </a:solidFill>
                  <a:latin typeface="Montserrat" pitchFamily="2" charset="-52"/>
                </a:rPr>
                <a:t>общото</a:t>
              </a:r>
              <a:r>
                <a:rPr lang="ru-RU" sz="1500" dirty="0">
                  <a:solidFill>
                    <a:srgbClr val="093E70"/>
                  </a:solidFill>
                  <a:latin typeface="Montserrat" pitchFamily="2" charset="-52"/>
                </a:rPr>
                <a:t> </a:t>
              </a:r>
              <a:r>
                <a:rPr lang="ru-RU" sz="1500" dirty="0" err="1">
                  <a:solidFill>
                    <a:srgbClr val="093E70"/>
                  </a:solidFill>
                  <a:latin typeface="Montserrat" pitchFamily="2" charset="-52"/>
                </a:rPr>
                <a:t>събрание</a:t>
              </a:r>
              <a:r>
                <a:rPr lang="ru-RU" sz="1500" dirty="0">
                  <a:solidFill>
                    <a:srgbClr val="093E70"/>
                  </a:solidFill>
                  <a:latin typeface="Montserrat" pitchFamily="2" charset="-52"/>
                </a:rPr>
                <a:t> </a:t>
              </a:r>
              <a:r>
                <a:rPr lang="ru-RU" sz="1500" dirty="0" err="1">
                  <a:solidFill>
                    <a:srgbClr val="093E70"/>
                  </a:solidFill>
                  <a:latin typeface="Montserrat" pitchFamily="2" charset="-52"/>
                </a:rPr>
                <a:t>относно</a:t>
              </a:r>
              <a:r>
                <a:rPr lang="ru-RU" sz="1500" dirty="0">
                  <a:solidFill>
                    <a:srgbClr val="093E70"/>
                  </a:solidFill>
                  <a:latin typeface="Montserrat" pitchFamily="2" charset="-52"/>
                </a:rPr>
                <a:t> вида и размера на </a:t>
              </a:r>
              <a:r>
                <a:rPr lang="ru-RU" sz="1500" dirty="0" err="1">
                  <a:solidFill>
                    <a:srgbClr val="093E70"/>
                  </a:solidFill>
                  <a:latin typeface="Montserrat" pitchFamily="2" charset="-52"/>
                </a:rPr>
                <a:t>дивидента</a:t>
              </a:r>
              <a:r>
                <a:rPr lang="ru-RU" sz="1500" dirty="0">
                  <a:solidFill>
                    <a:srgbClr val="093E70"/>
                  </a:solidFill>
                  <a:latin typeface="Montserrat" pitchFamily="2" charset="-52"/>
                </a:rPr>
                <a:t>, </a:t>
              </a:r>
              <a:r>
                <a:rPr lang="ru-RU" sz="1500" dirty="0" err="1">
                  <a:solidFill>
                    <a:srgbClr val="093E70"/>
                  </a:solidFill>
                  <a:latin typeface="Montserrat" pitchFamily="2" charset="-52"/>
                </a:rPr>
                <a:t>както</a:t>
              </a:r>
              <a:r>
                <a:rPr lang="ru-RU" sz="1500" dirty="0">
                  <a:solidFill>
                    <a:srgbClr val="093E70"/>
                  </a:solidFill>
                  <a:latin typeface="Montserrat" pitchFamily="2" charset="-52"/>
                </a:rPr>
                <a:t> и </a:t>
              </a:r>
              <a:r>
                <a:rPr lang="ru-RU" sz="1500" dirty="0" err="1">
                  <a:solidFill>
                    <a:srgbClr val="093E70"/>
                  </a:solidFill>
                  <a:latin typeface="Montserrat" pitchFamily="2" charset="-52"/>
                </a:rPr>
                <a:t>относно</a:t>
              </a:r>
              <a:r>
                <a:rPr lang="ru-RU" sz="1500" dirty="0">
                  <a:solidFill>
                    <a:srgbClr val="093E70"/>
                  </a:solidFill>
                  <a:latin typeface="Montserrat" pitchFamily="2" charset="-52"/>
                </a:rPr>
                <a:t> </a:t>
              </a:r>
              <a:r>
                <a:rPr lang="ru-RU" sz="1500" dirty="0" err="1">
                  <a:solidFill>
                    <a:srgbClr val="093E70"/>
                  </a:solidFill>
                  <a:latin typeface="Montserrat" pitchFamily="2" charset="-52"/>
                </a:rPr>
                <a:t>условията</a:t>
              </a:r>
              <a:r>
                <a:rPr lang="ru-RU" sz="1500" dirty="0">
                  <a:solidFill>
                    <a:srgbClr val="093E70"/>
                  </a:solidFill>
                  <a:latin typeface="Montserrat" pitchFamily="2" charset="-52"/>
                </a:rPr>
                <a:t> и </a:t>
              </a:r>
              <a:r>
                <a:rPr lang="ru-RU" sz="1500" dirty="0" err="1">
                  <a:solidFill>
                    <a:srgbClr val="093E70"/>
                  </a:solidFill>
                  <a:latin typeface="Montserrat" pitchFamily="2" charset="-52"/>
                </a:rPr>
                <a:t>реда</a:t>
              </a:r>
              <a:r>
                <a:rPr lang="ru-RU" sz="1500" dirty="0">
                  <a:solidFill>
                    <a:srgbClr val="093E70"/>
                  </a:solidFill>
                  <a:latin typeface="Montserrat" pitchFamily="2" charset="-52"/>
                </a:rPr>
                <a:t> за </a:t>
              </a:r>
              <a:r>
                <a:rPr lang="ru-RU" sz="1500" dirty="0" err="1">
                  <a:solidFill>
                    <a:srgbClr val="093E70"/>
                  </a:solidFill>
                  <a:latin typeface="Montserrat" pitchFamily="2" charset="-52"/>
                </a:rPr>
                <a:t>неговото</a:t>
              </a:r>
              <a:r>
                <a:rPr lang="ru-RU" sz="1500" dirty="0">
                  <a:solidFill>
                    <a:srgbClr val="093E70"/>
                  </a:solidFill>
                  <a:latin typeface="Montserrat" pitchFamily="2" charset="-52"/>
                </a:rPr>
                <a:t> </a:t>
              </a:r>
              <a:r>
                <a:rPr lang="ru-RU" sz="1500" dirty="0" err="1">
                  <a:solidFill>
                    <a:srgbClr val="093E70"/>
                  </a:solidFill>
                  <a:latin typeface="Montserrat" pitchFamily="2" charset="-52"/>
                </a:rPr>
                <a:t>изплащане</a:t>
              </a:r>
              <a:r>
                <a:rPr lang="ru-RU" sz="1500" dirty="0">
                  <a:solidFill>
                    <a:srgbClr val="093E70"/>
                  </a:solidFill>
                  <a:latin typeface="Montserrat" pitchFamily="2" charset="-52"/>
                </a:rPr>
                <a:t>, </a:t>
              </a:r>
              <a:r>
                <a:rPr lang="ru-RU" sz="1500" dirty="0" err="1">
                  <a:solidFill>
                    <a:srgbClr val="093E70"/>
                  </a:solidFill>
                  <a:latin typeface="Montserrat" pitchFamily="2" charset="-52"/>
                </a:rPr>
                <a:t>включително</a:t>
              </a:r>
              <a:r>
                <a:rPr lang="ru-RU" sz="1500" dirty="0">
                  <a:solidFill>
                    <a:srgbClr val="093E70"/>
                  </a:solidFill>
                  <a:latin typeface="Montserrat" pitchFamily="2" charset="-52"/>
                </a:rPr>
                <a:t> да </a:t>
              </a:r>
              <a:r>
                <a:rPr lang="ru-RU" sz="1500" dirty="0" err="1">
                  <a:solidFill>
                    <a:srgbClr val="093E70"/>
                  </a:solidFill>
                  <a:latin typeface="Montserrat" pitchFamily="2" charset="-52"/>
                </a:rPr>
                <a:t>посочи</a:t>
              </a:r>
              <a:r>
                <a:rPr lang="ru-RU" sz="1500" dirty="0">
                  <a:solidFill>
                    <a:srgbClr val="093E70"/>
                  </a:solidFill>
                  <a:latin typeface="Montserrat" pitchFamily="2" charset="-52"/>
                </a:rPr>
                <a:t> </a:t>
              </a:r>
              <a:r>
                <a:rPr lang="ru-RU" sz="1500" dirty="0" err="1">
                  <a:solidFill>
                    <a:srgbClr val="093E70"/>
                  </a:solidFill>
                  <a:latin typeface="Montserrat" pitchFamily="2" charset="-52"/>
                </a:rPr>
                <a:t>поне</a:t>
              </a:r>
              <a:r>
                <a:rPr lang="ru-RU" sz="1500" dirty="0">
                  <a:solidFill>
                    <a:srgbClr val="093E70"/>
                  </a:solidFill>
                  <a:latin typeface="Montserrat" pitchFamily="2" charset="-52"/>
                </a:rPr>
                <a:t> </a:t>
              </a:r>
              <a:r>
                <a:rPr lang="ru-RU" sz="1500" dirty="0" err="1">
                  <a:solidFill>
                    <a:srgbClr val="093E70"/>
                  </a:solidFill>
                  <a:latin typeface="Montserrat" pitchFamily="2" charset="-52"/>
                </a:rPr>
                <a:t>една</a:t>
              </a:r>
              <a:r>
                <a:rPr lang="ru-RU" sz="1500" dirty="0">
                  <a:solidFill>
                    <a:srgbClr val="093E70"/>
                  </a:solidFill>
                  <a:latin typeface="Montserrat" pitchFamily="2" charset="-52"/>
                </a:rPr>
                <a:t> </a:t>
              </a:r>
              <a:r>
                <a:rPr lang="ru-RU" sz="1500" dirty="0" err="1">
                  <a:solidFill>
                    <a:srgbClr val="093E70"/>
                  </a:solidFill>
                  <a:latin typeface="Montserrat" pitchFamily="2" charset="-52"/>
                </a:rPr>
                <a:t>финансова</a:t>
              </a:r>
              <a:r>
                <a:rPr lang="ru-RU" sz="1500" dirty="0">
                  <a:solidFill>
                    <a:srgbClr val="093E70"/>
                  </a:solidFill>
                  <a:latin typeface="Montserrat" pitchFamily="2" charset="-52"/>
                </a:rPr>
                <a:t> институция, чрез </a:t>
              </a:r>
              <a:r>
                <a:rPr lang="ru-RU" sz="1500" dirty="0" err="1">
                  <a:solidFill>
                    <a:srgbClr val="093E70"/>
                  </a:solidFill>
                  <a:latin typeface="Montserrat" pitchFamily="2" charset="-52"/>
                </a:rPr>
                <a:t>която</a:t>
              </a:r>
              <a:r>
                <a:rPr lang="ru-RU" sz="1500" dirty="0">
                  <a:solidFill>
                    <a:srgbClr val="093E70"/>
                  </a:solidFill>
                  <a:latin typeface="Montserrat" pitchFamily="2" charset="-52"/>
                </a:rPr>
                <a:t> </a:t>
              </a:r>
              <a:r>
                <a:rPr lang="ru-RU" sz="1500" dirty="0" err="1">
                  <a:solidFill>
                    <a:srgbClr val="093E70"/>
                  </a:solidFill>
                  <a:latin typeface="Montserrat" pitchFamily="2" charset="-52"/>
                </a:rPr>
                <a:t>ще</a:t>
              </a:r>
              <a:r>
                <a:rPr lang="ru-RU" sz="1500" dirty="0">
                  <a:solidFill>
                    <a:srgbClr val="093E70"/>
                  </a:solidFill>
                  <a:latin typeface="Montserrat" pitchFamily="2" charset="-52"/>
                </a:rPr>
                <a:t> се </a:t>
              </a:r>
              <a:r>
                <a:rPr lang="ru-RU" sz="1500" dirty="0" err="1">
                  <a:solidFill>
                    <a:srgbClr val="093E70"/>
                  </a:solidFill>
                  <a:latin typeface="Montserrat" pitchFamily="2" charset="-52"/>
                </a:rPr>
                <a:t>извършват</a:t>
              </a:r>
              <a:r>
                <a:rPr lang="ru-RU" sz="1500" dirty="0">
                  <a:solidFill>
                    <a:srgbClr val="093E70"/>
                  </a:solidFill>
                  <a:latin typeface="Montserrat" pitchFamily="2" charset="-52"/>
                </a:rPr>
                <a:t> </a:t>
              </a:r>
              <a:r>
                <a:rPr lang="ru-RU" sz="1500" dirty="0" err="1">
                  <a:solidFill>
                    <a:srgbClr val="093E70"/>
                  </a:solidFill>
                  <a:latin typeface="Montserrat" pitchFamily="2" charset="-52"/>
                </a:rPr>
                <a:t>плащанията</a:t>
              </a:r>
              <a:r>
                <a:rPr lang="ru-RU" sz="1500" dirty="0">
                  <a:solidFill>
                    <a:srgbClr val="093E70"/>
                  </a:solidFill>
                  <a:latin typeface="Montserrat" pitchFamily="2" charset="-52"/>
                </a:rPr>
                <a:t>.</a:t>
              </a:r>
              <a:endParaRPr lang="bg-BG" sz="1500" dirty="0">
                <a:solidFill>
                  <a:srgbClr val="093E70"/>
                </a:solidFill>
                <a:latin typeface="Montserrat" pitchFamily="2" charset="-52"/>
              </a:endParaRPr>
            </a:p>
            <a:p>
              <a:endParaRPr lang="bg-BG" sz="1500" dirty="0">
                <a:solidFill>
                  <a:srgbClr val="083966"/>
                </a:solidFill>
                <a:latin typeface="Montserrat" pitchFamily="2" charset="-52"/>
              </a:endParaRPr>
            </a:p>
          </p:txBody>
        </p:sp>
        <p:grpSp>
          <p:nvGrpSpPr>
            <p:cNvPr id="43" name="Group 42"/>
            <p:cNvGrpSpPr/>
            <p:nvPr/>
          </p:nvGrpSpPr>
          <p:grpSpPr>
            <a:xfrm>
              <a:off x="1246699" y="5704157"/>
              <a:ext cx="9686441" cy="557229"/>
              <a:chOff x="1246699" y="5704157"/>
              <a:chExt cx="9686441" cy="557229"/>
            </a:xfrm>
          </p:grpSpPr>
          <p:grpSp>
            <p:nvGrpSpPr>
              <p:cNvPr id="44" name="Group 43">
                <a:extLst>
                  <a:ext uri="{FF2B5EF4-FFF2-40B4-BE49-F238E27FC236}">
                    <a16:creationId xmlns:a16="http://schemas.microsoft.com/office/drawing/2014/main" id="{0CDF47F6-E564-D11C-2358-7B669B3CD4DD}"/>
                  </a:ext>
                </a:extLst>
              </p:cNvPr>
              <p:cNvGrpSpPr/>
              <p:nvPr/>
            </p:nvGrpSpPr>
            <p:grpSpPr>
              <a:xfrm>
                <a:off x="1342670" y="5775022"/>
                <a:ext cx="9529546" cy="415500"/>
                <a:chOff x="2097176" y="3858822"/>
                <a:chExt cx="10016396" cy="415500"/>
              </a:xfrm>
            </p:grpSpPr>
            <p:cxnSp>
              <p:nvCxnSpPr>
                <p:cNvPr id="47" name="Straight Connector 46">
                  <a:extLst>
                    <a:ext uri="{FF2B5EF4-FFF2-40B4-BE49-F238E27FC236}">
                      <a16:creationId xmlns:a16="http://schemas.microsoft.com/office/drawing/2014/main" id="{467168FC-F5A5-C80D-50E8-0AE3974A30C7}"/>
                    </a:ext>
                  </a:extLst>
                </p:cNvPr>
                <p:cNvCxnSpPr>
                  <a:cxnSpLocks/>
                </p:cNvCxnSpPr>
                <p:nvPr/>
              </p:nvCxnSpPr>
              <p:spPr>
                <a:xfrm>
                  <a:off x="2097176" y="3858822"/>
                  <a:ext cx="301382" cy="0"/>
                </a:xfrm>
                <a:prstGeom prst="line">
                  <a:avLst/>
                </a:prstGeom>
                <a:ln w="19050">
                  <a:solidFill>
                    <a:srgbClr val="1C77BD"/>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B68433C-A96F-8FA0-4A1D-68B11C6CA655}"/>
                    </a:ext>
                  </a:extLst>
                </p:cNvPr>
                <p:cNvCxnSpPr/>
                <p:nvPr/>
              </p:nvCxnSpPr>
              <p:spPr>
                <a:xfrm>
                  <a:off x="2398558" y="3858823"/>
                  <a:ext cx="336429" cy="415499"/>
                </a:xfrm>
                <a:prstGeom prst="line">
                  <a:avLst/>
                </a:prstGeom>
                <a:ln w="19050">
                  <a:solidFill>
                    <a:srgbClr val="1C77BD"/>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987171B-CA14-86B8-C2A9-F378A434088C}"/>
                    </a:ext>
                  </a:extLst>
                </p:cNvPr>
                <p:cNvCxnSpPr>
                  <a:cxnSpLocks/>
                </p:cNvCxnSpPr>
                <p:nvPr/>
              </p:nvCxnSpPr>
              <p:spPr>
                <a:xfrm>
                  <a:off x="2734987" y="4274322"/>
                  <a:ext cx="9378585" cy="0"/>
                </a:xfrm>
                <a:prstGeom prst="line">
                  <a:avLst/>
                </a:prstGeom>
                <a:ln w="19050">
                  <a:solidFill>
                    <a:srgbClr val="1C77BD"/>
                  </a:solidFill>
                </a:ln>
              </p:spPr>
              <p:style>
                <a:lnRef idx="1">
                  <a:schemeClr val="accent1"/>
                </a:lnRef>
                <a:fillRef idx="0">
                  <a:schemeClr val="accent1"/>
                </a:fillRef>
                <a:effectRef idx="0">
                  <a:schemeClr val="accent1"/>
                </a:effectRef>
                <a:fontRef idx="minor">
                  <a:schemeClr val="tx1"/>
                </a:fontRef>
              </p:style>
            </p:cxnSp>
          </p:grpSp>
          <p:sp>
            <p:nvSpPr>
              <p:cNvPr id="45" name="Oval 44"/>
              <p:cNvSpPr/>
              <p:nvPr/>
            </p:nvSpPr>
            <p:spPr>
              <a:xfrm>
                <a:off x="1246699" y="5704157"/>
                <a:ext cx="141729" cy="141729"/>
              </a:xfrm>
              <a:prstGeom prst="ellipse">
                <a:avLst/>
              </a:prstGeom>
              <a:solidFill>
                <a:srgbClr val="1C77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6" name="Oval 45">
                <a:extLst>
                  <a:ext uri="{FF2B5EF4-FFF2-40B4-BE49-F238E27FC236}">
                    <a16:creationId xmlns:a16="http://schemas.microsoft.com/office/drawing/2014/main" id="{4BCC5EC7-615A-BCF7-4634-B2AAB2CA62A0}"/>
                  </a:ext>
                </a:extLst>
              </p:cNvPr>
              <p:cNvSpPr/>
              <p:nvPr/>
            </p:nvSpPr>
            <p:spPr>
              <a:xfrm>
                <a:off x="10791411" y="6119657"/>
                <a:ext cx="141729" cy="141729"/>
              </a:xfrm>
              <a:prstGeom prst="ellipse">
                <a:avLst/>
              </a:prstGeom>
              <a:solidFill>
                <a:srgbClr val="1C77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grpSp>
        <p:nvGrpSpPr>
          <p:cNvPr id="4" name="Group 3"/>
          <p:cNvGrpSpPr/>
          <p:nvPr/>
        </p:nvGrpSpPr>
        <p:grpSpPr>
          <a:xfrm>
            <a:off x="1498010" y="2497666"/>
            <a:ext cx="9710290" cy="961194"/>
            <a:chOff x="1524752" y="2264899"/>
            <a:chExt cx="9710290" cy="961194"/>
          </a:xfrm>
        </p:grpSpPr>
        <p:grpSp>
          <p:nvGrpSpPr>
            <p:cNvPr id="16" name="Group 15"/>
            <p:cNvGrpSpPr/>
            <p:nvPr/>
          </p:nvGrpSpPr>
          <p:grpSpPr>
            <a:xfrm>
              <a:off x="1586654" y="2264899"/>
              <a:ext cx="9648388" cy="961194"/>
              <a:chOff x="1736644" y="2500321"/>
              <a:chExt cx="9648388" cy="961194"/>
            </a:xfrm>
          </p:grpSpPr>
          <p:sp>
            <p:nvSpPr>
              <p:cNvPr id="17" name="Rectangle 16"/>
              <p:cNvSpPr/>
              <p:nvPr/>
            </p:nvSpPr>
            <p:spPr>
              <a:xfrm>
                <a:off x="2339408" y="2500321"/>
                <a:ext cx="8865042" cy="830997"/>
              </a:xfrm>
              <a:prstGeom prst="rect">
                <a:avLst/>
              </a:prstGeom>
            </p:spPr>
            <p:txBody>
              <a:bodyPr wrap="square">
                <a:spAutoFit/>
              </a:bodyPr>
              <a:lstStyle/>
              <a:p>
                <a:r>
                  <a:rPr lang="ru-RU" sz="1600" dirty="0">
                    <a:solidFill>
                      <a:srgbClr val="093E70"/>
                    </a:solidFill>
                    <a:latin typeface="Montserrat" pitchFamily="2" charset="-52"/>
                  </a:rPr>
                  <a:t>В ЗППЦК е предвидена </a:t>
                </a:r>
                <a:r>
                  <a:rPr lang="ru-RU" sz="1600" dirty="0" err="1">
                    <a:solidFill>
                      <a:srgbClr val="093E70"/>
                    </a:solidFill>
                    <a:latin typeface="Montserrat" pitchFamily="2" charset="-52"/>
                  </a:rPr>
                  <a:t>възможност</a:t>
                </a:r>
                <a:r>
                  <a:rPr lang="ru-RU" sz="1600" dirty="0">
                    <a:solidFill>
                      <a:srgbClr val="093E70"/>
                    </a:solidFill>
                    <a:latin typeface="Montserrat" pitchFamily="2" charset="-52"/>
                  </a:rPr>
                  <a:t> за ПД, </a:t>
                </a:r>
                <a:r>
                  <a:rPr lang="ru-RU" sz="1600" dirty="0" err="1">
                    <a:solidFill>
                      <a:srgbClr val="093E70"/>
                    </a:solidFill>
                    <a:latin typeface="Montserrat" pitchFamily="2" charset="-52"/>
                  </a:rPr>
                  <a:t>каквато</a:t>
                </a:r>
                <a:r>
                  <a:rPr lang="ru-RU" sz="1600" dirty="0">
                    <a:solidFill>
                      <a:srgbClr val="093E70"/>
                    </a:solidFill>
                    <a:latin typeface="Montserrat" pitchFamily="2" charset="-52"/>
                  </a:rPr>
                  <a:t> по ТЗ не </a:t>
                </a:r>
                <a:r>
                  <a:rPr lang="ru-RU" sz="1600" dirty="0" err="1">
                    <a:solidFill>
                      <a:srgbClr val="093E70"/>
                    </a:solidFill>
                    <a:latin typeface="Montserrat" pitchFamily="2" charset="-52"/>
                  </a:rPr>
                  <a:t>съществува</a:t>
                </a:r>
                <a:r>
                  <a:rPr lang="ru-RU" sz="1600" dirty="0">
                    <a:solidFill>
                      <a:srgbClr val="093E70"/>
                    </a:solidFill>
                    <a:latin typeface="Montserrat" pitchFamily="2" charset="-52"/>
                  </a:rPr>
                  <a:t>. След 01.01.2018 г., ПД имат право да </a:t>
                </a:r>
                <a:r>
                  <a:rPr lang="ru-RU" sz="1600" dirty="0" err="1">
                    <a:solidFill>
                      <a:srgbClr val="093E70"/>
                    </a:solidFill>
                    <a:latin typeface="Montserrat" pitchFamily="2" charset="-52"/>
                  </a:rPr>
                  <a:t>изплащат</a:t>
                </a:r>
                <a:r>
                  <a:rPr lang="ru-RU" sz="1600" dirty="0">
                    <a:solidFill>
                      <a:srgbClr val="093E70"/>
                    </a:solidFill>
                    <a:latin typeface="Montserrat" pitchFamily="2" charset="-52"/>
                  </a:rPr>
                  <a:t> 6-месечен, </a:t>
                </a:r>
                <a:r>
                  <a:rPr lang="ru-RU" sz="1600" dirty="0" err="1">
                    <a:solidFill>
                      <a:srgbClr val="093E70"/>
                    </a:solidFill>
                    <a:latin typeface="Montserrat" pitchFamily="2" charset="-52"/>
                  </a:rPr>
                  <a:t>наред</a:t>
                </a:r>
                <a:r>
                  <a:rPr lang="ru-RU" sz="1600" dirty="0">
                    <a:solidFill>
                      <a:srgbClr val="093E70"/>
                    </a:solidFill>
                    <a:latin typeface="Montserrat" pitchFamily="2" charset="-52"/>
                  </a:rPr>
                  <a:t> с </a:t>
                </a:r>
                <a:r>
                  <a:rPr lang="ru-RU" sz="1600" dirty="0" err="1">
                    <a:solidFill>
                      <a:srgbClr val="093E70"/>
                    </a:solidFill>
                    <a:latin typeface="Montserrat" pitchFamily="2" charset="-52"/>
                  </a:rPr>
                  <a:t>годишния</a:t>
                </a:r>
                <a:r>
                  <a:rPr lang="ru-RU" sz="1600" dirty="0">
                    <a:solidFill>
                      <a:srgbClr val="093E70"/>
                    </a:solidFill>
                    <a:latin typeface="Montserrat" pitchFamily="2" charset="-52"/>
                  </a:rPr>
                  <a:t> </a:t>
                </a:r>
                <a:r>
                  <a:rPr lang="ru-RU" sz="1600" dirty="0" err="1">
                    <a:solidFill>
                      <a:srgbClr val="093E70"/>
                    </a:solidFill>
                    <a:latin typeface="Montserrat" pitchFamily="2" charset="-52"/>
                  </a:rPr>
                  <a:t>дивидент</a:t>
                </a:r>
                <a:r>
                  <a:rPr lang="ru-RU" sz="1600" dirty="0">
                    <a:solidFill>
                      <a:srgbClr val="093E70"/>
                    </a:solidFill>
                    <a:latin typeface="Montserrat" pitchFamily="2" charset="-52"/>
                  </a:rPr>
                  <a:t>, </a:t>
                </a:r>
                <a:r>
                  <a:rPr lang="ru-RU" sz="1600" dirty="0" err="1">
                    <a:solidFill>
                      <a:srgbClr val="093E70"/>
                    </a:solidFill>
                    <a:latin typeface="Montserrat" pitchFamily="2" charset="-52"/>
                  </a:rPr>
                  <a:t>ако</a:t>
                </a:r>
                <a:r>
                  <a:rPr lang="ru-RU" sz="1600" dirty="0">
                    <a:solidFill>
                      <a:srgbClr val="093E70"/>
                    </a:solidFill>
                    <a:latin typeface="Montserrat" pitchFamily="2" charset="-52"/>
                  </a:rPr>
                  <a:t> </a:t>
                </a:r>
                <a:r>
                  <a:rPr lang="ru-RU" sz="1600" dirty="0" err="1">
                    <a:solidFill>
                      <a:srgbClr val="093E70"/>
                    </a:solidFill>
                    <a:latin typeface="Montserrat" pitchFamily="2" charset="-52"/>
                  </a:rPr>
                  <a:t>това</a:t>
                </a:r>
                <a:r>
                  <a:rPr lang="ru-RU" sz="1600" dirty="0">
                    <a:solidFill>
                      <a:srgbClr val="093E70"/>
                    </a:solidFill>
                    <a:latin typeface="Montserrat" pitchFamily="2" charset="-52"/>
                  </a:rPr>
                  <a:t> е предвидено в устава и при </a:t>
                </a:r>
                <a:r>
                  <a:rPr lang="ru-RU" sz="1600" dirty="0" err="1">
                    <a:solidFill>
                      <a:srgbClr val="093E70"/>
                    </a:solidFill>
                    <a:latin typeface="Montserrat" pitchFamily="2" charset="-52"/>
                  </a:rPr>
                  <a:t>съответно</a:t>
                </a:r>
                <a:r>
                  <a:rPr lang="ru-RU" sz="1600" dirty="0">
                    <a:solidFill>
                      <a:srgbClr val="093E70"/>
                    </a:solidFill>
                    <a:latin typeface="Montserrat" pitchFamily="2" charset="-52"/>
                  </a:rPr>
                  <a:t> </a:t>
                </a:r>
                <a:r>
                  <a:rPr lang="ru-RU" sz="1600" dirty="0" err="1">
                    <a:solidFill>
                      <a:srgbClr val="093E70"/>
                    </a:solidFill>
                    <a:latin typeface="Montserrat" pitchFamily="2" charset="-52"/>
                  </a:rPr>
                  <a:t>прилагане</a:t>
                </a:r>
                <a:r>
                  <a:rPr lang="ru-RU" sz="1600" dirty="0">
                    <a:solidFill>
                      <a:srgbClr val="093E70"/>
                    </a:solidFill>
                    <a:latin typeface="Montserrat" pitchFamily="2" charset="-52"/>
                  </a:rPr>
                  <a:t> на чл. 247а от ТЗ. </a:t>
                </a:r>
                <a:endParaRPr lang="bg-BG" sz="1600" dirty="0">
                  <a:solidFill>
                    <a:srgbClr val="093E70"/>
                  </a:solidFill>
                  <a:latin typeface="Montserrat" pitchFamily="2" charset="-52"/>
                </a:endParaRPr>
              </a:p>
            </p:txBody>
          </p:sp>
          <p:grpSp>
            <p:nvGrpSpPr>
              <p:cNvPr id="18" name="Group 17"/>
              <p:cNvGrpSpPr/>
              <p:nvPr/>
            </p:nvGrpSpPr>
            <p:grpSpPr>
              <a:xfrm>
                <a:off x="1736644" y="2975150"/>
                <a:ext cx="9648388" cy="486365"/>
                <a:chOff x="1736644" y="2975150"/>
                <a:chExt cx="9648388" cy="486365"/>
              </a:xfrm>
            </p:grpSpPr>
            <p:cxnSp>
              <p:nvCxnSpPr>
                <p:cNvPr id="19" name="Straight Connector 18">
                  <a:extLst>
                    <a:ext uri="{FF2B5EF4-FFF2-40B4-BE49-F238E27FC236}">
                      <a16:creationId xmlns:a16="http://schemas.microsoft.com/office/drawing/2014/main" id="{78F4B401-C15D-A4C1-79B0-3BDB248D7D22}"/>
                    </a:ext>
                  </a:extLst>
                </p:cNvPr>
                <p:cNvCxnSpPr>
                  <a:cxnSpLocks/>
                </p:cNvCxnSpPr>
                <p:nvPr/>
              </p:nvCxnSpPr>
              <p:spPr>
                <a:xfrm>
                  <a:off x="1736644" y="2975150"/>
                  <a:ext cx="301382" cy="0"/>
                </a:xfrm>
                <a:prstGeom prst="line">
                  <a:avLst/>
                </a:prstGeom>
                <a:ln w="19050">
                  <a:solidFill>
                    <a:srgbClr val="02295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CCAEDF3-5A52-2B67-1633-6005DDB35F29}"/>
                    </a:ext>
                  </a:extLst>
                </p:cNvPr>
                <p:cNvCxnSpPr/>
                <p:nvPr/>
              </p:nvCxnSpPr>
              <p:spPr>
                <a:xfrm>
                  <a:off x="2038026" y="2975151"/>
                  <a:ext cx="336429" cy="415499"/>
                </a:xfrm>
                <a:prstGeom prst="line">
                  <a:avLst/>
                </a:prstGeom>
                <a:ln w="19050">
                  <a:solidFill>
                    <a:srgbClr val="02295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0D09BA9-0900-E79D-D431-F1621563A73E}"/>
                    </a:ext>
                  </a:extLst>
                </p:cNvPr>
                <p:cNvCxnSpPr>
                  <a:cxnSpLocks/>
                </p:cNvCxnSpPr>
                <p:nvPr/>
              </p:nvCxnSpPr>
              <p:spPr>
                <a:xfrm>
                  <a:off x="2374455" y="3390650"/>
                  <a:ext cx="8868848" cy="0"/>
                </a:xfrm>
                <a:prstGeom prst="line">
                  <a:avLst/>
                </a:prstGeom>
                <a:ln w="19050">
                  <a:solidFill>
                    <a:srgbClr val="022952"/>
                  </a:solidFill>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a16="http://schemas.microsoft.com/office/drawing/2014/main" id="{07985217-7A5E-9922-E183-14A1332F9248}"/>
                    </a:ext>
                  </a:extLst>
                </p:cNvPr>
                <p:cNvSpPr/>
                <p:nvPr/>
              </p:nvSpPr>
              <p:spPr>
                <a:xfrm>
                  <a:off x="11243303" y="3319786"/>
                  <a:ext cx="141729" cy="141729"/>
                </a:xfrm>
                <a:prstGeom prst="ellipse">
                  <a:avLst/>
                </a:prstGeom>
                <a:solidFill>
                  <a:srgbClr val="022A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sp>
          <p:nvSpPr>
            <p:cNvPr id="50" name="Oval 49">
              <a:extLst>
                <a:ext uri="{FF2B5EF4-FFF2-40B4-BE49-F238E27FC236}">
                  <a16:creationId xmlns:a16="http://schemas.microsoft.com/office/drawing/2014/main" id="{07985217-7A5E-9922-E183-14A1332F9248}"/>
                </a:ext>
              </a:extLst>
            </p:cNvPr>
            <p:cNvSpPr/>
            <p:nvPr/>
          </p:nvSpPr>
          <p:spPr>
            <a:xfrm>
              <a:off x="1524752" y="2680397"/>
              <a:ext cx="141729" cy="141729"/>
            </a:xfrm>
            <a:prstGeom prst="ellipse">
              <a:avLst/>
            </a:prstGeom>
            <a:solidFill>
              <a:srgbClr val="022A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pic>
        <p:nvPicPr>
          <p:cNvPr id="37" name="Picture 3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131552" y="6292745"/>
            <a:ext cx="1876472" cy="361108"/>
          </a:xfrm>
          <a:prstGeom prst="rect">
            <a:avLst/>
          </a:prstGeom>
        </p:spPr>
      </p:pic>
    </p:spTree>
    <p:extLst>
      <p:ext uri="{BB962C8B-B14F-4D97-AF65-F5344CB8AC3E}">
        <p14:creationId xmlns:p14="http://schemas.microsoft.com/office/powerpoint/2010/main" val="17669005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66D78-54A5-1044-A741-2366FF5E52CC}"/>
              </a:ext>
            </a:extLst>
          </p:cNvPr>
          <p:cNvSpPr>
            <a:spLocks noGrp="1"/>
          </p:cNvSpPr>
          <p:nvPr>
            <p:ph type="ctrTitle"/>
          </p:nvPr>
        </p:nvSpPr>
        <p:spPr>
          <a:xfrm>
            <a:off x="1524000" y="2150001"/>
            <a:ext cx="9144000" cy="2783775"/>
          </a:xfrm>
        </p:spPr>
        <p:txBody>
          <a:bodyPr>
            <a:spAutoFit/>
          </a:bodyPr>
          <a:lstStyle/>
          <a:p>
            <a:pPr>
              <a:lnSpc>
                <a:spcPct val="75000"/>
              </a:lnSpc>
            </a:pPr>
            <a:r>
              <a:rPr lang="en-GB" sz="11500" dirty="0"/>
              <a:t>BSE </a:t>
            </a:r>
            <a:r>
              <a:rPr lang="en-GB" sz="11500" b="0" dirty="0">
                <a:solidFill>
                  <a:srgbClr val="DA98FF"/>
                </a:solidFill>
                <a:latin typeface="Bebas Neue Book" pitchFamily="2" charset="77"/>
              </a:rPr>
              <a:t>Projects &amp; Initiatives </a:t>
            </a:r>
            <a:endParaRPr lang="en-BG" sz="11500" b="0" dirty="0">
              <a:solidFill>
                <a:srgbClr val="DA98FF"/>
              </a:solidFill>
              <a:latin typeface="Bebas Neue Book" pitchFamily="2" charset="77"/>
            </a:endParaRPr>
          </a:p>
        </p:txBody>
      </p:sp>
    </p:spTree>
    <p:extLst>
      <p:ext uri="{BB962C8B-B14F-4D97-AF65-F5344CB8AC3E}">
        <p14:creationId xmlns:p14="http://schemas.microsoft.com/office/powerpoint/2010/main" val="37104753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0800000">
            <a:off x="-4" y="0"/>
            <a:ext cx="12192003" cy="6858000"/>
          </a:xfrm>
          <a:prstGeom prst="rect">
            <a:avLst/>
          </a:prstGeom>
        </p:spPr>
      </p:pic>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t="35327" b="35532"/>
          <a:stretch/>
        </p:blipFill>
        <p:spPr>
          <a:xfrm>
            <a:off x="0" y="0"/>
            <a:ext cx="12192000" cy="1715678"/>
          </a:xfrm>
          <a:prstGeom prst="rect">
            <a:avLst/>
          </a:prstGeom>
        </p:spPr>
      </p:pic>
      <p:sp>
        <p:nvSpPr>
          <p:cNvPr id="5" name="TextBox 4"/>
          <p:cNvSpPr txBox="1"/>
          <p:nvPr/>
        </p:nvSpPr>
        <p:spPr>
          <a:xfrm>
            <a:off x="338540" y="171682"/>
            <a:ext cx="9531323" cy="830997"/>
          </a:xfrm>
          <a:prstGeom prst="rect">
            <a:avLst/>
          </a:prstGeom>
          <a:noFill/>
        </p:spPr>
        <p:txBody>
          <a:bodyPr wrap="square" rtlCol="0">
            <a:spAutoFit/>
          </a:bodyPr>
          <a:lstStyle/>
          <a:p>
            <a:r>
              <a:rPr lang="en-US" sz="2400" dirty="0">
                <a:solidFill>
                  <a:schemeClr val="bg1"/>
                </a:solidFill>
                <a:latin typeface="Montserrat Black" pitchFamily="2" charset="-52"/>
              </a:rPr>
              <a:t>III. </a:t>
            </a:r>
            <a:r>
              <a:rPr lang="ru-RU" sz="2400" dirty="0">
                <a:solidFill>
                  <a:schemeClr val="bg1"/>
                </a:solidFill>
                <a:latin typeface="Montserrat Black" pitchFamily="2" charset="-52"/>
              </a:rPr>
              <a:t>ПОСЛЕДВАЩИ ИЗИСКВАНИЯ ЗА РАЗКРИВАНЕ НА ИНФОРМАЦИЯ</a:t>
            </a:r>
            <a:endParaRPr lang="bg-BG" sz="2400" dirty="0">
              <a:solidFill>
                <a:schemeClr val="bg1"/>
              </a:solidFill>
              <a:latin typeface="Montserrat Black" pitchFamily="2" charset="-52"/>
            </a:endParaRPr>
          </a:p>
        </p:txBody>
      </p:sp>
      <p:sp>
        <p:nvSpPr>
          <p:cNvPr id="8" name="TextBox 7"/>
          <p:cNvSpPr txBox="1"/>
          <p:nvPr/>
        </p:nvSpPr>
        <p:spPr>
          <a:xfrm>
            <a:off x="338540" y="956512"/>
            <a:ext cx="9192785" cy="369332"/>
          </a:xfrm>
          <a:prstGeom prst="rect">
            <a:avLst/>
          </a:prstGeom>
          <a:noFill/>
        </p:spPr>
        <p:txBody>
          <a:bodyPr wrap="square" rtlCol="0">
            <a:spAutoFit/>
          </a:bodyPr>
          <a:lstStyle/>
          <a:p>
            <a:r>
              <a:rPr lang="ru-RU" dirty="0" err="1">
                <a:solidFill>
                  <a:schemeClr val="bg1"/>
                </a:solidFill>
                <a:latin typeface="Montserrat" pitchFamily="2" charset="-52"/>
              </a:rPr>
              <a:t>Ограничителен</a:t>
            </a:r>
            <a:r>
              <a:rPr lang="ru-RU" dirty="0">
                <a:solidFill>
                  <a:schemeClr val="bg1"/>
                </a:solidFill>
                <a:latin typeface="Montserrat" pitchFamily="2" charset="-52"/>
              </a:rPr>
              <a:t> режим за сделки на ПД и </a:t>
            </a:r>
            <a:r>
              <a:rPr lang="ru-RU" dirty="0" err="1">
                <a:solidFill>
                  <a:schemeClr val="bg1"/>
                </a:solidFill>
                <a:latin typeface="Montserrat" pitchFamily="2" charset="-52"/>
              </a:rPr>
              <a:t>дъщерните</a:t>
            </a:r>
            <a:r>
              <a:rPr lang="ru-RU" dirty="0">
                <a:solidFill>
                  <a:schemeClr val="bg1"/>
                </a:solidFill>
                <a:latin typeface="Montserrat" pitchFamily="2" charset="-52"/>
              </a:rPr>
              <a:t> </a:t>
            </a:r>
            <a:r>
              <a:rPr lang="ru-RU" dirty="0" err="1">
                <a:solidFill>
                  <a:schemeClr val="bg1"/>
                </a:solidFill>
                <a:latin typeface="Montserrat" pitchFamily="2" charset="-52"/>
              </a:rPr>
              <a:t>му</a:t>
            </a:r>
            <a:r>
              <a:rPr lang="ru-RU" dirty="0">
                <a:solidFill>
                  <a:schemeClr val="bg1"/>
                </a:solidFill>
                <a:latin typeface="Montserrat" pitchFamily="2" charset="-52"/>
              </a:rPr>
              <a:t> дружества</a:t>
            </a:r>
            <a:endParaRPr lang="bg-BG" dirty="0">
              <a:solidFill>
                <a:schemeClr val="bg1"/>
              </a:solidFill>
              <a:latin typeface="Montserrat" pitchFamily="2" charset="-52"/>
            </a:endParaRPr>
          </a:p>
        </p:txBody>
      </p:sp>
      <p:sp>
        <p:nvSpPr>
          <p:cNvPr id="2" name="Rectangle 1"/>
          <p:cNvSpPr/>
          <p:nvPr/>
        </p:nvSpPr>
        <p:spPr>
          <a:xfrm>
            <a:off x="411116" y="1998482"/>
            <a:ext cx="11412466" cy="1077218"/>
          </a:xfrm>
          <a:prstGeom prst="rect">
            <a:avLst/>
          </a:prstGeom>
        </p:spPr>
        <p:txBody>
          <a:bodyPr wrap="square">
            <a:spAutoFit/>
          </a:bodyPr>
          <a:lstStyle/>
          <a:p>
            <a:pPr algn="just"/>
            <a:r>
              <a:rPr lang="ru-RU" sz="1600" dirty="0" err="1">
                <a:solidFill>
                  <a:srgbClr val="093E70"/>
                </a:solidFill>
                <a:latin typeface="Montserrat" pitchFamily="2" charset="-52"/>
              </a:rPr>
              <a:t>Ограничителен</a:t>
            </a:r>
            <a:r>
              <a:rPr lang="ru-RU" sz="1600" dirty="0">
                <a:solidFill>
                  <a:srgbClr val="093E70"/>
                </a:solidFill>
                <a:latin typeface="Montserrat" pitchFamily="2" charset="-52"/>
              </a:rPr>
              <a:t> режим за сделки на ПД и </a:t>
            </a:r>
            <a:r>
              <a:rPr lang="ru-RU" sz="1600" dirty="0" err="1">
                <a:solidFill>
                  <a:srgbClr val="093E70"/>
                </a:solidFill>
                <a:latin typeface="Montserrat" pitchFamily="2" charset="-52"/>
              </a:rPr>
              <a:t>дъщерните</a:t>
            </a:r>
            <a:r>
              <a:rPr lang="ru-RU" sz="1600" dirty="0">
                <a:solidFill>
                  <a:srgbClr val="093E70"/>
                </a:solidFill>
                <a:latin typeface="Montserrat" pitchFamily="2" charset="-52"/>
              </a:rPr>
              <a:t> </a:t>
            </a:r>
            <a:r>
              <a:rPr lang="ru-RU" sz="1600" dirty="0" err="1">
                <a:solidFill>
                  <a:srgbClr val="093E70"/>
                </a:solidFill>
                <a:latin typeface="Montserrat" pitchFamily="2" charset="-52"/>
              </a:rPr>
              <a:t>му</a:t>
            </a:r>
            <a:r>
              <a:rPr lang="ru-RU" sz="1600" dirty="0">
                <a:solidFill>
                  <a:srgbClr val="093E70"/>
                </a:solidFill>
                <a:latin typeface="Montserrat" pitchFamily="2" charset="-52"/>
              </a:rPr>
              <a:t> дружества, </a:t>
            </a:r>
            <a:r>
              <a:rPr lang="ru-RU" sz="1600" dirty="0" err="1">
                <a:solidFill>
                  <a:srgbClr val="093E70"/>
                </a:solidFill>
                <a:latin typeface="Montserrat" pitchFamily="2" charset="-52"/>
              </a:rPr>
              <a:t>насочен</a:t>
            </a:r>
            <a:r>
              <a:rPr lang="ru-RU" sz="1600" dirty="0">
                <a:solidFill>
                  <a:srgbClr val="093E70"/>
                </a:solidFill>
                <a:latin typeface="Montserrat" pitchFamily="2" charset="-52"/>
              </a:rPr>
              <a:t> към защита на </a:t>
            </a:r>
            <a:r>
              <a:rPr lang="ru-RU" sz="1600" dirty="0" err="1">
                <a:solidFill>
                  <a:srgbClr val="093E70"/>
                </a:solidFill>
                <a:latin typeface="Montserrat" pitchFamily="2" charset="-52"/>
              </a:rPr>
              <a:t>инвеститорите</a:t>
            </a:r>
            <a:r>
              <a:rPr lang="ru-RU" sz="1600" dirty="0">
                <a:solidFill>
                  <a:srgbClr val="093E70"/>
                </a:solidFill>
                <a:latin typeface="Montserrat" pitchFamily="2" charset="-52"/>
              </a:rPr>
              <a:t> </a:t>
            </a:r>
            <a:r>
              <a:rPr lang="ru-RU" sz="1600" dirty="0" err="1">
                <a:solidFill>
                  <a:srgbClr val="093E70"/>
                </a:solidFill>
                <a:latin typeface="Montserrat" pitchFamily="2" charset="-52"/>
              </a:rPr>
              <a:t>срещу</a:t>
            </a:r>
            <a:r>
              <a:rPr lang="ru-RU" sz="1600" dirty="0">
                <a:solidFill>
                  <a:srgbClr val="093E70"/>
                </a:solidFill>
                <a:latin typeface="Montserrat" pitchFamily="2" charset="-52"/>
              </a:rPr>
              <a:t> </a:t>
            </a:r>
            <a:r>
              <a:rPr lang="ru-RU" sz="1600" dirty="0" err="1">
                <a:solidFill>
                  <a:srgbClr val="093E70"/>
                </a:solidFill>
                <a:latin typeface="Montserrat" pitchFamily="2" charset="-52"/>
              </a:rPr>
              <a:t>лишаване</a:t>
            </a:r>
            <a:r>
              <a:rPr lang="ru-RU" sz="1600" dirty="0">
                <a:solidFill>
                  <a:srgbClr val="093E70"/>
                </a:solidFill>
                <a:latin typeface="Montserrat" pitchFamily="2" charset="-52"/>
              </a:rPr>
              <a:t> на ПД от </a:t>
            </a:r>
            <a:r>
              <a:rPr lang="ru-RU" sz="1600" dirty="0" err="1">
                <a:solidFill>
                  <a:srgbClr val="093E70"/>
                </a:solidFill>
                <a:latin typeface="Montserrat" pitchFamily="2" charset="-52"/>
              </a:rPr>
              <a:t>неговите</a:t>
            </a:r>
            <a:r>
              <a:rPr lang="ru-RU" sz="1600" dirty="0">
                <a:solidFill>
                  <a:srgbClr val="093E70"/>
                </a:solidFill>
                <a:latin typeface="Montserrat" pitchFamily="2" charset="-52"/>
              </a:rPr>
              <a:t> </a:t>
            </a:r>
            <a:r>
              <a:rPr lang="ru-RU" sz="1600" dirty="0" err="1">
                <a:solidFill>
                  <a:srgbClr val="093E70"/>
                </a:solidFill>
                <a:latin typeface="Montserrat" pitchFamily="2" charset="-52"/>
              </a:rPr>
              <a:t>активи</a:t>
            </a:r>
            <a:r>
              <a:rPr lang="ru-RU" sz="1600" dirty="0">
                <a:solidFill>
                  <a:srgbClr val="093E70"/>
                </a:solidFill>
                <a:latin typeface="Montserrat" pitchFamily="2" charset="-52"/>
              </a:rPr>
              <a:t> или </a:t>
            </a:r>
            <a:r>
              <a:rPr lang="ru-RU" sz="1600" dirty="0" err="1">
                <a:solidFill>
                  <a:srgbClr val="093E70"/>
                </a:solidFill>
                <a:latin typeface="Montserrat" pitchFamily="2" charset="-52"/>
              </a:rPr>
              <a:t>срещу</a:t>
            </a:r>
            <a:r>
              <a:rPr lang="ru-RU" sz="1600" dirty="0">
                <a:solidFill>
                  <a:srgbClr val="093E70"/>
                </a:solidFill>
                <a:latin typeface="Montserrat" pitchFamily="2" charset="-52"/>
              </a:rPr>
              <a:t> </a:t>
            </a:r>
            <a:r>
              <a:rPr lang="ru-RU" sz="1600" dirty="0" err="1">
                <a:solidFill>
                  <a:srgbClr val="093E70"/>
                </a:solidFill>
                <a:latin typeface="Montserrat" pitchFamily="2" charset="-52"/>
              </a:rPr>
              <a:t>поемане</a:t>
            </a:r>
            <a:r>
              <a:rPr lang="ru-RU" sz="1600" dirty="0">
                <a:solidFill>
                  <a:srgbClr val="093E70"/>
                </a:solidFill>
                <a:latin typeface="Montserrat" pitchFamily="2" charset="-52"/>
              </a:rPr>
              <a:t> на </a:t>
            </a:r>
            <a:r>
              <a:rPr lang="ru-RU" sz="1600" dirty="0" err="1">
                <a:solidFill>
                  <a:srgbClr val="093E70"/>
                </a:solidFill>
                <a:latin typeface="Montserrat" pitchFamily="2" charset="-52"/>
              </a:rPr>
              <a:t>значителни</a:t>
            </a:r>
            <a:r>
              <a:rPr lang="ru-RU" sz="1600" dirty="0">
                <a:solidFill>
                  <a:srgbClr val="093E70"/>
                </a:solidFill>
                <a:latin typeface="Montserrat" pitchFamily="2" charset="-52"/>
              </a:rPr>
              <a:t> </a:t>
            </a:r>
            <a:r>
              <a:rPr lang="ru-RU" sz="1600" dirty="0" err="1">
                <a:solidFill>
                  <a:srgbClr val="093E70"/>
                </a:solidFill>
                <a:latin typeface="Montserrat" pitchFamily="2" charset="-52"/>
              </a:rPr>
              <a:t>задължения</a:t>
            </a:r>
            <a:r>
              <a:rPr lang="ru-RU" sz="1600" dirty="0">
                <a:solidFill>
                  <a:srgbClr val="093E70"/>
                </a:solidFill>
                <a:latin typeface="Montserrat" pitchFamily="2" charset="-52"/>
              </a:rPr>
              <a:t> и др., с </a:t>
            </a:r>
            <a:r>
              <a:rPr lang="ru-RU" sz="1600" dirty="0" err="1">
                <a:solidFill>
                  <a:srgbClr val="093E70"/>
                </a:solidFill>
                <a:latin typeface="Montserrat" pitchFamily="2" charset="-52"/>
              </a:rPr>
              <a:t>оглед</a:t>
            </a:r>
            <a:r>
              <a:rPr lang="ru-RU" sz="1600" dirty="0">
                <a:solidFill>
                  <a:srgbClr val="093E70"/>
                </a:solidFill>
                <a:latin typeface="Montserrat" pitchFamily="2" charset="-52"/>
              </a:rPr>
              <a:t> </a:t>
            </a:r>
            <a:r>
              <a:rPr lang="ru-RU" sz="1600" dirty="0" err="1">
                <a:solidFill>
                  <a:srgbClr val="093E70"/>
                </a:solidFill>
                <a:latin typeface="Montserrat" pitchFamily="2" charset="-52"/>
              </a:rPr>
              <a:t>предотвратяване</a:t>
            </a:r>
            <a:r>
              <a:rPr lang="ru-RU" sz="1600" dirty="0">
                <a:solidFill>
                  <a:srgbClr val="093E70"/>
                </a:solidFill>
                <a:latin typeface="Montserrat" pitchFamily="2" charset="-52"/>
              </a:rPr>
              <a:t> на </a:t>
            </a:r>
            <a:r>
              <a:rPr lang="ru-RU" sz="1600" dirty="0" err="1">
                <a:solidFill>
                  <a:srgbClr val="093E70"/>
                </a:solidFill>
                <a:latin typeface="Montserrat" pitchFamily="2" charset="-52"/>
              </a:rPr>
              <a:t>възможността</a:t>
            </a:r>
            <a:r>
              <a:rPr lang="ru-RU" sz="1600" dirty="0">
                <a:solidFill>
                  <a:srgbClr val="093E70"/>
                </a:solidFill>
                <a:latin typeface="Montserrat" pitchFamily="2" charset="-52"/>
              </a:rPr>
              <a:t> за </a:t>
            </a:r>
            <a:r>
              <a:rPr lang="ru-RU" sz="1600" dirty="0" err="1">
                <a:solidFill>
                  <a:srgbClr val="093E70"/>
                </a:solidFill>
                <a:latin typeface="Montserrat" pitchFamily="2" charset="-52"/>
              </a:rPr>
              <a:t>несанкционирано</a:t>
            </a:r>
            <a:r>
              <a:rPr lang="ru-RU" sz="1600" dirty="0">
                <a:solidFill>
                  <a:srgbClr val="093E70"/>
                </a:solidFill>
                <a:latin typeface="Montserrat" pitchFamily="2" charset="-52"/>
              </a:rPr>
              <a:t> </a:t>
            </a:r>
            <a:r>
              <a:rPr lang="ru-RU" sz="1600" dirty="0" err="1">
                <a:solidFill>
                  <a:srgbClr val="093E70"/>
                </a:solidFill>
                <a:latin typeface="Montserrat" pitchFamily="2" charset="-52"/>
              </a:rPr>
              <a:t>сключване</a:t>
            </a:r>
            <a:r>
              <a:rPr lang="ru-RU" sz="1600" dirty="0">
                <a:solidFill>
                  <a:srgbClr val="093E70"/>
                </a:solidFill>
                <a:latin typeface="Montserrat" pitchFamily="2" charset="-52"/>
              </a:rPr>
              <a:t> на сделки при наличие на конфликт на </a:t>
            </a:r>
            <a:r>
              <a:rPr lang="ru-RU" sz="1600" dirty="0" err="1">
                <a:solidFill>
                  <a:srgbClr val="093E70"/>
                </a:solidFill>
                <a:latin typeface="Montserrat" pitchFamily="2" charset="-52"/>
              </a:rPr>
              <a:t>интереси</a:t>
            </a:r>
            <a:r>
              <a:rPr lang="ru-RU" sz="1600" dirty="0">
                <a:solidFill>
                  <a:srgbClr val="093E70"/>
                </a:solidFill>
                <a:latin typeface="Montserrat" pitchFamily="2" charset="-52"/>
              </a:rPr>
              <a:t>.</a:t>
            </a:r>
            <a:endParaRPr lang="bg-BG" sz="1600" dirty="0">
              <a:solidFill>
                <a:srgbClr val="093E70"/>
              </a:solidFill>
              <a:latin typeface="Montserrat" pitchFamily="2" charset="-52"/>
            </a:endParaRPr>
          </a:p>
        </p:txBody>
      </p:sp>
      <p:sp>
        <p:nvSpPr>
          <p:cNvPr id="9" name="Pentagon 8"/>
          <p:cNvSpPr/>
          <p:nvPr/>
        </p:nvSpPr>
        <p:spPr>
          <a:xfrm>
            <a:off x="1" y="4102215"/>
            <a:ext cx="6245351" cy="1695081"/>
          </a:xfrm>
          <a:prstGeom prst="homePlate">
            <a:avLst>
              <a:gd name="adj" fmla="val 0"/>
            </a:avLst>
          </a:prstGeom>
          <a:solidFill>
            <a:srgbClr val="1C77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12" name="Pentagon 11"/>
          <p:cNvSpPr/>
          <p:nvPr/>
        </p:nvSpPr>
        <p:spPr>
          <a:xfrm>
            <a:off x="6245353" y="4102215"/>
            <a:ext cx="5946642" cy="1695082"/>
          </a:xfrm>
          <a:prstGeom prst="homePlate">
            <a:avLst>
              <a:gd name="adj" fmla="val 0"/>
            </a:avLst>
          </a:prstGeom>
          <a:solidFill>
            <a:srgbClr val="0C4E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13" name="Rectangle 12"/>
          <p:cNvSpPr/>
          <p:nvPr/>
        </p:nvSpPr>
        <p:spPr>
          <a:xfrm>
            <a:off x="6404659" y="4203829"/>
            <a:ext cx="5418923" cy="1077218"/>
          </a:xfrm>
          <a:prstGeom prst="rect">
            <a:avLst/>
          </a:prstGeom>
        </p:spPr>
        <p:txBody>
          <a:bodyPr wrap="square">
            <a:spAutoFit/>
          </a:bodyPr>
          <a:lstStyle/>
          <a:p>
            <a:pPr algn="just"/>
            <a:r>
              <a:rPr lang="ru-RU" sz="1600" dirty="0" err="1">
                <a:solidFill>
                  <a:schemeClr val="bg1"/>
                </a:solidFill>
                <a:latin typeface="Montserrat" pitchFamily="2" charset="-52"/>
              </a:rPr>
              <a:t>Мотивиран</a:t>
            </a:r>
            <a:r>
              <a:rPr lang="ru-RU" sz="1600" dirty="0">
                <a:solidFill>
                  <a:schemeClr val="bg1"/>
                </a:solidFill>
                <a:latin typeface="Montserrat" pitchFamily="2" charset="-52"/>
              </a:rPr>
              <a:t> доклад за </a:t>
            </a:r>
            <a:r>
              <a:rPr lang="ru-RU" sz="1600" dirty="0" err="1">
                <a:solidFill>
                  <a:schemeClr val="bg1"/>
                </a:solidFill>
                <a:latin typeface="Montserrat" pitchFamily="2" charset="-52"/>
              </a:rPr>
              <a:t>целесъобразността</a:t>
            </a:r>
            <a:r>
              <a:rPr lang="ru-RU" sz="1600" dirty="0">
                <a:solidFill>
                  <a:schemeClr val="bg1"/>
                </a:solidFill>
                <a:latin typeface="Montserrat" pitchFamily="2" charset="-52"/>
              </a:rPr>
              <a:t> и </a:t>
            </a:r>
            <a:r>
              <a:rPr lang="ru-RU" sz="1600" dirty="0" err="1">
                <a:solidFill>
                  <a:schemeClr val="bg1"/>
                </a:solidFill>
                <a:latin typeface="Montserrat" pitchFamily="2" charset="-52"/>
              </a:rPr>
              <a:t>условията</a:t>
            </a:r>
            <a:r>
              <a:rPr lang="ru-RU" sz="1600" dirty="0">
                <a:solidFill>
                  <a:schemeClr val="bg1"/>
                </a:solidFill>
                <a:latin typeface="Montserrat" pitchFamily="2" charset="-52"/>
              </a:rPr>
              <a:t> на </a:t>
            </a:r>
            <a:r>
              <a:rPr lang="ru-RU" sz="1600" dirty="0" err="1">
                <a:solidFill>
                  <a:schemeClr val="bg1"/>
                </a:solidFill>
                <a:latin typeface="Montserrat" pitchFamily="2" charset="-52"/>
              </a:rPr>
              <a:t>сделките</a:t>
            </a:r>
            <a:r>
              <a:rPr lang="ru-RU" sz="1600" dirty="0">
                <a:solidFill>
                  <a:schemeClr val="bg1"/>
                </a:solidFill>
                <a:latin typeface="Montserrat" pitchFamily="2" charset="-52"/>
              </a:rPr>
              <a:t> по чл. 114, ал. 1 от ЗППЦК, в нормативно определения срок и с </a:t>
            </a:r>
            <a:r>
              <a:rPr lang="ru-RU" sz="1600" dirty="0" err="1">
                <a:solidFill>
                  <a:schemeClr val="bg1"/>
                </a:solidFill>
                <a:latin typeface="Montserrat" pitchFamily="2" charset="-52"/>
              </a:rPr>
              <a:t>регламентирано</a:t>
            </a:r>
            <a:r>
              <a:rPr lang="ru-RU" sz="1600" dirty="0">
                <a:solidFill>
                  <a:schemeClr val="bg1"/>
                </a:solidFill>
                <a:latin typeface="Montserrat" pitchFamily="2" charset="-52"/>
              </a:rPr>
              <a:t> </a:t>
            </a:r>
            <a:r>
              <a:rPr lang="ru-RU" sz="1600" dirty="0" err="1">
                <a:solidFill>
                  <a:schemeClr val="bg1"/>
                </a:solidFill>
                <a:latin typeface="Montserrat" pitchFamily="2" charset="-52"/>
              </a:rPr>
              <a:t>минимално</a:t>
            </a:r>
            <a:r>
              <a:rPr lang="ru-RU" sz="1600" dirty="0">
                <a:solidFill>
                  <a:schemeClr val="bg1"/>
                </a:solidFill>
                <a:latin typeface="Montserrat" pitchFamily="2" charset="-52"/>
              </a:rPr>
              <a:t> </a:t>
            </a:r>
            <a:r>
              <a:rPr lang="ru-RU" sz="1600" dirty="0" err="1">
                <a:solidFill>
                  <a:schemeClr val="bg1"/>
                </a:solidFill>
                <a:latin typeface="Montserrat" pitchFamily="2" charset="-52"/>
              </a:rPr>
              <a:t>съдържание</a:t>
            </a:r>
            <a:r>
              <a:rPr lang="ru-RU" sz="1600" dirty="0">
                <a:solidFill>
                  <a:schemeClr val="bg1"/>
                </a:solidFill>
                <a:latin typeface="Montserrat" pitchFamily="2" charset="-52"/>
              </a:rPr>
              <a:t>. </a:t>
            </a:r>
            <a:endParaRPr lang="bg-BG" sz="1600" dirty="0">
              <a:solidFill>
                <a:schemeClr val="bg1"/>
              </a:solidFill>
              <a:latin typeface="Montserrat" pitchFamily="2" charset="-52"/>
            </a:endParaRPr>
          </a:p>
        </p:txBody>
      </p:sp>
      <p:sp>
        <p:nvSpPr>
          <p:cNvPr id="14" name="Rectangle 13"/>
          <p:cNvSpPr/>
          <p:nvPr/>
        </p:nvSpPr>
        <p:spPr>
          <a:xfrm>
            <a:off x="248908" y="4203829"/>
            <a:ext cx="5696713" cy="1569660"/>
          </a:xfrm>
          <a:prstGeom prst="rect">
            <a:avLst/>
          </a:prstGeom>
        </p:spPr>
        <p:txBody>
          <a:bodyPr wrap="square">
            <a:spAutoFit/>
          </a:bodyPr>
          <a:lstStyle/>
          <a:p>
            <a:pPr algn="just"/>
            <a:r>
              <a:rPr lang="ru-RU" sz="1600" dirty="0" err="1">
                <a:solidFill>
                  <a:schemeClr val="bg1"/>
                </a:solidFill>
                <a:latin typeface="Montserrat" pitchFamily="2" charset="-52"/>
              </a:rPr>
              <a:t>Предварително</a:t>
            </a:r>
            <a:r>
              <a:rPr lang="ru-RU" sz="1600" dirty="0">
                <a:solidFill>
                  <a:schemeClr val="bg1"/>
                </a:solidFill>
                <a:latin typeface="Montserrat" pitchFamily="2" charset="-52"/>
              </a:rPr>
              <a:t> одобрение от </a:t>
            </a:r>
            <a:r>
              <a:rPr lang="ru-RU" sz="1600" dirty="0" err="1">
                <a:solidFill>
                  <a:schemeClr val="bg1"/>
                </a:solidFill>
                <a:latin typeface="Montserrat" pitchFamily="2" charset="-52"/>
              </a:rPr>
              <a:t>съответния</a:t>
            </a:r>
            <a:r>
              <a:rPr lang="ru-RU" sz="1600" dirty="0">
                <a:solidFill>
                  <a:schemeClr val="bg1"/>
                </a:solidFill>
                <a:latin typeface="Montserrat" pitchFamily="2" charset="-52"/>
              </a:rPr>
              <a:t> дружествен орган, ОСА за </a:t>
            </a:r>
            <a:r>
              <a:rPr lang="ru-RU" sz="1600" dirty="0" err="1">
                <a:solidFill>
                  <a:schemeClr val="bg1"/>
                </a:solidFill>
                <a:latin typeface="Montserrat" pitchFamily="2" charset="-52"/>
              </a:rPr>
              <a:t>сделките</a:t>
            </a:r>
            <a:r>
              <a:rPr lang="ru-RU" sz="1600" dirty="0">
                <a:solidFill>
                  <a:schemeClr val="bg1"/>
                </a:solidFill>
                <a:latin typeface="Montserrat" pitchFamily="2" charset="-52"/>
              </a:rPr>
              <a:t> на ПД или </a:t>
            </a:r>
            <a:r>
              <a:rPr lang="ru-RU" sz="1600" dirty="0" err="1">
                <a:solidFill>
                  <a:schemeClr val="bg1"/>
                </a:solidFill>
                <a:latin typeface="Montserrat" pitchFamily="2" charset="-52"/>
              </a:rPr>
              <a:t>управителния</a:t>
            </a:r>
            <a:r>
              <a:rPr lang="ru-RU" sz="1600" dirty="0">
                <a:solidFill>
                  <a:schemeClr val="bg1"/>
                </a:solidFill>
                <a:latin typeface="Montserrat" pitchFamily="2" charset="-52"/>
              </a:rPr>
              <a:t> орган на ПД – за </a:t>
            </a:r>
            <a:r>
              <a:rPr lang="ru-RU" sz="1600" dirty="0" err="1">
                <a:solidFill>
                  <a:schemeClr val="bg1"/>
                </a:solidFill>
                <a:latin typeface="Montserrat" pitchFamily="2" charset="-52"/>
              </a:rPr>
              <a:t>сделките</a:t>
            </a:r>
            <a:r>
              <a:rPr lang="ru-RU" sz="1600" dirty="0">
                <a:solidFill>
                  <a:schemeClr val="bg1"/>
                </a:solidFill>
                <a:latin typeface="Montserrat" pitchFamily="2" charset="-52"/>
              </a:rPr>
              <a:t>, </a:t>
            </a:r>
            <a:r>
              <a:rPr lang="ru-RU" sz="1600" dirty="0" err="1">
                <a:solidFill>
                  <a:schemeClr val="bg1"/>
                </a:solidFill>
                <a:latin typeface="Montserrat" pitchFamily="2" charset="-52"/>
              </a:rPr>
              <a:t>осъществявани</a:t>
            </a:r>
            <a:r>
              <a:rPr lang="ru-RU" sz="1600" dirty="0">
                <a:solidFill>
                  <a:schemeClr val="bg1"/>
                </a:solidFill>
                <a:latin typeface="Montserrat" pitchFamily="2" charset="-52"/>
              </a:rPr>
              <a:t> от </a:t>
            </a:r>
            <a:r>
              <a:rPr lang="ru-RU" sz="1600" dirty="0" err="1">
                <a:solidFill>
                  <a:schemeClr val="bg1"/>
                </a:solidFill>
                <a:latin typeface="Montserrat" pitchFamily="2" charset="-52"/>
              </a:rPr>
              <a:t>представляващите</a:t>
            </a:r>
            <a:r>
              <a:rPr lang="ru-RU" sz="1600" dirty="0">
                <a:solidFill>
                  <a:schemeClr val="bg1"/>
                </a:solidFill>
                <a:latin typeface="Montserrat" pitchFamily="2" charset="-52"/>
              </a:rPr>
              <a:t> </a:t>
            </a:r>
            <a:r>
              <a:rPr lang="ru-RU" sz="1600" dirty="0" err="1">
                <a:solidFill>
                  <a:schemeClr val="bg1"/>
                </a:solidFill>
                <a:latin typeface="Montserrat" pitchFamily="2" charset="-52"/>
              </a:rPr>
              <a:t>непубличните</a:t>
            </a:r>
            <a:r>
              <a:rPr lang="ru-RU" sz="1600" dirty="0">
                <a:solidFill>
                  <a:schemeClr val="bg1"/>
                </a:solidFill>
                <a:latin typeface="Montserrat" pitchFamily="2" charset="-52"/>
              </a:rPr>
              <a:t> дружества, </a:t>
            </a:r>
            <a:r>
              <a:rPr lang="ru-RU" sz="1600" dirty="0" err="1">
                <a:solidFill>
                  <a:schemeClr val="bg1"/>
                </a:solidFill>
                <a:latin typeface="Montserrat" pitchFamily="2" charset="-52"/>
              </a:rPr>
              <a:t>които</a:t>
            </a:r>
            <a:r>
              <a:rPr lang="ru-RU" sz="1600" dirty="0">
                <a:solidFill>
                  <a:schemeClr val="bg1"/>
                </a:solidFill>
                <a:latin typeface="Montserrat" pitchFamily="2" charset="-52"/>
              </a:rPr>
              <a:t> </a:t>
            </a:r>
            <a:r>
              <a:rPr lang="ru-RU" sz="1600" dirty="0" err="1">
                <a:solidFill>
                  <a:schemeClr val="bg1"/>
                </a:solidFill>
                <a:latin typeface="Montserrat" pitchFamily="2" charset="-52"/>
              </a:rPr>
              <a:t>са</a:t>
            </a:r>
            <a:r>
              <a:rPr lang="ru-RU" sz="1600" dirty="0">
                <a:solidFill>
                  <a:schemeClr val="bg1"/>
                </a:solidFill>
                <a:latin typeface="Montserrat" pitchFamily="2" charset="-52"/>
              </a:rPr>
              <a:t> </a:t>
            </a:r>
            <a:r>
              <a:rPr lang="ru-RU" sz="1600" dirty="0" err="1">
                <a:solidFill>
                  <a:schemeClr val="bg1"/>
                </a:solidFill>
                <a:latin typeface="Montserrat" pitchFamily="2" charset="-52"/>
              </a:rPr>
              <a:t>дъщерни</a:t>
            </a:r>
            <a:r>
              <a:rPr lang="ru-RU" sz="1600" dirty="0">
                <a:solidFill>
                  <a:schemeClr val="bg1"/>
                </a:solidFill>
                <a:latin typeface="Montserrat" pitchFamily="2" charset="-52"/>
              </a:rPr>
              <a:t> на </a:t>
            </a:r>
            <a:r>
              <a:rPr lang="ru-RU" sz="1600" dirty="0" err="1">
                <a:solidFill>
                  <a:schemeClr val="bg1"/>
                </a:solidFill>
                <a:latin typeface="Montserrat" pitchFamily="2" charset="-52"/>
              </a:rPr>
              <a:t>публичното</a:t>
            </a:r>
            <a:r>
              <a:rPr lang="ru-RU" sz="1600" dirty="0">
                <a:solidFill>
                  <a:schemeClr val="bg1"/>
                </a:solidFill>
                <a:latin typeface="Montserrat" pitchFamily="2" charset="-52"/>
              </a:rPr>
              <a:t>.</a:t>
            </a:r>
            <a:endParaRPr lang="bg-BG" sz="1600" dirty="0">
              <a:solidFill>
                <a:schemeClr val="bg1"/>
              </a:solidFill>
              <a:latin typeface="Montserrat" pitchFamily="2" charset="-52"/>
            </a:endParaRPr>
          </a:p>
        </p:txBody>
      </p:sp>
      <p:pic>
        <p:nvPicPr>
          <p:cNvPr id="15" name="Picture 2" descr="check mark icon. 18888319 PNG">
            <a:extLst>
              <a:ext uri="{FF2B5EF4-FFF2-40B4-BE49-F238E27FC236}">
                <a16:creationId xmlns:a16="http://schemas.microsoft.com/office/drawing/2014/main" id="{498B34BA-FA3E-5524-DD73-09C5C64C1967}"/>
              </a:ext>
            </a:extLst>
          </p:cNvPr>
          <p:cNvPicPr>
            <a:picLocks noChangeAspect="1" noChangeArrowheads="1"/>
          </p:cNvPicPr>
          <p:nvPr/>
        </p:nvPicPr>
        <p:blipFill>
          <a:blip r:embed="rId4"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2727857" y="3358504"/>
            <a:ext cx="743711" cy="74371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check mark icon. 18888319 PNG">
            <a:extLst>
              <a:ext uri="{FF2B5EF4-FFF2-40B4-BE49-F238E27FC236}">
                <a16:creationId xmlns:a16="http://schemas.microsoft.com/office/drawing/2014/main" id="{DEE9F038-E0EE-E66D-2DCE-163DC0C1CE70}"/>
              </a:ext>
            </a:extLst>
          </p:cNvPr>
          <p:cNvPicPr>
            <a:picLocks noChangeAspect="1" noChangeArrowheads="1"/>
          </p:cNvPicPr>
          <p:nvPr/>
        </p:nvPicPr>
        <p:blipFill>
          <a:blip r:embed="rId4"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8941411" y="3358504"/>
            <a:ext cx="743711" cy="74371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131552" y="6292745"/>
            <a:ext cx="1876472" cy="361108"/>
          </a:xfrm>
          <a:prstGeom prst="rect">
            <a:avLst/>
          </a:prstGeom>
        </p:spPr>
      </p:pic>
    </p:spTree>
    <p:extLst>
      <p:ext uri="{BB962C8B-B14F-4D97-AF65-F5344CB8AC3E}">
        <p14:creationId xmlns:p14="http://schemas.microsoft.com/office/powerpoint/2010/main" val="292923006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0800000">
            <a:off x="-4" y="0"/>
            <a:ext cx="12192003" cy="6858000"/>
          </a:xfrm>
          <a:prstGeom prst="rect">
            <a:avLst/>
          </a:prstGeom>
        </p:spPr>
      </p:pic>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t="35327" b="35532"/>
          <a:stretch/>
        </p:blipFill>
        <p:spPr>
          <a:xfrm>
            <a:off x="0" y="0"/>
            <a:ext cx="12192000" cy="1715678"/>
          </a:xfrm>
          <a:prstGeom prst="rect">
            <a:avLst/>
          </a:prstGeom>
        </p:spPr>
      </p:pic>
      <p:sp>
        <p:nvSpPr>
          <p:cNvPr id="5" name="TextBox 4"/>
          <p:cNvSpPr txBox="1"/>
          <p:nvPr/>
        </p:nvSpPr>
        <p:spPr>
          <a:xfrm>
            <a:off x="338541" y="310503"/>
            <a:ext cx="9531323" cy="830997"/>
          </a:xfrm>
          <a:prstGeom prst="rect">
            <a:avLst/>
          </a:prstGeom>
          <a:noFill/>
        </p:spPr>
        <p:txBody>
          <a:bodyPr wrap="square" rtlCol="0">
            <a:spAutoFit/>
          </a:bodyPr>
          <a:lstStyle/>
          <a:p>
            <a:r>
              <a:rPr lang="en-US" sz="2400" dirty="0">
                <a:solidFill>
                  <a:schemeClr val="bg1"/>
                </a:solidFill>
                <a:latin typeface="Montserrat Black" pitchFamily="2" charset="-52"/>
              </a:rPr>
              <a:t>III. </a:t>
            </a:r>
            <a:r>
              <a:rPr lang="ru-RU" sz="2400" dirty="0">
                <a:solidFill>
                  <a:schemeClr val="bg1"/>
                </a:solidFill>
                <a:latin typeface="Montserrat Black" pitchFamily="2" charset="-52"/>
              </a:rPr>
              <a:t>ПОСЛЕДВАЩИ ИЗИСКВАНИЯ ЗА РАЗКРИВАНЕ НА ИНФОРМАЦИЯ</a:t>
            </a:r>
            <a:endParaRPr lang="bg-BG" sz="2400" dirty="0">
              <a:solidFill>
                <a:schemeClr val="bg1"/>
              </a:solidFill>
              <a:latin typeface="Montserrat Black" pitchFamily="2" charset="-52"/>
            </a:endParaRPr>
          </a:p>
        </p:txBody>
      </p:sp>
      <p:sp>
        <p:nvSpPr>
          <p:cNvPr id="8" name="TextBox 7"/>
          <p:cNvSpPr txBox="1"/>
          <p:nvPr/>
        </p:nvSpPr>
        <p:spPr>
          <a:xfrm>
            <a:off x="338541" y="1095333"/>
            <a:ext cx="9192785" cy="369332"/>
          </a:xfrm>
          <a:prstGeom prst="rect">
            <a:avLst/>
          </a:prstGeom>
          <a:noFill/>
        </p:spPr>
        <p:txBody>
          <a:bodyPr wrap="square" rtlCol="0">
            <a:spAutoFit/>
          </a:bodyPr>
          <a:lstStyle/>
          <a:p>
            <a:r>
              <a:rPr lang="ru-RU" dirty="0">
                <a:solidFill>
                  <a:schemeClr val="bg1"/>
                </a:solidFill>
                <a:latin typeface="Montserrat" pitchFamily="2" charset="-52"/>
              </a:rPr>
              <a:t>Директор за </a:t>
            </a:r>
            <a:r>
              <a:rPr lang="ru-RU" dirty="0" err="1">
                <a:solidFill>
                  <a:schemeClr val="bg1"/>
                </a:solidFill>
                <a:latin typeface="Montserrat" pitchFamily="2" charset="-52"/>
              </a:rPr>
              <a:t>връзки</a:t>
            </a:r>
            <a:r>
              <a:rPr lang="ru-RU" dirty="0">
                <a:solidFill>
                  <a:schemeClr val="bg1"/>
                </a:solidFill>
                <a:latin typeface="Montserrat" pitchFamily="2" charset="-52"/>
              </a:rPr>
              <a:t> с </a:t>
            </a:r>
            <a:r>
              <a:rPr lang="ru-RU" dirty="0" err="1">
                <a:solidFill>
                  <a:schemeClr val="bg1"/>
                </a:solidFill>
                <a:latin typeface="Montserrat" pitchFamily="2" charset="-52"/>
              </a:rPr>
              <a:t>инвеститорите</a:t>
            </a:r>
            <a:endParaRPr lang="bg-BG" dirty="0">
              <a:solidFill>
                <a:schemeClr val="bg1"/>
              </a:solidFill>
              <a:latin typeface="Montserrat" pitchFamily="2" charset="-52"/>
            </a:endParaRPr>
          </a:p>
        </p:txBody>
      </p:sp>
      <p:sp>
        <p:nvSpPr>
          <p:cNvPr id="2" name="Rectangle 1"/>
          <p:cNvSpPr/>
          <p:nvPr/>
        </p:nvSpPr>
        <p:spPr>
          <a:xfrm>
            <a:off x="548276" y="2418614"/>
            <a:ext cx="11061305" cy="830997"/>
          </a:xfrm>
          <a:prstGeom prst="rect">
            <a:avLst/>
          </a:prstGeom>
        </p:spPr>
        <p:txBody>
          <a:bodyPr wrap="square">
            <a:spAutoFit/>
          </a:bodyPr>
          <a:lstStyle/>
          <a:p>
            <a:pPr algn="just"/>
            <a:r>
              <a:rPr lang="bg-BG" sz="1600" dirty="0">
                <a:solidFill>
                  <a:srgbClr val="093E70"/>
                </a:solidFill>
                <a:latin typeface="Montserrat" pitchFamily="2" charset="-52"/>
              </a:rPr>
              <a:t>Необходимост от двупосочна връзка между управителния орган на ПД и инвеститорите му и между дружеството и регулаторния орган. В тази връзка, управителният орган на публичното дружество е длъжен да назначи по трудов договор </a:t>
            </a:r>
            <a:r>
              <a:rPr lang="bg-BG" sz="1600" b="1" dirty="0">
                <a:solidFill>
                  <a:srgbClr val="093E70"/>
                </a:solidFill>
                <a:latin typeface="Montserrat" pitchFamily="2" charset="-52"/>
              </a:rPr>
              <a:t>директор за връзки с инвеститорите</a:t>
            </a:r>
            <a:r>
              <a:rPr lang="bg-BG" sz="1600" dirty="0">
                <a:solidFill>
                  <a:srgbClr val="093E70"/>
                </a:solidFill>
                <a:latin typeface="Montserrat" pitchFamily="2" charset="-52"/>
              </a:rPr>
              <a:t>.</a:t>
            </a:r>
          </a:p>
        </p:txBody>
      </p:sp>
      <p:sp>
        <p:nvSpPr>
          <p:cNvPr id="3" name="Rectangle 2"/>
          <p:cNvSpPr/>
          <p:nvPr/>
        </p:nvSpPr>
        <p:spPr>
          <a:xfrm>
            <a:off x="542179" y="3456627"/>
            <a:ext cx="11061305" cy="584775"/>
          </a:xfrm>
          <a:prstGeom prst="rect">
            <a:avLst/>
          </a:prstGeom>
        </p:spPr>
        <p:txBody>
          <a:bodyPr wrap="square">
            <a:spAutoFit/>
          </a:bodyPr>
          <a:lstStyle/>
          <a:p>
            <a:pPr algn="just"/>
            <a:r>
              <a:rPr lang="bg-BG" sz="1600" dirty="0">
                <a:solidFill>
                  <a:srgbClr val="093E70"/>
                </a:solidFill>
                <a:latin typeface="Montserrat" pitchFamily="2" charset="-52"/>
              </a:rPr>
              <a:t>Дружества, които не са били публични, следва да изпълняват задължението в 3-месечен срок от придобиването на публичен статут.</a:t>
            </a:r>
          </a:p>
        </p:txBody>
      </p:sp>
      <p:grpSp>
        <p:nvGrpSpPr>
          <p:cNvPr id="26" name="Group 25"/>
          <p:cNvGrpSpPr/>
          <p:nvPr/>
        </p:nvGrpSpPr>
        <p:grpSpPr>
          <a:xfrm>
            <a:off x="1346868" y="4800840"/>
            <a:ext cx="9464120" cy="1151904"/>
            <a:chOff x="929559" y="2469120"/>
            <a:chExt cx="9464120" cy="1151904"/>
          </a:xfrm>
        </p:grpSpPr>
        <p:sp>
          <p:nvSpPr>
            <p:cNvPr id="12" name="Pentagon 11"/>
            <p:cNvSpPr/>
            <p:nvPr/>
          </p:nvSpPr>
          <p:spPr>
            <a:xfrm>
              <a:off x="4809663" y="2486416"/>
              <a:ext cx="1691721" cy="627410"/>
            </a:xfrm>
            <a:prstGeom prst="homePlate">
              <a:avLst>
                <a:gd name="adj" fmla="val 0"/>
              </a:avLst>
            </a:prstGeom>
            <a:solidFill>
              <a:srgbClr val="1C77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bg-BG" sz="1600" dirty="0">
                  <a:latin typeface="Montserrat ExtraBold" panose="00000900000000000000" pitchFamily="50" charset="-52"/>
                </a:rPr>
                <a:t>Публично дружество</a:t>
              </a:r>
            </a:p>
          </p:txBody>
        </p:sp>
        <p:sp>
          <p:nvSpPr>
            <p:cNvPr id="15" name="Pentagon 14"/>
            <p:cNvSpPr/>
            <p:nvPr/>
          </p:nvSpPr>
          <p:spPr>
            <a:xfrm>
              <a:off x="929559" y="2469120"/>
              <a:ext cx="1703913" cy="627410"/>
            </a:xfrm>
            <a:prstGeom prst="homePlate">
              <a:avLst>
                <a:gd name="adj" fmla="val 0"/>
              </a:avLst>
            </a:prstGeom>
            <a:solidFill>
              <a:srgbClr val="0C4E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bg-BG" sz="1600" dirty="0">
                  <a:latin typeface="Montserrat ExtraBold" panose="00000900000000000000" pitchFamily="50" charset="-52"/>
                </a:rPr>
                <a:t>Инвеститори</a:t>
              </a:r>
            </a:p>
          </p:txBody>
        </p:sp>
        <p:sp>
          <p:nvSpPr>
            <p:cNvPr id="16" name="Pentagon 15"/>
            <p:cNvSpPr/>
            <p:nvPr/>
          </p:nvSpPr>
          <p:spPr>
            <a:xfrm>
              <a:off x="8677574" y="2469120"/>
              <a:ext cx="1716105" cy="627410"/>
            </a:xfrm>
            <a:prstGeom prst="homePlate">
              <a:avLst>
                <a:gd name="adj" fmla="val 0"/>
              </a:avLst>
            </a:prstGeom>
            <a:solidFill>
              <a:srgbClr val="135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bg-BG" sz="1600" dirty="0">
                  <a:latin typeface="Montserrat ExtraBold" panose="00000900000000000000" pitchFamily="50" charset="-52"/>
                </a:rPr>
                <a:t>Регулаторен орган</a:t>
              </a:r>
            </a:p>
          </p:txBody>
        </p:sp>
        <p:cxnSp>
          <p:nvCxnSpPr>
            <p:cNvPr id="6" name="Straight Arrow Connector 5"/>
            <p:cNvCxnSpPr>
              <a:stCxn id="15" idx="3"/>
            </p:cNvCxnSpPr>
            <p:nvPr/>
          </p:nvCxnSpPr>
          <p:spPr>
            <a:xfrm>
              <a:off x="2633472" y="2782825"/>
              <a:ext cx="2176190" cy="0"/>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6501384" y="2782825"/>
              <a:ext cx="2176190" cy="0"/>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7" name="Right Brace 6"/>
            <p:cNvSpPr/>
            <p:nvPr/>
          </p:nvSpPr>
          <p:spPr>
            <a:xfrm rot="5400000">
              <a:off x="3563051" y="1932428"/>
              <a:ext cx="310896" cy="2145750"/>
            </a:xfrm>
            <a:prstGeom prst="rightBrace">
              <a:avLst>
                <a:gd name="adj1" fmla="val 117157"/>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bg-BG"/>
            </a:p>
          </p:txBody>
        </p:sp>
        <p:sp>
          <p:nvSpPr>
            <p:cNvPr id="21" name="Right Brace 20"/>
            <p:cNvSpPr/>
            <p:nvPr/>
          </p:nvSpPr>
          <p:spPr>
            <a:xfrm rot="5400000">
              <a:off x="7434031" y="1914043"/>
              <a:ext cx="310896" cy="2145750"/>
            </a:xfrm>
            <a:prstGeom prst="rightBrace">
              <a:avLst>
                <a:gd name="adj1" fmla="val 117157"/>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bg-BG"/>
            </a:p>
          </p:txBody>
        </p:sp>
        <p:sp>
          <p:nvSpPr>
            <p:cNvPr id="19" name="Pentagon 18"/>
            <p:cNvSpPr/>
            <p:nvPr/>
          </p:nvSpPr>
          <p:spPr>
            <a:xfrm>
              <a:off x="3207918" y="3217334"/>
              <a:ext cx="1021161" cy="403690"/>
            </a:xfrm>
            <a:prstGeom prst="homePlate">
              <a:avLst>
                <a:gd name="adj" fmla="val 0"/>
              </a:avLst>
            </a:prstGeom>
            <a:solidFill>
              <a:srgbClr val="13DD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bg-BG" sz="1600" dirty="0">
                  <a:latin typeface="Montserrat ExtraBold" panose="00000900000000000000" pitchFamily="50" charset="-52"/>
                </a:rPr>
                <a:t>ДВИ</a:t>
              </a:r>
            </a:p>
          </p:txBody>
        </p:sp>
        <p:sp>
          <p:nvSpPr>
            <p:cNvPr id="25" name="Pentagon 24"/>
            <p:cNvSpPr/>
            <p:nvPr/>
          </p:nvSpPr>
          <p:spPr>
            <a:xfrm>
              <a:off x="7078898" y="3217334"/>
              <a:ext cx="1021161" cy="403690"/>
            </a:xfrm>
            <a:prstGeom prst="homePlate">
              <a:avLst>
                <a:gd name="adj" fmla="val 0"/>
              </a:avLst>
            </a:prstGeom>
            <a:solidFill>
              <a:srgbClr val="13DD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bg-BG" sz="1600" dirty="0">
                  <a:latin typeface="Montserrat ExtraBold" panose="00000900000000000000" pitchFamily="50" charset="-52"/>
                </a:rPr>
                <a:t>ДВИ</a:t>
              </a:r>
            </a:p>
          </p:txBody>
        </p:sp>
      </p:gr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131552" y="6292745"/>
            <a:ext cx="1876472" cy="361108"/>
          </a:xfrm>
          <a:prstGeom prst="rect">
            <a:avLst/>
          </a:prstGeom>
        </p:spPr>
      </p:pic>
    </p:spTree>
    <p:extLst>
      <p:ext uri="{BB962C8B-B14F-4D97-AF65-F5344CB8AC3E}">
        <p14:creationId xmlns:p14="http://schemas.microsoft.com/office/powerpoint/2010/main" val="115026789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0800000">
            <a:off x="-4" y="0"/>
            <a:ext cx="12192003" cy="6858000"/>
          </a:xfrm>
          <a:prstGeom prst="rect">
            <a:avLst/>
          </a:prstGeom>
        </p:spPr>
      </p:pic>
      <p:sp>
        <p:nvSpPr>
          <p:cNvPr id="86" name="Pentagon 85"/>
          <p:cNvSpPr/>
          <p:nvPr/>
        </p:nvSpPr>
        <p:spPr>
          <a:xfrm>
            <a:off x="0" y="1708750"/>
            <a:ext cx="12191999" cy="839052"/>
          </a:xfrm>
          <a:prstGeom prst="homePlate">
            <a:avLst>
              <a:gd name="adj" fmla="val 0"/>
            </a:avLst>
          </a:prstGeom>
          <a:solidFill>
            <a:srgbClr val="1C77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sz="1600" dirty="0">
              <a:latin typeface="Montserrat ExtraBold" panose="00000900000000000000" pitchFamily="50" charset="-52"/>
            </a:endParaRPr>
          </a:p>
        </p:txBody>
      </p:sp>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t="35327" b="35532"/>
          <a:stretch/>
        </p:blipFill>
        <p:spPr>
          <a:xfrm>
            <a:off x="0" y="0"/>
            <a:ext cx="12192000" cy="1715678"/>
          </a:xfrm>
          <a:prstGeom prst="rect">
            <a:avLst/>
          </a:prstGeom>
        </p:spPr>
      </p:pic>
      <p:sp>
        <p:nvSpPr>
          <p:cNvPr id="5" name="TextBox 4"/>
          <p:cNvSpPr txBox="1"/>
          <p:nvPr/>
        </p:nvSpPr>
        <p:spPr>
          <a:xfrm>
            <a:off x="338540" y="171682"/>
            <a:ext cx="9531323" cy="830997"/>
          </a:xfrm>
          <a:prstGeom prst="rect">
            <a:avLst/>
          </a:prstGeom>
          <a:noFill/>
        </p:spPr>
        <p:txBody>
          <a:bodyPr wrap="square" rtlCol="0">
            <a:spAutoFit/>
          </a:bodyPr>
          <a:lstStyle/>
          <a:p>
            <a:r>
              <a:rPr lang="en-US" sz="2400" dirty="0">
                <a:solidFill>
                  <a:schemeClr val="bg1"/>
                </a:solidFill>
                <a:latin typeface="Montserrat Black" pitchFamily="2" charset="-52"/>
              </a:rPr>
              <a:t>III. </a:t>
            </a:r>
            <a:r>
              <a:rPr lang="ru-RU" sz="2400" dirty="0">
                <a:solidFill>
                  <a:schemeClr val="bg1"/>
                </a:solidFill>
                <a:latin typeface="Montserrat Black" pitchFamily="2" charset="-52"/>
              </a:rPr>
              <a:t>ПОСЛЕДВАЩИ ИЗИСКВАНИЯ ЗА РАЗКРИВАНЕ НА ИНФОРМАЦИЯ</a:t>
            </a:r>
            <a:endParaRPr lang="bg-BG" sz="2400" dirty="0">
              <a:solidFill>
                <a:schemeClr val="bg1"/>
              </a:solidFill>
              <a:latin typeface="Montserrat Black" pitchFamily="2" charset="-52"/>
            </a:endParaRPr>
          </a:p>
        </p:txBody>
      </p:sp>
      <p:sp>
        <p:nvSpPr>
          <p:cNvPr id="8" name="TextBox 7"/>
          <p:cNvSpPr txBox="1"/>
          <p:nvPr/>
        </p:nvSpPr>
        <p:spPr>
          <a:xfrm>
            <a:off x="338540" y="956512"/>
            <a:ext cx="9192785" cy="369332"/>
          </a:xfrm>
          <a:prstGeom prst="rect">
            <a:avLst/>
          </a:prstGeom>
          <a:noFill/>
        </p:spPr>
        <p:txBody>
          <a:bodyPr wrap="square" rtlCol="0">
            <a:spAutoFit/>
          </a:bodyPr>
          <a:lstStyle/>
          <a:p>
            <a:r>
              <a:rPr lang="ru-RU" dirty="0" err="1">
                <a:solidFill>
                  <a:schemeClr val="bg1"/>
                </a:solidFill>
                <a:latin typeface="Montserrat" pitchFamily="2" charset="-52"/>
              </a:rPr>
              <a:t>Разкриване</a:t>
            </a:r>
            <a:r>
              <a:rPr lang="ru-RU" dirty="0">
                <a:solidFill>
                  <a:schemeClr val="bg1"/>
                </a:solidFill>
                <a:latin typeface="Montserrat" pitchFamily="2" charset="-52"/>
              </a:rPr>
              <a:t> на </a:t>
            </a:r>
            <a:r>
              <a:rPr lang="ru-RU" dirty="0" err="1">
                <a:solidFill>
                  <a:schemeClr val="bg1"/>
                </a:solidFill>
                <a:latin typeface="Montserrat" pitchFamily="2" charset="-52"/>
              </a:rPr>
              <a:t>регулирана</a:t>
            </a:r>
            <a:r>
              <a:rPr lang="ru-RU" dirty="0">
                <a:solidFill>
                  <a:schemeClr val="bg1"/>
                </a:solidFill>
                <a:latin typeface="Montserrat" pitchFamily="2" charset="-52"/>
              </a:rPr>
              <a:t> информация</a:t>
            </a:r>
            <a:endParaRPr lang="bg-BG" dirty="0">
              <a:solidFill>
                <a:schemeClr val="bg1"/>
              </a:solidFill>
              <a:latin typeface="Montserrat" pitchFamily="2" charset="-52"/>
            </a:endParaRPr>
          </a:p>
        </p:txBody>
      </p:sp>
      <p:pic>
        <p:nvPicPr>
          <p:cNvPr id="12" name="Picture 11"/>
          <p:cNvPicPr>
            <a:picLocks noChangeAspect="1"/>
          </p:cNvPicPr>
          <p:nvPr/>
        </p:nvPicPr>
        <p:blipFill>
          <a:blip r:embed="rId4" cstate="print">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rot="16200000">
            <a:off x="4182512" y="2997399"/>
            <a:ext cx="3114027" cy="3114027"/>
          </a:xfrm>
          <a:prstGeom prst="rect">
            <a:avLst/>
          </a:prstGeom>
        </p:spPr>
      </p:pic>
      <p:sp>
        <p:nvSpPr>
          <p:cNvPr id="3" name="Rectangle 2"/>
          <p:cNvSpPr/>
          <p:nvPr/>
        </p:nvSpPr>
        <p:spPr>
          <a:xfrm>
            <a:off x="205272" y="1858850"/>
            <a:ext cx="11917598" cy="523220"/>
          </a:xfrm>
          <a:prstGeom prst="rect">
            <a:avLst/>
          </a:prstGeom>
        </p:spPr>
        <p:txBody>
          <a:bodyPr wrap="square">
            <a:spAutoFit/>
          </a:bodyPr>
          <a:lstStyle/>
          <a:p>
            <a:pPr algn="ctr"/>
            <a:r>
              <a:rPr lang="ru-RU" sz="1400" dirty="0">
                <a:solidFill>
                  <a:schemeClr val="bg1"/>
                </a:solidFill>
                <a:latin typeface="Montserrat" pitchFamily="2" charset="-52"/>
              </a:rPr>
              <a:t>С </a:t>
            </a:r>
            <a:r>
              <a:rPr lang="ru-RU" sz="1400" dirty="0" err="1">
                <a:solidFill>
                  <a:schemeClr val="bg1"/>
                </a:solidFill>
                <a:latin typeface="Montserrat" pitchFamily="2" charset="-52"/>
              </a:rPr>
              <a:t>оглед</a:t>
            </a:r>
            <a:r>
              <a:rPr lang="ru-RU" sz="1400" dirty="0">
                <a:solidFill>
                  <a:schemeClr val="bg1"/>
                </a:solidFill>
                <a:latin typeface="Montserrat" pitchFamily="2" charset="-52"/>
              </a:rPr>
              <a:t> защита </a:t>
            </a:r>
            <a:r>
              <a:rPr lang="ru-RU" sz="1400" dirty="0" err="1">
                <a:solidFill>
                  <a:schemeClr val="bg1"/>
                </a:solidFill>
                <a:latin typeface="Montserrat" pitchFamily="2" charset="-52"/>
              </a:rPr>
              <a:t>правата</a:t>
            </a:r>
            <a:r>
              <a:rPr lang="ru-RU" sz="1400" dirty="0">
                <a:solidFill>
                  <a:schemeClr val="bg1"/>
                </a:solidFill>
                <a:latin typeface="Montserrat" pitchFamily="2" charset="-52"/>
              </a:rPr>
              <a:t> на </a:t>
            </a:r>
            <a:r>
              <a:rPr lang="ru-RU" sz="1400" dirty="0" err="1">
                <a:solidFill>
                  <a:schemeClr val="bg1"/>
                </a:solidFill>
                <a:latin typeface="Montserrat" pitchFamily="2" charset="-52"/>
              </a:rPr>
              <a:t>инвеститорите</a:t>
            </a:r>
            <a:r>
              <a:rPr lang="ru-RU" sz="1400" dirty="0">
                <a:solidFill>
                  <a:schemeClr val="bg1"/>
                </a:solidFill>
                <a:latin typeface="Montserrat" pitchFamily="2" charset="-52"/>
              </a:rPr>
              <a:t> и с цел осигуряване на </a:t>
            </a:r>
            <a:r>
              <a:rPr lang="ru-RU" sz="1400" dirty="0" err="1">
                <a:solidFill>
                  <a:schemeClr val="bg1"/>
                </a:solidFill>
                <a:latin typeface="Montserrat" pitchFamily="2" charset="-52"/>
              </a:rPr>
              <a:t>прозрачност</a:t>
            </a:r>
            <a:r>
              <a:rPr lang="ru-RU" sz="1400" dirty="0">
                <a:solidFill>
                  <a:schemeClr val="bg1"/>
                </a:solidFill>
                <a:latin typeface="Montserrat" pitchFamily="2" charset="-52"/>
              </a:rPr>
              <a:t> на пазара </a:t>
            </a:r>
            <a:r>
              <a:rPr lang="ru-RU" sz="1400" dirty="0" err="1">
                <a:solidFill>
                  <a:schemeClr val="bg1"/>
                </a:solidFill>
                <a:latin typeface="Montserrat" pitchFamily="2" charset="-52"/>
              </a:rPr>
              <a:t>всеки</a:t>
            </a:r>
            <a:r>
              <a:rPr lang="ru-RU" sz="1400" dirty="0">
                <a:solidFill>
                  <a:schemeClr val="bg1"/>
                </a:solidFill>
                <a:latin typeface="Montserrat" pitchFamily="2" charset="-52"/>
              </a:rPr>
              <a:t> </a:t>
            </a:r>
            <a:r>
              <a:rPr lang="ru-RU" sz="1400" dirty="0" err="1">
                <a:solidFill>
                  <a:schemeClr val="bg1"/>
                </a:solidFill>
                <a:latin typeface="Montserrat" pitchFamily="2" charset="-52"/>
              </a:rPr>
              <a:t>емитент</a:t>
            </a:r>
            <a:r>
              <a:rPr lang="ru-RU" sz="1400" dirty="0">
                <a:solidFill>
                  <a:schemeClr val="bg1"/>
                </a:solidFill>
                <a:latin typeface="Montserrat" pitchFamily="2" charset="-52"/>
              </a:rPr>
              <a:t>, </a:t>
            </a:r>
            <a:r>
              <a:rPr lang="ru-RU" sz="1400" dirty="0" err="1">
                <a:solidFill>
                  <a:schemeClr val="bg1"/>
                </a:solidFill>
                <a:latin typeface="Montserrat" pitchFamily="2" charset="-52"/>
              </a:rPr>
              <a:t>попадащ</a:t>
            </a:r>
            <a:r>
              <a:rPr lang="ru-RU" sz="1400" dirty="0">
                <a:solidFill>
                  <a:schemeClr val="bg1"/>
                </a:solidFill>
                <a:latin typeface="Montserrat" pitchFamily="2" charset="-52"/>
              </a:rPr>
              <a:t> в обхвата на ЗППЦК, в </a:t>
            </a:r>
            <a:r>
              <a:rPr lang="ru-RU" sz="1400" dirty="0" err="1">
                <a:solidFill>
                  <a:schemeClr val="bg1"/>
                </a:solidFill>
                <a:latin typeface="Montserrat" pitchFamily="2" charset="-52"/>
              </a:rPr>
              <a:t>това</a:t>
            </a:r>
            <a:r>
              <a:rPr lang="ru-RU" sz="1400" dirty="0">
                <a:solidFill>
                  <a:schemeClr val="bg1"/>
                </a:solidFill>
                <a:latin typeface="Montserrat" pitchFamily="2" charset="-52"/>
              </a:rPr>
              <a:t> число и ПД, е </a:t>
            </a:r>
            <a:r>
              <a:rPr lang="ru-RU" sz="1400" dirty="0" err="1">
                <a:solidFill>
                  <a:schemeClr val="bg1"/>
                </a:solidFill>
                <a:latin typeface="Montserrat" pitchFamily="2" charset="-52"/>
              </a:rPr>
              <a:t>длъжно</a:t>
            </a:r>
            <a:r>
              <a:rPr lang="ru-RU" sz="1400" dirty="0">
                <a:solidFill>
                  <a:schemeClr val="bg1"/>
                </a:solidFill>
                <a:latin typeface="Montserrat" pitchFamily="2" charset="-52"/>
              </a:rPr>
              <a:t> да </a:t>
            </a:r>
            <a:r>
              <a:rPr lang="ru-RU" sz="1400" dirty="0" err="1">
                <a:solidFill>
                  <a:schemeClr val="bg1"/>
                </a:solidFill>
                <a:latin typeface="Montserrat" pitchFamily="2" charset="-52"/>
              </a:rPr>
              <a:t>разкрива</a:t>
            </a:r>
            <a:r>
              <a:rPr lang="ru-RU" sz="1400" dirty="0">
                <a:solidFill>
                  <a:schemeClr val="bg1"/>
                </a:solidFill>
                <a:latin typeface="Montserrat" pitchFamily="2" charset="-52"/>
              </a:rPr>
              <a:t> </a:t>
            </a:r>
            <a:r>
              <a:rPr lang="ru-RU" sz="1400" dirty="0" err="1">
                <a:solidFill>
                  <a:schemeClr val="bg1"/>
                </a:solidFill>
                <a:latin typeface="Montserrat" pitchFamily="2" charset="-52"/>
              </a:rPr>
              <a:t>регулирана</a:t>
            </a:r>
            <a:r>
              <a:rPr lang="ru-RU" sz="1400" dirty="0">
                <a:solidFill>
                  <a:schemeClr val="bg1"/>
                </a:solidFill>
                <a:latin typeface="Montserrat" pitchFamily="2" charset="-52"/>
              </a:rPr>
              <a:t> информация по предвидения в ЗППЦК </a:t>
            </a:r>
            <a:r>
              <a:rPr lang="ru-RU" sz="1400" dirty="0" err="1">
                <a:solidFill>
                  <a:schemeClr val="bg1"/>
                </a:solidFill>
                <a:latin typeface="Montserrat" pitchFamily="2" charset="-52"/>
              </a:rPr>
              <a:t>ред</a:t>
            </a:r>
            <a:r>
              <a:rPr lang="ru-RU" sz="1400" dirty="0">
                <a:solidFill>
                  <a:schemeClr val="bg1"/>
                </a:solidFill>
                <a:latin typeface="Montserrat" pitchFamily="2" charset="-52"/>
              </a:rPr>
              <a:t>, </a:t>
            </a:r>
            <a:r>
              <a:rPr lang="ru-RU" sz="1400" dirty="0" err="1">
                <a:solidFill>
                  <a:schemeClr val="bg1"/>
                </a:solidFill>
                <a:latin typeface="Montserrat" pitchFamily="2" charset="-52"/>
              </a:rPr>
              <a:t>която</a:t>
            </a:r>
            <a:r>
              <a:rPr lang="ru-RU" sz="1400" dirty="0">
                <a:solidFill>
                  <a:schemeClr val="bg1"/>
                </a:solidFill>
                <a:latin typeface="Montserrat" pitchFamily="2" charset="-52"/>
              </a:rPr>
              <a:t> </a:t>
            </a:r>
            <a:r>
              <a:rPr lang="ru-RU" sz="1400" dirty="0" err="1">
                <a:solidFill>
                  <a:schemeClr val="bg1"/>
                </a:solidFill>
                <a:latin typeface="Montserrat" pitchFamily="2" charset="-52"/>
              </a:rPr>
              <a:t>обхваща</a:t>
            </a:r>
            <a:r>
              <a:rPr lang="ru-RU" sz="1400" dirty="0">
                <a:solidFill>
                  <a:schemeClr val="bg1"/>
                </a:solidFill>
                <a:latin typeface="Montserrat" pitchFamily="2" charset="-52"/>
              </a:rPr>
              <a:t>: </a:t>
            </a:r>
          </a:p>
        </p:txBody>
      </p:sp>
      <p:grpSp>
        <p:nvGrpSpPr>
          <p:cNvPr id="14" name="Group 13"/>
          <p:cNvGrpSpPr/>
          <p:nvPr/>
        </p:nvGrpSpPr>
        <p:grpSpPr>
          <a:xfrm flipH="1" flipV="1">
            <a:off x="257467" y="3473794"/>
            <a:ext cx="4214715" cy="367537"/>
            <a:chOff x="1736644" y="2500321"/>
            <a:chExt cx="9506659" cy="890329"/>
          </a:xfrm>
        </p:grpSpPr>
        <p:sp>
          <p:nvSpPr>
            <p:cNvPr id="16" name="Rectangle 15"/>
            <p:cNvSpPr/>
            <p:nvPr/>
          </p:nvSpPr>
          <p:spPr>
            <a:xfrm>
              <a:off x="2339408" y="2500321"/>
              <a:ext cx="8865042" cy="338554"/>
            </a:xfrm>
            <a:prstGeom prst="rect">
              <a:avLst/>
            </a:prstGeom>
          </p:spPr>
          <p:txBody>
            <a:bodyPr wrap="square">
              <a:spAutoFit/>
            </a:bodyPr>
            <a:lstStyle/>
            <a:p>
              <a:endParaRPr lang="bg-BG" sz="1600" dirty="0">
                <a:solidFill>
                  <a:srgbClr val="093E70"/>
                </a:solidFill>
                <a:latin typeface="Montserrat" pitchFamily="2" charset="-52"/>
              </a:endParaRPr>
            </a:p>
          </p:txBody>
        </p:sp>
        <p:grpSp>
          <p:nvGrpSpPr>
            <p:cNvPr id="17" name="Group 16"/>
            <p:cNvGrpSpPr/>
            <p:nvPr/>
          </p:nvGrpSpPr>
          <p:grpSpPr>
            <a:xfrm>
              <a:off x="1736644" y="2975150"/>
              <a:ext cx="9506659" cy="415500"/>
              <a:chOff x="1736644" y="2975150"/>
              <a:chExt cx="9506659" cy="415500"/>
            </a:xfrm>
          </p:grpSpPr>
          <p:cxnSp>
            <p:nvCxnSpPr>
              <p:cNvPr id="19" name="Straight Connector 18">
                <a:extLst>
                  <a:ext uri="{FF2B5EF4-FFF2-40B4-BE49-F238E27FC236}">
                    <a16:creationId xmlns:a16="http://schemas.microsoft.com/office/drawing/2014/main" id="{78F4B401-C15D-A4C1-79B0-3BDB248D7D22}"/>
                  </a:ext>
                </a:extLst>
              </p:cNvPr>
              <p:cNvCxnSpPr>
                <a:cxnSpLocks/>
              </p:cNvCxnSpPr>
              <p:nvPr/>
            </p:nvCxnSpPr>
            <p:spPr>
              <a:xfrm>
                <a:off x="1736644" y="2975150"/>
                <a:ext cx="301382" cy="0"/>
              </a:xfrm>
              <a:prstGeom prst="line">
                <a:avLst/>
              </a:prstGeom>
              <a:ln w="19050">
                <a:solidFill>
                  <a:srgbClr val="02295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CCAEDF3-5A52-2B67-1633-6005DDB35F29}"/>
                  </a:ext>
                </a:extLst>
              </p:cNvPr>
              <p:cNvCxnSpPr/>
              <p:nvPr/>
            </p:nvCxnSpPr>
            <p:spPr>
              <a:xfrm>
                <a:off x="2038026" y="2975151"/>
                <a:ext cx="336429" cy="415499"/>
              </a:xfrm>
              <a:prstGeom prst="line">
                <a:avLst/>
              </a:prstGeom>
              <a:ln w="19050">
                <a:solidFill>
                  <a:srgbClr val="02295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0D09BA9-0900-E79D-D431-F1621563A73E}"/>
                  </a:ext>
                </a:extLst>
              </p:cNvPr>
              <p:cNvCxnSpPr>
                <a:cxnSpLocks/>
              </p:cNvCxnSpPr>
              <p:nvPr/>
            </p:nvCxnSpPr>
            <p:spPr>
              <a:xfrm>
                <a:off x="2374455" y="3390650"/>
                <a:ext cx="8868848" cy="0"/>
              </a:xfrm>
              <a:prstGeom prst="line">
                <a:avLst/>
              </a:prstGeom>
              <a:ln w="19050">
                <a:solidFill>
                  <a:srgbClr val="022952"/>
                </a:solidFill>
              </a:ln>
            </p:spPr>
            <p:style>
              <a:lnRef idx="1">
                <a:schemeClr val="accent1"/>
              </a:lnRef>
              <a:fillRef idx="0">
                <a:schemeClr val="accent1"/>
              </a:fillRef>
              <a:effectRef idx="0">
                <a:schemeClr val="accent1"/>
              </a:effectRef>
              <a:fontRef idx="minor">
                <a:schemeClr val="tx1"/>
              </a:fontRef>
            </p:style>
          </p:cxnSp>
        </p:grpSp>
      </p:grpSp>
      <p:sp>
        <p:nvSpPr>
          <p:cNvPr id="4" name="Rectangle 3"/>
          <p:cNvSpPr/>
          <p:nvPr/>
        </p:nvSpPr>
        <p:spPr>
          <a:xfrm>
            <a:off x="341295" y="2955606"/>
            <a:ext cx="3895325" cy="523220"/>
          </a:xfrm>
          <a:prstGeom prst="rect">
            <a:avLst/>
          </a:prstGeom>
        </p:spPr>
        <p:txBody>
          <a:bodyPr wrap="square">
            <a:spAutoFit/>
          </a:bodyPr>
          <a:lstStyle/>
          <a:p>
            <a:pPr algn="ctr"/>
            <a:r>
              <a:rPr lang="ru-RU" sz="1400" dirty="0">
                <a:solidFill>
                  <a:srgbClr val="093E70"/>
                </a:solidFill>
                <a:latin typeface="Montserrat" pitchFamily="2" charset="-52"/>
              </a:rPr>
              <a:t>периодична </a:t>
            </a:r>
            <a:r>
              <a:rPr lang="ru-RU" sz="1400" dirty="0" err="1">
                <a:solidFill>
                  <a:srgbClr val="093E70"/>
                </a:solidFill>
                <a:latin typeface="Montserrat" pitchFamily="2" charset="-52"/>
              </a:rPr>
              <a:t>финансовоотчетна</a:t>
            </a:r>
            <a:r>
              <a:rPr lang="ru-RU" sz="1400" dirty="0">
                <a:solidFill>
                  <a:srgbClr val="093E70"/>
                </a:solidFill>
                <a:latin typeface="Montserrat" pitchFamily="2" charset="-52"/>
              </a:rPr>
              <a:t> и друга информация по Глава VI „а“ на ЗППЦК;</a:t>
            </a:r>
          </a:p>
        </p:txBody>
      </p:sp>
      <p:grpSp>
        <p:nvGrpSpPr>
          <p:cNvPr id="27" name="Group 26"/>
          <p:cNvGrpSpPr/>
          <p:nvPr/>
        </p:nvGrpSpPr>
        <p:grpSpPr>
          <a:xfrm flipH="1">
            <a:off x="519304" y="4279355"/>
            <a:ext cx="3675131" cy="171523"/>
            <a:chOff x="1736644" y="2975150"/>
            <a:chExt cx="8289579" cy="415500"/>
          </a:xfrm>
        </p:grpSpPr>
        <p:cxnSp>
          <p:nvCxnSpPr>
            <p:cNvPr id="28" name="Straight Connector 27">
              <a:extLst>
                <a:ext uri="{FF2B5EF4-FFF2-40B4-BE49-F238E27FC236}">
                  <a16:creationId xmlns:a16="http://schemas.microsoft.com/office/drawing/2014/main" id="{78F4B401-C15D-A4C1-79B0-3BDB248D7D22}"/>
                </a:ext>
              </a:extLst>
            </p:cNvPr>
            <p:cNvCxnSpPr>
              <a:cxnSpLocks/>
            </p:cNvCxnSpPr>
            <p:nvPr/>
          </p:nvCxnSpPr>
          <p:spPr>
            <a:xfrm>
              <a:off x="1736644" y="2975150"/>
              <a:ext cx="301382" cy="0"/>
            </a:xfrm>
            <a:prstGeom prst="line">
              <a:avLst/>
            </a:prstGeom>
            <a:ln w="19050">
              <a:solidFill>
                <a:srgbClr val="0C4787"/>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CCAEDF3-5A52-2B67-1633-6005DDB35F29}"/>
                </a:ext>
              </a:extLst>
            </p:cNvPr>
            <p:cNvCxnSpPr/>
            <p:nvPr/>
          </p:nvCxnSpPr>
          <p:spPr>
            <a:xfrm>
              <a:off x="2038026" y="2975151"/>
              <a:ext cx="336429" cy="415499"/>
            </a:xfrm>
            <a:prstGeom prst="line">
              <a:avLst/>
            </a:prstGeom>
            <a:ln w="19050">
              <a:solidFill>
                <a:srgbClr val="0C4787"/>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0D09BA9-0900-E79D-D431-F1621563A73E}"/>
                </a:ext>
              </a:extLst>
            </p:cNvPr>
            <p:cNvCxnSpPr>
              <a:cxnSpLocks/>
            </p:cNvCxnSpPr>
            <p:nvPr/>
          </p:nvCxnSpPr>
          <p:spPr>
            <a:xfrm>
              <a:off x="2374454" y="3390650"/>
              <a:ext cx="7651769" cy="0"/>
            </a:xfrm>
            <a:prstGeom prst="line">
              <a:avLst/>
            </a:prstGeom>
            <a:ln w="19050">
              <a:solidFill>
                <a:srgbClr val="0C4787"/>
              </a:solidFill>
            </a:ln>
          </p:spPr>
          <p:style>
            <a:lnRef idx="1">
              <a:schemeClr val="accent1"/>
            </a:lnRef>
            <a:fillRef idx="0">
              <a:schemeClr val="accent1"/>
            </a:fillRef>
            <a:effectRef idx="0">
              <a:schemeClr val="accent1"/>
            </a:effectRef>
            <a:fontRef idx="minor">
              <a:schemeClr val="tx1"/>
            </a:fontRef>
          </p:style>
        </p:cxnSp>
      </p:grpSp>
      <p:sp>
        <p:nvSpPr>
          <p:cNvPr id="32" name="Rectangle 31"/>
          <p:cNvSpPr/>
          <p:nvPr/>
        </p:nvSpPr>
        <p:spPr>
          <a:xfrm>
            <a:off x="183259" y="3581437"/>
            <a:ext cx="4014293" cy="738664"/>
          </a:xfrm>
          <a:prstGeom prst="rect">
            <a:avLst/>
          </a:prstGeom>
        </p:spPr>
        <p:txBody>
          <a:bodyPr wrap="square">
            <a:spAutoFit/>
          </a:bodyPr>
          <a:lstStyle/>
          <a:p>
            <a:pPr algn="ctr"/>
            <a:r>
              <a:rPr lang="ru-RU" sz="1400" dirty="0" err="1">
                <a:solidFill>
                  <a:srgbClr val="093E70"/>
                </a:solidFill>
                <a:latin typeface="Montserrat" pitchFamily="2" charset="-52"/>
              </a:rPr>
              <a:t>другата</a:t>
            </a:r>
            <a:r>
              <a:rPr lang="ru-RU" sz="1400" dirty="0">
                <a:solidFill>
                  <a:srgbClr val="093E70"/>
                </a:solidFill>
                <a:latin typeface="Montserrat" pitchFamily="2" charset="-52"/>
              </a:rPr>
              <a:t> </a:t>
            </a:r>
            <a:r>
              <a:rPr lang="ru-RU" sz="1400" dirty="0" err="1">
                <a:solidFill>
                  <a:srgbClr val="093E70"/>
                </a:solidFill>
                <a:latin typeface="Montserrat" pitchFamily="2" charset="-52"/>
              </a:rPr>
              <a:t>регулирана</a:t>
            </a:r>
            <a:r>
              <a:rPr lang="ru-RU" sz="1400" dirty="0">
                <a:solidFill>
                  <a:srgbClr val="093E70"/>
                </a:solidFill>
                <a:latin typeface="Montserrat" pitchFamily="2" charset="-52"/>
              </a:rPr>
              <a:t> информация по </a:t>
            </a:r>
            <a:r>
              <a:rPr lang="ru-RU" sz="1400" dirty="0" err="1">
                <a:solidFill>
                  <a:srgbClr val="093E70"/>
                </a:solidFill>
                <a:latin typeface="Montserrat" pitchFamily="2" charset="-52"/>
              </a:rPr>
              <a:t>смисъла</a:t>
            </a:r>
            <a:r>
              <a:rPr lang="ru-RU" sz="1400" dirty="0">
                <a:solidFill>
                  <a:srgbClr val="093E70"/>
                </a:solidFill>
                <a:latin typeface="Montserrat" pitchFamily="2" charset="-52"/>
              </a:rPr>
              <a:t> на ЗППЦК – </a:t>
            </a:r>
            <a:r>
              <a:rPr lang="ru-RU" sz="1400" dirty="0" err="1">
                <a:solidFill>
                  <a:srgbClr val="093E70"/>
                </a:solidFill>
                <a:latin typeface="Montserrat" pitchFamily="2" charset="-52"/>
              </a:rPr>
              <a:t>относно</a:t>
            </a:r>
            <a:r>
              <a:rPr lang="ru-RU" sz="1400" dirty="0">
                <a:solidFill>
                  <a:srgbClr val="093E70"/>
                </a:solidFill>
                <a:latin typeface="Montserrat" pitchFamily="2" charset="-52"/>
              </a:rPr>
              <a:t> </a:t>
            </a:r>
            <a:r>
              <a:rPr lang="ru-RU" sz="1400" dirty="0" err="1">
                <a:solidFill>
                  <a:srgbClr val="093E70"/>
                </a:solidFill>
                <a:latin typeface="Montserrat" pitchFamily="2" charset="-52"/>
              </a:rPr>
              <a:t>промяната</a:t>
            </a:r>
            <a:r>
              <a:rPr lang="ru-RU" sz="1400" dirty="0">
                <a:solidFill>
                  <a:srgbClr val="093E70"/>
                </a:solidFill>
                <a:latin typeface="Montserrat" pitchFamily="2" charset="-52"/>
              </a:rPr>
              <a:t> в </a:t>
            </a:r>
            <a:r>
              <a:rPr lang="ru-RU" sz="1400" dirty="0" err="1">
                <a:solidFill>
                  <a:srgbClr val="093E70"/>
                </a:solidFill>
                <a:latin typeface="Montserrat" pitchFamily="2" charset="-52"/>
              </a:rPr>
              <a:t>дяловото</a:t>
            </a:r>
            <a:r>
              <a:rPr lang="ru-RU" sz="1400" dirty="0">
                <a:solidFill>
                  <a:srgbClr val="093E70"/>
                </a:solidFill>
                <a:latin typeface="Montserrat" pitchFamily="2" charset="-52"/>
              </a:rPr>
              <a:t> участие на </a:t>
            </a:r>
            <a:r>
              <a:rPr lang="ru-RU" sz="1400" dirty="0" err="1">
                <a:solidFill>
                  <a:srgbClr val="093E70"/>
                </a:solidFill>
                <a:latin typeface="Montserrat" pitchFamily="2" charset="-52"/>
              </a:rPr>
              <a:t>акционерите</a:t>
            </a:r>
            <a:r>
              <a:rPr lang="ru-RU" sz="1400" dirty="0">
                <a:solidFill>
                  <a:srgbClr val="093E70"/>
                </a:solidFill>
                <a:latin typeface="Montserrat" pitchFamily="2" charset="-52"/>
              </a:rPr>
              <a:t> </a:t>
            </a:r>
            <a:r>
              <a:rPr lang="ru-RU" sz="1400" dirty="0" err="1">
                <a:solidFill>
                  <a:srgbClr val="093E70"/>
                </a:solidFill>
                <a:latin typeface="Montserrat" pitchFamily="2" charset="-52"/>
              </a:rPr>
              <a:t>му</a:t>
            </a:r>
            <a:r>
              <a:rPr lang="ru-RU" sz="1400" dirty="0">
                <a:solidFill>
                  <a:srgbClr val="093E70"/>
                </a:solidFill>
                <a:latin typeface="Montserrat" pitchFamily="2" charset="-52"/>
              </a:rPr>
              <a:t>;</a:t>
            </a:r>
            <a:endParaRPr lang="bg-BG" sz="1400" dirty="0"/>
          </a:p>
        </p:txBody>
      </p:sp>
      <p:grpSp>
        <p:nvGrpSpPr>
          <p:cNvPr id="37" name="Group 36"/>
          <p:cNvGrpSpPr/>
          <p:nvPr/>
        </p:nvGrpSpPr>
        <p:grpSpPr>
          <a:xfrm flipH="1">
            <a:off x="592777" y="4995373"/>
            <a:ext cx="3675131" cy="171523"/>
            <a:chOff x="1736644" y="2975150"/>
            <a:chExt cx="8289579" cy="415500"/>
          </a:xfrm>
        </p:grpSpPr>
        <p:cxnSp>
          <p:nvCxnSpPr>
            <p:cNvPr id="38" name="Straight Connector 37">
              <a:extLst>
                <a:ext uri="{FF2B5EF4-FFF2-40B4-BE49-F238E27FC236}">
                  <a16:creationId xmlns:a16="http://schemas.microsoft.com/office/drawing/2014/main" id="{78F4B401-C15D-A4C1-79B0-3BDB248D7D22}"/>
                </a:ext>
              </a:extLst>
            </p:cNvPr>
            <p:cNvCxnSpPr>
              <a:cxnSpLocks/>
            </p:cNvCxnSpPr>
            <p:nvPr/>
          </p:nvCxnSpPr>
          <p:spPr>
            <a:xfrm>
              <a:off x="1736644" y="2975150"/>
              <a:ext cx="301382" cy="0"/>
            </a:xfrm>
            <a:prstGeom prst="line">
              <a:avLst/>
            </a:prstGeom>
            <a:ln w="19050">
              <a:solidFill>
                <a:srgbClr val="175DA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CCAEDF3-5A52-2B67-1633-6005DDB35F29}"/>
                </a:ext>
              </a:extLst>
            </p:cNvPr>
            <p:cNvCxnSpPr/>
            <p:nvPr/>
          </p:nvCxnSpPr>
          <p:spPr>
            <a:xfrm>
              <a:off x="2038026" y="2975151"/>
              <a:ext cx="336429" cy="415499"/>
            </a:xfrm>
            <a:prstGeom prst="line">
              <a:avLst/>
            </a:prstGeom>
            <a:ln w="19050">
              <a:solidFill>
                <a:srgbClr val="175DA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0D09BA9-0900-E79D-D431-F1621563A73E}"/>
                </a:ext>
              </a:extLst>
            </p:cNvPr>
            <p:cNvCxnSpPr>
              <a:cxnSpLocks/>
            </p:cNvCxnSpPr>
            <p:nvPr/>
          </p:nvCxnSpPr>
          <p:spPr>
            <a:xfrm>
              <a:off x="2374454" y="3390650"/>
              <a:ext cx="7651769" cy="0"/>
            </a:xfrm>
            <a:prstGeom prst="line">
              <a:avLst/>
            </a:prstGeom>
            <a:ln w="19050">
              <a:solidFill>
                <a:srgbClr val="175DA2"/>
              </a:solidFill>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p:nvGrpSpPr>
        <p:grpSpPr>
          <a:xfrm flipH="1">
            <a:off x="253749" y="5957613"/>
            <a:ext cx="4845739" cy="469753"/>
            <a:chOff x="1453065" y="2252711"/>
            <a:chExt cx="10929987" cy="1137939"/>
          </a:xfrm>
        </p:grpSpPr>
        <p:cxnSp>
          <p:nvCxnSpPr>
            <p:cNvPr id="48" name="Straight Connector 47">
              <a:extLst>
                <a:ext uri="{FF2B5EF4-FFF2-40B4-BE49-F238E27FC236}">
                  <a16:creationId xmlns:a16="http://schemas.microsoft.com/office/drawing/2014/main" id="{5CCAEDF3-5A52-2B67-1633-6005DDB35F29}"/>
                </a:ext>
              </a:extLst>
            </p:cNvPr>
            <p:cNvCxnSpPr/>
            <p:nvPr/>
          </p:nvCxnSpPr>
          <p:spPr>
            <a:xfrm>
              <a:off x="1453065" y="2252711"/>
              <a:ext cx="921389" cy="1137939"/>
            </a:xfrm>
            <a:prstGeom prst="line">
              <a:avLst/>
            </a:prstGeom>
            <a:ln w="19050">
              <a:solidFill>
                <a:srgbClr val="1E7EC6"/>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0D09BA9-0900-E79D-D431-F1621563A73E}"/>
                </a:ext>
              </a:extLst>
            </p:cNvPr>
            <p:cNvCxnSpPr>
              <a:cxnSpLocks/>
            </p:cNvCxnSpPr>
            <p:nvPr/>
          </p:nvCxnSpPr>
          <p:spPr>
            <a:xfrm>
              <a:off x="2374454" y="3390650"/>
              <a:ext cx="10008598" cy="0"/>
            </a:xfrm>
            <a:prstGeom prst="line">
              <a:avLst/>
            </a:prstGeom>
            <a:ln w="19050">
              <a:solidFill>
                <a:srgbClr val="1E7EC6"/>
              </a:solidFill>
            </a:ln>
          </p:spPr>
          <p:style>
            <a:lnRef idx="1">
              <a:schemeClr val="accent1"/>
            </a:lnRef>
            <a:fillRef idx="0">
              <a:schemeClr val="accent1"/>
            </a:fillRef>
            <a:effectRef idx="0">
              <a:schemeClr val="accent1"/>
            </a:effectRef>
            <a:fontRef idx="minor">
              <a:schemeClr val="tx1"/>
            </a:fontRef>
          </p:style>
        </p:cxnSp>
      </p:grpSp>
      <p:sp>
        <p:nvSpPr>
          <p:cNvPr id="51" name="Rectangle 50"/>
          <p:cNvSpPr/>
          <p:nvPr/>
        </p:nvSpPr>
        <p:spPr>
          <a:xfrm>
            <a:off x="559270" y="4637336"/>
            <a:ext cx="3462616" cy="523220"/>
          </a:xfrm>
          <a:prstGeom prst="rect">
            <a:avLst/>
          </a:prstGeom>
        </p:spPr>
        <p:txBody>
          <a:bodyPr wrap="square">
            <a:spAutoFit/>
          </a:bodyPr>
          <a:lstStyle/>
          <a:p>
            <a:pPr algn="ctr"/>
            <a:r>
              <a:rPr lang="ru-RU" sz="1400" dirty="0" err="1">
                <a:solidFill>
                  <a:srgbClr val="093E70"/>
                </a:solidFill>
                <a:latin typeface="Montserrat" pitchFamily="2" charset="-52"/>
              </a:rPr>
              <a:t>вътрешна</a:t>
            </a:r>
            <a:r>
              <a:rPr lang="ru-RU" sz="1400" dirty="0">
                <a:solidFill>
                  <a:srgbClr val="093E70"/>
                </a:solidFill>
                <a:latin typeface="Montserrat" pitchFamily="2" charset="-52"/>
              </a:rPr>
              <a:t> информация (</a:t>
            </a:r>
            <a:r>
              <a:rPr lang="ru-RU" sz="1400" dirty="0" err="1">
                <a:solidFill>
                  <a:srgbClr val="093E70"/>
                </a:solidFill>
                <a:latin typeface="Montserrat" pitchFamily="2" charset="-52"/>
              </a:rPr>
              <a:t>съгласно</a:t>
            </a:r>
            <a:r>
              <a:rPr lang="ru-RU" sz="1400" dirty="0">
                <a:solidFill>
                  <a:srgbClr val="093E70"/>
                </a:solidFill>
                <a:latin typeface="Montserrat" pitchFamily="2" charset="-52"/>
              </a:rPr>
              <a:t> Регламент (ЕС) № 596/2014);</a:t>
            </a:r>
          </a:p>
        </p:txBody>
      </p:sp>
      <p:sp>
        <p:nvSpPr>
          <p:cNvPr id="52" name="Rectangle 51"/>
          <p:cNvSpPr/>
          <p:nvPr/>
        </p:nvSpPr>
        <p:spPr>
          <a:xfrm>
            <a:off x="-28234" y="5357590"/>
            <a:ext cx="4747460" cy="1092607"/>
          </a:xfrm>
          <a:prstGeom prst="rect">
            <a:avLst/>
          </a:prstGeom>
        </p:spPr>
        <p:txBody>
          <a:bodyPr wrap="square">
            <a:spAutoFit/>
          </a:bodyPr>
          <a:lstStyle/>
          <a:p>
            <a:pPr algn="ctr"/>
            <a:r>
              <a:rPr lang="ru-RU" sz="1300" dirty="0" err="1">
                <a:solidFill>
                  <a:srgbClr val="093E70"/>
                </a:solidFill>
                <a:latin typeface="Montserrat" pitchFamily="2" charset="-52"/>
              </a:rPr>
              <a:t>последващо</a:t>
            </a:r>
            <a:r>
              <a:rPr lang="ru-RU" sz="1300" dirty="0">
                <a:solidFill>
                  <a:srgbClr val="093E70"/>
                </a:solidFill>
                <a:latin typeface="Montserrat" pitchFamily="2" charset="-52"/>
              </a:rPr>
              <a:t> </a:t>
            </a:r>
            <a:r>
              <a:rPr lang="ru-RU" sz="1300" dirty="0" err="1">
                <a:solidFill>
                  <a:srgbClr val="093E70"/>
                </a:solidFill>
                <a:latin typeface="Montserrat" pitchFamily="2" charset="-52"/>
              </a:rPr>
              <a:t>разкриване</a:t>
            </a:r>
            <a:r>
              <a:rPr lang="ru-RU" sz="1300" dirty="0">
                <a:solidFill>
                  <a:srgbClr val="093E70"/>
                </a:solidFill>
                <a:latin typeface="Montserrat" pitchFamily="2" charset="-52"/>
              </a:rPr>
              <a:t> на специфична информация, </a:t>
            </a:r>
            <a:r>
              <a:rPr lang="ru-RU" sz="1300" dirty="0" err="1">
                <a:solidFill>
                  <a:srgbClr val="093E70"/>
                </a:solidFill>
                <a:latin typeface="Montserrat" pitchFamily="2" charset="-52"/>
              </a:rPr>
              <a:t>уведомяване</a:t>
            </a:r>
            <a:r>
              <a:rPr lang="ru-RU" sz="1300" dirty="0">
                <a:solidFill>
                  <a:srgbClr val="093E70"/>
                </a:solidFill>
                <a:latin typeface="Montserrat" pitchFamily="2" charset="-52"/>
              </a:rPr>
              <a:t> на КФН за </a:t>
            </a:r>
            <a:r>
              <a:rPr lang="ru-RU" sz="1300" dirty="0" err="1">
                <a:solidFill>
                  <a:srgbClr val="093E70"/>
                </a:solidFill>
                <a:latin typeface="Montserrat" pitchFamily="2" charset="-52"/>
              </a:rPr>
              <a:t>настъпването</a:t>
            </a:r>
            <a:r>
              <a:rPr lang="ru-RU" sz="1300" dirty="0">
                <a:solidFill>
                  <a:srgbClr val="093E70"/>
                </a:solidFill>
                <a:latin typeface="Montserrat" pitchFamily="2" charset="-52"/>
              </a:rPr>
              <a:t> на </a:t>
            </a:r>
            <a:r>
              <a:rPr lang="ru-RU" sz="1300" dirty="0" err="1">
                <a:solidFill>
                  <a:srgbClr val="093E70"/>
                </a:solidFill>
                <a:latin typeface="Montserrat" pitchFamily="2" charset="-52"/>
              </a:rPr>
              <a:t>обстоятелствата</a:t>
            </a:r>
            <a:r>
              <a:rPr lang="ru-RU" sz="1300" dirty="0">
                <a:solidFill>
                  <a:srgbClr val="093E70"/>
                </a:solidFill>
                <a:latin typeface="Montserrat" pitchFamily="2" charset="-52"/>
              </a:rPr>
              <a:t>, </a:t>
            </a:r>
            <a:r>
              <a:rPr lang="ru-RU" sz="1300" dirty="0" err="1">
                <a:solidFill>
                  <a:srgbClr val="093E70"/>
                </a:solidFill>
                <a:latin typeface="Montserrat" pitchFamily="2" charset="-52"/>
              </a:rPr>
              <a:t>подлежащи</a:t>
            </a:r>
            <a:r>
              <a:rPr lang="ru-RU" sz="1300" dirty="0">
                <a:solidFill>
                  <a:srgbClr val="093E70"/>
                </a:solidFill>
                <a:latin typeface="Montserrat" pitchFamily="2" charset="-52"/>
              </a:rPr>
              <a:t> на </a:t>
            </a:r>
            <a:r>
              <a:rPr lang="ru-RU" sz="1300" dirty="0" err="1">
                <a:solidFill>
                  <a:srgbClr val="093E70"/>
                </a:solidFill>
                <a:latin typeface="Montserrat" pitchFamily="2" charset="-52"/>
              </a:rPr>
              <a:t>вписване</a:t>
            </a:r>
            <a:r>
              <a:rPr lang="ru-RU" sz="1300" dirty="0">
                <a:solidFill>
                  <a:srgbClr val="093E70"/>
                </a:solidFill>
                <a:latin typeface="Montserrat" pitchFamily="2" charset="-52"/>
              </a:rPr>
              <a:t> </a:t>
            </a:r>
            <a:r>
              <a:rPr lang="ru-RU" sz="1300" dirty="0" err="1">
                <a:solidFill>
                  <a:srgbClr val="093E70"/>
                </a:solidFill>
                <a:latin typeface="Montserrat" pitchFamily="2" charset="-52"/>
              </a:rPr>
              <a:t>във</a:t>
            </a:r>
            <a:r>
              <a:rPr lang="ru-RU" sz="1300" dirty="0">
                <a:solidFill>
                  <a:srgbClr val="093E70"/>
                </a:solidFill>
                <a:latin typeface="Montserrat" pitchFamily="2" charset="-52"/>
              </a:rPr>
              <a:t> </a:t>
            </a:r>
            <a:r>
              <a:rPr lang="ru-RU" sz="1300" dirty="0" err="1">
                <a:solidFill>
                  <a:srgbClr val="093E70"/>
                </a:solidFill>
                <a:latin typeface="Montserrat" pitchFamily="2" charset="-52"/>
              </a:rPr>
              <a:t>водените</a:t>
            </a:r>
            <a:r>
              <a:rPr lang="ru-RU" sz="1300" dirty="0">
                <a:solidFill>
                  <a:srgbClr val="093E70"/>
                </a:solidFill>
                <a:latin typeface="Montserrat" pitchFamily="2" charset="-52"/>
              </a:rPr>
              <a:t> от </a:t>
            </a:r>
            <a:r>
              <a:rPr lang="ru-RU" sz="1300" dirty="0" err="1">
                <a:solidFill>
                  <a:srgbClr val="093E70"/>
                </a:solidFill>
                <a:latin typeface="Montserrat" pitchFamily="2" charset="-52"/>
              </a:rPr>
              <a:t>нея</a:t>
            </a:r>
            <a:r>
              <a:rPr lang="ru-RU" sz="1300" dirty="0">
                <a:solidFill>
                  <a:srgbClr val="093E70"/>
                </a:solidFill>
                <a:latin typeface="Montserrat" pitchFamily="2" charset="-52"/>
              </a:rPr>
              <a:t> </a:t>
            </a:r>
            <a:r>
              <a:rPr lang="ru-RU" sz="1300" dirty="0" err="1">
                <a:solidFill>
                  <a:srgbClr val="093E70"/>
                </a:solidFill>
                <a:latin typeface="Montserrat" pitchFamily="2" charset="-52"/>
              </a:rPr>
              <a:t>регистри</a:t>
            </a:r>
            <a:r>
              <a:rPr lang="ru-RU" sz="1300" dirty="0">
                <a:solidFill>
                  <a:srgbClr val="093E70"/>
                </a:solidFill>
                <a:latin typeface="Montserrat" pitchFamily="2" charset="-52"/>
              </a:rPr>
              <a:t> по чл.30 от ЗКФН, </a:t>
            </a:r>
            <a:r>
              <a:rPr lang="ru-RU" sz="1300" dirty="0" err="1">
                <a:solidFill>
                  <a:srgbClr val="093E70"/>
                </a:solidFill>
                <a:latin typeface="Montserrat" pitchFamily="2" charset="-52"/>
              </a:rPr>
              <a:t>включително</a:t>
            </a:r>
            <a:r>
              <a:rPr lang="ru-RU" sz="1300" dirty="0">
                <a:solidFill>
                  <a:srgbClr val="093E70"/>
                </a:solidFill>
                <a:latin typeface="Montserrat" pitchFamily="2" charset="-52"/>
              </a:rPr>
              <a:t> и за </a:t>
            </a:r>
            <a:r>
              <a:rPr lang="ru-RU" sz="1300" dirty="0" err="1">
                <a:solidFill>
                  <a:srgbClr val="093E70"/>
                </a:solidFill>
                <a:latin typeface="Montserrat" pitchFamily="2" charset="-52"/>
              </a:rPr>
              <a:t>настъпили</a:t>
            </a:r>
            <a:r>
              <a:rPr lang="ru-RU" sz="1300" dirty="0">
                <a:solidFill>
                  <a:srgbClr val="093E70"/>
                </a:solidFill>
                <a:latin typeface="Montserrat" pitchFamily="2" charset="-52"/>
              </a:rPr>
              <a:t> </a:t>
            </a:r>
            <a:r>
              <a:rPr lang="ru-RU" sz="1300" dirty="0" err="1">
                <a:solidFill>
                  <a:srgbClr val="093E70"/>
                </a:solidFill>
                <a:latin typeface="Montserrat" pitchFamily="2" charset="-52"/>
              </a:rPr>
              <a:t>промени</a:t>
            </a:r>
            <a:r>
              <a:rPr lang="ru-RU" sz="1300" dirty="0">
                <a:solidFill>
                  <a:srgbClr val="093E70"/>
                </a:solidFill>
                <a:latin typeface="Montserrat" pitchFamily="2" charset="-52"/>
              </a:rPr>
              <a:t> в </a:t>
            </a:r>
            <a:r>
              <a:rPr lang="ru-RU" sz="1300" dirty="0" err="1">
                <a:solidFill>
                  <a:srgbClr val="093E70"/>
                </a:solidFill>
                <a:latin typeface="Montserrat" pitchFamily="2" charset="-52"/>
              </a:rPr>
              <a:t>тях</a:t>
            </a:r>
            <a:r>
              <a:rPr lang="ru-RU" sz="1300" dirty="0">
                <a:solidFill>
                  <a:srgbClr val="093E70"/>
                </a:solidFill>
                <a:latin typeface="Montserrat" pitchFamily="2" charset="-52"/>
              </a:rPr>
              <a:t>.</a:t>
            </a:r>
          </a:p>
        </p:txBody>
      </p:sp>
      <p:grpSp>
        <p:nvGrpSpPr>
          <p:cNvPr id="56" name="Group 55"/>
          <p:cNvGrpSpPr/>
          <p:nvPr/>
        </p:nvGrpSpPr>
        <p:grpSpPr>
          <a:xfrm>
            <a:off x="6946455" y="3377872"/>
            <a:ext cx="4797163" cy="367537"/>
            <a:chOff x="1736644" y="2500321"/>
            <a:chExt cx="9467806" cy="890329"/>
          </a:xfrm>
        </p:grpSpPr>
        <p:sp>
          <p:nvSpPr>
            <p:cNvPr id="58" name="Rectangle 57"/>
            <p:cNvSpPr/>
            <p:nvPr/>
          </p:nvSpPr>
          <p:spPr>
            <a:xfrm>
              <a:off x="2339408" y="2500321"/>
              <a:ext cx="8865042" cy="338554"/>
            </a:xfrm>
            <a:prstGeom prst="rect">
              <a:avLst/>
            </a:prstGeom>
          </p:spPr>
          <p:txBody>
            <a:bodyPr wrap="square">
              <a:spAutoFit/>
            </a:bodyPr>
            <a:lstStyle/>
            <a:p>
              <a:endParaRPr lang="bg-BG" sz="1600" dirty="0">
                <a:solidFill>
                  <a:srgbClr val="093E70"/>
                </a:solidFill>
                <a:latin typeface="Montserrat" pitchFamily="2" charset="-52"/>
              </a:endParaRPr>
            </a:p>
          </p:txBody>
        </p:sp>
        <p:grpSp>
          <p:nvGrpSpPr>
            <p:cNvPr id="59" name="Group 58"/>
            <p:cNvGrpSpPr/>
            <p:nvPr/>
          </p:nvGrpSpPr>
          <p:grpSpPr>
            <a:xfrm>
              <a:off x="1736644" y="2975150"/>
              <a:ext cx="8253297" cy="415500"/>
              <a:chOff x="1736644" y="2975150"/>
              <a:chExt cx="8253297" cy="415500"/>
            </a:xfrm>
          </p:grpSpPr>
          <p:cxnSp>
            <p:nvCxnSpPr>
              <p:cNvPr id="60" name="Straight Connector 59">
                <a:extLst>
                  <a:ext uri="{FF2B5EF4-FFF2-40B4-BE49-F238E27FC236}">
                    <a16:creationId xmlns:a16="http://schemas.microsoft.com/office/drawing/2014/main" id="{78F4B401-C15D-A4C1-79B0-3BDB248D7D22}"/>
                  </a:ext>
                </a:extLst>
              </p:cNvPr>
              <p:cNvCxnSpPr>
                <a:cxnSpLocks/>
              </p:cNvCxnSpPr>
              <p:nvPr/>
            </p:nvCxnSpPr>
            <p:spPr>
              <a:xfrm>
                <a:off x="1736644" y="2975150"/>
                <a:ext cx="301382" cy="0"/>
              </a:xfrm>
              <a:prstGeom prst="line">
                <a:avLst/>
              </a:prstGeom>
              <a:ln w="19050">
                <a:solidFill>
                  <a:srgbClr val="02295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5CCAEDF3-5A52-2B67-1633-6005DDB35F29}"/>
                  </a:ext>
                </a:extLst>
              </p:cNvPr>
              <p:cNvCxnSpPr/>
              <p:nvPr/>
            </p:nvCxnSpPr>
            <p:spPr>
              <a:xfrm>
                <a:off x="2038026" y="2975151"/>
                <a:ext cx="336429" cy="415499"/>
              </a:xfrm>
              <a:prstGeom prst="line">
                <a:avLst/>
              </a:prstGeom>
              <a:ln w="19050">
                <a:solidFill>
                  <a:srgbClr val="022952"/>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0D09BA9-0900-E79D-D431-F1621563A73E}"/>
                  </a:ext>
                </a:extLst>
              </p:cNvPr>
              <p:cNvCxnSpPr>
                <a:cxnSpLocks/>
              </p:cNvCxnSpPr>
              <p:nvPr/>
            </p:nvCxnSpPr>
            <p:spPr>
              <a:xfrm>
                <a:off x="2374455" y="3390650"/>
                <a:ext cx="7615486" cy="0"/>
              </a:xfrm>
              <a:prstGeom prst="line">
                <a:avLst/>
              </a:prstGeom>
              <a:ln w="19050">
                <a:solidFill>
                  <a:srgbClr val="022952"/>
                </a:solidFill>
              </a:ln>
            </p:spPr>
            <p:style>
              <a:lnRef idx="1">
                <a:schemeClr val="accent1"/>
              </a:lnRef>
              <a:fillRef idx="0">
                <a:schemeClr val="accent1"/>
              </a:fillRef>
              <a:effectRef idx="0">
                <a:schemeClr val="accent1"/>
              </a:effectRef>
              <a:fontRef idx="minor">
                <a:schemeClr val="tx1"/>
              </a:fontRef>
            </p:style>
          </p:cxnSp>
        </p:grpSp>
      </p:grpSp>
      <p:sp>
        <p:nvSpPr>
          <p:cNvPr id="64" name="Rectangle 63"/>
          <p:cNvSpPr/>
          <p:nvPr/>
        </p:nvSpPr>
        <p:spPr>
          <a:xfrm>
            <a:off x="7244757" y="2972732"/>
            <a:ext cx="3960814" cy="738664"/>
          </a:xfrm>
          <a:prstGeom prst="rect">
            <a:avLst/>
          </a:prstGeom>
        </p:spPr>
        <p:txBody>
          <a:bodyPr wrap="square">
            <a:spAutoFit/>
          </a:bodyPr>
          <a:lstStyle/>
          <a:p>
            <a:pPr algn="ctr"/>
            <a:r>
              <a:rPr lang="ru-RU" sz="1400" dirty="0" err="1">
                <a:solidFill>
                  <a:srgbClr val="093E70"/>
                </a:solidFill>
                <a:latin typeface="Montserrat" pitchFamily="2" charset="-52"/>
              </a:rPr>
              <a:t>Достигането</a:t>
            </a:r>
            <a:r>
              <a:rPr lang="ru-RU" sz="1400" dirty="0">
                <a:solidFill>
                  <a:srgbClr val="093E70"/>
                </a:solidFill>
                <a:latin typeface="Montserrat" pitchFamily="2" charset="-52"/>
              </a:rPr>
              <a:t> й до </a:t>
            </a:r>
            <a:r>
              <a:rPr lang="ru-RU" sz="1400" dirty="0" err="1">
                <a:solidFill>
                  <a:srgbClr val="093E70"/>
                </a:solidFill>
                <a:latin typeface="Montserrat" pitchFamily="2" charset="-52"/>
              </a:rPr>
              <a:t>възможно</a:t>
            </a:r>
            <a:r>
              <a:rPr lang="ru-RU" sz="1400" dirty="0">
                <a:solidFill>
                  <a:srgbClr val="093E70"/>
                </a:solidFill>
                <a:latin typeface="Montserrat" pitchFamily="2" charset="-52"/>
              </a:rPr>
              <a:t> </a:t>
            </a:r>
            <a:r>
              <a:rPr lang="ru-RU" sz="1400" dirty="0" err="1">
                <a:solidFill>
                  <a:srgbClr val="093E70"/>
                </a:solidFill>
                <a:latin typeface="Montserrat" pitchFamily="2" charset="-52"/>
              </a:rPr>
              <a:t>най</a:t>
            </a:r>
            <a:r>
              <a:rPr lang="ru-RU" sz="1400" dirty="0">
                <a:solidFill>
                  <a:srgbClr val="093E70"/>
                </a:solidFill>
                <a:latin typeface="Montserrat" pitchFamily="2" charset="-52"/>
              </a:rPr>
              <a:t>-широк </a:t>
            </a:r>
            <a:r>
              <a:rPr lang="ru-RU" sz="1400" dirty="0" err="1">
                <a:solidFill>
                  <a:srgbClr val="093E70"/>
                </a:solidFill>
                <a:latin typeface="Montserrat" pitchFamily="2" charset="-52"/>
              </a:rPr>
              <a:t>кръг</a:t>
            </a:r>
            <a:r>
              <a:rPr lang="ru-RU" sz="1400" dirty="0">
                <a:solidFill>
                  <a:srgbClr val="093E70"/>
                </a:solidFill>
                <a:latin typeface="Montserrat" pitchFamily="2" charset="-52"/>
              </a:rPr>
              <a:t> лица </a:t>
            </a:r>
            <a:r>
              <a:rPr lang="ru-RU" sz="1400" dirty="0" err="1">
                <a:solidFill>
                  <a:srgbClr val="093E70"/>
                </a:solidFill>
                <a:latin typeface="Montserrat" pitchFamily="2" charset="-52"/>
              </a:rPr>
              <a:t>едновременно</a:t>
            </a:r>
            <a:r>
              <a:rPr lang="ru-RU" sz="1400" dirty="0">
                <a:solidFill>
                  <a:srgbClr val="093E70"/>
                </a:solidFill>
                <a:latin typeface="Montserrat" pitchFamily="2" charset="-52"/>
              </a:rPr>
              <a:t>, и по начин, </a:t>
            </a:r>
            <a:r>
              <a:rPr lang="ru-RU" sz="1400" dirty="0" err="1">
                <a:solidFill>
                  <a:srgbClr val="093E70"/>
                </a:solidFill>
                <a:latin typeface="Montserrat" pitchFamily="2" charset="-52"/>
              </a:rPr>
              <a:t>който</a:t>
            </a:r>
            <a:r>
              <a:rPr lang="ru-RU" sz="1400" dirty="0">
                <a:solidFill>
                  <a:srgbClr val="093E70"/>
                </a:solidFill>
                <a:latin typeface="Montserrat" pitchFamily="2" charset="-52"/>
              </a:rPr>
              <a:t> не </a:t>
            </a:r>
            <a:r>
              <a:rPr lang="ru-RU" sz="1400" dirty="0" err="1">
                <a:solidFill>
                  <a:srgbClr val="093E70"/>
                </a:solidFill>
                <a:latin typeface="Montserrat" pitchFamily="2" charset="-52"/>
              </a:rPr>
              <a:t>ги</a:t>
            </a:r>
            <a:r>
              <a:rPr lang="ru-RU" sz="1400" dirty="0">
                <a:solidFill>
                  <a:srgbClr val="093E70"/>
                </a:solidFill>
                <a:latin typeface="Montserrat" pitchFamily="2" charset="-52"/>
              </a:rPr>
              <a:t> </a:t>
            </a:r>
            <a:r>
              <a:rPr lang="ru-RU" sz="1400" dirty="0" err="1">
                <a:solidFill>
                  <a:srgbClr val="093E70"/>
                </a:solidFill>
                <a:latin typeface="Montserrat" pitchFamily="2" charset="-52"/>
              </a:rPr>
              <a:t>дискриминира</a:t>
            </a:r>
            <a:r>
              <a:rPr lang="ru-RU" sz="1400" dirty="0">
                <a:solidFill>
                  <a:srgbClr val="093E70"/>
                </a:solidFill>
                <a:latin typeface="Montserrat" pitchFamily="2" charset="-52"/>
              </a:rPr>
              <a:t>. </a:t>
            </a:r>
            <a:endParaRPr lang="bg-BG" sz="1400" dirty="0">
              <a:solidFill>
                <a:srgbClr val="093E70"/>
              </a:solidFill>
              <a:latin typeface="Montserrat" pitchFamily="2" charset="-52"/>
            </a:endParaRPr>
          </a:p>
        </p:txBody>
      </p:sp>
      <p:sp>
        <p:nvSpPr>
          <p:cNvPr id="65" name="Rectangle 64"/>
          <p:cNvSpPr/>
          <p:nvPr/>
        </p:nvSpPr>
        <p:spPr>
          <a:xfrm>
            <a:off x="7466535" y="4091870"/>
            <a:ext cx="3422482" cy="523220"/>
          </a:xfrm>
          <a:prstGeom prst="rect">
            <a:avLst/>
          </a:prstGeom>
        </p:spPr>
        <p:txBody>
          <a:bodyPr wrap="square">
            <a:spAutoFit/>
          </a:bodyPr>
          <a:lstStyle/>
          <a:p>
            <a:pPr algn="ctr"/>
            <a:r>
              <a:rPr lang="ru-RU" sz="1400" dirty="0" err="1">
                <a:solidFill>
                  <a:srgbClr val="093E70"/>
                </a:solidFill>
                <a:latin typeface="Montserrat" pitchFamily="2" charset="-52"/>
              </a:rPr>
              <a:t>Използване</a:t>
            </a:r>
            <a:r>
              <a:rPr lang="ru-RU" sz="1400" dirty="0">
                <a:solidFill>
                  <a:srgbClr val="093E70"/>
                </a:solidFill>
                <a:latin typeface="Montserrat" pitchFamily="2" charset="-52"/>
              </a:rPr>
              <a:t> на </a:t>
            </a:r>
            <a:r>
              <a:rPr lang="ru-RU" sz="1400" dirty="0" err="1">
                <a:solidFill>
                  <a:srgbClr val="093E70"/>
                </a:solidFill>
                <a:latin typeface="Montserrat" pitchFamily="2" charset="-52"/>
              </a:rPr>
              <a:t>информационна</a:t>
            </a:r>
            <a:r>
              <a:rPr lang="ru-RU" sz="1400" dirty="0">
                <a:solidFill>
                  <a:srgbClr val="093E70"/>
                </a:solidFill>
                <a:latin typeface="Montserrat" pitchFamily="2" charset="-52"/>
              </a:rPr>
              <a:t> </a:t>
            </a:r>
            <a:r>
              <a:rPr lang="ru-RU" sz="1400" dirty="0" err="1">
                <a:solidFill>
                  <a:srgbClr val="093E70"/>
                </a:solidFill>
                <a:latin typeface="Montserrat" pitchFamily="2" charset="-52"/>
              </a:rPr>
              <a:t>агенция</a:t>
            </a:r>
            <a:r>
              <a:rPr lang="ru-RU" sz="1400" dirty="0">
                <a:solidFill>
                  <a:srgbClr val="093E70"/>
                </a:solidFill>
                <a:latin typeface="Montserrat" pitchFamily="2" charset="-52"/>
              </a:rPr>
              <a:t> или друга </a:t>
            </a:r>
            <a:r>
              <a:rPr lang="ru-RU" sz="1400" dirty="0" err="1">
                <a:solidFill>
                  <a:srgbClr val="093E70"/>
                </a:solidFill>
                <a:latin typeface="Montserrat" pitchFamily="2" charset="-52"/>
              </a:rPr>
              <a:t>медия</a:t>
            </a:r>
            <a:r>
              <a:rPr lang="ru-RU" sz="1400" dirty="0">
                <a:solidFill>
                  <a:srgbClr val="093E70"/>
                </a:solidFill>
                <a:latin typeface="Montserrat" pitchFamily="2" charset="-52"/>
              </a:rPr>
              <a:t>.</a:t>
            </a:r>
            <a:endParaRPr lang="bg-BG" sz="1400" dirty="0">
              <a:solidFill>
                <a:srgbClr val="093E70"/>
              </a:solidFill>
              <a:latin typeface="Montserrat" pitchFamily="2" charset="-52"/>
            </a:endParaRPr>
          </a:p>
        </p:txBody>
      </p:sp>
      <p:sp>
        <p:nvSpPr>
          <p:cNvPr id="66" name="Rectangle 65"/>
          <p:cNvSpPr/>
          <p:nvPr/>
        </p:nvSpPr>
        <p:spPr>
          <a:xfrm>
            <a:off x="7045431" y="5040280"/>
            <a:ext cx="4333927" cy="1384995"/>
          </a:xfrm>
          <a:prstGeom prst="rect">
            <a:avLst/>
          </a:prstGeom>
        </p:spPr>
        <p:txBody>
          <a:bodyPr wrap="square">
            <a:spAutoFit/>
          </a:bodyPr>
          <a:lstStyle/>
          <a:p>
            <a:pPr algn="ctr"/>
            <a:r>
              <a:rPr lang="ru-RU" sz="1400" dirty="0" err="1">
                <a:solidFill>
                  <a:srgbClr val="093E70"/>
                </a:solidFill>
                <a:latin typeface="Montserrat" pitchFamily="2" charset="-52"/>
              </a:rPr>
              <a:t>Регулираната</a:t>
            </a:r>
            <a:r>
              <a:rPr lang="ru-RU" sz="1400" dirty="0">
                <a:solidFill>
                  <a:srgbClr val="093E70"/>
                </a:solidFill>
                <a:latin typeface="Montserrat" pitchFamily="2" charset="-52"/>
              </a:rPr>
              <a:t> информация се </a:t>
            </a:r>
            <a:r>
              <a:rPr lang="ru-RU" sz="1400" dirty="0" err="1">
                <a:solidFill>
                  <a:srgbClr val="093E70"/>
                </a:solidFill>
                <a:latin typeface="Montserrat" pitchFamily="2" charset="-52"/>
              </a:rPr>
              <a:t>разкрива</a:t>
            </a:r>
            <a:r>
              <a:rPr lang="ru-RU" sz="1400" dirty="0">
                <a:solidFill>
                  <a:srgbClr val="093E70"/>
                </a:solidFill>
                <a:latin typeface="Montserrat" pitchFamily="2" charset="-52"/>
              </a:rPr>
              <a:t> на </a:t>
            </a:r>
            <a:r>
              <a:rPr lang="ru-RU" sz="1400" dirty="0" err="1">
                <a:solidFill>
                  <a:srgbClr val="093E70"/>
                </a:solidFill>
                <a:latin typeface="Montserrat" pitchFamily="2" charset="-52"/>
              </a:rPr>
              <a:t>комисията</a:t>
            </a:r>
            <a:r>
              <a:rPr lang="ru-RU" sz="1400" dirty="0">
                <a:solidFill>
                  <a:srgbClr val="093E70"/>
                </a:solidFill>
                <a:latin typeface="Montserrat" pitchFamily="2" charset="-52"/>
              </a:rPr>
              <a:t> по </a:t>
            </a:r>
            <a:r>
              <a:rPr lang="ru-RU" sz="1400" dirty="0" err="1">
                <a:solidFill>
                  <a:srgbClr val="093E70"/>
                </a:solidFill>
                <a:latin typeface="Montserrat" pitchFamily="2" charset="-52"/>
              </a:rPr>
              <a:t>електронен</a:t>
            </a:r>
            <a:r>
              <a:rPr lang="ru-RU" sz="1400" dirty="0">
                <a:solidFill>
                  <a:srgbClr val="093E70"/>
                </a:solidFill>
                <a:latin typeface="Montserrat" pitchFamily="2" charset="-52"/>
              </a:rPr>
              <a:t> </a:t>
            </a:r>
            <a:r>
              <a:rPr lang="ru-RU" sz="1400" dirty="0" err="1">
                <a:solidFill>
                  <a:srgbClr val="093E70"/>
                </a:solidFill>
                <a:latin typeface="Montserrat" pitchFamily="2" charset="-52"/>
              </a:rPr>
              <a:t>път</a:t>
            </a:r>
            <a:r>
              <a:rPr lang="ru-RU" sz="1400" dirty="0">
                <a:solidFill>
                  <a:srgbClr val="093E70"/>
                </a:solidFill>
                <a:latin typeface="Montserrat" pitchFamily="2" charset="-52"/>
              </a:rPr>
              <a:t>, а </a:t>
            </a:r>
            <a:r>
              <a:rPr lang="ru-RU" sz="1400" dirty="0" err="1">
                <a:solidFill>
                  <a:srgbClr val="093E70"/>
                </a:solidFill>
                <a:latin typeface="Montserrat" pitchFamily="2" charset="-52"/>
              </a:rPr>
              <a:t>изискванията</a:t>
            </a:r>
            <a:r>
              <a:rPr lang="ru-RU" sz="1400" dirty="0">
                <a:solidFill>
                  <a:srgbClr val="093E70"/>
                </a:solidFill>
                <a:latin typeface="Montserrat" pitchFamily="2" charset="-52"/>
              </a:rPr>
              <a:t> към формата и </a:t>
            </a:r>
            <a:r>
              <a:rPr lang="ru-RU" sz="1400" dirty="0" err="1">
                <a:solidFill>
                  <a:srgbClr val="093E70"/>
                </a:solidFill>
                <a:latin typeface="Montserrat" pitchFamily="2" charset="-52"/>
              </a:rPr>
              <a:t>съдържанието</a:t>
            </a:r>
            <a:r>
              <a:rPr lang="ru-RU" sz="1400" dirty="0">
                <a:solidFill>
                  <a:srgbClr val="093E70"/>
                </a:solidFill>
                <a:latin typeface="Montserrat" pitchFamily="2" charset="-52"/>
              </a:rPr>
              <a:t> на </a:t>
            </a:r>
            <a:r>
              <a:rPr lang="ru-RU" sz="1400" dirty="0" err="1">
                <a:solidFill>
                  <a:srgbClr val="093E70"/>
                </a:solidFill>
                <a:latin typeface="Montserrat" pitchFamily="2" charset="-52"/>
              </a:rPr>
              <a:t>регулираната</a:t>
            </a:r>
            <a:r>
              <a:rPr lang="ru-RU" sz="1400" dirty="0">
                <a:solidFill>
                  <a:srgbClr val="093E70"/>
                </a:solidFill>
                <a:latin typeface="Montserrat" pitchFamily="2" charset="-52"/>
              </a:rPr>
              <a:t> информация, </a:t>
            </a:r>
            <a:r>
              <a:rPr lang="ru-RU" sz="1400" dirty="0" err="1">
                <a:solidFill>
                  <a:srgbClr val="093E70"/>
                </a:solidFill>
                <a:latin typeface="Montserrat" pitchFamily="2" charset="-52"/>
              </a:rPr>
              <a:t>както</a:t>
            </a:r>
            <a:r>
              <a:rPr lang="ru-RU" sz="1400" dirty="0">
                <a:solidFill>
                  <a:srgbClr val="093E70"/>
                </a:solidFill>
                <a:latin typeface="Montserrat" pitchFamily="2" charset="-52"/>
              </a:rPr>
              <a:t> и </a:t>
            </a:r>
            <a:r>
              <a:rPr lang="ru-RU" sz="1400" dirty="0" err="1">
                <a:solidFill>
                  <a:srgbClr val="093E70"/>
                </a:solidFill>
                <a:latin typeface="Montserrat" pitchFamily="2" charset="-52"/>
              </a:rPr>
              <a:t>условията</a:t>
            </a:r>
            <a:r>
              <a:rPr lang="ru-RU" sz="1400" dirty="0">
                <a:solidFill>
                  <a:srgbClr val="093E70"/>
                </a:solidFill>
                <a:latin typeface="Montserrat" pitchFamily="2" charset="-52"/>
              </a:rPr>
              <a:t>, начините и </a:t>
            </a:r>
            <a:r>
              <a:rPr lang="ru-RU" sz="1400" dirty="0" err="1">
                <a:solidFill>
                  <a:srgbClr val="093E70"/>
                </a:solidFill>
                <a:latin typeface="Montserrat" pitchFamily="2" charset="-52"/>
              </a:rPr>
              <a:t>редът</a:t>
            </a:r>
            <a:r>
              <a:rPr lang="ru-RU" sz="1400" dirty="0">
                <a:solidFill>
                  <a:srgbClr val="093E70"/>
                </a:solidFill>
                <a:latin typeface="Montserrat" pitchFamily="2" charset="-52"/>
              </a:rPr>
              <a:t> за </a:t>
            </a:r>
            <a:r>
              <a:rPr lang="ru-RU" sz="1400" dirty="0" err="1">
                <a:solidFill>
                  <a:srgbClr val="093E70"/>
                </a:solidFill>
                <a:latin typeface="Montserrat" pitchFamily="2" charset="-52"/>
              </a:rPr>
              <a:t>нейното</a:t>
            </a:r>
            <a:r>
              <a:rPr lang="ru-RU" sz="1400" dirty="0">
                <a:solidFill>
                  <a:srgbClr val="093E70"/>
                </a:solidFill>
                <a:latin typeface="Montserrat" pitchFamily="2" charset="-52"/>
              </a:rPr>
              <a:t> </a:t>
            </a:r>
            <a:r>
              <a:rPr lang="ru-RU" sz="1400" dirty="0" err="1">
                <a:solidFill>
                  <a:srgbClr val="093E70"/>
                </a:solidFill>
                <a:latin typeface="Montserrat" pitchFamily="2" charset="-52"/>
              </a:rPr>
              <a:t>разкриване</a:t>
            </a:r>
            <a:r>
              <a:rPr lang="ru-RU" sz="1400" dirty="0">
                <a:solidFill>
                  <a:srgbClr val="093E70"/>
                </a:solidFill>
                <a:latin typeface="Montserrat" pitchFamily="2" charset="-52"/>
              </a:rPr>
              <a:t> се определят с </a:t>
            </a:r>
            <a:r>
              <a:rPr lang="ru-RU" sz="1400" dirty="0" err="1">
                <a:solidFill>
                  <a:srgbClr val="093E70"/>
                </a:solidFill>
                <a:latin typeface="Montserrat" pitchFamily="2" charset="-52"/>
              </a:rPr>
              <a:t>Наредба</a:t>
            </a:r>
            <a:r>
              <a:rPr lang="ru-RU" sz="1400" dirty="0">
                <a:solidFill>
                  <a:srgbClr val="093E70"/>
                </a:solidFill>
                <a:latin typeface="Montserrat" pitchFamily="2" charset="-52"/>
              </a:rPr>
              <a:t> № 2.</a:t>
            </a:r>
            <a:endParaRPr lang="bg-BG" sz="1400" dirty="0">
              <a:solidFill>
                <a:srgbClr val="093E70"/>
              </a:solidFill>
              <a:latin typeface="Montserrat" pitchFamily="2" charset="-52"/>
            </a:endParaRPr>
          </a:p>
        </p:txBody>
      </p:sp>
      <p:grpSp>
        <p:nvGrpSpPr>
          <p:cNvPr id="71" name="Group 70"/>
          <p:cNvGrpSpPr/>
          <p:nvPr/>
        </p:nvGrpSpPr>
        <p:grpSpPr>
          <a:xfrm>
            <a:off x="6462175" y="5957613"/>
            <a:ext cx="4845739" cy="469753"/>
            <a:chOff x="1453065" y="2252711"/>
            <a:chExt cx="10929987" cy="1137939"/>
          </a:xfrm>
        </p:grpSpPr>
        <p:cxnSp>
          <p:nvCxnSpPr>
            <p:cNvPr id="72" name="Straight Connector 71">
              <a:extLst>
                <a:ext uri="{FF2B5EF4-FFF2-40B4-BE49-F238E27FC236}">
                  <a16:creationId xmlns:a16="http://schemas.microsoft.com/office/drawing/2014/main" id="{5CCAEDF3-5A52-2B67-1633-6005DDB35F29}"/>
                </a:ext>
              </a:extLst>
            </p:cNvPr>
            <p:cNvCxnSpPr/>
            <p:nvPr/>
          </p:nvCxnSpPr>
          <p:spPr>
            <a:xfrm>
              <a:off x="1453065" y="2252711"/>
              <a:ext cx="921389" cy="1137939"/>
            </a:xfrm>
            <a:prstGeom prst="line">
              <a:avLst/>
            </a:prstGeom>
            <a:ln w="19050">
              <a:solidFill>
                <a:srgbClr val="1C77BF"/>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D0D09BA9-0900-E79D-D431-F1621563A73E}"/>
                </a:ext>
              </a:extLst>
            </p:cNvPr>
            <p:cNvCxnSpPr>
              <a:cxnSpLocks/>
            </p:cNvCxnSpPr>
            <p:nvPr/>
          </p:nvCxnSpPr>
          <p:spPr>
            <a:xfrm>
              <a:off x="2374454" y="3390650"/>
              <a:ext cx="10008598" cy="0"/>
            </a:xfrm>
            <a:prstGeom prst="line">
              <a:avLst/>
            </a:prstGeom>
            <a:ln w="19050">
              <a:solidFill>
                <a:srgbClr val="1C77BF"/>
              </a:solidFill>
            </a:ln>
          </p:spPr>
          <p:style>
            <a:lnRef idx="1">
              <a:schemeClr val="accent1"/>
            </a:lnRef>
            <a:fillRef idx="0">
              <a:schemeClr val="accent1"/>
            </a:fillRef>
            <a:effectRef idx="0">
              <a:schemeClr val="accent1"/>
            </a:effectRef>
            <a:fontRef idx="minor">
              <a:schemeClr val="tx1"/>
            </a:fontRef>
          </p:style>
        </p:cxnSp>
      </p:grpSp>
      <p:grpSp>
        <p:nvGrpSpPr>
          <p:cNvPr id="79" name="Group 78"/>
          <p:cNvGrpSpPr/>
          <p:nvPr/>
        </p:nvGrpSpPr>
        <p:grpSpPr>
          <a:xfrm>
            <a:off x="7290420" y="4458538"/>
            <a:ext cx="3675131" cy="171523"/>
            <a:chOff x="1736644" y="2975150"/>
            <a:chExt cx="8289579" cy="415500"/>
          </a:xfrm>
        </p:grpSpPr>
        <p:cxnSp>
          <p:nvCxnSpPr>
            <p:cNvPr id="80" name="Straight Connector 79">
              <a:extLst>
                <a:ext uri="{FF2B5EF4-FFF2-40B4-BE49-F238E27FC236}">
                  <a16:creationId xmlns:a16="http://schemas.microsoft.com/office/drawing/2014/main" id="{78F4B401-C15D-A4C1-79B0-3BDB248D7D22}"/>
                </a:ext>
              </a:extLst>
            </p:cNvPr>
            <p:cNvCxnSpPr>
              <a:cxnSpLocks/>
            </p:cNvCxnSpPr>
            <p:nvPr/>
          </p:nvCxnSpPr>
          <p:spPr>
            <a:xfrm>
              <a:off x="1736644" y="2975150"/>
              <a:ext cx="301382" cy="0"/>
            </a:xfrm>
            <a:prstGeom prst="line">
              <a:avLst/>
            </a:prstGeom>
            <a:ln w="19050">
              <a:solidFill>
                <a:srgbClr val="245994"/>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5CCAEDF3-5A52-2B67-1633-6005DDB35F29}"/>
                </a:ext>
              </a:extLst>
            </p:cNvPr>
            <p:cNvCxnSpPr/>
            <p:nvPr/>
          </p:nvCxnSpPr>
          <p:spPr>
            <a:xfrm>
              <a:off x="2038026" y="2975151"/>
              <a:ext cx="336429" cy="415499"/>
            </a:xfrm>
            <a:prstGeom prst="line">
              <a:avLst/>
            </a:prstGeom>
            <a:ln w="19050">
              <a:solidFill>
                <a:srgbClr val="245994"/>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0D09BA9-0900-E79D-D431-F1621563A73E}"/>
                </a:ext>
              </a:extLst>
            </p:cNvPr>
            <p:cNvCxnSpPr>
              <a:cxnSpLocks/>
            </p:cNvCxnSpPr>
            <p:nvPr/>
          </p:nvCxnSpPr>
          <p:spPr>
            <a:xfrm>
              <a:off x="2374454" y="3390650"/>
              <a:ext cx="7651769" cy="0"/>
            </a:xfrm>
            <a:prstGeom prst="line">
              <a:avLst/>
            </a:prstGeom>
            <a:ln w="19050">
              <a:solidFill>
                <a:srgbClr val="245994"/>
              </a:solidFill>
            </a:ln>
          </p:spPr>
          <p:style>
            <a:lnRef idx="1">
              <a:schemeClr val="accent1"/>
            </a:lnRef>
            <a:fillRef idx="0">
              <a:schemeClr val="accent1"/>
            </a:fillRef>
            <a:effectRef idx="0">
              <a:schemeClr val="accent1"/>
            </a:effectRef>
            <a:fontRef idx="minor">
              <a:schemeClr val="tx1"/>
            </a:fontRef>
          </p:style>
        </p:cxnSp>
      </p:grpSp>
      <p:sp>
        <p:nvSpPr>
          <p:cNvPr id="85" name="Rectangle 84"/>
          <p:cNvSpPr/>
          <p:nvPr/>
        </p:nvSpPr>
        <p:spPr>
          <a:xfrm>
            <a:off x="4667493" y="4068320"/>
            <a:ext cx="2116285" cy="646331"/>
          </a:xfrm>
          <a:prstGeom prst="rect">
            <a:avLst/>
          </a:prstGeom>
        </p:spPr>
        <p:txBody>
          <a:bodyPr wrap="none">
            <a:spAutoFit/>
          </a:bodyPr>
          <a:lstStyle/>
          <a:p>
            <a:pPr algn="ctr"/>
            <a:r>
              <a:rPr lang="ru-RU" dirty="0">
                <a:solidFill>
                  <a:schemeClr val="bg1"/>
                </a:solidFill>
                <a:latin typeface="Montserrat ExtraBold" panose="00000900000000000000" pitchFamily="50" charset="-52"/>
              </a:rPr>
              <a:t>РЕГУЛИРАНА </a:t>
            </a:r>
          </a:p>
          <a:p>
            <a:pPr algn="ctr"/>
            <a:r>
              <a:rPr lang="ru-RU" dirty="0">
                <a:solidFill>
                  <a:schemeClr val="bg1"/>
                </a:solidFill>
                <a:latin typeface="Montserrat ExtraBold" panose="00000900000000000000" pitchFamily="50" charset="-52"/>
              </a:rPr>
              <a:t>ИНФОРМАЦИЯ</a:t>
            </a:r>
            <a:endParaRPr lang="bg-BG" dirty="0">
              <a:solidFill>
                <a:schemeClr val="bg1"/>
              </a:solidFill>
              <a:latin typeface="Montserrat ExtraBold" panose="00000900000000000000" pitchFamily="50" charset="-52"/>
            </a:endParaRPr>
          </a:p>
        </p:txBody>
      </p:sp>
      <p:sp>
        <p:nvSpPr>
          <p:cNvPr id="88" name="Oval 87">
            <a:extLst>
              <a:ext uri="{FF2B5EF4-FFF2-40B4-BE49-F238E27FC236}">
                <a16:creationId xmlns:a16="http://schemas.microsoft.com/office/drawing/2014/main" id="{07985217-7A5E-9922-E183-14A1332F9248}"/>
              </a:ext>
            </a:extLst>
          </p:cNvPr>
          <p:cNvSpPr/>
          <p:nvPr/>
        </p:nvSpPr>
        <p:spPr>
          <a:xfrm>
            <a:off x="4421233" y="3591317"/>
            <a:ext cx="108000" cy="108000"/>
          </a:xfrm>
          <a:prstGeom prst="ellipse">
            <a:avLst/>
          </a:prstGeom>
          <a:solidFill>
            <a:srgbClr val="022A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89" name="Oval 88">
            <a:extLst>
              <a:ext uri="{FF2B5EF4-FFF2-40B4-BE49-F238E27FC236}">
                <a16:creationId xmlns:a16="http://schemas.microsoft.com/office/drawing/2014/main" id="{07985217-7A5E-9922-E183-14A1332F9248}"/>
              </a:ext>
            </a:extLst>
          </p:cNvPr>
          <p:cNvSpPr/>
          <p:nvPr/>
        </p:nvSpPr>
        <p:spPr>
          <a:xfrm>
            <a:off x="213798" y="3424377"/>
            <a:ext cx="108000" cy="108000"/>
          </a:xfrm>
          <a:prstGeom prst="ellipse">
            <a:avLst/>
          </a:prstGeom>
          <a:solidFill>
            <a:srgbClr val="022A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90" name="Oval 89">
            <a:extLst>
              <a:ext uri="{FF2B5EF4-FFF2-40B4-BE49-F238E27FC236}">
                <a16:creationId xmlns:a16="http://schemas.microsoft.com/office/drawing/2014/main" id="{07985217-7A5E-9922-E183-14A1332F9248}"/>
              </a:ext>
            </a:extLst>
          </p:cNvPr>
          <p:cNvSpPr/>
          <p:nvPr/>
        </p:nvSpPr>
        <p:spPr>
          <a:xfrm>
            <a:off x="472590" y="4398824"/>
            <a:ext cx="108000" cy="108000"/>
          </a:xfrm>
          <a:prstGeom prst="ellipse">
            <a:avLst/>
          </a:prstGeom>
          <a:solidFill>
            <a:srgbClr val="0C41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91" name="Oval 90">
            <a:extLst>
              <a:ext uri="{FF2B5EF4-FFF2-40B4-BE49-F238E27FC236}">
                <a16:creationId xmlns:a16="http://schemas.microsoft.com/office/drawing/2014/main" id="{07985217-7A5E-9922-E183-14A1332F9248}"/>
              </a:ext>
            </a:extLst>
          </p:cNvPr>
          <p:cNvSpPr/>
          <p:nvPr/>
        </p:nvSpPr>
        <p:spPr>
          <a:xfrm>
            <a:off x="4163049" y="4237488"/>
            <a:ext cx="108000" cy="108000"/>
          </a:xfrm>
          <a:prstGeom prst="ellipse">
            <a:avLst/>
          </a:prstGeom>
          <a:solidFill>
            <a:srgbClr val="0C41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92" name="Oval 91">
            <a:extLst>
              <a:ext uri="{FF2B5EF4-FFF2-40B4-BE49-F238E27FC236}">
                <a16:creationId xmlns:a16="http://schemas.microsoft.com/office/drawing/2014/main" id="{07985217-7A5E-9922-E183-14A1332F9248}"/>
              </a:ext>
            </a:extLst>
          </p:cNvPr>
          <p:cNvSpPr/>
          <p:nvPr/>
        </p:nvSpPr>
        <p:spPr>
          <a:xfrm>
            <a:off x="4216959" y="4948062"/>
            <a:ext cx="108000" cy="108000"/>
          </a:xfrm>
          <a:prstGeom prst="ellipse">
            <a:avLst/>
          </a:prstGeom>
          <a:solidFill>
            <a:srgbClr val="2D6C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93" name="Oval 92">
            <a:extLst>
              <a:ext uri="{FF2B5EF4-FFF2-40B4-BE49-F238E27FC236}">
                <a16:creationId xmlns:a16="http://schemas.microsoft.com/office/drawing/2014/main" id="{07985217-7A5E-9922-E183-14A1332F9248}"/>
              </a:ext>
            </a:extLst>
          </p:cNvPr>
          <p:cNvSpPr/>
          <p:nvPr/>
        </p:nvSpPr>
        <p:spPr>
          <a:xfrm>
            <a:off x="576363" y="5107396"/>
            <a:ext cx="108000" cy="108000"/>
          </a:xfrm>
          <a:prstGeom prst="ellipse">
            <a:avLst/>
          </a:prstGeom>
          <a:solidFill>
            <a:srgbClr val="2D6C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94" name="Oval 93">
            <a:extLst>
              <a:ext uri="{FF2B5EF4-FFF2-40B4-BE49-F238E27FC236}">
                <a16:creationId xmlns:a16="http://schemas.microsoft.com/office/drawing/2014/main" id="{07985217-7A5E-9922-E183-14A1332F9248}"/>
              </a:ext>
            </a:extLst>
          </p:cNvPr>
          <p:cNvSpPr/>
          <p:nvPr/>
        </p:nvSpPr>
        <p:spPr>
          <a:xfrm>
            <a:off x="205272" y="6370843"/>
            <a:ext cx="108000" cy="108000"/>
          </a:xfrm>
          <a:prstGeom prst="ellipse">
            <a:avLst/>
          </a:prstGeom>
          <a:solidFill>
            <a:srgbClr val="1E7E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95" name="Oval 94">
            <a:extLst>
              <a:ext uri="{FF2B5EF4-FFF2-40B4-BE49-F238E27FC236}">
                <a16:creationId xmlns:a16="http://schemas.microsoft.com/office/drawing/2014/main" id="{07985217-7A5E-9922-E183-14A1332F9248}"/>
              </a:ext>
            </a:extLst>
          </p:cNvPr>
          <p:cNvSpPr/>
          <p:nvPr/>
        </p:nvSpPr>
        <p:spPr>
          <a:xfrm>
            <a:off x="5045489" y="5914216"/>
            <a:ext cx="108000" cy="108000"/>
          </a:xfrm>
          <a:prstGeom prst="ellipse">
            <a:avLst/>
          </a:prstGeom>
          <a:solidFill>
            <a:srgbClr val="1E7E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96" name="Oval 95">
            <a:extLst>
              <a:ext uri="{FF2B5EF4-FFF2-40B4-BE49-F238E27FC236}">
                <a16:creationId xmlns:a16="http://schemas.microsoft.com/office/drawing/2014/main" id="{07985217-7A5E-9922-E183-14A1332F9248}"/>
              </a:ext>
            </a:extLst>
          </p:cNvPr>
          <p:cNvSpPr/>
          <p:nvPr/>
        </p:nvSpPr>
        <p:spPr>
          <a:xfrm>
            <a:off x="6394060" y="5881848"/>
            <a:ext cx="108000" cy="108000"/>
          </a:xfrm>
          <a:prstGeom prst="ellipse">
            <a:avLst/>
          </a:prstGeom>
          <a:solidFill>
            <a:srgbClr val="1C77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97" name="Oval 96">
            <a:extLst>
              <a:ext uri="{FF2B5EF4-FFF2-40B4-BE49-F238E27FC236}">
                <a16:creationId xmlns:a16="http://schemas.microsoft.com/office/drawing/2014/main" id="{07985217-7A5E-9922-E183-14A1332F9248}"/>
              </a:ext>
            </a:extLst>
          </p:cNvPr>
          <p:cNvSpPr/>
          <p:nvPr/>
        </p:nvSpPr>
        <p:spPr>
          <a:xfrm>
            <a:off x="11282144" y="6370843"/>
            <a:ext cx="108000" cy="108000"/>
          </a:xfrm>
          <a:prstGeom prst="ellipse">
            <a:avLst/>
          </a:prstGeom>
          <a:solidFill>
            <a:srgbClr val="1C77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98" name="Oval 97">
            <a:extLst>
              <a:ext uri="{FF2B5EF4-FFF2-40B4-BE49-F238E27FC236}">
                <a16:creationId xmlns:a16="http://schemas.microsoft.com/office/drawing/2014/main" id="{07985217-7A5E-9922-E183-14A1332F9248}"/>
              </a:ext>
            </a:extLst>
          </p:cNvPr>
          <p:cNvSpPr/>
          <p:nvPr/>
        </p:nvSpPr>
        <p:spPr>
          <a:xfrm>
            <a:off x="7247921" y="4398824"/>
            <a:ext cx="108000" cy="108000"/>
          </a:xfrm>
          <a:prstGeom prst="ellipse">
            <a:avLst/>
          </a:prstGeom>
          <a:solidFill>
            <a:srgbClr val="275C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100" name="Oval 99">
            <a:extLst>
              <a:ext uri="{FF2B5EF4-FFF2-40B4-BE49-F238E27FC236}">
                <a16:creationId xmlns:a16="http://schemas.microsoft.com/office/drawing/2014/main" id="{07985217-7A5E-9922-E183-14A1332F9248}"/>
              </a:ext>
            </a:extLst>
          </p:cNvPr>
          <p:cNvSpPr/>
          <p:nvPr/>
        </p:nvSpPr>
        <p:spPr>
          <a:xfrm>
            <a:off x="10914633" y="4583336"/>
            <a:ext cx="108000" cy="108000"/>
          </a:xfrm>
          <a:prstGeom prst="ellipse">
            <a:avLst/>
          </a:prstGeom>
          <a:solidFill>
            <a:srgbClr val="275C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101" name="Oval 100">
            <a:extLst>
              <a:ext uri="{FF2B5EF4-FFF2-40B4-BE49-F238E27FC236}">
                <a16:creationId xmlns:a16="http://schemas.microsoft.com/office/drawing/2014/main" id="{07985217-7A5E-9922-E183-14A1332F9248}"/>
              </a:ext>
            </a:extLst>
          </p:cNvPr>
          <p:cNvSpPr/>
          <p:nvPr/>
        </p:nvSpPr>
        <p:spPr>
          <a:xfrm>
            <a:off x="6890569" y="3531580"/>
            <a:ext cx="108000" cy="108000"/>
          </a:xfrm>
          <a:prstGeom prst="ellipse">
            <a:avLst/>
          </a:prstGeom>
          <a:solidFill>
            <a:srgbClr val="022A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102" name="Oval 101">
            <a:extLst>
              <a:ext uri="{FF2B5EF4-FFF2-40B4-BE49-F238E27FC236}">
                <a16:creationId xmlns:a16="http://schemas.microsoft.com/office/drawing/2014/main" id="{07985217-7A5E-9922-E183-14A1332F9248}"/>
              </a:ext>
            </a:extLst>
          </p:cNvPr>
          <p:cNvSpPr/>
          <p:nvPr/>
        </p:nvSpPr>
        <p:spPr>
          <a:xfrm>
            <a:off x="11096358" y="3699317"/>
            <a:ext cx="108000" cy="108000"/>
          </a:xfrm>
          <a:prstGeom prst="ellipse">
            <a:avLst/>
          </a:prstGeom>
          <a:solidFill>
            <a:srgbClr val="022A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pic>
        <p:nvPicPr>
          <p:cNvPr id="63" name="Picture 6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641250" y="6526804"/>
            <a:ext cx="1389787" cy="267450"/>
          </a:xfrm>
          <a:prstGeom prst="rect">
            <a:avLst/>
          </a:prstGeom>
        </p:spPr>
      </p:pic>
    </p:spTree>
    <p:extLst>
      <p:ext uri="{BB962C8B-B14F-4D97-AF65-F5344CB8AC3E}">
        <p14:creationId xmlns:p14="http://schemas.microsoft.com/office/powerpoint/2010/main" val="25925142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0800000">
            <a:off x="-4" y="0"/>
            <a:ext cx="12192003" cy="6858000"/>
          </a:xfrm>
          <a:prstGeom prst="rect">
            <a:avLst/>
          </a:prstGeom>
        </p:spPr>
      </p:pic>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t="35327" b="35532"/>
          <a:stretch/>
        </p:blipFill>
        <p:spPr>
          <a:xfrm>
            <a:off x="0" y="-2"/>
            <a:ext cx="12192000" cy="1715680"/>
          </a:xfrm>
          <a:prstGeom prst="rect">
            <a:avLst/>
          </a:prstGeom>
        </p:spPr>
      </p:pic>
      <p:sp>
        <p:nvSpPr>
          <p:cNvPr id="5" name="TextBox 4"/>
          <p:cNvSpPr txBox="1"/>
          <p:nvPr/>
        </p:nvSpPr>
        <p:spPr>
          <a:xfrm>
            <a:off x="338540" y="266571"/>
            <a:ext cx="9531323" cy="830997"/>
          </a:xfrm>
          <a:prstGeom prst="rect">
            <a:avLst/>
          </a:prstGeom>
          <a:noFill/>
        </p:spPr>
        <p:txBody>
          <a:bodyPr wrap="square" rtlCol="0">
            <a:spAutoFit/>
          </a:bodyPr>
          <a:lstStyle/>
          <a:p>
            <a:r>
              <a:rPr lang="en-US" sz="2400" dirty="0">
                <a:solidFill>
                  <a:schemeClr val="bg1"/>
                </a:solidFill>
                <a:latin typeface="Montserrat Black" pitchFamily="2" charset="-52"/>
              </a:rPr>
              <a:t>III. </a:t>
            </a:r>
            <a:r>
              <a:rPr lang="ru-RU" sz="2400" dirty="0">
                <a:solidFill>
                  <a:schemeClr val="bg1"/>
                </a:solidFill>
                <a:latin typeface="Montserrat Black" pitchFamily="2" charset="-52"/>
              </a:rPr>
              <a:t>ПОСЛЕДВАЩИ ИЗИСКВАНИЯ ЗА РАЗКРИВАНЕ НА ИНФОРМАЦИЯ</a:t>
            </a:r>
            <a:endParaRPr lang="bg-BG" sz="2400" dirty="0">
              <a:solidFill>
                <a:schemeClr val="bg1"/>
              </a:solidFill>
              <a:latin typeface="Montserrat Black" pitchFamily="2" charset="-52"/>
            </a:endParaRPr>
          </a:p>
        </p:txBody>
      </p:sp>
      <p:sp>
        <p:nvSpPr>
          <p:cNvPr id="8" name="TextBox 7"/>
          <p:cNvSpPr txBox="1"/>
          <p:nvPr/>
        </p:nvSpPr>
        <p:spPr>
          <a:xfrm>
            <a:off x="338540" y="1004137"/>
            <a:ext cx="9192785" cy="646331"/>
          </a:xfrm>
          <a:prstGeom prst="rect">
            <a:avLst/>
          </a:prstGeom>
          <a:noFill/>
        </p:spPr>
        <p:txBody>
          <a:bodyPr wrap="square" rtlCol="0">
            <a:spAutoFit/>
          </a:bodyPr>
          <a:lstStyle/>
          <a:p>
            <a:r>
              <a:rPr lang="ru-RU" dirty="0" err="1">
                <a:solidFill>
                  <a:schemeClr val="bg1"/>
                </a:solidFill>
                <a:latin typeface="Montserrat" pitchFamily="2" charset="-52"/>
              </a:rPr>
              <a:t>Разкриване</a:t>
            </a:r>
            <a:r>
              <a:rPr lang="ru-RU" dirty="0">
                <a:solidFill>
                  <a:schemeClr val="bg1"/>
                </a:solidFill>
                <a:latin typeface="Montserrat" pitchFamily="2" charset="-52"/>
              </a:rPr>
              <a:t> на </a:t>
            </a:r>
            <a:r>
              <a:rPr lang="ru-RU" dirty="0" err="1">
                <a:solidFill>
                  <a:schemeClr val="bg1"/>
                </a:solidFill>
                <a:latin typeface="Montserrat" pitchFamily="2" charset="-52"/>
              </a:rPr>
              <a:t>вътрешна</a:t>
            </a:r>
            <a:r>
              <a:rPr lang="ru-RU" dirty="0">
                <a:solidFill>
                  <a:schemeClr val="bg1"/>
                </a:solidFill>
                <a:latin typeface="Montserrat" pitchFamily="2" charset="-52"/>
              </a:rPr>
              <a:t> информация и </a:t>
            </a:r>
            <a:r>
              <a:rPr lang="ru-RU" dirty="0" err="1">
                <a:solidFill>
                  <a:schemeClr val="bg1"/>
                </a:solidFill>
                <a:latin typeface="Montserrat" pitchFamily="2" charset="-52"/>
              </a:rPr>
              <a:t>забавено</a:t>
            </a:r>
            <a:r>
              <a:rPr lang="ru-RU" dirty="0">
                <a:solidFill>
                  <a:schemeClr val="bg1"/>
                </a:solidFill>
                <a:latin typeface="Montserrat" pitchFamily="2" charset="-52"/>
              </a:rPr>
              <a:t> </a:t>
            </a:r>
            <a:r>
              <a:rPr lang="ru-RU" dirty="0" err="1">
                <a:solidFill>
                  <a:schemeClr val="bg1"/>
                </a:solidFill>
                <a:latin typeface="Montserrat" pitchFamily="2" charset="-52"/>
              </a:rPr>
              <a:t>разкриване</a:t>
            </a:r>
            <a:r>
              <a:rPr lang="ru-RU" dirty="0">
                <a:solidFill>
                  <a:schemeClr val="bg1"/>
                </a:solidFill>
                <a:latin typeface="Montserrat" pitchFamily="2" charset="-52"/>
              </a:rPr>
              <a:t> на </a:t>
            </a:r>
            <a:r>
              <a:rPr lang="ru-RU" dirty="0" err="1">
                <a:solidFill>
                  <a:schemeClr val="bg1"/>
                </a:solidFill>
                <a:latin typeface="Montserrat" pitchFamily="2" charset="-52"/>
              </a:rPr>
              <a:t>вътрешна</a:t>
            </a:r>
            <a:r>
              <a:rPr lang="ru-RU" dirty="0">
                <a:solidFill>
                  <a:schemeClr val="bg1"/>
                </a:solidFill>
                <a:latin typeface="Montserrat" pitchFamily="2" charset="-52"/>
              </a:rPr>
              <a:t> информация </a:t>
            </a:r>
            <a:endParaRPr lang="bg-BG" dirty="0">
              <a:solidFill>
                <a:schemeClr val="bg1"/>
              </a:solidFill>
              <a:latin typeface="Montserrat" pitchFamily="2" charset="-52"/>
            </a:endParaRPr>
          </a:p>
        </p:txBody>
      </p:sp>
      <p:sp>
        <p:nvSpPr>
          <p:cNvPr id="3" name="Rectangle 2"/>
          <p:cNvSpPr/>
          <p:nvPr/>
        </p:nvSpPr>
        <p:spPr>
          <a:xfrm>
            <a:off x="338540" y="1815903"/>
            <a:ext cx="11152734" cy="738664"/>
          </a:xfrm>
          <a:prstGeom prst="rect">
            <a:avLst/>
          </a:prstGeom>
        </p:spPr>
        <p:txBody>
          <a:bodyPr wrap="square">
            <a:spAutoFit/>
          </a:bodyPr>
          <a:lstStyle/>
          <a:p>
            <a:pPr algn="just"/>
            <a:r>
              <a:rPr lang="ru-RU" sz="1400" dirty="0" err="1">
                <a:solidFill>
                  <a:srgbClr val="093E70"/>
                </a:solidFill>
                <a:latin typeface="Montserrat" pitchFamily="2" charset="-52"/>
              </a:rPr>
              <a:t>Емитентите</a:t>
            </a:r>
            <a:r>
              <a:rPr lang="ru-RU" sz="1400" dirty="0">
                <a:solidFill>
                  <a:srgbClr val="093E70"/>
                </a:solidFill>
                <a:latin typeface="Montserrat" pitchFamily="2" charset="-52"/>
              </a:rPr>
              <a:t>, </a:t>
            </a:r>
            <a:r>
              <a:rPr lang="ru-RU" sz="1400" dirty="0" err="1">
                <a:solidFill>
                  <a:srgbClr val="093E70"/>
                </a:solidFill>
                <a:latin typeface="Montserrat" pitchFamily="2" charset="-52"/>
              </a:rPr>
              <a:t>чиито</a:t>
            </a:r>
            <a:r>
              <a:rPr lang="ru-RU" sz="1400" dirty="0">
                <a:solidFill>
                  <a:srgbClr val="093E70"/>
                </a:solidFill>
                <a:latin typeface="Montserrat" pitchFamily="2" charset="-52"/>
              </a:rPr>
              <a:t> </a:t>
            </a:r>
            <a:r>
              <a:rPr lang="ru-RU" sz="1400" dirty="0" err="1">
                <a:solidFill>
                  <a:srgbClr val="093E70"/>
                </a:solidFill>
                <a:latin typeface="Montserrat" pitchFamily="2" charset="-52"/>
              </a:rPr>
              <a:t>финансови</a:t>
            </a:r>
            <a:r>
              <a:rPr lang="ru-RU" sz="1400" dirty="0">
                <a:solidFill>
                  <a:srgbClr val="093E70"/>
                </a:solidFill>
                <a:latin typeface="Montserrat" pitchFamily="2" charset="-52"/>
              </a:rPr>
              <a:t> </a:t>
            </a:r>
            <a:r>
              <a:rPr lang="ru-RU" sz="1400" dirty="0" err="1">
                <a:solidFill>
                  <a:srgbClr val="093E70"/>
                </a:solidFill>
                <a:latin typeface="Montserrat" pitchFamily="2" charset="-52"/>
              </a:rPr>
              <a:t>инструменти</a:t>
            </a:r>
            <a:r>
              <a:rPr lang="ru-RU" sz="1400" dirty="0">
                <a:solidFill>
                  <a:srgbClr val="093E70"/>
                </a:solidFill>
                <a:latin typeface="Montserrat" pitchFamily="2" charset="-52"/>
              </a:rPr>
              <a:t> </a:t>
            </a:r>
            <a:r>
              <a:rPr lang="ru-RU" sz="1400" dirty="0" err="1">
                <a:solidFill>
                  <a:srgbClr val="093E70"/>
                </a:solidFill>
                <a:latin typeface="Montserrat" pitchFamily="2" charset="-52"/>
              </a:rPr>
              <a:t>са</a:t>
            </a:r>
            <a:r>
              <a:rPr lang="ru-RU" sz="1400" dirty="0">
                <a:solidFill>
                  <a:srgbClr val="093E70"/>
                </a:solidFill>
                <a:latin typeface="Montserrat" pitchFamily="2" charset="-52"/>
              </a:rPr>
              <a:t> </a:t>
            </a:r>
            <a:r>
              <a:rPr lang="ru-RU" sz="1400" dirty="0" err="1">
                <a:solidFill>
                  <a:srgbClr val="093E70"/>
                </a:solidFill>
                <a:latin typeface="Montserrat" pitchFamily="2" charset="-52"/>
              </a:rPr>
              <a:t>допуснати</a:t>
            </a:r>
            <a:r>
              <a:rPr lang="ru-RU" sz="1400" dirty="0">
                <a:solidFill>
                  <a:srgbClr val="093E70"/>
                </a:solidFill>
                <a:latin typeface="Montserrat" pitchFamily="2" charset="-52"/>
              </a:rPr>
              <a:t> или по отношение на </a:t>
            </a:r>
            <a:r>
              <a:rPr lang="ru-RU" sz="1400" dirty="0" err="1">
                <a:solidFill>
                  <a:srgbClr val="093E70"/>
                </a:solidFill>
                <a:latin typeface="Montserrat" pitchFamily="2" charset="-52"/>
              </a:rPr>
              <a:t>които</a:t>
            </a:r>
            <a:r>
              <a:rPr lang="ru-RU" sz="1400" dirty="0">
                <a:solidFill>
                  <a:srgbClr val="093E70"/>
                </a:solidFill>
                <a:latin typeface="Montserrat" pitchFamily="2" charset="-52"/>
              </a:rPr>
              <a:t> е поискано </a:t>
            </a:r>
            <a:r>
              <a:rPr lang="ru-RU" sz="1400" dirty="0" err="1">
                <a:solidFill>
                  <a:srgbClr val="093E70"/>
                </a:solidFill>
                <a:latin typeface="Montserrat" pitchFamily="2" charset="-52"/>
              </a:rPr>
              <a:t>допускане</a:t>
            </a:r>
            <a:r>
              <a:rPr lang="ru-RU" sz="1400" dirty="0">
                <a:solidFill>
                  <a:srgbClr val="093E70"/>
                </a:solidFill>
                <a:latin typeface="Montserrat" pitchFamily="2" charset="-52"/>
              </a:rPr>
              <a:t> до </a:t>
            </a:r>
            <a:r>
              <a:rPr lang="ru-RU" sz="1400" dirty="0" err="1">
                <a:solidFill>
                  <a:srgbClr val="093E70"/>
                </a:solidFill>
                <a:latin typeface="Montserrat" pitchFamily="2" charset="-52"/>
              </a:rPr>
              <a:t>регулиран</a:t>
            </a:r>
            <a:r>
              <a:rPr lang="ru-RU" sz="1400" dirty="0">
                <a:solidFill>
                  <a:srgbClr val="093E70"/>
                </a:solidFill>
                <a:latin typeface="Montserrat" pitchFamily="2" charset="-52"/>
              </a:rPr>
              <a:t> </a:t>
            </a:r>
            <a:r>
              <a:rPr lang="ru-RU" sz="1400" dirty="0" err="1">
                <a:solidFill>
                  <a:srgbClr val="093E70"/>
                </a:solidFill>
                <a:latin typeface="Montserrat" pitchFamily="2" charset="-52"/>
              </a:rPr>
              <a:t>пазар</a:t>
            </a:r>
            <a:r>
              <a:rPr lang="ru-RU" sz="1400" dirty="0">
                <a:solidFill>
                  <a:srgbClr val="093E70"/>
                </a:solidFill>
                <a:latin typeface="Montserrat" pitchFamily="2" charset="-52"/>
              </a:rPr>
              <a:t> или </a:t>
            </a:r>
            <a:r>
              <a:rPr lang="ru-RU" sz="1400" dirty="0" err="1">
                <a:solidFill>
                  <a:srgbClr val="093E70"/>
                </a:solidFill>
                <a:latin typeface="Montserrat" pitchFamily="2" charset="-52"/>
              </a:rPr>
              <a:t>многостранна</a:t>
            </a:r>
            <a:r>
              <a:rPr lang="ru-RU" sz="1400" dirty="0">
                <a:solidFill>
                  <a:srgbClr val="093E70"/>
                </a:solidFill>
                <a:latin typeface="Montserrat" pitchFamily="2" charset="-52"/>
              </a:rPr>
              <a:t> система за </a:t>
            </a:r>
            <a:r>
              <a:rPr lang="ru-RU" sz="1400" dirty="0" err="1">
                <a:solidFill>
                  <a:srgbClr val="093E70"/>
                </a:solidFill>
                <a:latin typeface="Montserrat" pitchFamily="2" charset="-52"/>
              </a:rPr>
              <a:t>търговия</a:t>
            </a:r>
            <a:r>
              <a:rPr lang="ru-RU" sz="1400" dirty="0">
                <a:solidFill>
                  <a:srgbClr val="093E70"/>
                </a:solidFill>
                <a:latin typeface="Montserrat" pitchFamily="2" charset="-52"/>
              </a:rPr>
              <a:t> при </a:t>
            </a:r>
            <a:r>
              <a:rPr lang="ru-RU" sz="1400" dirty="0" err="1">
                <a:solidFill>
                  <a:srgbClr val="093E70"/>
                </a:solidFill>
                <a:latin typeface="Montserrat" pitchFamily="2" charset="-52"/>
              </a:rPr>
              <a:t>първа</a:t>
            </a:r>
            <a:r>
              <a:rPr lang="ru-RU" sz="1400" dirty="0">
                <a:solidFill>
                  <a:srgbClr val="093E70"/>
                </a:solidFill>
                <a:latin typeface="Montserrat" pitchFamily="2" charset="-52"/>
              </a:rPr>
              <a:t> </a:t>
            </a:r>
            <a:r>
              <a:rPr lang="ru-RU" sz="1400" dirty="0" err="1">
                <a:solidFill>
                  <a:srgbClr val="093E70"/>
                </a:solidFill>
                <a:latin typeface="Montserrat" pitchFamily="2" charset="-52"/>
              </a:rPr>
              <a:t>възможност</a:t>
            </a:r>
            <a:r>
              <a:rPr lang="ru-RU" sz="1400" dirty="0">
                <a:solidFill>
                  <a:srgbClr val="093E70"/>
                </a:solidFill>
                <a:latin typeface="Montserrat" pitchFamily="2" charset="-52"/>
              </a:rPr>
              <a:t> публично </a:t>
            </a:r>
            <a:r>
              <a:rPr lang="ru-RU" sz="1400" dirty="0" err="1">
                <a:solidFill>
                  <a:srgbClr val="093E70"/>
                </a:solidFill>
                <a:latin typeface="Montserrat" pitchFamily="2" charset="-52"/>
              </a:rPr>
              <a:t>разкриват</a:t>
            </a:r>
            <a:r>
              <a:rPr lang="ru-RU" sz="1400" dirty="0">
                <a:solidFill>
                  <a:srgbClr val="093E70"/>
                </a:solidFill>
                <a:latin typeface="Montserrat" pitchFamily="2" charset="-52"/>
              </a:rPr>
              <a:t> </a:t>
            </a:r>
            <a:r>
              <a:rPr lang="ru-RU" sz="1400" dirty="0" err="1">
                <a:solidFill>
                  <a:srgbClr val="093E70"/>
                </a:solidFill>
                <a:latin typeface="Montserrat" pitchFamily="2" charset="-52"/>
              </a:rPr>
              <a:t>вътрешната</a:t>
            </a:r>
            <a:r>
              <a:rPr lang="ru-RU" sz="1400" dirty="0">
                <a:solidFill>
                  <a:srgbClr val="093E70"/>
                </a:solidFill>
                <a:latin typeface="Montserrat" pitchFamily="2" charset="-52"/>
              </a:rPr>
              <a:t> информация, </a:t>
            </a:r>
            <a:r>
              <a:rPr lang="ru-RU" sz="1400" dirty="0" err="1">
                <a:solidFill>
                  <a:srgbClr val="093E70"/>
                </a:solidFill>
                <a:latin typeface="Montserrat" pitchFamily="2" charset="-52"/>
              </a:rPr>
              <a:t>която</a:t>
            </a:r>
            <a:r>
              <a:rPr lang="ru-RU" sz="1400" dirty="0">
                <a:solidFill>
                  <a:srgbClr val="093E70"/>
                </a:solidFill>
                <a:latin typeface="Montserrat" pitchFamily="2" charset="-52"/>
              </a:rPr>
              <a:t> </a:t>
            </a:r>
            <a:r>
              <a:rPr lang="ru-RU" sz="1400" dirty="0" err="1">
                <a:solidFill>
                  <a:srgbClr val="093E70"/>
                </a:solidFill>
                <a:latin typeface="Montserrat" pitchFamily="2" charset="-52"/>
              </a:rPr>
              <a:t>ги</a:t>
            </a:r>
            <a:r>
              <a:rPr lang="ru-RU" sz="1400" dirty="0">
                <a:solidFill>
                  <a:srgbClr val="093E70"/>
                </a:solidFill>
                <a:latin typeface="Montserrat" pitchFamily="2" charset="-52"/>
              </a:rPr>
              <a:t> </a:t>
            </a:r>
            <a:r>
              <a:rPr lang="ru-RU" sz="1400" dirty="0" err="1">
                <a:solidFill>
                  <a:srgbClr val="093E70"/>
                </a:solidFill>
                <a:latin typeface="Montserrat" pitchFamily="2" charset="-52"/>
              </a:rPr>
              <a:t>засяга</a:t>
            </a:r>
            <a:r>
              <a:rPr lang="ru-RU" sz="1400" dirty="0">
                <a:solidFill>
                  <a:srgbClr val="093E70"/>
                </a:solidFill>
                <a:latin typeface="Montserrat" pitchFamily="2" charset="-52"/>
              </a:rPr>
              <a:t> </a:t>
            </a:r>
            <a:r>
              <a:rPr lang="ru-RU" sz="1400" dirty="0" err="1">
                <a:solidFill>
                  <a:srgbClr val="093E70"/>
                </a:solidFill>
                <a:latin typeface="Montserrat" pitchFamily="2" charset="-52"/>
              </a:rPr>
              <a:t>пряко</a:t>
            </a:r>
            <a:r>
              <a:rPr lang="ru-RU" sz="1400" dirty="0">
                <a:solidFill>
                  <a:srgbClr val="093E70"/>
                </a:solidFill>
                <a:latin typeface="Montserrat" pitchFamily="2" charset="-52"/>
              </a:rPr>
              <a:t>. </a:t>
            </a:r>
            <a:endParaRPr lang="bg-BG" sz="1400" dirty="0">
              <a:solidFill>
                <a:srgbClr val="093E70"/>
              </a:solidFill>
              <a:latin typeface="Montserrat" pitchFamily="2" charset="-52"/>
            </a:endParaRPr>
          </a:p>
        </p:txBody>
      </p:sp>
      <p:sp>
        <p:nvSpPr>
          <p:cNvPr id="12" name="Rectangle 11"/>
          <p:cNvSpPr/>
          <p:nvPr/>
        </p:nvSpPr>
        <p:spPr>
          <a:xfrm>
            <a:off x="4016445" y="2735693"/>
            <a:ext cx="7474830" cy="1384995"/>
          </a:xfrm>
          <a:prstGeom prst="rect">
            <a:avLst/>
          </a:prstGeom>
        </p:spPr>
        <p:txBody>
          <a:bodyPr wrap="square">
            <a:spAutoFit/>
          </a:bodyPr>
          <a:lstStyle/>
          <a:p>
            <a:pPr algn="just"/>
            <a:r>
              <a:rPr lang="ru-RU" sz="1400" dirty="0">
                <a:solidFill>
                  <a:srgbClr val="093E70"/>
                </a:solidFill>
                <a:latin typeface="Montserrat" pitchFamily="2" charset="-52"/>
              </a:rPr>
              <a:t>Точна информация, </a:t>
            </a:r>
            <a:r>
              <a:rPr lang="ru-RU" sz="1400" dirty="0" err="1">
                <a:solidFill>
                  <a:srgbClr val="093E70"/>
                </a:solidFill>
                <a:latin typeface="Montserrat" pitchFamily="2" charset="-52"/>
              </a:rPr>
              <a:t>която</a:t>
            </a:r>
            <a:r>
              <a:rPr lang="ru-RU" sz="1400" dirty="0">
                <a:solidFill>
                  <a:srgbClr val="093E70"/>
                </a:solidFill>
                <a:latin typeface="Montserrat" pitchFamily="2" charset="-52"/>
              </a:rPr>
              <a:t> не е била </a:t>
            </a:r>
            <a:r>
              <a:rPr lang="ru-RU" sz="1400" dirty="0" err="1">
                <a:solidFill>
                  <a:srgbClr val="093E70"/>
                </a:solidFill>
                <a:latin typeface="Montserrat" pitchFamily="2" charset="-52"/>
              </a:rPr>
              <a:t>направена</a:t>
            </a:r>
            <a:r>
              <a:rPr lang="ru-RU" sz="1400" dirty="0">
                <a:solidFill>
                  <a:srgbClr val="093E70"/>
                </a:solidFill>
                <a:latin typeface="Montserrat" pitchFamily="2" charset="-52"/>
              </a:rPr>
              <a:t> публично достояние, </a:t>
            </a:r>
            <a:r>
              <a:rPr lang="ru-RU" sz="1400" dirty="0" err="1">
                <a:solidFill>
                  <a:srgbClr val="093E70"/>
                </a:solidFill>
                <a:latin typeface="Montserrat" pitchFamily="2" charset="-52"/>
              </a:rPr>
              <a:t>свързана</a:t>
            </a:r>
            <a:r>
              <a:rPr lang="ru-RU" sz="1400" dirty="0">
                <a:solidFill>
                  <a:srgbClr val="093E70"/>
                </a:solidFill>
                <a:latin typeface="Montserrat" pitchFamily="2" charset="-52"/>
              </a:rPr>
              <a:t> </a:t>
            </a:r>
            <a:r>
              <a:rPr lang="ru-RU" sz="1400" dirty="0" err="1">
                <a:solidFill>
                  <a:srgbClr val="093E70"/>
                </a:solidFill>
                <a:latin typeface="Montserrat" pitchFamily="2" charset="-52"/>
              </a:rPr>
              <a:t>пряко</a:t>
            </a:r>
            <a:r>
              <a:rPr lang="ru-RU" sz="1400" dirty="0">
                <a:solidFill>
                  <a:srgbClr val="093E70"/>
                </a:solidFill>
                <a:latin typeface="Montserrat" pitchFamily="2" charset="-52"/>
              </a:rPr>
              <a:t> или </a:t>
            </a:r>
            <a:r>
              <a:rPr lang="ru-RU" sz="1400" dirty="0" err="1">
                <a:solidFill>
                  <a:srgbClr val="093E70"/>
                </a:solidFill>
                <a:latin typeface="Montserrat" pitchFamily="2" charset="-52"/>
              </a:rPr>
              <a:t>косвено</a:t>
            </a:r>
            <a:r>
              <a:rPr lang="ru-RU" sz="1400" dirty="0">
                <a:solidFill>
                  <a:srgbClr val="093E70"/>
                </a:solidFill>
                <a:latin typeface="Montserrat" pitchFamily="2" charset="-52"/>
              </a:rPr>
              <a:t> с един или </a:t>
            </a:r>
            <a:r>
              <a:rPr lang="ru-RU" sz="1400" dirty="0" err="1">
                <a:solidFill>
                  <a:srgbClr val="093E70"/>
                </a:solidFill>
                <a:latin typeface="Montserrat" pitchFamily="2" charset="-52"/>
              </a:rPr>
              <a:t>повече</a:t>
            </a:r>
            <a:r>
              <a:rPr lang="ru-RU" sz="1400" dirty="0">
                <a:solidFill>
                  <a:srgbClr val="093E70"/>
                </a:solidFill>
                <a:latin typeface="Montserrat" pitchFamily="2" charset="-52"/>
              </a:rPr>
              <a:t> </a:t>
            </a:r>
            <a:r>
              <a:rPr lang="ru-RU" sz="1400" dirty="0" err="1">
                <a:solidFill>
                  <a:srgbClr val="093E70"/>
                </a:solidFill>
                <a:latin typeface="Montserrat" pitchFamily="2" charset="-52"/>
              </a:rPr>
              <a:t>емитенти</a:t>
            </a:r>
            <a:r>
              <a:rPr lang="en-US" sz="1400" dirty="0">
                <a:solidFill>
                  <a:srgbClr val="093E70"/>
                </a:solidFill>
                <a:latin typeface="Montserrat" pitchFamily="2" charset="-52"/>
              </a:rPr>
              <a:t>,</a:t>
            </a:r>
            <a:r>
              <a:rPr lang="ru-RU" sz="1400" dirty="0">
                <a:solidFill>
                  <a:srgbClr val="093E70"/>
                </a:solidFill>
                <a:latin typeface="Montserrat" pitchFamily="2" charset="-52"/>
              </a:rPr>
              <a:t> или с един или </a:t>
            </a:r>
            <a:r>
              <a:rPr lang="ru-RU" sz="1400" dirty="0" err="1">
                <a:solidFill>
                  <a:srgbClr val="093E70"/>
                </a:solidFill>
                <a:latin typeface="Montserrat" pitchFamily="2" charset="-52"/>
              </a:rPr>
              <a:t>повече</a:t>
            </a:r>
            <a:r>
              <a:rPr lang="ru-RU" sz="1400" dirty="0">
                <a:solidFill>
                  <a:srgbClr val="093E70"/>
                </a:solidFill>
                <a:latin typeface="Montserrat" pitchFamily="2" charset="-52"/>
              </a:rPr>
              <a:t> </a:t>
            </a:r>
            <a:r>
              <a:rPr lang="ru-RU" sz="1400" dirty="0" err="1">
                <a:solidFill>
                  <a:srgbClr val="093E70"/>
                </a:solidFill>
                <a:latin typeface="Montserrat" pitchFamily="2" charset="-52"/>
              </a:rPr>
              <a:t>финансови</a:t>
            </a:r>
            <a:r>
              <a:rPr lang="ru-RU" sz="1400" dirty="0">
                <a:solidFill>
                  <a:srgbClr val="093E70"/>
                </a:solidFill>
                <a:latin typeface="Montserrat" pitchFamily="2" charset="-52"/>
              </a:rPr>
              <a:t> </a:t>
            </a:r>
            <a:r>
              <a:rPr lang="ru-RU" sz="1400" dirty="0" err="1">
                <a:solidFill>
                  <a:srgbClr val="093E70"/>
                </a:solidFill>
                <a:latin typeface="Montserrat" pitchFamily="2" charset="-52"/>
              </a:rPr>
              <a:t>инструменти</a:t>
            </a:r>
            <a:r>
              <a:rPr lang="ru-RU" sz="1400" dirty="0">
                <a:solidFill>
                  <a:srgbClr val="093E70"/>
                </a:solidFill>
                <a:latin typeface="Montserrat" pitchFamily="2" charset="-52"/>
              </a:rPr>
              <a:t> и </a:t>
            </a:r>
            <a:r>
              <a:rPr lang="ru-RU" sz="1400" dirty="0" err="1">
                <a:solidFill>
                  <a:srgbClr val="093E70"/>
                </a:solidFill>
                <a:latin typeface="Montserrat" pitchFamily="2" charset="-52"/>
              </a:rPr>
              <a:t>която</a:t>
            </a:r>
            <a:r>
              <a:rPr lang="ru-RU" sz="1400" dirty="0">
                <a:solidFill>
                  <a:srgbClr val="093E70"/>
                </a:solidFill>
                <a:latin typeface="Montserrat" pitchFamily="2" charset="-52"/>
              </a:rPr>
              <a:t>, </a:t>
            </a:r>
            <a:r>
              <a:rPr lang="ru-RU" sz="1400" dirty="0" err="1">
                <a:solidFill>
                  <a:srgbClr val="093E70"/>
                </a:solidFill>
                <a:latin typeface="Montserrat" pitchFamily="2" charset="-52"/>
              </a:rPr>
              <a:t>ако</a:t>
            </a:r>
            <a:r>
              <a:rPr lang="ru-RU" sz="1400" dirty="0">
                <a:solidFill>
                  <a:srgbClr val="093E70"/>
                </a:solidFill>
                <a:latin typeface="Montserrat" pitchFamily="2" charset="-52"/>
              </a:rPr>
              <a:t> </a:t>
            </a:r>
            <a:r>
              <a:rPr lang="ru-RU" sz="1400" dirty="0" err="1">
                <a:solidFill>
                  <a:srgbClr val="093E70"/>
                </a:solidFill>
                <a:latin typeface="Montserrat" pitchFamily="2" charset="-52"/>
              </a:rPr>
              <a:t>бъде</a:t>
            </a:r>
            <a:r>
              <a:rPr lang="ru-RU" sz="1400" dirty="0">
                <a:solidFill>
                  <a:srgbClr val="093E70"/>
                </a:solidFill>
                <a:latin typeface="Montserrat" pitchFamily="2" charset="-52"/>
              </a:rPr>
              <a:t> </a:t>
            </a:r>
            <a:r>
              <a:rPr lang="ru-RU" sz="1400" dirty="0" err="1">
                <a:solidFill>
                  <a:srgbClr val="093E70"/>
                </a:solidFill>
                <a:latin typeface="Montserrat" pitchFamily="2" charset="-52"/>
              </a:rPr>
              <a:t>направена</a:t>
            </a:r>
            <a:r>
              <a:rPr lang="ru-RU" sz="1400" dirty="0">
                <a:solidFill>
                  <a:srgbClr val="093E70"/>
                </a:solidFill>
                <a:latin typeface="Montserrat" pitchFamily="2" charset="-52"/>
              </a:rPr>
              <a:t> публично достояние, би могла да </a:t>
            </a:r>
            <a:r>
              <a:rPr lang="ru-RU" sz="1400" dirty="0" err="1">
                <a:solidFill>
                  <a:srgbClr val="093E70"/>
                </a:solidFill>
                <a:latin typeface="Montserrat" pitchFamily="2" charset="-52"/>
              </a:rPr>
              <a:t>повлияе</a:t>
            </a:r>
            <a:r>
              <a:rPr lang="ru-RU" sz="1400" dirty="0">
                <a:solidFill>
                  <a:srgbClr val="093E70"/>
                </a:solidFill>
                <a:latin typeface="Montserrat" pitchFamily="2" charset="-52"/>
              </a:rPr>
              <a:t> </a:t>
            </a:r>
            <a:r>
              <a:rPr lang="ru-RU" sz="1400" dirty="0" err="1">
                <a:solidFill>
                  <a:srgbClr val="093E70"/>
                </a:solidFill>
                <a:latin typeface="Montserrat" pitchFamily="2" charset="-52"/>
              </a:rPr>
              <a:t>чувствително</a:t>
            </a:r>
            <a:r>
              <a:rPr lang="ru-RU" sz="1400" dirty="0">
                <a:solidFill>
                  <a:srgbClr val="093E70"/>
                </a:solidFill>
                <a:latin typeface="Montserrat" pitchFamily="2" charset="-52"/>
              </a:rPr>
              <a:t> </a:t>
            </a:r>
            <a:r>
              <a:rPr lang="ru-RU" sz="1400" dirty="0" err="1">
                <a:solidFill>
                  <a:srgbClr val="093E70"/>
                </a:solidFill>
                <a:latin typeface="Montserrat" pitchFamily="2" charset="-52"/>
              </a:rPr>
              <a:t>върху</a:t>
            </a:r>
            <a:r>
              <a:rPr lang="ru-RU" sz="1400" dirty="0">
                <a:solidFill>
                  <a:srgbClr val="093E70"/>
                </a:solidFill>
                <a:latin typeface="Montserrat" pitchFamily="2" charset="-52"/>
              </a:rPr>
              <a:t> </a:t>
            </a:r>
            <a:r>
              <a:rPr lang="ru-RU" sz="1400" dirty="0" err="1">
                <a:solidFill>
                  <a:srgbClr val="093E70"/>
                </a:solidFill>
                <a:latin typeface="Montserrat" pitchFamily="2" charset="-52"/>
              </a:rPr>
              <a:t>цената</a:t>
            </a:r>
            <a:r>
              <a:rPr lang="ru-RU" sz="1400" dirty="0">
                <a:solidFill>
                  <a:srgbClr val="093E70"/>
                </a:solidFill>
                <a:latin typeface="Montserrat" pitchFamily="2" charset="-52"/>
              </a:rPr>
              <a:t> на </a:t>
            </a:r>
            <a:r>
              <a:rPr lang="ru-RU" sz="1400" dirty="0" err="1">
                <a:solidFill>
                  <a:srgbClr val="093E70"/>
                </a:solidFill>
                <a:latin typeface="Montserrat" pitchFamily="2" charset="-52"/>
              </a:rPr>
              <a:t>тези</a:t>
            </a:r>
            <a:r>
              <a:rPr lang="ru-RU" sz="1400" dirty="0">
                <a:solidFill>
                  <a:srgbClr val="093E70"/>
                </a:solidFill>
                <a:latin typeface="Montserrat" pitchFamily="2" charset="-52"/>
              </a:rPr>
              <a:t> </a:t>
            </a:r>
            <a:r>
              <a:rPr lang="ru-RU" sz="1400" dirty="0" err="1">
                <a:solidFill>
                  <a:srgbClr val="093E70"/>
                </a:solidFill>
                <a:latin typeface="Montserrat" pitchFamily="2" charset="-52"/>
              </a:rPr>
              <a:t>финансови</a:t>
            </a:r>
            <a:r>
              <a:rPr lang="ru-RU" sz="1400" dirty="0">
                <a:solidFill>
                  <a:srgbClr val="093E70"/>
                </a:solidFill>
                <a:latin typeface="Montserrat" pitchFamily="2" charset="-52"/>
              </a:rPr>
              <a:t> </a:t>
            </a:r>
            <a:r>
              <a:rPr lang="ru-RU" sz="1400" dirty="0" err="1">
                <a:solidFill>
                  <a:srgbClr val="093E70"/>
                </a:solidFill>
                <a:latin typeface="Montserrat" pitchFamily="2" charset="-52"/>
              </a:rPr>
              <a:t>инструменти</a:t>
            </a:r>
            <a:r>
              <a:rPr lang="ru-RU" sz="1400" dirty="0">
                <a:solidFill>
                  <a:srgbClr val="093E70"/>
                </a:solidFill>
                <a:latin typeface="Montserrat" pitchFamily="2" charset="-52"/>
              </a:rPr>
              <a:t> или на </a:t>
            </a:r>
            <a:r>
              <a:rPr lang="ru-RU" sz="1400" dirty="0" err="1">
                <a:solidFill>
                  <a:srgbClr val="093E70"/>
                </a:solidFill>
                <a:latin typeface="Montserrat" pitchFamily="2" charset="-52"/>
              </a:rPr>
              <a:t>свързаните</a:t>
            </a:r>
            <a:r>
              <a:rPr lang="ru-RU" sz="1400" dirty="0">
                <a:solidFill>
                  <a:srgbClr val="093E70"/>
                </a:solidFill>
                <a:latin typeface="Montserrat" pitchFamily="2" charset="-52"/>
              </a:rPr>
              <a:t> с </a:t>
            </a:r>
            <a:r>
              <a:rPr lang="ru-RU" sz="1400" dirty="0" err="1">
                <a:solidFill>
                  <a:srgbClr val="093E70"/>
                </a:solidFill>
                <a:latin typeface="Montserrat" pitchFamily="2" charset="-52"/>
              </a:rPr>
              <a:t>тях</a:t>
            </a:r>
            <a:r>
              <a:rPr lang="ru-RU" sz="1400" dirty="0">
                <a:solidFill>
                  <a:srgbClr val="093E70"/>
                </a:solidFill>
                <a:latin typeface="Montserrat" pitchFamily="2" charset="-52"/>
              </a:rPr>
              <a:t> </a:t>
            </a:r>
            <a:r>
              <a:rPr lang="ru-RU" sz="1400" dirty="0" err="1">
                <a:solidFill>
                  <a:srgbClr val="093E70"/>
                </a:solidFill>
                <a:latin typeface="Montserrat" pitchFamily="2" charset="-52"/>
              </a:rPr>
              <a:t>дериватни</a:t>
            </a:r>
            <a:r>
              <a:rPr lang="ru-RU" sz="1400" dirty="0">
                <a:solidFill>
                  <a:srgbClr val="093E70"/>
                </a:solidFill>
                <a:latin typeface="Montserrat" pitchFamily="2" charset="-52"/>
              </a:rPr>
              <a:t> </a:t>
            </a:r>
            <a:r>
              <a:rPr lang="ru-RU" sz="1400" dirty="0" err="1">
                <a:solidFill>
                  <a:srgbClr val="093E70"/>
                </a:solidFill>
                <a:latin typeface="Montserrat" pitchFamily="2" charset="-52"/>
              </a:rPr>
              <a:t>финансови</a:t>
            </a:r>
            <a:r>
              <a:rPr lang="ru-RU" sz="1400" dirty="0">
                <a:solidFill>
                  <a:srgbClr val="093E70"/>
                </a:solidFill>
                <a:latin typeface="Montserrat" pitchFamily="2" charset="-52"/>
              </a:rPr>
              <a:t> </a:t>
            </a:r>
            <a:r>
              <a:rPr lang="ru-RU" sz="1400" dirty="0" err="1">
                <a:solidFill>
                  <a:srgbClr val="093E70"/>
                </a:solidFill>
                <a:latin typeface="Montserrat" pitchFamily="2" charset="-52"/>
              </a:rPr>
              <a:t>инструменти</a:t>
            </a:r>
            <a:r>
              <a:rPr lang="ru-RU" sz="1400" dirty="0">
                <a:solidFill>
                  <a:srgbClr val="093E70"/>
                </a:solidFill>
                <a:latin typeface="Montserrat" pitchFamily="2" charset="-52"/>
              </a:rPr>
              <a:t>;</a:t>
            </a:r>
            <a:endParaRPr lang="bg-BG" sz="1400" dirty="0">
              <a:solidFill>
                <a:srgbClr val="093E70"/>
              </a:solidFill>
              <a:latin typeface="Montserrat" pitchFamily="2" charset="-52"/>
            </a:endParaRPr>
          </a:p>
        </p:txBody>
      </p:sp>
      <p:sp>
        <p:nvSpPr>
          <p:cNvPr id="14" name="Rectangle 13"/>
          <p:cNvSpPr/>
          <p:nvPr/>
        </p:nvSpPr>
        <p:spPr>
          <a:xfrm>
            <a:off x="4016444" y="4325782"/>
            <a:ext cx="7349548" cy="523220"/>
          </a:xfrm>
          <a:prstGeom prst="rect">
            <a:avLst/>
          </a:prstGeom>
        </p:spPr>
        <p:txBody>
          <a:bodyPr wrap="square">
            <a:spAutoFit/>
          </a:bodyPr>
          <a:lstStyle/>
          <a:p>
            <a:pPr algn="just"/>
            <a:r>
              <a:rPr lang="ru-RU" sz="1400" dirty="0" err="1">
                <a:solidFill>
                  <a:srgbClr val="093E70"/>
                </a:solidFill>
                <a:latin typeface="Montserrat" pitchFamily="2" charset="-52"/>
              </a:rPr>
              <a:t>Способства</a:t>
            </a:r>
            <a:r>
              <a:rPr lang="ru-RU" sz="1400" dirty="0">
                <a:solidFill>
                  <a:srgbClr val="093E70"/>
                </a:solidFill>
                <a:latin typeface="Montserrat" pitchFamily="2" charset="-52"/>
              </a:rPr>
              <a:t> </a:t>
            </a:r>
            <a:r>
              <a:rPr lang="ru-RU" sz="1400" dirty="0" err="1">
                <a:solidFill>
                  <a:srgbClr val="093E70"/>
                </a:solidFill>
                <a:latin typeface="Montserrat" pitchFamily="2" charset="-52"/>
              </a:rPr>
              <a:t>бързия</a:t>
            </a:r>
            <a:r>
              <a:rPr lang="ru-RU" sz="1400" dirty="0">
                <a:solidFill>
                  <a:srgbClr val="093E70"/>
                </a:solidFill>
                <a:latin typeface="Montserrat" pitchFamily="2" charset="-52"/>
              </a:rPr>
              <a:t> </a:t>
            </a:r>
            <a:r>
              <a:rPr lang="ru-RU" sz="1400" dirty="0" err="1">
                <a:solidFill>
                  <a:srgbClr val="093E70"/>
                </a:solidFill>
                <a:latin typeface="Montserrat" pitchFamily="2" charset="-52"/>
              </a:rPr>
              <a:t>достъп</a:t>
            </a:r>
            <a:r>
              <a:rPr lang="ru-RU" sz="1400" dirty="0">
                <a:solidFill>
                  <a:srgbClr val="093E70"/>
                </a:solidFill>
                <a:latin typeface="Montserrat" pitchFamily="2" charset="-52"/>
              </a:rPr>
              <a:t> и </a:t>
            </a:r>
            <a:r>
              <a:rPr lang="ru-RU" sz="1400" dirty="0" err="1">
                <a:solidFill>
                  <a:srgbClr val="093E70"/>
                </a:solidFill>
                <a:latin typeface="Montserrat" pitchFamily="2" charset="-52"/>
              </a:rPr>
              <a:t>пълната</a:t>
            </a:r>
            <a:r>
              <a:rPr lang="ru-RU" sz="1400" dirty="0">
                <a:solidFill>
                  <a:srgbClr val="093E70"/>
                </a:solidFill>
                <a:latin typeface="Montserrat" pitchFamily="2" charset="-52"/>
              </a:rPr>
              <a:t>, точна и своевременна оценка на </a:t>
            </a:r>
            <a:r>
              <a:rPr lang="ru-RU" sz="1400" dirty="0" err="1">
                <a:solidFill>
                  <a:srgbClr val="093E70"/>
                </a:solidFill>
                <a:latin typeface="Montserrat" pitchFamily="2" charset="-52"/>
              </a:rPr>
              <a:t>информацията</a:t>
            </a:r>
            <a:r>
              <a:rPr lang="ru-RU" sz="1400" dirty="0">
                <a:solidFill>
                  <a:srgbClr val="093E70"/>
                </a:solidFill>
                <a:latin typeface="Montserrat" pitchFamily="2" charset="-52"/>
              </a:rPr>
              <a:t> от </a:t>
            </a:r>
            <a:r>
              <a:rPr lang="ru-RU" sz="1400" dirty="0" err="1">
                <a:solidFill>
                  <a:srgbClr val="093E70"/>
                </a:solidFill>
                <a:latin typeface="Montserrat" pitchFamily="2" charset="-52"/>
              </a:rPr>
              <a:t>обществеността</a:t>
            </a:r>
            <a:r>
              <a:rPr lang="en-US" sz="1400" dirty="0">
                <a:solidFill>
                  <a:srgbClr val="093E70"/>
                </a:solidFill>
                <a:latin typeface="Montserrat" pitchFamily="2" charset="-52"/>
              </a:rPr>
              <a:t>;</a:t>
            </a:r>
            <a:r>
              <a:rPr lang="ru-RU" sz="1400" dirty="0">
                <a:solidFill>
                  <a:srgbClr val="093E70"/>
                </a:solidFill>
                <a:latin typeface="Montserrat" pitchFamily="2" charset="-52"/>
              </a:rPr>
              <a:t> </a:t>
            </a:r>
            <a:endParaRPr lang="bg-BG" sz="1400" dirty="0">
              <a:solidFill>
                <a:srgbClr val="093E70"/>
              </a:solidFill>
              <a:latin typeface="Montserrat" pitchFamily="2" charset="-52"/>
            </a:endParaRPr>
          </a:p>
        </p:txBody>
      </p:sp>
      <p:sp>
        <p:nvSpPr>
          <p:cNvPr id="16" name="Rectangle 15"/>
          <p:cNvSpPr/>
          <p:nvPr/>
        </p:nvSpPr>
        <p:spPr>
          <a:xfrm>
            <a:off x="4016444" y="5081322"/>
            <a:ext cx="7349548" cy="738664"/>
          </a:xfrm>
          <a:prstGeom prst="rect">
            <a:avLst/>
          </a:prstGeom>
        </p:spPr>
        <p:txBody>
          <a:bodyPr wrap="square">
            <a:spAutoFit/>
          </a:bodyPr>
          <a:lstStyle/>
          <a:p>
            <a:pPr algn="just"/>
            <a:r>
              <a:rPr lang="ru-RU" sz="1400" dirty="0" err="1">
                <a:solidFill>
                  <a:srgbClr val="093E70"/>
                </a:solidFill>
                <a:latin typeface="Montserrat" pitchFamily="2" charset="-52"/>
              </a:rPr>
              <a:t>Емитентът</a:t>
            </a:r>
            <a:r>
              <a:rPr lang="ru-RU" sz="1400" dirty="0">
                <a:solidFill>
                  <a:srgbClr val="093E70"/>
                </a:solidFill>
                <a:latin typeface="Montserrat" pitchFamily="2" charset="-52"/>
              </a:rPr>
              <a:t> </a:t>
            </a:r>
            <a:r>
              <a:rPr lang="ru-RU" sz="1400" dirty="0" err="1">
                <a:solidFill>
                  <a:srgbClr val="093E70"/>
                </a:solidFill>
                <a:latin typeface="Montserrat" pitchFamily="2" charset="-52"/>
              </a:rPr>
              <a:t>публикува</a:t>
            </a:r>
            <a:r>
              <a:rPr lang="ru-RU" sz="1400" dirty="0">
                <a:solidFill>
                  <a:srgbClr val="093E70"/>
                </a:solidFill>
                <a:latin typeface="Montserrat" pitchFamily="2" charset="-52"/>
              </a:rPr>
              <a:t> и </a:t>
            </a:r>
            <a:r>
              <a:rPr lang="ru-RU" sz="1400" dirty="0" err="1">
                <a:solidFill>
                  <a:srgbClr val="093E70"/>
                </a:solidFill>
                <a:latin typeface="Montserrat" pitchFamily="2" charset="-52"/>
              </a:rPr>
              <a:t>поддържа</a:t>
            </a:r>
            <a:r>
              <a:rPr lang="ru-RU" sz="1400" dirty="0">
                <a:solidFill>
                  <a:srgbClr val="093E70"/>
                </a:solidFill>
                <a:latin typeface="Montserrat" pitchFamily="2" charset="-52"/>
              </a:rPr>
              <a:t> на своя </a:t>
            </a:r>
            <a:r>
              <a:rPr lang="ru-RU" sz="1400" dirty="0" err="1">
                <a:solidFill>
                  <a:srgbClr val="093E70"/>
                </a:solidFill>
                <a:latin typeface="Montserrat" pitchFamily="2" charset="-52"/>
              </a:rPr>
              <a:t>уебсайт</a:t>
            </a:r>
            <a:r>
              <a:rPr lang="ru-RU" sz="1400" dirty="0">
                <a:solidFill>
                  <a:srgbClr val="093E70"/>
                </a:solidFill>
                <a:latin typeface="Montserrat" pitchFamily="2" charset="-52"/>
              </a:rPr>
              <a:t> за срок от </a:t>
            </a:r>
            <a:r>
              <a:rPr lang="ru-RU" sz="1400" dirty="0" err="1">
                <a:solidFill>
                  <a:srgbClr val="093E70"/>
                </a:solidFill>
                <a:latin typeface="Montserrat" pitchFamily="2" charset="-52"/>
              </a:rPr>
              <a:t>най-малко</a:t>
            </a:r>
            <a:r>
              <a:rPr lang="ru-RU" sz="1400" dirty="0">
                <a:solidFill>
                  <a:srgbClr val="093E70"/>
                </a:solidFill>
                <a:latin typeface="Montserrat" pitchFamily="2" charset="-52"/>
              </a:rPr>
              <a:t> пет </a:t>
            </a:r>
            <a:r>
              <a:rPr lang="ru-RU" sz="1400" dirty="0" err="1">
                <a:solidFill>
                  <a:srgbClr val="093E70"/>
                </a:solidFill>
                <a:latin typeface="Montserrat" pitchFamily="2" charset="-52"/>
              </a:rPr>
              <a:t>години</a:t>
            </a:r>
            <a:r>
              <a:rPr lang="ru-RU" sz="1400" dirty="0">
                <a:solidFill>
                  <a:srgbClr val="093E70"/>
                </a:solidFill>
                <a:latin typeface="Montserrat" pitchFamily="2" charset="-52"/>
              </a:rPr>
              <a:t> </a:t>
            </a:r>
            <a:r>
              <a:rPr lang="ru-RU" sz="1400" dirty="0" err="1">
                <a:solidFill>
                  <a:srgbClr val="093E70"/>
                </a:solidFill>
                <a:latin typeface="Montserrat" pitchFamily="2" charset="-52"/>
              </a:rPr>
              <a:t>цялата</a:t>
            </a:r>
            <a:r>
              <a:rPr lang="ru-RU" sz="1400" dirty="0">
                <a:solidFill>
                  <a:srgbClr val="093E70"/>
                </a:solidFill>
                <a:latin typeface="Montserrat" pitchFamily="2" charset="-52"/>
              </a:rPr>
              <a:t> </a:t>
            </a:r>
            <a:r>
              <a:rPr lang="ru-RU" sz="1400" dirty="0" err="1">
                <a:solidFill>
                  <a:srgbClr val="093E70"/>
                </a:solidFill>
                <a:latin typeface="Montserrat" pitchFamily="2" charset="-52"/>
              </a:rPr>
              <a:t>вътрешна</a:t>
            </a:r>
            <a:r>
              <a:rPr lang="ru-RU" sz="1400" dirty="0">
                <a:solidFill>
                  <a:srgbClr val="093E70"/>
                </a:solidFill>
                <a:latin typeface="Montserrat" pitchFamily="2" charset="-52"/>
              </a:rPr>
              <a:t> информация, </a:t>
            </a:r>
            <a:r>
              <a:rPr lang="ru-RU" sz="1400" dirty="0" err="1">
                <a:solidFill>
                  <a:srgbClr val="093E70"/>
                </a:solidFill>
                <a:latin typeface="Montserrat" pitchFamily="2" charset="-52"/>
              </a:rPr>
              <a:t>която</a:t>
            </a:r>
            <a:r>
              <a:rPr lang="ru-RU" sz="1400" dirty="0">
                <a:solidFill>
                  <a:srgbClr val="093E70"/>
                </a:solidFill>
                <a:latin typeface="Montserrat" pitchFamily="2" charset="-52"/>
              </a:rPr>
              <a:t> е </a:t>
            </a:r>
            <a:r>
              <a:rPr lang="ru-RU" sz="1400" dirty="0" err="1">
                <a:solidFill>
                  <a:srgbClr val="093E70"/>
                </a:solidFill>
                <a:latin typeface="Montserrat" pitchFamily="2" charset="-52"/>
              </a:rPr>
              <a:t>задължен</a:t>
            </a:r>
            <a:r>
              <a:rPr lang="ru-RU" sz="1400" dirty="0">
                <a:solidFill>
                  <a:srgbClr val="093E70"/>
                </a:solidFill>
                <a:latin typeface="Montserrat" pitchFamily="2" charset="-52"/>
              </a:rPr>
              <a:t> да </a:t>
            </a:r>
            <a:r>
              <a:rPr lang="ru-RU" sz="1400" dirty="0" err="1">
                <a:solidFill>
                  <a:srgbClr val="093E70"/>
                </a:solidFill>
                <a:latin typeface="Montserrat" pitchFamily="2" charset="-52"/>
              </a:rPr>
              <a:t>разкрие</a:t>
            </a:r>
            <a:r>
              <a:rPr lang="ru-RU" sz="1400" dirty="0">
                <a:solidFill>
                  <a:srgbClr val="093E70"/>
                </a:solidFill>
                <a:latin typeface="Montserrat" pitchFamily="2" charset="-52"/>
              </a:rPr>
              <a:t> публично.</a:t>
            </a:r>
            <a:endParaRPr lang="bg-BG" sz="1400" dirty="0">
              <a:solidFill>
                <a:srgbClr val="093E70"/>
              </a:solidFill>
              <a:latin typeface="Montserrat" pitchFamily="2" charset="-52"/>
            </a:endParaRPr>
          </a:p>
        </p:txBody>
      </p:sp>
      <p:grpSp>
        <p:nvGrpSpPr>
          <p:cNvPr id="7" name="Group 6"/>
          <p:cNvGrpSpPr/>
          <p:nvPr/>
        </p:nvGrpSpPr>
        <p:grpSpPr>
          <a:xfrm>
            <a:off x="208220" y="2787392"/>
            <a:ext cx="3600000" cy="3600000"/>
            <a:chOff x="265145" y="2158414"/>
            <a:chExt cx="3600000" cy="3600000"/>
          </a:xfrm>
        </p:grpSpPr>
        <p:sp>
          <p:nvSpPr>
            <p:cNvPr id="27" name="Oval 26"/>
            <p:cNvSpPr/>
            <p:nvPr/>
          </p:nvSpPr>
          <p:spPr>
            <a:xfrm>
              <a:off x="265145" y="2158414"/>
              <a:ext cx="3600000" cy="3600000"/>
            </a:xfrm>
            <a:prstGeom prst="ellipse">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19" name="Oval 18"/>
            <p:cNvSpPr/>
            <p:nvPr/>
          </p:nvSpPr>
          <p:spPr>
            <a:xfrm>
              <a:off x="625145" y="2518414"/>
              <a:ext cx="2880000" cy="2880000"/>
            </a:xfrm>
            <a:prstGeom prst="ellipse">
              <a:avLst/>
            </a:prstGeom>
            <a:solidFill>
              <a:srgbClr val="0D478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0" name="Oval 19"/>
            <p:cNvSpPr/>
            <p:nvPr/>
          </p:nvSpPr>
          <p:spPr>
            <a:xfrm>
              <a:off x="985145" y="2878414"/>
              <a:ext cx="2160000" cy="2160000"/>
            </a:xfrm>
            <a:prstGeom prst="ellipse">
              <a:avLst/>
            </a:prstGeom>
            <a:solidFill>
              <a:srgbClr val="1C76B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1" name="Oval 20"/>
            <p:cNvSpPr/>
            <p:nvPr/>
          </p:nvSpPr>
          <p:spPr>
            <a:xfrm>
              <a:off x="1345145" y="3238414"/>
              <a:ext cx="1440000" cy="1440000"/>
            </a:xfrm>
            <a:prstGeom prst="ellipse">
              <a:avLst/>
            </a:prstGeom>
            <a:solidFill>
              <a:srgbClr val="3392E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sz="1000" dirty="0"/>
            </a:p>
          </p:txBody>
        </p:sp>
      </p:grpSp>
      <p:cxnSp>
        <p:nvCxnSpPr>
          <p:cNvPr id="39" name="Straight Arrow Connector 38"/>
          <p:cNvCxnSpPr/>
          <p:nvPr/>
        </p:nvCxnSpPr>
        <p:spPr>
          <a:xfrm flipV="1">
            <a:off x="2008220" y="3324225"/>
            <a:ext cx="1877980" cy="390525"/>
          </a:xfrm>
          <a:prstGeom prst="straightConnector1">
            <a:avLst/>
          </a:prstGeom>
          <a:ln w="28575">
            <a:solidFill>
              <a:srgbClr val="1C76BD"/>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3219592" y="4587392"/>
            <a:ext cx="796852" cy="0"/>
          </a:xfrm>
          <a:prstGeom prst="straightConnector1">
            <a:avLst/>
          </a:prstGeom>
          <a:ln w="28575">
            <a:solidFill>
              <a:srgbClr val="0D4786"/>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V="1">
            <a:off x="3324225" y="5450655"/>
            <a:ext cx="692219" cy="9380"/>
          </a:xfrm>
          <a:prstGeom prst="straightConnector1">
            <a:avLst/>
          </a:prstGeom>
          <a:ln w="28575">
            <a:solidFill>
              <a:srgbClr val="BFBFBF"/>
            </a:solidFill>
            <a:tailEnd type="triangle"/>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a:xfrm>
            <a:off x="1025339" y="4274665"/>
            <a:ext cx="1934763" cy="523220"/>
          </a:xfrm>
          <a:prstGeom prst="rect">
            <a:avLst/>
          </a:prstGeom>
        </p:spPr>
        <p:txBody>
          <a:bodyPr wrap="square">
            <a:spAutoFit/>
          </a:bodyPr>
          <a:lstStyle/>
          <a:p>
            <a:pPr algn="ctr"/>
            <a:r>
              <a:rPr lang="bg-BG" sz="1400" dirty="0">
                <a:solidFill>
                  <a:schemeClr val="bg1"/>
                </a:solidFill>
                <a:latin typeface="Montserrat ExtraBold" panose="00000900000000000000" pitchFamily="50" charset="-52"/>
              </a:rPr>
              <a:t>ВЪТРЕШНА </a:t>
            </a:r>
            <a:r>
              <a:rPr lang="bg-BG" sz="1300" dirty="0">
                <a:solidFill>
                  <a:schemeClr val="bg1"/>
                </a:solidFill>
                <a:latin typeface="Montserrat ExtraBold" panose="00000900000000000000" pitchFamily="50" charset="-52"/>
              </a:rPr>
              <a:t>ИНФОРМАЦИЯ</a:t>
            </a:r>
          </a:p>
        </p:txBody>
      </p:sp>
      <p:pic>
        <p:nvPicPr>
          <p:cNvPr id="22" name="Picture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131552" y="6292745"/>
            <a:ext cx="1876472" cy="361108"/>
          </a:xfrm>
          <a:prstGeom prst="rect">
            <a:avLst/>
          </a:prstGeom>
        </p:spPr>
      </p:pic>
    </p:spTree>
    <p:extLst>
      <p:ext uri="{BB962C8B-B14F-4D97-AF65-F5344CB8AC3E}">
        <p14:creationId xmlns:p14="http://schemas.microsoft.com/office/powerpoint/2010/main" val="255818893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0800000">
            <a:off x="-4" y="0"/>
            <a:ext cx="12192003" cy="6858000"/>
          </a:xfrm>
          <a:prstGeom prst="rect">
            <a:avLst/>
          </a:prstGeom>
        </p:spPr>
      </p:pic>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t="35327" b="35532"/>
          <a:stretch/>
        </p:blipFill>
        <p:spPr>
          <a:xfrm>
            <a:off x="0" y="0"/>
            <a:ext cx="12192000" cy="1715678"/>
          </a:xfrm>
          <a:prstGeom prst="rect">
            <a:avLst/>
          </a:prstGeom>
        </p:spPr>
      </p:pic>
      <p:sp>
        <p:nvSpPr>
          <p:cNvPr id="5" name="TextBox 4"/>
          <p:cNvSpPr txBox="1"/>
          <p:nvPr/>
        </p:nvSpPr>
        <p:spPr>
          <a:xfrm>
            <a:off x="338541" y="308524"/>
            <a:ext cx="9531323" cy="830997"/>
          </a:xfrm>
          <a:prstGeom prst="rect">
            <a:avLst/>
          </a:prstGeom>
          <a:noFill/>
        </p:spPr>
        <p:txBody>
          <a:bodyPr wrap="square" rtlCol="0">
            <a:spAutoFit/>
          </a:bodyPr>
          <a:lstStyle/>
          <a:p>
            <a:r>
              <a:rPr lang="en-US" sz="2400" dirty="0">
                <a:solidFill>
                  <a:schemeClr val="bg1"/>
                </a:solidFill>
                <a:latin typeface="Montserrat Black" pitchFamily="2" charset="-52"/>
              </a:rPr>
              <a:t>III. </a:t>
            </a:r>
            <a:r>
              <a:rPr lang="ru-RU" sz="2400" dirty="0">
                <a:solidFill>
                  <a:schemeClr val="bg1"/>
                </a:solidFill>
                <a:latin typeface="Montserrat Black" pitchFamily="2" charset="-52"/>
              </a:rPr>
              <a:t>ПОСЛЕДВАЩИ ИЗИСКВАНИЯ ЗА РАЗКРИВАНЕ НА ИНФОРМАЦИЯ</a:t>
            </a:r>
            <a:endParaRPr lang="bg-BG" sz="2400" dirty="0">
              <a:solidFill>
                <a:schemeClr val="bg1"/>
              </a:solidFill>
              <a:latin typeface="Montserrat Black" pitchFamily="2" charset="-52"/>
            </a:endParaRPr>
          </a:p>
        </p:txBody>
      </p:sp>
      <p:sp>
        <p:nvSpPr>
          <p:cNvPr id="8" name="TextBox 7"/>
          <p:cNvSpPr txBox="1"/>
          <p:nvPr/>
        </p:nvSpPr>
        <p:spPr>
          <a:xfrm>
            <a:off x="338541" y="1093354"/>
            <a:ext cx="9192785" cy="369332"/>
          </a:xfrm>
          <a:prstGeom prst="rect">
            <a:avLst/>
          </a:prstGeom>
          <a:noFill/>
        </p:spPr>
        <p:txBody>
          <a:bodyPr wrap="square" rtlCol="0">
            <a:spAutoFit/>
          </a:bodyPr>
          <a:lstStyle/>
          <a:p>
            <a:r>
              <a:rPr lang="ru-RU" dirty="0" err="1">
                <a:solidFill>
                  <a:schemeClr val="bg1"/>
                </a:solidFill>
                <a:latin typeface="Montserrat" pitchFamily="2" charset="-52"/>
              </a:rPr>
              <a:t>Забавено</a:t>
            </a:r>
            <a:r>
              <a:rPr lang="ru-RU" dirty="0">
                <a:solidFill>
                  <a:schemeClr val="bg1"/>
                </a:solidFill>
                <a:latin typeface="Montserrat" pitchFamily="2" charset="-52"/>
              </a:rPr>
              <a:t> </a:t>
            </a:r>
            <a:r>
              <a:rPr lang="ru-RU" dirty="0" err="1">
                <a:solidFill>
                  <a:schemeClr val="bg1"/>
                </a:solidFill>
                <a:latin typeface="Montserrat" pitchFamily="2" charset="-52"/>
              </a:rPr>
              <a:t>разкриване</a:t>
            </a:r>
            <a:r>
              <a:rPr lang="ru-RU" dirty="0">
                <a:solidFill>
                  <a:schemeClr val="bg1"/>
                </a:solidFill>
                <a:latin typeface="Montserrat" pitchFamily="2" charset="-52"/>
              </a:rPr>
              <a:t> на </a:t>
            </a:r>
            <a:r>
              <a:rPr lang="ru-RU" dirty="0" err="1">
                <a:solidFill>
                  <a:schemeClr val="bg1"/>
                </a:solidFill>
                <a:latin typeface="Montserrat" pitchFamily="2" charset="-52"/>
              </a:rPr>
              <a:t>вътрешна</a:t>
            </a:r>
            <a:r>
              <a:rPr lang="ru-RU" dirty="0">
                <a:solidFill>
                  <a:schemeClr val="bg1"/>
                </a:solidFill>
                <a:latin typeface="Montserrat" pitchFamily="2" charset="-52"/>
              </a:rPr>
              <a:t> информация</a:t>
            </a:r>
            <a:endParaRPr lang="bg-BG" dirty="0">
              <a:solidFill>
                <a:schemeClr val="bg1"/>
              </a:solidFill>
              <a:latin typeface="Montserrat" pitchFamily="2" charset="-52"/>
            </a:endParaRPr>
          </a:p>
        </p:txBody>
      </p:sp>
      <p:sp>
        <p:nvSpPr>
          <p:cNvPr id="2" name="Rectangle 1"/>
          <p:cNvSpPr/>
          <p:nvPr/>
        </p:nvSpPr>
        <p:spPr>
          <a:xfrm>
            <a:off x="461914" y="2110674"/>
            <a:ext cx="11001080" cy="584775"/>
          </a:xfrm>
          <a:prstGeom prst="rect">
            <a:avLst/>
          </a:prstGeom>
        </p:spPr>
        <p:txBody>
          <a:bodyPr wrap="square">
            <a:spAutoFit/>
          </a:bodyPr>
          <a:lstStyle/>
          <a:p>
            <a:pPr algn="just"/>
            <a:r>
              <a:rPr lang="ru-RU" sz="1600" dirty="0" err="1">
                <a:solidFill>
                  <a:srgbClr val="093E70"/>
                </a:solidFill>
                <a:latin typeface="Montserrat" pitchFamily="2" charset="-52"/>
              </a:rPr>
              <a:t>Емитентите</a:t>
            </a:r>
            <a:r>
              <a:rPr lang="ru-RU" sz="1600" dirty="0">
                <a:solidFill>
                  <a:srgbClr val="093E70"/>
                </a:solidFill>
                <a:latin typeface="Montserrat" pitchFamily="2" charset="-52"/>
              </a:rPr>
              <a:t> </a:t>
            </a:r>
            <a:r>
              <a:rPr lang="ru-RU" sz="1600" dirty="0" err="1">
                <a:solidFill>
                  <a:srgbClr val="093E70"/>
                </a:solidFill>
                <a:latin typeface="Montserrat" pitchFamily="2" charset="-52"/>
              </a:rPr>
              <a:t>могат</a:t>
            </a:r>
            <a:r>
              <a:rPr lang="ru-RU" sz="1600" dirty="0">
                <a:solidFill>
                  <a:srgbClr val="093E70"/>
                </a:solidFill>
                <a:latin typeface="Montserrat" pitchFamily="2" charset="-52"/>
              </a:rPr>
              <a:t> на своя </a:t>
            </a:r>
            <a:r>
              <a:rPr lang="ru-RU" sz="1600" dirty="0" err="1">
                <a:solidFill>
                  <a:srgbClr val="093E70"/>
                </a:solidFill>
                <a:latin typeface="Montserrat" pitchFamily="2" charset="-52"/>
              </a:rPr>
              <a:t>отговорност</a:t>
            </a:r>
            <a:r>
              <a:rPr lang="ru-RU" sz="1600" dirty="0">
                <a:solidFill>
                  <a:srgbClr val="093E70"/>
                </a:solidFill>
                <a:latin typeface="Montserrat" pitchFamily="2" charset="-52"/>
              </a:rPr>
              <a:t> да забавят </a:t>
            </a:r>
            <a:r>
              <a:rPr lang="ru-RU" sz="1600" dirty="0" err="1">
                <a:solidFill>
                  <a:srgbClr val="093E70"/>
                </a:solidFill>
                <a:latin typeface="Montserrat" pitchFamily="2" charset="-52"/>
              </a:rPr>
              <a:t>разкриването</a:t>
            </a:r>
            <a:r>
              <a:rPr lang="ru-RU" sz="1600" dirty="0">
                <a:solidFill>
                  <a:srgbClr val="093E70"/>
                </a:solidFill>
                <a:latin typeface="Montserrat" pitchFamily="2" charset="-52"/>
              </a:rPr>
              <a:t> на </a:t>
            </a:r>
            <a:r>
              <a:rPr lang="ru-RU" sz="1600" dirty="0" err="1">
                <a:solidFill>
                  <a:srgbClr val="093E70"/>
                </a:solidFill>
                <a:latin typeface="Montserrat" pitchFamily="2" charset="-52"/>
              </a:rPr>
              <a:t>вътрешната</a:t>
            </a:r>
            <a:r>
              <a:rPr lang="ru-RU" sz="1600" dirty="0">
                <a:solidFill>
                  <a:srgbClr val="093E70"/>
                </a:solidFill>
                <a:latin typeface="Montserrat" pitchFamily="2" charset="-52"/>
              </a:rPr>
              <a:t> информация, </a:t>
            </a:r>
            <a:r>
              <a:rPr lang="ru-RU" sz="1600" dirty="0" err="1">
                <a:solidFill>
                  <a:srgbClr val="093E70"/>
                </a:solidFill>
                <a:latin typeface="Montserrat" pitchFamily="2" charset="-52"/>
              </a:rPr>
              <a:t>ако</a:t>
            </a:r>
            <a:r>
              <a:rPr lang="ru-RU" sz="1600" dirty="0">
                <a:solidFill>
                  <a:srgbClr val="093E70"/>
                </a:solidFill>
                <a:latin typeface="Montserrat" pitchFamily="2" charset="-52"/>
              </a:rPr>
              <a:t> </a:t>
            </a:r>
            <a:r>
              <a:rPr lang="ru-RU" sz="1600" dirty="0" err="1">
                <a:solidFill>
                  <a:srgbClr val="093E70"/>
                </a:solidFill>
                <a:latin typeface="Montserrat" pitchFamily="2" charset="-52"/>
              </a:rPr>
              <a:t>са</a:t>
            </a:r>
            <a:r>
              <a:rPr lang="ru-RU" sz="1600" dirty="0">
                <a:solidFill>
                  <a:srgbClr val="093E70"/>
                </a:solidFill>
                <a:latin typeface="Montserrat" pitchFamily="2" charset="-52"/>
              </a:rPr>
              <a:t> </a:t>
            </a:r>
            <a:r>
              <a:rPr lang="ru-RU" sz="1600" dirty="0" err="1">
                <a:solidFill>
                  <a:srgbClr val="093E70"/>
                </a:solidFill>
                <a:latin typeface="Montserrat" pitchFamily="2" charset="-52"/>
              </a:rPr>
              <a:t>спазени</a:t>
            </a:r>
            <a:r>
              <a:rPr lang="ru-RU" sz="1600" dirty="0">
                <a:solidFill>
                  <a:srgbClr val="093E70"/>
                </a:solidFill>
                <a:latin typeface="Montserrat" pitchFamily="2" charset="-52"/>
              </a:rPr>
              <a:t> </a:t>
            </a:r>
            <a:r>
              <a:rPr lang="ru-RU" sz="1600" dirty="0" err="1">
                <a:solidFill>
                  <a:srgbClr val="093E70"/>
                </a:solidFill>
                <a:latin typeface="Montserrat" pitchFamily="2" charset="-52"/>
              </a:rPr>
              <a:t>кумулативно</a:t>
            </a:r>
            <a:r>
              <a:rPr lang="ru-RU" sz="1600" dirty="0">
                <a:solidFill>
                  <a:srgbClr val="093E70"/>
                </a:solidFill>
                <a:latin typeface="Montserrat" pitchFamily="2" charset="-52"/>
              </a:rPr>
              <a:t> </a:t>
            </a:r>
            <a:r>
              <a:rPr lang="ru-RU" sz="1600" dirty="0" err="1">
                <a:solidFill>
                  <a:srgbClr val="093E70"/>
                </a:solidFill>
                <a:latin typeface="Montserrat" pitchFamily="2" charset="-52"/>
              </a:rPr>
              <a:t>определените</a:t>
            </a:r>
            <a:r>
              <a:rPr lang="ru-RU" sz="1600" dirty="0">
                <a:solidFill>
                  <a:srgbClr val="093E70"/>
                </a:solidFill>
                <a:latin typeface="Montserrat" pitchFamily="2" charset="-52"/>
              </a:rPr>
              <a:t> в Регламент (ЕС) 2014/596 условия:</a:t>
            </a:r>
          </a:p>
        </p:txBody>
      </p:sp>
      <p:grpSp>
        <p:nvGrpSpPr>
          <p:cNvPr id="4" name="Group 3"/>
          <p:cNvGrpSpPr/>
          <p:nvPr/>
        </p:nvGrpSpPr>
        <p:grpSpPr>
          <a:xfrm>
            <a:off x="1176270" y="2924307"/>
            <a:ext cx="9140412" cy="825591"/>
            <a:chOff x="1297774" y="4463510"/>
            <a:chExt cx="9140412" cy="825591"/>
          </a:xfrm>
        </p:grpSpPr>
        <p:grpSp>
          <p:nvGrpSpPr>
            <p:cNvPr id="7" name="Group 6">
              <a:extLst>
                <a:ext uri="{FF2B5EF4-FFF2-40B4-BE49-F238E27FC236}">
                  <a16:creationId xmlns:a16="http://schemas.microsoft.com/office/drawing/2014/main" id="{8E21D796-730E-B377-2E56-8AFF60F7AEB0}"/>
                </a:ext>
              </a:extLst>
            </p:cNvPr>
            <p:cNvGrpSpPr/>
            <p:nvPr/>
          </p:nvGrpSpPr>
          <p:grpSpPr>
            <a:xfrm>
              <a:off x="1297774" y="4463510"/>
              <a:ext cx="9140412" cy="825591"/>
              <a:chOff x="1438152" y="2408876"/>
              <a:chExt cx="9140412" cy="825591"/>
            </a:xfrm>
          </p:grpSpPr>
          <p:grpSp>
            <p:nvGrpSpPr>
              <p:cNvPr id="9" name="Group 8">
                <a:extLst>
                  <a:ext uri="{FF2B5EF4-FFF2-40B4-BE49-F238E27FC236}">
                    <a16:creationId xmlns:a16="http://schemas.microsoft.com/office/drawing/2014/main" id="{0482D4E3-DC62-5E5C-BDD5-8FB76DFDD3BC}"/>
                  </a:ext>
                </a:extLst>
              </p:cNvPr>
              <p:cNvGrpSpPr/>
              <p:nvPr/>
            </p:nvGrpSpPr>
            <p:grpSpPr>
              <a:xfrm>
                <a:off x="1438152" y="2408876"/>
                <a:ext cx="9140412" cy="825591"/>
                <a:chOff x="1641144" y="2121508"/>
                <a:chExt cx="9066480" cy="1550813"/>
              </a:xfrm>
            </p:grpSpPr>
            <p:grpSp>
              <p:nvGrpSpPr>
                <p:cNvPr id="13" name="Group 12">
                  <a:extLst>
                    <a:ext uri="{FF2B5EF4-FFF2-40B4-BE49-F238E27FC236}">
                      <a16:creationId xmlns:a16="http://schemas.microsoft.com/office/drawing/2014/main" id="{BE68A511-72C8-6AF3-0C99-64EB93F9BB77}"/>
                    </a:ext>
                  </a:extLst>
                </p:cNvPr>
                <p:cNvGrpSpPr/>
                <p:nvPr/>
              </p:nvGrpSpPr>
              <p:grpSpPr>
                <a:xfrm>
                  <a:off x="2385300" y="2121508"/>
                  <a:ext cx="8322324" cy="1550813"/>
                  <a:chOff x="4467935" y="4813035"/>
                  <a:chExt cx="8322324" cy="1110781"/>
                </a:xfrm>
              </p:grpSpPr>
              <p:sp>
                <p:nvSpPr>
                  <p:cNvPr id="16" name="Pentagon 19">
                    <a:extLst>
                      <a:ext uri="{FF2B5EF4-FFF2-40B4-BE49-F238E27FC236}">
                        <a16:creationId xmlns:a16="http://schemas.microsoft.com/office/drawing/2014/main" id="{DB528595-5E15-1643-C9BB-B4A106265726}"/>
                      </a:ext>
                    </a:extLst>
                  </p:cNvPr>
                  <p:cNvSpPr/>
                  <p:nvPr/>
                </p:nvSpPr>
                <p:spPr>
                  <a:xfrm>
                    <a:off x="5247672" y="4978352"/>
                    <a:ext cx="7542587" cy="945464"/>
                  </a:xfrm>
                  <a:prstGeom prst="homePlate">
                    <a:avLst>
                      <a:gd name="adj" fmla="val 0"/>
                    </a:avLst>
                  </a:prstGeom>
                  <a:solidFill>
                    <a:srgbClr val="09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17" name="Pentagon 20">
                    <a:extLst>
                      <a:ext uri="{FF2B5EF4-FFF2-40B4-BE49-F238E27FC236}">
                        <a16:creationId xmlns:a16="http://schemas.microsoft.com/office/drawing/2014/main" id="{D2F8F3AB-D82B-F630-49DF-36C1B1758DA1}"/>
                      </a:ext>
                    </a:extLst>
                  </p:cNvPr>
                  <p:cNvSpPr/>
                  <p:nvPr/>
                </p:nvSpPr>
                <p:spPr>
                  <a:xfrm rot="10800000">
                    <a:off x="4467935" y="4813035"/>
                    <a:ext cx="968673" cy="934245"/>
                  </a:xfrm>
                  <a:prstGeom prst="homePlate">
                    <a:avLst/>
                  </a:prstGeom>
                  <a:solidFill>
                    <a:srgbClr val="0C4F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dirty="0"/>
                  </a:p>
                </p:txBody>
              </p:sp>
              <p:sp>
                <p:nvSpPr>
                  <p:cNvPr id="18" name="Right Triangle 17">
                    <a:extLst>
                      <a:ext uri="{FF2B5EF4-FFF2-40B4-BE49-F238E27FC236}">
                        <a16:creationId xmlns:a16="http://schemas.microsoft.com/office/drawing/2014/main" id="{37CB983C-3625-F645-1E50-9F2860784EFC}"/>
                      </a:ext>
                    </a:extLst>
                  </p:cNvPr>
                  <p:cNvSpPr/>
                  <p:nvPr/>
                </p:nvSpPr>
                <p:spPr>
                  <a:xfrm rot="10800000" flipH="1">
                    <a:off x="5251354" y="5746785"/>
                    <a:ext cx="190930" cy="166414"/>
                  </a:xfrm>
                  <a:prstGeom prst="rtTriangle">
                    <a:avLst/>
                  </a:prstGeom>
                  <a:solidFill>
                    <a:srgbClr val="093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sp>
              <p:nvSpPr>
                <p:cNvPr id="14" name="Rectangle 13">
                  <a:extLst>
                    <a:ext uri="{FF2B5EF4-FFF2-40B4-BE49-F238E27FC236}">
                      <a16:creationId xmlns:a16="http://schemas.microsoft.com/office/drawing/2014/main" id="{DA36801C-0EA5-E0F6-B4E8-77BADE514795}"/>
                    </a:ext>
                  </a:extLst>
                </p:cNvPr>
                <p:cNvSpPr/>
                <p:nvPr/>
              </p:nvSpPr>
              <p:spPr>
                <a:xfrm>
                  <a:off x="3474720" y="2491085"/>
                  <a:ext cx="7104888" cy="635949"/>
                </a:xfrm>
                <a:prstGeom prst="rect">
                  <a:avLst/>
                </a:prstGeom>
              </p:spPr>
              <p:txBody>
                <a:bodyPr wrap="square">
                  <a:spAutoFit/>
                </a:bodyPr>
                <a:lstStyle/>
                <a:p>
                  <a:pPr algn="just"/>
                  <a:endParaRPr lang="bg-BG" sz="1600" dirty="0">
                    <a:solidFill>
                      <a:schemeClr val="bg1"/>
                    </a:solidFill>
                    <a:latin typeface="Montserrat" pitchFamily="2" charset="-52"/>
                  </a:endParaRPr>
                </a:p>
              </p:txBody>
            </p:sp>
            <p:sp>
              <p:nvSpPr>
                <p:cNvPr id="15" name="Rectangle 14">
                  <a:extLst>
                    <a:ext uri="{FF2B5EF4-FFF2-40B4-BE49-F238E27FC236}">
                      <a16:creationId xmlns:a16="http://schemas.microsoft.com/office/drawing/2014/main" id="{C6E21E23-5D28-384C-E1CB-E777B2FC535E}"/>
                    </a:ext>
                  </a:extLst>
                </p:cNvPr>
                <p:cNvSpPr/>
                <p:nvPr/>
              </p:nvSpPr>
              <p:spPr>
                <a:xfrm>
                  <a:off x="1641144" y="2566829"/>
                  <a:ext cx="183237" cy="693763"/>
                </a:xfrm>
                <a:prstGeom prst="rect">
                  <a:avLst/>
                </a:prstGeom>
              </p:spPr>
              <p:txBody>
                <a:bodyPr wrap="none">
                  <a:spAutoFit/>
                </a:bodyPr>
                <a:lstStyle/>
                <a:p>
                  <a:endParaRPr lang="bg-BG" dirty="0">
                    <a:latin typeface="Montserrat ExtraBold" panose="00000900000000000000" pitchFamily="50" charset="-52"/>
                  </a:endParaRPr>
                </a:p>
              </p:txBody>
            </p:sp>
          </p:grpSp>
          <p:sp>
            <p:nvSpPr>
              <p:cNvPr id="12" name="TextBox 11">
                <a:extLst>
                  <a:ext uri="{FF2B5EF4-FFF2-40B4-BE49-F238E27FC236}">
                    <a16:creationId xmlns:a16="http://schemas.microsoft.com/office/drawing/2014/main" id="{96349F3F-A838-458A-B24D-261B93075F74}"/>
                  </a:ext>
                </a:extLst>
              </p:cNvPr>
              <p:cNvSpPr txBox="1"/>
              <p:nvPr/>
            </p:nvSpPr>
            <p:spPr>
              <a:xfrm>
                <a:off x="3263773" y="2579977"/>
                <a:ext cx="7185731" cy="523220"/>
              </a:xfrm>
              <a:prstGeom prst="rect">
                <a:avLst/>
              </a:prstGeom>
              <a:noFill/>
            </p:spPr>
            <p:txBody>
              <a:bodyPr wrap="square">
                <a:spAutoFit/>
              </a:bodyPr>
              <a:lstStyle/>
              <a:p>
                <a:pPr algn="just"/>
                <a:r>
                  <a:rPr lang="ru-RU" sz="1400" dirty="0" err="1">
                    <a:solidFill>
                      <a:schemeClr val="bg1"/>
                    </a:solidFill>
                    <a:latin typeface="Montserrat" pitchFamily="2" charset="-52"/>
                  </a:rPr>
                  <a:t>незабавното</a:t>
                </a:r>
                <a:r>
                  <a:rPr lang="ru-RU" sz="1400" dirty="0">
                    <a:solidFill>
                      <a:schemeClr val="bg1"/>
                    </a:solidFill>
                    <a:latin typeface="Montserrat" pitchFamily="2" charset="-52"/>
                  </a:rPr>
                  <a:t> </a:t>
                </a:r>
                <a:r>
                  <a:rPr lang="ru-RU" sz="1400" dirty="0" err="1">
                    <a:solidFill>
                      <a:schemeClr val="bg1"/>
                    </a:solidFill>
                    <a:latin typeface="Montserrat" pitchFamily="2" charset="-52"/>
                  </a:rPr>
                  <a:t>разкриване</a:t>
                </a:r>
                <a:r>
                  <a:rPr lang="ru-RU" sz="1400" dirty="0">
                    <a:solidFill>
                      <a:schemeClr val="bg1"/>
                    </a:solidFill>
                    <a:latin typeface="Montserrat" pitchFamily="2" charset="-52"/>
                  </a:rPr>
                  <a:t> е вероятно да </a:t>
                </a:r>
                <a:r>
                  <a:rPr lang="ru-RU" sz="1400" dirty="0" err="1">
                    <a:solidFill>
                      <a:schemeClr val="bg1"/>
                    </a:solidFill>
                    <a:latin typeface="Montserrat" pitchFamily="2" charset="-52"/>
                  </a:rPr>
                  <a:t>увреди</a:t>
                </a:r>
                <a:r>
                  <a:rPr lang="ru-RU" sz="1400" dirty="0">
                    <a:solidFill>
                      <a:schemeClr val="bg1"/>
                    </a:solidFill>
                    <a:latin typeface="Montserrat" pitchFamily="2" charset="-52"/>
                  </a:rPr>
                  <a:t> </a:t>
                </a:r>
                <a:r>
                  <a:rPr lang="ru-RU" sz="1400" dirty="0" err="1">
                    <a:solidFill>
                      <a:schemeClr val="bg1"/>
                    </a:solidFill>
                    <a:latin typeface="Montserrat" pitchFamily="2" charset="-52"/>
                  </a:rPr>
                  <a:t>законните</a:t>
                </a:r>
                <a:r>
                  <a:rPr lang="ru-RU" sz="1400" dirty="0">
                    <a:solidFill>
                      <a:schemeClr val="bg1"/>
                    </a:solidFill>
                    <a:latin typeface="Montserrat" pitchFamily="2" charset="-52"/>
                  </a:rPr>
                  <a:t> </a:t>
                </a:r>
                <a:r>
                  <a:rPr lang="ru-RU" sz="1400" dirty="0" err="1">
                    <a:solidFill>
                      <a:schemeClr val="bg1"/>
                    </a:solidFill>
                    <a:latin typeface="Montserrat" pitchFamily="2" charset="-52"/>
                  </a:rPr>
                  <a:t>интереси</a:t>
                </a:r>
                <a:r>
                  <a:rPr lang="ru-RU" sz="1400" dirty="0">
                    <a:solidFill>
                      <a:schemeClr val="bg1"/>
                    </a:solidFill>
                    <a:latin typeface="Montserrat" pitchFamily="2" charset="-52"/>
                  </a:rPr>
                  <a:t> на </a:t>
                </a:r>
                <a:r>
                  <a:rPr lang="ru-RU" sz="1400" dirty="0" err="1">
                    <a:solidFill>
                      <a:schemeClr val="bg1"/>
                    </a:solidFill>
                    <a:latin typeface="Montserrat" pitchFamily="2" charset="-52"/>
                  </a:rPr>
                  <a:t>емитента</a:t>
                </a:r>
                <a:r>
                  <a:rPr lang="ru-RU" sz="1400" dirty="0">
                    <a:solidFill>
                      <a:schemeClr val="bg1"/>
                    </a:solidFill>
                    <a:latin typeface="Montserrat" pitchFamily="2" charset="-52"/>
                  </a:rPr>
                  <a:t> или на участника на пазара на </a:t>
                </a:r>
                <a:r>
                  <a:rPr lang="ru-RU" sz="1400" dirty="0" err="1">
                    <a:solidFill>
                      <a:schemeClr val="bg1"/>
                    </a:solidFill>
                    <a:latin typeface="Montserrat" pitchFamily="2" charset="-52"/>
                  </a:rPr>
                  <a:t>квоти</a:t>
                </a:r>
                <a:r>
                  <a:rPr lang="ru-RU" sz="1400" dirty="0">
                    <a:solidFill>
                      <a:schemeClr val="bg1"/>
                    </a:solidFill>
                    <a:latin typeface="Montserrat" pitchFamily="2" charset="-52"/>
                  </a:rPr>
                  <a:t> за </a:t>
                </a:r>
                <a:r>
                  <a:rPr lang="ru-RU" sz="1400" dirty="0" err="1">
                    <a:solidFill>
                      <a:schemeClr val="bg1"/>
                    </a:solidFill>
                    <a:latin typeface="Montserrat" pitchFamily="2" charset="-52"/>
                  </a:rPr>
                  <a:t>емисии</a:t>
                </a:r>
                <a:r>
                  <a:rPr lang="ru-RU" sz="1400" dirty="0">
                    <a:solidFill>
                      <a:schemeClr val="bg1"/>
                    </a:solidFill>
                    <a:latin typeface="Montserrat" pitchFamily="2" charset="-52"/>
                  </a:rPr>
                  <a:t>; </a:t>
                </a:r>
              </a:p>
            </p:txBody>
          </p:sp>
        </p:grpSp>
        <p:pic>
          <p:nvPicPr>
            <p:cNvPr id="19" name="Picture 2" descr="check mark icon. 18888319 PNG">
              <a:extLst>
                <a:ext uri="{FF2B5EF4-FFF2-40B4-BE49-F238E27FC236}">
                  <a16:creationId xmlns:a16="http://schemas.microsoft.com/office/drawing/2014/main" id="{96016255-89F2-3BDB-A67B-7A28C8CC41EF}"/>
                </a:ext>
              </a:extLst>
            </p:cNvPr>
            <p:cNvPicPr>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2482293" y="4578491"/>
              <a:ext cx="444897" cy="44489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1176270" y="3874044"/>
            <a:ext cx="9140412" cy="825591"/>
            <a:chOff x="1297774" y="4463510"/>
            <a:chExt cx="9140412" cy="825591"/>
          </a:xfrm>
        </p:grpSpPr>
        <p:grpSp>
          <p:nvGrpSpPr>
            <p:cNvPr id="31" name="Group 30">
              <a:extLst>
                <a:ext uri="{FF2B5EF4-FFF2-40B4-BE49-F238E27FC236}">
                  <a16:creationId xmlns:a16="http://schemas.microsoft.com/office/drawing/2014/main" id="{8E21D796-730E-B377-2E56-8AFF60F7AEB0}"/>
                </a:ext>
              </a:extLst>
            </p:cNvPr>
            <p:cNvGrpSpPr/>
            <p:nvPr/>
          </p:nvGrpSpPr>
          <p:grpSpPr>
            <a:xfrm>
              <a:off x="1297774" y="4463510"/>
              <a:ext cx="9140412" cy="825591"/>
              <a:chOff x="1438152" y="2408876"/>
              <a:chExt cx="9140412" cy="825591"/>
            </a:xfrm>
          </p:grpSpPr>
          <p:grpSp>
            <p:nvGrpSpPr>
              <p:cNvPr id="33" name="Group 32">
                <a:extLst>
                  <a:ext uri="{FF2B5EF4-FFF2-40B4-BE49-F238E27FC236}">
                    <a16:creationId xmlns:a16="http://schemas.microsoft.com/office/drawing/2014/main" id="{0482D4E3-DC62-5E5C-BDD5-8FB76DFDD3BC}"/>
                  </a:ext>
                </a:extLst>
              </p:cNvPr>
              <p:cNvGrpSpPr/>
              <p:nvPr/>
            </p:nvGrpSpPr>
            <p:grpSpPr>
              <a:xfrm>
                <a:off x="1438152" y="2408876"/>
                <a:ext cx="9140412" cy="825591"/>
                <a:chOff x="1641144" y="2121508"/>
                <a:chExt cx="9066480" cy="1550813"/>
              </a:xfrm>
            </p:grpSpPr>
            <p:grpSp>
              <p:nvGrpSpPr>
                <p:cNvPr id="35" name="Group 34">
                  <a:extLst>
                    <a:ext uri="{FF2B5EF4-FFF2-40B4-BE49-F238E27FC236}">
                      <a16:creationId xmlns:a16="http://schemas.microsoft.com/office/drawing/2014/main" id="{BE68A511-72C8-6AF3-0C99-64EB93F9BB77}"/>
                    </a:ext>
                  </a:extLst>
                </p:cNvPr>
                <p:cNvGrpSpPr/>
                <p:nvPr/>
              </p:nvGrpSpPr>
              <p:grpSpPr>
                <a:xfrm>
                  <a:off x="2385300" y="2121508"/>
                  <a:ext cx="8322324" cy="1550813"/>
                  <a:chOff x="4467935" y="4813035"/>
                  <a:chExt cx="8322324" cy="1110781"/>
                </a:xfrm>
              </p:grpSpPr>
              <p:sp>
                <p:nvSpPr>
                  <p:cNvPr id="38" name="Pentagon 19">
                    <a:extLst>
                      <a:ext uri="{FF2B5EF4-FFF2-40B4-BE49-F238E27FC236}">
                        <a16:creationId xmlns:a16="http://schemas.microsoft.com/office/drawing/2014/main" id="{DB528595-5E15-1643-C9BB-B4A106265726}"/>
                      </a:ext>
                    </a:extLst>
                  </p:cNvPr>
                  <p:cNvSpPr/>
                  <p:nvPr/>
                </p:nvSpPr>
                <p:spPr>
                  <a:xfrm>
                    <a:off x="5247672" y="4978352"/>
                    <a:ext cx="7542587" cy="945464"/>
                  </a:xfrm>
                  <a:prstGeom prst="homePlate">
                    <a:avLst>
                      <a:gd name="adj" fmla="val 0"/>
                    </a:avLst>
                  </a:prstGeom>
                  <a:solidFill>
                    <a:srgbClr val="09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9" name="Pentagon 20">
                    <a:extLst>
                      <a:ext uri="{FF2B5EF4-FFF2-40B4-BE49-F238E27FC236}">
                        <a16:creationId xmlns:a16="http://schemas.microsoft.com/office/drawing/2014/main" id="{D2F8F3AB-D82B-F630-49DF-36C1B1758DA1}"/>
                      </a:ext>
                    </a:extLst>
                  </p:cNvPr>
                  <p:cNvSpPr/>
                  <p:nvPr/>
                </p:nvSpPr>
                <p:spPr>
                  <a:xfrm rot="10800000">
                    <a:off x="4467935" y="4813035"/>
                    <a:ext cx="968673" cy="934245"/>
                  </a:xfrm>
                  <a:prstGeom prst="homePlate">
                    <a:avLst/>
                  </a:prstGeom>
                  <a:solidFill>
                    <a:srgbClr val="0C4F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dirty="0"/>
                  </a:p>
                </p:txBody>
              </p:sp>
              <p:sp>
                <p:nvSpPr>
                  <p:cNvPr id="40" name="Right Triangle 39">
                    <a:extLst>
                      <a:ext uri="{FF2B5EF4-FFF2-40B4-BE49-F238E27FC236}">
                        <a16:creationId xmlns:a16="http://schemas.microsoft.com/office/drawing/2014/main" id="{37CB983C-3625-F645-1E50-9F2860784EFC}"/>
                      </a:ext>
                    </a:extLst>
                  </p:cNvPr>
                  <p:cNvSpPr/>
                  <p:nvPr/>
                </p:nvSpPr>
                <p:spPr>
                  <a:xfrm rot="10800000" flipH="1">
                    <a:off x="5251354" y="5746785"/>
                    <a:ext cx="190930" cy="166414"/>
                  </a:xfrm>
                  <a:prstGeom prst="rtTriangle">
                    <a:avLst/>
                  </a:prstGeom>
                  <a:solidFill>
                    <a:srgbClr val="093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sp>
              <p:nvSpPr>
                <p:cNvPr id="36" name="Rectangle 35">
                  <a:extLst>
                    <a:ext uri="{FF2B5EF4-FFF2-40B4-BE49-F238E27FC236}">
                      <a16:creationId xmlns:a16="http://schemas.microsoft.com/office/drawing/2014/main" id="{DA36801C-0EA5-E0F6-B4E8-77BADE514795}"/>
                    </a:ext>
                  </a:extLst>
                </p:cNvPr>
                <p:cNvSpPr/>
                <p:nvPr/>
              </p:nvSpPr>
              <p:spPr>
                <a:xfrm>
                  <a:off x="3474720" y="2491085"/>
                  <a:ext cx="7104888" cy="635949"/>
                </a:xfrm>
                <a:prstGeom prst="rect">
                  <a:avLst/>
                </a:prstGeom>
              </p:spPr>
              <p:txBody>
                <a:bodyPr wrap="square">
                  <a:spAutoFit/>
                </a:bodyPr>
                <a:lstStyle/>
                <a:p>
                  <a:pPr algn="just"/>
                  <a:endParaRPr lang="bg-BG" sz="1600" dirty="0">
                    <a:solidFill>
                      <a:schemeClr val="bg1"/>
                    </a:solidFill>
                    <a:latin typeface="Montserrat" pitchFamily="2" charset="-52"/>
                  </a:endParaRPr>
                </a:p>
              </p:txBody>
            </p:sp>
            <p:sp>
              <p:nvSpPr>
                <p:cNvPr id="37" name="Rectangle 36">
                  <a:extLst>
                    <a:ext uri="{FF2B5EF4-FFF2-40B4-BE49-F238E27FC236}">
                      <a16:creationId xmlns:a16="http://schemas.microsoft.com/office/drawing/2014/main" id="{C6E21E23-5D28-384C-E1CB-E777B2FC535E}"/>
                    </a:ext>
                  </a:extLst>
                </p:cNvPr>
                <p:cNvSpPr/>
                <p:nvPr/>
              </p:nvSpPr>
              <p:spPr>
                <a:xfrm>
                  <a:off x="1641144" y="2566829"/>
                  <a:ext cx="183237" cy="693763"/>
                </a:xfrm>
                <a:prstGeom prst="rect">
                  <a:avLst/>
                </a:prstGeom>
              </p:spPr>
              <p:txBody>
                <a:bodyPr wrap="none">
                  <a:spAutoFit/>
                </a:bodyPr>
                <a:lstStyle/>
                <a:p>
                  <a:endParaRPr lang="bg-BG" dirty="0">
                    <a:latin typeface="Montserrat ExtraBold" panose="00000900000000000000" pitchFamily="50" charset="-52"/>
                  </a:endParaRPr>
                </a:p>
              </p:txBody>
            </p:sp>
          </p:grpSp>
          <p:sp>
            <p:nvSpPr>
              <p:cNvPr id="34" name="TextBox 33">
                <a:extLst>
                  <a:ext uri="{FF2B5EF4-FFF2-40B4-BE49-F238E27FC236}">
                    <a16:creationId xmlns:a16="http://schemas.microsoft.com/office/drawing/2014/main" id="{96349F3F-A838-458A-B24D-261B93075F74}"/>
                  </a:ext>
                </a:extLst>
              </p:cNvPr>
              <p:cNvSpPr txBox="1"/>
              <p:nvPr/>
            </p:nvSpPr>
            <p:spPr>
              <a:xfrm>
                <a:off x="3233617" y="2584362"/>
                <a:ext cx="6094428" cy="523220"/>
              </a:xfrm>
              <a:prstGeom prst="rect">
                <a:avLst/>
              </a:prstGeom>
              <a:noFill/>
            </p:spPr>
            <p:txBody>
              <a:bodyPr wrap="square">
                <a:spAutoFit/>
              </a:bodyPr>
              <a:lstStyle/>
              <a:p>
                <a:pPr algn="just"/>
                <a:r>
                  <a:rPr lang="ru-RU" sz="1400" dirty="0">
                    <a:solidFill>
                      <a:schemeClr val="bg1"/>
                    </a:solidFill>
                    <a:latin typeface="Montserrat" pitchFamily="2" charset="-52"/>
                  </a:rPr>
                  <a:t>няма </a:t>
                </a:r>
                <a:r>
                  <a:rPr lang="ru-RU" sz="1400" dirty="0" err="1">
                    <a:solidFill>
                      <a:schemeClr val="bg1"/>
                    </a:solidFill>
                    <a:latin typeface="Montserrat" pitchFamily="2" charset="-52"/>
                  </a:rPr>
                  <a:t>вероятност</a:t>
                </a:r>
                <a:r>
                  <a:rPr lang="ru-RU" sz="1400" dirty="0">
                    <a:solidFill>
                      <a:schemeClr val="bg1"/>
                    </a:solidFill>
                    <a:latin typeface="Montserrat" pitchFamily="2" charset="-52"/>
                  </a:rPr>
                  <a:t> </a:t>
                </a:r>
                <a:r>
                  <a:rPr lang="ru-RU" sz="1400" dirty="0" err="1">
                    <a:solidFill>
                      <a:schemeClr val="bg1"/>
                    </a:solidFill>
                    <a:latin typeface="Montserrat" pitchFamily="2" charset="-52"/>
                  </a:rPr>
                  <a:t>забавянето</a:t>
                </a:r>
                <a:r>
                  <a:rPr lang="ru-RU" sz="1400" dirty="0">
                    <a:solidFill>
                      <a:schemeClr val="bg1"/>
                    </a:solidFill>
                    <a:latin typeface="Montserrat" pitchFamily="2" charset="-52"/>
                  </a:rPr>
                  <a:t> на </a:t>
                </a:r>
                <a:r>
                  <a:rPr lang="ru-RU" sz="1400" dirty="0" err="1">
                    <a:solidFill>
                      <a:schemeClr val="bg1"/>
                    </a:solidFill>
                    <a:latin typeface="Montserrat" pitchFamily="2" charset="-52"/>
                  </a:rPr>
                  <a:t>разкриването</a:t>
                </a:r>
                <a:r>
                  <a:rPr lang="ru-RU" sz="1400" dirty="0">
                    <a:solidFill>
                      <a:schemeClr val="bg1"/>
                    </a:solidFill>
                    <a:latin typeface="Montserrat" pitchFamily="2" charset="-52"/>
                  </a:rPr>
                  <a:t> да </a:t>
                </a:r>
                <a:r>
                  <a:rPr lang="ru-RU" sz="1400" dirty="0" err="1">
                    <a:solidFill>
                      <a:schemeClr val="bg1"/>
                    </a:solidFill>
                    <a:latin typeface="Montserrat" pitchFamily="2" charset="-52"/>
                  </a:rPr>
                  <a:t>подведе</a:t>
                </a:r>
                <a:r>
                  <a:rPr lang="ru-RU" sz="1400" dirty="0">
                    <a:solidFill>
                      <a:schemeClr val="bg1"/>
                    </a:solidFill>
                    <a:latin typeface="Montserrat" pitchFamily="2" charset="-52"/>
                  </a:rPr>
                  <a:t> </a:t>
                </a:r>
                <a:r>
                  <a:rPr lang="ru-RU" sz="1400" dirty="0" err="1">
                    <a:solidFill>
                      <a:schemeClr val="bg1"/>
                    </a:solidFill>
                    <a:latin typeface="Montserrat" pitchFamily="2" charset="-52"/>
                  </a:rPr>
                  <a:t>обществеността</a:t>
                </a:r>
                <a:r>
                  <a:rPr lang="ru-RU" sz="1400" dirty="0">
                    <a:solidFill>
                      <a:schemeClr val="bg1"/>
                    </a:solidFill>
                    <a:latin typeface="Montserrat" pitchFamily="2" charset="-52"/>
                  </a:rPr>
                  <a:t>;</a:t>
                </a:r>
              </a:p>
            </p:txBody>
          </p:sp>
        </p:grpSp>
        <p:pic>
          <p:nvPicPr>
            <p:cNvPr id="32" name="Picture 2" descr="check mark icon. 18888319 PNG">
              <a:extLst>
                <a:ext uri="{FF2B5EF4-FFF2-40B4-BE49-F238E27FC236}">
                  <a16:creationId xmlns:a16="http://schemas.microsoft.com/office/drawing/2014/main" id="{96016255-89F2-3BDB-A67B-7A28C8CC41EF}"/>
                </a:ext>
              </a:extLst>
            </p:cNvPr>
            <p:cNvPicPr>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2482293" y="4578491"/>
              <a:ext cx="444897" cy="44489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1" name="Group 40"/>
          <p:cNvGrpSpPr/>
          <p:nvPr/>
        </p:nvGrpSpPr>
        <p:grpSpPr>
          <a:xfrm>
            <a:off x="1176270" y="4823781"/>
            <a:ext cx="9140412" cy="825591"/>
            <a:chOff x="1297774" y="4463510"/>
            <a:chExt cx="9140412" cy="825591"/>
          </a:xfrm>
        </p:grpSpPr>
        <p:grpSp>
          <p:nvGrpSpPr>
            <p:cNvPr id="42" name="Group 41">
              <a:extLst>
                <a:ext uri="{FF2B5EF4-FFF2-40B4-BE49-F238E27FC236}">
                  <a16:creationId xmlns:a16="http://schemas.microsoft.com/office/drawing/2014/main" id="{8E21D796-730E-B377-2E56-8AFF60F7AEB0}"/>
                </a:ext>
              </a:extLst>
            </p:cNvPr>
            <p:cNvGrpSpPr/>
            <p:nvPr/>
          </p:nvGrpSpPr>
          <p:grpSpPr>
            <a:xfrm>
              <a:off x="1297774" y="4463510"/>
              <a:ext cx="9140412" cy="825591"/>
              <a:chOff x="1438152" y="2408876"/>
              <a:chExt cx="9140412" cy="825591"/>
            </a:xfrm>
          </p:grpSpPr>
          <p:grpSp>
            <p:nvGrpSpPr>
              <p:cNvPr id="44" name="Group 43">
                <a:extLst>
                  <a:ext uri="{FF2B5EF4-FFF2-40B4-BE49-F238E27FC236}">
                    <a16:creationId xmlns:a16="http://schemas.microsoft.com/office/drawing/2014/main" id="{0482D4E3-DC62-5E5C-BDD5-8FB76DFDD3BC}"/>
                  </a:ext>
                </a:extLst>
              </p:cNvPr>
              <p:cNvGrpSpPr/>
              <p:nvPr/>
            </p:nvGrpSpPr>
            <p:grpSpPr>
              <a:xfrm>
                <a:off x="1438152" y="2408876"/>
                <a:ext cx="9140412" cy="825591"/>
                <a:chOff x="1641144" y="2121508"/>
                <a:chExt cx="9066480" cy="1550813"/>
              </a:xfrm>
            </p:grpSpPr>
            <p:grpSp>
              <p:nvGrpSpPr>
                <p:cNvPr id="46" name="Group 45">
                  <a:extLst>
                    <a:ext uri="{FF2B5EF4-FFF2-40B4-BE49-F238E27FC236}">
                      <a16:creationId xmlns:a16="http://schemas.microsoft.com/office/drawing/2014/main" id="{BE68A511-72C8-6AF3-0C99-64EB93F9BB77}"/>
                    </a:ext>
                  </a:extLst>
                </p:cNvPr>
                <p:cNvGrpSpPr/>
                <p:nvPr/>
              </p:nvGrpSpPr>
              <p:grpSpPr>
                <a:xfrm>
                  <a:off x="2385300" y="2121508"/>
                  <a:ext cx="8322324" cy="1550813"/>
                  <a:chOff x="4467935" y="4813035"/>
                  <a:chExt cx="8322324" cy="1110781"/>
                </a:xfrm>
              </p:grpSpPr>
              <p:sp>
                <p:nvSpPr>
                  <p:cNvPr id="49" name="Pentagon 19">
                    <a:extLst>
                      <a:ext uri="{FF2B5EF4-FFF2-40B4-BE49-F238E27FC236}">
                        <a16:creationId xmlns:a16="http://schemas.microsoft.com/office/drawing/2014/main" id="{DB528595-5E15-1643-C9BB-B4A106265726}"/>
                      </a:ext>
                    </a:extLst>
                  </p:cNvPr>
                  <p:cNvSpPr/>
                  <p:nvPr/>
                </p:nvSpPr>
                <p:spPr>
                  <a:xfrm>
                    <a:off x="5247672" y="4978352"/>
                    <a:ext cx="7542587" cy="945464"/>
                  </a:xfrm>
                  <a:prstGeom prst="homePlate">
                    <a:avLst>
                      <a:gd name="adj" fmla="val 0"/>
                    </a:avLst>
                  </a:prstGeom>
                  <a:solidFill>
                    <a:srgbClr val="09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0" name="Pentagon 20">
                    <a:extLst>
                      <a:ext uri="{FF2B5EF4-FFF2-40B4-BE49-F238E27FC236}">
                        <a16:creationId xmlns:a16="http://schemas.microsoft.com/office/drawing/2014/main" id="{D2F8F3AB-D82B-F630-49DF-36C1B1758DA1}"/>
                      </a:ext>
                    </a:extLst>
                  </p:cNvPr>
                  <p:cNvSpPr/>
                  <p:nvPr/>
                </p:nvSpPr>
                <p:spPr>
                  <a:xfrm rot="10800000">
                    <a:off x="4467935" y="4813035"/>
                    <a:ext cx="968673" cy="934245"/>
                  </a:xfrm>
                  <a:prstGeom prst="homePlate">
                    <a:avLst/>
                  </a:prstGeom>
                  <a:solidFill>
                    <a:srgbClr val="0C4F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dirty="0"/>
                  </a:p>
                </p:txBody>
              </p:sp>
              <p:sp>
                <p:nvSpPr>
                  <p:cNvPr id="51" name="Right Triangle 50">
                    <a:extLst>
                      <a:ext uri="{FF2B5EF4-FFF2-40B4-BE49-F238E27FC236}">
                        <a16:creationId xmlns:a16="http://schemas.microsoft.com/office/drawing/2014/main" id="{37CB983C-3625-F645-1E50-9F2860784EFC}"/>
                      </a:ext>
                    </a:extLst>
                  </p:cNvPr>
                  <p:cNvSpPr/>
                  <p:nvPr/>
                </p:nvSpPr>
                <p:spPr>
                  <a:xfrm rot="10800000" flipH="1">
                    <a:off x="5251354" y="5746785"/>
                    <a:ext cx="190930" cy="166414"/>
                  </a:xfrm>
                  <a:prstGeom prst="rtTriangle">
                    <a:avLst/>
                  </a:prstGeom>
                  <a:solidFill>
                    <a:srgbClr val="093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sp>
              <p:nvSpPr>
                <p:cNvPr id="47" name="Rectangle 46">
                  <a:extLst>
                    <a:ext uri="{FF2B5EF4-FFF2-40B4-BE49-F238E27FC236}">
                      <a16:creationId xmlns:a16="http://schemas.microsoft.com/office/drawing/2014/main" id="{DA36801C-0EA5-E0F6-B4E8-77BADE514795}"/>
                    </a:ext>
                  </a:extLst>
                </p:cNvPr>
                <p:cNvSpPr/>
                <p:nvPr/>
              </p:nvSpPr>
              <p:spPr>
                <a:xfrm>
                  <a:off x="3474720" y="2491085"/>
                  <a:ext cx="7104888" cy="635949"/>
                </a:xfrm>
                <a:prstGeom prst="rect">
                  <a:avLst/>
                </a:prstGeom>
              </p:spPr>
              <p:txBody>
                <a:bodyPr wrap="square">
                  <a:spAutoFit/>
                </a:bodyPr>
                <a:lstStyle/>
                <a:p>
                  <a:pPr algn="just"/>
                  <a:endParaRPr lang="bg-BG" sz="1600" dirty="0">
                    <a:solidFill>
                      <a:schemeClr val="bg1"/>
                    </a:solidFill>
                    <a:latin typeface="Montserrat" pitchFamily="2" charset="-52"/>
                  </a:endParaRPr>
                </a:p>
              </p:txBody>
            </p:sp>
            <p:sp>
              <p:nvSpPr>
                <p:cNvPr id="48" name="Rectangle 47">
                  <a:extLst>
                    <a:ext uri="{FF2B5EF4-FFF2-40B4-BE49-F238E27FC236}">
                      <a16:creationId xmlns:a16="http://schemas.microsoft.com/office/drawing/2014/main" id="{C6E21E23-5D28-384C-E1CB-E777B2FC535E}"/>
                    </a:ext>
                  </a:extLst>
                </p:cNvPr>
                <p:cNvSpPr/>
                <p:nvPr/>
              </p:nvSpPr>
              <p:spPr>
                <a:xfrm>
                  <a:off x="1641144" y="2566829"/>
                  <a:ext cx="183237" cy="693763"/>
                </a:xfrm>
                <a:prstGeom prst="rect">
                  <a:avLst/>
                </a:prstGeom>
              </p:spPr>
              <p:txBody>
                <a:bodyPr wrap="none">
                  <a:spAutoFit/>
                </a:bodyPr>
                <a:lstStyle/>
                <a:p>
                  <a:endParaRPr lang="bg-BG" dirty="0">
                    <a:latin typeface="Montserrat ExtraBold" panose="00000900000000000000" pitchFamily="50" charset="-52"/>
                  </a:endParaRPr>
                </a:p>
              </p:txBody>
            </p:sp>
          </p:grpSp>
          <p:sp>
            <p:nvSpPr>
              <p:cNvPr id="45" name="TextBox 44">
                <a:extLst>
                  <a:ext uri="{FF2B5EF4-FFF2-40B4-BE49-F238E27FC236}">
                    <a16:creationId xmlns:a16="http://schemas.microsoft.com/office/drawing/2014/main" id="{96349F3F-A838-458A-B24D-261B93075F74}"/>
                  </a:ext>
                </a:extLst>
              </p:cNvPr>
              <p:cNvSpPr txBox="1"/>
              <p:nvPr/>
            </p:nvSpPr>
            <p:spPr>
              <a:xfrm>
                <a:off x="3293205" y="2641512"/>
                <a:ext cx="6094428" cy="523220"/>
              </a:xfrm>
              <a:prstGeom prst="rect">
                <a:avLst/>
              </a:prstGeom>
              <a:noFill/>
            </p:spPr>
            <p:txBody>
              <a:bodyPr wrap="square">
                <a:spAutoFit/>
              </a:bodyPr>
              <a:lstStyle/>
              <a:p>
                <a:pPr algn="just"/>
                <a:r>
                  <a:rPr lang="ru-RU" sz="1400" dirty="0" err="1">
                    <a:solidFill>
                      <a:schemeClr val="bg1"/>
                    </a:solidFill>
                    <a:latin typeface="Montserrat" pitchFamily="2" charset="-52"/>
                  </a:rPr>
                  <a:t>емитентът</a:t>
                </a:r>
                <a:r>
                  <a:rPr lang="ru-RU" sz="1400" dirty="0">
                    <a:solidFill>
                      <a:schemeClr val="bg1"/>
                    </a:solidFill>
                    <a:latin typeface="Montserrat" pitchFamily="2" charset="-52"/>
                  </a:rPr>
                  <a:t> или </a:t>
                </a:r>
                <a:r>
                  <a:rPr lang="ru-RU" sz="1400" dirty="0" err="1">
                    <a:solidFill>
                      <a:schemeClr val="bg1"/>
                    </a:solidFill>
                    <a:latin typeface="Montserrat" pitchFamily="2" charset="-52"/>
                  </a:rPr>
                  <a:t>участникът</a:t>
                </a:r>
                <a:r>
                  <a:rPr lang="ru-RU" sz="1400" dirty="0">
                    <a:solidFill>
                      <a:schemeClr val="bg1"/>
                    </a:solidFill>
                    <a:latin typeface="Montserrat" pitchFamily="2" charset="-52"/>
                  </a:rPr>
                  <a:t> на пазара на </a:t>
                </a:r>
                <a:r>
                  <a:rPr lang="ru-RU" sz="1400" dirty="0" err="1">
                    <a:solidFill>
                      <a:schemeClr val="bg1"/>
                    </a:solidFill>
                    <a:latin typeface="Montserrat" pitchFamily="2" charset="-52"/>
                  </a:rPr>
                  <a:t>квоти</a:t>
                </a:r>
                <a:r>
                  <a:rPr lang="ru-RU" sz="1400" dirty="0">
                    <a:solidFill>
                      <a:schemeClr val="bg1"/>
                    </a:solidFill>
                    <a:latin typeface="Montserrat" pitchFamily="2" charset="-52"/>
                  </a:rPr>
                  <a:t> за </a:t>
                </a:r>
                <a:r>
                  <a:rPr lang="ru-RU" sz="1400" dirty="0" err="1">
                    <a:solidFill>
                      <a:schemeClr val="bg1"/>
                    </a:solidFill>
                    <a:latin typeface="Montserrat" pitchFamily="2" charset="-52"/>
                  </a:rPr>
                  <a:t>емисии</a:t>
                </a:r>
                <a:r>
                  <a:rPr lang="ru-RU" sz="1400" dirty="0">
                    <a:solidFill>
                      <a:schemeClr val="bg1"/>
                    </a:solidFill>
                    <a:latin typeface="Montserrat" pitchFamily="2" charset="-52"/>
                  </a:rPr>
                  <a:t> </a:t>
                </a:r>
                <a:r>
                  <a:rPr lang="ru-RU" sz="1400" dirty="0" err="1">
                    <a:solidFill>
                      <a:schemeClr val="bg1"/>
                    </a:solidFill>
                    <a:latin typeface="Montserrat" pitchFamily="2" charset="-52"/>
                  </a:rPr>
                  <a:t>може</a:t>
                </a:r>
                <a:r>
                  <a:rPr lang="ru-RU" sz="1400" dirty="0">
                    <a:solidFill>
                      <a:schemeClr val="bg1"/>
                    </a:solidFill>
                    <a:latin typeface="Montserrat" pitchFamily="2" charset="-52"/>
                  </a:rPr>
                  <a:t> да </a:t>
                </a:r>
                <a:r>
                  <a:rPr lang="ru-RU" sz="1400" dirty="0" err="1">
                    <a:solidFill>
                      <a:schemeClr val="bg1"/>
                    </a:solidFill>
                    <a:latin typeface="Montserrat" pitchFamily="2" charset="-52"/>
                  </a:rPr>
                  <a:t>гарантира</a:t>
                </a:r>
                <a:r>
                  <a:rPr lang="ru-RU" sz="1400" dirty="0">
                    <a:solidFill>
                      <a:schemeClr val="bg1"/>
                    </a:solidFill>
                    <a:latin typeface="Montserrat" pitchFamily="2" charset="-52"/>
                  </a:rPr>
                  <a:t> </a:t>
                </a:r>
                <a:r>
                  <a:rPr lang="ru-RU" sz="1400" dirty="0" err="1">
                    <a:solidFill>
                      <a:schemeClr val="bg1"/>
                    </a:solidFill>
                    <a:latin typeface="Montserrat" pitchFamily="2" charset="-52"/>
                  </a:rPr>
                  <a:t>поверителността</a:t>
                </a:r>
                <a:r>
                  <a:rPr lang="ru-RU" sz="1400" dirty="0">
                    <a:solidFill>
                      <a:schemeClr val="bg1"/>
                    </a:solidFill>
                    <a:latin typeface="Montserrat" pitchFamily="2" charset="-52"/>
                  </a:rPr>
                  <a:t> на </a:t>
                </a:r>
                <a:r>
                  <a:rPr lang="ru-RU" sz="1400" dirty="0" err="1">
                    <a:solidFill>
                      <a:schemeClr val="bg1"/>
                    </a:solidFill>
                    <a:latin typeface="Montserrat" pitchFamily="2" charset="-52"/>
                  </a:rPr>
                  <a:t>тази</a:t>
                </a:r>
                <a:r>
                  <a:rPr lang="ru-RU" sz="1400" dirty="0">
                    <a:solidFill>
                      <a:schemeClr val="bg1"/>
                    </a:solidFill>
                    <a:latin typeface="Montserrat" pitchFamily="2" charset="-52"/>
                  </a:rPr>
                  <a:t> информация.</a:t>
                </a:r>
              </a:p>
            </p:txBody>
          </p:sp>
        </p:grpSp>
        <p:pic>
          <p:nvPicPr>
            <p:cNvPr id="43" name="Picture 2" descr="check mark icon. 18888319 PNG">
              <a:extLst>
                <a:ext uri="{FF2B5EF4-FFF2-40B4-BE49-F238E27FC236}">
                  <a16:creationId xmlns:a16="http://schemas.microsoft.com/office/drawing/2014/main" id="{96016255-89F2-3BDB-A67B-7A28C8CC41EF}"/>
                </a:ext>
              </a:extLst>
            </p:cNvPr>
            <p:cNvPicPr>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2482293" y="4578491"/>
              <a:ext cx="444897" cy="444897"/>
            </a:xfrm>
            <a:prstGeom prst="rect">
              <a:avLst/>
            </a:prstGeom>
            <a:noFill/>
            <a:extLst>
              <a:ext uri="{909E8E84-426E-40DD-AFC4-6F175D3DCCD1}">
                <a14:hiddenFill xmlns:a14="http://schemas.microsoft.com/office/drawing/2010/main">
                  <a:solidFill>
                    <a:srgbClr val="FFFFFF"/>
                  </a:solidFill>
                </a14:hiddenFill>
              </a:ext>
            </a:extLst>
          </p:spPr>
        </p:pic>
      </p:grpSp>
      <p:pic>
        <p:nvPicPr>
          <p:cNvPr id="52" name="Picture 5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131552" y="6292745"/>
            <a:ext cx="1876472" cy="361108"/>
          </a:xfrm>
          <a:prstGeom prst="rect">
            <a:avLst/>
          </a:prstGeom>
        </p:spPr>
      </p:pic>
    </p:spTree>
    <p:extLst>
      <p:ext uri="{BB962C8B-B14F-4D97-AF65-F5344CB8AC3E}">
        <p14:creationId xmlns:p14="http://schemas.microsoft.com/office/powerpoint/2010/main" val="102899960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0800000">
            <a:off x="-4" y="0"/>
            <a:ext cx="12192003" cy="6858000"/>
          </a:xfrm>
          <a:prstGeom prst="rect">
            <a:avLst/>
          </a:prstGeom>
        </p:spPr>
      </p:pic>
      <p:sp>
        <p:nvSpPr>
          <p:cNvPr id="28" name="Pentagon 27"/>
          <p:cNvSpPr/>
          <p:nvPr/>
        </p:nvSpPr>
        <p:spPr>
          <a:xfrm>
            <a:off x="829433" y="4665508"/>
            <a:ext cx="10772775" cy="1497548"/>
          </a:xfrm>
          <a:prstGeom prst="homePlate">
            <a:avLst>
              <a:gd name="adj" fmla="val 0"/>
            </a:avLst>
          </a:prstGeom>
          <a:solidFill>
            <a:srgbClr val="0D47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7" name="Pentagon 26"/>
          <p:cNvSpPr/>
          <p:nvPr/>
        </p:nvSpPr>
        <p:spPr>
          <a:xfrm>
            <a:off x="2398503" y="3090648"/>
            <a:ext cx="8686483" cy="1425326"/>
          </a:xfrm>
          <a:prstGeom prst="homePlate">
            <a:avLst>
              <a:gd name="adj" fmla="val 0"/>
            </a:avLst>
          </a:prstGeom>
          <a:solidFill>
            <a:srgbClr val="3392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6" name="Pentagon 25"/>
          <p:cNvSpPr/>
          <p:nvPr/>
        </p:nvSpPr>
        <p:spPr>
          <a:xfrm>
            <a:off x="949331" y="1811744"/>
            <a:ext cx="6680194" cy="1153776"/>
          </a:xfrm>
          <a:prstGeom prst="homePlate">
            <a:avLst>
              <a:gd name="adj" fmla="val 0"/>
            </a:avLst>
          </a:prstGeom>
          <a:solidFill>
            <a:srgbClr val="1C76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t="35327" b="35532"/>
          <a:stretch/>
        </p:blipFill>
        <p:spPr>
          <a:xfrm>
            <a:off x="0" y="0"/>
            <a:ext cx="12192000" cy="1715677"/>
          </a:xfrm>
          <a:prstGeom prst="rect">
            <a:avLst/>
          </a:prstGeom>
        </p:spPr>
      </p:pic>
      <p:sp>
        <p:nvSpPr>
          <p:cNvPr id="5" name="TextBox 4"/>
          <p:cNvSpPr txBox="1"/>
          <p:nvPr/>
        </p:nvSpPr>
        <p:spPr>
          <a:xfrm>
            <a:off x="338540" y="301545"/>
            <a:ext cx="9531323" cy="830997"/>
          </a:xfrm>
          <a:prstGeom prst="rect">
            <a:avLst/>
          </a:prstGeom>
          <a:noFill/>
        </p:spPr>
        <p:txBody>
          <a:bodyPr wrap="square" rtlCol="0">
            <a:spAutoFit/>
          </a:bodyPr>
          <a:lstStyle/>
          <a:p>
            <a:r>
              <a:rPr lang="en-US" sz="2400" dirty="0">
                <a:solidFill>
                  <a:schemeClr val="bg1"/>
                </a:solidFill>
                <a:latin typeface="Montserrat Black" pitchFamily="2" charset="-52"/>
              </a:rPr>
              <a:t>III. </a:t>
            </a:r>
            <a:r>
              <a:rPr lang="ru-RU" sz="2400" dirty="0">
                <a:solidFill>
                  <a:schemeClr val="bg1"/>
                </a:solidFill>
                <a:latin typeface="Montserrat Black" pitchFamily="2" charset="-52"/>
              </a:rPr>
              <a:t>ПОСЛЕДВАЩИ ИЗИСКВАНИЯ ЗА РАЗКРИВАНЕ НА ИНФОРМАЦИЯ</a:t>
            </a:r>
            <a:endParaRPr lang="bg-BG" sz="2400" dirty="0">
              <a:solidFill>
                <a:schemeClr val="bg1"/>
              </a:solidFill>
              <a:latin typeface="Montserrat Black" pitchFamily="2" charset="-52"/>
            </a:endParaRPr>
          </a:p>
        </p:txBody>
      </p:sp>
      <p:sp>
        <p:nvSpPr>
          <p:cNvPr id="8" name="TextBox 7"/>
          <p:cNvSpPr txBox="1"/>
          <p:nvPr/>
        </p:nvSpPr>
        <p:spPr>
          <a:xfrm>
            <a:off x="338540" y="1086375"/>
            <a:ext cx="9192785" cy="369332"/>
          </a:xfrm>
          <a:prstGeom prst="rect">
            <a:avLst/>
          </a:prstGeom>
          <a:noFill/>
        </p:spPr>
        <p:txBody>
          <a:bodyPr wrap="square" rtlCol="0">
            <a:spAutoFit/>
          </a:bodyPr>
          <a:lstStyle/>
          <a:p>
            <a:r>
              <a:rPr lang="ru-RU" dirty="0" err="1">
                <a:solidFill>
                  <a:schemeClr val="bg1"/>
                </a:solidFill>
                <a:latin typeface="Montserrat" pitchFamily="2" charset="-52"/>
              </a:rPr>
              <a:t>Език</a:t>
            </a:r>
            <a:r>
              <a:rPr lang="ru-RU" dirty="0">
                <a:solidFill>
                  <a:schemeClr val="bg1"/>
                </a:solidFill>
                <a:latin typeface="Montserrat" pitchFamily="2" charset="-52"/>
              </a:rPr>
              <a:t> на </a:t>
            </a:r>
            <a:r>
              <a:rPr lang="ru-RU" dirty="0" err="1">
                <a:solidFill>
                  <a:schemeClr val="bg1"/>
                </a:solidFill>
                <a:latin typeface="Montserrat" pitchFamily="2" charset="-52"/>
              </a:rPr>
              <a:t>разкриване</a:t>
            </a:r>
            <a:r>
              <a:rPr lang="ru-RU" dirty="0">
                <a:solidFill>
                  <a:schemeClr val="bg1"/>
                </a:solidFill>
                <a:latin typeface="Montserrat" pitchFamily="2" charset="-52"/>
              </a:rPr>
              <a:t> на </a:t>
            </a:r>
            <a:r>
              <a:rPr lang="ru-RU" dirty="0" err="1">
                <a:solidFill>
                  <a:schemeClr val="bg1"/>
                </a:solidFill>
                <a:latin typeface="Montserrat" pitchFamily="2" charset="-52"/>
              </a:rPr>
              <a:t>регулираната</a:t>
            </a:r>
            <a:r>
              <a:rPr lang="ru-RU" dirty="0">
                <a:solidFill>
                  <a:schemeClr val="bg1"/>
                </a:solidFill>
                <a:latin typeface="Montserrat" pitchFamily="2" charset="-52"/>
              </a:rPr>
              <a:t> информация</a:t>
            </a:r>
            <a:endParaRPr lang="bg-BG" dirty="0">
              <a:solidFill>
                <a:schemeClr val="bg1"/>
              </a:solidFill>
              <a:latin typeface="Montserrat" pitchFamily="2" charset="-52"/>
            </a:endParaRPr>
          </a:p>
        </p:txBody>
      </p:sp>
      <p:sp>
        <p:nvSpPr>
          <p:cNvPr id="4" name="Rectangle 3"/>
          <p:cNvSpPr/>
          <p:nvPr/>
        </p:nvSpPr>
        <p:spPr>
          <a:xfrm>
            <a:off x="2537331" y="3064197"/>
            <a:ext cx="7671356" cy="1384995"/>
          </a:xfrm>
          <a:prstGeom prst="rect">
            <a:avLst/>
          </a:prstGeom>
        </p:spPr>
        <p:txBody>
          <a:bodyPr wrap="square">
            <a:spAutoFit/>
          </a:bodyPr>
          <a:lstStyle/>
          <a:p>
            <a:pPr algn="just"/>
            <a:r>
              <a:rPr lang="ru-RU" sz="1400" dirty="0" err="1">
                <a:solidFill>
                  <a:schemeClr val="bg1"/>
                </a:solidFill>
                <a:latin typeface="Montserrat" pitchFamily="2" charset="-52"/>
              </a:rPr>
              <a:t>Когато</a:t>
            </a:r>
            <a:r>
              <a:rPr lang="ru-RU" sz="1400" dirty="0">
                <a:solidFill>
                  <a:schemeClr val="bg1"/>
                </a:solidFill>
                <a:latin typeface="Montserrat" pitchFamily="2" charset="-52"/>
              </a:rPr>
              <a:t> </a:t>
            </a:r>
            <a:r>
              <a:rPr lang="ru-RU" sz="1400" dirty="0" err="1">
                <a:solidFill>
                  <a:schemeClr val="bg1"/>
                </a:solidFill>
                <a:latin typeface="Montserrat" pitchFamily="2" charset="-52"/>
              </a:rPr>
              <a:t>ценните</a:t>
            </a:r>
            <a:r>
              <a:rPr lang="ru-RU" sz="1400" dirty="0">
                <a:solidFill>
                  <a:schemeClr val="bg1"/>
                </a:solidFill>
                <a:latin typeface="Montserrat" pitchFamily="2" charset="-52"/>
              </a:rPr>
              <a:t> </a:t>
            </a:r>
            <a:r>
              <a:rPr lang="ru-RU" sz="1400" dirty="0" err="1">
                <a:solidFill>
                  <a:schemeClr val="bg1"/>
                </a:solidFill>
                <a:latin typeface="Montserrat" pitchFamily="2" charset="-52"/>
              </a:rPr>
              <a:t>книжа</a:t>
            </a:r>
            <a:r>
              <a:rPr lang="ru-RU" sz="1400" dirty="0">
                <a:solidFill>
                  <a:schemeClr val="bg1"/>
                </a:solidFill>
                <a:latin typeface="Montserrat" pitchFamily="2" charset="-52"/>
              </a:rPr>
              <a:t> </a:t>
            </a:r>
            <a:r>
              <a:rPr lang="ru-RU" sz="1400" dirty="0" err="1">
                <a:solidFill>
                  <a:schemeClr val="bg1"/>
                </a:solidFill>
                <a:latin typeface="Montserrat" pitchFamily="2" charset="-52"/>
              </a:rPr>
              <a:t>са</a:t>
            </a:r>
            <a:r>
              <a:rPr lang="ru-RU" sz="1400" dirty="0">
                <a:solidFill>
                  <a:schemeClr val="bg1"/>
                </a:solidFill>
                <a:latin typeface="Montserrat" pitchFamily="2" charset="-52"/>
              </a:rPr>
              <a:t> </a:t>
            </a:r>
            <a:r>
              <a:rPr lang="ru-RU" sz="1400" dirty="0" err="1">
                <a:solidFill>
                  <a:schemeClr val="bg1"/>
                </a:solidFill>
                <a:latin typeface="Montserrat" pitchFamily="2" charset="-52"/>
              </a:rPr>
              <a:t>допуснати</a:t>
            </a:r>
            <a:r>
              <a:rPr lang="ru-RU" sz="1400" dirty="0">
                <a:solidFill>
                  <a:schemeClr val="bg1"/>
                </a:solidFill>
                <a:latin typeface="Montserrat" pitchFamily="2" charset="-52"/>
              </a:rPr>
              <a:t> до </a:t>
            </a:r>
            <a:r>
              <a:rPr lang="ru-RU" sz="1400" dirty="0" err="1">
                <a:solidFill>
                  <a:schemeClr val="bg1"/>
                </a:solidFill>
                <a:latin typeface="Montserrat" pitchFamily="2" charset="-52"/>
              </a:rPr>
              <a:t>търговия</a:t>
            </a:r>
            <a:r>
              <a:rPr lang="ru-RU" sz="1400" dirty="0">
                <a:solidFill>
                  <a:schemeClr val="bg1"/>
                </a:solidFill>
                <a:latin typeface="Montserrat" pitchFamily="2" charset="-52"/>
              </a:rPr>
              <a:t> на </a:t>
            </a:r>
            <a:r>
              <a:rPr lang="ru-RU" sz="1400" dirty="0" err="1">
                <a:solidFill>
                  <a:schemeClr val="bg1"/>
                </a:solidFill>
                <a:latin typeface="Montserrat" pitchFamily="2" charset="-52"/>
              </a:rPr>
              <a:t>регулиран</a:t>
            </a:r>
            <a:r>
              <a:rPr lang="ru-RU" sz="1400" dirty="0">
                <a:solidFill>
                  <a:schemeClr val="bg1"/>
                </a:solidFill>
                <a:latin typeface="Montserrat" pitchFamily="2" charset="-52"/>
              </a:rPr>
              <a:t> </a:t>
            </a:r>
            <a:r>
              <a:rPr lang="ru-RU" sz="1400" dirty="0" err="1">
                <a:solidFill>
                  <a:schemeClr val="bg1"/>
                </a:solidFill>
                <a:latin typeface="Montserrat" pitchFamily="2" charset="-52"/>
              </a:rPr>
              <a:t>пазар</a:t>
            </a:r>
            <a:r>
              <a:rPr lang="ru-RU" sz="1400" dirty="0">
                <a:solidFill>
                  <a:schemeClr val="bg1"/>
                </a:solidFill>
                <a:latin typeface="Montserrat" pitchFamily="2" charset="-52"/>
              </a:rPr>
              <a:t> </a:t>
            </a:r>
            <a:r>
              <a:rPr lang="ru-RU" sz="1400" dirty="0" err="1">
                <a:solidFill>
                  <a:schemeClr val="bg1"/>
                </a:solidFill>
                <a:latin typeface="Montserrat" pitchFamily="2" charset="-52"/>
              </a:rPr>
              <a:t>едновременно</a:t>
            </a:r>
            <a:r>
              <a:rPr lang="ru-RU" sz="1400" dirty="0">
                <a:solidFill>
                  <a:schemeClr val="bg1"/>
                </a:solidFill>
                <a:latin typeface="Montserrat" pitchFamily="2" charset="-52"/>
              </a:rPr>
              <a:t> в </a:t>
            </a:r>
            <a:r>
              <a:rPr lang="ru-RU" sz="1400" dirty="0" err="1">
                <a:solidFill>
                  <a:schemeClr val="bg1"/>
                </a:solidFill>
                <a:latin typeface="Montserrat" pitchFamily="2" charset="-52"/>
              </a:rPr>
              <a:t>една</a:t>
            </a:r>
            <a:r>
              <a:rPr lang="ru-RU" sz="1400" dirty="0">
                <a:solidFill>
                  <a:schemeClr val="bg1"/>
                </a:solidFill>
                <a:latin typeface="Montserrat" pitchFamily="2" charset="-52"/>
              </a:rPr>
              <a:t> или </a:t>
            </a:r>
            <a:r>
              <a:rPr lang="ru-RU" sz="1400" dirty="0" err="1">
                <a:solidFill>
                  <a:schemeClr val="bg1"/>
                </a:solidFill>
                <a:latin typeface="Montserrat" pitchFamily="2" charset="-52"/>
              </a:rPr>
              <a:t>повече</a:t>
            </a:r>
            <a:r>
              <a:rPr lang="ru-RU" sz="1400" dirty="0">
                <a:solidFill>
                  <a:schemeClr val="bg1"/>
                </a:solidFill>
                <a:latin typeface="Montserrat" pitchFamily="2" charset="-52"/>
              </a:rPr>
              <a:t> </a:t>
            </a:r>
            <a:r>
              <a:rPr lang="ru-RU" sz="1400" dirty="0" err="1">
                <a:solidFill>
                  <a:schemeClr val="bg1"/>
                </a:solidFill>
                <a:latin typeface="Montserrat" pitchFamily="2" charset="-52"/>
              </a:rPr>
              <a:t>държави</a:t>
            </a:r>
            <a:r>
              <a:rPr lang="ru-RU" sz="1400" dirty="0">
                <a:solidFill>
                  <a:schemeClr val="bg1"/>
                </a:solidFill>
                <a:latin typeface="Montserrat" pitchFamily="2" charset="-52"/>
              </a:rPr>
              <a:t> </a:t>
            </a:r>
            <a:r>
              <a:rPr lang="ru-RU" sz="1400" dirty="0" err="1">
                <a:solidFill>
                  <a:schemeClr val="bg1"/>
                </a:solidFill>
                <a:latin typeface="Montserrat" pitchFamily="2" charset="-52"/>
              </a:rPr>
              <a:t>членки</a:t>
            </a:r>
            <a:r>
              <a:rPr lang="ru-RU" sz="1400" dirty="0">
                <a:solidFill>
                  <a:schemeClr val="bg1"/>
                </a:solidFill>
                <a:latin typeface="Montserrat" pitchFamily="2" charset="-52"/>
              </a:rPr>
              <a:t>, </a:t>
            </a:r>
            <a:r>
              <a:rPr lang="ru-RU" sz="1400" dirty="0" err="1">
                <a:solidFill>
                  <a:schemeClr val="bg1"/>
                </a:solidFill>
                <a:latin typeface="Montserrat" pitchFamily="2" charset="-52"/>
              </a:rPr>
              <a:t>включително</a:t>
            </a:r>
            <a:r>
              <a:rPr lang="ru-RU" sz="1400" dirty="0">
                <a:solidFill>
                  <a:schemeClr val="bg1"/>
                </a:solidFill>
                <a:latin typeface="Montserrat" pitchFamily="2" charset="-52"/>
              </a:rPr>
              <a:t> в </a:t>
            </a:r>
            <a:r>
              <a:rPr lang="ru-RU" sz="1400" dirty="0" err="1">
                <a:solidFill>
                  <a:schemeClr val="bg1"/>
                </a:solidFill>
                <a:latin typeface="Montserrat" pitchFamily="2" charset="-52"/>
              </a:rPr>
              <a:t>Република</a:t>
            </a:r>
            <a:r>
              <a:rPr lang="ru-RU" sz="1400" dirty="0">
                <a:solidFill>
                  <a:schemeClr val="bg1"/>
                </a:solidFill>
                <a:latin typeface="Montserrat" pitchFamily="2" charset="-52"/>
              </a:rPr>
              <a:t> България, и </a:t>
            </a:r>
            <a:r>
              <a:rPr lang="ru-RU" sz="1400" dirty="0" err="1">
                <a:solidFill>
                  <a:schemeClr val="bg1"/>
                </a:solidFill>
                <a:latin typeface="Montserrat" pitchFamily="2" charset="-52"/>
              </a:rPr>
              <a:t>Република</a:t>
            </a:r>
            <a:r>
              <a:rPr lang="ru-RU" sz="1400" dirty="0">
                <a:solidFill>
                  <a:schemeClr val="bg1"/>
                </a:solidFill>
                <a:latin typeface="Montserrat" pitchFamily="2" charset="-52"/>
              </a:rPr>
              <a:t> България е </a:t>
            </a:r>
            <a:r>
              <a:rPr lang="ru-RU" sz="1400" dirty="0" err="1">
                <a:solidFill>
                  <a:schemeClr val="bg1"/>
                </a:solidFill>
                <a:latin typeface="Montserrat" pitchFamily="2" charset="-52"/>
              </a:rPr>
              <a:t>държавата</a:t>
            </a:r>
            <a:r>
              <a:rPr lang="ru-RU" sz="1400" dirty="0">
                <a:solidFill>
                  <a:schemeClr val="bg1"/>
                </a:solidFill>
                <a:latin typeface="Montserrat" pitchFamily="2" charset="-52"/>
              </a:rPr>
              <a:t> </a:t>
            </a:r>
            <a:r>
              <a:rPr lang="ru-RU" sz="1400" dirty="0" err="1">
                <a:solidFill>
                  <a:schemeClr val="bg1"/>
                </a:solidFill>
                <a:latin typeface="Montserrat" pitchFamily="2" charset="-52"/>
              </a:rPr>
              <a:t>членка</a:t>
            </a:r>
            <a:r>
              <a:rPr lang="ru-RU" sz="1400" dirty="0">
                <a:solidFill>
                  <a:schemeClr val="bg1"/>
                </a:solidFill>
                <a:latin typeface="Montserrat" pitchFamily="2" charset="-52"/>
              </a:rPr>
              <a:t> по </a:t>
            </a:r>
            <a:r>
              <a:rPr lang="ru-RU" sz="1400" dirty="0" err="1">
                <a:solidFill>
                  <a:schemeClr val="bg1"/>
                </a:solidFill>
                <a:latin typeface="Montserrat" pitchFamily="2" charset="-52"/>
              </a:rPr>
              <a:t>произход</a:t>
            </a:r>
            <a:r>
              <a:rPr lang="ru-RU" sz="1400" dirty="0">
                <a:solidFill>
                  <a:schemeClr val="bg1"/>
                </a:solidFill>
                <a:latin typeface="Montserrat" pitchFamily="2" charset="-52"/>
              </a:rPr>
              <a:t>, </a:t>
            </a:r>
            <a:r>
              <a:rPr lang="ru-RU" sz="1400" dirty="0" err="1">
                <a:solidFill>
                  <a:schemeClr val="bg1"/>
                </a:solidFill>
                <a:latin typeface="Montserrat" pitchFamily="2" charset="-52"/>
              </a:rPr>
              <a:t>регулираната</a:t>
            </a:r>
            <a:r>
              <a:rPr lang="ru-RU" sz="1400" dirty="0">
                <a:solidFill>
                  <a:schemeClr val="bg1"/>
                </a:solidFill>
                <a:latin typeface="Montserrat" pitchFamily="2" charset="-52"/>
              </a:rPr>
              <a:t> информация се </a:t>
            </a:r>
            <a:r>
              <a:rPr lang="ru-RU" sz="1400" dirty="0" err="1">
                <a:solidFill>
                  <a:schemeClr val="bg1"/>
                </a:solidFill>
                <a:latin typeface="Montserrat" pitchFamily="2" charset="-52"/>
              </a:rPr>
              <a:t>разкрива</a:t>
            </a:r>
            <a:r>
              <a:rPr lang="ru-RU" sz="1400" dirty="0">
                <a:solidFill>
                  <a:schemeClr val="bg1"/>
                </a:solidFill>
                <a:latin typeface="Montserrat" pitchFamily="2" charset="-52"/>
              </a:rPr>
              <a:t> на </a:t>
            </a:r>
            <a:r>
              <a:rPr lang="ru-RU" sz="1400" dirty="0" err="1">
                <a:solidFill>
                  <a:schemeClr val="bg1"/>
                </a:solidFill>
                <a:latin typeface="Montserrat" pitchFamily="2" charset="-52"/>
              </a:rPr>
              <a:t>български</a:t>
            </a:r>
            <a:r>
              <a:rPr lang="ru-RU" sz="1400" dirty="0">
                <a:solidFill>
                  <a:schemeClr val="bg1"/>
                </a:solidFill>
                <a:latin typeface="Montserrat" pitchFamily="2" charset="-52"/>
              </a:rPr>
              <a:t> </a:t>
            </a:r>
            <a:r>
              <a:rPr lang="ru-RU" sz="1400" dirty="0" err="1">
                <a:solidFill>
                  <a:schemeClr val="bg1"/>
                </a:solidFill>
                <a:latin typeface="Montserrat" pitchFamily="2" charset="-52"/>
              </a:rPr>
              <a:t>език</a:t>
            </a:r>
            <a:r>
              <a:rPr lang="ru-RU" sz="1400" dirty="0">
                <a:solidFill>
                  <a:schemeClr val="bg1"/>
                </a:solidFill>
                <a:latin typeface="Montserrat" pitchFamily="2" charset="-52"/>
              </a:rPr>
              <a:t> и на </a:t>
            </a:r>
            <a:r>
              <a:rPr lang="ru-RU" sz="1400" dirty="0" err="1">
                <a:solidFill>
                  <a:schemeClr val="bg1"/>
                </a:solidFill>
                <a:latin typeface="Montserrat" pitchFamily="2" charset="-52"/>
              </a:rPr>
              <a:t>език</a:t>
            </a:r>
            <a:r>
              <a:rPr lang="ru-RU" sz="1400" dirty="0">
                <a:solidFill>
                  <a:schemeClr val="bg1"/>
                </a:solidFill>
                <a:latin typeface="Montserrat" pitchFamily="2" charset="-52"/>
              </a:rPr>
              <a:t>, </a:t>
            </a:r>
            <a:r>
              <a:rPr lang="ru-RU" sz="1400" dirty="0" err="1">
                <a:solidFill>
                  <a:schemeClr val="bg1"/>
                </a:solidFill>
                <a:latin typeface="Montserrat" pitchFamily="2" charset="-52"/>
              </a:rPr>
              <a:t>приет</a:t>
            </a:r>
            <a:r>
              <a:rPr lang="ru-RU" sz="1400" dirty="0">
                <a:solidFill>
                  <a:schemeClr val="bg1"/>
                </a:solidFill>
                <a:latin typeface="Montserrat" pitchFamily="2" charset="-52"/>
              </a:rPr>
              <a:t> от </a:t>
            </a:r>
            <a:r>
              <a:rPr lang="ru-RU" sz="1400" dirty="0" err="1">
                <a:solidFill>
                  <a:schemeClr val="bg1"/>
                </a:solidFill>
                <a:latin typeface="Montserrat" pitchFamily="2" charset="-52"/>
              </a:rPr>
              <a:t>компетентния</a:t>
            </a:r>
            <a:r>
              <a:rPr lang="ru-RU" sz="1400" dirty="0">
                <a:solidFill>
                  <a:schemeClr val="bg1"/>
                </a:solidFill>
                <a:latin typeface="Montserrat" pitchFamily="2" charset="-52"/>
              </a:rPr>
              <a:t> орган на </a:t>
            </a:r>
            <a:r>
              <a:rPr lang="ru-RU" sz="1400" dirty="0" err="1">
                <a:solidFill>
                  <a:schemeClr val="bg1"/>
                </a:solidFill>
                <a:latin typeface="Montserrat" pitchFamily="2" charset="-52"/>
              </a:rPr>
              <a:t>тези</a:t>
            </a:r>
            <a:r>
              <a:rPr lang="ru-RU" sz="1400" dirty="0">
                <a:solidFill>
                  <a:schemeClr val="bg1"/>
                </a:solidFill>
                <a:latin typeface="Montserrat" pitchFamily="2" charset="-52"/>
              </a:rPr>
              <a:t> </a:t>
            </a:r>
            <a:r>
              <a:rPr lang="ru-RU" sz="1400" dirty="0" err="1">
                <a:solidFill>
                  <a:schemeClr val="bg1"/>
                </a:solidFill>
                <a:latin typeface="Montserrat" pitchFamily="2" charset="-52"/>
              </a:rPr>
              <a:t>държави</a:t>
            </a:r>
            <a:r>
              <a:rPr lang="ru-RU" sz="1400" dirty="0">
                <a:solidFill>
                  <a:schemeClr val="bg1"/>
                </a:solidFill>
                <a:latin typeface="Montserrat" pitchFamily="2" charset="-52"/>
              </a:rPr>
              <a:t>, или на </a:t>
            </a:r>
            <a:r>
              <a:rPr lang="ru-RU" sz="1400" dirty="0" err="1">
                <a:solidFill>
                  <a:schemeClr val="bg1"/>
                </a:solidFill>
                <a:latin typeface="Montserrat" pitchFamily="2" charset="-52"/>
              </a:rPr>
              <a:t>език</a:t>
            </a:r>
            <a:r>
              <a:rPr lang="ru-RU" sz="1400" dirty="0">
                <a:solidFill>
                  <a:schemeClr val="bg1"/>
                </a:solidFill>
                <a:latin typeface="Montserrat" pitchFamily="2" charset="-52"/>
              </a:rPr>
              <a:t>, </a:t>
            </a:r>
            <a:r>
              <a:rPr lang="ru-RU" sz="1400" dirty="0" err="1">
                <a:solidFill>
                  <a:schemeClr val="bg1"/>
                </a:solidFill>
                <a:latin typeface="Montserrat" pitchFamily="2" charset="-52"/>
              </a:rPr>
              <a:t>обичаен</a:t>
            </a:r>
            <a:r>
              <a:rPr lang="ru-RU" sz="1400" dirty="0">
                <a:solidFill>
                  <a:schemeClr val="bg1"/>
                </a:solidFill>
                <a:latin typeface="Montserrat" pitchFamily="2" charset="-52"/>
              </a:rPr>
              <a:t> в сферата на </a:t>
            </a:r>
            <a:r>
              <a:rPr lang="ru-RU" sz="1400" dirty="0" err="1">
                <a:solidFill>
                  <a:schemeClr val="bg1"/>
                </a:solidFill>
                <a:latin typeface="Montserrat" pitchFamily="2" charset="-52"/>
              </a:rPr>
              <a:t>международните</a:t>
            </a:r>
            <a:r>
              <a:rPr lang="ru-RU" sz="1400" dirty="0">
                <a:solidFill>
                  <a:schemeClr val="bg1"/>
                </a:solidFill>
                <a:latin typeface="Montserrat" pitchFamily="2" charset="-52"/>
              </a:rPr>
              <a:t> </a:t>
            </a:r>
            <a:r>
              <a:rPr lang="ru-RU" sz="1400" dirty="0" err="1">
                <a:solidFill>
                  <a:schemeClr val="bg1"/>
                </a:solidFill>
                <a:latin typeface="Montserrat" pitchFamily="2" charset="-52"/>
              </a:rPr>
              <a:t>финанси</a:t>
            </a:r>
            <a:r>
              <a:rPr lang="ru-RU" sz="1400" dirty="0">
                <a:solidFill>
                  <a:schemeClr val="bg1"/>
                </a:solidFill>
                <a:latin typeface="Montserrat" pitchFamily="2" charset="-52"/>
              </a:rPr>
              <a:t>, по </a:t>
            </a:r>
            <a:r>
              <a:rPr lang="ru-RU" sz="1400" dirty="0" err="1">
                <a:solidFill>
                  <a:schemeClr val="bg1"/>
                </a:solidFill>
                <a:latin typeface="Montserrat" pitchFamily="2" charset="-52"/>
              </a:rPr>
              <a:t>избор</a:t>
            </a:r>
            <a:r>
              <a:rPr lang="ru-RU" sz="1400" dirty="0">
                <a:solidFill>
                  <a:schemeClr val="bg1"/>
                </a:solidFill>
                <a:latin typeface="Montserrat" pitchFamily="2" charset="-52"/>
              </a:rPr>
              <a:t> на </a:t>
            </a:r>
            <a:r>
              <a:rPr lang="ru-RU" sz="1400" dirty="0" err="1">
                <a:solidFill>
                  <a:schemeClr val="bg1"/>
                </a:solidFill>
                <a:latin typeface="Montserrat" pitchFamily="2" charset="-52"/>
              </a:rPr>
              <a:t>емитента</a:t>
            </a:r>
            <a:r>
              <a:rPr lang="ru-RU" sz="1400" dirty="0">
                <a:solidFill>
                  <a:schemeClr val="bg1"/>
                </a:solidFill>
                <a:latin typeface="Montserrat" pitchFamily="2" charset="-52"/>
              </a:rPr>
              <a:t>.</a:t>
            </a:r>
          </a:p>
        </p:txBody>
      </p:sp>
      <p:sp>
        <p:nvSpPr>
          <p:cNvPr id="6" name="Rectangle 5"/>
          <p:cNvSpPr/>
          <p:nvPr/>
        </p:nvSpPr>
        <p:spPr>
          <a:xfrm>
            <a:off x="1858133" y="4708959"/>
            <a:ext cx="9744075" cy="1384995"/>
          </a:xfrm>
          <a:prstGeom prst="rect">
            <a:avLst/>
          </a:prstGeom>
        </p:spPr>
        <p:txBody>
          <a:bodyPr wrap="square">
            <a:spAutoFit/>
          </a:bodyPr>
          <a:lstStyle/>
          <a:p>
            <a:pPr algn="just"/>
            <a:r>
              <a:rPr lang="ru-RU" sz="1400" dirty="0" err="1">
                <a:solidFill>
                  <a:schemeClr val="bg1"/>
                </a:solidFill>
                <a:latin typeface="Montserrat" pitchFamily="2" charset="-52"/>
              </a:rPr>
              <a:t>Когато</a:t>
            </a:r>
            <a:r>
              <a:rPr lang="ru-RU" sz="1400" dirty="0">
                <a:solidFill>
                  <a:schemeClr val="bg1"/>
                </a:solidFill>
                <a:latin typeface="Montserrat" pitchFamily="2" charset="-52"/>
              </a:rPr>
              <a:t> </a:t>
            </a:r>
            <a:r>
              <a:rPr lang="ru-RU" sz="1400" dirty="0" err="1">
                <a:solidFill>
                  <a:schemeClr val="bg1"/>
                </a:solidFill>
                <a:latin typeface="Montserrat" pitchFamily="2" charset="-52"/>
              </a:rPr>
              <a:t>ценните</a:t>
            </a:r>
            <a:r>
              <a:rPr lang="ru-RU" sz="1400" dirty="0">
                <a:solidFill>
                  <a:schemeClr val="bg1"/>
                </a:solidFill>
                <a:latin typeface="Montserrat" pitchFamily="2" charset="-52"/>
              </a:rPr>
              <a:t> </a:t>
            </a:r>
            <a:r>
              <a:rPr lang="ru-RU" sz="1400" dirty="0" err="1">
                <a:solidFill>
                  <a:schemeClr val="bg1"/>
                </a:solidFill>
                <a:latin typeface="Montserrat" pitchFamily="2" charset="-52"/>
              </a:rPr>
              <a:t>книжа</a:t>
            </a:r>
            <a:r>
              <a:rPr lang="ru-RU" sz="1400" dirty="0">
                <a:solidFill>
                  <a:schemeClr val="bg1"/>
                </a:solidFill>
                <a:latin typeface="Montserrat" pitchFamily="2" charset="-52"/>
              </a:rPr>
              <a:t> </a:t>
            </a:r>
            <a:r>
              <a:rPr lang="ru-RU" sz="1400" dirty="0" err="1">
                <a:solidFill>
                  <a:schemeClr val="bg1"/>
                </a:solidFill>
                <a:latin typeface="Montserrat" pitchFamily="2" charset="-52"/>
              </a:rPr>
              <a:t>са</a:t>
            </a:r>
            <a:r>
              <a:rPr lang="ru-RU" sz="1400" dirty="0">
                <a:solidFill>
                  <a:schemeClr val="bg1"/>
                </a:solidFill>
                <a:latin typeface="Montserrat" pitchFamily="2" charset="-52"/>
              </a:rPr>
              <a:t> </a:t>
            </a:r>
            <a:r>
              <a:rPr lang="ru-RU" sz="1400" dirty="0" err="1">
                <a:solidFill>
                  <a:schemeClr val="bg1"/>
                </a:solidFill>
                <a:latin typeface="Montserrat" pitchFamily="2" charset="-52"/>
              </a:rPr>
              <a:t>допуснати</a:t>
            </a:r>
            <a:r>
              <a:rPr lang="ru-RU" sz="1400" dirty="0">
                <a:solidFill>
                  <a:schemeClr val="bg1"/>
                </a:solidFill>
                <a:latin typeface="Montserrat" pitchFamily="2" charset="-52"/>
              </a:rPr>
              <a:t> до </a:t>
            </a:r>
            <a:r>
              <a:rPr lang="ru-RU" sz="1400" dirty="0" err="1">
                <a:solidFill>
                  <a:schemeClr val="bg1"/>
                </a:solidFill>
                <a:latin typeface="Montserrat" pitchFamily="2" charset="-52"/>
              </a:rPr>
              <a:t>търговия</a:t>
            </a:r>
            <a:r>
              <a:rPr lang="ru-RU" sz="1400" dirty="0">
                <a:solidFill>
                  <a:schemeClr val="bg1"/>
                </a:solidFill>
                <a:latin typeface="Montserrat" pitchFamily="2" charset="-52"/>
              </a:rPr>
              <a:t> на </a:t>
            </a:r>
            <a:r>
              <a:rPr lang="ru-RU" sz="1400" dirty="0" err="1">
                <a:solidFill>
                  <a:schemeClr val="bg1"/>
                </a:solidFill>
                <a:latin typeface="Montserrat" pitchFamily="2" charset="-52"/>
              </a:rPr>
              <a:t>регулиран</a:t>
            </a:r>
            <a:r>
              <a:rPr lang="ru-RU" sz="1400" dirty="0">
                <a:solidFill>
                  <a:schemeClr val="bg1"/>
                </a:solidFill>
                <a:latin typeface="Montserrat" pitchFamily="2" charset="-52"/>
              </a:rPr>
              <a:t> </a:t>
            </a:r>
            <a:r>
              <a:rPr lang="ru-RU" sz="1400" dirty="0" err="1">
                <a:solidFill>
                  <a:schemeClr val="bg1"/>
                </a:solidFill>
                <a:latin typeface="Montserrat" pitchFamily="2" charset="-52"/>
              </a:rPr>
              <a:t>пазар</a:t>
            </a:r>
            <a:r>
              <a:rPr lang="ru-RU" sz="1400" dirty="0">
                <a:solidFill>
                  <a:schemeClr val="bg1"/>
                </a:solidFill>
                <a:latin typeface="Montserrat" pitchFamily="2" charset="-52"/>
              </a:rPr>
              <a:t> </a:t>
            </a:r>
            <a:r>
              <a:rPr lang="ru-RU" sz="1400" dirty="0" err="1">
                <a:solidFill>
                  <a:schemeClr val="bg1"/>
                </a:solidFill>
                <a:latin typeface="Montserrat" pitchFamily="2" charset="-52"/>
              </a:rPr>
              <a:t>едновременно</a:t>
            </a:r>
            <a:r>
              <a:rPr lang="ru-RU" sz="1400" dirty="0">
                <a:solidFill>
                  <a:schemeClr val="bg1"/>
                </a:solidFill>
                <a:latin typeface="Montserrat" pitchFamily="2" charset="-52"/>
              </a:rPr>
              <a:t> в </a:t>
            </a:r>
            <a:r>
              <a:rPr lang="ru-RU" sz="1400" dirty="0" err="1">
                <a:solidFill>
                  <a:schemeClr val="bg1"/>
                </a:solidFill>
                <a:latin typeface="Montserrat" pitchFamily="2" charset="-52"/>
              </a:rPr>
              <a:t>една</a:t>
            </a:r>
            <a:r>
              <a:rPr lang="ru-RU" sz="1400" dirty="0">
                <a:solidFill>
                  <a:schemeClr val="bg1"/>
                </a:solidFill>
                <a:latin typeface="Montserrat" pitchFamily="2" charset="-52"/>
              </a:rPr>
              <a:t> или </a:t>
            </a:r>
            <a:r>
              <a:rPr lang="ru-RU" sz="1400" dirty="0" err="1">
                <a:solidFill>
                  <a:schemeClr val="bg1"/>
                </a:solidFill>
                <a:latin typeface="Montserrat" pitchFamily="2" charset="-52"/>
              </a:rPr>
              <a:t>повече</a:t>
            </a:r>
            <a:r>
              <a:rPr lang="ru-RU" sz="1400" dirty="0">
                <a:solidFill>
                  <a:schemeClr val="bg1"/>
                </a:solidFill>
                <a:latin typeface="Montserrat" pitchFamily="2" charset="-52"/>
              </a:rPr>
              <a:t> </a:t>
            </a:r>
            <a:r>
              <a:rPr lang="ru-RU" sz="1400" dirty="0" err="1">
                <a:solidFill>
                  <a:schemeClr val="bg1"/>
                </a:solidFill>
                <a:latin typeface="Montserrat" pitchFamily="2" charset="-52"/>
              </a:rPr>
              <a:t>държави</a:t>
            </a:r>
            <a:r>
              <a:rPr lang="ru-RU" sz="1400" dirty="0">
                <a:solidFill>
                  <a:schemeClr val="bg1"/>
                </a:solidFill>
                <a:latin typeface="Montserrat" pitchFamily="2" charset="-52"/>
              </a:rPr>
              <a:t> </a:t>
            </a:r>
            <a:r>
              <a:rPr lang="ru-RU" sz="1400" dirty="0" err="1">
                <a:solidFill>
                  <a:schemeClr val="bg1"/>
                </a:solidFill>
                <a:latin typeface="Montserrat" pitchFamily="2" charset="-52"/>
              </a:rPr>
              <a:t>членки</a:t>
            </a:r>
            <a:r>
              <a:rPr lang="ru-RU" sz="1400" dirty="0">
                <a:solidFill>
                  <a:schemeClr val="bg1"/>
                </a:solidFill>
                <a:latin typeface="Montserrat" pitchFamily="2" charset="-52"/>
              </a:rPr>
              <a:t>, с </a:t>
            </a:r>
            <a:r>
              <a:rPr lang="ru-RU" sz="1400" dirty="0" err="1">
                <a:solidFill>
                  <a:schemeClr val="bg1"/>
                </a:solidFill>
                <a:latin typeface="Montserrat" pitchFamily="2" charset="-52"/>
              </a:rPr>
              <a:t>изключение</a:t>
            </a:r>
            <a:r>
              <a:rPr lang="ru-RU" sz="1400" dirty="0">
                <a:solidFill>
                  <a:schemeClr val="bg1"/>
                </a:solidFill>
                <a:latin typeface="Montserrat" pitchFamily="2" charset="-52"/>
              </a:rPr>
              <a:t> на </a:t>
            </a:r>
            <a:r>
              <a:rPr lang="ru-RU" sz="1400" dirty="0" err="1">
                <a:solidFill>
                  <a:schemeClr val="bg1"/>
                </a:solidFill>
                <a:latin typeface="Montserrat" pitchFamily="2" charset="-52"/>
              </a:rPr>
              <a:t>Република</a:t>
            </a:r>
            <a:r>
              <a:rPr lang="ru-RU" sz="1400" dirty="0">
                <a:solidFill>
                  <a:schemeClr val="bg1"/>
                </a:solidFill>
                <a:latin typeface="Montserrat" pitchFamily="2" charset="-52"/>
              </a:rPr>
              <a:t> България, и </a:t>
            </a:r>
            <a:r>
              <a:rPr lang="ru-RU" sz="1400" dirty="0" err="1">
                <a:solidFill>
                  <a:schemeClr val="bg1"/>
                </a:solidFill>
                <a:latin typeface="Montserrat" pitchFamily="2" charset="-52"/>
              </a:rPr>
              <a:t>Република</a:t>
            </a:r>
            <a:r>
              <a:rPr lang="ru-RU" sz="1400" dirty="0">
                <a:solidFill>
                  <a:schemeClr val="bg1"/>
                </a:solidFill>
                <a:latin typeface="Montserrat" pitchFamily="2" charset="-52"/>
              </a:rPr>
              <a:t> България е </a:t>
            </a:r>
            <a:r>
              <a:rPr lang="ru-RU" sz="1400" dirty="0" err="1">
                <a:solidFill>
                  <a:schemeClr val="bg1"/>
                </a:solidFill>
                <a:latin typeface="Montserrat" pitchFamily="2" charset="-52"/>
              </a:rPr>
              <a:t>държавата</a:t>
            </a:r>
            <a:r>
              <a:rPr lang="ru-RU" sz="1400" dirty="0">
                <a:solidFill>
                  <a:schemeClr val="bg1"/>
                </a:solidFill>
                <a:latin typeface="Montserrat" pitchFamily="2" charset="-52"/>
              </a:rPr>
              <a:t> </a:t>
            </a:r>
            <a:r>
              <a:rPr lang="ru-RU" sz="1400" dirty="0" err="1">
                <a:solidFill>
                  <a:schemeClr val="bg1"/>
                </a:solidFill>
                <a:latin typeface="Montserrat" pitchFamily="2" charset="-52"/>
              </a:rPr>
              <a:t>членка</a:t>
            </a:r>
            <a:r>
              <a:rPr lang="ru-RU" sz="1400" dirty="0">
                <a:solidFill>
                  <a:schemeClr val="bg1"/>
                </a:solidFill>
                <a:latin typeface="Montserrat" pitchFamily="2" charset="-52"/>
              </a:rPr>
              <a:t> по </a:t>
            </a:r>
            <a:r>
              <a:rPr lang="ru-RU" sz="1400" dirty="0" err="1">
                <a:solidFill>
                  <a:schemeClr val="bg1"/>
                </a:solidFill>
                <a:latin typeface="Montserrat" pitchFamily="2" charset="-52"/>
              </a:rPr>
              <a:t>произход</a:t>
            </a:r>
            <a:r>
              <a:rPr lang="ru-RU" sz="1400" dirty="0">
                <a:solidFill>
                  <a:schemeClr val="bg1"/>
                </a:solidFill>
                <a:latin typeface="Montserrat" pitchFamily="2" charset="-52"/>
              </a:rPr>
              <a:t>, </a:t>
            </a:r>
            <a:r>
              <a:rPr lang="ru-RU" sz="1400" dirty="0" err="1">
                <a:solidFill>
                  <a:schemeClr val="bg1"/>
                </a:solidFill>
                <a:latin typeface="Montserrat" pitchFamily="2" charset="-52"/>
              </a:rPr>
              <a:t>регулираната</a:t>
            </a:r>
            <a:r>
              <a:rPr lang="ru-RU" sz="1400" dirty="0">
                <a:solidFill>
                  <a:schemeClr val="bg1"/>
                </a:solidFill>
                <a:latin typeface="Montserrat" pitchFamily="2" charset="-52"/>
              </a:rPr>
              <a:t> информация се </a:t>
            </a:r>
            <a:r>
              <a:rPr lang="ru-RU" sz="1400" dirty="0" err="1">
                <a:solidFill>
                  <a:schemeClr val="bg1"/>
                </a:solidFill>
                <a:latin typeface="Montserrat" pitchFamily="2" charset="-52"/>
              </a:rPr>
              <a:t>разкрива</a:t>
            </a:r>
            <a:r>
              <a:rPr lang="ru-RU" sz="1400" dirty="0">
                <a:solidFill>
                  <a:schemeClr val="bg1"/>
                </a:solidFill>
                <a:latin typeface="Montserrat" pitchFamily="2" charset="-52"/>
              </a:rPr>
              <a:t> на </a:t>
            </a:r>
            <a:r>
              <a:rPr lang="ru-RU" sz="1400" dirty="0" err="1">
                <a:solidFill>
                  <a:schemeClr val="bg1"/>
                </a:solidFill>
                <a:latin typeface="Montserrat" pitchFamily="2" charset="-52"/>
              </a:rPr>
              <a:t>език</a:t>
            </a:r>
            <a:r>
              <a:rPr lang="ru-RU" sz="1400" dirty="0">
                <a:solidFill>
                  <a:schemeClr val="bg1"/>
                </a:solidFill>
                <a:latin typeface="Montserrat" pitchFamily="2" charset="-52"/>
              </a:rPr>
              <a:t>, </a:t>
            </a:r>
            <a:r>
              <a:rPr lang="ru-RU" sz="1400" dirty="0" err="1">
                <a:solidFill>
                  <a:schemeClr val="bg1"/>
                </a:solidFill>
                <a:latin typeface="Montserrat" pitchFamily="2" charset="-52"/>
              </a:rPr>
              <a:t>приет</a:t>
            </a:r>
            <a:r>
              <a:rPr lang="ru-RU" sz="1400" dirty="0">
                <a:solidFill>
                  <a:schemeClr val="bg1"/>
                </a:solidFill>
                <a:latin typeface="Montserrat" pitchFamily="2" charset="-52"/>
              </a:rPr>
              <a:t> от </a:t>
            </a:r>
            <a:r>
              <a:rPr lang="ru-RU" sz="1400" dirty="0" err="1">
                <a:solidFill>
                  <a:schemeClr val="bg1"/>
                </a:solidFill>
                <a:latin typeface="Montserrat" pitchFamily="2" charset="-52"/>
              </a:rPr>
              <a:t>компетентните</a:t>
            </a:r>
            <a:r>
              <a:rPr lang="ru-RU" sz="1400" dirty="0">
                <a:solidFill>
                  <a:schemeClr val="bg1"/>
                </a:solidFill>
                <a:latin typeface="Montserrat" pitchFamily="2" charset="-52"/>
              </a:rPr>
              <a:t> </a:t>
            </a:r>
            <a:r>
              <a:rPr lang="ru-RU" sz="1400" dirty="0" err="1">
                <a:solidFill>
                  <a:schemeClr val="bg1"/>
                </a:solidFill>
                <a:latin typeface="Montserrat" pitchFamily="2" charset="-52"/>
              </a:rPr>
              <a:t>органи</a:t>
            </a:r>
            <a:r>
              <a:rPr lang="ru-RU" sz="1400" dirty="0">
                <a:solidFill>
                  <a:schemeClr val="bg1"/>
                </a:solidFill>
                <a:latin typeface="Montserrat" pitchFamily="2" charset="-52"/>
              </a:rPr>
              <a:t> на </a:t>
            </a:r>
            <a:r>
              <a:rPr lang="ru-RU" sz="1400" dirty="0" err="1">
                <a:solidFill>
                  <a:schemeClr val="bg1"/>
                </a:solidFill>
                <a:latin typeface="Montserrat" pitchFamily="2" charset="-52"/>
              </a:rPr>
              <a:t>тези</a:t>
            </a:r>
            <a:r>
              <a:rPr lang="ru-RU" sz="1400" dirty="0">
                <a:solidFill>
                  <a:schemeClr val="bg1"/>
                </a:solidFill>
                <a:latin typeface="Montserrat" pitchFamily="2" charset="-52"/>
              </a:rPr>
              <a:t>  </a:t>
            </a:r>
            <a:r>
              <a:rPr lang="ru-RU" sz="1400" dirty="0" err="1">
                <a:solidFill>
                  <a:schemeClr val="bg1"/>
                </a:solidFill>
                <a:latin typeface="Montserrat" pitchFamily="2" charset="-52"/>
              </a:rPr>
              <a:t>държави</a:t>
            </a:r>
            <a:r>
              <a:rPr lang="ru-RU" sz="1400" dirty="0">
                <a:solidFill>
                  <a:schemeClr val="bg1"/>
                </a:solidFill>
                <a:latin typeface="Montserrat" pitchFamily="2" charset="-52"/>
              </a:rPr>
              <a:t> </a:t>
            </a:r>
            <a:r>
              <a:rPr lang="ru-RU" sz="1400" dirty="0" err="1">
                <a:solidFill>
                  <a:schemeClr val="bg1"/>
                </a:solidFill>
                <a:latin typeface="Montserrat" pitchFamily="2" charset="-52"/>
              </a:rPr>
              <a:t>членки</a:t>
            </a:r>
            <a:r>
              <a:rPr lang="ru-RU" sz="1400" dirty="0">
                <a:solidFill>
                  <a:schemeClr val="bg1"/>
                </a:solidFill>
                <a:latin typeface="Montserrat" pitchFamily="2" charset="-52"/>
              </a:rPr>
              <a:t>, или на </a:t>
            </a:r>
            <a:r>
              <a:rPr lang="ru-RU" sz="1400" dirty="0" err="1">
                <a:solidFill>
                  <a:schemeClr val="bg1"/>
                </a:solidFill>
                <a:latin typeface="Montserrat" pitchFamily="2" charset="-52"/>
              </a:rPr>
              <a:t>език</a:t>
            </a:r>
            <a:r>
              <a:rPr lang="ru-RU" sz="1400" dirty="0">
                <a:solidFill>
                  <a:schemeClr val="bg1"/>
                </a:solidFill>
                <a:latin typeface="Montserrat" pitchFamily="2" charset="-52"/>
              </a:rPr>
              <a:t>, </a:t>
            </a:r>
            <a:r>
              <a:rPr lang="ru-RU" sz="1400" dirty="0" err="1">
                <a:solidFill>
                  <a:schemeClr val="bg1"/>
                </a:solidFill>
                <a:latin typeface="Montserrat" pitchFamily="2" charset="-52"/>
              </a:rPr>
              <a:t>който</a:t>
            </a:r>
            <a:r>
              <a:rPr lang="ru-RU" sz="1400" dirty="0">
                <a:solidFill>
                  <a:schemeClr val="bg1"/>
                </a:solidFill>
                <a:latin typeface="Montserrat" pitchFamily="2" charset="-52"/>
              </a:rPr>
              <a:t> е </a:t>
            </a:r>
            <a:r>
              <a:rPr lang="ru-RU" sz="1400" dirty="0" err="1">
                <a:solidFill>
                  <a:schemeClr val="bg1"/>
                </a:solidFill>
                <a:latin typeface="Montserrat" pitchFamily="2" charset="-52"/>
              </a:rPr>
              <a:t>обичаен</a:t>
            </a:r>
            <a:r>
              <a:rPr lang="ru-RU" sz="1400" dirty="0">
                <a:solidFill>
                  <a:schemeClr val="bg1"/>
                </a:solidFill>
                <a:latin typeface="Montserrat" pitchFamily="2" charset="-52"/>
              </a:rPr>
              <a:t> в сферата на </a:t>
            </a:r>
            <a:r>
              <a:rPr lang="ru-RU" sz="1400" dirty="0" err="1">
                <a:solidFill>
                  <a:schemeClr val="bg1"/>
                </a:solidFill>
                <a:latin typeface="Montserrat" pitchFamily="2" charset="-52"/>
              </a:rPr>
              <a:t>международните</a:t>
            </a:r>
            <a:r>
              <a:rPr lang="ru-RU" sz="1400" dirty="0">
                <a:solidFill>
                  <a:schemeClr val="bg1"/>
                </a:solidFill>
                <a:latin typeface="Montserrat" pitchFamily="2" charset="-52"/>
              </a:rPr>
              <a:t> </a:t>
            </a:r>
            <a:r>
              <a:rPr lang="ru-RU" sz="1400" dirty="0" err="1">
                <a:solidFill>
                  <a:schemeClr val="bg1"/>
                </a:solidFill>
                <a:latin typeface="Montserrat" pitchFamily="2" charset="-52"/>
              </a:rPr>
              <a:t>финанси</a:t>
            </a:r>
            <a:r>
              <a:rPr lang="ru-RU" sz="1400" dirty="0">
                <a:solidFill>
                  <a:schemeClr val="bg1"/>
                </a:solidFill>
                <a:latin typeface="Montserrat" pitchFamily="2" charset="-52"/>
              </a:rPr>
              <a:t>, по </a:t>
            </a:r>
            <a:r>
              <a:rPr lang="ru-RU" sz="1400" dirty="0" err="1">
                <a:solidFill>
                  <a:schemeClr val="bg1"/>
                </a:solidFill>
                <a:latin typeface="Montserrat" pitchFamily="2" charset="-52"/>
              </a:rPr>
              <a:t>избор</a:t>
            </a:r>
            <a:r>
              <a:rPr lang="ru-RU" sz="1400" dirty="0">
                <a:solidFill>
                  <a:schemeClr val="bg1"/>
                </a:solidFill>
                <a:latin typeface="Montserrat" pitchFamily="2" charset="-52"/>
              </a:rPr>
              <a:t> на </a:t>
            </a:r>
            <a:r>
              <a:rPr lang="ru-RU" sz="1400" dirty="0" err="1">
                <a:solidFill>
                  <a:schemeClr val="bg1"/>
                </a:solidFill>
                <a:latin typeface="Montserrat" pitchFamily="2" charset="-52"/>
              </a:rPr>
              <a:t>емитента</a:t>
            </a:r>
            <a:r>
              <a:rPr lang="ru-RU" sz="1400" dirty="0">
                <a:solidFill>
                  <a:schemeClr val="bg1"/>
                </a:solidFill>
                <a:latin typeface="Montserrat" pitchFamily="2" charset="-52"/>
              </a:rPr>
              <a:t>. За целите на </a:t>
            </a:r>
            <a:r>
              <a:rPr lang="ru-RU" sz="1400" dirty="0" err="1">
                <a:solidFill>
                  <a:schemeClr val="bg1"/>
                </a:solidFill>
                <a:latin typeface="Montserrat" pitchFamily="2" charset="-52"/>
              </a:rPr>
              <a:t>осъществяване</a:t>
            </a:r>
            <a:r>
              <a:rPr lang="ru-RU" sz="1400" dirty="0">
                <a:solidFill>
                  <a:schemeClr val="bg1"/>
                </a:solidFill>
                <a:latin typeface="Montserrat" pitchFamily="2" charset="-52"/>
              </a:rPr>
              <a:t> на </a:t>
            </a:r>
            <a:r>
              <a:rPr lang="ru-RU" sz="1400" dirty="0" err="1">
                <a:solidFill>
                  <a:schemeClr val="bg1"/>
                </a:solidFill>
                <a:latin typeface="Montserrat" pitchFamily="2" charset="-52"/>
              </a:rPr>
              <a:t>надзорните</a:t>
            </a:r>
            <a:r>
              <a:rPr lang="ru-RU" sz="1400" dirty="0">
                <a:solidFill>
                  <a:schemeClr val="bg1"/>
                </a:solidFill>
                <a:latin typeface="Montserrat" pitchFamily="2" charset="-52"/>
              </a:rPr>
              <a:t> функции на  </a:t>
            </a:r>
            <a:r>
              <a:rPr lang="ru-RU" sz="1400" dirty="0" err="1">
                <a:solidFill>
                  <a:schemeClr val="bg1"/>
                </a:solidFill>
                <a:latin typeface="Montserrat" pitchFamily="2" charset="-52"/>
              </a:rPr>
              <a:t>комисията</a:t>
            </a:r>
            <a:r>
              <a:rPr lang="ru-RU" sz="1400" dirty="0">
                <a:solidFill>
                  <a:schemeClr val="bg1"/>
                </a:solidFill>
                <a:latin typeface="Montserrat" pitchFamily="2" charset="-52"/>
              </a:rPr>
              <a:t> </a:t>
            </a:r>
            <a:r>
              <a:rPr lang="ru-RU" sz="1400" dirty="0" err="1">
                <a:solidFill>
                  <a:schemeClr val="bg1"/>
                </a:solidFill>
                <a:latin typeface="Montserrat" pitchFamily="2" charset="-52"/>
              </a:rPr>
              <a:t>информацията</a:t>
            </a:r>
            <a:r>
              <a:rPr lang="ru-RU" sz="1400" dirty="0">
                <a:solidFill>
                  <a:schemeClr val="bg1"/>
                </a:solidFill>
                <a:latin typeface="Montserrat" pitchFamily="2" charset="-52"/>
              </a:rPr>
              <a:t> се </a:t>
            </a:r>
            <a:r>
              <a:rPr lang="ru-RU" sz="1400" dirty="0" err="1">
                <a:solidFill>
                  <a:schemeClr val="bg1"/>
                </a:solidFill>
                <a:latin typeface="Montserrat" pitchFamily="2" charset="-52"/>
              </a:rPr>
              <a:t>разкрива</a:t>
            </a:r>
            <a:r>
              <a:rPr lang="ru-RU" sz="1400" dirty="0">
                <a:solidFill>
                  <a:schemeClr val="bg1"/>
                </a:solidFill>
                <a:latin typeface="Montserrat" pitchFamily="2" charset="-52"/>
              </a:rPr>
              <a:t> и на </a:t>
            </a:r>
            <a:r>
              <a:rPr lang="ru-RU" sz="1400" dirty="0" err="1">
                <a:solidFill>
                  <a:schemeClr val="bg1"/>
                </a:solidFill>
                <a:latin typeface="Montserrat" pitchFamily="2" charset="-52"/>
              </a:rPr>
              <a:t>български</a:t>
            </a:r>
            <a:r>
              <a:rPr lang="ru-RU" sz="1400" dirty="0">
                <a:solidFill>
                  <a:schemeClr val="bg1"/>
                </a:solidFill>
                <a:latin typeface="Montserrat" pitchFamily="2" charset="-52"/>
              </a:rPr>
              <a:t> </a:t>
            </a:r>
            <a:r>
              <a:rPr lang="ru-RU" sz="1400" dirty="0" err="1">
                <a:solidFill>
                  <a:schemeClr val="bg1"/>
                </a:solidFill>
                <a:latin typeface="Montserrat" pitchFamily="2" charset="-52"/>
              </a:rPr>
              <a:t>език</a:t>
            </a:r>
            <a:r>
              <a:rPr lang="ru-RU" sz="1400" dirty="0">
                <a:solidFill>
                  <a:schemeClr val="bg1"/>
                </a:solidFill>
                <a:latin typeface="Montserrat" pitchFamily="2" charset="-52"/>
              </a:rPr>
              <a:t> или на </a:t>
            </a:r>
            <a:r>
              <a:rPr lang="ru-RU" sz="1400" dirty="0" err="1">
                <a:solidFill>
                  <a:schemeClr val="bg1"/>
                </a:solidFill>
                <a:latin typeface="Montserrat" pitchFamily="2" charset="-52"/>
              </a:rPr>
              <a:t>английски</a:t>
            </a:r>
            <a:r>
              <a:rPr lang="ru-RU" sz="1400" dirty="0">
                <a:solidFill>
                  <a:schemeClr val="bg1"/>
                </a:solidFill>
                <a:latin typeface="Montserrat" pitchFamily="2" charset="-52"/>
              </a:rPr>
              <a:t> </a:t>
            </a:r>
            <a:r>
              <a:rPr lang="ru-RU" sz="1400" dirty="0" err="1">
                <a:solidFill>
                  <a:schemeClr val="bg1"/>
                </a:solidFill>
                <a:latin typeface="Montserrat" pitchFamily="2" charset="-52"/>
              </a:rPr>
              <a:t>език</a:t>
            </a:r>
            <a:r>
              <a:rPr lang="ru-RU" sz="1400" dirty="0">
                <a:solidFill>
                  <a:schemeClr val="bg1"/>
                </a:solidFill>
                <a:latin typeface="Montserrat" pitchFamily="2" charset="-52"/>
              </a:rPr>
              <a:t>, по </a:t>
            </a:r>
            <a:r>
              <a:rPr lang="ru-RU" sz="1400" dirty="0" err="1">
                <a:solidFill>
                  <a:schemeClr val="bg1"/>
                </a:solidFill>
                <a:latin typeface="Montserrat" pitchFamily="2" charset="-52"/>
              </a:rPr>
              <a:t>избор</a:t>
            </a:r>
            <a:r>
              <a:rPr lang="ru-RU" sz="1400" dirty="0">
                <a:solidFill>
                  <a:schemeClr val="bg1"/>
                </a:solidFill>
                <a:latin typeface="Montserrat" pitchFamily="2" charset="-52"/>
              </a:rPr>
              <a:t> на </a:t>
            </a:r>
            <a:r>
              <a:rPr lang="ru-RU" sz="1400" dirty="0" err="1">
                <a:solidFill>
                  <a:schemeClr val="bg1"/>
                </a:solidFill>
                <a:latin typeface="Montserrat" pitchFamily="2" charset="-52"/>
              </a:rPr>
              <a:t>емитента</a:t>
            </a:r>
            <a:r>
              <a:rPr lang="ru-RU" sz="1400" dirty="0">
                <a:solidFill>
                  <a:schemeClr val="bg1"/>
                </a:solidFill>
                <a:latin typeface="Montserrat" pitchFamily="2" charset="-52"/>
              </a:rPr>
              <a:t>.</a:t>
            </a:r>
            <a:endParaRPr lang="bg-BG" sz="1400" dirty="0">
              <a:solidFill>
                <a:schemeClr val="bg1"/>
              </a:solidFill>
              <a:latin typeface="Montserrat" pitchFamily="2" charset="-52"/>
            </a:endParaRPr>
          </a:p>
        </p:txBody>
      </p:sp>
      <p:sp>
        <p:nvSpPr>
          <p:cNvPr id="2" name="Rectangle 1"/>
          <p:cNvSpPr/>
          <p:nvPr/>
        </p:nvSpPr>
        <p:spPr>
          <a:xfrm>
            <a:off x="1684607" y="1911578"/>
            <a:ext cx="5733316" cy="954107"/>
          </a:xfrm>
          <a:prstGeom prst="rect">
            <a:avLst/>
          </a:prstGeom>
        </p:spPr>
        <p:txBody>
          <a:bodyPr wrap="square">
            <a:spAutoFit/>
          </a:bodyPr>
          <a:lstStyle/>
          <a:p>
            <a:pPr algn="just"/>
            <a:r>
              <a:rPr lang="ru-RU" sz="1400" dirty="0" err="1">
                <a:solidFill>
                  <a:schemeClr val="bg1"/>
                </a:solidFill>
                <a:latin typeface="Montserrat" pitchFamily="2" charset="-52"/>
              </a:rPr>
              <a:t>Когато</a:t>
            </a:r>
            <a:r>
              <a:rPr lang="ru-RU" sz="1400" dirty="0">
                <a:solidFill>
                  <a:schemeClr val="bg1"/>
                </a:solidFill>
                <a:latin typeface="Montserrat" pitchFamily="2" charset="-52"/>
              </a:rPr>
              <a:t> </a:t>
            </a:r>
            <a:r>
              <a:rPr lang="ru-RU" sz="1400" dirty="0" err="1">
                <a:solidFill>
                  <a:schemeClr val="bg1"/>
                </a:solidFill>
                <a:latin typeface="Montserrat" pitchFamily="2" charset="-52"/>
              </a:rPr>
              <a:t>ценните</a:t>
            </a:r>
            <a:r>
              <a:rPr lang="ru-RU" sz="1400" dirty="0">
                <a:solidFill>
                  <a:schemeClr val="bg1"/>
                </a:solidFill>
                <a:latin typeface="Montserrat" pitchFamily="2" charset="-52"/>
              </a:rPr>
              <a:t> </a:t>
            </a:r>
            <a:r>
              <a:rPr lang="ru-RU" sz="1400" dirty="0" err="1">
                <a:solidFill>
                  <a:schemeClr val="bg1"/>
                </a:solidFill>
                <a:latin typeface="Montserrat" pitchFamily="2" charset="-52"/>
              </a:rPr>
              <a:t>книжа</a:t>
            </a:r>
            <a:r>
              <a:rPr lang="ru-RU" sz="1400" dirty="0">
                <a:solidFill>
                  <a:schemeClr val="bg1"/>
                </a:solidFill>
                <a:latin typeface="Montserrat" pitchFamily="2" charset="-52"/>
              </a:rPr>
              <a:t> </a:t>
            </a:r>
            <a:r>
              <a:rPr lang="ru-RU" sz="1400" dirty="0" err="1">
                <a:solidFill>
                  <a:schemeClr val="bg1"/>
                </a:solidFill>
                <a:latin typeface="Montserrat" pitchFamily="2" charset="-52"/>
              </a:rPr>
              <a:t>са</a:t>
            </a:r>
            <a:r>
              <a:rPr lang="ru-RU" sz="1400" dirty="0">
                <a:solidFill>
                  <a:schemeClr val="bg1"/>
                </a:solidFill>
                <a:latin typeface="Montserrat" pitchFamily="2" charset="-52"/>
              </a:rPr>
              <a:t> </a:t>
            </a:r>
            <a:r>
              <a:rPr lang="ru-RU" sz="1400" dirty="0" err="1">
                <a:solidFill>
                  <a:schemeClr val="bg1"/>
                </a:solidFill>
                <a:latin typeface="Montserrat" pitchFamily="2" charset="-52"/>
              </a:rPr>
              <a:t>допуснати</a:t>
            </a:r>
            <a:r>
              <a:rPr lang="ru-RU" sz="1400" dirty="0">
                <a:solidFill>
                  <a:schemeClr val="bg1"/>
                </a:solidFill>
                <a:latin typeface="Montserrat" pitchFamily="2" charset="-52"/>
              </a:rPr>
              <a:t> до </a:t>
            </a:r>
            <a:r>
              <a:rPr lang="ru-RU" sz="1400" dirty="0" err="1">
                <a:solidFill>
                  <a:schemeClr val="bg1"/>
                </a:solidFill>
                <a:latin typeface="Montserrat" pitchFamily="2" charset="-52"/>
              </a:rPr>
              <a:t>търговия</a:t>
            </a:r>
            <a:r>
              <a:rPr lang="ru-RU" sz="1400" dirty="0">
                <a:solidFill>
                  <a:schemeClr val="bg1"/>
                </a:solidFill>
                <a:latin typeface="Montserrat" pitchFamily="2" charset="-52"/>
              </a:rPr>
              <a:t> на </a:t>
            </a:r>
            <a:r>
              <a:rPr lang="ru-RU" sz="1400" dirty="0" err="1">
                <a:solidFill>
                  <a:schemeClr val="bg1"/>
                </a:solidFill>
                <a:latin typeface="Montserrat" pitchFamily="2" charset="-52"/>
              </a:rPr>
              <a:t>регулиран</a:t>
            </a:r>
            <a:r>
              <a:rPr lang="ru-RU" sz="1400" dirty="0">
                <a:solidFill>
                  <a:schemeClr val="bg1"/>
                </a:solidFill>
                <a:latin typeface="Montserrat" pitchFamily="2" charset="-52"/>
              </a:rPr>
              <a:t> </a:t>
            </a:r>
            <a:r>
              <a:rPr lang="ru-RU" sz="1400" dirty="0" err="1">
                <a:solidFill>
                  <a:schemeClr val="bg1"/>
                </a:solidFill>
                <a:latin typeface="Montserrat" pitchFamily="2" charset="-52"/>
              </a:rPr>
              <a:t>пазар</a:t>
            </a:r>
            <a:r>
              <a:rPr lang="ru-RU" sz="1400" dirty="0">
                <a:solidFill>
                  <a:schemeClr val="bg1"/>
                </a:solidFill>
                <a:latin typeface="Montserrat" pitchFamily="2" charset="-52"/>
              </a:rPr>
              <a:t> </a:t>
            </a:r>
            <a:r>
              <a:rPr lang="ru-RU" sz="1400" dirty="0" err="1">
                <a:solidFill>
                  <a:schemeClr val="bg1"/>
                </a:solidFill>
                <a:latin typeface="Montserrat" pitchFamily="2" charset="-52"/>
              </a:rPr>
              <a:t>единствено</a:t>
            </a:r>
            <a:r>
              <a:rPr lang="ru-RU" sz="1400" dirty="0">
                <a:solidFill>
                  <a:schemeClr val="bg1"/>
                </a:solidFill>
                <a:latin typeface="Montserrat" pitchFamily="2" charset="-52"/>
              </a:rPr>
              <a:t> в </a:t>
            </a:r>
            <a:r>
              <a:rPr lang="ru-RU" sz="1400" dirty="0" err="1">
                <a:solidFill>
                  <a:schemeClr val="bg1"/>
                </a:solidFill>
                <a:latin typeface="Montserrat" pitchFamily="2" charset="-52"/>
              </a:rPr>
              <a:t>Република</a:t>
            </a:r>
            <a:r>
              <a:rPr lang="ru-RU" sz="1400" dirty="0">
                <a:solidFill>
                  <a:schemeClr val="bg1"/>
                </a:solidFill>
                <a:latin typeface="Montserrat" pitchFamily="2" charset="-52"/>
              </a:rPr>
              <a:t> България и </a:t>
            </a:r>
            <a:r>
              <a:rPr lang="ru-RU" sz="1400" dirty="0" err="1">
                <a:solidFill>
                  <a:schemeClr val="bg1"/>
                </a:solidFill>
                <a:latin typeface="Montserrat" pitchFamily="2" charset="-52"/>
              </a:rPr>
              <a:t>Република</a:t>
            </a:r>
            <a:r>
              <a:rPr lang="ru-RU" sz="1400" dirty="0">
                <a:solidFill>
                  <a:schemeClr val="bg1"/>
                </a:solidFill>
                <a:latin typeface="Montserrat" pitchFamily="2" charset="-52"/>
              </a:rPr>
              <a:t> България е </a:t>
            </a:r>
            <a:r>
              <a:rPr lang="ru-RU" sz="1400" dirty="0" err="1">
                <a:solidFill>
                  <a:schemeClr val="bg1"/>
                </a:solidFill>
                <a:latin typeface="Montserrat" pitchFamily="2" charset="-52"/>
              </a:rPr>
              <a:t>държавата</a:t>
            </a:r>
            <a:r>
              <a:rPr lang="ru-RU" sz="1400" dirty="0">
                <a:solidFill>
                  <a:schemeClr val="bg1"/>
                </a:solidFill>
                <a:latin typeface="Montserrat" pitchFamily="2" charset="-52"/>
              </a:rPr>
              <a:t> </a:t>
            </a:r>
            <a:r>
              <a:rPr lang="ru-RU" sz="1400" dirty="0" err="1">
                <a:solidFill>
                  <a:schemeClr val="bg1"/>
                </a:solidFill>
                <a:latin typeface="Montserrat" pitchFamily="2" charset="-52"/>
              </a:rPr>
              <a:t>членка</a:t>
            </a:r>
            <a:r>
              <a:rPr lang="ru-RU" sz="1400" dirty="0">
                <a:solidFill>
                  <a:schemeClr val="bg1"/>
                </a:solidFill>
                <a:latin typeface="Montserrat" pitchFamily="2" charset="-52"/>
              </a:rPr>
              <a:t> по </a:t>
            </a:r>
            <a:r>
              <a:rPr lang="ru-RU" sz="1400" dirty="0" err="1">
                <a:solidFill>
                  <a:schemeClr val="bg1"/>
                </a:solidFill>
                <a:latin typeface="Montserrat" pitchFamily="2" charset="-52"/>
              </a:rPr>
              <a:t>произход</a:t>
            </a:r>
            <a:r>
              <a:rPr lang="ru-RU" sz="1400" dirty="0">
                <a:solidFill>
                  <a:schemeClr val="bg1"/>
                </a:solidFill>
                <a:latin typeface="Montserrat" pitchFamily="2" charset="-52"/>
              </a:rPr>
              <a:t>, </a:t>
            </a:r>
            <a:r>
              <a:rPr lang="ru-RU" sz="1400" dirty="0" err="1">
                <a:solidFill>
                  <a:schemeClr val="bg1"/>
                </a:solidFill>
                <a:latin typeface="Montserrat" pitchFamily="2" charset="-52"/>
              </a:rPr>
              <a:t>регулираната</a:t>
            </a:r>
            <a:r>
              <a:rPr lang="ru-RU" sz="1400" dirty="0">
                <a:solidFill>
                  <a:schemeClr val="bg1"/>
                </a:solidFill>
                <a:latin typeface="Montserrat" pitchFamily="2" charset="-52"/>
              </a:rPr>
              <a:t> информация се </a:t>
            </a:r>
            <a:r>
              <a:rPr lang="ru-RU" sz="1400" dirty="0" err="1">
                <a:solidFill>
                  <a:schemeClr val="bg1"/>
                </a:solidFill>
                <a:latin typeface="Montserrat" pitchFamily="2" charset="-52"/>
              </a:rPr>
              <a:t>разкрива</a:t>
            </a:r>
            <a:r>
              <a:rPr lang="ru-RU" sz="1400" dirty="0">
                <a:solidFill>
                  <a:schemeClr val="bg1"/>
                </a:solidFill>
                <a:latin typeface="Montserrat" pitchFamily="2" charset="-52"/>
              </a:rPr>
              <a:t> на </a:t>
            </a:r>
            <a:r>
              <a:rPr lang="ru-RU" sz="1400" dirty="0" err="1">
                <a:solidFill>
                  <a:schemeClr val="bg1"/>
                </a:solidFill>
                <a:latin typeface="Montserrat" pitchFamily="2" charset="-52"/>
              </a:rPr>
              <a:t>български</a:t>
            </a:r>
            <a:r>
              <a:rPr lang="ru-RU" sz="1400" dirty="0">
                <a:solidFill>
                  <a:schemeClr val="bg1"/>
                </a:solidFill>
                <a:latin typeface="Montserrat" pitchFamily="2" charset="-52"/>
              </a:rPr>
              <a:t> </a:t>
            </a:r>
            <a:r>
              <a:rPr lang="ru-RU" sz="1400" dirty="0" err="1">
                <a:solidFill>
                  <a:schemeClr val="bg1"/>
                </a:solidFill>
                <a:latin typeface="Montserrat" pitchFamily="2" charset="-52"/>
              </a:rPr>
              <a:t>език</a:t>
            </a:r>
            <a:r>
              <a:rPr lang="ru-RU" sz="1400" dirty="0">
                <a:solidFill>
                  <a:schemeClr val="bg1"/>
                </a:solidFill>
                <a:latin typeface="Montserrat" pitchFamily="2" charset="-52"/>
              </a:rPr>
              <a:t>. </a:t>
            </a:r>
          </a:p>
        </p:txBody>
      </p:sp>
      <p:grpSp>
        <p:nvGrpSpPr>
          <p:cNvPr id="9" name="Group 8"/>
          <p:cNvGrpSpPr/>
          <p:nvPr/>
        </p:nvGrpSpPr>
        <p:grpSpPr>
          <a:xfrm>
            <a:off x="296708" y="1822907"/>
            <a:ext cx="1442259" cy="1238455"/>
            <a:chOff x="476249" y="1811138"/>
            <a:chExt cx="1442259" cy="1238455"/>
          </a:xfrm>
          <a:effectLst>
            <a:outerShdw blurRad="50800" dist="38100" dir="2700000" algn="tl" rotWithShape="0">
              <a:prstClr val="black">
                <a:alpha val="40000"/>
              </a:prstClr>
            </a:outerShdw>
          </a:effectLst>
        </p:grpSpPr>
        <p:sp>
          <p:nvSpPr>
            <p:cNvPr id="17" name="Freeform 16"/>
            <p:cNvSpPr/>
            <p:nvPr/>
          </p:nvSpPr>
          <p:spPr>
            <a:xfrm rot="8031290" flipH="1">
              <a:off x="578151" y="1709236"/>
              <a:ext cx="1238455" cy="1442259"/>
            </a:xfrm>
            <a:custGeom>
              <a:avLst/>
              <a:gdLst>
                <a:gd name="connsiteX0" fmla="*/ 928790 w 1238455"/>
                <a:gd name="connsiteY0" fmla="*/ 1359210 h 1442259"/>
                <a:gd name="connsiteX1" fmla="*/ 83050 w 1238455"/>
                <a:gd name="connsiteY1" fmla="*/ 1132594 h 1442259"/>
                <a:gd name="connsiteX2" fmla="*/ 309665 w 1238455"/>
                <a:gd name="connsiteY2" fmla="*/ 286854 h 1442259"/>
                <a:gd name="connsiteX3" fmla="*/ 542697 w 1238455"/>
                <a:gd name="connsiteY3" fmla="*/ 208494 h 1442259"/>
                <a:gd name="connsiteX4" fmla="*/ 561533 w 1238455"/>
                <a:gd name="connsiteY4" fmla="*/ 207998 h 1442259"/>
                <a:gd name="connsiteX5" fmla="*/ 682172 w 1238455"/>
                <a:gd name="connsiteY5" fmla="*/ 0 h 1442259"/>
                <a:gd name="connsiteX6" fmla="*/ 821852 w 1238455"/>
                <a:gd name="connsiteY6" fmla="*/ 240828 h 1442259"/>
                <a:gd name="connsiteX7" fmla="*/ 890756 w 1238455"/>
                <a:gd name="connsiteY7" fmla="*/ 266556 h 1442259"/>
                <a:gd name="connsiteX8" fmla="*/ 1155406 w 1238455"/>
                <a:gd name="connsiteY8" fmla="*/ 513469 h 1442259"/>
                <a:gd name="connsiteX9" fmla="*/ 928790 w 1238455"/>
                <a:gd name="connsiteY9" fmla="*/ 1359210 h 1442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8455" h="1442259">
                  <a:moveTo>
                    <a:pt x="928790" y="1359210"/>
                  </a:moveTo>
                  <a:cubicBezTo>
                    <a:pt x="632668" y="1530176"/>
                    <a:pt x="254016" y="1428717"/>
                    <a:pt x="83050" y="1132594"/>
                  </a:cubicBezTo>
                  <a:cubicBezTo>
                    <a:pt x="-87917" y="836471"/>
                    <a:pt x="13543" y="457820"/>
                    <a:pt x="309665" y="286854"/>
                  </a:cubicBezTo>
                  <a:cubicBezTo>
                    <a:pt x="383696" y="244112"/>
                    <a:pt x="462885" y="218397"/>
                    <a:pt x="542697" y="208494"/>
                  </a:cubicBezTo>
                  <a:lnTo>
                    <a:pt x="561533" y="207998"/>
                  </a:lnTo>
                  <a:lnTo>
                    <a:pt x="682172" y="0"/>
                  </a:lnTo>
                  <a:lnTo>
                    <a:pt x="821852" y="240828"/>
                  </a:lnTo>
                  <a:lnTo>
                    <a:pt x="890756" y="266556"/>
                  </a:lnTo>
                  <a:cubicBezTo>
                    <a:pt x="997975" y="318752"/>
                    <a:pt x="1091293" y="402423"/>
                    <a:pt x="1155406" y="513469"/>
                  </a:cubicBezTo>
                  <a:cubicBezTo>
                    <a:pt x="1326372" y="809592"/>
                    <a:pt x="1224913" y="1188243"/>
                    <a:pt x="928790" y="1359210"/>
                  </a:cubicBezTo>
                  <a:close/>
                </a:path>
              </a:pathLst>
            </a:custGeom>
            <a:solidFill>
              <a:srgbClr val="0D47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19" name="Rectangle 18"/>
            <p:cNvSpPr/>
            <p:nvPr/>
          </p:nvSpPr>
          <p:spPr>
            <a:xfrm>
              <a:off x="528070" y="2128541"/>
              <a:ext cx="1255472" cy="523220"/>
            </a:xfrm>
            <a:prstGeom prst="rect">
              <a:avLst/>
            </a:prstGeom>
          </p:spPr>
          <p:txBody>
            <a:bodyPr wrap="none">
              <a:spAutoFit/>
            </a:bodyPr>
            <a:lstStyle/>
            <a:p>
              <a:pPr algn="ctr"/>
              <a:r>
                <a:rPr lang="bg-BG" sz="1400" dirty="0">
                  <a:solidFill>
                    <a:schemeClr val="bg1"/>
                  </a:solidFill>
                  <a:latin typeface="Montserrat ExtraBold" panose="00000900000000000000" pitchFamily="50" charset="-52"/>
                </a:rPr>
                <a:t>Български</a:t>
              </a:r>
            </a:p>
            <a:p>
              <a:pPr algn="ctr"/>
              <a:r>
                <a:rPr lang="bg-BG" sz="1400" dirty="0">
                  <a:solidFill>
                    <a:schemeClr val="bg1"/>
                  </a:solidFill>
                  <a:latin typeface="Montserrat ExtraBold" panose="00000900000000000000" pitchFamily="50" charset="-52"/>
                </a:rPr>
                <a:t>език</a:t>
              </a:r>
            </a:p>
          </p:txBody>
        </p:sp>
      </p:grpSp>
      <p:grpSp>
        <p:nvGrpSpPr>
          <p:cNvPr id="20" name="Group 19"/>
          <p:cNvGrpSpPr/>
          <p:nvPr/>
        </p:nvGrpSpPr>
        <p:grpSpPr>
          <a:xfrm>
            <a:off x="9982050" y="2912088"/>
            <a:ext cx="2017337" cy="1732269"/>
            <a:chOff x="9742086" y="1761006"/>
            <a:chExt cx="1442259" cy="1238455"/>
          </a:xfrm>
          <a:effectLst>
            <a:outerShdw blurRad="50800" dist="38100" dir="2700000" algn="tl" rotWithShape="0">
              <a:prstClr val="black">
                <a:alpha val="40000"/>
              </a:prstClr>
            </a:outerShdw>
          </a:effectLst>
        </p:grpSpPr>
        <p:sp>
          <p:nvSpPr>
            <p:cNvPr id="21" name="Freeform 20"/>
            <p:cNvSpPr/>
            <p:nvPr/>
          </p:nvSpPr>
          <p:spPr>
            <a:xfrm rot="13568710">
              <a:off x="9843988" y="1659104"/>
              <a:ext cx="1238455" cy="1442259"/>
            </a:xfrm>
            <a:custGeom>
              <a:avLst/>
              <a:gdLst>
                <a:gd name="connsiteX0" fmla="*/ 928790 w 1238455"/>
                <a:gd name="connsiteY0" fmla="*/ 1359210 h 1442259"/>
                <a:gd name="connsiteX1" fmla="*/ 83050 w 1238455"/>
                <a:gd name="connsiteY1" fmla="*/ 1132594 h 1442259"/>
                <a:gd name="connsiteX2" fmla="*/ 309665 w 1238455"/>
                <a:gd name="connsiteY2" fmla="*/ 286854 h 1442259"/>
                <a:gd name="connsiteX3" fmla="*/ 542697 w 1238455"/>
                <a:gd name="connsiteY3" fmla="*/ 208494 h 1442259"/>
                <a:gd name="connsiteX4" fmla="*/ 561533 w 1238455"/>
                <a:gd name="connsiteY4" fmla="*/ 207998 h 1442259"/>
                <a:gd name="connsiteX5" fmla="*/ 682172 w 1238455"/>
                <a:gd name="connsiteY5" fmla="*/ 0 h 1442259"/>
                <a:gd name="connsiteX6" fmla="*/ 821852 w 1238455"/>
                <a:gd name="connsiteY6" fmla="*/ 240828 h 1442259"/>
                <a:gd name="connsiteX7" fmla="*/ 890756 w 1238455"/>
                <a:gd name="connsiteY7" fmla="*/ 266556 h 1442259"/>
                <a:gd name="connsiteX8" fmla="*/ 1155406 w 1238455"/>
                <a:gd name="connsiteY8" fmla="*/ 513469 h 1442259"/>
                <a:gd name="connsiteX9" fmla="*/ 928790 w 1238455"/>
                <a:gd name="connsiteY9" fmla="*/ 1359210 h 1442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8455" h="1442259">
                  <a:moveTo>
                    <a:pt x="928790" y="1359210"/>
                  </a:moveTo>
                  <a:cubicBezTo>
                    <a:pt x="632668" y="1530176"/>
                    <a:pt x="254016" y="1428717"/>
                    <a:pt x="83050" y="1132594"/>
                  </a:cubicBezTo>
                  <a:cubicBezTo>
                    <a:pt x="-87917" y="836471"/>
                    <a:pt x="13543" y="457820"/>
                    <a:pt x="309665" y="286854"/>
                  </a:cubicBezTo>
                  <a:cubicBezTo>
                    <a:pt x="383696" y="244112"/>
                    <a:pt x="462885" y="218397"/>
                    <a:pt x="542697" y="208494"/>
                  </a:cubicBezTo>
                  <a:lnTo>
                    <a:pt x="561533" y="207998"/>
                  </a:lnTo>
                  <a:lnTo>
                    <a:pt x="682172" y="0"/>
                  </a:lnTo>
                  <a:lnTo>
                    <a:pt x="821852" y="240828"/>
                  </a:lnTo>
                  <a:lnTo>
                    <a:pt x="890756" y="266556"/>
                  </a:lnTo>
                  <a:cubicBezTo>
                    <a:pt x="997975" y="318752"/>
                    <a:pt x="1091293" y="402423"/>
                    <a:pt x="1155406" y="513469"/>
                  </a:cubicBezTo>
                  <a:cubicBezTo>
                    <a:pt x="1326372" y="809592"/>
                    <a:pt x="1224913" y="1188243"/>
                    <a:pt x="928790" y="1359210"/>
                  </a:cubicBezTo>
                  <a:close/>
                </a:path>
              </a:pathLst>
            </a:custGeom>
            <a:solidFill>
              <a:srgbClr val="0D47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2" name="Rectangle 21"/>
            <p:cNvSpPr/>
            <p:nvPr/>
          </p:nvSpPr>
          <p:spPr>
            <a:xfrm>
              <a:off x="9984336" y="1888664"/>
              <a:ext cx="1118292" cy="836150"/>
            </a:xfrm>
            <a:prstGeom prst="rect">
              <a:avLst/>
            </a:prstGeom>
          </p:spPr>
          <p:txBody>
            <a:bodyPr wrap="square">
              <a:spAutoFit/>
            </a:bodyPr>
            <a:lstStyle/>
            <a:p>
              <a:pPr algn="ctr"/>
              <a:r>
                <a:rPr lang="bg-BG" sz="1400" dirty="0">
                  <a:solidFill>
                    <a:schemeClr val="bg1"/>
                  </a:solidFill>
                  <a:latin typeface="Montserrat ExtraBold" panose="00000900000000000000" pitchFamily="50" charset="-52"/>
                </a:rPr>
                <a:t>Български език</a:t>
              </a:r>
            </a:p>
            <a:p>
              <a:pPr algn="ctr"/>
              <a:r>
                <a:rPr lang="bg-BG" sz="1400" dirty="0">
                  <a:solidFill>
                    <a:schemeClr val="bg1"/>
                  </a:solidFill>
                  <a:latin typeface="Montserrat ExtraBold" panose="00000900000000000000" pitchFamily="50" charset="-52"/>
                </a:rPr>
                <a:t>и приетият в съответната държава </a:t>
              </a:r>
            </a:p>
          </p:txBody>
        </p:sp>
      </p:grpSp>
      <p:grpSp>
        <p:nvGrpSpPr>
          <p:cNvPr id="23" name="Group 22"/>
          <p:cNvGrpSpPr/>
          <p:nvPr/>
        </p:nvGrpSpPr>
        <p:grpSpPr>
          <a:xfrm>
            <a:off x="104808" y="4601910"/>
            <a:ext cx="1883819" cy="1617619"/>
            <a:chOff x="476249" y="1811138"/>
            <a:chExt cx="1442259" cy="1238455"/>
          </a:xfrm>
          <a:effectLst>
            <a:outerShdw blurRad="50800" dist="38100" dir="2700000" algn="tl" rotWithShape="0">
              <a:prstClr val="black">
                <a:alpha val="40000"/>
              </a:prstClr>
            </a:outerShdw>
          </a:effectLst>
        </p:grpSpPr>
        <p:sp>
          <p:nvSpPr>
            <p:cNvPr id="24" name="Freeform 23"/>
            <p:cNvSpPr/>
            <p:nvPr/>
          </p:nvSpPr>
          <p:spPr>
            <a:xfrm rot="8031290" flipH="1">
              <a:off x="578151" y="1709236"/>
              <a:ext cx="1238455" cy="1442259"/>
            </a:xfrm>
            <a:custGeom>
              <a:avLst/>
              <a:gdLst>
                <a:gd name="connsiteX0" fmla="*/ 928790 w 1238455"/>
                <a:gd name="connsiteY0" fmla="*/ 1359210 h 1442259"/>
                <a:gd name="connsiteX1" fmla="*/ 83050 w 1238455"/>
                <a:gd name="connsiteY1" fmla="*/ 1132594 h 1442259"/>
                <a:gd name="connsiteX2" fmla="*/ 309665 w 1238455"/>
                <a:gd name="connsiteY2" fmla="*/ 286854 h 1442259"/>
                <a:gd name="connsiteX3" fmla="*/ 542697 w 1238455"/>
                <a:gd name="connsiteY3" fmla="*/ 208494 h 1442259"/>
                <a:gd name="connsiteX4" fmla="*/ 561533 w 1238455"/>
                <a:gd name="connsiteY4" fmla="*/ 207998 h 1442259"/>
                <a:gd name="connsiteX5" fmla="*/ 682172 w 1238455"/>
                <a:gd name="connsiteY5" fmla="*/ 0 h 1442259"/>
                <a:gd name="connsiteX6" fmla="*/ 821852 w 1238455"/>
                <a:gd name="connsiteY6" fmla="*/ 240828 h 1442259"/>
                <a:gd name="connsiteX7" fmla="*/ 890756 w 1238455"/>
                <a:gd name="connsiteY7" fmla="*/ 266556 h 1442259"/>
                <a:gd name="connsiteX8" fmla="*/ 1155406 w 1238455"/>
                <a:gd name="connsiteY8" fmla="*/ 513469 h 1442259"/>
                <a:gd name="connsiteX9" fmla="*/ 928790 w 1238455"/>
                <a:gd name="connsiteY9" fmla="*/ 1359210 h 1442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8455" h="1442259">
                  <a:moveTo>
                    <a:pt x="928790" y="1359210"/>
                  </a:moveTo>
                  <a:cubicBezTo>
                    <a:pt x="632668" y="1530176"/>
                    <a:pt x="254016" y="1428717"/>
                    <a:pt x="83050" y="1132594"/>
                  </a:cubicBezTo>
                  <a:cubicBezTo>
                    <a:pt x="-87917" y="836471"/>
                    <a:pt x="13543" y="457820"/>
                    <a:pt x="309665" y="286854"/>
                  </a:cubicBezTo>
                  <a:cubicBezTo>
                    <a:pt x="383696" y="244112"/>
                    <a:pt x="462885" y="218397"/>
                    <a:pt x="542697" y="208494"/>
                  </a:cubicBezTo>
                  <a:lnTo>
                    <a:pt x="561533" y="207998"/>
                  </a:lnTo>
                  <a:lnTo>
                    <a:pt x="682172" y="0"/>
                  </a:lnTo>
                  <a:lnTo>
                    <a:pt x="821852" y="240828"/>
                  </a:lnTo>
                  <a:lnTo>
                    <a:pt x="890756" y="266556"/>
                  </a:lnTo>
                  <a:cubicBezTo>
                    <a:pt x="997975" y="318752"/>
                    <a:pt x="1091293" y="402423"/>
                    <a:pt x="1155406" y="513469"/>
                  </a:cubicBezTo>
                  <a:cubicBezTo>
                    <a:pt x="1326372" y="809592"/>
                    <a:pt x="1224913" y="1188243"/>
                    <a:pt x="928790" y="1359210"/>
                  </a:cubicBezTo>
                  <a:close/>
                </a:path>
              </a:pathLst>
            </a:custGeom>
            <a:solidFill>
              <a:srgbClr val="0D47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5" name="Rectangle 24"/>
            <p:cNvSpPr/>
            <p:nvPr/>
          </p:nvSpPr>
          <p:spPr>
            <a:xfrm>
              <a:off x="590058" y="2117160"/>
              <a:ext cx="1102330" cy="565524"/>
            </a:xfrm>
            <a:prstGeom prst="rect">
              <a:avLst/>
            </a:prstGeom>
          </p:spPr>
          <p:txBody>
            <a:bodyPr wrap="none">
              <a:spAutoFit/>
            </a:bodyPr>
            <a:lstStyle/>
            <a:p>
              <a:pPr algn="ctr"/>
              <a:r>
                <a:rPr lang="bg-BG" sz="1400" dirty="0">
                  <a:solidFill>
                    <a:schemeClr val="bg1"/>
                  </a:solidFill>
                  <a:latin typeface="Montserrat ExtraBold" panose="00000900000000000000" pitchFamily="50" charset="-52"/>
                </a:rPr>
                <a:t>Български</a:t>
              </a:r>
            </a:p>
            <a:p>
              <a:pPr algn="ctr"/>
              <a:r>
                <a:rPr lang="bg-BG" sz="1400" dirty="0">
                  <a:solidFill>
                    <a:schemeClr val="bg1"/>
                  </a:solidFill>
                  <a:latin typeface="Montserrat ExtraBold" panose="00000900000000000000" pitchFamily="50" charset="-52"/>
                </a:rPr>
                <a:t>и английски</a:t>
              </a:r>
            </a:p>
            <a:p>
              <a:pPr algn="ctr"/>
              <a:r>
                <a:rPr lang="bg-BG" sz="1400" dirty="0">
                  <a:solidFill>
                    <a:schemeClr val="bg1"/>
                  </a:solidFill>
                  <a:latin typeface="Montserrat ExtraBold" panose="00000900000000000000" pitchFamily="50" charset="-52"/>
                </a:rPr>
                <a:t>език</a:t>
              </a:r>
            </a:p>
          </p:txBody>
        </p:sp>
      </p:grpSp>
      <p:pic>
        <p:nvPicPr>
          <p:cNvPr id="29" name="Picture 2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131552" y="6292745"/>
            <a:ext cx="1876472" cy="361108"/>
          </a:xfrm>
          <a:prstGeom prst="rect">
            <a:avLst/>
          </a:prstGeom>
        </p:spPr>
      </p:pic>
    </p:spTree>
    <p:extLst>
      <p:ext uri="{BB962C8B-B14F-4D97-AF65-F5344CB8AC3E}">
        <p14:creationId xmlns:p14="http://schemas.microsoft.com/office/powerpoint/2010/main" val="344081918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0800000">
            <a:off x="-4" y="0"/>
            <a:ext cx="12192003" cy="6858000"/>
          </a:xfrm>
          <a:prstGeom prst="rect">
            <a:avLst/>
          </a:prstGeom>
        </p:spPr>
      </p:pic>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t="35327" b="35532"/>
          <a:stretch/>
        </p:blipFill>
        <p:spPr>
          <a:xfrm>
            <a:off x="0" y="0"/>
            <a:ext cx="12192000" cy="1715677"/>
          </a:xfrm>
          <a:prstGeom prst="rect">
            <a:avLst/>
          </a:prstGeom>
        </p:spPr>
      </p:pic>
      <p:sp>
        <p:nvSpPr>
          <p:cNvPr id="5" name="TextBox 4"/>
          <p:cNvSpPr txBox="1"/>
          <p:nvPr/>
        </p:nvSpPr>
        <p:spPr>
          <a:xfrm>
            <a:off x="338540" y="301545"/>
            <a:ext cx="9531323" cy="830997"/>
          </a:xfrm>
          <a:prstGeom prst="rect">
            <a:avLst/>
          </a:prstGeom>
          <a:noFill/>
        </p:spPr>
        <p:txBody>
          <a:bodyPr wrap="square" rtlCol="0">
            <a:spAutoFit/>
          </a:bodyPr>
          <a:lstStyle/>
          <a:p>
            <a:r>
              <a:rPr lang="en-US" sz="2400" dirty="0">
                <a:solidFill>
                  <a:schemeClr val="bg1"/>
                </a:solidFill>
                <a:latin typeface="Montserrat Black" pitchFamily="2" charset="-52"/>
              </a:rPr>
              <a:t>III. </a:t>
            </a:r>
            <a:r>
              <a:rPr lang="ru-RU" sz="2400" dirty="0">
                <a:solidFill>
                  <a:schemeClr val="bg1"/>
                </a:solidFill>
                <a:latin typeface="Montserrat Black" pitchFamily="2" charset="-52"/>
              </a:rPr>
              <a:t>ПОСЛЕДВАЩИ ИЗИСКВАНИЯ ЗА РАЗКРИВАНЕ НА ИНФОРМАЦИЯ</a:t>
            </a:r>
            <a:endParaRPr lang="bg-BG" sz="2400" dirty="0">
              <a:solidFill>
                <a:schemeClr val="bg1"/>
              </a:solidFill>
              <a:latin typeface="Montserrat Black" pitchFamily="2" charset="-52"/>
            </a:endParaRPr>
          </a:p>
        </p:txBody>
      </p:sp>
      <p:sp>
        <p:nvSpPr>
          <p:cNvPr id="8" name="TextBox 7"/>
          <p:cNvSpPr txBox="1"/>
          <p:nvPr/>
        </p:nvSpPr>
        <p:spPr>
          <a:xfrm>
            <a:off x="338540" y="1086375"/>
            <a:ext cx="9192785" cy="369332"/>
          </a:xfrm>
          <a:prstGeom prst="rect">
            <a:avLst/>
          </a:prstGeom>
          <a:noFill/>
        </p:spPr>
        <p:txBody>
          <a:bodyPr wrap="square" rtlCol="0">
            <a:spAutoFit/>
          </a:bodyPr>
          <a:lstStyle/>
          <a:p>
            <a:r>
              <a:rPr lang="ru-RU" dirty="0" err="1">
                <a:solidFill>
                  <a:schemeClr val="bg1"/>
                </a:solidFill>
                <a:latin typeface="Montserrat" pitchFamily="2" charset="-52"/>
              </a:rPr>
              <a:t>Език</a:t>
            </a:r>
            <a:r>
              <a:rPr lang="ru-RU" dirty="0">
                <a:solidFill>
                  <a:schemeClr val="bg1"/>
                </a:solidFill>
                <a:latin typeface="Montserrat" pitchFamily="2" charset="-52"/>
              </a:rPr>
              <a:t> на </a:t>
            </a:r>
            <a:r>
              <a:rPr lang="ru-RU" dirty="0" err="1">
                <a:solidFill>
                  <a:schemeClr val="bg1"/>
                </a:solidFill>
                <a:latin typeface="Montserrat" pitchFamily="2" charset="-52"/>
              </a:rPr>
              <a:t>изготвяне</a:t>
            </a:r>
            <a:r>
              <a:rPr lang="ru-RU" dirty="0">
                <a:solidFill>
                  <a:schemeClr val="bg1"/>
                </a:solidFill>
                <a:latin typeface="Montserrat" pitchFamily="2" charset="-52"/>
              </a:rPr>
              <a:t> на проспекта</a:t>
            </a:r>
            <a:endParaRPr lang="bg-BG" dirty="0">
              <a:solidFill>
                <a:schemeClr val="bg1"/>
              </a:solidFill>
              <a:latin typeface="Montserrat" pitchFamily="2" charset="-52"/>
            </a:endParaRPr>
          </a:p>
        </p:txBody>
      </p:sp>
      <p:sp>
        <p:nvSpPr>
          <p:cNvPr id="15" name="Pentagon 14"/>
          <p:cNvSpPr/>
          <p:nvPr/>
        </p:nvSpPr>
        <p:spPr>
          <a:xfrm>
            <a:off x="1610215" y="2450865"/>
            <a:ext cx="8686483" cy="1425326"/>
          </a:xfrm>
          <a:prstGeom prst="homePlate">
            <a:avLst>
              <a:gd name="adj" fmla="val 0"/>
            </a:avLst>
          </a:prstGeom>
          <a:solidFill>
            <a:srgbClr val="3392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16" name="Rectangle 15"/>
          <p:cNvSpPr/>
          <p:nvPr/>
        </p:nvSpPr>
        <p:spPr>
          <a:xfrm>
            <a:off x="1738800" y="2662636"/>
            <a:ext cx="7671356" cy="954107"/>
          </a:xfrm>
          <a:prstGeom prst="rect">
            <a:avLst/>
          </a:prstGeom>
        </p:spPr>
        <p:txBody>
          <a:bodyPr wrap="square">
            <a:spAutoFit/>
          </a:bodyPr>
          <a:lstStyle/>
          <a:p>
            <a:pPr algn="just"/>
            <a:r>
              <a:rPr lang="ru-RU" sz="1400" dirty="0" err="1">
                <a:solidFill>
                  <a:schemeClr val="bg1"/>
                </a:solidFill>
                <a:latin typeface="Montserrat" pitchFamily="2" charset="-52"/>
              </a:rPr>
              <a:t>Проспектът</a:t>
            </a:r>
            <a:r>
              <a:rPr lang="ru-RU" sz="1400" dirty="0">
                <a:solidFill>
                  <a:schemeClr val="bg1"/>
                </a:solidFill>
                <a:latin typeface="Montserrat" pitchFamily="2" charset="-52"/>
              </a:rPr>
              <a:t> се </a:t>
            </a:r>
            <a:r>
              <a:rPr lang="ru-RU" sz="1400" dirty="0" err="1">
                <a:solidFill>
                  <a:schemeClr val="bg1"/>
                </a:solidFill>
                <a:latin typeface="Montserrat" pitchFamily="2" charset="-52"/>
              </a:rPr>
              <a:t>изготвя</a:t>
            </a:r>
            <a:r>
              <a:rPr lang="ru-RU" sz="1400" dirty="0">
                <a:solidFill>
                  <a:schemeClr val="bg1"/>
                </a:solidFill>
                <a:latin typeface="Montserrat" pitchFamily="2" charset="-52"/>
              </a:rPr>
              <a:t> на </a:t>
            </a:r>
            <a:r>
              <a:rPr lang="ru-RU" sz="1400" dirty="0" err="1">
                <a:solidFill>
                  <a:schemeClr val="bg1"/>
                </a:solidFill>
                <a:latin typeface="Montserrat" pitchFamily="2" charset="-52"/>
              </a:rPr>
              <a:t>езика</a:t>
            </a:r>
            <a:r>
              <a:rPr lang="ru-RU" sz="1400" dirty="0">
                <a:solidFill>
                  <a:schemeClr val="bg1"/>
                </a:solidFill>
                <a:latin typeface="Montserrat" pitchFamily="2" charset="-52"/>
              </a:rPr>
              <a:t>, </a:t>
            </a:r>
            <a:r>
              <a:rPr lang="ru-RU" sz="1400" dirty="0" err="1">
                <a:solidFill>
                  <a:schemeClr val="bg1"/>
                </a:solidFill>
                <a:latin typeface="Montserrat" pitchFamily="2" charset="-52"/>
              </a:rPr>
              <a:t>който</a:t>
            </a:r>
            <a:r>
              <a:rPr lang="ru-RU" sz="1400" dirty="0">
                <a:solidFill>
                  <a:schemeClr val="bg1"/>
                </a:solidFill>
                <a:latin typeface="Montserrat" pitchFamily="2" charset="-52"/>
              </a:rPr>
              <a:t> е </a:t>
            </a:r>
            <a:r>
              <a:rPr lang="ru-RU" sz="1400" dirty="0" err="1">
                <a:solidFill>
                  <a:schemeClr val="bg1"/>
                </a:solidFill>
                <a:latin typeface="Montserrat" pitchFamily="2" charset="-52"/>
              </a:rPr>
              <a:t>приет</a:t>
            </a:r>
            <a:r>
              <a:rPr lang="ru-RU" sz="1400" dirty="0">
                <a:solidFill>
                  <a:schemeClr val="bg1"/>
                </a:solidFill>
                <a:latin typeface="Montserrat" pitchFamily="2" charset="-52"/>
              </a:rPr>
              <a:t> от </a:t>
            </a:r>
            <a:r>
              <a:rPr lang="ru-RU" sz="1400" dirty="0" err="1">
                <a:solidFill>
                  <a:schemeClr val="bg1"/>
                </a:solidFill>
                <a:latin typeface="Montserrat" pitchFamily="2" charset="-52"/>
              </a:rPr>
              <a:t>компетентния</a:t>
            </a:r>
            <a:r>
              <a:rPr lang="ru-RU" sz="1400" dirty="0">
                <a:solidFill>
                  <a:schemeClr val="bg1"/>
                </a:solidFill>
                <a:latin typeface="Montserrat" pitchFamily="2" charset="-52"/>
              </a:rPr>
              <a:t> орган на </a:t>
            </a:r>
            <a:r>
              <a:rPr lang="ru-RU" sz="1400" dirty="0" err="1">
                <a:solidFill>
                  <a:schemeClr val="bg1"/>
                </a:solidFill>
                <a:latin typeface="Montserrat" pitchFamily="2" charset="-52"/>
              </a:rPr>
              <a:t>държавата</a:t>
            </a:r>
            <a:r>
              <a:rPr lang="ru-RU" sz="1400" dirty="0">
                <a:solidFill>
                  <a:schemeClr val="bg1"/>
                </a:solidFill>
                <a:latin typeface="Montserrat" pitchFamily="2" charset="-52"/>
              </a:rPr>
              <a:t> </a:t>
            </a:r>
            <a:r>
              <a:rPr lang="ru-RU" sz="1400" dirty="0" err="1">
                <a:solidFill>
                  <a:schemeClr val="bg1"/>
                </a:solidFill>
                <a:latin typeface="Montserrat" pitchFamily="2" charset="-52"/>
              </a:rPr>
              <a:t>членка</a:t>
            </a:r>
            <a:r>
              <a:rPr lang="ru-RU" sz="1400" dirty="0">
                <a:solidFill>
                  <a:schemeClr val="bg1"/>
                </a:solidFill>
                <a:latin typeface="Montserrat" pitchFamily="2" charset="-52"/>
              </a:rPr>
              <a:t> по </a:t>
            </a:r>
            <a:r>
              <a:rPr lang="ru-RU" sz="1400" dirty="0" err="1">
                <a:solidFill>
                  <a:schemeClr val="bg1"/>
                </a:solidFill>
                <a:latin typeface="Montserrat" pitchFamily="2" charset="-52"/>
              </a:rPr>
              <a:t>произход</a:t>
            </a:r>
            <a:r>
              <a:rPr lang="ru-RU" sz="1400" dirty="0">
                <a:solidFill>
                  <a:schemeClr val="bg1"/>
                </a:solidFill>
                <a:latin typeface="Montserrat" pitchFamily="2" charset="-52"/>
              </a:rPr>
              <a:t>, и </a:t>
            </a:r>
            <a:r>
              <a:rPr lang="ru-RU" sz="1400" dirty="0" err="1">
                <a:solidFill>
                  <a:schemeClr val="bg1"/>
                </a:solidFill>
                <a:latin typeface="Montserrat" pitchFamily="2" charset="-52"/>
              </a:rPr>
              <a:t>също</a:t>
            </a:r>
            <a:r>
              <a:rPr lang="ru-RU" sz="1400" dirty="0">
                <a:solidFill>
                  <a:schemeClr val="bg1"/>
                </a:solidFill>
                <a:latin typeface="Montserrat" pitchFamily="2" charset="-52"/>
              </a:rPr>
              <a:t> </a:t>
            </a:r>
            <a:r>
              <a:rPr lang="ru-RU" sz="1400" dirty="0" err="1">
                <a:solidFill>
                  <a:schemeClr val="bg1"/>
                </a:solidFill>
                <a:latin typeface="Montserrat" pitchFamily="2" charset="-52"/>
              </a:rPr>
              <a:t>така</a:t>
            </a:r>
            <a:r>
              <a:rPr lang="ru-RU" sz="1400" dirty="0">
                <a:solidFill>
                  <a:schemeClr val="bg1"/>
                </a:solidFill>
                <a:latin typeface="Montserrat" pitchFamily="2" charset="-52"/>
              </a:rPr>
              <a:t> се </a:t>
            </a:r>
            <a:r>
              <a:rPr lang="ru-RU" sz="1400" dirty="0" err="1">
                <a:solidFill>
                  <a:schemeClr val="bg1"/>
                </a:solidFill>
                <a:latin typeface="Montserrat" pitchFamily="2" charset="-52"/>
              </a:rPr>
              <a:t>предоставя</a:t>
            </a:r>
            <a:r>
              <a:rPr lang="ru-RU" sz="1400" dirty="0">
                <a:solidFill>
                  <a:schemeClr val="bg1"/>
                </a:solidFill>
                <a:latin typeface="Montserrat" pitchFamily="2" charset="-52"/>
              </a:rPr>
              <a:t> на </a:t>
            </a:r>
            <a:r>
              <a:rPr lang="ru-RU" sz="1400" dirty="0" err="1">
                <a:solidFill>
                  <a:schemeClr val="bg1"/>
                </a:solidFill>
                <a:latin typeface="Montserrat" pitchFamily="2" charset="-52"/>
              </a:rPr>
              <a:t>езика</a:t>
            </a:r>
            <a:r>
              <a:rPr lang="ru-RU" sz="1400" dirty="0">
                <a:solidFill>
                  <a:schemeClr val="bg1"/>
                </a:solidFill>
                <a:latin typeface="Montserrat" pitchFamily="2" charset="-52"/>
              </a:rPr>
              <a:t>, </a:t>
            </a:r>
            <a:r>
              <a:rPr lang="ru-RU" sz="1400" dirty="0" err="1">
                <a:solidFill>
                  <a:schemeClr val="bg1"/>
                </a:solidFill>
                <a:latin typeface="Montserrat" pitchFamily="2" charset="-52"/>
              </a:rPr>
              <a:t>който</a:t>
            </a:r>
            <a:r>
              <a:rPr lang="ru-RU" sz="1400" dirty="0">
                <a:solidFill>
                  <a:schemeClr val="bg1"/>
                </a:solidFill>
                <a:latin typeface="Montserrat" pitchFamily="2" charset="-52"/>
              </a:rPr>
              <a:t> се приема от </a:t>
            </a:r>
            <a:r>
              <a:rPr lang="ru-RU" sz="1400" dirty="0" err="1">
                <a:solidFill>
                  <a:schemeClr val="bg1"/>
                </a:solidFill>
                <a:latin typeface="Montserrat" pitchFamily="2" charset="-52"/>
              </a:rPr>
              <a:t>компетентните</a:t>
            </a:r>
            <a:r>
              <a:rPr lang="ru-RU" sz="1400" dirty="0">
                <a:solidFill>
                  <a:schemeClr val="bg1"/>
                </a:solidFill>
                <a:latin typeface="Montserrat" pitchFamily="2" charset="-52"/>
              </a:rPr>
              <a:t> </a:t>
            </a:r>
            <a:r>
              <a:rPr lang="ru-RU" sz="1400" dirty="0" err="1">
                <a:solidFill>
                  <a:schemeClr val="bg1"/>
                </a:solidFill>
                <a:latin typeface="Montserrat" pitchFamily="2" charset="-52"/>
              </a:rPr>
              <a:t>органи</a:t>
            </a:r>
            <a:r>
              <a:rPr lang="ru-RU" sz="1400" dirty="0">
                <a:solidFill>
                  <a:schemeClr val="bg1"/>
                </a:solidFill>
                <a:latin typeface="Montserrat" pitchFamily="2" charset="-52"/>
              </a:rPr>
              <a:t> на всяка </a:t>
            </a:r>
            <a:r>
              <a:rPr lang="ru-RU" sz="1400" dirty="0" err="1">
                <a:solidFill>
                  <a:schemeClr val="bg1"/>
                </a:solidFill>
                <a:latin typeface="Montserrat" pitchFamily="2" charset="-52"/>
              </a:rPr>
              <a:t>приемаща</a:t>
            </a:r>
            <a:r>
              <a:rPr lang="ru-RU" sz="1400" dirty="0">
                <a:solidFill>
                  <a:schemeClr val="bg1"/>
                </a:solidFill>
                <a:latin typeface="Montserrat" pitchFamily="2" charset="-52"/>
              </a:rPr>
              <a:t> </a:t>
            </a:r>
            <a:r>
              <a:rPr lang="ru-RU" sz="1400" dirty="0" err="1">
                <a:solidFill>
                  <a:schemeClr val="bg1"/>
                </a:solidFill>
                <a:latin typeface="Montserrat" pitchFamily="2" charset="-52"/>
              </a:rPr>
              <a:t>държава</a:t>
            </a:r>
            <a:r>
              <a:rPr lang="ru-RU" sz="1400" dirty="0">
                <a:solidFill>
                  <a:schemeClr val="bg1"/>
                </a:solidFill>
                <a:latin typeface="Montserrat" pitchFamily="2" charset="-52"/>
              </a:rPr>
              <a:t> </a:t>
            </a:r>
            <a:r>
              <a:rPr lang="ru-RU" sz="1400" dirty="0" err="1">
                <a:solidFill>
                  <a:schemeClr val="bg1"/>
                </a:solidFill>
                <a:latin typeface="Montserrat" pitchFamily="2" charset="-52"/>
              </a:rPr>
              <a:t>членка</a:t>
            </a:r>
            <a:r>
              <a:rPr lang="ru-RU" sz="1400" dirty="0">
                <a:solidFill>
                  <a:schemeClr val="bg1"/>
                </a:solidFill>
                <a:latin typeface="Montserrat" pitchFamily="2" charset="-52"/>
              </a:rPr>
              <a:t> или на </a:t>
            </a:r>
            <a:r>
              <a:rPr lang="ru-RU" sz="1400" dirty="0" err="1">
                <a:solidFill>
                  <a:schemeClr val="bg1"/>
                </a:solidFill>
                <a:latin typeface="Montserrat" pitchFamily="2" charset="-52"/>
              </a:rPr>
              <a:t>език</a:t>
            </a:r>
            <a:r>
              <a:rPr lang="ru-RU" sz="1400" dirty="0">
                <a:solidFill>
                  <a:schemeClr val="bg1"/>
                </a:solidFill>
                <a:latin typeface="Montserrat" pitchFamily="2" charset="-52"/>
              </a:rPr>
              <a:t>, </a:t>
            </a:r>
            <a:r>
              <a:rPr lang="ru-RU" sz="1400" dirty="0" err="1">
                <a:solidFill>
                  <a:schemeClr val="bg1"/>
                </a:solidFill>
                <a:latin typeface="Montserrat" pitchFamily="2" charset="-52"/>
              </a:rPr>
              <a:t>който</a:t>
            </a:r>
            <a:r>
              <a:rPr lang="ru-RU" sz="1400" dirty="0">
                <a:solidFill>
                  <a:schemeClr val="bg1"/>
                </a:solidFill>
                <a:latin typeface="Montserrat" pitchFamily="2" charset="-52"/>
              </a:rPr>
              <a:t> е </a:t>
            </a:r>
            <a:r>
              <a:rPr lang="ru-RU" sz="1400" dirty="0" err="1">
                <a:solidFill>
                  <a:schemeClr val="bg1"/>
                </a:solidFill>
                <a:latin typeface="Montserrat" pitchFamily="2" charset="-52"/>
              </a:rPr>
              <a:t>обичаен</a:t>
            </a:r>
            <a:r>
              <a:rPr lang="ru-RU" sz="1400" dirty="0">
                <a:solidFill>
                  <a:schemeClr val="bg1"/>
                </a:solidFill>
                <a:latin typeface="Montserrat" pitchFamily="2" charset="-52"/>
              </a:rPr>
              <a:t> в </a:t>
            </a:r>
            <a:r>
              <a:rPr lang="ru-RU" sz="1400" dirty="0" err="1">
                <a:solidFill>
                  <a:schemeClr val="bg1"/>
                </a:solidFill>
                <a:latin typeface="Montserrat" pitchFamily="2" charset="-52"/>
              </a:rPr>
              <a:t>областта</a:t>
            </a:r>
            <a:r>
              <a:rPr lang="ru-RU" sz="1400" dirty="0">
                <a:solidFill>
                  <a:schemeClr val="bg1"/>
                </a:solidFill>
                <a:latin typeface="Montserrat" pitchFamily="2" charset="-52"/>
              </a:rPr>
              <a:t> на </a:t>
            </a:r>
            <a:r>
              <a:rPr lang="ru-RU" sz="1400" dirty="0" err="1">
                <a:solidFill>
                  <a:schemeClr val="bg1"/>
                </a:solidFill>
                <a:latin typeface="Montserrat" pitchFamily="2" charset="-52"/>
              </a:rPr>
              <a:t>международните</a:t>
            </a:r>
            <a:r>
              <a:rPr lang="ru-RU" sz="1400" dirty="0">
                <a:solidFill>
                  <a:schemeClr val="bg1"/>
                </a:solidFill>
                <a:latin typeface="Montserrat" pitchFamily="2" charset="-52"/>
              </a:rPr>
              <a:t> </a:t>
            </a:r>
            <a:r>
              <a:rPr lang="ru-RU" sz="1400" dirty="0" err="1">
                <a:solidFill>
                  <a:schemeClr val="bg1"/>
                </a:solidFill>
                <a:latin typeface="Montserrat" pitchFamily="2" charset="-52"/>
              </a:rPr>
              <a:t>финанси</a:t>
            </a:r>
            <a:r>
              <a:rPr lang="ru-RU" sz="1400" dirty="0">
                <a:solidFill>
                  <a:schemeClr val="bg1"/>
                </a:solidFill>
                <a:latin typeface="Montserrat" pitchFamily="2" charset="-52"/>
              </a:rPr>
              <a:t>, по </a:t>
            </a:r>
            <a:r>
              <a:rPr lang="ru-RU" sz="1400" dirty="0" err="1">
                <a:solidFill>
                  <a:schemeClr val="bg1"/>
                </a:solidFill>
                <a:latin typeface="Montserrat" pitchFamily="2" charset="-52"/>
              </a:rPr>
              <a:t>избор</a:t>
            </a:r>
            <a:r>
              <a:rPr lang="ru-RU" sz="1400" dirty="0">
                <a:solidFill>
                  <a:schemeClr val="bg1"/>
                </a:solidFill>
                <a:latin typeface="Montserrat" pitchFamily="2" charset="-52"/>
              </a:rPr>
              <a:t> </a:t>
            </a:r>
            <a:r>
              <a:rPr lang="en-US" sz="1400" dirty="0">
                <a:solidFill>
                  <a:schemeClr val="bg1"/>
                </a:solidFill>
                <a:latin typeface="Montserrat" pitchFamily="2" charset="-52"/>
              </a:rPr>
              <a:t>.</a:t>
            </a:r>
            <a:endParaRPr lang="bg-BG" sz="1400" dirty="0">
              <a:solidFill>
                <a:schemeClr val="bg1"/>
              </a:solidFill>
              <a:latin typeface="Montserrat" pitchFamily="2" charset="-52"/>
            </a:endParaRPr>
          </a:p>
        </p:txBody>
      </p:sp>
      <p:grpSp>
        <p:nvGrpSpPr>
          <p:cNvPr id="17" name="Group 16"/>
          <p:cNvGrpSpPr/>
          <p:nvPr/>
        </p:nvGrpSpPr>
        <p:grpSpPr>
          <a:xfrm>
            <a:off x="9193762" y="2272305"/>
            <a:ext cx="2017337" cy="1732269"/>
            <a:chOff x="9742086" y="1761006"/>
            <a:chExt cx="1442259" cy="1238455"/>
          </a:xfrm>
          <a:effectLst>
            <a:outerShdw blurRad="50800" dist="38100" dir="2700000" algn="tl" rotWithShape="0">
              <a:prstClr val="black">
                <a:alpha val="40000"/>
              </a:prstClr>
            </a:outerShdw>
          </a:effectLst>
        </p:grpSpPr>
        <p:sp>
          <p:nvSpPr>
            <p:cNvPr id="18" name="Freeform 17"/>
            <p:cNvSpPr/>
            <p:nvPr/>
          </p:nvSpPr>
          <p:spPr>
            <a:xfrm rot="13568710">
              <a:off x="9843988" y="1659104"/>
              <a:ext cx="1238455" cy="1442259"/>
            </a:xfrm>
            <a:custGeom>
              <a:avLst/>
              <a:gdLst>
                <a:gd name="connsiteX0" fmla="*/ 928790 w 1238455"/>
                <a:gd name="connsiteY0" fmla="*/ 1359210 h 1442259"/>
                <a:gd name="connsiteX1" fmla="*/ 83050 w 1238455"/>
                <a:gd name="connsiteY1" fmla="*/ 1132594 h 1442259"/>
                <a:gd name="connsiteX2" fmla="*/ 309665 w 1238455"/>
                <a:gd name="connsiteY2" fmla="*/ 286854 h 1442259"/>
                <a:gd name="connsiteX3" fmla="*/ 542697 w 1238455"/>
                <a:gd name="connsiteY3" fmla="*/ 208494 h 1442259"/>
                <a:gd name="connsiteX4" fmla="*/ 561533 w 1238455"/>
                <a:gd name="connsiteY4" fmla="*/ 207998 h 1442259"/>
                <a:gd name="connsiteX5" fmla="*/ 682172 w 1238455"/>
                <a:gd name="connsiteY5" fmla="*/ 0 h 1442259"/>
                <a:gd name="connsiteX6" fmla="*/ 821852 w 1238455"/>
                <a:gd name="connsiteY6" fmla="*/ 240828 h 1442259"/>
                <a:gd name="connsiteX7" fmla="*/ 890756 w 1238455"/>
                <a:gd name="connsiteY7" fmla="*/ 266556 h 1442259"/>
                <a:gd name="connsiteX8" fmla="*/ 1155406 w 1238455"/>
                <a:gd name="connsiteY8" fmla="*/ 513469 h 1442259"/>
                <a:gd name="connsiteX9" fmla="*/ 928790 w 1238455"/>
                <a:gd name="connsiteY9" fmla="*/ 1359210 h 1442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8455" h="1442259">
                  <a:moveTo>
                    <a:pt x="928790" y="1359210"/>
                  </a:moveTo>
                  <a:cubicBezTo>
                    <a:pt x="632668" y="1530176"/>
                    <a:pt x="254016" y="1428717"/>
                    <a:pt x="83050" y="1132594"/>
                  </a:cubicBezTo>
                  <a:cubicBezTo>
                    <a:pt x="-87917" y="836471"/>
                    <a:pt x="13543" y="457820"/>
                    <a:pt x="309665" y="286854"/>
                  </a:cubicBezTo>
                  <a:cubicBezTo>
                    <a:pt x="383696" y="244112"/>
                    <a:pt x="462885" y="218397"/>
                    <a:pt x="542697" y="208494"/>
                  </a:cubicBezTo>
                  <a:lnTo>
                    <a:pt x="561533" y="207998"/>
                  </a:lnTo>
                  <a:lnTo>
                    <a:pt x="682172" y="0"/>
                  </a:lnTo>
                  <a:lnTo>
                    <a:pt x="821852" y="240828"/>
                  </a:lnTo>
                  <a:lnTo>
                    <a:pt x="890756" y="266556"/>
                  </a:lnTo>
                  <a:cubicBezTo>
                    <a:pt x="997975" y="318752"/>
                    <a:pt x="1091293" y="402423"/>
                    <a:pt x="1155406" y="513469"/>
                  </a:cubicBezTo>
                  <a:cubicBezTo>
                    <a:pt x="1326372" y="809592"/>
                    <a:pt x="1224913" y="1188243"/>
                    <a:pt x="928790" y="1359210"/>
                  </a:cubicBezTo>
                  <a:close/>
                </a:path>
              </a:pathLst>
            </a:custGeom>
            <a:solidFill>
              <a:srgbClr val="0D47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19" name="Rectangle 18"/>
            <p:cNvSpPr/>
            <p:nvPr/>
          </p:nvSpPr>
          <p:spPr>
            <a:xfrm>
              <a:off x="9996633" y="2139089"/>
              <a:ext cx="1118292" cy="374067"/>
            </a:xfrm>
            <a:prstGeom prst="rect">
              <a:avLst/>
            </a:prstGeom>
          </p:spPr>
          <p:txBody>
            <a:bodyPr wrap="square">
              <a:spAutoFit/>
            </a:bodyPr>
            <a:lstStyle/>
            <a:p>
              <a:pPr algn="ctr"/>
              <a:r>
                <a:rPr lang="bg-BG" sz="1400" dirty="0">
                  <a:solidFill>
                    <a:schemeClr val="bg1"/>
                  </a:solidFill>
                  <a:latin typeface="Montserrat ExtraBold" panose="00000900000000000000" pitchFamily="50" charset="-52"/>
                </a:rPr>
                <a:t>Език на проспекта</a:t>
              </a:r>
            </a:p>
          </p:txBody>
        </p:sp>
      </p:grpSp>
      <p:grpSp>
        <p:nvGrpSpPr>
          <p:cNvPr id="25" name="Group 24"/>
          <p:cNvGrpSpPr/>
          <p:nvPr/>
        </p:nvGrpSpPr>
        <p:grpSpPr>
          <a:xfrm>
            <a:off x="596778" y="4043309"/>
            <a:ext cx="9586108" cy="1617619"/>
            <a:chOff x="179998" y="5218253"/>
            <a:chExt cx="9586108" cy="1617619"/>
          </a:xfrm>
        </p:grpSpPr>
        <p:sp>
          <p:nvSpPr>
            <p:cNvPr id="20" name="Pentagon 19"/>
            <p:cNvSpPr/>
            <p:nvPr/>
          </p:nvSpPr>
          <p:spPr>
            <a:xfrm>
              <a:off x="904623" y="5281851"/>
              <a:ext cx="8861483" cy="1372396"/>
            </a:xfrm>
            <a:prstGeom prst="homePlate">
              <a:avLst>
                <a:gd name="adj" fmla="val 0"/>
              </a:avLst>
            </a:prstGeom>
            <a:solidFill>
              <a:srgbClr val="1C76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1" name="Rectangle 20"/>
            <p:cNvSpPr/>
            <p:nvPr/>
          </p:nvSpPr>
          <p:spPr>
            <a:xfrm>
              <a:off x="1961898" y="5392110"/>
              <a:ext cx="7664369" cy="1169551"/>
            </a:xfrm>
            <a:prstGeom prst="rect">
              <a:avLst/>
            </a:prstGeom>
          </p:spPr>
          <p:txBody>
            <a:bodyPr wrap="square">
              <a:spAutoFit/>
            </a:bodyPr>
            <a:lstStyle/>
            <a:p>
              <a:pPr algn="just"/>
              <a:r>
                <a:rPr lang="ru-RU" sz="1400" dirty="0" err="1">
                  <a:solidFill>
                    <a:schemeClr val="bg1"/>
                  </a:solidFill>
                  <a:latin typeface="Montserrat" pitchFamily="2" charset="-52"/>
                </a:rPr>
                <a:t>Компетентният</a:t>
              </a:r>
              <a:r>
                <a:rPr lang="ru-RU" sz="1400" dirty="0">
                  <a:solidFill>
                    <a:schemeClr val="bg1"/>
                  </a:solidFill>
                  <a:latin typeface="Montserrat" pitchFamily="2" charset="-52"/>
                </a:rPr>
                <a:t> орган на всяка </a:t>
              </a:r>
              <a:r>
                <a:rPr lang="ru-RU" sz="1400" dirty="0" err="1">
                  <a:solidFill>
                    <a:schemeClr val="bg1"/>
                  </a:solidFill>
                  <a:latin typeface="Montserrat" pitchFamily="2" charset="-52"/>
                </a:rPr>
                <a:t>приемаща</a:t>
              </a:r>
              <a:r>
                <a:rPr lang="ru-RU" sz="1400" dirty="0">
                  <a:solidFill>
                    <a:schemeClr val="bg1"/>
                  </a:solidFill>
                  <a:latin typeface="Montserrat" pitchFamily="2" charset="-52"/>
                </a:rPr>
                <a:t> </a:t>
              </a:r>
              <a:r>
                <a:rPr lang="ru-RU" sz="1400" dirty="0" err="1">
                  <a:solidFill>
                    <a:schemeClr val="bg1"/>
                  </a:solidFill>
                  <a:latin typeface="Montserrat" pitchFamily="2" charset="-52"/>
                </a:rPr>
                <a:t>държава</a:t>
              </a:r>
              <a:r>
                <a:rPr lang="ru-RU" sz="1400" dirty="0">
                  <a:solidFill>
                    <a:schemeClr val="bg1"/>
                  </a:solidFill>
                  <a:latin typeface="Montserrat" pitchFamily="2" charset="-52"/>
                </a:rPr>
                <a:t> </a:t>
              </a:r>
              <a:r>
                <a:rPr lang="ru-RU" sz="1400" dirty="0" err="1">
                  <a:solidFill>
                    <a:schemeClr val="bg1"/>
                  </a:solidFill>
                  <a:latin typeface="Montserrat" pitchFamily="2" charset="-52"/>
                </a:rPr>
                <a:t>членка</a:t>
              </a:r>
              <a:r>
                <a:rPr lang="ru-RU" sz="1400" dirty="0">
                  <a:solidFill>
                    <a:schemeClr val="bg1"/>
                  </a:solidFill>
                  <a:latin typeface="Montserrat" pitchFamily="2" charset="-52"/>
                </a:rPr>
                <a:t> </a:t>
              </a:r>
              <a:r>
                <a:rPr lang="ru-RU" sz="1400" dirty="0" err="1">
                  <a:solidFill>
                    <a:schemeClr val="bg1"/>
                  </a:solidFill>
                  <a:latin typeface="Montserrat" pitchFamily="2" charset="-52"/>
                </a:rPr>
                <a:t>изисква</a:t>
              </a:r>
              <a:r>
                <a:rPr lang="ru-RU" sz="1400" dirty="0">
                  <a:solidFill>
                    <a:schemeClr val="bg1"/>
                  </a:solidFill>
                  <a:latin typeface="Montserrat" pitchFamily="2" charset="-52"/>
                </a:rPr>
                <a:t> </a:t>
              </a:r>
              <a:r>
                <a:rPr lang="ru-RU" sz="1400" dirty="0" err="1">
                  <a:solidFill>
                    <a:schemeClr val="bg1"/>
                  </a:solidFill>
                  <a:latin typeface="Montserrat" pitchFamily="2" charset="-52"/>
                </a:rPr>
                <a:t>резюмето</a:t>
              </a:r>
              <a:r>
                <a:rPr lang="ru-RU" sz="1400" dirty="0">
                  <a:solidFill>
                    <a:schemeClr val="bg1"/>
                  </a:solidFill>
                  <a:latin typeface="Montserrat" pitchFamily="2" charset="-52"/>
                </a:rPr>
                <a:t> на проспекта да </a:t>
              </a:r>
              <a:r>
                <a:rPr lang="ru-RU" sz="1400" dirty="0" err="1">
                  <a:solidFill>
                    <a:schemeClr val="bg1"/>
                  </a:solidFill>
                  <a:latin typeface="Montserrat" pitchFamily="2" charset="-52"/>
                </a:rPr>
                <a:t>бъде</a:t>
              </a:r>
              <a:r>
                <a:rPr lang="ru-RU" sz="1400" dirty="0">
                  <a:solidFill>
                    <a:schemeClr val="bg1"/>
                  </a:solidFill>
                  <a:latin typeface="Montserrat" pitchFamily="2" charset="-52"/>
                </a:rPr>
                <a:t> </a:t>
              </a:r>
              <a:r>
                <a:rPr lang="ru-RU" sz="1400" dirty="0" err="1">
                  <a:solidFill>
                    <a:schemeClr val="bg1"/>
                  </a:solidFill>
                  <a:latin typeface="Montserrat" pitchFamily="2" charset="-52"/>
                </a:rPr>
                <a:t>достъпно</a:t>
              </a:r>
              <a:r>
                <a:rPr lang="ru-RU" sz="1400" dirty="0">
                  <a:solidFill>
                    <a:schemeClr val="bg1"/>
                  </a:solidFill>
                  <a:latin typeface="Montserrat" pitchFamily="2" charset="-52"/>
                </a:rPr>
                <a:t> на </a:t>
              </a:r>
              <a:r>
                <a:rPr lang="ru-RU" sz="1400" dirty="0" err="1">
                  <a:solidFill>
                    <a:schemeClr val="bg1"/>
                  </a:solidFill>
                  <a:latin typeface="Montserrat" pitchFamily="2" charset="-52"/>
                </a:rPr>
                <a:t>официалния</a:t>
              </a:r>
              <a:r>
                <a:rPr lang="ru-RU" sz="1400" dirty="0">
                  <a:solidFill>
                    <a:schemeClr val="bg1"/>
                  </a:solidFill>
                  <a:latin typeface="Montserrat" pitchFamily="2" charset="-52"/>
                </a:rPr>
                <a:t> </a:t>
              </a:r>
              <a:r>
                <a:rPr lang="ru-RU" sz="1400" dirty="0" err="1">
                  <a:solidFill>
                    <a:schemeClr val="bg1"/>
                  </a:solidFill>
                  <a:latin typeface="Montserrat" pitchFamily="2" charset="-52"/>
                </a:rPr>
                <a:t>език</a:t>
              </a:r>
              <a:r>
                <a:rPr lang="ru-RU" sz="1400" dirty="0">
                  <a:solidFill>
                    <a:schemeClr val="bg1"/>
                  </a:solidFill>
                  <a:latin typeface="Montserrat" pitchFamily="2" charset="-52"/>
                </a:rPr>
                <a:t> на </a:t>
              </a:r>
              <a:r>
                <a:rPr lang="ru-RU" sz="1400" dirty="0" err="1">
                  <a:solidFill>
                    <a:schemeClr val="bg1"/>
                  </a:solidFill>
                  <a:latin typeface="Montserrat" pitchFamily="2" charset="-52"/>
                </a:rPr>
                <a:t>държавата</a:t>
              </a:r>
              <a:r>
                <a:rPr lang="ru-RU" sz="1400" dirty="0">
                  <a:solidFill>
                    <a:schemeClr val="bg1"/>
                  </a:solidFill>
                  <a:latin typeface="Montserrat" pitchFamily="2" charset="-52"/>
                </a:rPr>
                <a:t> </a:t>
              </a:r>
              <a:r>
                <a:rPr lang="ru-RU" sz="1400" dirty="0" err="1">
                  <a:solidFill>
                    <a:schemeClr val="bg1"/>
                  </a:solidFill>
                  <a:latin typeface="Montserrat" pitchFamily="2" charset="-52"/>
                </a:rPr>
                <a:t>членка</a:t>
              </a:r>
              <a:r>
                <a:rPr lang="ru-RU" sz="1400" dirty="0">
                  <a:solidFill>
                    <a:schemeClr val="bg1"/>
                  </a:solidFill>
                  <a:latin typeface="Montserrat" pitchFamily="2" charset="-52"/>
                </a:rPr>
                <a:t> или </a:t>
              </a:r>
              <a:r>
                <a:rPr lang="ru-RU" sz="1400" dirty="0" err="1">
                  <a:solidFill>
                    <a:schemeClr val="bg1"/>
                  </a:solidFill>
                  <a:latin typeface="Montserrat" pitchFamily="2" charset="-52"/>
                </a:rPr>
                <a:t>поне</a:t>
              </a:r>
              <a:r>
                <a:rPr lang="ru-RU" sz="1400" dirty="0">
                  <a:solidFill>
                    <a:schemeClr val="bg1"/>
                  </a:solidFill>
                  <a:latin typeface="Montserrat" pitchFamily="2" charset="-52"/>
                </a:rPr>
                <a:t> на един от </a:t>
              </a:r>
              <a:r>
                <a:rPr lang="ru-RU" sz="1400" dirty="0" err="1">
                  <a:solidFill>
                    <a:schemeClr val="bg1"/>
                  </a:solidFill>
                  <a:latin typeface="Montserrat" pitchFamily="2" charset="-52"/>
                </a:rPr>
                <a:t>официалните</a:t>
              </a:r>
              <a:r>
                <a:rPr lang="ru-RU" sz="1400" dirty="0">
                  <a:solidFill>
                    <a:schemeClr val="bg1"/>
                  </a:solidFill>
                  <a:latin typeface="Montserrat" pitchFamily="2" charset="-52"/>
                </a:rPr>
                <a:t> ѝ </a:t>
              </a:r>
              <a:r>
                <a:rPr lang="ru-RU" sz="1400" dirty="0" err="1">
                  <a:solidFill>
                    <a:schemeClr val="bg1"/>
                  </a:solidFill>
                  <a:latin typeface="Montserrat" pitchFamily="2" charset="-52"/>
                </a:rPr>
                <a:t>езици</a:t>
              </a:r>
              <a:r>
                <a:rPr lang="ru-RU" sz="1400" dirty="0">
                  <a:solidFill>
                    <a:schemeClr val="bg1"/>
                  </a:solidFill>
                  <a:latin typeface="Montserrat" pitchFamily="2" charset="-52"/>
                </a:rPr>
                <a:t>, или на друг </a:t>
              </a:r>
              <a:r>
                <a:rPr lang="ru-RU" sz="1400" dirty="0" err="1">
                  <a:solidFill>
                    <a:schemeClr val="bg1"/>
                  </a:solidFill>
                  <a:latin typeface="Montserrat" pitchFamily="2" charset="-52"/>
                </a:rPr>
                <a:t>език</a:t>
              </a:r>
              <a:r>
                <a:rPr lang="ru-RU" sz="1400" dirty="0">
                  <a:solidFill>
                    <a:schemeClr val="bg1"/>
                  </a:solidFill>
                  <a:latin typeface="Montserrat" pitchFamily="2" charset="-52"/>
                </a:rPr>
                <a:t>, </a:t>
              </a:r>
              <a:r>
                <a:rPr lang="ru-RU" sz="1400" dirty="0" err="1">
                  <a:solidFill>
                    <a:schemeClr val="bg1"/>
                  </a:solidFill>
                  <a:latin typeface="Montserrat" pitchFamily="2" charset="-52"/>
                </a:rPr>
                <a:t>който</a:t>
              </a:r>
              <a:r>
                <a:rPr lang="ru-RU" sz="1400" dirty="0">
                  <a:solidFill>
                    <a:schemeClr val="bg1"/>
                  </a:solidFill>
                  <a:latin typeface="Montserrat" pitchFamily="2" charset="-52"/>
                </a:rPr>
                <a:t> се приема от </a:t>
              </a:r>
              <a:r>
                <a:rPr lang="ru-RU" sz="1400" dirty="0" err="1">
                  <a:solidFill>
                    <a:schemeClr val="bg1"/>
                  </a:solidFill>
                  <a:latin typeface="Montserrat" pitchFamily="2" charset="-52"/>
                </a:rPr>
                <a:t>компетентния</a:t>
              </a:r>
              <a:r>
                <a:rPr lang="ru-RU" sz="1400" dirty="0">
                  <a:solidFill>
                    <a:schemeClr val="bg1"/>
                  </a:solidFill>
                  <a:latin typeface="Montserrat" pitchFamily="2" charset="-52"/>
                </a:rPr>
                <a:t> орган на </a:t>
              </a:r>
              <a:r>
                <a:rPr lang="ru-RU" sz="1400" dirty="0" err="1">
                  <a:solidFill>
                    <a:schemeClr val="bg1"/>
                  </a:solidFill>
                  <a:latin typeface="Montserrat" pitchFamily="2" charset="-52"/>
                </a:rPr>
                <a:t>тази</a:t>
              </a:r>
              <a:r>
                <a:rPr lang="ru-RU" sz="1400" dirty="0">
                  <a:solidFill>
                    <a:schemeClr val="bg1"/>
                  </a:solidFill>
                  <a:latin typeface="Montserrat" pitchFamily="2" charset="-52"/>
                </a:rPr>
                <a:t> </a:t>
              </a:r>
              <a:r>
                <a:rPr lang="ru-RU" sz="1400" dirty="0" err="1">
                  <a:solidFill>
                    <a:schemeClr val="bg1"/>
                  </a:solidFill>
                  <a:latin typeface="Montserrat" pitchFamily="2" charset="-52"/>
                </a:rPr>
                <a:t>държава</a:t>
              </a:r>
              <a:r>
                <a:rPr lang="ru-RU" sz="1400" dirty="0">
                  <a:solidFill>
                    <a:schemeClr val="bg1"/>
                  </a:solidFill>
                  <a:latin typeface="Montserrat" pitchFamily="2" charset="-52"/>
                </a:rPr>
                <a:t> </a:t>
              </a:r>
              <a:r>
                <a:rPr lang="ru-RU" sz="1400" dirty="0" err="1">
                  <a:solidFill>
                    <a:schemeClr val="bg1"/>
                  </a:solidFill>
                  <a:latin typeface="Montserrat" pitchFamily="2" charset="-52"/>
                </a:rPr>
                <a:t>членка</a:t>
              </a:r>
              <a:r>
                <a:rPr lang="ru-RU" sz="1400" dirty="0">
                  <a:solidFill>
                    <a:schemeClr val="bg1"/>
                  </a:solidFill>
                  <a:latin typeface="Montserrat" pitchFamily="2" charset="-52"/>
                </a:rPr>
                <a:t>, но не </a:t>
              </a:r>
              <a:r>
                <a:rPr lang="ru-RU" sz="1400" dirty="0" err="1">
                  <a:solidFill>
                    <a:schemeClr val="bg1"/>
                  </a:solidFill>
                  <a:latin typeface="Montserrat" pitchFamily="2" charset="-52"/>
                </a:rPr>
                <a:t>изисква</a:t>
              </a:r>
              <a:r>
                <a:rPr lang="ru-RU" sz="1400" dirty="0">
                  <a:solidFill>
                    <a:schemeClr val="bg1"/>
                  </a:solidFill>
                  <a:latin typeface="Montserrat" pitchFamily="2" charset="-52"/>
                </a:rPr>
                <a:t> </a:t>
              </a:r>
              <a:r>
                <a:rPr lang="ru-RU" sz="1400" dirty="0" err="1">
                  <a:solidFill>
                    <a:schemeClr val="bg1"/>
                  </a:solidFill>
                  <a:latin typeface="Montserrat" pitchFamily="2" charset="-52"/>
                </a:rPr>
                <a:t>превод</a:t>
              </a:r>
              <a:r>
                <a:rPr lang="ru-RU" sz="1400" dirty="0">
                  <a:solidFill>
                    <a:schemeClr val="bg1"/>
                  </a:solidFill>
                  <a:latin typeface="Montserrat" pitchFamily="2" charset="-52"/>
                </a:rPr>
                <a:t> на друга част на проспекта.</a:t>
              </a:r>
              <a:endParaRPr lang="bg-BG" sz="1400" dirty="0">
                <a:solidFill>
                  <a:schemeClr val="bg1"/>
                </a:solidFill>
                <a:latin typeface="Montserrat" pitchFamily="2" charset="-52"/>
              </a:endParaRPr>
            </a:p>
          </p:txBody>
        </p:sp>
        <p:grpSp>
          <p:nvGrpSpPr>
            <p:cNvPr id="22" name="Group 21"/>
            <p:cNvGrpSpPr/>
            <p:nvPr/>
          </p:nvGrpSpPr>
          <p:grpSpPr>
            <a:xfrm>
              <a:off x="179998" y="5218253"/>
              <a:ext cx="1883818" cy="1617619"/>
              <a:chOff x="476249" y="1811138"/>
              <a:chExt cx="1442259" cy="1238455"/>
            </a:xfrm>
            <a:effectLst>
              <a:outerShdw blurRad="50800" dist="38100" dir="2700000" algn="tl" rotWithShape="0">
                <a:prstClr val="black">
                  <a:alpha val="40000"/>
                </a:prstClr>
              </a:outerShdw>
            </a:effectLst>
          </p:grpSpPr>
          <p:sp>
            <p:nvSpPr>
              <p:cNvPr id="23" name="Freeform 22"/>
              <p:cNvSpPr/>
              <p:nvPr/>
            </p:nvSpPr>
            <p:spPr>
              <a:xfrm rot="8031290" flipH="1">
                <a:off x="578151" y="1709236"/>
                <a:ext cx="1238455" cy="1442259"/>
              </a:xfrm>
              <a:custGeom>
                <a:avLst/>
                <a:gdLst>
                  <a:gd name="connsiteX0" fmla="*/ 928790 w 1238455"/>
                  <a:gd name="connsiteY0" fmla="*/ 1359210 h 1442259"/>
                  <a:gd name="connsiteX1" fmla="*/ 83050 w 1238455"/>
                  <a:gd name="connsiteY1" fmla="*/ 1132594 h 1442259"/>
                  <a:gd name="connsiteX2" fmla="*/ 309665 w 1238455"/>
                  <a:gd name="connsiteY2" fmla="*/ 286854 h 1442259"/>
                  <a:gd name="connsiteX3" fmla="*/ 542697 w 1238455"/>
                  <a:gd name="connsiteY3" fmla="*/ 208494 h 1442259"/>
                  <a:gd name="connsiteX4" fmla="*/ 561533 w 1238455"/>
                  <a:gd name="connsiteY4" fmla="*/ 207998 h 1442259"/>
                  <a:gd name="connsiteX5" fmla="*/ 682172 w 1238455"/>
                  <a:gd name="connsiteY5" fmla="*/ 0 h 1442259"/>
                  <a:gd name="connsiteX6" fmla="*/ 821852 w 1238455"/>
                  <a:gd name="connsiteY6" fmla="*/ 240828 h 1442259"/>
                  <a:gd name="connsiteX7" fmla="*/ 890756 w 1238455"/>
                  <a:gd name="connsiteY7" fmla="*/ 266556 h 1442259"/>
                  <a:gd name="connsiteX8" fmla="*/ 1155406 w 1238455"/>
                  <a:gd name="connsiteY8" fmla="*/ 513469 h 1442259"/>
                  <a:gd name="connsiteX9" fmla="*/ 928790 w 1238455"/>
                  <a:gd name="connsiteY9" fmla="*/ 1359210 h 1442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8455" h="1442259">
                    <a:moveTo>
                      <a:pt x="928790" y="1359210"/>
                    </a:moveTo>
                    <a:cubicBezTo>
                      <a:pt x="632668" y="1530176"/>
                      <a:pt x="254016" y="1428717"/>
                      <a:pt x="83050" y="1132594"/>
                    </a:cubicBezTo>
                    <a:cubicBezTo>
                      <a:pt x="-87917" y="836471"/>
                      <a:pt x="13543" y="457820"/>
                      <a:pt x="309665" y="286854"/>
                    </a:cubicBezTo>
                    <a:cubicBezTo>
                      <a:pt x="383696" y="244112"/>
                      <a:pt x="462885" y="218397"/>
                      <a:pt x="542697" y="208494"/>
                    </a:cubicBezTo>
                    <a:lnTo>
                      <a:pt x="561533" y="207998"/>
                    </a:lnTo>
                    <a:lnTo>
                      <a:pt x="682172" y="0"/>
                    </a:lnTo>
                    <a:lnTo>
                      <a:pt x="821852" y="240828"/>
                    </a:lnTo>
                    <a:lnTo>
                      <a:pt x="890756" y="266556"/>
                    </a:lnTo>
                    <a:cubicBezTo>
                      <a:pt x="997975" y="318752"/>
                      <a:pt x="1091293" y="402423"/>
                      <a:pt x="1155406" y="513469"/>
                    </a:cubicBezTo>
                    <a:cubicBezTo>
                      <a:pt x="1326372" y="809592"/>
                      <a:pt x="1224913" y="1188243"/>
                      <a:pt x="928790" y="1359210"/>
                    </a:cubicBezTo>
                    <a:close/>
                  </a:path>
                </a:pathLst>
              </a:custGeom>
              <a:solidFill>
                <a:srgbClr val="0D47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4" name="Rectangle 23"/>
              <p:cNvSpPr/>
              <p:nvPr/>
            </p:nvSpPr>
            <p:spPr>
              <a:xfrm>
                <a:off x="690698" y="2117160"/>
                <a:ext cx="901058" cy="400579"/>
              </a:xfrm>
              <a:prstGeom prst="rect">
                <a:avLst/>
              </a:prstGeom>
            </p:spPr>
            <p:txBody>
              <a:bodyPr wrap="none">
                <a:spAutoFit/>
              </a:bodyPr>
              <a:lstStyle/>
              <a:p>
                <a:pPr algn="ctr"/>
                <a:r>
                  <a:rPr lang="bg-BG" sz="1400" dirty="0">
                    <a:solidFill>
                      <a:schemeClr val="bg1"/>
                    </a:solidFill>
                    <a:latin typeface="Montserrat ExtraBold" panose="00000900000000000000" pitchFamily="50" charset="-52"/>
                  </a:rPr>
                  <a:t>Език на </a:t>
                </a:r>
                <a:br>
                  <a:rPr lang="bg-BG" sz="1400" dirty="0">
                    <a:solidFill>
                      <a:schemeClr val="bg1"/>
                    </a:solidFill>
                    <a:latin typeface="Montserrat ExtraBold" panose="00000900000000000000" pitchFamily="50" charset="-52"/>
                  </a:rPr>
                </a:br>
                <a:r>
                  <a:rPr lang="bg-BG" sz="1400" dirty="0">
                    <a:solidFill>
                      <a:schemeClr val="bg1"/>
                    </a:solidFill>
                    <a:latin typeface="Montserrat ExtraBold" panose="00000900000000000000" pitchFamily="50" charset="-52"/>
                  </a:rPr>
                  <a:t>резюмето</a:t>
                </a:r>
              </a:p>
            </p:txBody>
          </p:sp>
        </p:grpSp>
      </p:grpSp>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131552" y="6292745"/>
            <a:ext cx="1876472" cy="361108"/>
          </a:xfrm>
          <a:prstGeom prst="rect">
            <a:avLst/>
          </a:prstGeom>
        </p:spPr>
      </p:pic>
    </p:spTree>
    <p:extLst>
      <p:ext uri="{BB962C8B-B14F-4D97-AF65-F5344CB8AC3E}">
        <p14:creationId xmlns:p14="http://schemas.microsoft.com/office/powerpoint/2010/main" val="258910331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cxnSp>
        <p:nvCxnSpPr>
          <p:cNvPr id="54" name="Straight Connector 53"/>
          <p:cNvCxnSpPr/>
          <p:nvPr/>
        </p:nvCxnSpPr>
        <p:spPr>
          <a:xfrm flipH="1" flipV="1">
            <a:off x="2107297" y="5804736"/>
            <a:ext cx="8013312" cy="6723"/>
          </a:xfrm>
          <a:prstGeom prst="line">
            <a:avLst/>
          </a:prstGeom>
          <a:ln w="19050">
            <a:solidFill>
              <a:srgbClr val="1C76BD"/>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1856809" y="2637675"/>
            <a:ext cx="8255786" cy="646331"/>
          </a:xfrm>
          <a:prstGeom prst="rect">
            <a:avLst/>
          </a:prstGeom>
          <a:noFill/>
        </p:spPr>
        <p:txBody>
          <a:bodyPr wrap="none" rtlCol="0">
            <a:spAutoFit/>
          </a:bodyPr>
          <a:lstStyle/>
          <a:p>
            <a:pPr algn="ctr"/>
            <a:r>
              <a:rPr lang="bg-BG" sz="3600" dirty="0">
                <a:solidFill>
                  <a:schemeClr val="bg1"/>
                </a:solidFill>
                <a:latin typeface="Montserrat Black" pitchFamily="2" charset="-52"/>
              </a:rPr>
              <a:t>БЛАГОДАРЯ ЗА ВНИМАНИЕТО!</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69864" y="337099"/>
            <a:ext cx="1874066" cy="360645"/>
          </a:xfrm>
          <a:prstGeom prst="rect">
            <a:avLst/>
          </a:prstGeom>
        </p:spPr>
      </p:pic>
      <p:grpSp>
        <p:nvGrpSpPr>
          <p:cNvPr id="5" name="Group 4"/>
          <p:cNvGrpSpPr/>
          <p:nvPr/>
        </p:nvGrpSpPr>
        <p:grpSpPr>
          <a:xfrm>
            <a:off x="1459589" y="4617456"/>
            <a:ext cx="9661013" cy="1709562"/>
            <a:chOff x="670601" y="3805497"/>
            <a:chExt cx="11090081" cy="1962442"/>
          </a:xfrm>
        </p:grpSpPr>
        <p:grpSp>
          <p:nvGrpSpPr>
            <p:cNvPr id="9" name="Group 8"/>
            <p:cNvGrpSpPr/>
            <p:nvPr/>
          </p:nvGrpSpPr>
          <p:grpSpPr>
            <a:xfrm>
              <a:off x="1240243" y="4315353"/>
              <a:ext cx="141729" cy="769128"/>
              <a:chOff x="1240242" y="4177241"/>
              <a:chExt cx="141729" cy="769128"/>
            </a:xfrm>
          </p:grpSpPr>
          <p:cxnSp>
            <p:nvCxnSpPr>
              <p:cNvPr id="52" name="Straight Connector 51"/>
              <p:cNvCxnSpPr/>
              <p:nvPr/>
            </p:nvCxnSpPr>
            <p:spPr>
              <a:xfrm>
                <a:off x="1311107" y="4271158"/>
                <a:ext cx="0" cy="675211"/>
              </a:xfrm>
              <a:prstGeom prst="line">
                <a:avLst/>
              </a:prstGeom>
              <a:ln w="19050">
                <a:solidFill>
                  <a:srgbClr val="1C76BD"/>
                </a:solidFill>
              </a:ln>
            </p:spPr>
            <p:style>
              <a:lnRef idx="1">
                <a:schemeClr val="accent1"/>
              </a:lnRef>
              <a:fillRef idx="0">
                <a:schemeClr val="accent1"/>
              </a:fillRef>
              <a:effectRef idx="0">
                <a:schemeClr val="accent1"/>
              </a:effectRef>
              <a:fontRef idx="minor">
                <a:schemeClr val="tx1"/>
              </a:fontRef>
            </p:style>
          </p:cxnSp>
          <p:sp>
            <p:nvSpPr>
              <p:cNvPr id="53" name="Oval 52"/>
              <p:cNvSpPr/>
              <p:nvPr/>
            </p:nvSpPr>
            <p:spPr>
              <a:xfrm>
                <a:off x="1240242" y="4177241"/>
                <a:ext cx="141729" cy="141729"/>
              </a:xfrm>
              <a:prstGeom prst="ellipse">
                <a:avLst/>
              </a:prstGeom>
              <a:solidFill>
                <a:srgbClr val="3392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latin typeface="Arial" panose="020B0604020202020204" pitchFamily="34" charset="0"/>
                  <a:ea typeface="Open Sans" pitchFamily="2" charset="0"/>
                  <a:cs typeface="Arial" panose="020B0604020202020204" pitchFamily="34" charset="0"/>
                </a:endParaRPr>
              </a:p>
            </p:txBody>
          </p:sp>
        </p:grpSp>
        <p:sp>
          <p:nvSpPr>
            <p:cNvPr id="11" name="TextBox 10"/>
            <p:cNvSpPr txBox="1"/>
            <p:nvPr/>
          </p:nvSpPr>
          <p:spPr>
            <a:xfrm>
              <a:off x="670601" y="3921233"/>
              <a:ext cx="1256774" cy="353304"/>
            </a:xfrm>
            <a:prstGeom prst="rect">
              <a:avLst/>
            </a:prstGeom>
            <a:noFill/>
          </p:spPr>
          <p:txBody>
            <a:bodyPr wrap="square" rtlCol="0">
              <a:spAutoFit/>
            </a:bodyPr>
            <a:lstStyle/>
            <a:p>
              <a:r>
                <a:rPr lang="en-US" sz="1400" u="sng" dirty="0">
                  <a:solidFill>
                    <a:schemeClr val="bg1"/>
                  </a:solidFill>
                  <a:latin typeface="Arial" panose="020B0604020202020204" pitchFamily="34" charset="0"/>
                  <a:ea typeface="Open Sans" pitchFamily="2" charset="0"/>
                  <a:cs typeface="Arial" panose="020B0604020202020204" pitchFamily="34" charset="0"/>
                </a:rPr>
                <a:t>www.fsc.bg</a:t>
              </a:r>
              <a:endParaRPr lang="bg-BG" sz="1400" u="sng" dirty="0">
                <a:solidFill>
                  <a:schemeClr val="bg1"/>
                </a:solidFill>
                <a:latin typeface="Arial" panose="020B0604020202020204" pitchFamily="34" charset="0"/>
                <a:ea typeface="Open Sans" pitchFamily="2" charset="0"/>
                <a:cs typeface="Arial" panose="020B0604020202020204" pitchFamily="34" charset="0"/>
              </a:endParaRPr>
            </a:p>
          </p:txBody>
        </p:sp>
        <p:sp>
          <p:nvSpPr>
            <p:cNvPr id="12" name="TextBox 11"/>
            <p:cNvSpPr txBox="1"/>
            <p:nvPr/>
          </p:nvSpPr>
          <p:spPr>
            <a:xfrm>
              <a:off x="4192035" y="3921233"/>
              <a:ext cx="1821409" cy="353304"/>
            </a:xfrm>
            <a:prstGeom prst="rect">
              <a:avLst/>
            </a:prstGeom>
            <a:noFill/>
          </p:spPr>
          <p:txBody>
            <a:bodyPr wrap="square" rtlCol="0">
              <a:spAutoFit/>
            </a:bodyPr>
            <a:lstStyle/>
            <a:p>
              <a:pPr algn="ctr"/>
              <a:r>
                <a:rPr lang="en-US" sz="1400" dirty="0">
                  <a:solidFill>
                    <a:schemeClr val="bg1"/>
                  </a:solidFill>
                  <a:latin typeface="Arial" panose="020B0604020202020204" pitchFamily="34" charset="0"/>
                  <a:ea typeface="Open Sans" pitchFamily="2" charset="0"/>
                  <a:cs typeface="Arial" panose="020B0604020202020204" pitchFamily="34" charset="0"/>
                </a:rPr>
                <a:t>FSC Mobile</a:t>
              </a:r>
              <a:endParaRPr lang="bg-BG" sz="1400" dirty="0">
                <a:solidFill>
                  <a:schemeClr val="bg1"/>
                </a:solidFill>
                <a:latin typeface="Arial" panose="020B0604020202020204" pitchFamily="34" charset="0"/>
                <a:ea typeface="Open Sans" pitchFamily="2" charset="0"/>
                <a:cs typeface="Arial" panose="020B0604020202020204" pitchFamily="34" charset="0"/>
              </a:endParaRPr>
            </a:p>
          </p:txBody>
        </p:sp>
        <p:sp>
          <p:nvSpPr>
            <p:cNvPr id="13" name="TextBox 12"/>
            <p:cNvSpPr txBox="1"/>
            <p:nvPr/>
          </p:nvSpPr>
          <p:spPr>
            <a:xfrm>
              <a:off x="6117554" y="3813511"/>
              <a:ext cx="1679751" cy="600615"/>
            </a:xfrm>
            <a:prstGeom prst="rect">
              <a:avLst/>
            </a:prstGeom>
            <a:noFill/>
          </p:spPr>
          <p:txBody>
            <a:bodyPr wrap="square" rtlCol="0">
              <a:spAutoFit/>
            </a:bodyPr>
            <a:lstStyle/>
            <a:p>
              <a:pPr algn="ctr"/>
              <a:r>
                <a:rPr lang="en-US" sz="1400" dirty="0">
                  <a:solidFill>
                    <a:schemeClr val="bg1"/>
                  </a:solidFill>
                  <a:latin typeface="Arial" panose="020B0604020202020204" pitchFamily="34" charset="0"/>
                  <a:ea typeface="Open Sans" pitchFamily="2" charset="0"/>
                  <a:cs typeface="Arial" panose="020B0604020202020204" pitchFamily="34" charset="0"/>
                </a:rPr>
                <a:t>#</a:t>
              </a:r>
              <a:r>
                <a:rPr lang="bg-BG" sz="1400" dirty="0">
                  <a:solidFill>
                    <a:schemeClr val="bg1"/>
                  </a:solidFill>
                  <a:latin typeface="Arial" panose="020B0604020202020204" pitchFamily="34" charset="0"/>
                  <a:ea typeface="Open Sans" pitchFamily="2" charset="0"/>
                  <a:cs typeface="Arial" panose="020B0604020202020204" pitchFamily="34" charset="0"/>
                </a:rPr>
                <a:t>Инвестирай безопасно</a:t>
              </a:r>
            </a:p>
          </p:txBody>
        </p:sp>
        <p:sp>
          <p:nvSpPr>
            <p:cNvPr id="14" name="TextBox 13"/>
            <p:cNvSpPr txBox="1"/>
            <p:nvPr/>
          </p:nvSpPr>
          <p:spPr>
            <a:xfrm>
              <a:off x="7683552" y="3805497"/>
              <a:ext cx="2385311" cy="600615"/>
            </a:xfrm>
            <a:prstGeom prst="rect">
              <a:avLst/>
            </a:prstGeom>
            <a:noFill/>
          </p:spPr>
          <p:txBody>
            <a:bodyPr wrap="square" rtlCol="0">
              <a:spAutoFit/>
            </a:bodyPr>
            <a:lstStyle/>
            <a:p>
              <a:pPr algn="ctr"/>
              <a:r>
                <a:rPr lang="en-US" sz="1400" dirty="0">
                  <a:solidFill>
                    <a:schemeClr val="bg1"/>
                  </a:solidFill>
                  <a:latin typeface="Arial" panose="020B0604020202020204" pitchFamily="34" charset="0"/>
                  <a:ea typeface="Open Sans" pitchFamily="2" charset="0"/>
                  <a:cs typeface="Arial" panose="020B0604020202020204" pitchFamily="34" charset="0"/>
                </a:rPr>
                <a:t>#Financial supervision commission</a:t>
              </a:r>
              <a:endParaRPr lang="bg-BG" sz="1400" dirty="0">
                <a:solidFill>
                  <a:schemeClr val="bg1"/>
                </a:solidFill>
                <a:latin typeface="Arial" panose="020B0604020202020204" pitchFamily="34" charset="0"/>
                <a:ea typeface="Open Sans" pitchFamily="2" charset="0"/>
                <a:cs typeface="Arial" panose="020B0604020202020204" pitchFamily="34" charset="0"/>
              </a:endParaRPr>
            </a:p>
          </p:txBody>
        </p:sp>
        <p:sp>
          <p:nvSpPr>
            <p:cNvPr id="15" name="TextBox 14"/>
            <p:cNvSpPr txBox="1"/>
            <p:nvPr/>
          </p:nvSpPr>
          <p:spPr>
            <a:xfrm>
              <a:off x="9724659" y="3813511"/>
              <a:ext cx="2036023" cy="600615"/>
            </a:xfrm>
            <a:prstGeom prst="rect">
              <a:avLst/>
            </a:prstGeom>
            <a:noFill/>
          </p:spPr>
          <p:txBody>
            <a:bodyPr wrap="square" rtlCol="0">
              <a:spAutoFit/>
            </a:bodyPr>
            <a:lstStyle/>
            <a:p>
              <a:pPr algn="ctr"/>
              <a:r>
                <a:rPr lang="bg-BG" sz="1400" dirty="0">
                  <a:solidFill>
                    <a:schemeClr val="bg1"/>
                  </a:solidFill>
                  <a:latin typeface="Arial" panose="020B0604020202020204" pitchFamily="34" charset="0"/>
                  <a:ea typeface="Open Sans" pitchFamily="2" charset="0"/>
                  <a:cs typeface="Arial" panose="020B0604020202020204" pitchFamily="34" charset="0"/>
                </a:rPr>
                <a:t>Комисия за финансов надзор</a:t>
              </a:r>
            </a:p>
          </p:txBody>
        </p:sp>
        <p:sp>
          <p:nvSpPr>
            <p:cNvPr id="16" name="TextBox 15"/>
            <p:cNvSpPr txBox="1"/>
            <p:nvPr/>
          </p:nvSpPr>
          <p:spPr>
            <a:xfrm>
              <a:off x="2131462" y="3921233"/>
              <a:ext cx="2154144" cy="353304"/>
            </a:xfrm>
            <a:prstGeom prst="rect">
              <a:avLst/>
            </a:prstGeom>
            <a:noFill/>
          </p:spPr>
          <p:txBody>
            <a:bodyPr wrap="square" rtlCol="0">
              <a:spAutoFit/>
            </a:bodyPr>
            <a:lstStyle/>
            <a:p>
              <a:pPr algn="ctr"/>
              <a:r>
                <a:rPr lang="en-US" sz="1400" u="sng" dirty="0">
                  <a:solidFill>
                    <a:schemeClr val="bg1"/>
                  </a:solidFill>
                  <a:latin typeface="Arial" panose="020B0604020202020204" pitchFamily="34" charset="0"/>
                  <a:ea typeface="Open Sans" pitchFamily="2" charset="0"/>
                  <a:cs typeface="Arial" panose="020B0604020202020204" pitchFamily="34" charset="0"/>
                </a:rPr>
                <a:t>www.eis.fsc.bg</a:t>
              </a:r>
              <a:endParaRPr lang="bg-BG" sz="1400" u="sng" dirty="0">
                <a:solidFill>
                  <a:schemeClr val="bg1"/>
                </a:solidFill>
                <a:latin typeface="Arial" panose="020B0604020202020204" pitchFamily="34" charset="0"/>
                <a:ea typeface="Open Sans" pitchFamily="2" charset="0"/>
                <a:cs typeface="Arial" panose="020B0604020202020204" pitchFamily="34" charset="0"/>
              </a:endParaRPr>
            </a:p>
          </p:txBody>
        </p:sp>
        <p:grpSp>
          <p:nvGrpSpPr>
            <p:cNvPr id="19" name="Group 18"/>
            <p:cNvGrpSpPr/>
            <p:nvPr/>
          </p:nvGrpSpPr>
          <p:grpSpPr>
            <a:xfrm>
              <a:off x="3130938" y="4315353"/>
              <a:ext cx="141729" cy="769128"/>
              <a:chOff x="1240242" y="4177241"/>
              <a:chExt cx="141729" cy="769128"/>
            </a:xfrm>
          </p:grpSpPr>
          <p:cxnSp>
            <p:nvCxnSpPr>
              <p:cNvPr id="50" name="Straight Connector 49"/>
              <p:cNvCxnSpPr/>
              <p:nvPr/>
            </p:nvCxnSpPr>
            <p:spPr>
              <a:xfrm>
                <a:off x="1311107" y="4271158"/>
                <a:ext cx="0" cy="675211"/>
              </a:xfrm>
              <a:prstGeom prst="line">
                <a:avLst/>
              </a:prstGeom>
              <a:ln w="19050">
                <a:solidFill>
                  <a:srgbClr val="1C76BD"/>
                </a:solidFill>
              </a:ln>
            </p:spPr>
            <p:style>
              <a:lnRef idx="1">
                <a:schemeClr val="accent1"/>
              </a:lnRef>
              <a:fillRef idx="0">
                <a:schemeClr val="accent1"/>
              </a:fillRef>
              <a:effectRef idx="0">
                <a:schemeClr val="accent1"/>
              </a:effectRef>
              <a:fontRef idx="minor">
                <a:schemeClr val="tx1"/>
              </a:fontRef>
            </p:style>
          </p:cxnSp>
          <p:sp>
            <p:nvSpPr>
              <p:cNvPr id="51" name="Oval 50"/>
              <p:cNvSpPr/>
              <p:nvPr/>
            </p:nvSpPr>
            <p:spPr>
              <a:xfrm>
                <a:off x="1240242" y="4177241"/>
                <a:ext cx="141729" cy="141729"/>
              </a:xfrm>
              <a:prstGeom prst="ellipse">
                <a:avLst/>
              </a:prstGeom>
              <a:solidFill>
                <a:srgbClr val="3392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latin typeface="Arial" panose="020B0604020202020204" pitchFamily="34" charset="0"/>
                  <a:ea typeface="Open Sans" pitchFamily="2" charset="0"/>
                  <a:cs typeface="Arial" panose="020B0604020202020204" pitchFamily="34" charset="0"/>
                </a:endParaRPr>
              </a:p>
            </p:txBody>
          </p:sp>
        </p:grpSp>
        <p:grpSp>
          <p:nvGrpSpPr>
            <p:cNvPr id="20" name="Group 19"/>
            <p:cNvGrpSpPr/>
            <p:nvPr/>
          </p:nvGrpSpPr>
          <p:grpSpPr>
            <a:xfrm>
              <a:off x="5031875" y="4315353"/>
              <a:ext cx="141729" cy="769128"/>
              <a:chOff x="1240242" y="4177241"/>
              <a:chExt cx="141729" cy="769128"/>
            </a:xfrm>
          </p:grpSpPr>
          <p:cxnSp>
            <p:nvCxnSpPr>
              <p:cNvPr id="48" name="Straight Connector 47"/>
              <p:cNvCxnSpPr/>
              <p:nvPr/>
            </p:nvCxnSpPr>
            <p:spPr>
              <a:xfrm>
                <a:off x="1311107" y="4271158"/>
                <a:ext cx="0" cy="675211"/>
              </a:xfrm>
              <a:prstGeom prst="line">
                <a:avLst/>
              </a:prstGeom>
              <a:ln w="19050">
                <a:solidFill>
                  <a:srgbClr val="1C76BD"/>
                </a:solidFill>
              </a:ln>
            </p:spPr>
            <p:style>
              <a:lnRef idx="1">
                <a:schemeClr val="accent1"/>
              </a:lnRef>
              <a:fillRef idx="0">
                <a:schemeClr val="accent1"/>
              </a:fillRef>
              <a:effectRef idx="0">
                <a:schemeClr val="accent1"/>
              </a:effectRef>
              <a:fontRef idx="minor">
                <a:schemeClr val="tx1"/>
              </a:fontRef>
            </p:style>
          </p:cxnSp>
          <p:sp>
            <p:nvSpPr>
              <p:cNvPr id="49" name="Oval 48"/>
              <p:cNvSpPr/>
              <p:nvPr/>
            </p:nvSpPr>
            <p:spPr>
              <a:xfrm>
                <a:off x="1240242" y="4177241"/>
                <a:ext cx="141729" cy="141729"/>
              </a:xfrm>
              <a:prstGeom prst="ellipse">
                <a:avLst/>
              </a:prstGeom>
              <a:solidFill>
                <a:srgbClr val="3392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latin typeface="Arial" panose="020B0604020202020204" pitchFamily="34" charset="0"/>
                  <a:ea typeface="Open Sans" pitchFamily="2" charset="0"/>
                  <a:cs typeface="Arial" panose="020B0604020202020204" pitchFamily="34" charset="0"/>
                </a:endParaRPr>
              </a:p>
            </p:txBody>
          </p:sp>
        </p:grpSp>
        <p:grpSp>
          <p:nvGrpSpPr>
            <p:cNvPr id="21" name="Group 20"/>
            <p:cNvGrpSpPr/>
            <p:nvPr/>
          </p:nvGrpSpPr>
          <p:grpSpPr>
            <a:xfrm>
              <a:off x="6924496" y="4315353"/>
              <a:ext cx="141729" cy="769128"/>
              <a:chOff x="1240242" y="4177241"/>
              <a:chExt cx="141729" cy="769128"/>
            </a:xfrm>
          </p:grpSpPr>
          <p:cxnSp>
            <p:nvCxnSpPr>
              <p:cNvPr id="46" name="Straight Connector 45"/>
              <p:cNvCxnSpPr/>
              <p:nvPr/>
            </p:nvCxnSpPr>
            <p:spPr>
              <a:xfrm>
                <a:off x="1311107" y="4271158"/>
                <a:ext cx="0" cy="675211"/>
              </a:xfrm>
              <a:prstGeom prst="line">
                <a:avLst/>
              </a:prstGeom>
              <a:ln w="19050">
                <a:solidFill>
                  <a:srgbClr val="1C76BD"/>
                </a:solidFill>
              </a:ln>
            </p:spPr>
            <p:style>
              <a:lnRef idx="1">
                <a:schemeClr val="accent1"/>
              </a:lnRef>
              <a:fillRef idx="0">
                <a:schemeClr val="accent1"/>
              </a:fillRef>
              <a:effectRef idx="0">
                <a:schemeClr val="accent1"/>
              </a:effectRef>
              <a:fontRef idx="minor">
                <a:schemeClr val="tx1"/>
              </a:fontRef>
            </p:style>
          </p:cxnSp>
          <p:sp>
            <p:nvSpPr>
              <p:cNvPr id="47" name="Oval 46"/>
              <p:cNvSpPr/>
              <p:nvPr/>
            </p:nvSpPr>
            <p:spPr>
              <a:xfrm>
                <a:off x="1240242" y="4177241"/>
                <a:ext cx="141729" cy="141729"/>
              </a:xfrm>
              <a:prstGeom prst="ellipse">
                <a:avLst/>
              </a:prstGeom>
              <a:solidFill>
                <a:srgbClr val="3392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latin typeface="Arial" panose="020B0604020202020204" pitchFamily="34" charset="0"/>
                  <a:ea typeface="Open Sans" pitchFamily="2" charset="0"/>
                  <a:cs typeface="Arial" panose="020B0604020202020204" pitchFamily="34" charset="0"/>
                </a:endParaRPr>
              </a:p>
            </p:txBody>
          </p:sp>
        </p:grpSp>
        <p:grpSp>
          <p:nvGrpSpPr>
            <p:cNvPr id="22" name="Group 21"/>
            <p:cNvGrpSpPr/>
            <p:nvPr/>
          </p:nvGrpSpPr>
          <p:grpSpPr>
            <a:xfrm>
              <a:off x="8817117" y="4315353"/>
              <a:ext cx="141729" cy="769128"/>
              <a:chOff x="1240242" y="4177241"/>
              <a:chExt cx="141729" cy="769128"/>
            </a:xfrm>
          </p:grpSpPr>
          <p:cxnSp>
            <p:nvCxnSpPr>
              <p:cNvPr id="44" name="Straight Connector 43"/>
              <p:cNvCxnSpPr/>
              <p:nvPr/>
            </p:nvCxnSpPr>
            <p:spPr>
              <a:xfrm>
                <a:off x="1311107" y="4271158"/>
                <a:ext cx="0" cy="675211"/>
              </a:xfrm>
              <a:prstGeom prst="line">
                <a:avLst/>
              </a:prstGeom>
              <a:ln w="19050">
                <a:solidFill>
                  <a:srgbClr val="1C76BD"/>
                </a:solidFill>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1240242" y="4177241"/>
                <a:ext cx="141729" cy="141729"/>
              </a:xfrm>
              <a:prstGeom prst="ellipse">
                <a:avLst/>
              </a:prstGeom>
              <a:solidFill>
                <a:srgbClr val="3392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latin typeface="Arial" panose="020B0604020202020204" pitchFamily="34" charset="0"/>
                  <a:ea typeface="Open Sans" pitchFamily="2" charset="0"/>
                  <a:cs typeface="Arial" panose="020B0604020202020204" pitchFamily="34" charset="0"/>
                </a:endParaRPr>
              </a:p>
            </p:txBody>
          </p:sp>
        </p:grpSp>
        <p:grpSp>
          <p:nvGrpSpPr>
            <p:cNvPr id="23" name="Group 22"/>
            <p:cNvGrpSpPr/>
            <p:nvPr/>
          </p:nvGrpSpPr>
          <p:grpSpPr>
            <a:xfrm>
              <a:off x="10726336" y="4315353"/>
              <a:ext cx="141729" cy="769128"/>
              <a:chOff x="1240242" y="4177241"/>
              <a:chExt cx="141729" cy="769128"/>
            </a:xfrm>
          </p:grpSpPr>
          <p:cxnSp>
            <p:nvCxnSpPr>
              <p:cNvPr id="42" name="Straight Connector 41"/>
              <p:cNvCxnSpPr/>
              <p:nvPr/>
            </p:nvCxnSpPr>
            <p:spPr>
              <a:xfrm>
                <a:off x="1311107" y="4271158"/>
                <a:ext cx="0" cy="675211"/>
              </a:xfrm>
              <a:prstGeom prst="line">
                <a:avLst/>
              </a:prstGeom>
              <a:ln w="19050">
                <a:solidFill>
                  <a:srgbClr val="1C76BD"/>
                </a:solidFill>
              </a:ln>
            </p:spPr>
            <p:style>
              <a:lnRef idx="1">
                <a:schemeClr val="accent1"/>
              </a:lnRef>
              <a:fillRef idx="0">
                <a:schemeClr val="accent1"/>
              </a:fillRef>
              <a:effectRef idx="0">
                <a:schemeClr val="accent1"/>
              </a:effectRef>
              <a:fontRef idx="minor">
                <a:schemeClr val="tx1"/>
              </a:fontRef>
            </p:style>
          </p:cxnSp>
          <p:sp>
            <p:nvSpPr>
              <p:cNvPr id="43" name="Oval 42"/>
              <p:cNvSpPr/>
              <p:nvPr/>
            </p:nvSpPr>
            <p:spPr>
              <a:xfrm>
                <a:off x="1240242" y="4177241"/>
                <a:ext cx="141729" cy="141729"/>
              </a:xfrm>
              <a:prstGeom prst="ellipse">
                <a:avLst/>
              </a:prstGeom>
              <a:solidFill>
                <a:srgbClr val="3392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latin typeface="Arial" panose="020B0604020202020204" pitchFamily="34" charset="0"/>
                  <a:ea typeface="Open Sans" pitchFamily="2" charset="0"/>
                  <a:cs typeface="Arial" panose="020B0604020202020204" pitchFamily="34" charset="0"/>
                </a:endParaRPr>
              </a:p>
            </p:txBody>
          </p:sp>
        </p:grpSp>
        <p:pic>
          <p:nvPicPr>
            <p:cNvPr id="24" name="Picture 23"/>
            <p:cNvPicPr>
              <a:picLocks noChangeAspect="1"/>
            </p:cNvPicPr>
            <p:nvPr/>
          </p:nvPicPr>
          <p:blipFill>
            <a:blip r:embed="rId4" cstate="print">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val="0"/>
                </a:ext>
              </a:extLst>
            </a:blip>
            <a:stretch>
              <a:fillRect/>
            </a:stretch>
          </p:blipFill>
          <p:spPr>
            <a:xfrm>
              <a:off x="731520" y="4608764"/>
              <a:ext cx="1159175" cy="1159175"/>
            </a:xfrm>
            <a:prstGeom prst="rect">
              <a:avLst/>
            </a:prstGeom>
          </p:spPr>
        </p:pic>
        <p:pic>
          <p:nvPicPr>
            <p:cNvPr id="25" name="Picture 24"/>
            <p:cNvPicPr>
              <a:picLocks noChangeAspect="1"/>
            </p:cNvPicPr>
            <p:nvPr/>
          </p:nvPicPr>
          <p:blipFill>
            <a:blip r:embed="rId4" cstate="print">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val="0"/>
                </a:ext>
              </a:extLst>
            </a:blip>
            <a:stretch>
              <a:fillRect/>
            </a:stretch>
          </p:blipFill>
          <p:spPr>
            <a:xfrm>
              <a:off x="6409383" y="4608764"/>
              <a:ext cx="1159175" cy="1159175"/>
            </a:xfrm>
            <a:prstGeom prst="rect">
              <a:avLst/>
            </a:prstGeom>
          </p:spPr>
        </p:pic>
        <p:pic>
          <p:nvPicPr>
            <p:cNvPr id="26" name="Picture 25"/>
            <p:cNvPicPr>
              <a:picLocks noChangeAspect="1"/>
            </p:cNvPicPr>
            <p:nvPr/>
          </p:nvPicPr>
          <p:blipFill>
            <a:blip r:embed="rId4" cstate="print">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val="0"/>
                </a:ext>
              </a:extLst>
            </a:blip>
            <a:stretch>
              <a:fillRect/>
            </a:stretch>
          </p:blipFill>
          <p:spPr>
            <a:xfrm>
              <a:off x="4516762" y="4608764"/>
              <a:ext cx="1159175" cy="1159175"/>
            </a:xfrm>
            <a:prstGeom prst="rect">
              <a:avLst/>
            </a:prstGeom>
          </p:spPr>
        </p:pic>
        <p:pic>
          <p:nvPicPr>
            <p:cNvPr id="27" name="Picture 26"/>
            <p:cNvPicPr>
              <a:picLocks noChangeAspect="1"/>
            </p:cNvPicPr>
            <p:nvPr/>
          </p:nvPicPr>
          <p:blipFill>
            <a:blip r:embed="rId4" cstate="print">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val="0"/>
                </a:ext>
              </a:extLst>
            </a:blip>
            <a:stretch>
              <a:fillRect/>
            </a:stretch>
          </p:blipFill>
          <p:spPr>
            <a:xfrm>
              <a:off x="10194625" y="4608764"/>
              <a:ext cx="1159175" cy="1159175"/>
            </a:xfrm>
            <a:prstGeom prst="rect">
              <a:avLst/>
            </a:prstGeom>
          </p:spPr>
        </p:pic>
        <p:pic>
          <p:nvPicPr>
            <p:cNvPr id="28" name="Picture 27"/>
            <p:cNvPicPr>
              <a:picLocks noChangeAspect="1"/>
            </p:cNvPicPr>
            <p:nvPr/>
          </p:nvPicPr>
          <p:blipFill>
            <a:blip r:embed="rId4" cstate="print">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val="0"/>
                </a:ext>
              </a:extLst>
            </a:blip>
            <a:stretch>
              <a:fillRect/>
            </a:stretch>
          </p:blipFill>
          <p:spPr>
            <a:xfrm>
              <a:off x="2624141" y="4608764"/>
              <a:ext cx="1159175" cy="1159175"/>
            </a:xfrm>
            <a:prstGeom prst="rect">
              <a:avLst/>
            </a:prstGeom>
          </p:spPr>
        </p:pic>
        <p:pic>
          <p:nvPicPr>
            <p:cNvPr id="29" name="Picture 28"/>
            <p:cNvPicPr>
              <a:picLocks noChangeAspect="1"/>
            </p:cNvPicPr>
            <p:nvPr/>
          </p:nvPicPr>
          <p:blipFill>
            <a:blip r:embed="rId4" cstate="print">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val="0"/>
                </a:ext>
              </a:extLst>
            </a:blip>
            <a:stretch>
              <a:fillRect/>
            </a:stretch>
          </p:blipFill>
          <p:spPr>
            <a:xfrm>
              <a:off x="8302004" y="4608764"/>
              <a:ext cx="1159175" cy="1159175"/>
            </a:xfrm>
            <a:prstGeom prst="rect">
              <a:avLst/>
            </a:prstGeom>
          </p:spPr>
        </p:pic>
        <p:sp>
          <p:nvSpPr>
            <p:cNvPr id="30" name="Oval 29"/>
            <p:cNvSpPr/>
            <p:nvPr/>
          </p:nvSpPr>
          <p:spPr>
            <a:xfrm>
              <a:off x="917915" y="4795159"/>
              <a:ext cx="786384" cy="78638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latin typeface="Arial" panose="020B0604020202020204" pitchFamily="34" charset="0"/>
                <a:ea typeface="Open Sans" pitchFamily="2" charset="0"/>
                <a:cs typeface="Arial" panose="020B0604020202020204" pitchFamily="34" charset="0"/>
              </a:endParaRPr>
            </a:p>
          </p:txBody>
        </p:sp>
        <p:sp>
          <p:nvSpPr>
            <p:cNvPr id="31" name="Oval 30"/>
            <p:cNvSpPr/>
            <p:nvPr/>
          </p:nvSpPr>
          <p:spPr>
            <a:xfrm>
              <a:off x="2815342" y="4795159"/>
              <a:ext cx="786384" cy="78638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latin typeface="Arial" panose="020B0604020202020204" pitchFamily="34" charset="0"/>
                <a:ea typeface="Open Sans" pitchFamily="2" charset="0"/>
                <a:cs typeface="Arial" panose="020B0604020202020204" pitchFamily="34" charset="0"/>
              </a:endParaRPr>
            </a:p>
          </p:txBody>
        </p:sp>
        <p:sp>
          <p:nvSpPr>
            <p:cNvPr id="32" name="Oval 31"/>
            <p:cNvSpPr/>
            <p:nvPr/>
          </p:nvSpPr>
          <p:spPr>
            <a:xfrm>
              <a:off x="4703157" y="4795159"/>
              <a:ext cx="786384" cy="78638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latin typeface="Arial" panose="020B0604020202020204" pitchFamily="34" charset="0"/>
                <a:ea typeface="Open Sans" pitchFamily="2" charset="0"/>
                <a:cs typeface="Arial" panose="020B0604020202020204" pitchFamily="34" charset="0"/>
              </a:endParaRPr>
            </a:p>
          </p:txBody>
        </p:sp>
        <p:sp>
          <p:nvSpPr>
            <p:cNvPr id="33" name="Oval 32"/>
            <p:cNvSpPr/>
            <p:nvPr/>
          </p:nvSpPr>
          <p:spPr>
            <a:xfrm>
              <a:off x="6595778" y="4803718"/>
              <a:ext cx="786384" cy="78638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latin typeface="Arial" panose="020B0604020202020204" pitchFamily="34" charset="0"/>
                <a:ea typeface="Open Sans" pitchFamily="2" charset="0"/>
                <a:cs typeface="Arial" panose="020B0604020202020204" pitchFamily="34" charset="0"/>
              </a:endParaRPr>
            </a:p>
          </p:txBody>
        </p:sp>
        <p:sp>
          <p:nvSpPr>
            <p:cNvPr id="34" name="Oval 33"/>
            <p:cNvSpPr/>
            <p:nvPr/>
          </p:nvSpPr>
          <p:spPr>
            <a:xfrm>
              <a:off x="8492044" y="4795159"/>
              <a:ext cx="786384" cy="78638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latin typeface="Arial" panose="020B0604020202020204" pitchFamily="34" charset="0"/>
                <a:ea typeface="Open Sans" pitchFamily="2" charset="0"/>
                <a:cs typeface="Arial" panose="020B0604020202020204" pitchFamily="34" charset="0"/>
              </a:endParaRPr>
            </a:p>
          </p:txBody>
        </p:sp>
        <p:sp>
          <p:nvSpPr>
            <p:cNvPr id="35" name="Oval 34"/>
            <p:cNvSpPr/>
            <p:nvPr/>
          </p:nvSpPr>
          <p:spPr>
            <a:xfrm>
              <a:off x="10389455" y="4795159"/>
              <a:ext cx="786384" cy="78638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latin typeface="Arial" panose="020B0604020202020204" pitchFamily="34" charset="0"/>
                <a:ea typeface="Open Sans" pitchFamily="2" charset="0"/>
                <a:cs typeface="Arial" panose="020B0604020202020204" pitchFamily="34" charset="0"/>
              </a:endParaRPr>
            </a:p>
          </p:txBody>
        </p:sp>
        <p:pic>
          <p:nvPicPr>
            <p:cNvPr id="36" name="Picture 35"/>
            <p:cNvPicPr>
              <a:picLocks noChangeAspect="1"/>
            </p:cNvPicPr>
            <p:nvPr/>
          </p:nvPicPr>
          <p:blipFill>
            <a:blip r:embed="rId6" cstate="print">
              <a:duotone>
                <a:schemeClr val="accent1">
                  <a:shade val="45000"/>
                  <a:satMod val="135000"/>
                </a:schemeClr>
                <a:prstClr val="white"/>
              </a:duotone>
              <a:extLst>
                <a:ext uri="{BEBA8EAE-BF5A-486C-A8C5-ECC9F3942E4B}">
                  <a14:imgProps xmlns:a14="http://schemas.microsoft.com/office/drawing/2010/main">
                    <a14:imgLayer r:embed="rId7">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977327" y="4852916"/>
              <a:ext cx="647080" cy="687988"/>
            </a:xfrm>
            <a:prstGeom prst="rect">
              <a:avLst/>
            </a:prstGeom>
          </p:spPr>
        </p:pic>
        <p:pic>
          <p:nvPicPr>
            <p:cNvPr id="37" name="Picture 36"/>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917433" y="4861780"/>
              <a:ext cx="582408" cy="653139"/>
            </a:xfrm>
            <a:prstGeom prst="rect">
              <a:avLst/>
            </a:prstGeom>
          </p:spPr>
        </p:pic>
        <p:pic>
          <p:nvPicPr>
            <p:cNvPr id="38" name="Picture 37"/>
            <p:cNvPicPr>
              <a:picLocks noChangeAspect="1"/>
            </p:cNvPicPr>
            <p:nvPr/>
          </p:nvPicPr>
          <p:blipFill rotWithShape="1">
            <a:blip r:embed="rId9"/>
            <a:srcRect l="3979" t="9342" r="2486" b="4735"/>
            <a:stretch/>
          </p:blipFill>
          <p:spPr>
            <a:xfrm>
              <a:off x="4737327" y="4852596"/>
              <a:ext cx="710341" cy="688628"/>
            </a:xfrm>
            <a:prstGeom prst="ellipse">
              <a:avLst/>
            </a:prstGeom>
          </p:spPr>
        </p:pic>
        <p:pic>
          <p:nvPicPr>
            <p:cNvPr id="39" name="Picture 38"/>
            <p:cNvPicPr>
              <a:picLocks noChangeAspect="1"/>
            </p:cNvPicPr>
            <p:nvPr/>
          </p:nvPicPr>
          <p:blipFill rotWithShape="1">
            <a:blip r:embed="rId10" cstate="print">
              <a:extLst>
                <a:ext uri="{28A0092B-C50C-407E-A947-70E740481C1C}">
                  <a14:useLocalDpi xmlns:a14="http://schemas.microsoft.com/office/drawing/2010/main" val="0"/>
                </a:ext>
              </a:extLst>
            </a:blip>
            <a:srcRect l="5340" t="28728" r="72191" b="34358"/>
            <a:stretch/>
          </p:blipFill>
          <p:spPr>
            <a:xfrm>
              <a:off x="6669396" y="4856785"/>
              <a:ext cx="639148" cy="698329"/>
            </a:xfrm>
            <a:prstGeom prst="ellipse">
              <a:avLst/>
            </a:prstGeom>
          </p:spPr>
        </p:pic>
        <p:pic>
          <p:nvPicPr>
            <p:cNvPr id="40" name="Picture 2" descr="Linkedin Logo - Free Vectors &amp; PSDs to Download"/>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5026" t="6057" r="5505" b="5247"/>
            <a:stretch/>
          </p:blipFill>
          <p:spPr bwMode="auto">
            <a:xfrm>
              <a:off x="8569064" y="4863019"/>
              <a:ext cx="639554" cy="634029"/>
            </a:xfrm>
            <a:prstGeom prst="ellipse">
              <a:avLst/>
            </a:prstGeom>
            <a:noFill/>
            <a:extLst>
              <a:ext uri="{909E8E84-426E-40DD-AFC4-6F175D3DCCD1}">
                <a14:hiddenFill xmlns:a14="http://schemas.microsoft.com/office/drawing/2010/main">
                  <a:solidFill>
                    <a:srgbClr val="FFFFFF"/>
                  </a:solidFill>
                </a14:hiddenFill>
              </a:ext>
            </a:extLst>
          </p:spPr>
        </p:pic>
        <p:pic>
          <p:nvPicPr>
            <p:cNvPr id="41" name="Picture 4" descr="Youtube Logo - Free Vectors &amp; PSDs to Download"/>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26001" t="25611" r="24706" b="26349"/>
            <a:stretch/>
          </p:blipFill>
          <p:spPr bwMode="auto">
            <a:xfrm>
              <a:off x="10449240" y="4883131"/>
              <a:ext cx="643910" cy="627557"/>
            </a:xfrm>
            <a:prstGeom prst="ellipse">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07977726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66D78-54A5-1044-A741-2366FF5E52CC}"/>
              </a:ext>
            </a:extLst>
          </p:cNvPr>
          <p:cNvSpPr>
            <a:spLocks noGrp="1"/>
          </p:cNvSpPr>
          <p:nvPr>
            <p:ph type="ctrTitle"/>
          </p:nvPr>
        </p:nvSpPr>
        <p:spPr>
          <a:xfrm>
            <a:off x="1524000" y="4729698"/>
            <a:ext cx="9144000" cy="1218795"/>
          </a:xfrm>
        </p:spPr>
        <p:txBody>
          <a:bodyPr>
            <a:spAutoFit/>
          </a:bodyPr>
          <a:lstStyle/>
          <a:p>
            <a:r>
              <a:rPr lang="en-GB" sz="8000" b="0" dirty="0">
                <a:latin typeface="Bebas Neue Book" pitchFamily="2" charset="77"/>
              </a:rPr>
              <a:t>Wolfgang </a:t>
            </a:r>
            <a:r>
              <a:rPr lang="en-GB" sz="8000" dirty="0"/>
              <a:t>Kirsch</a:t>
            </a:r>
            <a:endParaRPr lang="en-BG" sz="8000" dirty="0">
              <a:solidFill>
                <a:srgbClr val="DA98FF"/>
              </a:solidFill>
            </a:endParaRPr>
          </a:p>
        </p:txBody>
      </p:sp>
      <p:sp>
        <p:nvSpPr>
          <p:cNvPr id="3" name="Title 1">
            <a:extLst>
              <a:ext uri="{FF2B5EF4-FFF2-40B4-BE49-F238E27FC236}">
                <a16:creationId xmlns:a16="http://schemas.microsoft.com/office/drawing/2014/main" id="{1523D136-2AF8-A94E-B1D9-AF85A4795193}"/>
              </a:ext>
            </a:extLst>
          </p:cNvPr>
          <p:cNvSpPr txBox="1">
            <a:spLocks/>
          </p:cNvSpPr>
          <p:nvPr/>
        </p:nvSpPr>
        <p:spPr>
          <a:xfrm>
            <a:off x="1524000" y="5948493"/>
            <a:ext cx="9144000" cy="369332"/>
          </a:xfrm>
          <a:prstGeom prst="rect">
            <a:avLst/>
          </a:prstGeom>
        </p:spPr>
        <p:txBody>
          <a:bodyPr vert="horz" lIns="91440" tIns="45720" rIns="91440" bIns="45720" rtlCol="0" anchor="b">
            <a:spAutoFit/>
          </a:bodyPr>
          <a:lstStyle>
            <a:lvl1pPr algn="ctr" defTabSz="914400" rtl="0" eaLnBrk="1" latinLnBrk="0" hangingPunct="1">
              <a:lnSpc>
                <a:spcPct val="90000"/>
              </a:lnSpc>
              <a:spcBef>
                <a:spcPct val="0"/>
              </a:spcBef>
              <a:buNone/>
              <a:defRPr sz="6000" b="1" i="0" kern="1200">
                <a:solidFill>
                  <a:schemeClr val="bg1"/>
                </a:solidFill>
                <a:latin typeface="Bebas Neue Bold" pitchFamily="2" charset="77"/>
                <a:ea typeface="+mj-ea"/>
                <a:cs typeface="+mj-cs"/>
              </a:defRPr>
            </a:lvl1pPr>
          </a:lstStyle>
          <a:p>
            <a:r>
              <a:rPr lang="en-GB" sz="2000" b="0" dirty="0">
                <a:solidFill>
                  <a:srgbClr val="DA98FF"/>
                </a:solidFill>
                <a:latin typeface="Montserrat" pitchFamily="2" charset="77"/>
              </a:rPr>
              <a:t>CEO of Shelly Group AD</a:t>
            </a:r>
            <a:endParaRPr lang="en-BG" sz="2000" b="0" dirty="0">
              <a:solidFill>
                <a:srgbClr val="DA98FF"/>
              </a:solidFill>
              <a:latin typeface="Montserrat" pitchFamily="2" charset="77"/>
            </a:endParaRPr>
          </a:p>
        </p:txBody>
      </p:sp>
      <p:sp>
        <p:nvSpPr>
          <p:cNvPr id="6" name="Oval 5">
            <a:extLst>
              <a:ext uri="{FF2B5EF4-FFF2-40B4-BE49-F238E27FC236}">
                <a16:creationId xmlns:a16="http://schemas.microsoft.com/office/drawing/2014/main" id="{36BA8D18-11C0-8649-ABBE-C006E05DCB99}"/>
              </a:ext>
            </a:extLst>
          </p:cNvPr>
          <p:cNvSpPr/>
          <p:nvPr/>
        </p:nvSpPr>
        <p:spPr>
          <a:xfrm>
            <a:off x="5904432" y="2711506"/>
            <a:ext cx="1467356" cy="1503096"/>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dirty="0">
              <a:solidFill>
                <a:schemeClr val="accent5"/>
              </a:solidFill>
            </a:endParaRPr>
          </a:p>
        </p:txBody>
      </p:sp>
      <p:sp>
        <p:nvSpPr>
          <p:cNvPr id="7" name="Oval 6">
            <a:extLst>
              <a:ext uri="{FF2B5EF4-FFF2-40B4-BE49-F238E27FC236}">
                <a16:creationId xmlns:a16="http://schemas.microsoft.com/office/drawing/2014/main" id="{BDF755ED-E1F8-B643-89B5-64DC1D8067F9}"/>
              </a:ext>
            </a:extLst>
          </p:cNvPr>
          <p:cNvSpPr/>
          <p:nvPr/>
        </p:nvSpPr>
        <p:spPr>
          <a:xfrm>
            <a:off x="4358851" y="1067739"/>
            <a:ext cx="2184849" cy="223806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a:p>
        </p:txBody>
      </p:sp>
      <p:pic>
        <p:nvPicPr>
          <p:cNvPr id="5" name="Picture 4">
            <a:extLst>
              <a:ext uri="{FF2B5EF4-FFF2-40B4-BE49-F238E27FC236}">
                <a16:creationId xmlns:a16="http://schemas.microsoft.com/office/drawing/2014/main" id="{3F912BD5-D828-BA44-8F5C-A035919F513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820213" y="1357801"/>
            <a:ext cx="2551574" cy="2716601"/>
          </a:xfrm>
          <a:prstGeom prst="rect">
            <a:avLst/>
          </a:prstGeom>
        </p:spPr>
      </p:pic>
      <p:pic>
        <p:nvPicPr>
          <p:cNvPr id="8" name="Picture 7">
            <a:extLst>
              <a:ext uri="{FF2B5EF4-FFF2-40B4-BE49-F238E27FC236}">
                <a16:creationId xmlns:a16="http://schemas.microsoft.com/office/drawing/2014/main" id="{D04018F0-8BA3-B441-B11C-F9519644F4A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511634" y="6132930"/>
            <a:ext cx="1386417" cy="470858"/>
          </a:xfrm>
          <a:prstGeom prst="rect">
            <a:avLst/>
          </a:prstGeom>
        </p:spPr>
      </p:pic>
    </p:spTree>
    <p:extLst>
      <p:ext uri="{BB962C8B-B14F-4D97-AF65-F5344CB8AC3E}">
        <p14:creationId xmlns:p14="http://schemas.microsoft.com/office/powerpoint/2010/main" val="48483358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 name="Image" descr="Image"/>
          <p:cNvPicPr>
            <a:picLocks noChangeAspect="1"/>
          </p:cNvPicPr>
          <p:nvPr/>
        </p:nvPicPr>
        <p:blipFill>
          <a:blip r:embed="rId2"/>
          <a:stretch>
            <a:fillRect/>
          </a:stretch>
        </p:blipFill>
        <p:spPr>
          <a:xfrm>
            <a:off x="3849867" y="2377511"/>
            <a:ext cx="4492267" cy="1519533"/>
          </a:xfrm>
          <a:prstGeom prst="rect">
            <a:avLst/>
          </a:prstGeom>
          <a:ln w="12700">
            <a:miter lim="400000"/>
          </a:ln>
        </p:spPr>
      </p:pic>
      <p:pic>
        <p:nvPicPr>
          <p:cNvPr id="67" name="Asset 4@8x.png" descr="Asset 4@8x.png"/>
          <p:cNvPicPr>
            <a:picLocks noChangeAspect="1"/>
          </p:cNvPicPr>
          <p:nvPr/>
        </p:nvPicPr>
        <p:blipFill>
          <a:blip r:embed="rId3"/>
          <a:stretch>
            <a:fillRect/>
          </a:stretch>
        </p:blipFill>
        <p:spPr>
          <a:xfrm>
            <a:off x="5186226" y="4655695"/>
            <a:ext cx="1819548" cy="999879"/>
          </a:xfrm>
          <a:prstGeom prst="rect">
            <a:avLst/>
          </a:prstGeom>
          <a:ln w="12700">
            <a:miter lim="400000"/>
          </a:ln>
        </p:spPr>
      </p:pic>
    </p:spTree>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169" name="Picture 168" descr="A view of the earth from space&#10;&#10;Description automatically generated with low confidence">
            <a:extLst>
              <a:ext uri="{FF2B5EF4-FFF2-40B4-BE49-F238E27FC236}">
                <a16:creationId xmlns:a16="http://schemas.microsoft.com/office/drawing/2014/main" id="{71008E85-288A-7844-BC69-61CFDCF36244}"/>
              </a:ext>
            </a:extLst>
          </p:cNvPr>
          <p:cNvPicPr>
            <a:picLocks noChangeAspect="1"/>
          </p:cNvPicPr>
          <p:nvPr/>
        </p:nvPicPr>
        <p:blipFill rotWithShape="1">
          <a:blip r:embed="rId3">
            <a:extLst>
              <a:ext uri="{28A0092B-C50C-407E-A947-70E740481C1C}">
                <a14:useLocalDpi xmlns:a14="http://schemas.microsoft.com/office/drawing/2010/main" val="0"/>
              </a:ext>
            </a:extLst>
          </a:blip>
          <a:srcRect r="44080"/>
          <a:stretch/>
        </p:blipFill>
        <p:spPr>
          <a:xfrm>
            <a:off x="9078860" y="0"/>
            <a:ext cx="3113140" cy="1493423"/>
          </a:xfrm>
          <a:prstGeom prst="rect">
            <a:avLst/>
          </a:prstGeom>
        </p:spPr>
      </p:pic>
      <p:sp>
        <p:nvSpPr>
          <p:cNvPr id="2" name="Title 1">
            <a:extLst>
              <a:ext uri="{FF2B5EF4-FFF2-40B4-BE49-F238E27FC236}">
                <a16:creationId xmlns:a16="http://schemas.microsoft.com/office/drawing/2014/main" id="{E60664EA-BCC4-5C4D-9712-58ACA76A8E73}"/>
              </a:ext>
            </a:extLst>
          </p:cNvPr>
          <p:cNvSpPr>
            <a:spLocks noGrp="1"/>
          </p:cNvSpPr>
          <p:nvPr>
            <p:ph type="title"/>
          </p:nvPr>
        </p:nvSpPr>
        <p:spPr>
          <a:xfrm>
            <a:off x="2978623" y="282889"/>
            <a:ext cx="3195242" cy="249299"/>
          </a:xfrm>
        </p:spPr>
        <p:txBody>
          <a:bodyPr wrap="square" lIns="0" tIns="0" rIns="0" bIns="0" anchor="t">
            <a:spAutoFit/>
          </a:bodyPr>
          <a:lstStyle/>
          <a:p>
            <a:r>
              <a:rPr lang="en-GB" sz="1800" b="0" dirty="0">
                <a:solidFill>
                  <a:schemeClr val="accent2">
                    <a:lumMod val="20000"/>
                    <a:lumOff val="80000"/>
                  </a:schemeClr>
                </a:solidFill>
                <a:latin typeface="Montserrat" pitchFamily="2" charset="77"/>
              </a:rPr>
              <a:t> </a:t>
            </a:r>
            <a:r>
              <a:rPr lang="en-GB" sz="1800" dirty="0" err="1">
                <a:solidFill>
                  <a:schemeClr val="accent2">
                    <a:lumMod val="20000"/>
                    <a:lumOff val="80000"/>
                  </a:schemeClr>
                </a:solidFill>
                <a:latin typeface="Montserrat SemiBold" pitchFamily="2" charset="77"/>
              </a:rPr>
              <a:t>beamUpLab</a:t>
            </a:r>
            <a:r>
              <a:rPr lang="en-GB" sz="1800" b="0" dirty="0">
                <a:solidFill>
                  <a:schemeClr val="accent2">
                    <a:lumMod val="20000"/>
                    <a:lumOff val="80000"/>
                  </a:schemeClr>
                </a:solidFill>
                <a:latin typeface="Montserrat" pitchFamily="2" charset="77"/>
              </a:rPr>
              <a:t> </a:t>
            </a:r>
            <a:r>
              <a:rPr lang="bg-BG" sz="1800" b="0" dirty="0">
                <a:solidFill>
                  <a:schemeClr val="accent2">
                    <a:lumMod val="20000"/>
                    <a:lumOff val="80000"/>
                  </a:schemeClr>
                </a:solidFill>
                <a:latin typeface="Montserrat" pitchFamily="2" charset="77"/>
              </a:rPr>
              <a:t>- </a:t>
            </a:r>
            <a:r>
              <a:rPr lang="en-GB" sz="1800" b="0" dirty="0">
                <a:solidFill>
                  <a:schemeClr val="accent2">
                    <a:lumMod val="20000"/>
                    <a:lumOff val="80000"/>
                  </a:schemeClr>
                </a:solidFill>
                <a:latin typeface="Montserrat" pitchFamily="2" charset="77"/>
              </a:rPr>
              <a:t>Companies</a:t>
            </a:r>
            <a:endParaRPr lang="en-GB" sz="1800" b="0" dirty="0">
              <a:solidFill>
                <a:schemeClr val="accent2">
                  <a:lumMod val="20000"/>
                  <a:lumOff val="80000"/>
                </a:schemeClr>
              </a:solidFill>
              <a:effectLst>
                <a:outerShdw blurRad="38100" dist="38100" dir="2700000" algn="tl">
                  <a:srgbClr val="000000">
                    <a:alpha val="43137"/>
                  </a:srgbClr>
                </a:outerShdw>
              </a:effectLst>
              <a:latin typeface="Montserrat" pitchFamily="2" charset="77"/>
            </a:endParaRPr>
          </a:p>
        </p:txBody>
      </p:sp>
      <p:grpSp>
        <p:nvGrpSpPr>
          <p:cNvPr id="18" name="Graphic 7">
            <a:extLst>
              <a:ext uri="{FF2B5EF4-FFF2-40B4-BE49-F238E27FC236}">
                <a16:creationId xmlns:a16="http://schemas.microsoft.com/office/drawing/2014/main" id="{56F19D39-7D4B-F24B-A0D9-1CF85E1B7B62}"/>
              </a:ext>
            </a:extLst>
          </p:cNvPr>
          <p:cNvGrpSpPr/>
          <p:nvPr/>
        </p:nvGrpSpPr>
        <p:grpSpPr>
          <a:xfrm>
            <a:off x="353506" y="249365"/>
            <a:ext cx="2223613" cy="332079"/>
            <a:chOff x="1971869" y="-1936820"/>
            <a:chExt cx="11281025" cy="1684734"/>
          </a:xfrm>
          <a:solidFill>
            <a:schemeClr val="bg1"/>
          </a:solidFill>
        </p:grpSpPr>
        <p:sp>
          <p:nvSpPr>
            <p:cNvPr id="19" name="Freeform 18">
              <a:extLst>
                <a:ext uri="{FF2B5EF4-FFF2-40B4-BE49-F238E27FC236}">
                  <a16:creationId xmlns:a16="http://schemas.microsoft.com/office/drawing/2014/main" id="{0901DE40-7DB1-1742-82E1-C1103869C2CA}"/>
                </a:ext>
              </a:extLst>
            </p:cNvPr>
            <p:cNvSpPr/>
            <p:nvPr/>
          </p:nvSpPr>
          <p:spPr>
            <a:xfrm>
              <a:off x="1971869" y="-1913287"/>
              <a:ext cx="293312" cy="1637952"/>
            </a:xfrm>
            <a:custGeom>
              <a:avLst/>
              <a:gdLst>
                <a:gd name="connsiteX0" fmla="*/ 0 w 293312"/>
                <a:gd name="connsiteY0" fmla="*/ 1637858 h 1637952"/>
                <a:gd name="connsiteX1" fmla="*/ 0 w 293312"/>
                <a:gd name="connsiteY1" fmla="*/ 0 h 1637952"/>
                <a:gd name="connsiteX2" fmla="*/ 293313 w 293312"/>
                <a:gd name="connsiteY2" fmla="*/ 0 h 1637952"/>
                <a:gd name="connsiteX3" fmla="*/ 293313 w 293312"/>
                <a:gd name="connsiteY3" fmla="*/ 1637953 h 1637952"/>
                <a:gd name="connsiteX4" fmla="*/ 0 w 293312"/>
                <a:gd name="connsiteY4" fmla="*/ 1637953 h 1637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312" h="1637952">
                  <a:moveTo>
                    <a:pt x="0" y="1637858"/>
                  </a:moveTo>
                  <a:lnTo>
                    <a:pt x="0" y="0"/>
                  </a:lnTo>
                  <a:lnTo>
                    <a:pt x="293313" y="0"/>
                  </a:lnTo>
                  <a:lnTo>
                    <a:pt x="293313" y="1637953"/>
                  </a:lnTo>
                  <a:lnTo>
                    <a:pt x="0" y="1637953"/>
                  </a:lnTo>
                  <a:close/>
                </a:path>
              </a:pathLst>
            </a:custGeom>
            <a:grpFill/>
            <a:ln w="0" cap="flat">
              <a:noFill/>
              <a:prstDash val="solid"/>
              <a:miter/>
            </a:ln>
          </p:spPr>
          <p:txBody>
            <a:bodyPr rtlCol="0" anchor="ctr"/>
            <a:lstStyle/>
            <a:p>
              <a:endParaRPr lang="en-BG"/>
            </a:p>
          </p:txBody>
        </p:sp>
        <p:sp>
          <p:nvSpPr>
            <p:cNvPr id="20" name="Freeform 19">
              <a:extLst>
                <a:ext uri="{FF2B5EF4-FFF2-40B4-BE49-F238E27FC236}">
                  <a16:creationId xmlns:a16="http://schemas.microsoft.com/office/drawing/2014/main" id="{D75EB0A2-ECA5-1646-983A-F1B2766C1274}"/>
                </a:ext>
              </a:extLst>
            </p:cNvPr>
            <p:cNvSpPr/>
            <p:nvPr/>
          </p:nvSpPr>
          <p:spPr>
            <a:xfrm>
              <a:off x="2527278" y="-1913287"/>
              <a:ext cx="919909" cy="1637952"/>
            </a:xfrm>
            <a:custGeom>
              <a:avLst/>
              <a:gdLst>
                <a:gd name="connsiteX0" fmla="*/ 0 w 919909"/>
                <a:gd name="connsiteY0" fmla="*/ 1637858 h 1637952"/>
                <a:gd name="connsiteX1" fmla="*/ 0 w 919909"/>
                <a:gd name="connsiteY1" fmla="*/ 0 h 1637952"/>
                <a:gd name="connsiteX2" fmla="*/ 363738 w 919909"/>
                <a:gd name="connsiteY2" fmla="*/ 0 h 1637952"/>
                <a:gd name="connsiteX3" fmla="*/ 657051 w 919909"/>
                <a:gd name="connsiteY3" fmla="*/ 964021 h 1637952"/>
                <a:gd name="connsiteX4" fmla="*/ 657051 w 919909"/>
                <a:gd name="connsiteY4" fmla="*/ 0 h 1637952"/>
                <a:gd name="connsiteX5" fmla="*/ 919910 w 919909"/>
                <a:gd name="connsiteY5" fmla="*/ 0 h 1637952"/>
                <a:gd name="connsiteX6" fmla="*/ 919910 w 919909"/>
                <a:gd name="connsiteY6" fmla="*/ 1637953 h 1637952"/>
                <a:gd name="connsiteX7" fmla="*/ 624218 w 919909"/>
                <a:gd name="connsiteY7" fmla="*/ 1637953 h 1637952"/>
                <a:gd name="connsiteX8" fmla="*/ 262859 w 919909"/>
                <a:gd name="connsiteY8" fmla="*/ 456342 h 1637952"/>
                <a:gd name="connsiteX9" fmla="*/ 262859 w 919909"/>
                <a:gd name="connsiteY9" fmla="*/ 1637953 h 1637952"/>
                <a:gd name="connsiteX10" fmla="*/ 0 w 919909"/>
                <a:gd name="connsiteY10" fmla="*/ 1637953 h 16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9909" h="1637952">
                  <a:moveTo>
                    <a:pt x="0" y="1637858"/>
                  </a:moveTo>
                  <a:lnTo>
                    <a:pt x="0" y="0"/>
                  </a:lnTo>
                  <a:lnTo>
                    <a:pt x="363738" y="0"/>
                  </a:lnTo>
                  <a:lnTo>
                    <a:pt x="657051" y="964021"/>
                  </a:lnTo>
                  <a:lnTo>
                    <a:pt x="657051" y="0"/>
                  </a:lnTo>
                  <a:lnTo>
                    <a:pt x="919910" y="0"/>
                  </a:lnTo>
                  <a:lnTo>
                    <a:pt x="919910" y="1637953"/>
                  </a:lnTo>
                  <a:lnTo>
                    <a:pt x="624218" y="1637953"/>
                  </a:lnTo>
                  <a:lnTo>
                    <a:pt x="262859" y="456342"/>
                  </a:lnTo>
                  <a:lnTo>
                    <a:pt x="262859" y="1637953"/>
                  </a:lnTo>
                  <a:lnTo>
                    <a:pt x="0" y="1637953"/>
                  </a:lnTo>
                  <a:close/>
                </a:path>
              </a:pathLst>
            </a:custGeom>
            <a:grpFill/>
            <a:ln w="0" cap="flat">
              <a:noFill/>
              <a:prstDash val="solid"/>
              <a:miter/>
            </a:ln>
          </p:spPr>
          <p:txBody>
            <a:bodyPr rtlCol="0" anchor="ctr"/>
            <a:lstStyle/>
            <a:p>
              <a:endParaRPr lang="en-BG"/>
            </a:p>
          </p:txBody>
        </p:sp>
        <p:sp>
          <p:nvSpPr>
            <p:cNvPr id="21" name="Freeform 20">
              <a:extLst>
                <a:ext uri="{FF2B5EF4-FFF2-40B4-BE49-F238E27FC236}">
                  <a16:creationId xmlns:a16="http://schemas.microsoft.com/office/drawing/2014/main" id="{65119321-162E-1646-A985-051EE1A0C575}"/>
                </a:ext>
              </a:extLst>
            </p:cNvPr>
            <p:cNvSpPr/>
            <p:nvPr/>
          </p:nvSpPr>
          <p:spPr>
            <a:xfrm>
              <a:off x="3668838" y="-1913287"/>
              <a:ext cx="955122" cy="1635580"/>
            </a:xfrm>
            <a:custGeom>
              <a:avLst/>
              <a:gdLst>
                <a:gd name="connsiteX0" fmla="*/ 283891 w 955122"/>
                <a:gd name="connsiteY0" fmla="*/ 1635485 h 1635580"/>
                <a:gd name="connsiteX1" fmla="*/ 0 w 955122"/>
                <a:gd name="connsiteY1" fmla="*/ 0 h 1635580"/>
                <a:gd name="connsiteX2" fmla="*/ 297976 w 955122"/>
                <a:gd name="connsiteY2" fmla="*/ 0 h 1635580"/>
                <a:gd name="connsiteX3" fmla="*/ 488030 w 955122"/>
                <a:gd name="connsiteY3" fmla="*/ 1272898 h 1635580"/>
                <a:gd name="connsiteX4" fmla="*/ 680558 w 955122"/>
                <a:gd name="connsiteY4" fmla="*/ 0 h 1635580"/>
                <a:gd name="connsiteX5" fmla="*/ 955122 w 955122"/>
                <a:gd name="connsiteY5" fmla="*/ 0 h 1635580"/>
                <a:gd name="connsiteX6" fmla="*/ 671136 w 955122"/>
                <a:gd name="connsiteY6" fmla="*/ 1635580 h 1635580"/>
                <a:gd name="connsiteX7" fmla="*/ 283891 w 955122"/>
                <a:gd name="connsiteY7" fmla="*/ 1635580 h 1635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5122" h="1635580">
                  <a:moveTo>
                    <a:pt x="283891" y="1635485"/>
                  </a:moveTo>
                  <a:lnTo>
                    <a:pt x="0" y="0"/>
                  </a:lnTo>
                  <a:lnTo>
                    <a:pt x="297976" y="0"/>
                  </a:lnTo>
                  <a:lnTo>
                    <a:pt x="488030" y="1272898"/>
                  </a:lnTo>
                  <a:lnTo>
                    <a:pt x="680558" y="0"/>
                  </a:lnTo>
                  <a:lnTo>
                    <a:pt x="955122" y="0"/>
                  </a:lnTo>
                  <a:lnTo>
                    <a:pt x="671136" y="1635580"/>
                  </a:lnTo>
                  <a:lnTo>
                    <a:pt x="283891" y="1635580"/>
                  </a:lnTo>
                  <a:close/>
                </a:path>
              </a:pathLst>
            </a:custGeom>
            <a:grpFill/>
            <a:ln w="0" cap="flat">
              <a:noFill/>
              <a:prstDash val="solid"/>
              <a:miter/>
            </a:ln>
          </p:spPr>
          <p:txBody>
            <a:bodyPr rtlCol="0" anchor="ctr"/>
            <a:lstStyle/>
            <a:p>
              <a:endParaRPr lang="en-BG"/>
            </a:p>
          </p:txBody>
        </p:sp>
        <p:sp>
          <p:nvSpPr>
            <p:cNvPr id="22" name="Freeform 21">
              <a:extLst>
                <a:ext uri="{FF2B5EF4-FFF2-40B4-BE49-F238E27FC236}">
                  <a16:creationId xmlns:a16="http://schemas.microsoft.com/office/drawing/2014/main" id="{7F01DF01-3E6A-AF4E-8FF9-EF39427878B5}"/>
                </a:ext>
              </a:extLst>
            </p:cNvPr>
            <p:cNvSpPr/>
            <p:nvPr/>
          </p:nvSpPr>
          <p:spPr>
            <a:xfrm>
              <a:off x="4844373" y="-1913287"/>
              <a:ext cx="800186" cy="1637952"/>
            </a:xfrm>
            <a:custGeom>
              <a:avLst/>
              <a:gdLst>
                <a:gd name="connsiteX0" fmla="*/ 0 w 800186"/>
                <a:gd name="connsiteY0" fmla="*/ 1637858 h 1637952"/>
                <a:gd name="connsiteX1" fmla="*/ 0 w 800186"/>
                <a:gd name="connsiteY1" fmla="*/ 0 h 1637952"/>
                <a:gd name="connsiteX2" fmla="*/ 800186 w 800186"/>
                <a:gd name="connsiteY2" fmla="*/ 0 h 1637952"/>
                <a:gd name="connsiteX3" fmla="*/ 800186 w 800186"/>
                <a:gd name="connsiteY3" fmla="*/ 259723 h 1637952"/>
                <a:gd name="connsiteX4" fmla="*/ 293313 w 800186"/>
                <a:gd name="connsiteY4" fmla="*/ 259723 h 1637952"/>
                <a:gd name="connsiteX5" fmla="*/ 293313 w 800186"/>
                <a:gd name="connsiteY5" fmla="*/ 664538 h 1637952"/>
                <a:gd name="connsiteX6" fmla="*/ 696927 w 800186"/>
                <a:gd name="connsiteY6" fmla="*/ 664538 h 1637952"/>
                <a:gd name="connsiteX7" fmla="*/ 696927 w 800186"/>
                <a:gd name="connsiteY7" fmla="*/ 924260 h 1637952"/>
                <a:gd name="connsiteX8" fmla="*/ 293313 w 800186"/>
                <a:gd name="connsiteY8" fmla="*/ 924260 h 1637952"/>
                <a:gd name="connsiteX9" fmla="*/ 293313 w 800186"/>
                <a:gd name="connsiteY9" fmla="*/ 1378230 h 1637952"/>
                <a:gd name="connsiteX10" fmla="*/ 800186 w 800186"/>
                <a:gd name="connsiteY10" fmla="*/ 1378230 h 1637952"/>
                <a:gd name="connsiteX11" fmla="*/ 800186 w 800186"/>
                <a:gd name="connsiteY11" fmla="*/ 1637953 h 1637952"/>
                <a:gd name="connsiteX12" fmla="*/ 0 w 800186"/>
                <a:gd name="connsiteY12" fmla="*/ 1637953 h 16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0186" h="1637952">
                  <a:moveTo>
                    <a:pt x="0" y="1637858"/>
                  </a:moveTo>
                  <a:lnTo>
                    <a:pt x="0" y="0"/>
                  </a:lnTo>
                  <a:lnTo>
                    <a:pt x="800186" y="0"/>
                  </a:lnTo>
                  <a:lnTo>
                    <a:pt x="800186" y="259723"/>
                  </a:lnTo>
                  <a:lnTo>
                    <a:pt x="293313" y="259723"/>
                  </a:lnTo>
                  <a:lnTo>
                    <a:pt x="293313" y="664538"/>
                  </a:lnTo>
                  <a:lnTo>
                    <a:pt x="696927" y="664538"/>
                  </a:lnTo>
                  <a:lnTo>
                    <a:pt x="696927" y="924260"/>
                  </a:lnTo>
                  <a:lnTo>
                    <a:pt x="293313" y="924260"/>
                  </a:lnTo>
                  <a:lnTo>
                    <a:pt x="293313" y="1378230"/>
                  </a:lnTo>
                  <a:lnTo>
                    <a:pt x="800186" y="1378230"/>
                  </a:lnTo>
                  <a:lnTo>
                    <a:pt x="800186" y="1637953"/>
                  </a:lnTo>
                  <a:lnTo>
                    <a:pt x="0" y="1637953"/>
                  </a:lnTo>
                  <a:close/>
                </a:path>
              </a:pathLst>
            </a:custGeom>
            <a:grpFill/>
            <a:ln w="0" cap="flat">
              <a:noFill/>
              <a:prstDash val="solid"/>
              <a:miter/>
            </a:ln>
          </p:spPr>
          <p:txBody>
            <a:bodyPr rtlCol="0" anchor="ctr"/>
            <a:lstStyle/>
            <a:p>
              <a:endParaRPr lang="en-BG"/>
            </a:p>
          </p:txBody>
        </p:sp>
        <p:sp>
          <p:nvSpPr>
            <p:cNvPr id="23" name="Freeform 22">
              <a:extLst>
                <a:ext uri="{FF2B5EF4-FFF2-40B4-BE49-F238E27FC236}">
                  <a16:creationId xmlns:a16="http://schemas.microsoft.com/office/drawing/2014/main" id="{D1FC195A-5D66-8F44-981C-D669E9E9A971}"/>
                </a:ext>
              </a:extLst>
            </p:cNvPr>
            <p:cNvSpPr/>
            <p:nvPr/>
          </p:nvSpPr>
          <p:spPr>
            <a:xfrm>
              <a:off x="5846414" y="-1936820"/>
              <a:ext cx="875465" cy="1684640"/>
            </a:xfrm>
            <a:custGeom>
              <a:avLst/>
              <a:gdLst>
                <a:gd name="connsiteX0" fmla="*/ 0 w 875465"/>
                <a:gd name="connsiteY0" fmla="*/ 1254299 h 1684640"/>
                <a:gd name="connsiteX1" fmla="*/ 0 w 875465"/>
                <a:gd name="connsiteY1" fmla="*/ 1170034 h 1684640"/>
                <a:gd name="connsiteX2" fmla="*/ 276944 w 875465"/>
                <a:gd name="connsiteY2" fmla="*/ 1170034 h 1684640"/>
                <a:gd name="connsiteX3" fmla="*/ 276944 w 875465"/>
                <a:gd name="connsiteY3" fmla="*/ 1263599 h 1684640"/>
                <a:gd name="connsiteX4" fmla="*/ 429501 w 875465"/>
                <a:gd name="connsiteY4" fmla="*/ 1429757 h 1684640"/>
                <a:gd name="connsiteX5" fmla="*/ 582057 w 875465"/>
                <a:gd name="connsiteY5" fmla="*/ 1261226 h 1684640"/>
                <a:gd name="connsiteX6" fmla="*/ 530475 w 875465"/>
                <a:gd name="connsiteY6" fmla="*/ 1099813 h 1684640"/>
                <a:gd name="connsiteX7" fmla="*/ 331000 w 875465"/>
                <a:gd name="connsiteY7" fmla="*/ 936027 h 1684640"/>
                <a:gd name="connsiteX8" fmla="*/ 4854 w 875465"/>
                <a:gd name="connsiteY8" fmla="*/ 425881 h 1684640"/>
                <a:gd name="connsiteX9" fmla="*/ 439018 w 875465"/>
                <a:gd name="connsiteY9" fmla="*/ 0 h 1684640"/>
                <a:gd name="connsiteX10" fmla="*/ 863760 w 875465"/>
                <a:gd name="connsiteY10" fmla="*/ 430531 h 1684640"/>
                <a:gd name="connsiteX11" fmla="*/ 863760 w 875465"/>
                <a:gd name="connsiteY11" fmla="*/ 488985 h 1684640"/>
                <a:gd name="connsiteX12" fmla="*/ 586911 w 875465"/>
                <a:gd name="connsiteY12" fmla="*/ 488985 h 1684640"/>
                <a:gd name="connsiteX13" fmla="*/ 586911 w 875465"/>
                <a:gd name="connsiteY13" fmla="*/ 423509 h 1684640"/>
                <a:gd name="connsiteX14" fmla="*/ 441397 w 875465"/>
                <a:gd name="connsiteY14" fmla="*/ 255073 h 1684640"/>
                <a:gd name="connsiteX15" fmla="*/ 295882 w 875465"/>
                <a:gd name="connsiteY15" fmla="*/ 416487 h 1684640"/>
                <a:gd name="connsiteX16" fmla="*/ 347464 w 875465"/>
                <a:gd name="connsiteY16" fmla="*/ 566228 h 1684640"/>
                <a:gd name="connsiteX17" fmla="*/ 551603 w 875465"/>
                <a:gd name="connsiteY17" fmla="*/ 725364 h 1684640"/>
                <a:gd name="connsiteX18" fmla="*/ 805040 w 875465"/>
                <a:gd name="connsiteY18" fmla="*/ 961648 h 1684640"/>
                <a:gd name="connsiteX19" fmla="*/ 875465 w 875465"/>
                <a:gd name="connsiteY19" fmla="*/ 1247087 h 1684640"/>
                <a:gd name="connsiteX20" fmla="*/ 431975 w 875465"/>
                <a:gd name="connsiteY20" fmla="*/ 1684640 h 1684640"/>
                <a:gd name="connsiteX21" fmla="*/ 191 w 875465"/>
                <a:gd name="connsiteY21" fmla="*/ 1254109 h 1684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75465" h="1684640">
                  <a:moveTo>
                    <a:pt x="0" y="1254299"/>
                  </a:moveTo>
                  <a:lnTo>
                    <a:pt x="0" y="1170034"/>
                  </a:lnTo>
                  <a:lnTo>
                    <a:pt x="276944" y="1170034"/>
                  </a:lnTo>
                  <a:lnTo>
                    <a:pt x="276944" y="1263599"/>
                  </a:lnTo>
                  <a:cubicBezTo>
                    <a:pt x="276944" y="1373580"/>
                    <a:pt x="328526" y="1429757"/>
                    <a:pt x="429501" y="1429757"/>
                  </a:cubicBezTo>
                  <a:cubicBezTo>
                    <a:pt x="523338" y="1429757"/>
                    <a:pt x="582057" y="1373580"/>
                    <a:pt x="582057" y="1261226"/>
                  </a:cubicBezTo>
                  <a:cubicBezTo>
                    <a:pt x="582057" y="1193378"/>
                    <a:pt x="565593" y="1139573"/>
                    <a:pt x="530475" y="1099813"/>
                  </a:cubicBezTo>
                  <a:cubicBezTo>
                    <a:pt x="497642" y="1057680"/>
                    <a:pt x="431880" y="1003876"/>
                    <a:pt x="331000" y="936027"/>
                  </a:cubicBezTo>
                  <a:cubicBezTo>
                    <a:pt x="86985" y="776891"/>
                    <a:pt x="4854" y="638821"/>
                    <a:pt x="4854" y="425881"/>
                  </a:cubicBezTo>
                  <a:cubicBezTo>
                    <a:pt x="4854" y="161508"/>
                    <a:pt x="159695" y="0"/>
                    <a:pt x="439018" y="0"/>
                  </a:cubicBezTo>
                  <a:cubicBezTo>
                    <a:pt x="718340" y="0"/>
                    <a:pt x="863760" y="159136"/>
                    <a:pt x="863760" y="430531"/>
                  </a:cubicBezTo>
                  <a:lnTo>
                    <a:pt x="863760" y="488985"/>
                  </a:lnTo>
                  <a:lnTo>
                    <a:pt x="586911" y="488985"/>
                  </a:lnTo>
                  <a:lnTo>
                    <a:pt x="586911" y="423509"/>
                  </a:lnTo>
                  <a:cubicBezTo>
                    <a:pt x="586911" y="311155"/>
                    <a:pt x="537613" y="255073"/>
                    <a:pt x="441397" y="255073"/>
                  </a:cubicBezTo>
                  <a:cubicBezTo>
                    <a:pt x="345180" y="255073"/>
                    <a:pt x="295882" y="308878"/>
                    <a:pt x="295882" y="416487"/>
                  </a:cubicBezTo>
                  <a:cubicBezTo>
                    <a:pt x="295882" y="474941"/>
                    <a:pt x="312347" y="526468"/>
                    <a:pt x="347464" y="566228"/>
                  </a:cubicBezTo>
                  <a:cubicBezTo>
                    <a:pt x="382582" y="605988"/>
                    <a:pt x="450723" y="659793"/>
                    <a:pt x="551603" y="725364"/>
                  </a:cubicBezTo>
                  <a:cubicBezTo>
                    <a:pt x="675990" y="804885"/>
                    <a:pt x="760501" y="884500"/>
                    <a:pt x="805040" y="961648"/>
                  </a:cubicBezTo>
                  <a:cubicBezTo>
                    <a:pt x="851959" y="1038891"/>
                    <a:pt x="875465" y="1134829"/>
                    <a:pt x="875465" y="1247087"/>
                  </a:cubicBezTo>
                  <a:cubicBezTo>
                    <a:pt x="875465" y="1520854"/>
                    <a:pt x="715866" y="1684640"/>
                    <a:pt x="431975" y="1684640"/>
                  </a:cubicBezTo>
                  <a:cubicBezTo>
                    <a:pt x="148084" y="1684640"/>
                    <a:pt x="191" y="1523227"/>
                    <a:pt x="191" y="1254109"/>
                  </a:cubicBezTo>
                  <a:close/>
                </a:path>
              </a:pathLst>
            </a:custGeom>
            <a:grpFill/>
            <a:ln w="0" cap="flat">
              <a:noFill/>
              <a:prstDash val="solid"/>
              <a:miter/>
            </a:ln>
          </p:spPr>
          <p:txBody>
            <a:bodyPr rtlCol="0" anchor="ctr"/>
            <a:lstStyle/>
            <a:p>
              <a:endParaRPr lang="en-BG"/>
            </a:p>
          </p:txBody>
        </p:sp>
        <p:sp>
          <p:nvSpPr>
            <p:cNvPr id="24" name="Freeform 23">
              <a:extLst>
                <a:ext uri="{FF2B5EF4-FFF2-40B4-BE49-F238E27FC236}">
                  <a16:creationId xmlns:a16="http://schemas.microsoft.com/office/drawing/2014/main" id="{7C46AE5D-FBC5-FB4A-B666-8B330090BDF1}"/>
                </a:ext>
              </a:extLst>
            </p:cNvPr>
            <p:cNvSpPr/>
            <p:nvPr/>
          </p:nvSpPr>
          <p:spPr>
            <a:xfrm>
              <a:off x="6908317" y="-1913287"/>
              <a:ext cx="905824" cy="1637952"/>
            </a:xfrm>
            <a:custGeom>
              <a:avLst/>
              <a:gdLst>
                <a:gd name="connsiteX0" fmla="*/ 305114 w 905824"/>
                <a:gd name="connsiteY0" fmla="*/ 1637858 h 1637952"/>
                <a:gd name="connsiteX1" fmla="*/ 305114 w 905824"/>
                <a:gd name="connsiteY1" fmla="*/ 259723 h 1637952"/>
                <a:gd name="connsiteX2" fmla="*/ 0 w 905824"/>
                <a:gd name="connsiteY2" fmla="*/ 259723 h 1637952"/>
                <a:gd name="connsiteX3" fmla="*/ 0 w 905824"/>
                <a:gd name="connsiteY3" fmla="*/ 0 h 1637952"/>
                <a:gd name="connsiteX4" fmla="*/ 905824 w 905824"/>
                <a:gd name="connsiteY4" fmla="*/ 0 h 1637952"/>
                <a:gd name="connsiteX5" fmla="*/ 905824 w 905824"/>
                <a:gd name="connsiteY5" fmla="*/ 259723 h 1637952"/>
                <a:gd name="connsiteX6" fmla="*/ 598427 w 905824"/>
                <a:gd name="connsiteY6" fmla="*/ 259723 h 1637952"/>
                <a:gd name="connsiteX7" fmla="*/ 598427 w 905824"/>
                <a:gd name="connsiteY7" fmla="*/ 1637953 h 1637952"/>
                <a:gd name="connsiteX8" fmla="*/ 305114 w 905824"/>
                <a:gd name="connsiteY8" fmla="*/ 1637953 h 16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5824" h="1637952">
                  <a:moveTo>
                    <a:pt x="305114" y="1637858"/>
                  </a:moveTo>
                  <a:lnTo>
                    <a:pt x="305114" y="259723"/>
                  </a:lnTo>
                  <a:lnTo>
                    <a:pt x="0" y="259723"/>
                  </a:lnTo>
                  <a:lnTo>
                    <a:pt x="0" y="0"/>
                  </a:lnTo>
                  <a:lnTo>
                    <a:pt x="905824" y="0"/>
                  </a:lnTo>
                  <a:lnTo>
                    <a:pt x="905824" y="259723"/>
                  </a:lnTo>
                  <a:lnTo>
                    <a:pt x="598427" y="259723"/>
                  </a:lnTo>
                  <a:lnTo>
                    <a:pt x="598427" y="1637953"/>
                  </a:lnTo>
                  <a:lnTo>
                    <a:pt x="305114" y="1637953"/>
                  </a:lnTo>
                  <a:close/>
                </a:path>
              </a:pathLst>
            </a:custGeom>
            <a:grpFill/>
            <a:ln w="0" cap="flat">
              <a:noFill/>
              <a:prstDash val="solid"/>
              <a:miter/>
            </a:ln>
          </p:spPr>
          <p:txBody>
            <a:bodyPr rtlCol="0" anchor="ctr"/>
            <a:lstStyle/>
            <a:p>
              <a:endParaRPr lang="en-BG"/>
            </a:p>
          </p:txBody>
        </p:sp>
        <p:sp>
          <p:nvSpPr>
            <p:cNvPr id="25" name="Freeform 24">
              <a:extLst>
                <a:ext uri="{FF2B5EF4-FFF2-40B4-BE49-F238E27FC236}">
                  <a16:creationId xmlns:a16="http://schemas.microsoft.com/office/drawing/2014/main" id="{5CD19096-A7ED-E445-868D-BE9DE089B5BB}"/>
                </a:ext>
              </a:extLst>
            </p:cNvPr>
            <p:cNvSpPr/>
            <p:nvPr/>
          </p:nvSpPr>
          <p:spPr>
            <a:xfrm>
              <a:off x="8018756" y="-1936726"/>
              <a:ext cx="889360" cy="1684640"/>
            </a:xfrm>
            <a:custGeom>
              <a:avLst/>
              <a:gdLst>
                <a:gd name="connsiteX0" fmla="*/ 0 w 889360"/>
                <a:gd name="connsiteY0" fmla="*/ 1242437 h 1684640"/>
                <a:gd name="connsiteX1" fmla="*/ 0 w 889360"/>
                <a:gd name="connsiteY1" fmla="*/ 442203 h 1684640"/>
                <a:gd name="connsiteX2" fmla="*/ 443490 w 889360"/>
                <a:gd name="connsiteY2" fmla="*/ 0 h 1684640"/>
                <a:gd name="connsiteX3" fmla="*/ 889360 w 889360"/>
                <a:gd name="connsiteY3" fmla="*/ 442203 h 1684640"/>
                <a:gd name="connsiteX4" fmla="*/ 889360 w 889360"/>
                <a:gd name="connsiteY4" fmla="*/ 1242437 h 1684640"/>
                <a:gd name="connsiteX5" fmla="*/ 443490 w 889360"/>
                <a:gd name="connsiteY5" fmla="*/ 1684640 h 1684640"/>
                <a:gd name="connsiteX6" fmla="*/ 0 w 889360"/>
                <a:gd name="connsiteY6" fmla="*/ 1242437 h 1684640"/>
                <a:gd name="connsiteX7" fmla="*/ 596047 w 889360"/>
                <a:gd name="connsiteY7" fmla="*/ 1256482 h 1684640"/>
                <a:gd name="connsiteX8" fmla="*/ 596047 w 889360"/>
                <a:gd name="connsiteY8" fmla="*/ 428253 h 1684640"/>
                <a:gd name="connsiteX9" fmla="*/ 443490 w 889360"/>
                <a:gd name="connsiteY9" fmla="*/ 259723 h 1684640"/>
                <a:gd name="connsiteX10" fmla="*/ 293313 w 889360"/>
                <a:gd name="connsiteY10" fmla="*/ 428253 h 1684640"/>
                <a:gd name="connsiteX11" fmla="*/ 293313 w 889360"/>
                <a:gd name="connsiteY11" fmla="*/ 1256577 h 1684640"/>
                <a:gd name="connsiteX12" fmla="*/ 443490 w 889360"/>
                <a:gd name="connsiteY12" fmla="*/ 1425107 h 1684640"/>
                <a:gd name="connsiteX13" fmla="*/ 596047 w 889360"/>
                <a:gd name="connsiteY13" fmla="*/ 1256577 h 1684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9360" h="1684640">
                  <a:moveTo>
                    <a:pt x="0" y="1242437"/>
                  </a:moveTo>
                  <a:lnTo>
                    <a:pt x="0" y="442203"/>
                  </a:lnTo>
                  <a:cubicBezTo>
                    <a:pt x="0" y="161413"/>
                    <a:pt x="159600" y="0"/>
                    <a:pt x="443490" y="0"/>
                  </a:cubicBezTo>
                  <a:cubicBezTo>
                    <a:pt x="727381" y="0"/>
                    <a:pt x="889360" y="161413"/>
                    <a:pt x="889360" y="442203"/>
                  </a:cubicBezTo>
                  <a:lnTo>
                    <a:pt x="889360" y="1242437"/>
                  </a:lnTo>
                  <a:cubicBezTo>
                    <a:pt x="889360" y="1523227"/>
                    <a:pt x="732140" y="1684640"/>
                    <a:pt x="443490" y="1684640"/>
                  </a:cubicBezTo>
                  <a:cubicBezTo>
                    <a:pt x="154841" y="1684640"/>
                    <a:pt x="0" y="1523227"/>
                    <a:pt x="0" y="1242437"/>
                  </a:cubicBezTo>
                  <a:close/>
                  <a:moveTo>
                    <a:pt x="596047" y="1256482"/>
                  </a:moveTo>
                  <a:lnTo>
                    <a:pt x="596047" y="428253"/>
                  </a:lnTo>
                  <a:cubicBezTo>
                    <a:pt x="596047" y="315900"/>
                    <a:pt x="544466" y="259723"/>
                    <a:pt x="443490" y="259723"/>
                  </a:cubicBezTo>
                  <a:cubicBezTo>
                    <a:pt x="342515" y="259723"/>
                    <a:pt x="293313" y="315900"/>
                    <a:pt x="293313" y="428253"/>
                  </a:cubicBezTo>
                  <a:lnTo>
                    <a:pt x="293313" y="1256577"/>
                  </a:lnTo>
                  <a:cubicBezTo>
                    <a:pt x="293313" y="1368930"/>
                    <a:pt x="342611" y="1425107"/>
                    <a:pt x="443490" y="1425107"/>
                  </a:cubicBezTo>
                  <a:cubicBezTo>
                    <a:pt x="544370" y="1425107"/>
                    <a:pt x="596047" y="1368930"/>
                    <a:pt x="596047" y="1256577"/>
                  </a:cubicBezTo>
                  <a:close/>
                </a:path>
              </a:pathLst>
            </a:custGeom>
            <a:grpFill/>
            <a:ln w="0" cap="flat">
              <a:noFill/>
              <a:prstDash val="solid"/>
              <a:miter/>
            </a:ln>
          </p:spPr>
          <p:txBody>
            <a:bodyPr rtlCol="0" anchor="ctr"/>
            <a:lstStyle/>
            <a:p>
              <a:endParaRPr lang="en-BG"/>
            </a:p>
          </p:txBody>
        </p:sp>
        <p:sp>
          <p:nvSpPr>
            <p:cNvPr id="26" name="Freeform 25">
              <a:extLst>
                <a:ext uri="{FF2B5EF4-FFF2-40B4-BE49-F238E27FC236}">
                  <a16:creationId xmlns:a16="http://schemas.microsoft.com/office/drawing/2014/main" id="{11C99E39-0307-2546-96E7-4C39C61FF494}"/>
                </a:ext>
              </a:extLst>
            </p:cNvPr>
            <p:cNvSpPr/>
            <p:nvPr/>
          </p:nvSpPr>
          <p:spPr>
            <a:xfrm>
              <a:off x="9156604" y="-1913287"/>
              <a:ext cx="903540" cy="1637952"/>
            </a:xfrm>
            <a:custGeom>
              <a:avLst/>
              <a:gdLst>
                <a:gd name="connsiteX0" fmla="*/ 0 w 903540"/>
                <a:gd name="connsiteY0" fmla="*/ 1637858 h 1637952"/>
                <a:gd name="connsiteX1" fmla="*/ 0 w 903540"/>
                <a:gd name="connsiteY1" fmla="*/ 0 h 1637952"/>
                <a:gd name="connsiteX2" fmla="*/ 434164 w 903540"/>
                <a:gd name="connsiteY2" fmla="*/ 0 h 1637952"/>
                <a:gd name="connsiteX3" fmla="*/ 868328 w 903540"/>
                <a:gd name="connsiteY3" fmla="*/ 395420 h 1637952"/>
                <a:gd name="connsiteX4" fmla="*/ 868328 w 903540"/>
                <a:gd name="connsiteY4" fmla="*/ 477313 h 1637952"/>
                <a:gd name="connsiteX5" fmla="*/ 678274 w 903540"/>
                <a:gd name="connsiteY5" fmla="*/ 807257 h 1637952"/>
                <a:gd name="connsiteX6" fmla="*/ 678274 w 903540"/>
                <a:gd name="connsiteY6" fmla="*/ 814279 h 1637952"/>
                <a:gd name="connsiteX7" fmla="*/ 870707 w 903540"/>
                <a:gd name="connsiteY7" fmla="*/ 1183983 h 1637952"/>
                <a:gd name="connsiteX8" fmla="*/ 870707 w 903540"/>
                <a:gd name="connsiteY8" fmla="*/ 1425012 h 1637952"/>
                <a:gd name="connsiteX9" fmla="*/ 903540 w 903540"/>
                <a:gd name="connsiteY9" fmla="*/ 1637953 h 1637952"/>
                <a:gd name="connsiteX10" fmla="*/ 605469 w 903540"/>
                <a:gd name="connsiteY10" fmla="*/ 1637953 h 1637952"/>
                <a:gd name="connsiteX11" fmla="*/ 579678 w 903540"/>
                <a:gd name="connsiteY11" fmla="*/ 1422640 h 1637952"/>
                <a:gd name="connsiteX12" fmla="*/ 579678 w 903540"/>
                <a:gd name="connsiteY12" fmla="*/ 1165289 h 1637952"/>
                <a:gd name="connsiteX13" fmla="*/ 394288 w 903540"/>
                <a:gd name="connsiteY13" fmla="*/ 959371 h 1637952"/>
                <a:gd name="connsiteX14" fmla="*/ 293408 w 903540"/>
                <a:gd name="connsiteY14" fmla="*/ 959371 h 1637952"/>
                <a:gd name="connsiteX15" fmla="*/ 293408 w 903540"/>
                <a:gd name="connsiteY15" fmla="*/ 1637953 h 1637952"/>
                <a:gd name="connsiteX16" fmla="*/ 95 w 903540"/>
                <a:gd name="connsiteY16" fmla="*/ 1637953 h 1637952"/>
                <a:gd name="connsiteX17" fmla="*/ 293313 w 903540"/>
                <a:gd name="connsiteY17" fmla="*/ 699553 h 1637952"/>
                <a:gd name="connsiteX18" fmla="*/ 401235 w 903540"/>
                <a:gd name="connsiteY18" fmla="*/ 699553 h 1637952"/>
                <a:gd name="connsiteX19" fmla="*/ 574919 w 903540"/>
                <a:gd name="connsiteY19" fmla="*/ 521723 h 1637952"/>
                <a:gd name="connsiteX20" fmla="*/ 574919 w 903540"/>
                <a:gd name="connsiteY20" fmla="*/ 425786 h 1637952"/>
                <a:gd name="connsiteX21" fmla="*/ 429405 w 903540"/>
                <a:gd name="connsiteY21" fmla="*/ 259628 h 1637952"/>
                <a:gd name="connsiteX22" fmla="*/ 293313 w 903540"/>
                <a:gd name="connsiteY22" fmla="*/ 259628 h 1637952"/>
                <a:gd name="connsiteX23" fmla="*/ 293313 w 903540"/>
                <a:gd name="connsiteY23" fmla="*/ 699553 h 16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03540" h="1637952">
                  <a:moveTo>
                    <a:pt x="0" y="1637858"/>
                  </a:moveTo>
                  <a:lnTo>
                    <a:pt x="0" y="0"/>
                  </a:lnTo>
                  <a:lnTo>
                    <a:pt x="434164" y="0"/>
                  </a:lnTo>
                  <a:cubicBezTo>
                    <a:pt x="732140" y="0"/>
                    <a:pt x="868328" y="126398"/>
                    <a:pt x="868328" y="395420"/>
                  </a:cubicBezTo>
                  <a:lnTo>
                    <a:pt x="868328" y="477313"/>
                  </a:lnTo>
                  <a:cubicBezTo>
                    <a:pt x="868328" y="648121"/>
                    <a:pt x="804945" y="758102"/>
                    <a:pt x="678274" y="807257"/>
                  </a:cubicBezTo>
                  <a:lnTo>
                    <a:pt x="678274" y="814279"/>
                  </a:lnTo>
                  <a:cubicBezTo>
                    <a:pt x="807324" y="851667"/>
                    <a:pt x="870707" y="975693"/>
                    <a:pt x="870707" y="1183983"/>
                  </a:cubicBezTo>
                  <a:lnTo>
                    <a:pt x="870707" y="1425012"/>
                  </a:lnTo>
                  <a:cubicBezTo>
                    <a:pt x="870707" y="1516299"/>
                    <a:pt x="882412" y="1586425"/>
                    <a:pt x="903540" y="1637953"/>
                  </a:cubicBezTo>
                  <a:lnTo>
                    <a:pt x="605469" y="1637953"/>
                  </a:lnTo>
                  <a:cubicBezTo>
                    <a:pt x="589005" y="1591170"/>
                    <a:pt x="579678" y="1518577"/>
                    <a:pt x="579678" y="1422640"/>
                  </a:cubicBezTo>
                  <a:lnTo>
                    <a:pt x="579678" y="1165289"/>
                  </a:lnTo>
                  <a:cubicBezTo>
                    <a:pt x="579678" y="1013175"/>
                    <a:pt x="532759" y="959371"/>
                    <a:pt x="394288" y="959371"/>
                  </a:cubicBezTo>
                  <a:lnTo>
                    <a:pt x="293408" y="959371"/>
                  </a:lnTo>
                  <a:lnTo>
                    <a:pt x="293408" y="1637953"/>
                  </a:lnTo>
                  <a:lnTo>
                    <a:pt x="95" y="1637953"/>
                  </a:lnTo>
                  <a:close/>
                  <a:moveTo>
                    <a:pt x="293313" y="699553"/>
                  </a:moveTo>
                  <a:lnTo>
                    <a:pt x="401235" y="699553"/>
                  </a:lnTo>
                  <a:cubicBezTo>
                    <a:pt x="520958" y="699553"/>
                    <a:pt x="574919" y="645749"/>
                    <a:pt x="574919" y="521723"/>
                  </a:cubicBezTo>
                  <a:lnTo>
                    <a:pt x="574919" y="425786"/>
                  </a:lnTo>
                  <a:cubicBezTo>
                    <a:pt x="574919" y="315805"/>
                    <a:pt x="525622" y="259628"/>
                    <a:pt x="429405" y="259628"/>
                  </a:cubicBezTo>
                  <a:lnTo>
                    <a:pt x="293313" y="259628"/>
                  </a:lnTo>
                  <a:lnTo>
                    <a:pt x="293313" y="699553"/>
                  </a:lnTo>
                  <a:close/>
                </a:path>
              </a:pathLst>
            </a:custGeom>
            <a:grpFill/>
            <a:ln w="0" cap="flat">
              <a:noFill/>
              <a:prstDash val="solid"/>
              <a:miter/>
            </a:ln>
          </p:spPr>
          <p:txBody>
            <a:bodyPr rtlCol="0" anchor="ctr"/>
            <a:lstStyle/>
            <a:p>
              <a:endParaRPr lang="en-BG"/>
            </a:p>
          </p:txBody>
        </p:sp>
        <p:sp>
          <p:nvSpPr>
            <p:cNvPr id="27" name="Freeform 26">
              <a:extLst>
                <a:ext uri="{FF2B5EF4-FFF2-40B4-BE49-F238E27FC236}">
                  <a16:creationId xmlns:a16="http://schemas.microsoft.com/office/drawing/2014/main" id="{F4A0190C-849A-8F47-A151-8934FA686ED7}"/>
                </a:ext>
              </a:extLst>
            </p:cNvPr>
            <p:cNvSpPr/>
            <p:nvPr/>
          </p:nvSpPr>
          <p:spPr>
            <a:xfrm>
              <a:off x="10305872" y="-1913287"/>
              <a:ext cx="821313" cy="1637857"/>
            </a:xfrm>
            <a:custGeom>
              <a:avLst/>
              <a:gdLst>
                <a:gd name="connsiteX0" fmla="*/ 0 w 821313"/>
                <a:gd name="connsiteY0" fmla="*/ 1637858 h 1637857"/>
                <a:gd name="connsiteX1" fmla="*/ 0 w 821313"/>
                <a:gd name="connsiteY1" fmla="*/ 0 h 1637857"/>
                <a:gd name="connsiteX2" fmla="*/ 410657 w 821313"/>
                <a:gd name="connsiteY2" fmla="*/ 0 h 1637857"/>
                <a:gd name="connsiteX3" fmla="*/ 821314 w 821313"/>
                <a:gd name="connsiteY3" fmla="*/ 418859 h 1637857"/>
                <a:gd name="connsiteX4" fmla="*/ 821314 w 821313"/>
                <a:gd name="connsiteY4" fmla="*/ 1216721 h 1637857"/>
                <a:gd name="connsiteX5" fmla="*/ 410657 w 821313"/>
                <a:gd name="connsiteY5" fmla="*/ 1637858 h 1637857"/>
                <a:gd name="connsiteX6" fmla="*/ 0 w 821313"/>
                <a:gd name="connsiteY6" fmla="*/ 1637858 h 1637857"/>
                <a:gd name="connsiteX7" fmla="*/ 150177 w 821313"/>
                <a:gd name="connsiteY7" fmla="*/ 1504533 h 1637857"/>
                <a:gd name="connsiteX8" fmla="*/ 405993 w 821313"/>
                <a:gd name="connsiteY8" fmla="*/ 1504533 h 1637857"/>
                <a:gd name="connsiteX9" fmla="*/ 671136 w 821313"/>
                <a:gd name="connsiteY9" fmla="*/ 1221371 h 1637857"/>
                <a:gd name="connsiteX10" fmla="*/ 671136 w 821313"/>
                <a:gd name="connsiteY10" fmla="*/ 414114 h 1637857"/>
                <a:gd name="connsiteX11" fmla="*/ 405993 w 821313"/>
                <a:gd name="connsiteY11" fmla="*/ 133325 h 1637857"/>
                <a:gd name="connsiteX12" fmla="*/ 150177 w 821313"/>
                <a:gd name="connsiteY12" fmla="*/ 133325 h 1637857"/>
                <a:gd name="connsiteX13" fmla="*/ 150177 w 821313"/>
                <a:gd name="connsiteY13" fmla="*/ 1504438 h 1637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21313" h="1637857">
                  <a:moveTo>
                    <a:pt x="0" y="1637858"/>
                  </a:moveTo>
                  <a:lnTo>
                    <a:pt x="0" y="0"/>
                  </a:lnTo>
                  <a:lnTo>
                    <a:pt x="410657" y="0"/>
                  </a:lnTo>
                  <a:cubicBezTo>
                    <a:pt x="689885" y="0"/>
                    <a:pt x="821314" y="135697"/>
                    <a:pt x="821314" y="418859"/>
                  </a:cubicBezTo>
                  <a:lnTo>
                    <a:pt x="821314" y="1216721"/>
                  </a:lnTo>
                  <a:cubicBezTo>
                    <a:pt x="821314" y="1504533"/>
                    <a:pt x="689885" y="1637858"/>
                    <a:pt x="410657" y="1637858"/>
                  </a:cubicBezTo>
                  <a:lnTo>
                    <a:pt x="0" y="1637858"/>
                  </a:lnTo>
                  <a:close/>
                  <a:moveTo>
                    <a:pt x="150177" y="1504533"/>
                  </a:moveTo>
                  <a:lnTo>
                    <a:pt x="405993" y="1504533"/>
                  </a:lnTo>
                  <a:cubicBezTo>
                    <a:pt x="593763" y="1504533"/>
                    <a:pt x="671136" y="1420267"/>
                    <a:pt x="671136" y="1221371"/>
                  </a:cubicBezTo>
                  <a:lnTo>
                    <a:pt x="671136" y="414114"/>
                  </a:lnTo>
                  <a:cubicBezTo>
                    <a:pt x="671136" y="215218"/>
                    <a:pt x="593668" y="133325"/>
                    <a:pt x="405993" y="133325"/>
                  </a:cubicBezTo>
                  <a:lnTo>
                    <a:pt x="150177" y="133325"/>
                  </a:lnTo>
                  <a:lnTo>
                    <a:pt x="150177" y="1504438"/>
                  </a:lnTo>
                  <a:close/>
                </a:path>
              </a:pathLst>
            </a:custGeom>
            <a:grpFill/>
            <a:ln w="0" cap="flat">
              <a:noFill/>
              <a:prstDash val="solid"/>
              <a:miter/>
            </a:ln>
          </p:spPr>
          <p:txBody>
            <a:bodyPr rtlCol="0" anchor="ctr"/>
            <a:lstStyle/>
            <a:p>
              <a:endParaRPr lang="en-BG"/>
            </a:p>
          </p:txBody>
        </p:sp>
        <p:sp>
          <p:nvSpPr>
            <p:cNvPr id="28" name="Freeform 27">
              <a:extLst>
                <a:ext uri="{FF2B5EF4-FFF2-40B4-BE49-F238E27FC236}">
                  <a16:creationId xmlns:a16="http://schemas.microsoft.com/office/drawing/2014/main" id="{9C2937C4-E8F8-704B-A5A3-0CECE48474D8}"/>
                </a:ext>
              </a:extLst>
            </p:cNvPr>
            <p:cNvSpPr/>
            <p:nvPr/>
          </p:nvSpPr>
          <p:spPr>
            <a:xfrm>
              <a:off x="11350168" y="-1913287"/>
              <a:ext cx="943226" cy="1637952"/>
            </a:xfrm>
            <a:custGeom>
              <a:avLst/>
              <a:gdLst>
                <a:gd name="connsiteX0" fmla="*/ 790765 w 943226"/>
                <a:gd name="connsiteY0" fmla="*/ 1637858 h 1637952"/>
                <a:gd name="connsiteX1" fmla="*/ 708633 w 943226"/>
                <a:gd name="connsiteY1" fmla="*/ 1275176 h 1637952"/>
                <a:gd name="connsiteX2" fmla="*/ 222887 w 943226"/>
                <a:gd name="connsiteY2" fmla="*/ 1275176 h 1637952"/>
                <a:gd name="connsiteX3" fmla="*/ 143135 w 943226"/>
                <a:gd name="connsiteY3" fmla="*/ 1637858 h 1637952"/>
                <a:gd name="connsiteX4" fmla="*/ 0 w 943226"/>
                <a:gd name="connsiteY4" fmla="*/ 1637858 h 1637952"/>
                <a:gd name="connsiteX5" fmla="*/ 368307 w 943226"/>
                <a:gd name="connsiteY5" fmla="*/ 0 h 1637952"/>
                <a:gd name="connsiteX6" fmla="*/ 570161 w 943226"/>
                <a:gd name="connsiteY6" fmla="*/ 0 h 1637952"/>
                <a:gd name="connsiteX7" fmla="*/ 943227 w 943226"/>
                <a:gd name="connsiteY7" fmla="*/ 1637953 h 1637952"/>
                <a:gd name="connsiteX8" fmla="*/ 790669 w 943226"/>
                <a:gd name="connsiteY8" fmla="*/ 1637953 h 1637952"/>
                <a:gd name="connsiteX9" fmla="*/ 251058 w 943226"/>
                <a:gd name="connsiteY9" fmla="*/ 1144128 h 1637952"/>
                <a:gd name="connsiteX10" fmla="*/ 680463 w 943226"/>
                <a:gd name="connsiteY10" fmla="*/ 1144128 h 1637952"/>
                <a:gd name="connsiteX11" fmla="*/ 462239 w 943226"/>
                <a:gd name="connsiteY11" fmla="*/ 180107 h 1637952"/>
                <a:gd name="connsiteX12" fmla="*/ 251058 w 943226"/>
                <a:gd name="connsiteY12" fmla="*/ 1144128 h 16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3226" h="1637952">
                  <a:moveTo>
                    <a:pt x="790765" y="1637858"/>
                  </a:moveTo>
                  <a:lnTo>
                    <a:pt x="708633" y="1275176"/>
                  </a:lnTo>
                  <a:lnTo>
                    <a:pt x="222887" y="1275176"/>
                  </a:lnTo>
                  <a:lnTo>
                    <a:pt x="143135" y="1637858"/>
                  </a:lnTo>
                  <a:lnTo>
                    <a:pt x="0" y="1637858"/>
                  </a:lnTo>
                  <a:lnTo>
                    <a:pt x="368307" y="0"/>
                  </a:lnTo>
                  <a:lnTo>
                    <a:pt x="570161" y="0"/>
                  </a:lnTo>
                  <a:lnTo>
                    <a:pt x="943227" y="1637953"/>
                  </a:lnTo>
                  <a:lnTo>
                    <a:pt x="790669" y="1637953"/>
                  </a:lnTo>
                  <a:close/>
                  <a:moveTo>
                    <a:pt x="251058" y="1144128"/>
                  </a:moveTo>
                  <a:lnTo>
                    <a:pt x="680463" y="1144128"/>
                  </a:lnTo>
                  <a:lnTo>
                    <a:pt x="462239" y="180107"/>
                  </a:lnTo>
                  <a:lnTo>
                    <a:pt x="251058" y="1144128"/>
                  </a:lnTo>
                  <a:close/>
                </a:path>
              </a:pathLst>
            </a:custGeom>
            <a:grpFill/>
            <a:ln w="0" cap="flat">
              <a:noFill/>
              <a:prstDash val="solid"/>
              <a:miter/>
            </a:ln>
          </p:spPr>
          <p:txBody>
            <a:bodyPr rtlCol="0" anchor="ctr"/>
            <a:lstStyle/>
            <a:p>
              <a:endParaRPr lang="en-BG"/>
            </a:p>
          </p:txBody>
        </p:sp>
        <p:sp>
          <p:nvSpPr>
            <p:cNvPr id="29" name="Freeform 28">
              <a:extLst>
                <a:ext uri="{FF2B5EF4-FFF2-40B4-BE49-F238E27FC236}">
                  <a16:creationId xmlns:a16="http://schemas.microsoft.com/office/drawing/2014/main" id="{B9A5BD1C-2933-1C44-AFC1-1077134AD5DC}"/>
                </a:ext>
              </a:extLst>
            </p:cNvPr>
            <p:cNvSpPr/>
            <p:nvPr/>
          </p:nvSpPr>
          <p:spPr>
            <a:xfrm>
              <a:off x="12321279" y="-1913382"/>
              <a:ext cx="931615" cy="1637952"/>
            </a:xfrm>
            <a:custGeom>
              <a:avLst/>
              <a:gdLst>
                <a:gd name="connsiteX0" fmla="*/ 389530 w 931615"/>
                <a:gd name="connsiteY0" fmla="*/ 1637953 h 1637952"/>
                <a:gd name="connsiteX1" fmla="*/ 389530 w 931615"/>
                <a:gd name="connsiteY1" fmla="*/ 910216 h 1637952"/>
                <a:gd name="connsiteX2" fmla="*/ 0 w 931615"/>
                <a:gd name="connsiteY2" fmla="*/ 0 h 1637952"/>
                <a:gd name="connsiteX3" fmla="*/ 161884 w 931615"/>
                <a:gd name="connsiteY3" fmla="*/ 0 h 1637952"/>
                <a:gd name="connsiteX4" fmla="*/ 471661 w 931615"/>
                <a:gd name="connsiteY4" fmla="*/ 727736 h 1637952"/>
                <a:gd name="connsiteX5" fmla="*/ 781438 w 931615"/>
                <a:gd name="connsiteY5" fmla="*/ 0 h 1637952"/>
                <a:gd name="connsiteX6" fmla="*/ 931616 w 931615"/>
                <a:gd name="connsiteY6" fmla="*/ 0 h 1637952"/>
                <a:gd name="connsiteX7" fmla="*/ 542087 w 931615"/>
                <a:gd name="connsiteY7" fmla="*/ 910216 h 1637952"/>
                <a:gd name="connsiteX8" fmla="*/ 542087 w 931615"/>
                <a:gd name="connsiteY8" fmla="*/ 1637953 h 1637952"/>
                <a:gd name="connsiteX9" fmla="*/ 389530 w 931615"/>
                <a:gd name="connsiteY9" fmla="*/ 1637953 h 16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1615" h="1637952">
                  <a:moveTo>
                    <a:pt x="389530" y="1637953"/>
                  </a:moveTo>
                  <a:lnTo>
                    <a:pt x="389530" y="910216"/>
                  </a:lnTo>
                  <a:lnTo>
                    <a:pt x="0" y="0"/>
                  </a:lnTo>
                  <a:lnTo>
                    <a:pt x="161884" y="0"/>
                  </a:lnTo>
                  <a:lnTo>
                    <a:pt x="471661" y="727736"/>
                  </a:lnTo>
                  <a:lnTo>
                    <a:pt x="781438" y="0"/>
                  </a:lnTo>
                  <a:lnTo>
                    <a:pt x="931616" y="0"/>
                  </a:lnTo>
                  <a:lnTo>
                    <a:pt x="542087" y="910216"/>
                  </a:lnTo>
                  <a:lnTo>
                    <a:pt x="542087" y="1637953"/>
                  </a:lnTo>
                  <a:lnTo>
                    <a:pt x="389530" y="1637953"/>
                  </a:lnTo>
                  <a:close/>
                </a:path>
              </a:pathLst>
            </a:custGeom>
            <a:grpFill/>
            <a:ln w="0" cap="flat">
              <a:noFill/>
              <a:prstDash val="solid"/>
              <a:miter/>
            </a:ln>
          </p:spPr>
          <p:txBody>
            <a:bodyPr rtlCol="0" anchor="ctr"/>
            <a:lstStyle/>
            <a:p>
              <a:endParaRPr lang="en-BG"/>
            </a:p>
          </p:txBody>
        </p:sp>
      </p:grpSp>
      <p:grpSp>
        <p:nvGrpSpPr>
          <p:cNvPr id="6" name="Group 5">
            <a:extLst>
              <a:ext uri="{FF2B5EF4-FFF2-40B4-BE49-F238E27FC236}">
                <a16:creationId xmlns:a16="http://schemas.microsoft.com/office/drawing/2014/main" id="{E76941C9-5E05-6346-8526-A4C14FA87443}"/>
              </a:ext>
            </a:extLst>
          </p:cNvPr>
          <p:cNvGrpSpPr/>
          <p:nvPr/>
        </p:nvGrpSpPr>
        <p:grpSpPr>
          <a:xfrm>
            <a:off x="290008" y="1223287"/>
            <a:ext cx="11202802" cy="1088179"/>
            <a:chOff x="290008" y="882665"/>
            <a:chExt cx="11202802" cy="1088179"/>
          </a:xfrm>
        </p:grpSpPr>
        <p:sp>
          <p:nvSpPr>
            <p:cNvPr id="131" name="TextBox 130">
              <a:extLst>
                <a:ext uri="{FF2B5EF4-FFF2-40B4-BE49-F238E27FC236}">
                  <a16:creationId xmlns:a16="http://schemas.microsoft.com/office/drawing/2014/main" id="{2F0D3931-D90E-B043-9C99-00311EBFFD44}"/>
                </a:ext>
              </a:extLst>
            </p:cNvPr>
            <p:cNvSpPr txBox="1"/>
            <p:nvPr/>
          </p:nvSpPr>
          <p:spPr>
            <a:xfrm>
              <a:off x="290008" y="882665"/>
              <a:ext cx="111760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FFEA24"/>
                  </a:solidFill>
                  <a:latin typeface="+mj-lt"/>
                </a:rPr>
                <a:t>Partners</a:t>
              </a:r>
              <a:endParaRPr kumimoji="0" lang="en-US" sz="1600" b="0" i="0" u="none" strike="noStrike" kern="1200" cap="none" spc="0" normalizeH="0" baseline="0" noProof="0" dirty="0">
                <a:ln>
                  <a:noFill/>
                </a:ln>
                <a:solidFill>
                  <a:srgbClr val="FFEA24"/>
                </a:solidFill>
                <a:effectLst/>
                <a:uLnTx/>
                <a:uFillTx/>
                <a:latin typeface="+mj-lt"/>
              </a:endParaRPr>
            </a:p>
          </p:txBody>
        </p:sp>
        <p:grpSp>
          <p:nvGrpSpPr>
            <p:cNvPr id="4" name="Group 3">
              <a:extLst>
                <a:ext uri="{FF2B5EF4-FFF2-40B4-BE49-F238E27FC236}">
                  <a16:creationId xmlns:a16="http://schemas.microsoft.com/office/drawing/2014/main" id="{8FC6E0CE-6250-9147-8A7E-289B2C7BF1AE}"/>
                </a:ext>
              </a:extLst>
            </p:cNvPr>
            <p:cNvGrpSpPr/>
            <p:nvPr/>
          </p:nvGrpSpPr>
          <p:grpSpPr>
            <a:xfrm>
              <a:off x="445270" y="1435006"/>
              <a:ext cx="11047540" cy="535838"/>
              <a:chOff x="445270" y="1418822"/>
              <a:chExt cx="11047540" cy="535838"/>
            </a:xfrm>
          </p:grpSpPr>
          <p:pic>
            <p:nvPicPr>
              <p:cNvPr id="135" name="Picture 134">
                <a:extLst>
                  <a:ext uri="{FF2B5EF4-FFF2-40B4-BE49-F238E27FC236}">
                    <a16:creationId xmlns:a16="http://schemas.microsoft.com/office/drawing/2014/main" id="{8526DED7-334A-6842-B64B-AE953B488F6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29534" y="1494353"/>
                <a:ext cx="1163276" cy="384776"/>
              </a:xfrm>
              <a:prstGeom prst="rect">
                <a:avLst/>
              </a:prstGeom>
            </p:spPr>
          </p:pic>
          <p:pic>
            <p:nvPicPr>
              <p:cNvPr id="140" name="Picture 139" descr="Logo&#10;&#10;Description automatically generated">
                <a:extLst>
                  <a:ext uri="{FF2B5EF4-FFF2-40B4-BE49-F238E27FC236}">
                    <a16:creationId xmlns:a16="http://schemas.microsoft.com/office/drawing/2014/main" id="{5B460A84-746D-B14A-BCAF-89B3F80B97E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47722" y="1492656"/>
                <a:ext cx="853123" cy="388171"/>
              </a:xfrm>
              <a:prstGeom prst="rect">
                <a:avLst/>
              </a:prstGeom>
              <a:solidFill>
                <a:schemeClr val="bg1"/>
              </a:solidFill>
            </p:spPr>
          </p:pic>
          <p:pic>
            <p:nvPicPr>
              <p:cNvPr id="133" name="Picture 132">
                <a:extLst>
                  <a:ext uri="{FF2B5EF4-FFF2-40B4-BE49-F238E27FC236}">
                    <a16:creationId xmlns:a16="http://schemas.microsoft.com/office/drawing/2014/main" id="{7FBB4756-B3EF-E14B-95FF-F73054F612C2}"/>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038041" y="1524591"/>
                <a:ext cx="972902" cy="324300"/>
              </a:xfrm>
              <a:prstGeom prst="rect">
                <a:avLst/>
              </a:prstGeom>
            </p:spPr>
          </p:pic>
          <p:pic>
            <p:nvPicPr>
              <p:cNvPr id="134" name="Picture 133">
                <a:extLst>
                  <a:ext uri="{FF2B5EF4-FFF2-40B4-BE49-F238E27FC236}">
                    <a16:creationId xmlns:a16="http://schemas.microsoft.com/office/drawing/2014/main" id="{0600FB44-1433-6A4D-84E3-007F55EA59E2}"/>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5441193" y="1525330"/>
                <a:ext cx="1434764" cy="322822"/>
              </a:xfrm>
              <a:prstGeom prst="rect">
                <a:avLst/>
              </a:prstGeom>
            </p:spPr>
          </p:pic>
          <p:pic>
            <p:nvPicPr>
              <p:cNvPr id="136" name="Picture 135" descr="Logo, company name&#10;&#10;Description automatically generated">
                <a:extLst>
                  <a:ext uri="{FF2B5EF4-FFF2-40B4-BE49-F238E27FC236}">
                    <a16:creationId xmlns:a16="http://schemas.microsoft.com/office/drawing/2014/main" id="{B8511267-9D44-6142-8E43-CA2F9F7CCC9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12736" y="1433364"/>
                <a:ext cx="688526" cy="506755"/>
              </a:xfrm>
              <a:prstGeom prst="rect">
                <a:avLst/>
              </a:prstGeom>
            </p:spPr>
          </p:pic>
          <p:pic>
            <p:nvPicPr>
              <p:cNvPr id="137" name="Picture 136" descr="Text&#10;&#10;Description automatically generated with medium confidence">
                <a:extLst>
                  <a:ext uri="{FF2B5EF4-FFF2-40B4-BE49-F238E27FC236}">
                    <a16:creationId xmlns:a16="http://schemas.microsoft.com/office/drawing/2014/main" id="{C3B5BF44-0F7D-794C-9E82-88F7C1D86D4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120500" y="1496942"/>
                <a:ext cx="1083914" cy="379598"/>
              </a:xfrm>
              <a:prstGeom prst="rect">
                <a:avLst/>
              </a:prstGeom>
            </p:spPr>
          </p:pic>
          <p:pic>
            <p:nvPicPr>
              <p:cNvPr id="138" name="Picture 137">
                <a:extLst>
                  <a:ext uri="{FF2B5EF4-FFF2-40B4-BE49-F238E27FC236}">
                    <a16:creationId xmlns:a16="http://schemas.microsoft.com/office/drawing/2014/main" id="{3D0B4970-3221-B14E-982C-28DD873A6951}"/>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2867817" y="1496942"/>
                <a:ext cx="1015904" cy="379598"/>
              </a:xfrm>
              <a:prstGeom prst="rect">
                <a:avLst/>
              </a:prstGeom>
            </p:spPr>
          </p:pic>
          <p:pic>
            <p:nvPicPr>
              <p:cNvPr id="139" name="Picture 138">
                <a:extLst>
                  <a:ext uri="{FF2B5EF4-FFF2-40B4-BE49-F238E27FC236}">
                    <a16:creationId xmlns:a16="http://schemas.microsoft.com/office/drawing/2014/main" id="{9509DF84-9631-D94B-9ACD-BFC69D7CB7C2}"/>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1890788" y="1418822"/>
                <a:ext cx="740250" cy="535838"/>
              </a:xfrm>
              <a:prstGeom prst="rect">
                <a:avLst/>
              </a:prstGeom>
            </p:spPr>
          </p:pic>
          <p:grpSp>
            <p:nvGrpSpPr>
              <p:cNvPr id="141" name="Graphic 29">
                <a:extLst>
                  <a:ext uri="{FF2B5EF4-FFF2-40B4-BE49-F238E27FC236}">
                    <a16:creationId xmlns:a16="http://schemas.microsoft.com/office/drawing/2014/main" id="{B9A2AFE1-426A-794D-A77C-E3B21E9C3CC7}"/>
                  </a:ext>
                </a:extLst>
              </p:cNvPr>
              <p:cNvGrpSpPr/>
              <p:nvPr/>
            </p:nvGrpSpPr>
            <p:grpSpPr>
              <a:xfrm>
                <a:off x="445270" y="1483783"/>
                <a:ext cx="1168279" cy="405916"/>
                <a:chOff x="1158727" y="2044081"/>
                <a:chExt cx="1558436" cy="541476"/>
              </a:xfrm>
              <a:solidFill>
                <a:schemeClr val="bg1"/>
              </a:solidFill>
            </p:grpSpPr>
            <p:sp>
              <p:nvSpPr>
                <p:cNvPr id="142" name="Freeform 141">
                  <a:extLst>
                    <a:ext uri="{FF2B5EF4-FFF2-40B4-BE49-F238E27FC236}">
                      <a16:creationId xmlns:a16="http://schemas.microsoft.com/office/drawing/2014/main" id="{4D608F2B-7651-BF46-B6EA-FD3ABC52E5E6}"/>
                    </a:ext>
                  </a:extLst>
                </p:cNvPr>
                <p:cNvSpPr/>
                <p:nvPr/>
              </p:nvSpPr>
              <p:spPr>
                <a:xfrm>
                  <a:off x="1158727" y="2085362"/>
                  <a:ext cx="505038" cy="500195"/>
                </a:xfrm>
                <a:custGeom>
                  <a:avLst/>
                  <a:gdLst>
                    <a:gd name="connsiteX0" fmla="*/ 462544 w 505038"/>
                    <a:gd name="connsiteY0" fmla="*/ 41732 h 500195"/>
                    <a:gd name="connsiteX1" fmla="*/ 479917 w 505038"/>
                    <a:gd name="connsiteY1" fmla="*/ 45697 h 500195"/>
                    <a:gd name="connsiteX2" fmla="*/ 428729 w 505038"/>
                    <a:gd name="connsiteY2" fmla="*/ 44067 h 500195"/>
                    <a:gd name="connsiteX3" fmla="*/ 415300 w 505038"/>
                    <a:gd name="connsiteY3" fmla="*/ 48699 h 500195"/>
                    <a:gd name="connsiteX4" fmla="*/ 414073 w 505038"/>
                    <a:gd name="connsiteY4" fmla="*/ 110589 h 500195"/>
                    <a:gd name="connsiteX5" fmla="*/ 413812 w 505038"/>
                    <a:gd name="connsiteY5" fmla="*/ 118075 h 500195"/>
                    <a:gd name="connsiteX6" fmla="*/ 390786 w 505038"/>
                    <a:gd name="connsiteY6" fmla="*/ 119705 h 500195"/>
                    <a:gd name="connsiteX7" fmla="*/ 403545 w 505038"/>
                    <a:gd name="connsiteY7" fmla="*/ 38322 h 500195"/>
                    <a:gd name="connsiteX8" fmla="*/ 420917 w 505038"/>
                    <a:gd name="connsiteY8" fmla="*/ 23610 h 500195"/>
                    <a:gd name="connsiteX9" fmla="*/ 449227 w 505038"/>
                    <a:gd name="connsiteY9" fmla="*/ 25537 h 500195"/>
                    <a:gd name="connsiteX10" fmla="*/ 487431 w 505038"/>
                    <a:gd name="connsiteY10" fmla="*/ 21312 h 500195"/>
                    <a:gd name="connsiteX11" fmla="*/ 462507 w 505038"/>
                    <a:gd name="connsiteY11" fmla="*/ 41769 h 500195"/>
                    <a:gd name="connsiteX12" fmla="*/ 421066 w 505038"/>
                    <a:gd name="connsiteY12" fmla="*/ 130452 h 500195"/>
                    <a:gd name="connsiteX13" fmla="*/ 446771 w 505038"/>
                    <a:gd name="connsiteY13" fmla="*/ 152392 h 500195"/>
                    <a:gd name="connsiteX14" fmla="*/ 446251 w 505038"/>
                    <a:gd name="connsiteY14" fmla="*/ 213873 h 500195"/>
                    <a:gd name="connsiteX15" fmla="*/ 450231 w 505038"/>
                    <a:gd name="connsiteY15" fmla="*/ 277134 h 500195"/>
                    <a:gd name="connsiteX16" fmla="*/ 466115 w 505038"/>
                    <a:gd name="connsiteY16" fmla="*/ 295812 h 500195"/>
                    <a:gd name="connsiteX17" fmla="*/ 480214 w 505038"/>
                    <a:gd name="connsiteY17" fmla="*/ 419331 h 500195"/>
                    <a:gd name="connsiteX18" fmla="*/ 483637 w 505038"/>
                    <a:gd name="connsiteY18" fmla="*/ 424372 h 500195"/>
                    <a:gd name="connsiteX19" fmla="*/ 476829 w 505038"/>
                    <a:gd name="connsiteY19" fmla="*/ 455464 h 500195"/>
                    <a:gd name="connsiteX20" fmla="*/ 447404 w 505038"/>
                    <a:gd name="connsiteY20" fmla="*/ 455464 h 500195"/>
                    <a:gd name="connsiteX21" fmla="*/ 451533 w 505038"/>
                    <a:gd name="connsiteY21" fmla="*/ 439381 h 500195"/>
                    <a:gd name="connsiteX22" fmla="*/ 440038 w 505038"/>
                    <a:gd name="connsiteY22" fmla="*/ 439381 h 500195"/>
                    <a:gd name="connsiteX23" fmla="*/ 436058 w 505038"/>
                    <a:gd name="connsiteY23" fmla="*/ 455464 h 500195"/>
                    <a:gd name="connsiteX24" fmla="*/ 415003 w 505038"/>
                    <a:gd name="connsiteY24" fmla="*/ 455464 h 500195"/>
                    <a:gd name="connsiteX25" fmla="*/ 438401 w 505038"/>
                    <a:gd name="connsiteY25" fmla="*/ 417034 h 500195"/>
                    <a:gd name="connsiteX26" fmla="*/ 440038 w 505038"/>
                    <a:gd name="connsiteY26" fmla="*/ 415107 h 500195"/>
                    <a:gd name="connsiteX27" fmla="*/ 443312 w 505038"/>
                    <a:gd name="connsiteY27" fmla="*/ 405434 h 500195"/>
                    <a:gd name="connsiteX28" fmla="*/ 443312 w 505038"/>
                    <a:gd name="connsiteY28" fmla="*/ 311896 h 500195"/>
                    <a:gd name="connsiteX29" fmla="*/ 434012 w 505038"/>
                    <a:gd name="connsiteY29" fmla="*/ 310821 h 500195"/>
                    <a:gd name="connsiteX30" fmla="*/ 380630 w 505038"/>
                    <a:gd name="connsiteY30" fmla="*/ 278505 h 500195"/>
                    <a:gd name="connsiteX31" fmla="*/ 355855 w 505038"/>
                    <a:gd name="connsiteY31" fmla="*/ 225733 h 500195"/>
                    <a:gd name="connsiteX32" fmla="*/ 344360 w 505038"/>
                    <a:gd name="connsiteY32" fmla="*/ 225733 h 500195"/>
                    <a:gd name="connsiteX33" fmla="*/ 356562 w 505038"/>
                    <a:gd name="connsiteY33" fmla="*/ 264163 h 500195"/>
                    <a:gd name="connsiteX34" fmla="*/ 347671 w 505038"/>
                    <a:gd name="connsiteY34" fmla="*/ 298110 h 500195"/>
                    <a:gd name="connsiteX35" fmla="*/ 324272 w 505038"/>
                    <a:gd name="connsiteY35" fmla="*/ 318159 h 500195"/>
                    <a:gd name="connsiteX36" fmla="*/ 229040 w 505038"/>
                    <a:gd name="connsiteY36" fmla="*/ 349363 h 500195"/>
                    <a:gd name="connsiteX37" fmla="*/ 231086 w 505038"/>
                    <a:gd name="connsiteY37" fmla="*/ 337652 h 500195"/>
                    <a:gd name="connsiteX38" fmla="*/ 231086 w 505038"/>
                    <a:gd name="connsiteY38" fmla="*/ 337096 h 500195"/>
                    <a:gd name="connsiteX39" fmla="*/ 219591 w 505038"/>
                    <a:gd name="connsiteY39" fmla="*/ 337096 h 500195"/>
                    <a:gd name="connsiteX40" fmla="*/ 198387 w 505038"/>
                    <a:gd name="connsiteY40" fmla="*/ 367374 h 500195"/>
                    <a:gd name="connsiteX41" fmla="*/ 188790 w 505038"/>
                    <a:gd name="connsiteY41" fmla="*/ 373637 h 500195"/>
                    <a:gd name="connsiteX42" fmla="*/ 187413 w 505038"/>
                    <a:gd name="connsiteY42" fmla="*/ 376231 h 500195"/>
                    <a:gd name="connsiteX43" fmla="*/ 182652 w 505038"/>
                    <a:gd name="connsiteY43" fmla="*/ 386719 h 500195"/>
                    <a:gd name="connsiteX44" fmla="*/ 169781 w 505038"/>
                    <a:gd name="connsiteY44" fmla="*/ 446422 h 500195"/>
                    <a:gd name="connsiteX45" fmla="*/ 170599 w 505038"/>
                    <a:gd name="connsiteY45" fmla="*/ 447904 h 500195"/>
                    <a:gd name="connsiteX46" fmla="*/ 186037 w 505038"/>
                    <a:gd name="connsiteY46" fmla="*/ 471363 h 500195"/>
                    <a:gd name="connsiteX47" fmla="*/ 192770 w 505038"/>
                    <a:gd name="connsiteY47" fmla="*/ 488670 h 500195"/>
                    <a:gd name="connsiteX48" fmla="*/ 176291 w 505038"/>
                    <a:gd name="connsiteY48" fmla="*/ 488670 h 500195"/>
                    <a:gd name="connsiteX49" fmla="*/ 174579 w 505038"/>
                    <a:gd name="connsiteY49" fmla="*/ 474328 h 500195"/>
                    <a:gd name="connsiteX50" fmla="*/ 163233 w 505038"/>
                    <a:gd name="connsiteY50" fmla="*/ 474328 h 500195"/>
                    <a:gd name="connsiteX51" fmla="*/ 164982 w 505038"/>
                    <a:gd name="connsiteY51" fmla="*/ 488670 h 500195"/>
                    <a:gd name="connsiteX52" fmla="*/ 134217 w 505038"/>
                    <a:gd name="connsiteY52" fmla="*/ 488670 h 500195"/>
                    <a:gd name="connsiteX53" fmla="*/ 138347 w 505038"/>
                    <a:gd name="connsiteY53" fmla="*/ 462617 h 500195"/>
                    <a:gd name="connsiteX54" fmla="*/ 147907 w 505038"/>
                    <a:gd name="connsiteY54" fmla="*/ 436453 h 500195"/>
                    <a:gd name="connsiteX55" fmla="*/ 159811 w 505038"/>
                    <a:gd name="connsiteY55" fmla="*/ 398986 h 500195"/>
                    <a:gd name="connsiteX56" fmla="*/ 152297 w 505038"/>
                    <a:gd name="connsiteY56" fmla="*/ 355886 h 500195"/>
                    <a:gd name="connsiteX57" fmla="*/ 139983 w 505038"/>
                    <a:gd name="connsiteY57" fmla="*/ 355886 h 500195"/>
                    <a:gd name="connsiteX58" fmla="*/ 143034 w 505038"/>
                    <a:gd name="connsiteY58" fmla="*/ 363372 h 500195"/>
                    <a:gd name="connsiteX59" fmla="*/ 100179 w 505038"/>
                    <a:gd name="connsiteY59" fmla="*/ 363372 h 500195"/>
                    <a:gd name="connsiteX60" fmla="*/ 100179 w 505038"/>
                    <a:gd name="connsiteY60" fmla="*/ 319901 h 500195"/>
                    <a:gd name="connsiteX61" fmla="*/ 88833 w 505038"/>
                    <a:gd name="connsiteY61" fmla="*/ 319901 h 500195"/>
                    <a:gd name="connsiteX62" fmla="*/ 88833 w 505038"/>
                    <a:gd name="connsiteY62" fmla="*/ 340506 h 500195"/>
                    <a:gd name="connsiteX63" fmla="*/ 39990 w 505038"/>
                    <a:gd name="connsiteY63" fmla="*/ 358369 h 500195"/>
                    <a:gd name="connsiteX64" fmla="*/ 33554 w 505038"/>
                    <a:gd name="connsiteY64" fmla="*/ 360666 h 500195"/>
                    <a:gd name="connsiteX65" fmla="*/ 36977 w 505038"/>
                    <a:gd name="connsiteY65" fmla="*/ 366522 h 500195"/>
                    <a:gd name="connsiteX66" fmla="*/ 48472 w 505038"/>
                    <a:gd name="connsiteY66" fmla="*/ 386423 h 500195"/>
                    <a:gd name="connsiteX67" fmla="*/ 50815 w 505038"/>
                    <a:gd name="connsiteY67" fmla="*/ 388609 h 500195"/>
                    <a:gd name="connsiteX68" fmla="*/ 76818 w 505038"/>
                    <a:gd name="connsiteY68" fmla="*/ 402099 h 500195"/>
                    <a:gd name="connsiteX69" fmla="*/ 49327 w 505038"/>
                    <a:gd name="connsiteY69" fmla="*/ 436156 h 500195"/>
                    <a:gd name="connsiteX70" fmla="*/ 12760 w 505038"/>
                    <a:gd name="connsiteY70" fmla="*/ 365966 h 500195"/>
                    <a:gd name="connsiteX71" fmla="*/ 12350 w 505038"/>
                    <a:gd name="connsiteY71" fmla="*/ 355589 h 500195"/>
                    <a:gd name="connsiteX72" fmla="*/ 18377 w 505038"/>
                    <a:gd name="connsiteY72" fmla="*/ 347547 h 500195"/>
                    <a:gd name="connsiteX73" fmla="*/ 59148 w 505038"/>
                    <a:gd name="connsiteY73" fmla="*/ 324385 h 500195"/>
                    <a:gd name="connsiteX74" fmla="*/ 63389 w 505038"/>
                    <a:gd name="connsiteY74" fmla="*/ 321939 h 500195"/>
                    <a:gd name="connsiteX75" fmla="*/ 61603 w 505038"/>
                    <a:gd name="connsiteY75" fmla="*/ 317418 h 500195"/>
                    <a:gd name="connsiteX76" fmla="*/ 56804 w 505038"/>
                    <a:gd name="connsiteY76" fmla="*/ 286732 h 500195"/>
                    <a:gd name="connsiteX77" fmla="*/ 58925 w 505038"/>
                    <a:gd name="connsiteY77" fmla="*/ 268388 h 500195"/>
                    <a:gd name="connsiteX78" fmla="*/ 68560 w 505038"/>
                    <a:gd name="connsiteY78" fmla="*/ 283434 h 500195"/>
                    <a:gd name="connsiteX79" fmla="*/ 82770 w 505038"/>
                    <a:gd name="connsiteY79" fmla="*/ 283434 h 500195"/>
                    <a:gd name="connsiteX80" fmla="*/ 48137 w 505038"/>
                    <a:gd name="connsiteY80" fmla="*/ 205869 h 500195"/>
                    <a:gd name="connsiteX81" fmla="*/ 45942 w 505038"/>
                    <a:gd name="connsiteY81" fmla="*/ 190785 h 500195"/>
                    <a:gd name="connsiteX82" fmla="*/ 63352 w 505038"/>
                    <a:gd name="connsiteY82" fmla="*/ 190859 h 500195"/>
                    <a:gd name="connsiteX83" fmla="*/ 129158 w 505038"/>
                    <a:gd name="connsiteY83" fmla="*/ 222212 h 500195"/>
                    <a:gd name="connsiteX84" fmla="*/ 129158 w 505038"/>
                    <a:gd name="connsiteY84" fmla="*/ 296146 h 500195"/>
                    <a:gd name="connsiteX85" fmla="*/ 154417 w 505038"/>
                    <a:gd name="connsiteY85" fmla="*/ 321309 h 500195"/>
                    <a:gd name="connsiteX86" fmla="*/ 266947 w 505038"/>
                    <a:gd name="connsiteY86" fmla="*/ 321309 h 500195"/>
                    <a:gd name="connsiteX87" fmla="*/ 272006 w 505038"/>
                    <a:gd name="connsiteY87" fmla="*/ 320901 h 500195"/>
                    <a:gd name="connsiteX88" fmla="*/ 300204 w 505038"/>
                    <a:gd name="connsiteY88" fmla="*/ 290364 h 500195"/>
                    <a:gd name="connsiteX89" fmla="*/ 300613 w 505038"/>
                    <a:gd name="connsiteY89" fmla="*/ 284917 h 500195"/>
                    <a:gd name="connsiteX90" fmla="*/ 288969 w 505038"/>
                    <a:gd name="connsiteY90" fmla="*/ 261754 h 500195"/>
                    <a:gd name="connsiteX91" fmla="*/ 281046 w 505038"/>
                    <a:gd name="connsiteY91" fmla="*/ 237369 h 500195"/>
                    <a:gd name="connsiteX92" fmla="*/ 270630 w 505038"/>
                    <a:gd name="connsiteY92" fmla="*/ 217468 h 500195"/>
                    <a:gd name="connsiteX93" fmla="*/ 270630 w 505038"/>
                    <a:gd name="connsiteY93" fmla="*/ 204534 h 500195"/>
                    <a:gd name="connsiteX94" fmla="*/ 270072 w 505038"/>
                    <a:gd name="connsiteY94" fmla="*/ 202348 h 500195"/>
                    <a:gd name="connsiteX95" fmla="*/ 265161 w 505038"/>
                    <a:gd name="connsiteY95" fmla="*/ 190785 h 500195"/>
                    <a:gd name="connsiteX96" fmla="*/ 300873 w 505038"/>
                    <a:gd name="connsiteY96" fmla="*/ 190785 h 500195"/>
                    <a:gd name="connsiteX97" fmla="*/ 317018 w 505038"/>
                    <a:gd name="connsiteY97" fmla="*/ 189303 h 500195"/>
                    <a:gd name="connsiteX98" fmla="*/ 331117 w 505038"/>
                    <a:gd name="connsiteY98" fmla="*/ 181780 h 500195"/>
                    <a:gd name="connsiteX99" fmla="*/ 336697 w 505038"/>
                    <a:gd name="connsiteY99" fmla="*/ 166808 h 500195"/>
                    <a:gd name="connsiteX100" fmla="*/ 335618 w 505038"/>
                    <a:gd name="connsiteY100" fmla="*/ 157543 h 500195"/>
                    <a:gd name="connsiteX101" fmla="*/ 318357 w 505038"/>
                    <a:gd name="connsiteY101" fmla="*/ 118779 h 500195"/>
                    <a:gd name="connsiteX102" fmla="*/ 371181 w 505038"/>
                    <a:gd name="connsiteY102" fmla="*/ 125598 h 500195"/>
                    <a:gd name="connsiteX103" fmla="*/ 371367 w 505038"/>
                    <a:gd name="connsiteY103" fmla="*/ 125820 h 500195"/>
                    <a:gd name="connsiteX104" fmla="*/ 344360 w 505038"/>
                    <a:gd name="connsiteY104" fmla="*/ 141756 h 500195"/>
                    <a:gd name="connsiteX105" fmla="*/ 358310 w 505038"/>
                    <a:gd name="connsiteY105" fmla="*/ 147870 h 500195"/>
                    <a:gd name="connsiteX106" fmla="*/ 386917 w 505038"/>
                    <a:gd name="connsiteY106" fmla="*/ 132194 h 500195"/>
                    <a:gd name="connsiteX107" fmla="*/ 421141 w 505038"/>
                    <a:gd name="connsiteY107" fmla="*/ 130415 h 500195"/>
                    <a:gd name="connsiteX108" fmla="*/ 403694 w 505038"/>
                    <a:gd name="connsiteY108" fmla="*/ 323088 h 500195"/>
                    <a:gd name="connsiteX109" fmla="*/ 393018 w 505038"/>
                    <a:gd name="connsiteY109" fmla="*/ 328536 h 500195"/>
                    <a:gd name="connsiteX110" fmla="*/ 384685 w 505038"/>
                    <a:gd name="connsiteY110" fmla="*/ 325941 h 500195"/>
                    <a:gd name="connsiteX111" fmla="*/ 378249 w 505038"/>
                    <a:gd name="connsiteY111" fmla="*/ 317640 h 500195"/>
                    <a:gd name="connsiteX112" fmla="*/ 375794 w 505038"/>
                    <a:gd name="connsiteY112" fmla="*/ 311785 h 500195"/>
                    <a:gd name="connsiteX113" fmla="*/ 370474 w 505038"/>
                    <a:gd name="connsiteY113" fmla="*/ 315194 h 500195"/>
                    <a:gd name="connsiteX114" fmla="*/ 336139 w 505038"/>
                    <a:gd name="connsiteY114" fmla="*/ 336615 h 500195"/>
                    <a:gd name="connsiteX115" fmla="*/ 341905 w 505038"/>
                    <a:gd name="connsiteY115" fmla="*/ 345472 h 500195"/>
                    <a:gd name="connsiteX116" fmla="*/ 356822 w 505038"/>
                    <a:gd name="connsiteY116" fmla="*/ 336207 h 500195"/>
                    <a:gd name="connsiteX117" fmla="*/ 360765 w 505038"/>
                    <a:gd name="connsiteY117" fmla="*/ 343285 h 500195"/>
                    <a:gd name="connsiteX118" fmla="*/ 348712 w 505038"/>
                    <a:gd name="connsiteY118" fmla="*/ 361963 h 500195"/>
                    <a:gd name="connsiteX119" fmla="*/ 331489 w 505038"/>
                    <a:gd name="connsiteY119" fmla="*/ 417997 h 500195"/>
                    <a:gd name="connsiteX120" fmla="*/ 325314 w 505038"/>
                    <a:gd name="connsiteY120" fmla="*/ 418146 h 500195"/>
                    <a:gd name="connsiteX121" fmla="*/ 319585 w 505038"/>
                    <a:gd name="connsiteY121" fmla="*/ 418294 h 500195"/>
                    <a:gd name="connsiteX122" fmla="*/ 319734 w 505038"/>
                    <a:gd name="connsiteY122" fmla="*/ 423853 h 500195"/>
                    <a:gd name="connsiteX123" fmla="*/ 319734 w 505038"/>
                    <a:gd name="connsiteY123" fmla="*/ 455502 h 500195"/>
                    <a:gd name="connsiteX124" fmla="*/ 258986 w 505038"/>
                    <a:gd name="connsiteY124" fmla="*/ 455502 h 500195"/>
                    <a:gd name="connsiteX125" fmla="*/ 270741 w 505038"/>
                    <a:gd name="connsiteY125" fmla="*/ 435341 h 500195"/>
                    <a:gd name="connsiteX126" fmla="*/ 301803 w 505038"/>
                    <a:gd name="connsiteY126" fmla="*/ 416923 h 500195"/>
                    <a:gd name="connsiteX127" fmla="*/ 303738 w 505038"/>
                    <a:gd name="connsiteY127" fmla="*/ 415144 h 500195"/>
                    <a:gd name="connsiteX128" fmla="*/ 323714 w 505038"/>
                    <a:gd name="connsiteY128" fmla="*/ 361148 h 500195"/>
                    <a:gd name="connsiteX129" fmla="*/ 323974 w 505038"/>
                    <a:gd name="connsiteY129" fmla="*/ 359110 h 500195"/>
                    <a:gd name="connsiteX130" fmla="*/ 311401 w 505038"/>
                    <a:gd name="connsiteY130" fmla="*/ 334280 h 500195"/>
                    <a:gd name="connsiteX131" fmla="*/ 328364 w 505038"/>
                    <a:gd name="connsiteY131" fmla="*/ 328721 h 500195"/>
                    <a:gd name="connsiteX132" fmla="*/ 357380 w 505038"/>
                    <a:gd name="connsiteY132" fmla="*/ 303928 h 500195"/>
                    <a:gd name="connsiteX133" fmla="*/ 366606 w 505038"/>
                    <a:gd name="connsiteY133" fmla="*/ 279691 h 500195"/>
                    <a:gd name="connsiteX134" fmla="*/ 372297 w 505038"/>
                    <a:gd name="connsiteY134" fmla="*/ 286325 h 500195"/>
                    <a:gd name="connsiteX135" fmla="*/ 408009 w 505038"/>
                    <a:gd name="connsiteY135" fmla="*/ 313489 h 500195"/>
                    <a:gd name="connsiteX136" fmla="*/ 403806 w 505038"/>
                    <a:gd name="connsiteY136" fmla="*/ 323125 h 500195"/>
                    <a:gd name="connsiteX137" fmla="*/ 35600 w 505038"/>
                    <a:gd name="connsiteY137" fmla="*/ 179408 h 500195"/>
                    <a:gd name="connsiteX138" fmla="*/ 28198 w 505038"/>
                    <a:gd name="connsiteY138" fmla="*/ 175999 h 500195"/>
                    <a:gd name="connsiteX139" fmla="*/ 26300 w 505038"/>
                    <a:gd name="connsiteY139" fmla="*/ 166585 h 500195"/>
                    <a:gd name="connsiteX140" fmla="*/ 37237 w 505038"/>
                    <a:gd name="connsiteY140" fmla="*/ 147240 h 500195"/>
                    <a:gd name="connsiteX141" fmla="*/ 51038 w 505038"/>
                    <a:gd name="connsiteY141" fmla="*/ 131972 h 500195"/>
                    <a:gd name="connsiteX142" fmla="*/ 90321 w 505038"/>
                    <a:gd name="connsiteY142" fmla="*/ 98841 h 500195"/>
                    <a:gd name="connsiteX143" fmla="*/ 69638 w 505038"/>
                    <a:gd name="connsiteY143" fmla="*/ 140014 h 500195"/>
                    <a:gd name="connsiteX144" fmla="*/ 63872 w 505038"/>
                    <a:gd name="connsiteY144" fmla="*/ 151206 h 500195"/>
                    <a:gd name="connsiteX145" fmla="*/ 75925 w 505038"/>
                    <a:gd name="connsiteY145" fmla="*/ 148056 h 500195"/>
                    <a:gd name="connsiteX146" fmla="*/ 132023 w 505038"/>
                    <a:gd name="connsiteY146" fmla="*/ 140681 h 500195"/>
                    <a:gd name="connsiteX147" fmla="*/ 152408 w 505038"/>
                    <a:gd name="connsiteY147" fmla="*/ 146944 h 500195"/>
                    <a:gd name="connsiteX148" fmla="*/ 154194 w 505038"/>
                    <a:gd name="connsiteY148" fmla="*/ 153763 h 500195"/>
                    <a:gd name="connsiteX149" fmla="*/ 148577 w 505038"/>
                    <a:gd name="connsiteY149" fmla="*/ 170959 h 500195"/>
                    <a:gd name="connsiteX150" fmla="*/ 133399 w 505038"/>
                    <a:gd name="connsiteY150" fmla="*/ 179816 h 500195"/>
                    <a:gd name="connsiteX151" fmla="*/ 35563 w 505038"/>
                    <a:gd name="connsiteY151" fmla="*/ 179408 h 500195"/>
                    <a:gd name="connsiteX152" fmla="*/ 57325 w 505038"/>
                    <a:gd name="connsiteY152" fmla="*/ 107809 h 500195"/>
                    <a:gd name="connsiteX153" fmla="*/ 112493 w 505038"/>
                    <a:gd name="connsiteY153" fmla="*/ 58594 h 500195"/>
                    <a:gd name="connsiteX154" fmla="*/ 181871 w 505038"/>
                    <a:gd name="connsiteY154" fmla="*/ 84647 h 500195"/>
                    <a:gd name="connsiteX155" fmla="*/ 209771 w 505038"/>
                    <a:gd name="connsiteY155" fmla="*/ 123893 h 500195"/>
                    <a:gd name="connsiteX156" fmla="*/ 222344 w 505038"/>
                    <a:gd name="connsiteY156" fmla="*/ 123893 h 500195"/>
                    <a:gd name="connsiteX157" fmla="*/ 212189 w 505038"/>
                    <a:gd name="connsiteY157" fmla="*/ 105067 h 500195"/>
                    <a:gd name="connsiteX158" fmla="*/ 284617 w 505038"/>
                    <a:gd name="connsiteY158" fmla="*/ 114443 h 500195"/>
                    <a:gd name="connsiteX159" fmla="*/ 287072 w 505038"/>
                    <a:gd name="connsiteY159" fmla="*/ 137531 h 500195"/>
                    <a:gd name="connsiteX160" fmla="*/ 281604 w 505038"/>
                    <a:gd name="connsiteY160" fmla="*/ 136456 h 500195"/>
                    <a:gd name="connsiteX161" fmla="*/ 216169 w 505038"/>
                    <a:gd name="connsiteY161" fmla="*/ 139161 h 500195"/>
                    <a:gd name="connsiteX162" fmla="*/ 161039 w 505038"/>
                    <a:gd name="connsiteY162" fmla="*/ 139161 h 500195"/>
                    <a:gd name="connsiteX163" fmla="*/ 132432 w 505038"/>
                    <a:gd name="connsiteY163" fmla="*/ 129341 h 500195"/>
                    <a:gd name="connsiteX164" fmla="*/ 85076 w 505038"/>
                    <a:gd name="connsiteY164" fmla="*/ 134381 h 500195"/>
                    <a:gd name="connsiteX165" fmla="*/ 115171 w 505038"/>
                    <a:gd name="connsiteY165" fmla="*/ 72232 h 500195"/>
                    <a:gd name="connsiteX166" fmla="*/ 111897 w 505038"/>
                    <a:gd name="connsiteY166" fmla="*/ 72232 h 500195"/>
                    <a:gd name="connsiteX167" fmla="*/ 77674 w 505038"/>
                    <a:gd name="connsiteY167" fmla="*/ 94579 h 500195"/>
                    <a:gd name="connsiteX168" fmla="*/ 55354 w 505038"/>
                    <a:gd name="connsiteY168" fmla="*/ 112404 h 500195"/>
                    <a:gd name="connsiteX169" fmla="*/ 57288 w 505038"/>
                    <a:gd name="connsiteY169" fmla="*/ 107809 h 500195"/>
                    <a:gd name="connsiteX170" fmla="*/ 268472 w 505038"/>
                    <a:gd name="connsiteY170" fmla="*/ 238592 h 500195"/>
                    <a:gd name="connsiteX171" fmla="*/ 259060 w 505038"/>
                    <a:gd name="connsiteY171" fmla="*/ 245411 h 500195"/>
                    <a:gd name="connsiteX172" fmla="*/ 241800 w 505038"/>
                    <a:gd name="connsiteY172" fmla="*/ 238296 h 500195"/>
                    <a:gd name="connsiteX173" fmla="*/ 207167 w 505038"/>
                    <a:gd name="connsiteY173" fmla="*/ 262014 h 500195"/>
                    <a:gd name="connsiteX174" fmla="*/ 213193 w 505038"/>
                    <a:gd name="connsiteY174" fmla="*/ 275652 h 500195"/>
                    <a:gd name="connsiteX175" fmla="*/ 210031 w 505038"/>
                    <a:gd name="connsiteY175" fmla="*/ 278765 h 500195"/>
                    <a:gd name="connsiteX176" fmla="*/ 204153 w 505038"/>
                    <a:gd name="connsiteY176" fmla="*/ 294181 h 500195"/>
                    <a:gd name="connsiteX177" fmla="*/ 208283 w 505038"/>
                    <a:gd name="connsiteY177" fmla="*/ 310006 h 500195"/>
                    <a:gd name="connsiteX178" fmla="*/ 158211 w 505038"/>
                    <a:gd name="connsiteY178" fmla="*/ 310006 h 500195"/>
                    <a:gd name="connsiteX179" fmla="*/ 140541 w 505038"/>
                    <a:gd name="connsiteY179" fmla="*/ 292403 h 500195"/>
                    <a:gd name="connsiteX180" fmla="*/ 140541 w 505038"/>
                    <a:gd name="connsiteY180" fmla="*/ 208018 h 500195"/>
                    <a:gd name="connsiteX181" fmla="*/ 133585 w 505038"/>
                    <a:gd name="connsiteY181" fmla="*/ 209797 h 500195"/>
                    <a:gd name="connsiteX182" fmla="*/ 75144 w 505038"/>
                    <a:gd name="connsiteY182" fmla="*/ 190971 h 500195"/>
                    <a:gd name="connsiteX183" fmla="*/ 133697 w 505038"/>
                    <a:gd name="connsiteY183" fmla="*/ 191230 h 500195"/>
                    <a:gd name="connsiteX184" fmla="*/ 134106 w 505038"/>
                    <a:gd name="connsiteY184" fmla="*/ 191230 h 500195"/>
                    <a:gd name="connsiteX185" fmla="*/ 138347 w 505038"/>
                    <a:gd name="connsiteY185" fmla="*/ 190563 h 500195"/>
                    <a:gd name="connsiteX186" fmla="*/ 157244 w 505038"/>
                    <a:gd name="connsiteY186" fmla="*/ 178148 h 500195"/>
                    <a:gd name="connsiteX187" fmla="*/ 165577 w 505038"/>
                    <a:gd name="connsiteY187" fmla="*/ 153059 h 500195"/>
                    <a:gd name="connsiteX188" fmla="*/ 165317 w 505038"/>
                    <a:gd name="connsiteY188" fmla="*/ 150613 h 500195"/>
                    <a:gd name="connsiteX189" fmla="*/ 172161 w 505038"/>
                    <a:gd name="connsiteY189" fmla="*/ 150761 h 500195"/>
                    <a:gd name="connsiteX190" fmla="*/ 217731 w 505038"/>
                    <a:gd name="connsiteY190" fmla="*/ 150761 h 500195"/>
                    <a:gd name="connsiteX191" fmla="*/ 254001 w 505038"/>
                    <a:gd name="connsiteY191" fmla="*/ 193565 h 500195"/>
                    <a:gd name="connsiteX192" fmla="*/ 259098 w 505038"/>
                    <a:gd name="connsiteY192" fmla="*/ 205832 h 500195"/>
                    <a:gd name="connsiteX193" fmla="*/ 259098 w 505038"/>
                    <a:gd name="connsiteY193" fmla="*/ 218802 h 500195"/>
                    <a:gd name="connsiteX194" fmla="*/ 259618 w 505038"/>
                    <a:gd name="connsiteY194" fmla="*/ 221248 h 500195"/>
                    <a:gd name="connsiteX195" fmla="*/ 269067 w 505038"/>
                    <a:gd name="connsiteY195" fmla="*/ 238555 h 500195"/>
                    <a:gd name="connsiteX196" fmla="*/ 268509 w 505038"/>
                    <a:gd name="connsiteY196" fmla="*/ 238555 h 500195"/>
                    <a:gd name="connsiteX197" fmla="*/ 278888 w 505038"/>
                    <a:gd name="connsiteY197" fmla="*/ 268425 h 500195"/>
                    <a:gd name="connsiteX198" fmla="*/ 283129 w 505038"/>
                    <a:gd name="connsiteY198" fmla="*/ 271427 h 500195"/>
                    <a:gd name="connsiteX199" fmla="*/ 288709 w 505038"/>
                    <a:gd name="connsiteY199" fmla="*/ 287659 h 500195"/>
                    <a:gd name="connsiteX200" fmla="*/ 266686 w 505038"/>
                    <a:gd name="connsiteY200" fmla="*/ 309895 h 500195"/>
                    <a:gd name="connsiteX201" fmla="*/ 228929 w 505038"/>
                    <a:gd name="connsiteY201" fmla="*/ 309895 h 500195"/>
                    <a:gd name="connsiteX202" fmla="*/ 215797 w 505038"/>
                    <a:gd name="connsiteY202" fmla="*/ 297072 h 500195"/>
                    <a:gd name="connsiteX203" fmla="*/ 215797 w 505038"/>
                    <a:gd name="connsiteY203" fmla="*/ 294478 h 500195"/>
                    <a:gd name="connsiteX204" fmla="*/ 228929 w 505038"/>
                    <a:gd name="connsiteY204" fmla="*/ 281544 h 500195"/>
                    <a:gd name="connsiteX205" fmla="*/ 233281 w 505038"/>
                    <a:gd name="connsiteY205" fmla="*/ 281285 h 500195"/>
                    <a:gd name="connsiteX206" fmla="*/ 234099 w 505038"/>
                    <a:gd name="connsiteY206" fmla="*/ 278023 h 500195"/>
                    <a:gd name="connsiteX207" fmla="*/ 219852 w 505038"/>
                    <a:gd name="connsiteY207" fmla="*/ 262903 h 500195"/>
                    <a:gd name="connsiteX208" fmla="*/ 237782 w 505038"/>
                    <a:gd name="connsiteY208" fmla="*/ 247227 h 500195"/>
                    <a:gd name="connsiteX209" fmla="*/ 261292 w 505038"/>
                    <a:gd name="connsiteY209" fmla="*/ 264274 h 500195"/>
                    <a:gd name="connsiteX210" fmla="*/ 264715 w 505038"/>
                    <a:gd name="connsiteY210" fmla="*/ 264274 h 500195"/>
                    <a:gd name="connsiteX211" fmla="*/ 267616 w 505038"/>
                    <a:gd name="connsiteY211" fmla="*/ 249673 h 500195"/>
                    <a:gd name="connsiteX212" fmla="*/ 276656 w 505038"/>
                    <a:gd name="connsiteY212" fmla="*/ 256492 h 500195"/>
                    <a:gd name="connsiteX213" fmla="*/ 278851 w 505038"/>
                    <a:gd name="connsiteY213" fmla="*/ 268499 h 500195"/>
                    <a:gd name="connsiteX214" fmla="*/ 308611 w 505038"/>
                    <a:gd name="connsiteY214" fmla="*/ 124745 h 500195"/>
                    <a:gd name="connsiteX215" fmla="*/ 324495 w 505038"/>
                    <a:gd name="connsiteY215" fmla="*/ 160026 h 500195"/>
                    <a:gd name="connsiteX216" fmla="*/ 325314 w 505038"/>
                    <a:gd name="connsiteY216" fmla="*/ 166845 h 500195"/>
                    <a:gd name="connsiteX217" fmla="*/ 322858 w 505038"/>
                    <a:gd name="connsiteY217" fmla="*/ 174072 h 500195"/>
                    <a:gd name="connsiteX218" fmla="*/ 314228 w 505038"/>
                    <a:gd name="connsiteY218" fmla="*/ 178296 h 500195"/>
                    <a:gd name="connsiteX219" fmla="*/ 301096 w 505038"/>
                    <a:gd name="connsiteY219" fmla="*/ 179371 h 500195"/>
                    <a:gd name="connsiteX220" fmla="*/ 260734 w 505038"/>
                    <a:gd name="connsiteY220" fmla="*/ 179371 h 500195"/>
                    <a:gd name="connsiteX221" fmla="*/ 232797 w 505038"/>
                    <a:gd name="connsiteY221" fmla="*/ 143794 h 500195"/>
                    <a:gd name="connsiteX222" fmla="*/ 279186 w 505038"/>
                    <a:gd name="connsiteY222" fmla="*/ 147463 h 500195"/>
                    <a:gd name="connsiteX223" fmla="*/ 293694 w 505038"/>
                    <a:gd name="connsiteY223" fmla="*/ 150316 h 500195"/>
                    <a:gd name="connsiteX224" fmla="*/ 301766 w 505038"/>
                    <a:gd name="connsiteY224" fmla="*/ 151688 h 500195"/>
                    <a:gd name="connsiteX225" fmla="*/ 300129 w 505038"/>
                    <a:gd name="connsiteY225" fmla="*/ 143646 h 500195"/>
                    <a:gd name="connsiteX226" fmla="*/ 292057 w 505038"/>
                    <a:gd name="connsiteY226" fmla="*/ 98804 h 500195"/>
                    <a:gd name="connsiteX227" fmla="*/ 308648 w 505038"/>
                    <a:gd name="connsiteY227" fmla="*/ 124708 h 500195"/>
                    <a:gd name="connsiteX228" fmla="*/ 502609 w 505038"/>
                    <a:gd name="connsiteY228" fmla="*/ 1226 h 500195"/>
                    <a:gd name="connsiteX229" fmla="*/ 455662 w 505038"/>
                    <a:gd name="connsiteY229" fmla="*/ 15827 h 500195"/>
                    <a:gd name="connsiteX230" fmla="*/ 418425 w 505038"/>
                    <a:gd name="connsiteY230" fmla="*/ 14456 h 500195"/>
                    <a:gd name="connsiteX231" fmla="*/ 393538 w 505038"/>
                    <a:gd name="connsiteY231" fmla="*/ 33690 h 500195"/>
                    <a:gd name="connsiteX232" fmla="*/ 389446 w 505038"/>
                    <a:gd name="connsiteY232" fmla="*/ 45809 h 500195"/>
                    <a:gd name="connsiteX233" fmla="*/ 385206 w 505038"/>
                    <a:gd name="connsiteY233" fmla="*/ 103621 h 500195"/>
                    <a:gd name="connsiteX234" fmla="*/ 382750 w 505038"/>
                    <a:gd name="connsiteY234" fmla="*/ 111812 h 500195"/>
                    <a:gd name="connsiteX235" fmla="*/ 379328 w 505038"/>
                    <a:gd name="connsiteY235" fmla="*/ 114962 h 500195"/>
                    <a:gd name="connsiteX236" fmla="*/ 375980 w 505038"/>
                    <a:gd name="connsiteY236" fmla="*/ 115221 h 500195"/>
                    <a:gd name="connsiteX237" fmla="*/ 308834 w 505038"/>
                    <a:gd name="connsiteY237" fmla="*/ 106327 h 500195"/>
                    <a:gd name="connsiteX238" fmla="*/ 283092 w 505038"/>
                    <a:gd name="connsiteY238" fmla="*/ 72269 h 500195"/>
                    <a:gd name="connsiteX239" fmla="*/ 280078 w 505038"/>
                    <a:gd name="connsiteY239" fmla="*/ 72269 h 500195"/>
                    <a:gd name="connsiteX240" fmla="*/ 283352 w 505038"/>
                    <a:gd name="connsiteY240" fmla="*/ 102917 h 500195"/>
                    <a:gd name="connsiteX241" fmla="*/ 203447 w 505038"/>
                    <a:gd name="connsiteY241" fmla="*/ 92318 h 500195"/>
                    <a:gd name="connsiteX242" fmla="*/ 189794 w 505038"/>
                    <a:gd name="connsiteY242" fmla="*/ 76642 h 500195"/>
                    <a:gd name="connsiteX243" fmla="*/ 110409 w 505038"/>
                    <a:gd name="connsiteY243" fmla="*/ 47476 h 500195"/>
                    <a:gd name="connsiteX244" fmla="*/ 46909 w 505038"/>
                    <a:gd name="connsiteY244" fmla="*/ 103251 h 500195"/>
                    <a:gd name="connsiteX245" fmla="*/ 38279 w 505038"/>
                    <a:gd name="connsiteY245" fmla="*/ 128970 h 500195"/>
                    <a:gd name="connsiteX246" fmla="*/ 28309 w 505038"/>
                    <a:gd name="connsiteY246" fmla="*/ 140347 h 500195"/>
                    <a:gd name="connsiteX247" fmla="*/ 15289 w 505038"/>
                    <a:gd name="connsiteY247" fmla="*/ 163510 h 500195"/>
                    <a:gd name="connsiteX248" fmla="*/ 14210 w 505038"/>
                    <a:gd name="connsiteY248" fmla="*/ 170180 h 500195"/>
                    <a:gd name="connsiteX249" fmla="*/ 14210 w 505038"/>
                    <a:gd name="connsiteY249" fmla="*/ 171663 h 500195"/>
                    <a:gd name="connsiteX250" fmla="*/ 20497 w 505038"/>
                    <a:gd name="connsiteY250" fmla="*/ 184633 h 500195"/>
                    <a:gd name="connsiteX251" fmla="*/ 33629 w 505038"/>
                    <a:gd name="connsiteY251" fmla="*/ 190748 h 500195"/>
                    <a:gd name="connsiteX252" fmla="*/ 34336 w 505038"/>
                    <a:gd name="connsiteY252" fmla="*/ 190822 h 500195"/>
                    <a:gd name="connsiteX253" fmla="*/ 36791 w 505038"/>
                    <a:gd name="connsiteY253" fmla="*/ 208055 h 500195"/>
                    <a:gd name="connsiteX254" fmla="*/ 51968 w 505038"/>
                    <a:gd name="connsiteY254" fmla="*/ 255417 h 500195"/>
                    <a:gd name="connsiteX255" fmla="*/ 45272 w 505038"/>
                    <a:gd name="connsiteY255" fmla="*/ 286844 h 500195"/>
                    <a:gd name="connsiteX256" fmla="*/ 49253 w 505038"/>
                    <a:gd name="connsiteY256" fmla="*/ 316973 h 500195"/>
                    <a:gd name="connsiteX257" fmla="*/ 12574 w 505038"/>
                    <a:gd name="connsiteY257" fmla="*/ 337838 h 500195"/>
                    <a:gd name="connsiteX258" fmla="*/ 1376 w 505038"/>
                    <a:gd name="connsiteY258" fmla="*/ 352291 h 500195"/>
                    <a:gd name="connsiteX259" fmla="*/ 2195 w 505038"/>
                    <a:gd name="connsiteY259" fmla="*/ 370821 h 500195"/>
                    <a:gd name="connsiteX260" fmla="*/ 2344 w 505038"/>
                    <a:gd name="connsiteY260" fmla="*/ 371080 h 500195"/>
                    <a:gd name="connsiteX261" fmla="*/ 43003 w 505038"/>
                    <a:gd name="connsiteY261" fmla="*/ 449053 h 500195"/>
                    <a:gd name="connsiteX262" fmla="*/ 46388 w 505038"/>
                    <a:gd name="connsiteY262" fmla="*/ 455464 h 500195"/>
                    <a:gd name="connsiteX263" fmla="*/ 0 w 505038"/>
                    <a:gd name="connsiteY263" fmla="*/ 455464 h 500195"/>
                    <a:gd name="connsiteX264" fmla="*/ 0 w 505038"/>
                    <a:gd name="connsiteY264" fmla="*/ 466768 h 500195"/>
                    <a:gd name="connsiteX265" fmla="*/ 114539 w 505038"/>
                    <a:gd name="connsiteY265" fmla="*/ 466768 h 500195"/>
                    <a:gd name="connsiteX266" fmla="*/ 114539 w 505038"/>
                    <a:gd name="connsiteY266" fmla="*/ 455464 h 500195"/>
                    <a:gd name="connsiteX267" fmla="*/ 48174 w 505038"/>
                    <a:gd name="connsiteY267" fmla="*/ 455464 h 500195"/>
                    <a:gd name="connsiteX268" fmla="*/ 52564 w 505038"/>
                    <a:gd name="connsiteY268" fmla="*/ 450017 h 500195"/>
                    <a:gd name="connsiteX269" fmla="*/ 89912 w 505038"/>
                    <a:gd name="connsiteY269" fmla="*/ 403915 h 500195"/>
                    <a:gd name="connsiteX270" fmla="*/ 94302 w 505038"/>
                    <a:gd name="connsiteY270" fmla="*/ 398615 h 500195"/>
                    <a:gd name="connsiteX271" fmla="*/ 88164 w 505038"/>
                    <a:gd name="connsiteY271" fmla="*/ 395354 h 500195"/>
                    <a:gd name="connsiteX272" fmla="*/ 57362 w 505038"/>
                    <a:gd name="connsiteY272" fmla="*/ 379270 h 500195"/>
                    <a:gd name="connsiteX273" fmla="*/ 50108 w 505038"/>
                    <a:gd name="connsiteY273" fmla="*/ 366744 h 500195"/>
                    <a:gd name="connsiteX274" fmla="*/ 88722 w 505038"/>
                    <a:gd name="connsiteY274" fmla="*/ 352624 h 500195"/>
                    <a:gd name="connsiteX275" fmla="*/ 88722 w 505038"/>
                    <a:gd name="connsiteY275" fmla="*/ 374934 h 500195"/>
                    <a:gd name="connsiteX276" fmla="*/ 146196 w 505038"/>
                    <a:gd name="connsiteY276" fmla="*/ 374934 h 500195"/>
                    <a:gd name="connsiteX277" fmla="*/ 148242 w 505038"/>
                    <a:gd name="connsiteY277" fmla="*/ 398504 h 500195"/>
                    <a:gd name="connsiteX278" fmla="*/ 137565 w 505038"/>
                    <a:gd name="connsiteY278" fmla="*/ 431746 h 500195"/>
                    <a:gd name="connsiteX279" fmla="*/ 127038 w 505038"/>
                    <a:gd name="connsiteY279" fmla="*/ 460912 h 500195"/>
                    <a:gd name="connsiteX280" fmla="*/ 121830 w 505038"/>
                    <a:gd name="connsiteY280" fmla="*/ 493636 h 500195"/>
                    <a:gd name="connsiteX281" fmla="*/ 120900 w 505038"/>
                    <a:gd name="connsiteY281" fmla="*/ 500195 h 500195"/>
                    <a:gd name="connsiteX282" fmla="*/ 205604 w 505038"/>
                    <a:gd name="connsiteY282" fmla="*/ 500195 h 500195"/>
                    <a:gd name="connsiteX283" fmla="*/ 205083 w 505038"/>
                    <a:gd name="connsiteY283" fmla="*/ 493932 h 500195"/>
                    <a:gd name="connsiteX284" fmla="*/ 196193 w 505038"/>
                    <a:gd name="connsiteY284" fmla="*/ 466101 h 500195"/>
                    <a:gd name="connsiteX285" fmla="*/ 180159 w 505038"/>
                    <a:gd name="connsiteY285" fmla="*/ 441827 h 500195"/>
                    <a:gd name="connsiteX286" fmla="*/ 192882 w 505038"/>
                    <a:gd name="connsiteY286" fmla="*/ 391796 h 500195"/>
                    <a:gd name="connsiteX287" fmla="*/ 197941 w 505038"/>
                    <a:gd name="connsiteY287" fmla="*/ 380752 h 500195"/>
                    <a:gd name="connsiteX288" fmla="*/ 203819 w 505038"/>
                    <a:gd name="connsiteY288" fmla="*/ 377343 h 500195"/>
                    <a:gd name="connsiteX289" fmla="*/ 221563 w 505038"/>
                    <a:gd name="connsiteY289" fmla="*/ 363779 h 500195"/>
                    <a:gd name="connsiteX290" fmla="*/ 297897 w 505038"/>
                    <a:gd name="connsiteY290" fmla="*/ 338690 h 500195"/>
                    <a:gd name="connsiteX291" fmla="*/ 301357 w 505038"/>
                    <a:gd name="connsiteY291" fmla="*/ 340839 h 500195"/>
                    <a:gd name="connsiteX292" fmla="*/ 312442 w 505038"/>
                    <a:gd name="connsiteY292" fmla="*/ 358813 h 500195"/>
                    <a:gd name="connsiteX293" fmla="*/ 295182 w 505038"/>
                    <a:gd name="connsiteY293" fmla="*/ 407472 h 500195"/>
                    <a:gd name="connsiteX294" fmla="*/ 261813 w 505038"/>
                    <a:gd name="connsiteY294" fmla="*/ 428077 h 500195"/>
                    <a:gd name="connsiteX295" fmla="*/ 247119 w 505038"/>
                    <a:gd name="connsiteY295" fmla="*/ 455464 h 500195"/>
                    <a:gd name="connsiteX296" fmla="*/ 215165 w 505038"/>
                    <a:gd name="connsiteY296" fmla="*/ 455464 h 500195"/>
                    <a:gd name="connsiteX297" fmla="*/ 215165 w 505038"/>
                    <a:gd name="connsiteY297" fmla="*/ 466768 h 500195"/>
                    <a:gd name="connsiteX298" fmla="*/ 331191 w 505038"/>
                    <a:gd name="connsiteY298" fmla="*/ 466768 h 500195"/>
                    <a:gd name="connsiteX299" fmla="*/ 331191 w 505038"/>
                    <a:gd name="connsiteY299" fmla="*/ 461172 h 500195"/>
                    <a:gd name="connsiteX300" fmla="*/ 331080 w 505038"/>
                    <a:gd name="connsiteY300" fmla="*/ 429412 h 500195"/>
                    <a:gd name="connsiteX301" fmla="*/ 338743 w 505038"/>
                    <a:gd name="connsiteY301" fmla="*/ 429263 h 500195"/>
                    <a:gd name="connsiteX302" fmla="*/ 346257 w 505038"/>
                    <a:gd name="connsiteY302" fmla="*/ 429115 h 500195"/>
                    <a:gd name="connsiteX303" fmla="*/ 344211 w 505038"/>
                    <a:gd name="connsiteY303" fmla="*/ 422000 h 500195"/>
                    <a:gd name="connsiteX304" fmla="*/ 357231 w 505038"/>
                    <a:gd name="connsiteY304" fmla="*/ 369375 h 500195"/>
                    <a:gd name="connsiteX305" fmla="*/ 372148 w 505038"/>
                    <a:gd name="connsiteY305" fmla="*/ 342952 h 500195"/>
                    <a:gd name="connsiteX306" fmla="*/ 365862 w 505038"/>
                    <a:gd name="connsiteY306" fmla="*/ 330500 h 500195"/>
                    <a:gd name="connsiteX307" fmla="*/ 371330 w 505038"/>
                    <a:gd name="connsiteY307" fmla="*/ 327127 h 500195"/>
                    <a:gd name="connsiteX308" fmla="*/ 378584 w 505038"/>
                    <a:gd name="connsiteY308" fmla="*/ 334502 h 500195"/>
                    <a:gd name="connsiteX309" fmla="*/ 393501 w 505038"/>
                    <a:gd name="connsiteY309" fmla="*/ 339135 h 500195"/>
                    <a:gd name="connsiteX310" fmla="*/ 412101 w 505038"/>
                    <a:gd name="connsiteY310" fmla="*/ 329722 h 500195"/>
                    <a:gd name="connsiteX311" fmla="*/ 417718 w 505038"/>
                    <a:gd name="connsiteY311" fmla="*/ 318937 h 500195"/>
                    <a:gd name="connsiteX312" fmla="*/ 417569 w 505038"/>
                    <a:gd name="connsiteY312" fmla="*/ 317751 h 500195"/>
                    <a:gd name="connsiteX313" fmla="*/ 426869 w 505038"/>
                    <a:gd name="connsiteY313" fmla="*/ 320827 h 500195"/>
                    <a:gd name="connsiteX314" fmla="*/ 432077 w 505038"/>
                    <a:gd name="connsiteY314" fmla="*/ 322050 h 500195"/>
                    <a:gd name="connsiteX315" fmla="*/ 432077 w 505038"/>
                    <a:gd name="connsiteY315" fmla="*/ 402766 h 500195"/>
                    <a:gd name="connsiteX316" fmla="*/ 431110 w 505038"/>
                    <a:gd name="connsiteY316" fmla="*/ 407954 h 500195"/>
                    <a:gd name="connsiteX317" fmla="*/ 429883 w 505038"/>
                    <a:gd name="connsiteY317" fmla="*/ 409437 h 500195"/>
                    <a:gd name="connsiteX318" fmla="*/ 402503 w 505038"/>
                    <a:gd name="connsiteY318" fmla="*/ 460430 h 500195"/>
                    <a:gd name="connsiteX319" fmla="*/ 401685 w 505038"/>
                    <a:gd name="connsiteY319" fmla="*/ 466694 h 500195"/>
                    <a:gd name="connsiteX320" fmla="*/ 485980 w 505038"/>
                    <a:gd name="connsiteY320" fmla="*/ 466694 h 500195"/>
                    <a:gd name="connsiteX321" fmla="*/ 486947 w 505038"/>
                    <a:gd name="connsiteY321" fmla="*/ 462320 h 500195"/>
                    <a:gd name="connsiteX322" fmla="*/ 495280 w 505038"/>
                    <a:gd name="connsiteY322" fmla="*/ 424297 h 500195"/>
                    <a:gd name="connsiteX323" fmla="*/ 495838 w 505038"/>
                    <a:gd name="connsiteY323" fmla="*/ 421963 h 500195"/>
                    <a:gd name="connsiteX324" fmla="*/ 494462 w 505038"/>
                    <a:gd name="connsiteY324" fmla="*/ 419924 h 500195"/>
                    <a:gd name="connsiteX325" fmla="*/ 489700 w 505038"/>
                    <a:gd name="connsiteY325" fmla="*/ 412846 h 500195"/>
                    <a:gd name="connsiteX326" fmla="*/ 477796 w 505038"/>
                    <a:gd name="connsiteY326" fmla="*/ 292884 h 500195"/>
                    <a:gd name="connsiteX327" fmla="*/ 478205 w 505038"/>
                    <a:gd name="connsiteY327" fmla="*/ 288400 h 500195"/>
                    <a:gd name="connsiteX328" fmla="*/ 473853 w 505038"/>
                    <a:gd name="connsiteY328" fmla="*/ 287029 h 500195"/>
                    <a:gd name="connsiteX329" fmla="*/ 460573 w 505038"/>
                    <a:gd name="connsiteY329" fmla="*/ 272020 h 500195"/>
                    <a:gd name="connsiteX330" fmla="*/ 457559 w 505038"/>
                    <a:gd name="connsiteY330" fmla="*/ 215578 h 500195"/>
                    <a:gd name="connsiteX331" fmla="*/ 457857 w 505038"/>
                    <a:gd name="connsiteY331" fmla="*/ 149205 h 500195"/>
                    <a:gd name="connsiteX332" fmla="*/ 424972 w 505038"/>
                    <a:gd name="connsiteY332" fmla="*/ 119668 h 500195"/>
                    <a:gd name="connsiteX333" fmla="*/ 425419 w 505038"/>
                    <a:gd name="connsiteY333" fmla="*/ 108291 h 500195"/>
                    <a:gd name="connsiteX334" fmla="*/ 419690 w 505038"/>
                    <a:gd name="connsiteY334" fmla="*/ 71491 h 500195"/>
                    <a:gd name="connsiteX335" fmla="*/ 425567 w 505038"/>
                    <a:gd name="connsiteY335" fmla="*/ 57334 h 500195"/>
                    <a:gd name="connsiteX336" fmla="*/ 465929 w 505038"/>
                    <a:gd name="connsiteY336" fmla="*/ 69860 h 500195"/>
                    <a:gd name="connsiteX337" fmla="*/ 493457 w 505038"/>
                    <a:gd name="connsiteY337" fmla="*/ 34024 h 500195"/>
                    <a:gd name="connsiteX338" fmla="*/ 504952 w 505038"/>
                    <a:gd name="connsiteY338" fmla="*/ 2671 h 500195"/>
                    <a:gd name="connsiteX339" fmla="*/ 502757 w 505038"/>
                    <a:gd name="connsiteY339" fmla="*/ 1189 h 500195"/>
                    <a:gd name="connsiteX340" fmla="*/ 253592 w 505038"/>
                    <a:gd name="connsiteY340" fmla="*/ 284509 h 500195"/>
                    <a:gd name="connsiteX341" fmla="*/ 236331 w 505038"/>
                    <a:gd name="connsiteY341" fmla="*/ 298406 h 500195"/>
                    <a:gd name="connsiteX342" fmla="*/ 237671 w 505038"/>
                    <a:gd name="connsiteY342" fmla="*/ 299073 h 500195"/>
                    <a:gd name="connsiteX343" fmla="*/ 243288 w 505038"/>
                    <a:gd name="connsiteY343" fmla="*/ 296071 h 500195"/>
                    <a:gd name="connsiteX344" fmla="*/ 273643 w 505038"/>
                    <a:gd name="connsiteY344" fmla="*/ 296071 h 500195"/>
                    <a:gd name="connsiteX345" fmla="*/ 277065 w 505038"/>
                    <a:gd name="connsiteY345" fmla="*/ 299333 h 500195"/>
                    <a:gd name="connsiteX346" fmla="*/ 277214 w 505038"/>
                    <a:gd name="connsiteY346" fmla="*/ 300296 h 500195"/>
                    <a:gd name="connsiteX347" fmla="*/ 272676 w 505038"/>
                    <a:gd name="connsiteY347" fmla="*/ 284472 h 500195"/>
                    <a:gd name="connsiteX348" fmla="*/ 253555 w 505038"/>
                    <a:gd name="connsiteY348" fmla="*/ 284472 h 500195"/>
                    <a:gd name="connsiteX349" fmla="*/ 191171 w 505038"/>
                    <a:gd name="connsiteY349" fmla="*/ 207203 h 500195"/>
                    <a:gd name="connsiteX350" fmla="*/ 173649 w 505038"/>
                    <a:gd name="connsiteY350" fmla="*/ 195344 h 500195"/>
                    <a:gd name="connsiteX351" fmla="*/ 167363 w 505038"/>
                    <a:gd name="connsiteY351" fmla="*/ 213725 h 500195"/>
                    <a:gd name="connsiteX352" fmla="*/ 179267 w 505038"/>
                    <a:gd name="connsiteY352" fmla="*/ 208685 h 500195"/>
                    <a:gd name="connsiteX353" fmla="*/ 188827 w 505038"/>
                    <a:gd name="connsiteY353" fmla="*/ 215504 h 500195"/>
                    <a:gd name="connsiteX354" fmla="*/ 185814 w 505038"/>
                    <a:gd name="connsiteY354" fmla="*/ 219062 h 500195"/>
                    <a:gd name="connsiteX355" fmla="*/ 177890 w 505038"/>
                    <a:gd name="connsiteY355" fmla="*/ 216171 h 500195"/>
                    <a:gd name="connsiteX356" fmla="*/ 177890 w 505038"/>
                    <a:gd name="connsiteY356" fmla="*/ 211279 h 500195"/>
                    <a:gd name="connsiteX357" fmla="*/ 171752 w 505038"/>
                    <a:gd name="connsiteY357" fmla="*/ 215356 h 500195"/>
                    <a:gd name="connsiteX358" fmla="*/ 180494 w 505038"/>
                    <a:gd name="connsiteY358" fmla="*/ 226140 h 500195"/>
                    <a:gd name="connsiteX359" fmla="*/ 198164 w 505038"/>
                    <a:gd name="connsiteY359" fmla="*/ 222175 h 500195"/>
                    <a:gd name="connsiteX360" fmla="*/ 198425 w 505038"/>
                    <a:gd name="connsiteY360" fmla="*/ 221767 h 500195"/>
                    <a:gd name="connsiteX361" fmla="*/ 204711 w 505038"/>
                    <a:gd name="connsiteY361" fmla="*/ 220952 h 500195"/>
                    <a:gd name="connsiteX362" fmla="*/ 191171 w 505038"/>
                    <a:gd name="connsiteY362" fmla="*/ 207166 h 500195"/>
                    <a:gd name="connsiteX363" fmla="*/ 242916 w 505038"/>
                    <a:gd name="connsiteY363" fmla="*/ 273058 h 500195"/>
                    <a:gd name="connsiteX364" fmla="*/ 251806 w 505038"/>
                    <a:gd name="connsiteY364" fmla="*/ 266794 h 500195"/>
                    <a:gd name="connsiteX365" fmla="*/ 254931 w 505038"/>
                    <a:gd name="connsiteY365" fmla="*/ 265720 h 500195"/>
                    <a:gd name="connsiteX366" fmla="*/ 232649 w 505038"/>
                    <a:gd name="connsiteY366" fmla="*/ 255899 h 500195"/>
                    <a:gd name="connsiteX367" fmla="*/ 233207 w 505038"/>
                    <a:gd name="connsiteY367" fmla="*/ 267202 h 500195"/>
                    <a:gd name="connsiteX368" fmla="*/ 240460 w 505038"/>
                    <a:gd name="connsiteY368" fmla="*/ 262421 h 500195"/>
                    <a:gd name="connsiteX369" fmla="*/ 242916 w 505038"/>
                    <a:gd name="connsiteY369" fmla="*/ 273058 h 500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Lst>
                  <a:rect l="l" t="t" r="r" b="b"/>
                  <a:pathLst>
                    <a:path w="505038" h="500195">
                      <a:moveTo>
                        <a:pt x="462544" y="41732"/>
                      </a:moveTo>
                      <a:cubicBezTo>
                        <a:pt x="467603" y="49626"/>
                        <a:pt x="472811" y="46772"/>
                        <a:pt x="479917" y="45697"/>
                      </a:cubicBezTo>
                      <a:cubicBezTo>
                        <a:pt x="461317" y="69823"/>
                        <a:pt x="443089" y="60039"/>
                        <a:pt x="428729" y="44067"/>
                      </a:cubicBezTo>
                      <a:cubicBezTo>
                        <a:pt x="423819" y="41473"/>
                        <a:pt x="419690" y="43807"/>
                        <a:pt x="415300" y="48699"/>
                      </a:cubicBezTo>
                      <a:cubicBezTo>
                        <a:pt x="405033" y="60151"/>
                        <a:pt x="411766" y="95320"/>
                        <a:pt x="414073" y="110589"/>
                      </a:cubicBezTo>
                      <a:cubicBezTo>
                        <a:pt x="414370" y="112590"/>
                        <a:pt x="414221" y="115221"/>
                        <a:pt x="413812" y="118075"/>
                      </a:cubicBezTo>
                      <a:cubicBezTo>
                        <a:pt x="406558" y="117556"/>
                        <a:pt x="398746" y="118075"/>
                        <a:pt x="390786" y="119705"/>
                      </a:cubicBezTo>
                      <a:cubicBezTo>
                        <a:pt x="403433" y="102065"/>
                        <a:pt x="394543" y="53517"/>
                        <a:pt x="403545" y="38322"/>
                      </a:cubicBezTo>
                      <a:cubicBezTo>
                        <a:pt x="406558" y="32208"/>
                        <a:pt x="413403" y="25500"/>
                        <a:pt x="420917" y="23610"/>
                      </a:cubicBezTo>
                      <a:cubicBezTo>
                        <a:pt x="427055" y="21979"/>
                        <a:pt x="434867" y="20089"/>
                        <a:pt x="449227" y="25537"/>
                      </a:cubicBezTo>
                      <a:cubicBezTo>
                        <a:pt x="463474" y="28391"/>
                        <a:pt x="475527" y="27575"/>
                        <a:pt x="487431" y="21312"/>
                      </a:cubicBezTo>
                      <a:cubicBezTo>
                        <a:pt x="488398" y="22127"/>
                        <a:pt x="476345" y="45586"/>
                        <a:pt x="462507" y="41769"/>
                      </a:cubicBezTo>
                      <a:moveTo>
                        <a:pt x="421066" y="130452"/>
                      </a:moveTo>
                      <a:cubicBezTo>
                        <a:pt x="434049" y="133454"/>
                        <a:pt x="442940" y="140384"/>
                        <a:pt x="446771" y="152392"/>
                      </a:cubicBezTo>
                      <a:cubicBezTo>
                        <a:pt x="452798" y="173923"/>
                        <a:pt x="449375" y="194640"/>
                        <a:pt x="446251" y="213873"/>
                      </a:cubicBezTo>
                      <a:cubicBezTo>
                        <a:pt x="442679" y="234997"/>
                        <a:pt x="441191" y="259012"/>
                        <a:pt x="450231" y="277134"/>
                      </a:cubicBezTo>
                      <a:cubicBezTo>
                        <a:pt x="455588" y="287918"/>
                        <a:pt x="461875" y="293218"/>
                        <a:pt x="466115" y="295812"/>
                      </a:cubicBezTo>
                      <a:cubicBezTo>
                        <a:pt x="461317" y="346250"/>
                        <a:pt x="448297" y="372822"/>
                        <a:pt x="480214" y="419331"/>
                      </a:cubicBezTo>
                      <a:cubicBezTo>
                        <a:pt x="481144" y="420703"/>
                        <a:pt x="482111" y="422037"/>
                        <a:pt x="483637" y="424372"/>
                      </a:cubicBezTo>
                      <a:lnTo>
                        <a:pt x="476829" y="455464"/>
                      </a:lnTo>
                      <a:lnTo>
                        <a:pt x="447404" y="455464"/>
                      </a:lnTo>
                      <a:lnTo>
                        <a:pt x="451533" y="439381"/>
                      </a:lnTo>
                      <a:cubicBezTo>
                        <a:pt x="453579" y="431190"/>
                        <a:pt x="442084" y="431190"/>
                        <a:pt x="440038" y="439381"/>
                      </a:cubicBezTo>
                      <a:lnTo>
                        <a:pt x="436058" y="455464"/>
                      </a:lnTo>
                      <a:lnTo>
                        <a:pt x="415003" y="455464"/>
                      </a:lnTo>
                      <a:cubicBezTo>
                        <a:pt x="418983" y="438973"/>
                        <a:pt x="429659" y="426966"/>
                        <a:pt x="438401" y="417034"/>
                      </a:cubicBezTo>
                      <a:cubicBezTo>
                        <a:pt x="439220" y="416070"/>
                        <a:pt x="439629" y="415663"/>
                        <a:pt x="440038" y="415107"/>
                      </a:cubicBezTo>
                      <a:cubicBezTo>
                        <a:pt x="444986" y="409511"/>
                        <a:pt x="443312" y="405434"/>
                        <a:pt x="443312" y="405434"/>
                      </a:cubicBezTo>
                      <a:lnTo>
                        <a:pt x="443312" y="311896"/>
                      </a:lnTo>
                      <a:lnTo>
                        <a:pt x="434012" y="310821"/>
                      </a:lnTo>
                      <a:cubicBezTo>
                        <a:pt x="415003" y="307004"/>
                        <a:pt x="394729" y="293514"/>
                        <a:pt x="380630" y="278505"/>
                      </a:cubicBezTo>
                      <a:cubicBezTo>
                        <a:pt x="368168" y="265423"/>
                        <a:pt x="357789" y="244410"/>
                        <a:pt x="355855" y="225733"/>
                      </a:cubicBezTo>
                      <a:lnTo>
                        <a:pt x="344360" y="225733"/>
                      </a:lnTo>
                      <a:cubicBezTo>
                        <a:pt x="345476" y="238629"/>
                        <a:pt x="350052" y="252156"/>
                        <a:pt x="356562" y="264163"/>
                      </a:cubicBezTo>
                      <a:cubicBezTo>
                        <a:pt x="356748" y="275244"/>
                        <a:pt x="353883" y="287622"/>
                        <a:pt x="347671" y="298110"/>
                      </a:cubicBezTo>
                      <a:cubicBezTo>
                        <a:pt x="342314" y="306819"/>
                        <a:pt x="334651" y="314045"/>
                        <a:pt x="324272" y="318159"/>
                      </a:cubicBezTo>
                      <a:lnTo>
                        <a:pt x="229040" y="349363"/>
                      </a:lnTo>
                      <a:cubicBezTo>
                        <a:pt x="230045" y="345917"/>
                        <a:pt x="230789" y="342062"/>
                        <a:pt x="231086" y="337652"/>
                      </a:cubicBezTo>
                      <a:lnTo>
                        <a:pt x="231086" y="337096"/>
                      </a:lnTo>
                      <a:lnTo>
                        <a:pt x="219591" y="337096"/>
                      </a:lnTo>
                      <a:cubicBezTo>
                        <a:pt x="218475" y="355626"/>
                        <a:pt x="207018" y="362704"/>
                        <a:pt x="198387" y="367374"/>
                      </a:cubicBezTo>
                      <a:cubicBezTo>
                        <a:pt x="194556" y="369412"/>
                        <a:pt x="191245" y="371191"/>
                        <a:pt x="188790" y="373637"/>
                      </a:cubicBezTo>
                      <a:lnTo>
                        <a:pt x="187413" y="376231"/>
                      </a:lnTo>
                      <a:cubicBezTo>
                        <a:pt x="186893" y="378158"/>
                        <a:pt x="185070" y="381975"/>
                        <a:pt x="182652" y="386719"/>
                      </a:cubicBezTo>
                      <a:cubicBezTo>
                        <a:pt x="174989" y="402395"/>
                        <a:pt x="162675" y="427077"/>
                        <a:pt x="169781" y="446422"/>
                      </a:cubicBezTo>
                      <a:lnTo>
                        <a:pt x="170599" y="447904"/>
                      </a:lnTo>
                      <a:cubicBezTo>
                        <a:pt x="176328" y="455390"/>
                        <a:pt x="181796" y="463284"/>
                        <a:pt x="186037" y="471363"/>
                      </a:cubicBezTo>
                      <a:cubicBezTo>
                        <a:pt x="189050" y="477070"/>
                        <a:pt x="191357" y="482963"/>
                        <a:pt x="192770" y="488670"/>
                      </a:cubicBezTo>
                      <a:lnTo>
                        <a:pt x="176291" y="488670"/>
                      </a:lnTo>
                      <a:lnTo>
                        <a:pt x="174579" y="474328"/>
                      </a:lnTo>
                      <a:cubicBezTo>
                        <a:pt x="173612" y="466138"/>
                        <a:pt x="162266" y="466286"/>
                        <a:pt x="163233" y="474328"/>
                      </a:cubicBezTo>
                      <a:lnTo>
                        <a:pt x="164982" y="488670"/>
                      </a:lnTo>
                      <a:lnTo>
                        <a:pt x="134217" y="488670"/>
                      </a:lnTo>
                      <a:lnTo>
                        <a:pt x="138347" y="462617"/>
                      </a:lnTo>
                      <a:cubicBezTo>
                        <a:pt x="139723" y="454167"/>
                        <a:pt x="143815" y="445310"/>
                        <a:pt x="147907" y="436453"/>
                      </a:cubicBezTo>
                      <a:cubicBezTo>
                        <a:pt x="153524" y="424594"/>
                        <a:pt x="159141" y="412438"/>
                        <a:pt x="159811" y="398986"/>
                      </a:cubicBezTo>
                      <a:cubicBezTo>
                        <a:pt x="160629" y="380604"/>
                        <a:pt x="155570" y="364372"/>
                        <a:pt x="152297" y="355886"/>
                      </a:cubicBezTo>
                      <a:lnTo>
                        <a:pt x="139983" y="355886"/>
                      </a:lnTo>
                      <a:cubicBezTo>
                        <a:pt x="140616" y="357220"/>
                        <a:pt x="141769" y="359814"/>
                        <a:pt x="143034" y="363372"/>
                      </a:cubicBezTo>
                      <a:lnTo>
                        <a:pt x="100179" y="363372"/>
                      </a:lnTo>
                      <a:lnTo>
                        <a:pt x="100179" y="319901"/>
                      </a:lnTo>
                      <a:lnTo>
                        <a:pt x="88833" y="319901"/>
                      </a:lnTo>
                      <a:lnTo>
                        <a:pt x="88833" y="340506"/>
                      </a:lnTo>
                      <a:lnTo>
                        <a:pt x="39990" y="358369"/>
                      </a:lnTo>
                      <a:lnTo>
                        <a:pt x="33554" y="360666"/>
                      </a:lnTo>
                      <a:lnTo>
                        <a:pt x="36977" y="366522"/>
                      </a:lnTo>
                      <a:lnTo>
                        <a:pt x="48472" y="386423"/>
                      </a:lnTo>
                      <a:lnTo>
                        <a:pt x="50815" y="388609"/>
                      </a:lnTo>
                      <a:lnTo>
                        <a:pt x="76818" y="402099"/>
                      </a:lnTo>
                      <a:lnTo>
                        <a:pt x="49327" y="436156"/>
                      </a:lnTo>
                      <a:lnTo>
                        <a:pt x="12760" y="365966"/>
                      </a:lnTo>
                      <a:cubicBezTo>
                        <a:pt x="11383" y="362667"/>
                        <a:pt x="11272" y="358999"/>
                        <a:pt x="12350" y="355589"/>
                      </a:cubicBezTo>
                      <a:cubicBezTo>
                        <a:pt x="13429" y="352180"/>
                        <a:pt x="15475" y="349178"/>
                        <a:pt x="18377" y="347547"/>
                      </a:cubicBezTo>
                      <a:lnTo>
                        <a:pt x="59148" y="324385"/>
                      </a:lnTo>
                      <a:lnTo>
                        <a:pt x="63389" y="321939"/>
                      </a:lnTo>
                      <a:lnTo>
                        <a:pt x="61603" y="317418"/>
                      </a:lnTo>
                      <a:cubicBezTo>
                        <a:pt x="58441" y="309228"/>
                        <a:pt x="56804" y="297776"/>
                        <a:pt x="56804" y="286732"/>
                      </a:cubicBezTo>
                      <a:cubicBezTo>
                        <a:pt x="56804" y="280025"/>
                        <a:pt x="57511" y="273613"/>
                        <a:pt x="58925" y="268388"/>
                      </a:cubicBezTo>
                      <a:cubicBezTo>
                        <a:pt x="61938" y="273650"/>
                        <a:pt x="65137" y="278691"/>
                        <a:pt x="68560" y="283434"/>
                      </a:cubicBezTo>
                      <a:lnTo>
                        <a:pt x="82770" y="283434"/>
                      </a:lnTo>
                      <a:cubicBezTo>
                        <a:pt x="66476" y="263274"/>
                        <a:pt x="53903" y="236554"/>
                        <a:pt x="48137" y="205869"/>
                      </a:cubicBezTo>
                      <a:cubicBezTo>
                        <a:pt x="47207" y="200829"/>
                        <a:pt x="46463" y="195751"/>
                        <a:pt x="45942" y="190785"/>
                      </a:cubicBezTo>
                      <a:lnTo>
                        <a:pt x="63352" y="190859"/>
                      </a:lnTo>
                      <a:cubicBezTo>
                        <a:pt x="70196" y="216208"/>
                        <a:pt x="90731" y="229587"/>
                        <a:pt x="129158" y="222212"/>
                      </a:cubicBezTo>
                      <a:lnTo>
                        <a:pt x="129158" y="296146"/>
                      </a:lnTo>
                      <a:cubicBezTo>
                        <a:pt x="129158" y="310043"/>
                        <a:pt x="140467" y="321309"/>
                        <a:pt x="154417" y="321309"/>
                      </a:cubicBezTo>
                      <a:lnTo>
                        <a:pt x="266947" y="321309"/>
                      </a:lnTo>
                      <a:cubicBezTo>
                        <a:pt x="268732" y="321309"/>
                        <a:pt x="270369" y="321161"/>
                        <a:pt x="272006" y="320901"/>
                      </a:cubicBezTo>
                      <a:cubicBezTo>
                        <a:pt x="287593" y="317900"/>
                        <a:pt x="297711" y="305633"/>
                        <a:pt x="300204" y="290364"/>
                      </a:cubicBezTo>
                      <a:cubicBezTo>
                        <a:pt x="300464" y="288474"/>
                        <a:pt x="300464" y="286547"/>
                        <a:pt x="300613" y="284917"/>
                      </a:cubicBezTo>
                      <a:cubicBezTo>
                        <a:pt x="300352" y="275503"/>
                        <a:pt x="297190" y="266757"/>
                        <a:pt x="288969" y="261754"/>
                      </a:cubicBezTo>
                      <a:cubicBezTo>
                        <a:pt x="289639" y="253861"/>
                        <a:pt x="287593" y="242002"/>
                        <a:pt x="281046" y="237369"/>
                      </a:cubicBezTo>
                      <a:lnTo>
                        <a:pt x="270630" y="217468"/>
                      </a:lnTo>
                      <a:lnTo>
                        <a:pt x="270630" y="204534"/>
                      </a:lnTo>
                      <a:lnTo>
                        <a:pt x="270072" y="202348"/>
                      </a:lnTo>
                      <a:cubicBezTo>
                        <a:pt x="268435" y="198531"/>
                        <a:pt x="266947" y="194714"/>
                        <a:pt x="265161" y="190785"/>
                      </a:cubicBezTo>
                      <a:lnTo>
                        <a:pt x="300873" y="190785"/>
                      </a:lnTo>
                      <a:cubicBezTo>
                        <a:pt x="306751" y="190934"/>
                        <a:pt x="312219" y="190526"/>
                        <a:pt x="317018" y="189303"/>
                      </a:cubicBezTo>
                      <a:cubicBezTo>
                        <a:pt x="322896" y="187932"/>
                        <a:pt x="327546" y="185486"/>
                        <a:pt x="331117" y="181780"/>
                      </a:cubicBezTo>
                      <a:cubicBezTo>
                        <a:pt x="334651" y="177963"/>
                        <a:pt x="336585" y="173071"/>
                        <a:pt x="336697" y="166808"/>
                      </a:cubicBezTo>
                      <a:cubicBezTo>
                        <a:pt x="336846" y="164065"/>
                        <a:pt x="336436" y="160952"/>
                        <a:pt x="335618" y="157543"/>
                      </a:cubicBezTo>
                      <a:cubicBezTo>
                        <a:pt x="332493" y="144535"/>
                        <a:pt x="326095" y="131268"/>
                        <a:pt x="318357" y="118779"/>
                      </a:cubicBezTo>
                      <a:lnTo>
                        <a:pt x="371181" y="125598"/>
                      </a:lnTo>
                      <a:lnTo>
                        <a:pt x="371367" y="125820"/>
                      </a:lnTo>
                      <a:cubicBezTo>
                        <a:pt x="361695" y="129934"/>
                        <a:pt x="352321" y="135455"/>
                        <a:pt x="344360" y="141756"/>
                      </a:cubicBezTo>
                      <a:lnTo>
                        <a:pt x="358310" y="147870"/>
                      </a:lnTo>
                      <a:cubicBezTo>
                        <a:pt x="366531" y="140940"/>
                        <a:pt x="376650" y="135344"/>
                        <a:pt x="386917" y="132194"/>
                      </a:cubicBezTo>
                      <a:cubicBezTo>
                        <a:pt x="399230" y="128785"/>
                        <a:pt x="411134" y="128229"/>
                        <a:pt x="421141" y="130415"/>
                      </a:cubicBezTo>
                      <a:moveTo>
                        <a:pt x="403694" y="323088"/>
                      </a:moveTo>
                      <a:cubicBezTo>
                        <a:pt x="401090" y="326349"/>
                        <a:pt x="397258" y="328424"/>
                        <a:pt x="393018" y="328536"/>
                      </a:cubicBezTo>
                      <a:cubicBezTo>
                        <a:pt x="390004" y="328684"/>
                        <a:pt x="387140" y="327720"/>
                        <a:pt x="384685" y="325941"/>
                      </a:cubicBezTo>
                      <a:cubicBezTo>
                        <a:pt x="381820" y="324014"/>
                        <a:pt x="379737" y="321161"/>
                        <a:pt x="378249" y="317640"/>
                      </a:cubicBezTo>
                      <a:lnTo>
                        <a:pt x="375794" y="311785"/>
                      </a:lnTo>
                      <a:lnTo>
                        <a:pt x="370474" y="315194"/>
                      </a:lnTo>
                      <a:lnTo>
                        <a:pt x="336139" y="336615"/>
                      </a:lnTo>
                      <a:lnTo>
                        <a:pt x="341905" y="345472"/>
                      </a:lnTo>
                      <a:lnTo>
                        <a:pt x="356822" y="336207"/>
                      </a:lnTo>
                      <a:lnTo>
                        <a:pt x="360765" y="343285"/>
                      </a:lnTo>
                      <a:cubicBezTo>
                        <a:pt x="360877" y="348881"/>
                        <a:pt x="353920" y="356108"/>
                        <a:pt x="348712" y="361963"/>
                      </a:cubicBezTo>
                      <a:cubicBezTo>
                        <a:pt x="338185" y="373971"/>
                        <a:pt x="325462" y="388424"/>
                        <a:pt x="331489" y="417997"/>
                      </a:cubicBezTo>
                      <a:lnTo>
                        <a:pt x="325314" y="418146"/>
                      </a:lnTo>
                      <a:lnTo>
                        <a:pt x="319585" y="418294"/>
                      </a:lnTo>
                      <a:lnTo>
                        <a:pt x="319734" y="423853"/>
                      </a:lnTo>
                      <a:lnTo>
                        <a:pt x="319734" y="455502"/>
                      </a:lnTo>
                      <a:lnTo>
                        <a:pt x="258986" y="455502"/>
                      </a:lnTo>
                      <a:cubicBezTo>
                        <a:pt x="261888" y="448683"/>
                        <a:pt x="265682" y="441715"/>
                        <a:pt x="270741" y="435341"/>
                      </a:cubicBezTo>
                      <a:cubicBezTo>
                        <a:pt x="276656" y="428115"/>
                        <a:pt x="292503" y="421555"/>
                        <a:pt x="301803" y="416923"/>
                      </a:cubicBezTo>
                      <a:lnTo>
                        <a:pt x="303738" y="415144"/>
                      </a:lnTo>
                      <a:cubicBezTo>
                        <a:pt x="313968" y="400987"/>
                        <a:pt x="320031" y="377936"/>
                        <a:pt x="323714" y="361148"/>
                      </a:cubicBezTo>
                      <a:lnTo>
                        <a:pt x="323974" y="359110"/>
                      </a:lnTo>
                      <a:cubicBezTo>
                        <a:pt x="323230" y="349030"/>
                        <a:pt x="318692" y="340691"/>
                        <a:pt x="311401" y="334280"/>
                      </a:cubicBezTo>
                      <a:lnTo>
                        <a:pt x="328364" y="328721"/>
                      </a:lnTo>
                      <a:cubicBezTo>
                        <a:pt x="341384" y="323792"/>
                        <a:pt x="350796" y="314675"/>
                        <a:pt x="357380" y="303928"/>
                      </a:cubicBezTo>
                      <a:cubicBezTo>
                        <a:pt x="361956" y="296405"/>
                        <a:pt x="364969" y="288030"/>
                        <a:pt x="366606" y="279691"/>
                      </a:cubicBezTo>
                      <a:cubicBezTo>
                        <a:pt x="368466" y="282063"/>
                        <a:pt x="370326" y="284249"/>
                        <a:pt x="372297" y="286325"/>
                      </a:cubicBezTo>
                      <a:cubicBezTo>
                        <a:pt x="382155" y="296701"/>
                        <a:pt x="394766" y="306596"/>
                        <a:pt x="408009" y="313489"/>
                      </a:cubicBezTo>
                      <a:cubicBezTo>
                        <a:pt x="407414" y="317195"/>
                        <a:pt x="405926" y="320531"/>
                        <a:pt x="403806" y="323125"/>
                      </a:cubicBezTo>
                      <a:moveTo>
                        <a:pt x="35600" y="179408"/>
                      </a:moveTo>
                      <a:cubicBezTo>
                        <a:pt x="32178" y="178593"/>
                        <a:pt x="29574" y="177481"/>
                        <a:pt x="28198" y="175999"/>
                      </a:cubicBezTo>
                      <a:cubicBezTo>
                        <a:pt x="25594" y="173960"/>
                        <a:pt x="25184" y="170662"/>
                        <a:pt x="26300" y="166585"/>
                      </a:cubicBezTo>
                      <a:cubicBezTo>
                        <a:pt x="27937" y="160990"/>
                        <a:pt x="31918" y="154467"/>
                        <a:pt x="37237" y="147240"/>
                      </a:cubicBezTo>
                      <a:cubicBezTo>
                        <a:pt x="41218" y="142349"/>
                        <a:pt x="45310" y="136753"/>
                        <a:pt x="51038" y="131972"/>
                      </a:cubicBezTo>
                      <a:lnTo>
                        <a:pt x="90321" y="98841"/>
                      </a:lnTo>
                      <a:lnTo>
                        <a:pt x="69638" y="140014"/>
                      </a:lnTo>
                      <a:lnTo>
                        <a:pt x="63872" y="151206"/>
                      </a:lnTo>
                      <a:lnTo>
                        <a:pt x="75925" y="148056"/>
                      </a:lnTo>
                      <a:cubicBezTo>
                        <a:pt x="84555" y="146166"/>
                        <a:pt x="111637" y="140162"/>
                        <a:pt x="132023" y="140681"/>
                      </a:cubicBezTo>
                      <a:cubicBezTo>
                        <a:pt x="142401" y="141089"/>
                        <a:pt x="150623" y="142719"/>
                        <a:pt x="152408" y="146944"/>
                      </a:cubicBezTo>
                      <a:cubicBezTo>
                        <a:pt x="153227" y="149538"/>
                        <a:pt x="154045" y="151020"/>
                        <a:pt x="154194" y="153763"/>
                      </a:cubicBezTo>
                      <a:cubicBezTo>
                        <a:pt x="154603" y="160582"/>
                        <a:pt x="152259" y="166437"/>
                        <a:pt x="148577" y="170959"/>
                      </a:cubicBezTo>
                      <a:cubicBezTo>
                        <a:pt x="144894" y="175183"/>
                        <a:pt x="139128" y="179408"/>
                        <a:pt x="133399" y="179816"/>
                      </a:cubicBezTo>
                      <a:lnTo>
                        <a:pt x="35563" y="179408"/>
                      </a:lnTo>
                      <a:close/>
                      <a:moveTo>
                        <a:pt x="57325" y="107809"/>
                      </a:moveTo>
                      <a:cubicBezTo>
                        <a:pt x="69080" y="81645"/>
                        <a:pt x="88387" y="63115"/>
                        <a:pt x="112493" y="58594"/>
                      </a:cubicBezTo>
                      <a:cubicBezTo>
                        <a:pt x="136561" y="54110"/>
                        <a:pt x="161336" y="64449"/>
                        <a:pt x="181871" y="84647"/>
                      </a:cubicBezTo>
                      <a:cubicBezTo>
                        <a:pt x="192547" y="95283"/>
                        <a:pt x="202107" y="108624"/>
                        <a:pt x="209771" y="123893"/>
                      </a:cubicBezTo>
                      <a:lnTo>
                        <a:pt x="222344" y="123893"/>
                      </a:lnTo>
                      <a:cubicBezTo>
                        <a:pt x="219294" y="117296"/>
                        <a:pt x="215871" y="111033"/>
                        <a:pt x="212189" y="105067"/>
                      </a:cubicBezTo>
                      <a:lnTo>
                        <a:pt x="284617" y="114443"/>
                      </a:lnTo>
                      <a:lnTo>
                        <a:pt x="287072" y="137531"/>
                      </a:lnTo>
                      <a:cubicBezTo>
                        <a:pt x="285435" y="137271"/>
                        <a:pt x="283501" y="136864"/>
                        <a:pt x="281604" y="136456"/>
                      </a:cubicBezTo>
                      <a:cubicBezTo>
                        <a:pt x="259990" y="131675"/>
                        <a:pt x="234099" y="125820"/>
                        <a:pt x="216169" y="139161"/>
                      </a:cubicBezTo>
                      <a:lnTo>
                        <a:pt x="161039" y="139161"/>
                      </a:lnTo>
                      <a:cubicBezTo>
                        <a:pt x="155831" y="132342"/>
                        <a:pt x="145043" y="129637"/>
                        <a:pt x="132432" y="129341"/>
                      </a:cubicBezTo>
                      <a:cubicBezTo>
                        <a:pt x="116845" y="128933"/>
                        <a:pt x="97947" y="131935"/>
                        <a:pt x="85076" y="134381"/>
                      </a:cubicBezTo>
                      <a:lnTo>
                        <a:pt x="115171" y="72232"/>
                      </a:lnTo>
                      <a:lnTo>
                        <a:pt x="111897" y="72232"/>
                      </a:lnTo>
                      <a:lnTo>
                        <a:pt x="77674" y="94579"/>
                      </a:lnTo>
                      <a:cubicBezTo>
                        <a:pt x="69899" y="100175"/>
                        <a:pt x="62384" y="106216"/>
                        <a:pt x="55354" y="112404"/>
                      </a:cubicBezTo>
                      <a:cubicBezTo>
                        <a:pt x="55986" y="110848"/>
                        <a:pt x="56618" y="109291"/>
                        <a:pt x="57288" y="107809"/>
                      </a:cubicBezTo>
                      <a:moveTo>
                        <a:pt x="268472" y="238592"/>
                      </a:moveTo>
                      <a:cubicBezTo>
                        <a:pt x="263152" y="240779"/>
                        <a:pt x="259432" y="244855"/>
                        <a:pt x="259060" y="245411"/>
                      </a:cubicBezTo>
                      <a:cubicBezTo>
                        <a:pt x="255340" y="242817"/>
                        <a:pt x="245222" y="238852"/>
                        <a:pt x="241800" y="238296"/>
                      </a:cubicBezTo>
                      <a:cubicBezTo>
                        <a:pt x="224985" y="235442"/>
                        <a:pt x="205530" y="241965"/>
                        <a:pt x="207167" y="262014"/>
                      </a:cubicBezTo>
                      <a:cubicBezTo>
                        <a:pt x="207576" y="267202"/>
                        <a:pt x="210329" y="271279"/>
                        <a:pt x="213193" y="275652"/>
                      </a:cubicBezTo>
                      <a:lnTo>
                        <a:pt x="210031" y="278765"/>
                      </a:lnTo>
                      <a:cubicBezTo>
                        <a:pt x="206348" y="283545"/>
                        <a:pt x="204414" y="287918"/>
                        <a:pt x="204153" y="294181"/>
                      </a:cubicBezTo>
                      <a:cubicBezTo>
                        <a:pt x="204302" y="300741"/>
                        <a:pt x="205418" y="305225"/>
                        <a:pt x="208283" y="310006"/>
                      </a:cubicBezTo>
                      <a:lnTo>
                        <a:pt x="158211" y="310006"/>
                      </a:lnTo>
                      <a:cubicBezTo>
                        <a:pt x="148465" y="310006"/>
                        <a:pt x="140541" y="302112"/>
                        <a:pt x="140541" y="292403"/>
                      </a:cubicBezTo>
                      <a:lnTo>
                        <a:pt x="140541" y="208018"/>
                      </a:lnTo>
                      <a:lnTo>
                        <a:pt x="133585" y="209797"/>
                      </a:lnTo>
                      <a:cubicBezTo>
                        <a:pt x="99919" y="217987"/>
                        <a:pt x="81840" y="209389"/>
                        <a:pt x="75144" y="190971"/>
                      </a:cubicBezTo>
                      <a:lnTo>
                        <a:pt x="133697" y="191230"/>
                      </a:lnTo>
                      <a:lnTo>
                        <a:pt x="134106" y="191230"/>
                      </a:lnTo>
                      <a:cubicBezTo>
                        <a:pt x="135333" y="191230"/>
                        <a:pt x="136710" y="190971"/>
                        <a:pt x="138347" y="190563"/>
                      </a:cubicBezTo>
                      <a:cubicBezTo>
                        <a:pt x="144633" y="188932"/>
                        <a:pt x="151887" y="184559"/>
                        <a:pt x="157244" y="178148"/>
                      </a:cubicBezTo>
                      <a:cubicBezTo>
                        <a:pt x="162601" y="171737"/>
                        <a:pt x="166284" y="162880"/>
                        <a:pt x="165577" y="153059"/>
                      </a:cubicBezTo>
                      <a:cubicBezTo>
                        <a:pt x="165577" y="152095"/>
                        <a:pt x="165428" y="151280"/>
                        <a:pt x="165317" y="150613"/>
                      </a:cubicBezTo>
                      <a:lnTo>
                        <a:pt x="172161" y="150761"/>
                      </a:lnTo>
                      <a:lnTo>
                        <a:pt x="217731" y="150761"/>
                      </a:lnTo>
                      <a:cubicBezTo>
                        <a:pt x="239233" y="154838"/>
                        <a:pt x="246747" y="174479"/>
                        <a:pt x="254001" y="193565"/>
                      </a:cubicBezTo>
                      <a:cubicBezTo>
                        <a:pt x="255787" y="197790"/>
                        <a:pt x="257312" y="202014"/>
                        <a:pt x="259098" y="205832"/>
                      </a:cubicBezTo>
                      <a:lnTo>
                        <a:pt x="259098" y="218802"/>
                      </a:lnTo>
                      <a:lnTo>
                        <a:pt x="259618" y="221248"/>
                      </a:lnTo>
                      <a:cubicBezTo>
                        <a:pt x="262520" y="227252"/>
                        <a:pt x="266054" y="232848"/>
                        <a:pt x="269067" y="238555"/>
                      </a:cubicBezTo>
                      <a:lnTo>
                        <a:pt x="268509" y="238555"/>
                      </a:lnTo>
                      <a:close/>
                      <a:moveTo>
                        <a:pt x="278888" y="268425"/>
                      </a:moveTo>
                      <a:cubicBezTo>
                        <a:pt x="280376" y="270463"/>
                        <a:pt x="282459" y="271019"/>
                        <a:pt x="283129" y="271427"/>
                      </a:cubicBezTo>
                      <a:cubicBezTo>
                        <a:pt x="287072" y="274540"/>
                        <a:pt x="289416" y="280025"/>
                        <a:pt x="288709" y="287659"/>
                      </a:cubicBezTo>
                      <a:cubicBezTo>
                        <a:pt x="287481" y="299110"/>
                        <a:pt x="278851" y="309895"/>
                        <a:pt x="266686" y="309895"/>
                      </a:cubicBezTo>
                      <a:lnTo>
                        <a:pt x="228929" y="309895"/>
                      </a:lnTo>
                      <a:cubicBezTo>
                        <a:pt x="221786" y="309895"/>
                        <a:pt x="215797" y="304150"/>
                        <a:pt x="215797" y="297072"/>
                      </a:cubicBezTo>
                      <a:lnTo>
                        <a:pt x="215797" y="294478"/>
                      </a:lnTo>
                      <a:cubicBezTo>
                        <a:pt x="215797" y="287251"/>
                        <a:pt x="221823" y="281952"/>
                        <a:pt x="228929" y="281544"/>
                      </a:cubicBezTo>
                      <a:lnTo>
                        <a:pt x="233281" y="281285"/>
                      </a:lnTo>
                      <a:lnTo>
                        <a:pt x="234099" y="278023"/>
                      </a:lnTo>
                      <a:cubicBezTo>
                        <a:pt x="231905" y="276652"/>
                        <a:pt x="222865" y="272724"/>
                        <a:pt x="219852" y="262903"/>
                      </a:cubicBezTo>
                      <a:cubicBezTo>
                        <a:pt x="217136" y="253082"/>
                        <a:pt x="226697" y="246263"/>
                        <a:pt x="237782" y="247227"/>
                      </a:cubicBezTo>
                      <a:cubicBezTo>
                        <a:pt x="248458" y="247931"/>
                        <a:pt x="259395" y="253898"/>
                        <a:pt x="261292" y="264274"/>
                      </a:cubicBezTo>
                      <a:lnTo>
                        <a:pt x="264715" y="264274"/>
                      </a:lnTo>
                      <a:cubicBezTo>
                        <a:pt x="263636" y="260457"/>
                        <a:pt x="264045" y="252823"/>
                        <a:pt x="267616" y="249673"/>
                      </a:cubicBezTo>
                      <a:cubicBezTo>
                        <a:pt x="272936" y="246819"/>
                        <a:pt x="277177" y="250636"/>
                        <a:pt x="276656" y="256492"/>
                      </a:cubicBezTo>
                      <a:cubicBezTo>
                        <a:pt x="275986" y="262903"/>
                        <a:pt x="277177" y="266461"/>
                        <a:pt x="278851" y="268499"/>
                      </a:cubicBezTo>
                      <a:moveTo>
                        <a:pt x="308611" y="124745"/>
                      </a:moveTo>
                      <a:cubicBezTo>
                        <a:pt x="315865" y="136197"/>
                        <a:pt x="321631" y="148352"/>
                        <a:pt x="324495" y="160026"/>
                      </a:cubicBezTo>
                      <a:cubicBezTo>
                        <a:pt x="325016" y="162620"/>
                        <a:pt x="325314" y="164807"/>
                        <a:pt x="325314" y="166845"/>
                      </a:cubicBezTo>
                      <a:cubicBezTo>
                        <a:pt x="325202" y="169847"/>
                        <a:pt x="324384" y="172293"/>
                        <a:pt x="322858" y="174072"/>
                      </a:cubicBezTo>
                      <a:cubicBezTo>
                        <a:pt x="320812" y="175962"/>
                        <a:pt x="317948" y="177333"/>
                        <a:pt x="314228" y="178296"/>
                      </a:cubicBezTo>
                      <a:cubicBezTo>
                        <a:pt x="310508" y="179260"/>
                        <a:pt x="306156" y="179519"/>
                        <a:pt x="301096" y="179371"/>
                      </a:cubicBezTo>
                      <a:lnTo>
                        <a:pt x="260734" y="179371"/>
                      </a:lnTo>
                      <a:cubicBezTo>
                        <a:pt x="254596" y="164770"/>
                        <a:pt x="247342" y="151020"/>
                        <a:pt x="232797" y="143794"/>
                      </a:cubicBezTo>
                      <a:cubicBezTo>
                        <a:pt x="246078" y="140125"/>
                        <a:pt x="263859" y="144053"/>
                        <a:pt x="279186" y="147463"/>
                      </a:cubicBezTo>
                      <a:cubicBezTo>
                        <a:pt x="284394" y="148575"/>
                        <a:pt x="289453" y="149798"/>
                        <a:pt x="293694" y="150316"/>
                      </a:cubicBezTo>
                      <a:lnTo>
                        <a:pt x="301766" y="151688"/>
                      </a:lnTo>
                      <a:lnTo>
                        <a:pt x="300129" y="143646"/>
                      </a:lnTo>
                      <a:lnTo>
                        <a:pt x="292057" y="98804"/>
                      </a:lnTo>
                      <a:lnTo>
                        <a:pt x="308648" y="124708"/>
                      </a:lnTo>
                      <a:close/>
                      <a:moveTo>
                        <a:pt x="502609" y="1226"/>
                      </a:moveTo>
                      <a:cubicBezTo>
                        <a:pt x="486985" y="16494"/>
                        <a:pt x="461428" y="16902"/>
                        <a:pt x="455662" y="15827"/>
                      </a:cubicBezTo>
                      <a:cubicBezTo>
                        <a:pt x="453467" y="15309"/>
                        <a:pt x="436653" y="11047"/>
                        <a:pt x="418425" y="14456"/>
                      </a:cubicBezTo>
                      <a:cubicBezTo>
                        <a:pt x="407228" y="16643"/>
                        <a:pt x="398598" y="23869"/>
                        <a:pt x="393538" y="33690"/>
                      </a:cubicBezTo>
                      <a:cubicBezTo>
                        <a:pt x="391492" y="37767"/>
                        <a:pt x="390414" y="41473"/>
                        <a:pt x="389446" y="45809"/>
                      </a:cubicBezTo>
                      <a:cubicBezTo>
                        <a:pt x="386284" y="65042"/>
                        <a:pt x="388479" y="84387"/>
                        <a:pt x="385206" y="103621"/>
                      </a:cubicBezTo>
                      <a:cubicBezTo>
                        <a:pt x="384648" y="106475"/>
                        <a:pt x="383978" y="109069"/>
                        <a:pt x="382750" y="111812"/>
                      </a:cubicBezTo>
                      <a:cubicBezTo>
                        <a:pt x="381634" y="113850"/>
                        <a:pt x="381374" y="114554"/>
                        <a:pt x="379328" y="114962"/>
                      </a:cubicBezTo>
                      <a:cubicBezTo>
                        <a:pt x="378212" y="115073"/>
                        <a:pt x="377096" y="115147"/>
                        <a:pt x="375980" y="115221"/>
                      </a:cubicBezTo>
                      <a:lnTo>
                        <a:pt x="308834" y="106327"/>
                      </a:lnTo>
                      <a:lnTo>
                        <a:pt x="283092" y="72269"/>
                      </a:lnTo>
                      <a:lnTo>
                        <a:pt x="280078" y="72269"/>
                      </a:lnTo>
                      <a:lnTo>
                        <a:pt x="283352" y="102917"/>
                      </a:lnTo>
                      <a:lnTo>
                        <a:pt x="203447" y="92318"/>
                      </a:lnTo>
                      <a:cubicBezTo>
                        <a:pt x="199131" y="86648"/>
                        <a:pt x="194556" y="81386"/>
                        <a:pt x="189794" y="76642"/>
                      </a:cubicBezTo>
                      <a:cubicBezTo>
                        <a:pt x="166805" y="53887"/>
                        <a:pt x="138495" y="42288"/>
                        <a:pt x="110409" y="47476"/>
                      </a:cubicBezTo>
                      <a:cubicBezTo>
                        <a:pt x="82509" y="52813"/>
                        <a:pt x="60190" y="73640"/>
                        <a:pt x="46909" y="103251"/>
                      </a:cubicBezTo>
                      <a:cubicBezTo>
                        <a:pt x="43338" y="111219"/>
                        <a:pt x="40474" y="119853"/>
                        <a:pt x="38279" y="128970"/>
                      </a:cubicBezTo>
                      <a:cubicBezTo>
                        <a:pt x="34670" y="132787"/>
                        <a:pt x="31322" y="136604"/>
                        <a:pt x="28309" y="140347"/>
                      </a:cubicBezTo>
                      <a:cubicBezTo>
                        <a:pt x="21874" y="148686"/>
                        <a:pt x="17224" y="156691"/>
                        <a:pt x="15289" y="163510"/>
                      </a:cubicBezTo>
                      <a:cubicBezTo>
                        <a:pt x="14620" y="165955"/>
                        <a:pt x="14322" y="168142"/>
                        <a:pt x="14210" y="170180"/>
                      </a:cubicBezTo>
                      <a:lnTo>
                        <a:pt x="14210" y="171663"/>
                      </a:lnTo>
                      <a:cubicBezTo>
                        <a:pt x="14508" y="176555"/>
                        <a:pt x="16405" y="181076"/>
                        <a:pt x="20497" y="184633"/>
                      </a:cubicBezTo>
                      <a:cubicBezTo>
                        <a:pt x="23659" y="187487"/>
                        <a:pt x="28012" y="189414"/>
                        <a:pt x="33629" y="190748"/>
                      </a:cubicBezTo>
                      <a:lnTo>
                        <a:pt x="34336" y="190822"/>
                      </a:lnTo>
                      <a:cubicBezTo>
                        <a:pt x="34894" y="196530"/>
                        <a:pt x="35675" y="202274"/>
                        <a:pt x="36791" y="208055"/>
                      </a:cubicBezTo>
                      <a:cubicBezTo>
                        <a:pt x="39990" y="225140"/>
                        <a:pt x="45235" y="241038"/>
                        <a:pt x="51968" y="255417"/>
                      </a:cubicBezTo>
                      <a:cubicBezTo>
                        <a:pt x="47616" y="263237"/>
                        <a:pt x="45272" y="276133"/>
                        <a:pt x="45272" y="286844"/>
                      </a:cubicBezTo>
                      <a:cubicBezTo>
                        <a:pt x="45124" y="297220"/>
                        <a:pt x="46649" y="308116"/>
                        <a:pt x="49253" y="316973"/>
                      </a:cubicBezTo>
                      <a:lnTo>
                        <a:pt x="12574" y="337838"/>
                      </a:lnTo>
                      <a:cubicBezTo>
                        <a:pt x="7105" y="340988"/>
                        <a:pt x="3162" y="346287"/>
                        <a:pt x="1376" y="352291"/>
                      </a:cubicBezTo>
                      <a:cubicBezTo>
                        <a:pt x="-521" y="358294"/>
                        <a:pt x="-409" y="364965"/>
                        <a:pt x="2195" y="370821"/>
                      </a:cubicBezTo>
                      <a:lnTo>
                        <a:pt x="2344" y="371080"/>
                      </a:lnTo>
                      <a:lnTo>
                        <a:pt x="43003" y="449053"/>
                      </a:lnTo>
                      <a:lnTo>
                        <a:pt x="46388" y="455464"/>
                      </a:lnTo>
                      <a:lnTo>
                        <a:pt x="0" y="455464"/>
                      </a:lnTo>
                      <a:lnTo>
                        <a:pt x="0" y="466768"/>
                      </a:lnTo>
                      <a:lnTo>
                        <a:pt x="114539" y="466768"/>
                      </a:lnTo>
                      <a:lnTo>
                        <a:pt x="114539" y="455464"/>
                      </a:lnTo>
                      <a:lnTo>
                        <a:pt x="48174" y="455464"/>
                      </a:lnTo>
                      <a:lnTo>
                        <a:pt x="52564" y="450017"/>
                      </a:lnTo>
                      <a:lnTo>
                        <a:pt x="89912" y="403915"/>
                      </a:lnTo>
                      <a:lnTo>
                        <a:pt x="94302" y="398615"/>
                      </a:lnTo>
                      <a:lnTo>
                        <a:pt x="88164" y="395354"/>
                      </a:lnTo>
                      <a:lnTo>
                        <a:pt x="57362" y="379270"/>
                      </a:lnTo>
                      <a:lnTo>
                        <a:pt x="50108" y="366744"/>
                      </a:lnTo>
                      <a:lnTo>
                        <a:pt x="88722" y="352624"/>
                      </a:lnTo>
                      <a:lnTo>
                        <a:pt x="88722" y="374934"/>
                      </a:lnTo>
                      <a:lnTo>
                        <a:pt x="146196" y="374934"/>
                      </a:lnTo>
                      <a:cubicBezTo>
                        <a:pt x="147684" y="381716"/>
                        <a:pt x="148688" y="389832"/>
                        <a:pt x="148242" y="398504"/>
                      </a:cubicBezTo>
                      <a:cubicBezTo>
                        <a:pt x="147833" y="409807"/>
                        <a:pt x="142662" y="420851"/>
                        <a:pt x="137565" y="431746"/>
                      </a:cubicBezTo>
                      <a:cubicBezTo>
                        <a:pt x="133064" y="441271"/>
                        <a:pt x="128675" y="450832"/>
                        <a:pt x="127038" y="460912"/>
                      </a:cubicBezTo>
                      <a:lnTo>
                        <a:pt x="121830" y="493636"/>
                      </a:lnTo>
                      <a:lnTo>
                        <a:pt x="120900" y="500195"/>
                      </a:lnTo>
                      <a:lnTo>
                        <a:pt x="205604" y="500195"/>
                      </a:lnTo>
                      <a:lnTo>
                        <a:pt x="205083" y="493932"/>
                      </a:lnTo>
                      <a:cubicBezTo>
                        <a:pt x="204116" y="484371"/>
                        <a:pt x="200843" y="475106"/>
                        <a:pt x="196193" y="466101"/>
                      </a:cubicBezTo>
                      <a:cubicBezTo>
                        <a:pt x="191654" y="457651"/>
                        <a:pt x="186037" y="449609"/>
                        <a:pt x="180159" y="441827"/>
                      </a:cubicBezTo>
                      <a:cubicBezTo>
                        <a:pt x="175361" y="426966"/>
                        <a:pt x="186037" y="405545"/>
                        <a:pt x="192882" y="391796"/>
                      </a:cubicBezTo>
                      <a:cubicBezTo>
                        <a:pt x="195077" y="387312"/>
                        <a:pt x="196862" y="383606"/>
                        <a:pt x="197941" y="380752"/>
                      </a:cubicBezTo>
                      <a:cubicBezTo>
                        <a:pt x="199280" y="379641"/>
                        <a:pt x="201363" y="378566"/>
                        <a:pt x="203819" y="377343"/>
                      </a:cubicBezTo>
                      <a:cubicBezTo>
                        <a:pt x="209547" y="374267"/>
                        <a:pt x="216243" y="370339"/>
                        <a:pt x="221563" y="363779"/>
                      </a:cubicBezTo>
                      <a:lnTo>
                        <a:pt x="297897" y="338690"/>
                      </a:lnTo>
                      <a:cubicBezTo>
                        <a:pt x="299088" y="339357"/>
                        <a:pt x="300278" y="340061"/>
                        <a:pt x="301357" y="340839"/>
                      </a:cubicBezTo>
                      <a:cubicBezTo>
                        <a:pt x="307681" y="345324"/>
                        <a:pt x="311624" y="351327"/>
                        <a:pt x="312442" y="358813"/>
                      </a:cubicBezTo>
                      <a:cubicBezTo>
                        <a:pt x="309987" y="374786"/>
                        <a:pt x="304668" y="393316"/>
                        <a:pt x="295182" y="407472"/>
                      </a:cubicBezTo>
                      <a:cubicBezTo>
                        <a:pt x="285063" y="412920"/>
                        <a:pt x="268249" y="420147"/>
                        <a:pt x="261813" y="428077"/>
                      </a:cubicBezTo>
                      <a:cubicBezTo>
                        <a:pt x="254894" y="436712"/>
                        <a:pt x="250281" y="446311"/>
                        <a:pt x="247119" y="455464"/>
                      </a:cubicBezTo>
                      <a:lnTo>
                        <a:pt x="215165" y="455464"/>
                      </a:lnTo>
                      <a:lnTo>
                        <a:pt x="215165" y="466768"/>
                      </a:lnTo>
                      <a:lnTo>
                        <a:pt x="331191" y="466768"/>
                      </a:lnTo>
                      <a:lnTo>
                        <a:pt x="331191" y="461172"/>
                      </a:lnTo>
                      <a:lnTo>
                        <a:pt x="331080" y="429412"/>
                      </a:lnTo>
                      <a:lnTo>
                        <a:pt x="338743" y="429263"/>
                      </a:lnTo>
                      <a:lnTo>
                        <a:pt x="346257" y="429115"/>
                      </a:lnTo>
                      <a:lnTo>
                        <a:pt x="344211" y="422000"/>
                      </a:lnTo>
                      <a:cubicBezTo>
                        <a:pt x="336139" y="393390"/>
                        <a:pt x="347782" y="380160"/>
                        <a:pt x="357231" y="369375"/>
                      </a:cubicBezTo>
                      <a:cubicBezTo>
                        <a:pt x="364076" y="361593"/>
                        <a:pt x="372558" y="352735"/>
                        <a:pt x="372148" y="342952"/>
                      </a:cubicBezTo>
                      <a:lnTo>
                        <a:pt x="365862" y="330500"/>
                      </a:lnTo>
                      <a:lnTo>
                        <a:pt x="371330" y="327127"/>
                      </a:lnTo>
                      <a:cubicBezTo>
                        <a:pt x="373376" y="329981"/>
                        <a:pt x="375720" y="332575"/>
                        <a:pt x="378584" y="334502"/>
                      </a:cubicBezTo>
                      <a:cubicBezTo>
                        <a:pt x="382974" y="337615"/>
                        <a:pt x="388033" y="339394"/>
                        <a:pt x="393501" y="339135"/>
                      </a:cubicBezTo>
                      <a:cubicBezTo>
                        <a:pt x="400904" y="338875"/>
                        <a:pt x="407451" y="335318"/>
                        <a:pt x="412101" y="329722"/>
                      </a:cubicBezTo>
                      <a:cubicBezTo>
                        <a:pt x="414556" y="326571"/>
                        <a:pt x="416491" y="322903"/>
                        <a:pt x="417718" y="318937"/>
                      </a:cubicBezTo>
                      <a:cubicBezTo>
                        <a:pt x="417830" y="318567"/>
                        <a:pt x="417718" y="318159"/>
                        <a:pt x="417569" y="317751"/>
                      </a:cubicBezTo>
                      <a:cubicBezTo>
                        <a:pt x="420657" y="318974"/>
                        <a:pt x="423782" y="320012"/>
                        <a:pt x="426869" y="320827"/>
                      </a:cubicBezTo>
                      <a:cubicBezTo>
                        <a:pt x="430292" y="321643"/>
                        <a:pt x="432077" y="322050"/>
                        <a:pt x="432077" y="322050"/>
                      </a:cubicBezTo>
                      <a:lnTo>
                        <a:pt x="432077" y="402766"/>
                      </a:lnTo>
                      <a:cubicBezTo>
                        <a:pt x="432077" y="402766"/>
                        <a:pt x="432338" y="406694"/>
                        <a:pt x="431110" y="407954"/>
                      </a:cubicBezTo>
                      <a:cubicBezTo>
                        <a:pt x="429473" y="409844"/>
                        <a:pt x="430180" y="409177"/>
                        <a:pt x="429883" y="409437"/>
                      </a:cubicBezTo>
                      <a:cubicBezTo>
                        <a:pt x="418946" y="421851"/>
                        <a:pt x="405405" y="436972"/>
                        <a:pt x="402503" y="460430"/>
                      </a:cubicBezTo>
                      <a:lnTo>
                        <a:pt x="401685" y="466694"/>
                      </a:lnTo>
                      <a:lnTo>
                        <a:pt x="485980" y="466694"/>
                      </a:lnTo>
                      <a:lnTo>
                        <a:pt x="486947" y="462320"/>
                      </a:lnTo>
                      <a:lnTo>
                        <a:pt x="495280" y="424297"/>
                      </a:lnTo>
                      <a:lnTo>
                        <a:pt x="495838" y="421963"/>
                      </a:lnTo>
                      <a:lnTo>
                        <a:pt x="494462" y="419924"/>
                      </a:lnTo>
                      <a:cubicBezTo>
                        <a:pt x="493383" y="418294"/>
                        <a:pt x="491449" y="415551"/>
                        <a:pt x="489700" y="412846"/>
                      </a:cubicBezTo>
                      <a:cubicBezTo>
                        <a:pt x="458489" y="367337"/>
                        <a:pt x="474076" y="341840"/>
                        <a:pt x="477796" y="292884"/>
                      </a:cubicBezTo>
                      <a:lnTo>
                        <a:pt x="478205" y="288400"/>
                      </a:lnTo>
                      <a:lnTo>
                        <a:pt x="473853" y="287029"/>
                      </a:lnTo>
                      <a:cubicBezTo>
                        <a:pt x="473853" y="287029"/>
                        <a:pt x="467008" y="285139"/>
                        <a:pt x="460573" y="272020"/>
                      </a:cubicBezTo>
                      <a:cubicBezTo>
                        <a:pt x="453058" y="257159"/>
                        <a:pt x="454397" y="234812"/>
                        <a:pt x="457559" y="215578"/>
                      </a:cubicBezTo>
                      <a:cubicBezTo>
                        <a:pt x="460982" y="195270"/>
                        <a:pt x="464553" y="173182"/>
                        <a:pt x="457857" y="149205"/>
                      </a:cubicBezTo>
                      <a:cubicBezTo>
                        <a:pt x="453170" y="133677"/>
                        <a:pt x="441005" y="123596"/>
                        <a:pt x="424972" y="119668"/>
                      </a:cubicBezTo>
                      <a:cubicBezTo>
                        <a:pt x="425530" y="115851"/>
                        <a:pt x="425828" y="112034"/>
                        <a:pt x="425419" y="108291"/>
                      </a:cubicBezTo>
                      <a:cubicBezTo>
                        <a:pt x="423373" y="96024"/>
                        <a:pt x="419950" y="84017"/>
                        <a:pt x="419690" y="71491"/>
                      </a:cubicBezTo>
                      <a:cubicBezTo>
                        <a:pt x="418983" y="67118"/>
                        <a:pt x="420508" y="54184"/>
                        <a:pt x="425567" y="57334"/>
                      </a:cubicBezTo>
                      <a:cubicBezTo>
                        <a:pt x="439108" y="66747"/>
                        <a:pt x="443237" y="71935"/>
                        <a:pt x="465929" y="69860"/>
                      </a:cubicBezTo>
                      <a:cubicBezTo>
                        <a:pt x="490444" y="63041"/>
                        <a:pt x="491932" y="46550"/>
                        <a:pt x="493457" y="34024"/>
                      </a:cubicBezTo>
                      <a:cubicBezTo>
                        <a:pt x="497438" y="32096"/>
                        <a:pt x="503725" y="14790"/>
                        <a:pt x="504952" y="2671"/>
                      </a:cubicBezTo>
                      <a:cubicBezTo>
                        <a:pt x="505101" y="781"/>
                        <a:pt x="505361" y="-1405"/>
                        <a:pt x="502757" y="1189"/>
                      </a:cubicBezTo>
                      <a:moveTo>
                        <a:pt x="253592" y="284509"/>
                      </a:moveTo>
                      <a:cubicBezTo>
                        <a:pt x="246487" y="284249"/>
                        <a:pt x="239493" y="289697"/>
                        <a:pt x="236331" y="298406"/>
                      </a:cubicBezTo>
                      <a:cubicBezTo>
                        <a:pt x="235922" y="299370"/>
                        <a:pt x="237001" y="299926"/>
                        <a:pt x="237671" y="299073"/>
                      </a:cubicBezTo>
                      <a:cubicBezTo>
                        <a:pt x="239047" y="297702"/>
                        <a:pt x="242060" y="296071"/>
                        <a:pt x="243288" y="296071"/>
                      </a:cubicBezTo>
                      <a:lnTo>
                        <a:pt x="273643" y="296071"/>
                      </a:lnTo>
                      <a:cubicBezTo>
                        <a:pt x="277326" y="296071"/>
                        <a:pt x="278181" y="296331"/>
                        <a:pt x="277065" y="299333"/>
                      </a:cubicBezTo>
                      <a:cubicBezTo>
                        <a:pt x="276805" y="299740"/>
                        <a:pt x="277065" y="300296"/>
                        <a:pt x="277214" y="300296"/>
                      </a:cubicBezTo>
                      <a:cubicBezTo>
                        <a:pt x="280078" y="301260"/>
                        <a:pt x="285993" y="283545"/>
                        <a:pt x="272676" y="284472"/>
                      </a:cubicBezTo>
                      <a:lnTo>
                        <a:pt x="253555" y="284472"/>
                      </a:lnTo>
                      <a:close/>
                      <a:moveTo>
                        <a:pt x="191171" y="207203"/>
                      </a:moveTo>
                      <a:cubicBezTo>
                        <a:pt x="187748" y="203941"/>
                        <a:pt x="179006" y="196307"/>
                        <a:pt x="173649" y="195344"/>
                      </a:cubicBezTo>
                      <a:cubicBezTo>
                        <a:pt x="165317" y="193157"/>
                        <a:pt x="164870" y="206128"/>
                        <a:pt x="167363" y="213725"/>
                      </a:cubicBezTo>
                      <a:cubicBezTo>
                        <a:pt x="169148" y="208833"/>
                        <a:pt x="172161" y="204609"/>
                        <a:pt x="179267" y="208685"/>
                      </a:cubicBezTo>
                      <a:cubicBezTo>
                        <a:pt x="182838" y="210872"/>
                        <a:pt x="185963" y="213318"/>
                        <a:pt x="188827" y="215504"/>
                      </a:cubicBezTo>
                      <a:cubicBezTo>
                        <a:pt x="188418" y="217023"/>
                        <a:pt x="187339" y="218246"/>
                        <a:pt x="185814" y="219062"/>
                      </a:cubicBezTo>
                      <a:cubicBezTo>
                        <a:pt x="182912" y="220433"/>
                        <a:pt x="179378" y="219210"/>
                        <a:pt x="177890" y="216171"/>
                      </a:cubicBezTo>
                      <a:cubicBezTo>
                        <a:pt x="177183" y="214541"/>
                        <a:pt x="177332" y="212650"/>
                        <a:pt x="177890" y="211279"/>
                      </a:cubicBezTo>
                      <a:cubicBezTo>
                        <a:pt x="175137" y="212095"/>
                        <a:pt x="172943" y="213466"/>
                        <a:pt x="171752" y="215356"/>
                      </a:cubicBezTo>
                      <a:cubicBezTo>
                        <a:pt x="169297" y="219432"/>
                        <a:pt x="173240" y="224213"/>
                        <a:pt x="180494" y="226140"/>
                      </a:cubicBezTo>
                      <a:cubicBezTo>
                        <a:pt x="187748" y="228030"/>
                        <a:pt x="195560" y="226251"/>
                        <a:pt x="198164" y="222175"/>
                      </a:cubicBezTo>
                      <a:cubicBezTo>
                        <a:pt x="198313" y="222027"/>
                        <a:pt x="198313" y="221915"/>
                        <a:pt x="198425" y="221767"/>
                      </a:cubicBezTo>
                      <a:cubicBezTo>
                        <a:pt x="200768" y="222842"/>
                        <a:pt x="202963" y="222842"/>
                        <a:pt x="204711" y="220952"/>
                      </a:cubicBezTo>
                      <a:cubicBezTo>
                        <a:pt x="205009" y="220804"/>
                        <a:pt x="196937" y="212502"/>
                        <a:pt x="191171" y="207166"/>
                      </a:cubicBezTo>
                      <a:moveTo>
                        <a:pt x="242916" y="273058"/>
                      </a:moveTo>
                      <a:cubicBezTo>
                        <a:pt x="245929" y="273206"/>
                        <a:pt x="251806" y="271019"/>
                        <a:pt x="251806" y="266794"/>
                      </a:cubicBezTo>
                      <a:cubicBezTo>
                        <a:pt x="253034" y="266943"/>
                        <a:pt x="254410" y="267091"/>
                        <a:pt x="254931" y="265720"/>
                      </a:cubicBezTo>
                      <a:cubicBezTo>
                        <a:pt x="253852" y="260420"/>
                        <a:pt x="239754" y="249488"/>
                        <a:pt x="232649" y="255899"/>
                      </a:cubicBezTo>
                      <a:cubicBezTo>
                        <a:pt x="229487" y="259049"/>
                        <a:pt x="230603" y="263126"/>
                        <a:pt x="233207" y="267202"/>
                      </a:cubicBezTo>
                      <a:cubicBezTo>
                        <a:pt x="232649" y="263793"/>
                        <a:pt x="232500" y="259160"/>
                        <a:pt x="240460" y="262421"/>
                      </a:cubicBezTo>
                      <a:cubicBezTo>
                        <a:pt x="234992" y="264460"/>
                        <a:pt x="235811" y="272798"/>
                        <a:pt x="242916" y="273058"/>
                      </a:cubicBezTo>
                    </a:path>
                  </a:pathLst>
                </a:custGeom>
                <a:grpFill/>
                <a:ln w="0" cap="flat">
                  <a:noFill/>
                  <a:prstDash val="solid"/>
                  <a:miter/>
                </a:ln>
              </p:spPr>
              <p:txBody>
                <a:bodyPr rtlCol="0" anchor="ctr"/>
                <a:lstStyle/>
                <a:p>
                  <a:endParaRPr lang="en-BG"/>
                </a:p>
              </p:txBody>
            </p:sp>
            <p:sp>
              <p:nvSpPr>
                <p:cNvPr id="143" name="Freeform 142">
                  <a:extLst>
                    <a:ext uri="{FF2B5EF4-FFF2-40B4-BE49-F238E27FC236}">
                      <a16:creationId xmlns:a16="http://schemas.microsoft.com/office/drawing/2014/main" id="{436E04B2-C9B8-844F-85A7-A1B79EE8CFAA}"/>
                    </a:ext>
                  </a:extLst>
                </p:cNvPr>
                <p:cNvSpPr/>
                <p:nvPr/>
              </p:nvSpPr>
              <p:spPr>
                <a:xfrm>
                  <a:off x="1777101" y="2044081"/>
                  <a:ext cx="11234" cy="541476"/>
                </a:xfrm>
                <a:custGeom>
                  <a:avLst/>
                  <a:gdLst>
                    <a:gd name="connsiteX0" fmla="*/ 0 w 11234"/>
                    <a:gd name="connsiteY0" fmla="*/ 0 h 541476"/>
                    <a:gd name="connsiteX1" fmla="*/ 11234 w 11234"/>
                    <a:gd name="connsiteY1" fmla="*/ 0 h 541476"/>
                    <a:gd name="connsiteX2" fmla="*/ 11234 w 11234"/>
                    <a:gd name="connsiteY2" fmla="*/ 541477 h 541476"/>
                    <a:gd name="connsiteX3" fmla="*/ 0 w 11234"/>
                    <a:gd name="connsiteY3" fmla="*/ 541477 h 541476"/>
                  </a:gdLst>
                  <a:ahLst/>
                  <a:cxnLst>
                    <a:cxn ang="0">
                      <a:pos x="connsiteX0" y="connsiteY0"/>
                    </a:cxn>
                    <a:cxn ang="0">
                      <a:pos x="connsiteX1" y="connsiteY1"/>
                    </a:cxn>
                    <a:cxn ang="0">
                      <a:pos x="connsiteX2" y="connsiteY2"/>
                    </a:cxn>
                    <a:cxn ang="0">
                      <a:pos x="connsiteX3" y="connsiteY3"/>
                    </a:cxn>
                  </a:cxnLst>
                  <a:rect l="l" t="t" r="r" b="b"/>
                  <a:pathLst>
                    <a:path w="11234" h="541476">
                      <a:moveTo>
                        <a:pt x="0" y="0"/>
                      </a:moveTo>
                      <a:lnTo>
                        <a:pt x="11234" y="0"/>
                      </a:lnTo>
                      <a:lnTo>
                        <a:pt x="11234" y="541477"/>
                      </a:lnTo>
                      <a:lnTo>
                        <a:pt x="0" y="541477"/>
                      </a:lnTo>
                      <a:close/>
                    </a:path>
                  </a:pathLst>
                </a:custGeom>
                <a:grpFill/>
                <a:ln w="0" cap="flat">
                  <a:noFill/>
                  <a:prstDash val="solid"/>
                  <a:miter/>
                </a:ln>
              </p:spPr>
              <p:txBody>
                <a:bodyPr rtlCol="0" anchor="ctr"/>
                <a:lstStyle/>
                <a:p>
                  <a:endParaRPr lang="en-BG"/>
                </a:p>
              </p:txBody>
            </p:sp>
            <p:sp>
              <p:nvSpPr>
                <p:cNvPr id="144" name="Freeform 143">
                  <a:extLst>
                    <a:ext uri="{FF2B5EF4-FFF2-40B4-BE49-F238E27FC236}">
                      <a16:creationId xmlns:a16="http://schemas.microsoft.com/office/drawing/2014/main" id="{8BE7BFEE-F37F-5345-9011-201FD3CE219D}"/>
                    </a:ext>
                  </a:extLst>
                </p:cNvPr>
                <p:cNvSpPr/>
                <p:nvPr/>
              </p:nvSpPr>
              <p:spPr>
                <a:xfrm>
                  <a:off x="1917420" y="2211330"/>
                  <a:ext cx="62830" cy="73414"/>
                </a:xfrm>
                <a:custGeom>
                  <a:avLst/>
                  <a:gdLst>
                    <a:gd name="connsiteX0" fmla="*/ 62831 w 62830"/>
                    <a:gd name="connsiteY0" fmla="*/ 52958 h 73414"/>
                    <a:gd name="connsiteX1" fmla="*/ 35675 w 62830"/>
                    <a:gd name="connsiteY1" fmla="*/ 73415 h 73414"/>
                    <a:gd name="connsiteX2" fmla="*/ 0 w 62830"/>
                    <a:gd name="connsiteY2" fmla="*/ 73415 h 73414"/>
                    <a:gd name="connsiteX3" fmla="*/ 0 w 62830"/>
                    <a:gd name="connsiteY3" fmla="*/ 0 h 73414"/>
                    <a:gd name="connsiteX4" fmla="*/ 35675 w 62830"/>
                    <a:gd name="connsiteY4" fmla="*/ 0 h 73414"/>
                    <a:gd name="connsiteX5" fmla="*/ 60524 w 62830"/>
                    <a:gd name="connsiteY5" fmla="*/ 19493 h 73414"/>
                    <a:gd name="connsiteX6" fmla="*/ 51150 w 62830"/>
                    <a:gd name="connsiteY6" fmla="*/ 35244 h 73414"/>
                    <a:gd name="connsiteX7" fmla="*/ 62831 w 62830"/>
                    <a:gd name="connsiteY7" fmla="*/ 52958 h 73414"/>
                    <a:gd name="connsiteX8" fmla="*/ 14285 w 62830"/>
                    <a:gd name="connsiteY8" fmla="*/ 12452 h 73414"/>
                    <a:gd name="connsiteX9" fmla="*/ 14285 w 62830"/>
                    <a:gd name="connsiteY9" fmla="*/ 29536 h 73414"/>
                    <a:gd name="connsiteX10" fmla="*/ 35972 w 62830"/>
                    <a:gd name="connsiteY10" fmla="*/ 29536 h 73414"/>
                    <a:gd name="connsiteX11" fmla="*/ 46202 w 62830"/>
                    <a:gd name="connsiteY11" fmla="*/ 21050 h 73414"/>
                    <a:gd name="connsiteX12" fmla="*/ 35972 w 62830"/>
                    <a:gd name="connsiteY12" fmla="*/ 12452 h 73414"/>
                    <a:gd name="connsiteX13" fmla="*/ 14285 w 62830"/>
                    <a:gd name="connsiteY13" fmla="*/ 12452 h 73414"/>
                    <a:gd name="connsiteX14" fmla="*/ 48397 w 62830"/>
                    <a:gd name="connsiteY14" fmla="*/ 51068 h 73414"/>
                    <a:gd name="connsiteX15" fmla="*/ 37014 w 62830"/>
                    <a:gd name="connsiteY15" fmla="*/ 41618 h 73414"/>
                    <a:gd name="connsiteX16" fmla="*/ 14285 w 62830"/>
                    <a:gd name="connsiteY16" fmla="*/ 41618 h 73414"/>
                    <a:gd name="connsiteX17" fmla="*/ 14285 w 62830"/>
                    <a:gd name="connsiteY17" fmla="*/ 60703 h 73414"/>
                    <a:gd name="connsiteX18" fmla="*/ 36940 w 62830"/>
                    <a:gd name="connsiteY18" fmla="*/ 60703 h 73414"/>
                    <a:gd name="connsiteX19" fmla="*/ 48397 w 62830"/>
                    <a:gd name="connsiteY19" fmla="*/ 51068 h 7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2830" h="73414">
                      <a:moveTo>
                        <a:pt x="62831" y="52958"/>
                      </a:moveTo>
                      <a:cubicBezTo>
                        <a:pt x="62831" y="65855"/>
                        <a:pt x="52824" y="73415"/>
                        <a:pt x="35675" y="73415"/>
                      </a:cubicBezTo>
                      <a:lnTo>
                        <a:pt x="0" y="73415"/>
                      </a:lnTo>
                      <a:lnTo>
                        <a:pt x="0" y="0"/>
                      </a:lnTo>
                      <a:lnTo>
                        <a:pt x="35675" y="0"/>
                      </a:lnTo>
                      <a:cubicBezTo>
                        <a:pt x="51038" y="0"/>
                        <a:pt x="60524" y="7338"/>
                        <a:pt x="60524" y="19493"/>
                      </a:cubicBezTo>
                      <a:cubicBezTo>
                        <a:pt x="60524" y="26720"/>
                        <a:pt x="57065" y="32279"/>
                        <a:pt x="51150" y="35244"/>
                      </a:cubicBezTo>
                      <a:cubicBezTo>
                        <a:pt x="57995" y="37986"/>
                        <a:pt x="62831" y="44990"/>
                        <a:pt x="62831" y="52958"/>
                      </a:cubicBezTo>
                      <a:close/>
                      <a:moveTo>
                        <a:pt x="14285" y="12452"/>
                      </a:moveTo>
                      <a:lnTo>
                        <a:pt x="14285" y="29536"/>
                      </a:lnTo>
                      <a:lnTo>
                        <a:pt x="35972" y="29536"/>
                      </a:lnTo>
                      <a:cubicBezTo>
                        <a:pt x="42482" y="29536"/>
                        <a:pt x="46202" y="26386"/>
                        <a:pt x="46202" y="21050"/>
                      </a:cubicBezTo>
                      <a:cubicBezTo>
                        <a:pt x="46202" y="15713"/>
                        <a:pt x="42408" y="12452"/>
                        <a:pt x="35972" y="12452"/>
                      </a:cubicBezTo>
                      <a:lnTo>
                        <a:pt x="14285" y="12452"/>
                      </a:lnTo>
                      <a:close/>
                      <a:moveTo>
                        <a:pt x="48397" y="51068"/>
                      </a:moveTo>
                      <a:cubicBezTo>
                        <a:pt x="48397" y="45101"/>
                        <a:pt x="44082" y="41618"/>
                        <a:pt x="37014" y="41618"/>
                      </a:cubicBezTo>
                      <a:lnTo>
                        <a:pt x="14285" y="41618"/>
                      </a:lnTo>
                      <a:lnTo>
                        <a:pt x="14285" y="60703"/>
                      </a:lnTo>
                      <a:lnTo>
                        <a:pt x="36940" y="60703"/>
                      </a:lnTo>
                      <a:cubicBezTo>
                        <a:pt x="44082" y="60703"/>
                        <a:pt x="48397" y="57035"/>
                        <a:pt x="48397" y="51068"/>
                      </a:cubicBezTo>
                      <a:close/>
                    </a:path>
                  </a:pathLst>
                </a:custGeom>
                <a:grpFill/>
                <a:ln w="0" cap="flat">
                  <a:noFill/>
                  <a:prstDash val="solid"/>
                  <a:miter/>
                </a:ln>
              </p:spPr>
              <p:txBody>
                <a:bodyPr rtlCol="0" anchor="ctr"/>
                <a:lstStyle/>
                <a:p>
                  <a:endParaRPr lang="en-BG"/>
                </a:p>
              </p:txBody>
            </p:sp>
            <p:sp>
              <p:nvSpPr>
                <p:cNvPr id="145" name="Freeform 144">
                  <a:extLst>
                    <a:ext uri="{FF2B5EF4-FFF2-40B4-BE49-F238E27FC236}">
                      <a16:creationId xmlns:a16="http://schemas.microsoft.com/office/drawing/2014/main" id="{0BB013B8-9D3D-134C-A534-850A9999A91A}"/>
                    </a:ext>
                  </a:extLst>
                </p:cNvPr>
                <p:cNvSpPr/>
                <p:nvPr/>
              </p:nvSpPr>
              <p:spPr>
                <a:xfrm>
                  <a:off x="1991038" y="2232899"/>
                  <a:ext cx="51484" cy="52883"/>
                </a:xfrm>
                <a:custGeom>
                  <a:avLst/>
                  <a:gdLst>
                    <a:gd name="connsiteX0" fmla="*/ 51485 w 51484"/>
                    <a:gd name="connsiteY0" fmla="*/ 0 h 52883"/>
                    <a:gd name="connsiteX1" fmla="*/ 51485 w 51484"/>
                    <a:gd name="connsiteY1" fmla="*/ 51809 h 52883"/>
                    <a:gd name="connsiteX2" fmla="*/ 39358 w 51484"/>
                    <a:gd name="connsiteY2" fmla="*/ 51809 h 52883"/>
                    <a:gd name="connsiteX3" fmla="*/ 38428 w 51484"/>
                    <a:gd name="connsiteY3" fmla="*/ 45843 h 52883"/>
                    <a:gd name="connsiteX4" fmla="*/ 21464 w 51484"/>
                    <a:gd name="connsiteY4" fmla="*/ 52884 h 52883"/>
                    <a:gd name="connsiteX5" fmla="*/ 0 w 51484"/>
                    <a:gd name="connsiteY5" fmla="*/ 28981 h 52883"/>
                    <a:gd name="connsiteX6" fmla="*/ 0 w 51484"/>
                    <a:gd name="connsiteY6" fmla="*/ 37 h 52883"/>
                    <a:gd name="connsiteX7" fmla="*/ 13987 w 51484"/>
                    <a:gd name="connsiteY7" fmla="*/ 37 h 52883"/>
                    <a:gd name="connsiteX8" fmla="*/ 13987 w 51484"/>
                    <a:gd name="connsiteY8" fmla="*/ 28128 h 52883"/>
                    <a:gd name="connsiteX9" fmla="*/ 25036 w 51484"/>
                    <a:gd name="connsiteY9" fmla="*/ 40728 h 52883"/>
                    <a:gd name="connsiteX10" fmla="*/ 37460 w 51484"/>
                    <a:gd name="connsiteY10" fmla="*/ 27202 h 52883"/>
                    <a:gd name="connsiteX11" fmla="*/ 37460 w 51484"/>
                    <a:gd name="connsiteY11" fmla="*/ 37 h 52883"/>
                    <a:gd name="connsiteX12" fmla="*/ 51448 w 51484"/>
                    <a:gd name="connsiteY12" fmla="*/ 37 h 52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484" h="52883">
                      <a:moveTo>
                        <a:pt x="51485" y="0"/>
                      </a:moveTo>
                      <a:lnTo>
                        <a:pt x="51485" y="51809"/>
                      </a:lnTo>
                      <a:lnTo>
                        <a:pt x="39358" y="51809"/>
                      </a:lnTo>
                      <a:lnTo>
                        <a:pt x="38428" y="45843"/>
                      </a:lnTo>
                      <a:cubicBezTo>
                        <a:pt x="34336" y="50364"/>
                        <a:pt x="28309" y="52884"/>
                        <a:pt x="21464" y="52884"/>
                      </a:cubicBezTo>
                      <a:cubicBezTo>
                        <a:pt x="8519" y="52884"/>
                        <a:pt x="0" y="43656"/>
                        <a:pt x="0" y="28981"/>
                      </a:cubicBezTo>
                      <a:lnTo>
                        <a:pt x="0" y="37"/>
                      </a:lnTo>
                      <a:lnTo>
                        <a:pt x="13987" y="37"/>
                      </a:lnTo>
                      <a:lnTo>
                        <a:pt x="13987" y="28128"/>
                      </a:lnTo>
                      <a:cubicBezTo>
                        <a:pt x="13987" y="36096"/>
                        <a:pt x="18302" y="40728"/>
                        <a:pt x="25036" y="40728"/>
                      </a:cubicBezTo>
                      <a:cubicBezTo>
                        <a:pt x="32513" y="40728"/>
                        <a:pt x="37460" y="35169"/>
                        <a:pt x="37460" y="27202"/>
                      </a:cubicBezTo>
                      <a:lnTo>
                        <a:pt x="37460" y="37"/>
                      </a:lnTo>
                      <a:lnTo>
                        <a:pt x="51448" y="37"/>
                      </a:lnTo>
                      <a:close/>
                    </a:path>
                  </a:pathLst>
                </a:custGeom>
                <a:grpFill/>
                <a:ln w="0" cap="flat">
                  <a:noFill/>
                  <a:prstDash val="solid"/>
                  <a:miter/>
                </a:ln>
              </p:spPr>
              <p:txBody>
                <a:bodyPr rtlCol="0" anchor="ctr"/>
                <a:lstStyle/>
                <a:p>
                  <a:endParaRPr lang="en-BG"/>
                </a:p>
              </p:txBody>
            </p:sp>
            <p:sp>
              <p:nvSpPr>
                <p:cNvPr id="146" name="Freeform 145">
                  <a:extLst>
                    <a:ext uri="{FF2B5EF4-FFF2-40B4-BE49-F238E27FC236}">
                      <a16:creationId xmlns:a16="http://schemas.microsoft.com/office/drawing/2014/main" id="{0FBF1B96-8895-264A-ADAF-F3A755B92868}"/>
                    </a:ext>
                  </a:extLst>
                </p:cNvPr>
                <p:cNvSpPr/>
                <p:nvPr/>
              </p:nvSpPr>
              <p:spPr>
                <a:xfrm>
                  <a:off x="2055878" y="2211293"/>
                  <a:ext cx="13987" cy="73414"/>
                </a:xfrm>
                <a:custGeom>
                  <a:avLst/>
                  <a:gdLst>
                    <a:gd name="connsiteX0" fmla="*/ 0 w 13987"/>
                    <a:gd name="connsiteY0" fmla="*/ 0 h 73414"/>
                    <a:gd name="connsiteX1" fmla="*/ 13987 w 13987"/>
                    <a:gd name="connsiteY1" fmla="*/ 0 h 73414"/>
                    <a:gd name="connsiteX2" fmla="*/ 13987 w 13987"/>
                    <a:gd name="connsiteY2" fmla="*/ 73415 h 73414"/>
                    <a:gd name="connsiteX3" fmla="*/ 0 w 13987"/>
                    <a:gd name="connsiteY3" fmla="*/ 73415 h 73414"/>
                    <a:gd name="connsiteX4" fmla="*/ 0 w 13987"/>
                    <a:gd name="connsiteY4" fmla="*/ 0 h 73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87" h="73414">
                      <a:moveTo>
                        <a:pt x="0" y="0"/>
                      </a:moveTo>
                      <a:lnTo>
                        <a:pt x="13987" y="0"/>
                      </a:lnTo>
                      <a:lnTo>
                        <a:pt x="13987" y="73415"/>
                      </a:lnTo>
                      <a:lnTo>
                        <a:pt x="0" y="73415"/>
                      </a:lnTo>
                      <a:lnTo>
                        <a:pt x="0" y="0"/>
                      </a:lnTo>
                      <a:close/>
                    </a:path>
                  </a:pathLst>
                </a:custGeom>
                <a:grpFill/>
                <a:ln w="0" cap="flat">
                  <a:noFill/>
                  <a:prstDash val="solid"/>
                  <a:miter/>
                </a:ln>
              </p:spPr>
              <p:txBody>
                <a:bodyPr rtlCol="0" anchor="ctr"/>
                <a:lstStyle/>
                <a:p>
                  <a:endParaRPr lang="en-BG"/>
                </a:p>
              </p:txBody>
            </p:sp>
            <p:sp>
              <p:nvSpPr>
                <p:cNvPr id="147" name="Freeform 146">
                  <a:extLst>
                    <a:ext uri="{FF2B5EF4-FFF2-40B4-BE49-F238E27FC236}">
                      <a16:creationId xmlns:a16="http://schemas.microsoft.com/office/drawing/2014/main" id="{FCDD4C7D-A486-2749-8D49-9B3488806150}"/>
                    </a:ext>
                  </a:extLst>
                </p:cNvPr>
                <p:cNvSpPr/>
                <p:nvPr/>
              </p:nvSpPr>
              <p:spPr>
                <a:xfrm>
                  <a:off x="2079872" y="2226784"/>
                  <a:ext cx="57734" cy="88349"/>
                </a:xfrm>
                <a:custGeom>
                  <a:avLst/>
                  <a:gdLst>
                    <a:gd name="connsiteX0" fmla="*/ 44417 w 57734"/>
                    <a:gd name="connsiteY0" fmla="*/ 50290 h 88349"/>
                    <a:gd name="connsiteX1" fmla="*/ 56321 w 57734"/>
                    <a:gd name="connsiteY1" fmla="*/ 66744 h 88349"/>
                    <a:gd name="connsiteX2" fmla="*/ 28198 w 57734"/>
                    <a:gd name="connsiteY2" fmla="*/ 88350 h 88349"/>
                    <a:gd name="connsiteX3" fmla="*/ 521 w 57734"/>
                    <a:gd name="connsiteY3" fmla="*/ 64521 h 88349"/>
                    <a:gd name="connsiteX4" fmla="*/ 14099 w 57734"/>
                    <a:gd name="connsiteY4" fmla="*/ 64521 h 88349"/>
                    <a:gd name="connsiteX5" fmla="*/ 28198 w 57734"/>
                    <a:gd name="connsiteY5" fmla="*/ 76268 h 88349"/>
                    <a:gd name="connsiteX6" fmla="*/ 42110 w 57734"/>
                    <a:gd name="connsiteY6" fmla="*/ 66411 h 88349"/>
                    <a:gd name="connsiteX7" fmla="*/ 28421 w 57734"/>
                    <a:gd name="connsiteY7" fmla="*/ 56960 h 88349"/>
                    <a:gd name="connsiteX8" fmla="*/ 0 w 57734"/>
                    <a:gd name="connsiteY8" fmla="*/ 30945 h 88349"/>
                    <a:gd name="connsiteX9" fmla="*/ 28123 w 57734"/>
                    <a:gd name="connsiteY9" fmla="*/ 4818 h 88349"/>
                    <a:gd name="connsiteX10" fmla="*/ 41180 w 57734"/>
                    <a:gd name="connsiteY10" fmla="*/ 7857 h 88349"/>
                    <a:gd name="connsiteX11" fmla="*/ 47616 w 57734"/>
                    <a:gd name="connsiteY11" fmla="*/ 0 h 88349"/>
                    <a:gd name="connsiteX12" fmla="*/ 57734 w 57734"/>
                    <a:gd name="connsiteY12" fmla="*/ 7560 h 88349"/>
                    <a:gd name="connsiteX13" fmla="*/ 50666 w 57734"/>
                    <a:gd name="connsiteY13" fmla="*/ 15861 h 88349"/>
                    <a:gd name="connsiteX14" fmla="*/ 56358 w 57734"/>
                    <a:gd name="connsiteY14" fmla="*/ 30982 h 88349"/>
                    <a:gd name="connsiteX15" fmla="*/ 44454 w 57734"/>
                    <a:gd name="connsiteY15" fmla="*/ 50290 h 88349"/>
                    <a:gd name="connsiteX16" fmla="*/ 42557 w 57734"/>
                    <a:gd name="connsiteY16" fmla="*/ 30982 h 88349"/>
                    <a:gd name="connsiteX17" fmla="*/ 28235 w 57734"/>
                    <a:gd name="connsiteY17" fmla="*/ 17047 h 88349"/>
                    <a:gd name="connsiteX18" fmla="*/ 13913 w 57734"/>
                    <a:gd name="connsiteY18" fmla="*/ 30982 h 88349"/>
                    <a:gd name="connsiteX19" fmla="*/ 28235 w 57734"/>
                    <a:gd name="connsiteY19" fmla="*/ 44842 h 88349"/>
                    <a:gd name="connsiteX20" fmla="*/ 42557 w 57734"/>
                    <a:gd name="connsiteY20" fmla="*/ 30982 h 88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7734" h="88349">
                      <a:moveTo>
                        <a:pt x="44417" y="50290"/>
                      </a:moveTo>
                      <a:cubicBezTo>
                        <a:pt x="52006" y="53440"/>
                        <a:pt x="56321" y="59221"/>
                        <a:pt x="56321" y="66744"/>
                      </a:cubicBezTo>
                      <a:cubicBezTo>
                        <a:pt x="56321" y="79863"/>
                        <a:pt x="45272" y="88350"/>
                        <a:pt x="28198" y="88350"/>
                      </a:cubicBezTo>
                      <a:cubicBezTo>
                        <a:pt x="11123" y="88350"/>
                        <a:pt x="-446" y="78714"/>
                        <a:pt x="521" y="64521"/>
                      </a:cubicBezTo>
                      <a:lnTo>
                        <a:pt x="14099" y="64521"/>
                      </a:lnTo>
                      <a:cubicBezTo>
                        <a:pt x="13876" y="71747"/>
                        <a:pt x="19270" y="76268"/>
                        <a:pt x="28198" y="76268"/>
                      </a:cubicBezTo>
                      <a:cubicBezTo>
                        <a:pt x="36530" y="76268"/>
                        <a:pt x="42110" y="72266"/>
                        <a:pt x="42110" y="66411"/>
                      </a:cubicBezTo>
                      <a:cubicBezTo>
                        <a:pt x="42110" y="60555"/>
                        <a:pt x="37051" y="56960"/>
                        <a:pt x="28421" y="56960"/>
                      </a:cubicBezTo>
                      <a:cubicBezTo>
                        <a:pt x="11048" y="56960"/>
                        <a:pt x="0" y="46806"/>
                        <a:pt x="0" y="30945"/>
                      </a:cubicBezTo>
                      <a:cubicBezTo>
                        <a:pt x="0" y="15083"/>
                        <a:pt x="11681" y="4818"/>
                        <a:pt x="28123" y="4818"/>
                      </a:cubicBezTo>
                      <a:cubicBezTo>
                        <a:pt x="32959" y="4818"/>
                        <a:pt x="37498" y="5855"/>
                        <a:pt x="41180" y="7857"/>
                      </a:cubicBezTo>
                      <a:lnTo>
                        <a:pt x="47616" y="0"/>
                      </a:lnTo>
                      <a:lnTo>
                        <a:pt x="57734" y="7560"/>
                      </a:lnTo>
                      <a:lnTo>
                        <a:pt x="50666" y="15861"/>
                      </a:lnTo>
                      <a:cubicBezTo>
                        <a:pt x="54684" y="20494"/>
                        <a:pt x="56358" y="25089"/>
                        <a:pt x="56358" y="30982"/>
                      </a:cubicBezTo>
                      <a:cubicBezTo>
                        <a:pt x="56358" y="39468"/>
                        <a:pt x="52154" y="46287"/>
                        <a:pt x="44454" y="50290"/>
                      </a:cubicBezTo>
                      <a:close/>
                      <a:moveTo>
                        <a:pt x="42557" y="30982"/>
                      </a:moveTo>
                      <a:cubicBezTo>
                        <a:pt x="42557" y="22606"/>
                        <a:pt x="36865" y="17047"/>
                        <a:pt x="28235" y="17047"/>
                      </a:cubicBezTo>
                      <a:cubicBezTo>
                        <a:pt x="19604" y="17047"/>
                        <a:pt x="13913" y="22606"/>
                        <a:pt x="13913" y="30982"/>
                      </a:cubicBezTo>
                      <a:cubicBezTo>
                        <a:pt x="13913" y="39357"/>
                        <a:pt x="19716" y="44842"/>
                        <a:pt x="28235" y="44842"/>
                      </a:cubicBezTo>
                      <a:cubicBezTo>
                        <a:pt x="36754" y="44842"/>
                        <a:pt x="42557" y="39172"/>
                        <a:pt x="42557" y="30982"/>
                      </a:cubicBezTo>
                      <a:close/>
                    </a:path>
                  </a:pathLst>
                </a:custGeom>
                <a:grpFill/>
                <a:ln w="0" cap="flat">
                  <a:noFill/>
                  <a:prstDash val="solid"/>
                  <a:miter/>
                </a:ln>
              </p:spPr>
              <p:txBody>
                <a:bodyPr rtlCol="0" anchor="ctr"/>
                <a:lstStyle/>
                <a:p>
                  <a:endParaRPr lang="en-BG"/>
                </a:p>
              </p:txBody>
            </p:sp>
            <p:sp>
              <p:nvSpPr>
                <p:cNvPr id="148" name="Freeform 147">
                  <a:extLst>
                    <a:ext uri="{FF2B5EF4-FFF2-40B4-BE49-F238E27FC236}">
                      <a16:creationId xmlns:a16="http://schemas.microsoft.com/office/drawing/2014/main" id="{2C10DD65-931F-EB46-9243-3E2BEAA4DA8D}"/>
                    </a:ext>
                  </a:extLst>
                </p:cNvPr>
                <p:cNvSpPr/>
                <p:nvPr/>
              </p:nvSpPr>
              <p:spPr>
                <a:xfrm>
                  <a:off x="2144414" y="2231750"/>
                  <a:ext cx="56320" cy="54106"/>
                </a:xfrm>
                <a:custGeom>
                  <a:avLst/>
                  <a:gdLst>
                    <a:gd name="connsiteX0" fmla="*/ 56321 w 56320"/>
                    <a:gd name="connsiteY0" fmla="*/ 1149 h 54106"/>
                    <a:gd name="connsiteX1" fmla="*/ 56321 w 56320"/>
                    <a:gd name="connsiteY1" fmla="*/ 52958 h 54106"/>
                    <a:gd name="connsiteX2" fmla="*/ 44194 w 56320"/>
                    <a:gd name="connsiteY2" fmla="*/ 52958 h 54106"/>
                    <a:gd name="connsiteX3" fmla="*/ 43264 w 56320"/>
                    <a:gd name="connsiteY3" fmla="*/ 46658 h 54106"/>
                    <a:gd name="connsiteX4" fmla="*/ 25259 w 56320"/>
                    <a:gd name="connsiteY4" fmla="*/ 54107 h 54106"/>
                    <a:gd name="connsiteX5" fmla="*/ 0 w 56320"/>
                    <a:gd name="connsiteY5" fmla="*/ 27053 h 54106"/>
                    <a:gd name="connsiteX6" fmla="*/ 25259 w 56320"/>
                    <a:gd name="connsiteY6" fmla="*/ 0 h 54106"/>
                    <a:gd name="connsiteX7" fmla="*/ 43264 w 56320"/>
                    <a:gd name="connsiteY7" fmla="*/ 7338 h 54106"/>
                    <a:gd name="connsiteX8" fmla="*/ 44194 w 56320"/>
                    <a:gd name="connsiteY8" fmla="*/ 1149 h 54106"/>
                    <a:gd name="connsiteX9" fmla="*/ 56321 w 56320"/>
                    <a:gd name="connsiteY9" fmla="*/ 1149 h 54106"/>
                    <a:gd name="connsiteX10" fmla="*/ 42408 w 56320"/>
                    <a:gd name="connsiteY10" fmla="*/ 27053 h 54106"/>
                    <a:gd name="connsiteX11" fmla="*/ 28086 w 56320"/>
                    <a:gd name="connsiteY11" fmla="*/ 12156 h 54106"/>
                    <a:gd name="connsiteX12" fmla="*/ 13876 w 56320"/>
                    <a:gd name="connsiteY12" fmla="*/ 27053 h 54106"/>
                    <a:gd name="connsiteX13" fmla="*/ 28086 w 56320"/>
                    <a:gd name="connsiteY13" fmla="*/ 41951 h 54106"/>
                    <a:gd name="connsiteX14" fmla="*/ 42408 w 56320"/>
                    <a:gd name="connsiteY14" fmla="*/ 27053 h 54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320" h="54106">
                      <a:moveTo>
                        <a:pt x="56321" y="1149"/>
                      </a:moveTo>
                      <a:lnTo>
                        <a:pt x="56321" y="52958"/>
                      </a:lnTo>
                      <a:lnTo>
                        <a:pt x="44194" y="52958"/>
                      </a:lnTo>
                      <a:lnTo>
                        <a:pt x="43264" y="46658"/>
                      </a:lnTo>
                      <a:cubicBezTo>
                        <a:pt x="38948" y="51476"/>
                        <a:pt x="32624" y="54107"/>
                        <a:pt x="25259" y="54107"/>
                      </a:cubicBezTo>
                      <a:cubicBezTo>
                        <a:pt x="10304" y="54107"/>
                        <a:pt x="0" y="42989"/>
                        <a:pt x="0" y="27053"/>
                      </a:cubicBezTo>
                      <a:cubicBezTo>
                        <a:pt x="0" y="11118"/>
                        <a:pt x="10304" y="0"/>
                        <a:pt x="25259" y="0"/>
                      </a:cubicBezTo>
                      <a:cubicBezTo>
                        <a:pt x="32624" y="0"/>
                        <a:pt x="39060" y="2631"/>
                        <a:pt x="43264" y="7338"/>
                      </a:cubicBezTo>
                      <a:lnTo>
                        <a:pt x="44194" y="1149"/>
                      </a:lnTo>
                      <a:lnTo>
                        <a:pt x="56321" y="1149"/>
                      </a:lnTo>
                      <a:close/>
                      <a:moveTo>
                        <a:pt x="42408" y="27053"/>
                      </a:moveTo>
                      <a:cubicBezTo>
                        <a:pt x="42408" y="18344"/>
                        <a:pt x="36530" y="12156"/>
                        <a:pt x="28086" y="12156"/>
                      </a:cubicBezTo>
                      <a:cubicBezTo>
                        <a:pt x="19642" y="12156"/>
                        <a:pt x="13876" y="18344"/>
                        <a:pt x="13876" y="27053"/>
                      </a:cubicBezTo>
                      <a:cubicBezTo>
                        <a:pt x="13876" y="35762"/>
                        <a:pt x="19790" y="41951"/>
                        <a:pt x="28086" y="41951"/>
                      </a:cubicBezTo>
                      <a:cubicBezTo>
                        <a:pt x="36382" y="41951"/>
                        <a:pt x="42408" y="35762"/>
                        <a:pt x="42408" y="27053"/>
                      </a:cubicBezTo>
                      <a:close/>
                    </a:path>
                  </a:pathLst>
                </a:custGeom>
                <a:grpFill/>
                <a:ln w="0" cap="flat">
                  <a:noFill/>
                  <a:prstDash val="solid"/>
                  <a:miter/>
                </a:ln>
              </p:spPr>
              <p:txBody>
                <a:bodyPr rtlCol="0" anchor="ctr"/>
                <a:lstStyle/>
                <a:p>
                  <a:endParaRPr lang="en-BG"/>
                </a:p>
              </p:txBody>
            </p:sp>
            <p:sp>
              <p:nvSpPr>
                <p:cNvPr id="149" name="Freeform 148">
                  <a:extLst>
                    <a:ext uri="{FF2B5EF4-FFF2-40B4-BE49-F238E27FC236}">
                      <a16:creationId xmlns:a16="http://schemas.microsoft.com/office/drawing/2014/main" id="{30998CE0-E50C-7045-AFC1-6F7607ACADF0}"/>
                    </a:ext>
                  </a:extLst>
                </p:cNvPr>
                <p:cNvSpPr/>
                <p:nvPr/>
              </p:nvSpPr>
              <p:spPr>
                <a:xfrm>
                  <a:off x="2214238" y="2231824"/>
                  <a:ext cx="41143" cy="52883"/>
                </a:xfrm>
                <a:custGeom>
                  <a:avLst/>
                  <a:gdLst>
                    <a:gd name="connsiteX0" fmla="*/ 41143 w 41143"/>
                    <a:gd name="connsiteY0" fmla="*/ 4744 h 52883"/>
                    <a:gd name="connsiteX1" fmla="*/ 35042 w 41143"/>
                    <a:gd name="connsiteY1" fmla="*/ 15565 h 52883"/>
                    <a:gd name="connsiteX2" fmla="*/ 26635 w 41143"/>
                    <a:gd name="connsiteY2" fmla="*/ 12823 h 52883"/>
                    <a:gd name="connsiteX3" fmla="*/ 13987 w 41143"/>
                    <a:gd name="connsiteY3" fmla="*/ 27609 h 52883"/>
                    <a:gd name="connsiteX4" fmla="*/ 13987 w 41143"/>
                    <a:gd name="connsiteY4" fmla="*/ 52884 h 52883"/>
                    <a:gd name="connsiteX5" fmla="*/ 0 w 41143"/>
                    <a:gd name="connsiteY5" fmla="*/ 52884 h 52883"/>
                    <a:gd name="connsiteX6" fmla="*/ 0 w 41143"/>
                    <a:gd name="connsiteY6" fmla="*/ 1075 h 52883"/>
                    <a:gd name="connsiteX7" fmla="*/ 12090 w 41143"/>
                    <a:gd name="connsiteY7" fmla="*/ 1075 h 52883"/>
                    <a:gd name="connsiteX8" fmla="*/ 13243 w 41143"/>
                    <a:gd name="connsiteY8" fmla="*/ 7560 h 52883"/>
                    <a:gd name="connsiteX9" fmla="*/ 27863 w 41143"/>
                    <a:gd name="connsiteY9" fmla="*/ 0 h 52883"/>
                    <a:gd name="connsiteX10" fmla="*/ 41143 w 41143"/>
                    <a:gd name="connsiteY10" fmla="*/ 4707 h 52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143" h="52883">
                      <a:moveTo>
                        <a:pt x="41143" y="4744"/>
                      </a:moveTo>
                      <a:lnTo>
                        <a:pt x="35042" y="15565"/>
                      </a:lnTo>
                      <a:cubicBezTo>
                        <a:pt x="32104" y="13564"/>
                        <a:pt x="29574" y="12823"/>
                        <a:pt x="26635" y="12823"/>
                      </a:cubicBezTo>
                      <a:cubicBezTo>
                        <a:pt x="18935" y="12823"/>
                        <a:pt x="13987" y="18159"/>
                        <a:pt x="13987" y="27609"/>
                      </a:cubicBezTo>
                      <a:lnTo>
                        <a:pt x="13987" y="52884"/>
                      </a:lnTo>
                      <a:lnTo>
                        <a:pt x="0" y="52884"/>
                      </a:lnTo>
                      <a:lnTo>
                        <a:pt x="0" y="1075"/>
                      </a:lnTo>
                      <a:lnTo>
                        <a:pt x="12090" y="1075"/>
                      </a:lnTo>
                      <a:lnTo>
                        <a:pt x="13243" y="7560"/>
                      </a:lnTo>
                      <a:cubicBezTo>
                        <a:pt x="17261" y="2224"/>
                        <a:pt x="22208" y="0"/>
                        <a:pt x="27863" y="0"/>
                      </a:cubicBezTo>
                      <a:cubicBezTo>
                        <a:pt x="32699" y="0"/>
                        <a:pt x="37758" y="1594"/>
                        <a:pt x="41143" y="4707"/>
                      </a:cubicBezTo>
                      <a:close/>
                    </a:path>
                  </a:pathLst>
                </a:custGeom>
                <a:grpFill/>
                <a:ln w="0" cap="flat">
                  <a:noFill/>
                  <a:prstDash val="solid"/>
                  <a:miter/>
                </a:ln>
              </p:spPr>
              <p:txBody>
                <a:bodyPr rtlCol="0" anchor="ctr"/>
                <a:lstStyle/>
                <a:p>
                  <a:endParaRPr lang="en-BG"/>
                </a:p>
              </p:txBody>
            </p:sp>
            <p:sp>
              <p:nvSpPr>
                <p:cNvPr id="150" name="Freeform 149">
                  <a:extLst>
                    <a:ext uri="{FF2B5EF4-FFF2-40B4-BE49-F238E27FC236}">
                      <a16:creationId xmlns:a16="http://schemas.microsoft.com/office/drawing/2014/main" id="{6A2B2B67-323B-BB4B-AD5F-BF3FAA5B7676}"/>
                    </a:ext>
                  </a:extLst>
                </p:cNvPr>
                <p:cNvSpPr/>
                <p:nvPr/>
              </p:nvSpPr>
              <p:spPr>
                <a:xfrm>
                  <a:off x="2260775" y="2210255"/>
                  <a:ext cx="17149" cy="74452"/>
                </a:xfrm>
                <a:custGeom>
                  <a:avLst/>
                  <a:gdLst>
                    <a:gd name="connsiteX0" fmla="*/ 0 w 17149"/>
                    <a:gd name="connsiteY0" fmla="*/ 8190 h 74452"/>
                    <a:gd name="connsiteX1" fmla="*/ 8519 w 17149"/>
                    <a:gd name="connsiteY1" fmla="*/ 0 h 74452"/>
                    <a:gd name="connsiteX2" fmla="*/ 17149 w 17149"/>
                    <a:gd name="connsiteY2" fmla="*/ 8190 h 74452"/>
                    <a:gd name="connsiteX3" fmla="*/ 8519 w 17149"/>
                    <a:gd name="connsiteY3" fmla="*/ 16158 h 74452"/>
                    <a:gd name="connsiteX4" fmla="*/ 0 w 17149"/>
                    <a:gd name="connsiteY4" fmla="*/ 8190 h 74452"/>
                    <a:gd name="connsiteX5" fmla="*/ 1488 w 17149"/>
                    <a:gd name="connsiteY5" fmla="*/ 22643 h 74452"/>
                    <a:gd name="connsiteX6" fmla="*/ 15475 w 17149"/>
                    <a:gd name="connsiteY6" fmla="*/ 22643 h 74452"/>
                    <a:gd name="connsiteX7" fmla="*/ 15475 w 17149"/>
                    <a:gd name="connsiteY7" fmla="*/ 74453 h 74452"/>
                    <a:gd name="connsiteX8" fmla="*/ 1488 w 17149"/>
                    <a:gd name="connsiteY8" fmla="*/ 74453 h 74452"/>
                    <a:gd name="connsiteX9" fmla="*/ 1488 w 17149"/>
                    <a:gd name="connsiteY9" fmla="*/ 22643 h 74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49" h="74452">
                      <a:moveTo>
                        <a:pt x="0" y="8190"/>
                      </a:moveTo>
                      <a:cubicBezTo>
                        <a:pt x="0" y="3372"/>
                        <a:pt x="3571" y="0"/>
                        <a:pt x="8519" y="0"/>
                      </a:cubicBezTo>
                      <a:cubicBezTo>
                        <a:pt x="13466" y="0"/>
                        <a:pt x="17149" y="3372"/>
                        <a:pt x="17149" y="8190"/>
                      </a:cubicBezTo>
                      <a:cubicBezTo>
                        <a:pt x="17149" y="13008"/>
                        <a:pt x="13466" y="16158"/>
                        <a:pt x="8519" y="16158"/>
                      </a:cubicBezTo>
                      <a:cubicBezTo>
                        <a:pt x="3571" y="16158"/>
                        <a:pt x="0" y="12786"/>
                        <a:pt x="0" y="8190"/>
                      </a:cubicBezTo>
                      <a:close/>
                      <a:moveTo>
                        <a:pt x="1488" y="22643"/>
                      </a:moveTo>
                      <a:lnTo>
                        <a:pt x="15475" y="22643"/>
                      </a:lnTo>
                      <a:lnTo>
                        <a:pt x="15475" y="74453"/>
                      </a:lnTo>
                      <a:lnTo>
                        <a:pt x="1488" y="74453"/>
                      </a:lnTo>
                      <a:lnTo>
                        <a:pt x="1488" y="22643"/>
                      </a:lnTo>
                      <a:close/>
                    </a:path>
                  </a:pathLst>
                </a:custGeom>
                <a:grpFill/>
                <a:ln w="0" cap="flat">
                  <a:noFill/>
                  <a:prstDash val="solid"/>
                  <a:miter/>
                </a:ln>
              </p:spPr>
              <p:txBody>
                <a:bodyPr rtlCol="0" anchor="ctr"/>
                <a:lstStyle/>
                <a:p>
                  <a:endParaRPr lang="en-BG"/>
                </a:p>
              </p:txBody>
            </p:sp>
            <p:sp>
              <p:nvSpPr>
                <p:cNvPr id="151" name="Freeform 150">
                  <a:extLst>
                    <a:ext uri="{FF2B5EF4-FFF2-40B4-BE49-F238E27FC236}">
                      <a16:creationId xmlns:a16="http://schemas.microsoft.com/office/drawing/2014/main" id="{62A5B27B-0045-1B47-9C02-2D2F9D0519D9}"/>
                    </a:ext>
                  </a:extLst>
                </p:cNvPr>
                <p:cNvSpPr/>
                <p:nvPr/>
              </p:nvSpPr>
              <p:spPr>
                <a:xfrm>
                  <a:off x="2286518" y="2231750"/>
                  <a:ext cx="56320" cy="54106"/>
                </a:xfrm>
                <a:custGeom>
                  <a:avLst/>
                  <a:gdLst>
                    <a:gd name="connsiteX0" fmla="*/ 56321 w 56320"/>
                    <a:gd name="connsiteY0" fmla="*/ 1149 h 54106"/>
                    <a:gd name="connsiteX1" fmla="*/ 56321 w 56320"/>
                    <a:gd name="connsiteY1" fmla="*/ 52958 h 54106"/>
                    <a:gd name="connsiteX2" fmla="*/ 44193 w 56320"/>
                    <a:gd name="connsiteY2" fmla="*/ 52958 h 54106"/>
                    <a:gd name="connsiteX3" fmla="*/ 43263 w 56320"/>
                    <a:gd name="connsiteY3" fmla="*/ 46658 h 54106"/>
                    <a:gd name="connsiteX4" fmla="*/ 25259 w 56320"/>
                    <a:gd name="connsiteY4" fmla="*/ 54107 h 54106"/>
                    <a:gd name="connsiteX5" fmla="*/ 0 w 56320"/>
                    <a:gd name="connsiteY5" fmla="*/ 27053 h 54106"/>
                    <a:gd name="connsiteX6" fmla="*/ 25259 w 56320"/>
                    <a:gd name="connsiteY6" fmla="*/ 0 h 54106"/>
                    <a:gd name="connsiteX7" fmla="*/ 43263 w 56320"/>
                    <a:gd name="connsiteY7" fmla="*/ 7338 h 54106"/>
                    <a:gd name="connsiteX8" fmla="*/ 44193 w 56320"/>
                    <a:gd name="connsiteY8" fmla="*/ 1149 h 54106"/>
                    <a:gd name="connsiteX9" fmla="*/ 56321 w 56320"/>
                    <a:gd name="connsiteY9" fmla="*/ 1149 h 54106"/>
                    <a:gd name="connsiteX10" fmla="*/ 42445 w 56320"/>
                    <a:gd name="connsiteY10" fmla="*/ 27053 h 54106"/>
                    <a:gd name="connsiteX11" fmla="*/ 28123 w 56320"/>
                    <a:gd name="connsiteY11" fmla="*/ 12156 h 54106"/>
                    <a:gd name="connsiteX12" fmla="*/ 13913 w 56320"/>
                    <a:gd name="connsiteY12" fmla="*/ 27053 h 54106"/>
                    <a:gd name="connsiteX13" fmla="*/ 28123 w 56320"/>
                    <a:gd name="connsiteY13" fmla="*/ 41951 h 54106"/>
                    <a:gd name="connsiteX14" fmla="*/ 42445 w 56320"/>
                    <a:gd name="connsiteY14" fmla="*/ 27053 h 54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320" h="54106">
                      <a:moveTo>
                        <a:pt x="56321" y="1149"/>
                      </a:moveTo>
                      <a:lnTo>
                        <a:pt x="56321" y="52958"/>
                      </a:lnTo>
                      <a:lnTo>
                        <a:pt x="44193" y="52958"/>
                      </a:lnTo>
                      <a:lnTo>
                        <a:pt x="43263" y="46658"/>
                      </a:lnTo>
                      <a:cubicBezTo>
                        <a:pt x="38948" y="51476"/>
                        <a:pt x="32624" y="54107"/>
                        <a:pt x="25259" y="54107"/>
                      </a:cubicBezTo>
                      <a:cubicBezTo>
                        <a:pt x="10304" y="54107"/>
                        <a:pt x="0" y="42989"/>
                        <a:pt x="0" y="27053"/>
                      </a:cubicBezTo>
                      <a:cubicBezTo>
                        <a:pt x="0" y="11118"/>
                        <a:pt x="10304" y="0"/>
                        <a:pt x="25259" y="0"/>
                      </a:cubicBezTo>
                      <a:cubicBezTo>
                        <a:pt x="32624" y="0"/>
                        <a:pt x="39060" y="2631"/>
                        <a:pt x="43263" y="7338"/>
                      </a:cubicBezTo>
                      <a:lnTo>
                        <a:pt x="44193" y="1149"/>
                      </a:lnTo>
                      <a:lnTo>
                        <a:pt x="56321" y="1149"/>
                      </a:lnTo>
                      <a:close/>
                      <a:moveTo>
                        <a:pt x="42445" y="27053"/>
                      </a:moveTo>
                      <a:cubicBezTo>
                        <a:pt x="42445" y="18344"/>
                        <a:pt x="36530" y="12156"/>
                        <a:pt x="28123" y="12156"/>
                      </a:cubicBezTo>
                      <a:cubicBezTo>
                        <a:pt x="19716" y="12156"/>
                        <a:pt x="13913" y="18344"/>
                        <a:pt x="13913" y="27053"/>
                      </a:cubicBezTo>
                      <a:cubicBezTo>
                        <a:pt x="13913" y="35762"/>
                        <a:pt x="19828" y="41951"/>
                        <a:pt x="28123" y="41951"/>
                      </a:cubicBezTo>
                      <a:cubicBezTo>
                        <a:pt x="36419" y="41951"/>
                        <a:pt x="42445" y="35762"/>
                        <a:pt x="42445" y="27053"/>
                      </a:cubicBezTo>
                      <a:close/>
                    </a:path>
                  </a:pathLst>
                </a:custGeom>
                <a:grpFill/>
                <a:ln w="0" cap="flat">
                  <a:noFill/>
                  <a:prstDash val="solid"/>
                  <a:miter/>
                </a:ln>
              </p:spPr>
              <p:txBody>
                <a:bodyPr rtlCol="0" anchor="ctr"/>
                <a:lstStyle/>
                <a:p>
                  <a:endParaRPr lang="en-BG"/>
                </a:p>
              </p:txBody>
            </p:sp>
            <p:sp>
              <p:nvSpPr>
                <p:cNvPr id="152" name="Freeform 151">
                  <a:extLst>
                    <a:ext uri="{FF2B5EF4-FFF2-40B4-BE49-F238E27FC236}">
                      <a16:creationId xmlns:a16="http://schemas.microsoft.com/office/drawing/2014/main" id="{529C5656-DF7A-BA40-9B37-EC0D6216C385}"/>
                    </a:ext>
                  </a:extLst>
                </p:cNvPr>
                <p:cNvSpPr/>
                <p:nvPr/>
              </p:nvSpPr>
              <p:spPr>
                <a:xfrm>
                  <a:off x="2356342" y="2231824"/>
                  <a:ext cx="51931" cy="52883"/>
                </a:xfrm>
                <a:custGeom>
                  <a:avLst/>
                  <a:gdLst>
                    <a:gd name="connsiteX0" fmla="*/ 51894 w 51931"/>
                    <a:gd name="connsiteY0" fmla="*/ 23940 h 52883"/>
                    <a:gd name="connsiteX1" fmla="*/ 51894 w 51931"/>
                    <a:gd name="connsiteY1" fmla="*/ 52884 h 52883"/>
                    <a:gd name="connsiteX2" fmla="*/ 37907 w 51931"/>
                    <a:gd name="connsiteY2" fmla="*/ 52884 h 52883"/>
                    <a:gd name="connsiteX3" fmla="*/ 37907 w 51931"/>
                    <a:gd name="connsiteY3" fmla="*/ 24793 h 52883"/>
                    <a:gd name="connsiteX4" fmla="*/ 26635 w 51931"/>
                    <a:gd name="connsiteY4" fmla="*/ 12193 h 52883"/>
                    <a:gd name="connsiteX5" fmla="*/ 13987 w 51931"/>
                    <a:gd name="connsiteY5" fmla="*/ 25719 h 52883"/>
                    <a:gd name="connsiteX6" fmla="*/ 13987 w 51931"/>
                    <a:gd name="connsiteY6" fmla="*/ 52884 h 52883"/>
                    <a:gd name="connsiteX7" fmla="*/ 0 w 51931"/>
                    <a:gd name="connsiteY7" fmla="*/ 52884 h 52883"/>
                    <a:gd name="connsiteX8" fmla="*/ 0 w 51931"/>
                    <a:gd name="connsiteY8" fmla="*/ 1075 h 52883"/>
                    <a:gd name="connsiteX9" fmla="*/ 12127 w 51931"/>
                    <a:gd name="connsiteY9" fmla="*/ 1075 h 52883"/>
                    <a:gd name="connsiteX10" fmla="*/ 13057 w 51931"/>
                    <a:gd name="connsiteY10" fmla="*/ 7041 h 52883"/>
                    <a:gd name="connsiteX11" fmla="*/ 30132 w 51931"/>
                    <a:gd name="connsiteY11" fmla="*/ 0 h 52883"/>
                    <a:gd name="connsiteX12" fmla="*/ 51931 w 51931"/>
                    <a:gd name="connsiteY12" fmla="*/ 23903 h 52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931" h="52883">
                      <a:moveTo>
                        <a:pt x="51894" y="23940"/>
                      </a:moveTo>
                      <a:lnTo>
                        <a:pt x="51894" y="52884"/>
                      </a:lnTo>
                      <a:lnTo>
                        <a:pt x="37907" y="52884"/>
                      </a:lnTo>
                      <a:lnTo>
                        <a:pt x="37907" y="24793"/>
                      </a:lnTo>
                      <a:cubicBezTo>
                        <a:pt x="37907" y="16825"/>
                        <a:pt x="33592" y="12193"/>
                        <a:pt x="26635" y="12193"/>
                      </a:cubicBezTo>
                      <a:cubicBezTo>
                        <a:pt x="19046" y="12193"/>
                        <a:pt x="13987" y="17752"/>
                        <a:pt x="13987" y="25719"/>
                      </a:cubicBezTo>
                      <a:lnTo>
                        <a:pt x="13987" y="52884"/>
                      </a:lnTo>
                      <a:lnTo>
                        <a:pt x="0" y="52884"/>
                      </a:lnTo>
                      <a:lnTo>
                        <a:pt x="0" y="1075"/>
                      </a:lnTo>
                      <a:lnTo>
                        <a:pt x="12127" y="1075"/>
                      </a:lnTo>
                      <a:lnTo>
                        <a:pt x="13057" y="7041"/>
                      </a:lnTo>
                      <a:cubicBezTo>
                        <a:pt x="17149" y="2520"/>
                        <a:pt x="23287" y="0"/>
                        <a:pt x="30132" y="0"/>
                      </a:cubicBezTo>
                      <a:cubicBezTo>
                        <a:pt x="43412" y="0"/>
                        <a:pt x="51931" y="9228"/>
                        <a:pt x="51931" y="23903"/>
                      </a:cubicBezTo>
                      <a:close/>
                    </a:path>
                  </a:pathLst>
                </a:custGeom>
                <a:grpFill/>
                <a:ln w="0" cap="flat">
                  <a:noFill/>
                  <a:prstDash val="solid"/>
                  <a:miter/>
                </a:ln>
              </p:spPr>
              <p:txBody>
                <a:bodyPr rtlCol="0" anchor="ctr"/>
                <a:lstStyle/>
                <a:p>
                  <a:endParaRPr lang="en-BG"/>
                </a:p>
              </p:txBody>
            </p:sp>
            <p:sp>
              <p:nvSpPr>
                <p:cNvPr id="153" name="Freeform 152">
                  <a:extLst>
                    <a:ext uri="{FF2B5EF4-FFF2-40B4-BE49-F238E27FC236}">
                      <a16:creationId xmlns:a16="http://schemas.microsoft.com/office/drawing/2014/main" id="{B34C35B3-B9F5-8947-8633-7ECD9C8248BD}"/>
                    </a:ext>
                  </a:extLst>
                </p:cNvPr>
                <p:cNvSpPr/>
                <p:nvPr/>
              </p:nvSpPr>
              <p:spPr>
                <a:xfrm>
                  <a:off x="1912770" y="2329216"/>
                  <a:ext cx="61937" cy="76564"/>
                </a:xfrm>
                <a:custGeom>
                  <a:avLst/>
                  <a:gdLst>
                    <a:gd name="connsiteX0" fmla="*/ 0 w 61937"/>
                    <a:gd name="connsiteY0" fmla="*/ 66337 h 76564"/>
                    <a:gd name="connsiteX1" fmla="*/ 7589 w 61937"/>
                    <a:gd name="connsiteY1" fmla="*/ 55515 h 76564"/>
                    <a:gd name="connsiteX2" fmla="*/ 31397 w 61937"/>
                    <a:gd name="connsiteY2" fmla="*/ 63483 h 76564"/>
                    <a:gd name="connsiteX3" fmla="*/ 47393 w 61937"/>
                    <a:gd name="connsiteY3" fmla="*/ 53922 h 76564"/>
                    <a:gd name="connsiteX4" fmla="*/ 30653 w 61937"/>
                    <a:gd name="connsiteY4" fmla="*/ 44064 h 76564"/>
                    <a:gd name="connsiteX5" fmla="*/ 1786 w 61937"/>
                    <a:gd name="connsiteY5" fmla="*/ 21828 h 76564"/>
                    <a:gd name="connsiteX6" fmla="*/ 31174 w 61937"/>
                    <a:gd name="connsiteY6" fmla="*/ 0 h 76564"/>
                    <a:gd name="connsiteX7" fmla="*/ 58776 w 61937"/>
                    <a:gd name="connsiteY7" fmla="*/ 8820 h 76564"/>
                    <a:gd name="connsiteX8" fmla="*/ 51634 w 61937"/>
                    <a:gd name="connsiteY8" fmla="*/ 19086 h 76564"/>
                    <a:gd name="connsiteX9" fmla="*/ 31620 w 61937"/>
                    <a:gd name="connsiteY9" fmla="*/ 12489 h 76564"/>
                    <a:gd name="connsiteX10" fmla="*/ 16145 w 61937"/>
                    <a:gd name="connsiteY10" fmla="*/ 21606 h 76564"/>
                    <a:gd name="connsiteX11" fmla="*/ 32364 w 61937"/>
                    <a:gd name="connsiteY11" fmla="*/ 31241 h 76564"/>
                    <a:gd name="connsiteX12" fmla="*/ 61938 w 61937"/>
                    <a:gd name="connsiteY12" fmla="*/ 53699 h 76564"/>
                    <a:gd name="connsiteX13" fmla="*/ 31397 w 61937"/>
                    <a:gd name="connsiteY13" fmla="*/ 76565 h 76564"/>
                    <a:gd name="connsiteX14" fmla="*/ 37 w 61937"/>
                    <a:gd name="connsiteY14" fmla="*/ 66299 h 7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1937" h="76564">
                      <a:moveTo>
                        <a:pt x="0" y="66337"/>
                      </a:moveTo>
                      <a:lnTo>
                        <a:pt x="7589" y="55515"/>
                      </a:lnTo>
                      <a:cubicBezTo>
                        <a:pt x="13801" y="60555"/>
                        <a:pt x="22543" y="63483"/>
                        <a:pt x="31397" y="63483"/>
                      </a:cubicBezTo>
                      <a:cubicBezTo>
                        <a:pt x="41180" y="63483"/>
                        <a:pt x="47393" y="59814"/>
                        <a:pt x="47393" y="53922"/>
                      </a:cubicBezTo>
                      <a:cubicBezTo>
                        <a:pt x="47393" y="48363"/>
                        <a:pt x="42222" y="45435"/>
                        <a:pt x="30653" y="44064"/>
                      </a:cubicBezTo>
                      <a:cubicBezTo>
                        <a:pt x="10528" y="41655"/>
                        <a:pt x="1786" y="34947"/>
                        <a:pt x="1786" y="21828"/>
                      </a:cubicBezTo>
                      <a:cubicBezTo>
                        <a:pt x="1786" y="8709"/>
                        <a:pt x="13801" y="0"/>
                        <a:pt x="31174" y="0"/>
                      </a:cubicBezTo>
                      <a:cubicBezTo>
                        <a:pt x="41180" y="0"/>
                        <a:pt x="51187" y="3261"/>
                        <a:pt x="58776" y="8820"/>
                      </a:cubicBezTo>
                      <a:lnTo>
                        <a:pt x="51634" y="19086"/>
                      </a:lnTo>
                      <a:cubicBezTo>
                        <a:pt x="45719" y="14787"/>
                        <a:pt x="38576" y="12489"/>
                        <a:pt x="31620" y="12489"/>
                      </a:cubicBezTo>
                      <a:cubicBezTo>
                        <a:pt x="22469" y="12489"/>
                        <a:pt x="16145" y="16269"/>
                        <a:pt x="16145" y="21606"/>
                      </a:cubicBezTo>
                      <a:cubicBezTo>
                        <a:pt x="16145" y="26942"/>
                        <a:pt x="20869" y="29796"/>
                        <a:pt x="32364" y="31241"/>
                      </a:cubicBezTo>
                      <a:cubicBezTo>
                        <a:pt x="52787" y="33984"/>
                        <a:pt x="61938" y="40877"/>
                        <a:pt x="61938" y="53699"/>
                      </a:cubicBezTo>
                      <a:cubicBezTo>
                        <a:pt x="61938" y="67448"/>
                        <a:pt x="49736" y="76565"/>
                        <a:pt x="31397" y="76565"/>
                      </a:cubicBezTo>
                      <a:cubicBezTo>
                        <a:pt x="19902" y="76565"/>
                        <a:pt x="8333" y="72896"/>
                        <a:pt x="37" y="66299"/>
                      </a:cubicBezTo>
                      <a:close/>
                    </a:path>
                  </a:pathLst>
                </a:custGeom>
                <a:grpFill/>
                <a:ln w="0" cap="flat">
                  <a:noFill/>
                  <a:prstDash val="solid"/>
                  <a:miter/>
                </a:ln>
              </p:spPr>
              <p:txBody>
                <a:bodyPr rtlCol="0" anchor="ctr"/>
                <a:lstStyle/>
                <a:p>
                  <a:endParaRPr lang="en-BG"/>
                </a:p>
              </p:txBody>
            </p:sp>
            <p:sp>
              <p:nvSpPr>
                <p:cNvPr id="154" name="Freeform 153">
                  <a:extLst>
                    <a:ext uri="{FF2B5EF4-FFF2-40B4-BE49-F238E27FC236}">
                      <a16:creationId xmlns:a16="http://schemas.microsoft.com/office/drawing/2014/main" id="{358E19BA-B1BE-3947-B11D-84F875791FD0}"/>
                    </a:ext>
                  </a:extLst>
                </p:cNvPr>
                <p:cNvSpPr/>
                <p:nvPr/>
              </p:nvSpPr>
              <p:spPr>
                <a:xfrm>
                  <a:off x="1978539" y="2337777"/>
                  <a:ext cx="39803" cy="67337"/>
                </a:xfrm>
                <a:custGeom>
                  <a:avLst/>
                  <a:gdLst>
                    <a:gd name="connsiteX0" fmla="*/ 39804 w 39803"/>
                    <a:gd name="connsiteY0" fmla="*/ 64595 h 67337"/>
                    <a:gd name="connsiteX1" fmla="*/ 27082 w 39803"/>
                    <a:gd name="connsiteY1" fmla="*/ 67337 h 67337"/>
                    <a:gd name="connsiteX2" fmla="*/ 9374 w 39803"/>
                    <a:gd name="connsiteY2" fmla="*/ 48140 h 67337"/>
                    <a:gd name="connsiteX3" fmla="*/ 9374 w 39803"/>
                    <a:gd name="connsiteY3" fmla="*/ 26127 h 67337"/>
                    <a:gd name="connsiteX4" fmla="*/ 0 w 39803"/>
                    <a:gd name="connsiteY4" fmla="*/ 26127 h 67337"/>
                    <a:gd name="connsiteX5" fmla="*/ 0 w 39803"/>
                    <a:gd name="connsiteY5" fmla="*/ 14713 h 67337"/>
                    <a:gd name="connsiteX6" fmla="*/ 9374 w 39803"/>
                    <a:gd name="connsiteY6" fmla="*/ 14713 h 67337"/>
                    <a:gd name="connsiteX7" fmla="*/ 9374 w 39803"/>
                    <a:gd name="connsiteY7" fmla="*/ 1482 h 67337"/>
                    <a:gd name="connsiteX8" fmla="*/ 23287 w 39803"/>
                    <a:gd name="connsiteY8" fmla="*/ 0 h 67337"/>
                    <a:gd name="connsiteX9" fmla="*/ 23287 w 39803"/>
                    <a:gd name="connsiteY9" fmla="*/ 14676 h 67337"/>
                    <a:gd name="connsiteX10" fmla="*/ 37274 w 39803"/>
                    <a:gd name="connsiteY10" fmla="*/ 14676 h 67337"/>
                    <a:gd name="connsiteX11" fmla="*/ 37274 w 39803"/>
                    <a:gd name="connsiteY11" fmla="*/ 26090 h 67337"/>
                    <a:gd name="connsiteX12" fmla="*/ 23287 w 39803"/>
                    <a:gd name="connsiteY12" fmla="*/ 26090 h 67337"/>
                    <a:gd name="connsiteX13" fmla="*/ 23287 w 39803"/>
                    <a:gd name="connsiteY13" fmla="*/ 48103 h 67337"/>
                    <a:gd name="connsiteX14" fmla="*/ 29909 w 39803"/>
                    <a:gd name="connsiteY14" fmla="*/ 55219 h 67337"/>
                    <a:gd name="connsiteX15" fmla="*/ 36121 w 39803"/>
                    <a:gd name="connsiteY15" fmla="*/ 53736 h 67337"/>
                    <a:gd name="connsiteX16" fmla="*/ 39804 w 39803"/>
                    <a:gd name="connsiteY16" fmla="*/ 64558 h 67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803" h="67337">
                      <a:moveTo>
                        <a:pt x="39804" y="64595"/>
                      </a:moveTo>
                      <a:cubicBezTo>
                        <a:pt x="35489" y="66596"/>
                        <a:pt x="31694" y="67337"/>
                        <a:pt x="27082" y="67337"/>
                      </a:cubicBezTo>
                      <a:cubicBezTo>
                        <a:pt x="16442" y="67337"/>
                        <a:pt x="9374" y="61667"/>
                        <a:pt x="9374" y="48140"/>
                      </a:cubicBezTo>
                      <a:lnTo>
                        <a:pt x="9374" y="26127"/>
                      </a:lnTo>
                      <a:lnTo>
                        <a:pt x="0" y="26127"/>
                      </a:lnTo>
                      <a:lnTo>
                        <a:pt x="0" y="14713"/>
                      </a:lnTo>
                      <a:lnTo>
                        <a:pt x="9374" y="14713"/>
                      </a:lnTo>
                      <a:lnTo>
                        <a:pt x="9374" y="1482"/>
                      </a:lnTo>
                      <a:lnTo>
                        <a:pt x="23287" y="0"/>
                      </a:lnTo>
                      <a:lnTo>
                        <a:pt x="23287" y="14676"/>
                      </a:lnTo>
                      <a:lnTo>
                        <a:pt x="37274" y="14676"/>
                      </a:lnTo>
                      <a:lnTo>
                        <a:pt x="37274" y="26090"/>
                      </a:lnTo>
                      <a:lnTo>
                        <a:pt x="23287" y="26090"/>
                      </a:lnTo>
                      <a:lnTo>
                        <a:pt x="23287" y="48103"/>
                      </a:lnTo>
                      <a:cubicBezTo>
                        <a:pt x="23287" y="52810"/>
                        <a:pt x="25705" y="55219"/>
                        <a:pt x="29909" y="55219"/>
                      </a:cubicBezTo>
                      <a:cubicBezTo>
                        <a:pt x="31918" y="55219"/>
                        <a:pt x="34336" y="54589"/>
                        <a:pt x="36121" y="53736"/>
                      </a:cubicBezTo>
                      <a:lnTo>
                        <a:pt x="39804" y="64558"/>
                      </a:lnTo>
                      <a:close/>
                    </a:path>
                  </a:pathLst>
                </a:custGeom>
                <a:grpFill/>
                <a:ln w="0" cap="flat">
                  <a:noFill/>
                  <a:prstDash val="solid"/>
                  <a:miter/>
                </a:ln>
              </p:spPr>
              <p:txBody>
                <a:bodyPr rtlCol="0" anchor="ctr"/>
                <a:lstStyle/>
                <a:p>
                  <a:endParaRPr lang="en-BG"/>
                </a:p>
              </p:txBody>
            </p:sp>
            <p:sp>
              <p:nvSpPr>
                <p:cNvPr id="155" name="Freeform 154">
                  <a:extLst>
                    <a:ext uri="{FF2B5EF4-FFF2-40B4-BE49-F238E27FC236}">
                      <a16:creationId xmlns:a16="http://schemas.microsoft.com/office/drawing/2014/main" id="{E0AD9AC0-EADC-9143-8829-AF9511649EFC}"/>
                    </a:ext>
                  </a:extLst>
                </p:cNvPr>
                <p:cNvSpPr/>
                <p:nvPr/>
              </p:nvSpPr>
              <p:spPr>
                <a:xfrm>
                  <a:off x="2022323" y="2351304"/>
                  <a:ext cx="56246" cy="54106"/>
                </a:xfrm>
                <a:custGeom>
                  <a:avLst/>
                  <a:gdLst>
                    <a:gd name="connsiteX0" fmla="*/ 0 w 56246"/>
                    <a:gd name="connsiteY0" fmla="*/ 27053 h 54106"/>
                    <a:gd name="connsiteX1" fmla="*/ 28123 w 56246"/>
                    <a:gd name="connsiteY1" fmla="*/ 0 h 54106"/>
                    <a:gd name="connsiteX2" fmla="*/ 56246 w 56246"/>
                    <a:gd name="connsiteY2" fmla="*/ 27053 h 54106"/>
                    <a:gd name="connsiteX3" fmla="*/ 28123 w 56246"/>
                    <a:gd name="connsiteY3" fmla="*/ 54107 h 54106"/>
                    <a:gd name="connsiteX4" fmla="*/ 0 w 56246"/>
                    <a:gd name="connsiteY4" fmla="*/ 27053 h 54106"/>
                    <a:gd name="connsiteX5" fmla="*/ 42296 w 56246"/>
                    <a:gd name="connsiteY5" fmla="*/ 27053 h 54106"/>
                    <a:gd name="connsiteX6" fmla="*/ 28086 w 56246"/>
                    <a:gd name="connsiteY6" fmla="*/ 12156 h 54106"/>
                    <a:gd name="connsiteX7" fmla="*/ 13876 w 56246"/>
                    <a:gd name="connsiteY7" fmla="*/ 27053 h 54106"/>
                    <a:gd name="connsiteX8" fmla="*/ 28086 w 56246"/>
                    <a:gd name="connsiteY8" fmla="*/ 41951 h 54106"/>
                    <a:gd name="connsiteX9" fmla="*/ 42296 w 56246"/>
                    <a:gd name="connsiteY9" fmla="*/ 27053 h 54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246" h="54106">
                      <a:moveTo>
                        <a:pt x="0" y="27053"/>
                      </a:moveTo>
                      <a:cubicBezTo>
                        <a:pt x="0" y="11229"/>
                        <a:pt x="10937" y="0"/>
                        <a:pt x="28123" y="0"/>
                      </a:cubicBezTo>
                      <a:cubicBezTo>
                        <a:pt x="45310" y="0"/>
                        <a:pt x="56246" y="11229"/>
                        <a:pt x="56246" y="27053"/>
                      </a:cubicBezTo>
                      <a:cubicBezTo>
                        <a:pt x="56246" y="42878"/>
                        <a:pt x="45310" y="54107"/>
                        <a:pt x="28123" y="54107"/>
                      </a:cubicBezTo>
                      <a:cubicBezTo>
                        <a:pt x="10937" y="54107"/>
                        <a:pt x="0" y="42878"/>
                        <a:pt x="0" y="27053"/>
                      </a:cubicBezTo>
                      <a:close/>
                      <a:moveTo>
                        <a:pt x="42296" y="27053"/>
                      </a:moveTo>
                      <a:cubicBezTo>
                        <a:pt x="42296" y="18752"/>
                        <a:pt x="36716" y="12156"/>
                        <a:pt x="28086" y="12156"/>
                      </a:cubicBezTo>
                      <a:cubicBezTo>
                        <a:pt x="19456" y="12156"/>
                        <a:pt x="13876" y="18752"/>
                        <a:pt x="13876" y="27053"/>
                      </a:cubicBezTo>
                      <a:cubicBezTo>
                        <a:pt x="13876" y="35355"/>
                        <a:pt x="19456" y="41951"/>
                        <a:pt x="28086" y="41951"/>
                      </a:cubicBezTo>
                      <a:cubicBezTo>
                        <a:pt x="36716" y="41951"/>
                        <a:pt x="42296" y="35355"/>
                        <a:pt x="42296" y="27053"/>
                      </a:cubicBezTo>
                      <a:close/>
                    </a:path>
                  </a:pathLst>
                </a:custGeom>
                <a:grpFill/>
                <a:ln w="0" cap="flat">
                  <a:noFill/>
                  <a:prstDash val="solid"/>
                  <a:miter/>
                </a:ln>
              </p:spPr>
              <p:txBody>
                <a:bodyPr rtlCol="0" anchor="ctr"/>
                <a:lstStyle/>
                <a:p>
                  <a:endParaRPr lang="en-BG"/>
                </a:p>
              </p:txBody>
            </p:sp>
            <p:sp>
              <p:nvSpPr>
                <p:cNvPr id="156" name="Freeform 155">
                  <a:extLst>
                    <a:ext uri="{FF2B5EF4-FFF2-40B4-BE49-F238E27FC236}">
                      <a16:creationId xmlns:a16="http://schemas.microsoft.com/office/drawing/2014/main" id="{CDABAB7C-F500-B946-BF42-44B57F0A3D0A}"/>
                    </a:ext>
                  </a:extLst>
                </p:cNvPr>
                <p:cNvSpPr/>
                <p:nvPr/>
              </p:nvSpPr>
              <p:spPr>
                <a:xfrm>
                  <a:off x="2085824" y="2351304"/>
                  <a:ext cx="48769" cy="54106"/>
                </a:xfrm>
                <a:custGeom>
                  <a:avLst/>
                  <a:gdLst>
                    <a:gd name="connsiteX0" fmla="*/ 0 w 48769"/>
                    <a:gd name="connsiteY0" fmla="*/ 27053 h 54106"/>
                    <a:gd name="connsiteX1" fmla="*/ 28012 w 48769"/>
                    <a:gd name="connsiteY1" fmla="*/ 0 h 54106"/>
                    <a:gd name="connsiteX2" fmla="*/ 48025 w 48769"/>
                    <a:gd name="connsiteY2" fmla="*/ 8079 h 54106"/>
                    <a:gd name="connsiteX3" fmla="*/ 39916 w 48769"/>
                    <a:gd name="connsiteY3" fmla="*/ 16788 h 54106"/>
                    <a:gd name="connsiteX4" fmla="*/ 28532 w 48769"/>
                    <a:gd name="connsiteY4" fmla="*/ 12156 h 54106"/>
                    <a:gd name="connsiteX5" fmla="*/ 13913 w 48769"/>
                    <a:gd name="connsiteY5" fmla="*/ 27053 h 54106"/>
                    <a:gd name="connsiteX6" fmla="*/ 28532 w 48769"/>
                    <a:gd name="connsiteY6" fmla="*/ 41951 h 54106"/>
                    <a:gd name="connsiteX7" fmla="*/ 40548 w 48769"/>
                    <a:gd name="connsiteY7" fmla="*/ 36911 h 54106"/>
                    <a:gd name="connsiteX8" fmla="*/ 48769 w 48769"/>
                    <a:gd name="connsiteY8" fmla="*/ 45731 h 54106"/>
                    <a:gd name="connsiteX9" fmla="*/ 28235 w 48769"/>
                    <a:gd name="connsiteY9" fmla="*/ 54107 h 54106"/>
                    <a:gd name="connsiteX10" fmla="*/ 0 w 48769"/>
                    <a:gd name="connsiteY10" fmla="*/ 27053 h 54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769" h="54106">
                      <a:moveTo>
                        <a:pt x="0" y="27053"/>
                      </a:moveTo>
                      <a:cubicBezTo>
                        <a:pt x="0" y="10895"/>
                        <a:pt x="11272" y="0"/>
                        <a:pt x="28012" y="0"/>
                      </a:cubicBezTo>
                      <a:cubicBezTo>
                        <a:pt x="35712" y="0"/>
                        <a:pt x="42445" y="2742"/>
                        <a:pt x="48025" y="8079"/>
                      </a:cubicBezTo>
                      <a:lnTo>
                        <a:pt x="39916" y="16788"/>
                      </a:lnTo>
                      <a:cubicBezTo>
                        <a:pt x="36977" y="13860"/>
                        <a:pt x="32848" y="12156"/>
                        <a:pt x="28532" y="12156"/>
                      </a:cubicBezTo>
                      <a:cubicBezTo>
                        <a:pt x="19902" y="12156"/>
                        <a:pt x="13913" y="18233"/>
                        <a:pt x="13913" y="27053"/>
                      </a:cubicBezTo>
                      <a:cubicBezTo>
                        <a:pt x="13913" y="35874"/>
                        <a:pt x="19828" y="41951"/>
                        <a:pt x="28532" y="41951"/>
                      </a:cubicBezTo>
                      <a:cubicBezTo>
                        <a:pt x="33182" y="41951"/>
                        <a:pt x="37386" y="40173"/>
                        <a:pt x="40548" y="36911"/>
                      </a:cubicBezTo>
                      <a:lnTo>
                        <a:pt x="48769" y="45731"/>
                      </a:lnTo>
                      <a:cubicBezTo>
                        <a:pt x="42854" y="51402"/>
                        <a:pt x="36233" y="54107"/>
                        <a:pt x="28235" y="54107"/>
                      </a:cubicBezTo>
                      <a:cubicBezTo>
                        <a:pt x="11086" y="54107"/>
                        <a:pt x="0" y="43508"/>
                        <a:pt x="0" y="27053"/>
                      </a:cubicBezTo>
                      <a:close/>
                    </a:path>
                  </a:pathLst>
                </a:custGeom>
                <a:grpFill/>
                <a:ln w="0" cap="flat">
                  <a:noFill/>
                  <a:prstDash val="solid"/>
                  <a:miter/>
                </a:ln>
              </p:spPr>
              <p:txBody>
                <a:bodyPr rtlCol="0" anchor="ctr"/>
                <a:lstStyle/>
                <a:p>
                  <a:endParaRPr lang="en-BG"/>
                </a:p>
              </p:txBody>
            </p:sp>
            <p:sp>
              <p:nvSpPr>
                <p:cNvPr id="157" name="Freeform 156">
                  <a:extLst>
                    <a:ext uri="{FF2B5EF4-FFF2-40B4-BE49-F238E27FC236}">
                      <a16:creationId xmlns:a16="http://schemas.microsoft.com/office/drawing/2014/main" id="{69ED1159-4C29-A840-9F95-8D583180D145}"/>
                    </a:ext>
                  </a:extLst>
                </p:cNvPr>
                <p:cNvSpPr/>
                <p:nvPr/>
              </p:nvSpPr>
              <p:spPr>
                <a:xfrm>
                  <a:off x="2142814" y="2330847"/>
                  <a:ext cx="50257" cy="73414"/>
                </a:xfrm>
                <a:custGeom>
                  <a:avLst/>
                  <a:gdLst>
                    <a:gd name="connsiteX0" fmla="*/ 32550 w 50257"/>
                    <a:gd name="connsiteY0" fmla="*/ 73415 h 73414"/>
                    <a:gd name="connsiteX1" fmla="*/ 13913 w 50257"/>
                    <a:gd name="connsiteY1" fmla="*/ 51402 h 73414"/>
                    <a:gd name="connsiteX2" fmla="*/ 13913 w 50257"/>
                    <a:gd name="connsiteY2" fmla="*/ 73415 h 73414"/>
                    <a:gd name="connsiteX3" fmla="*/ 0 w 50257"/>
                    <a:gd name="connsiteY3" fmla="*/ 73415 h 73414"/>
                    <a:gd name="connsiteX4" fmla="*/ 0 w 50257"/>
                    <a:gd name="connsiteY4" fmla="*/ 0 h 73414"/>
                    <a:gd name="connsiteX5" fmla="*/ 13913 w 50257"/>
                    <a:gd name="connsiteY5" fmla="*/ 0 h 73414"/>
                    <a:gd name="connsiteX6" fmla="*/ 13913 w 50257"/>
                    <a:gd name="connsiteY6" fmla="*/ 42470 h 73414"/>
                    <a:gd name="connsiteX7" fmla="*/ 30653 w 50257"/>
                    <a:gd name="connsiteY7" fmla="*/ 21606 h 73414"/>
                    <a:gd name="connsiteX8" fmla="*/ 47095 w 50257"/>
                    <a:gd name="connsiteY8" fmla="*/ 21606 h 73414"/>
                    <a:gd name="connsiteX9" fmla="*/ 26784 w 50257"/>
                    <a:gd name="connsiteY9" fmla="*/ 46361 h 73414"/>
                    <a:gd name="connsiteX10" fmla="*/ 50257 w 50257"/>
                    <a:gd name="connsiteY10" fmla="*/ 73415 h 73414"/>
                    <a:gd name="connsiteX11" fmla="*/ 32587 w 50257"/>
                    <a:gd name="connsiteY11" fmla="*/ 73415 h 7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257" h="73414">
                      <a:moveTo>
                        <a:pt x="32550" y="73415"/>
                      </a:moveTo>
                      <a:lnTo>
                        <a:pt x="13913" y="51402"/>
                      </a:lnTo>
                      <a:lnTo>
                        <a:pt x="13913" y="73415"/>
                      </a:lnTo>
                      <a:lnTo>
                        <a:pt x="0" y="73415"/>
                      </a:lnTo>
                      <a:lnTo>
                        <a:pt x="0" y="0"/>
                      </a:lnTo>
                      <a:lnTo>
                        <a:pt x="13913" y="0"/>
                      </a:lnTo>
                      <a:lnTo>
                        <a:pt x="13913" y="42470"/>
                      </a:lnTo>
                      <a:lnTo>
                        <a:pt x="30653" y="21606"/>
                      </a:lnTo>
                      <a:lnTo>
                        <a:pt x="47095" y="21606"/>
                      </a:lnTo>
                      <a:lnTo>
                        <a:pt x="26784" y="46361"/>
                      </a:lnTo>
                      <a:lnTo>
                        <a:pt x="50257" y="73415"/>
                      </a:lnTo>
                      <a:lnTo>
                        <a:pt x="32587" y="73415"/>
                      </a:lnTo>
                      <a:close/>
                    </a:path>
                  </a:pathLst>
                </a:custGeom>
                <a:grpFill/>
                <a:ln w="0" cap="flat">
                  <a:noFill/>
                  <a:prstDash val="solid"/>
                  <a:miter/>
                </a:ln>
              </p:spPr>
              <p:txBody>
                <a:bodyPr rtlCol="0" anchor="ctr"/>
                <a:lstStyle/>
                <a:p>
                  <a:endParaRPr lang="en-BG"/>
                </a:p>
              </p:txBody>
            </p:sp>
            <p:sp>
              <p:nvSpPr>
                <p:cNvPr id="158" name="Freeform 157">
                  <a:extLst>
                    <a:ext uri="{FF2B5EF4-FFF2-40B4-BE49-F238E27FC236}">
                      <a16:creationId xmlns:a16="http://schemas.microsoft.com/office/drawing/2014/main" id="{6BB6ED43-F525-DF40-8AE2-998115AF4F77}"/>
                    </a:ext>
                  </a:extLst>
                </p:cNvPr>
                <p:cNvSpPr/>
                <p:nvPr/>
              </p:nvSpPr>
              <p:spPr>
                <a:xfrm>
                  <a:off x="2228411" y="2330810"/>
                  <a:ext cx="56023" cy="73414"/>
                </a:xfrm>
                <a:custGeom>
                  <a:avLst/>
                  <a:gdLst>
                    <a:gd name="connsiteX0" fmla="*/ 56023 w 56023"/>
                    <a:gd name="connsiteY0" fmla="*/ 60741 h 73414"/>
                    <a:gd name="connsiteX1" fmla="*/ 56023 w 56023"/>
                    <a:gd name="connsiteY1" fmla="*/ 73415 h 73414"/>
                    <a:gd name="connsiteX2" fmla="*/ 0 w 56023"/>
                    <a:gd name="connsiteY2" fmla="*/ 73415 h 73414"/>
                    <a:gd name="connsiteX3" fmla="*/ 0 w 56023"/>
                    <a:gd name="connsiteY3" fmla="*/ 0 h 73414"/>
                    <a:gd name="connsiteX4" fmla="*/ 55056 w 56023"/>
                    <a:gd name="connsiteY4" fmla="*/ 0 h 73414"/>
                    <a:gd name="connsiteX5" fmla="*/ 55056 w 56023"/>
                    <a:gd name="connsiteY5" fmla="*/ 12600 h 73414"/>
                    <a:gd name="connsiteX6" fmla="*/ 14322 w 56023"/>
                    <a:gd name="connsiteY6" fmla="*/ 12600 h 73414"/>
                    <a:gd name="connsiteX7" fmla="*/ 14322 w 56023"/>
                    <a:gd name="connsiteY7" fmla="*/ 30129 h 73414"/>
                    <a:gd name="connsiteX8" fmla="*/ 53159 w 56023"/>
                    <a:gd name="connsiteY8" fmla="*/ 30129 h 73414"/>
                    <a:gd name="connsiteX9" fmla="*/ 53159 w 56023"/>
                    <a:gd name="connsiteY9" fmla="*/ 42396 h 73414"/>
                    <a:gd name="connsiteX10" fmla="*/ 14322 w 56023"/>
                    <a:gd name="connsiteY10" fmla="*/ 42396 h 73414"/>
                    <a:gd name="connsiteX11" fmla="*/ 14322 w 56023"/>
                    <a:gd name="connsiteY11" fmla="*/ 60741 h 73414"/>
                    <a:gd name="connsiteX12" fmla="*/ 56023 w 56023"/>
                    <a:gd name="connsiteY12" fmla="*/ 60741 h 7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023" h="73414">
                      <a:moveTo>
                        <a:pt x="56023" y="60741"/>
                      </a:moveTo>
                      <a:lnTo>
                        <a:pt x="56023" y="73415"/>
                      </a:lnTo>
                      <a:lnTo>
                        <a:pt x="0" y="73415"/>
                      </a:lnTo>
                      <a:lnTo>
                        <a:pt x="0" y="0"/>
                      </a:lnTo>
                      <a:lnTo>
                        <a:pt x="55056" y="0"/>
                      </a:lnTo>
                      <a:lnTo>
                        <a:pt x="55056" y="12600"/>
                      </a:lnTo>
                      <a:lnTo>
                        <a:pt x="14322" y="12600"/>
                      </a:lnTo>
                      <a:lnTo>
                        <a:pt x="14322" y="30129"/>
                      </a:lnTo>
                      <a:lnTo>
                        <a:pt x="53159" y="30129"/>
                      </a:lnTo>
                      <a:lnTo>
                        <a:pt x="53159" y="42396"/>
                      </a:lnTo>
                      <a:lnTo>
                        <a:pt x="14322" y="42396"/>
                      </a:lnTo>
                      <a:lnTo>
                        <a:pt x="14322" y="60741"/>
                      </a:lnTo>
                      <a:lnTo>
                        <a:pt x="56023" y="60741"/>
                      </a:lnTo>
                      <a:close/>
                    </a:path>
                  </a:pathLst>
                </a:custGeom>
                <a:grpFill/>
                <a:ln w="0" cap="flat">
                  <a:noFill/>
                  <a:prstDash val="solid"/>
                  <a:miter/>
                </a:ln>
              </p:spPr>
              <p:txBody>
                <a:bodyPr rtlCol="0" anchor="ctr"/>
                <a:lstStyle/>
                <a:p>
                  <a:endParaRPr lang="en-BG"/>
                </a:p>
              </p:txBody>
            </p:sp>
            <p:sp>
              <p:nvSpPr>
                <p:cNvPr id="159" name="Freeform 158">
                  <a:extLst>
                    <a:ext uri="{FF2B5EF4-FFF2-40B4-BE49-F238E27FC236}">
                      <a16:creationId xmlns:a16="http://schemas.microsoft.com/office/drawing/2014/main" id="{199FA44D-743C-BC46-AD29-6A33B8C45D84}"/>
                    </a:ext>
                  </a:extLst>
                </p:cNvPr>
                <p:cNvSpPr/>
                <p:nvPr/>
              </p:nvSpPr>
              <p:spPr>
                <a:xfrm>
                  <a:off x="2291428" y="2352453"/>
                  <a:ext cx="54869" cy="51809"/>
                </a:xfrm>
                <a:custGeom>
                  <a:avLst/>
                  <a:gdLst>
                    <a:gd name="connsiteX0" fmla="*/ 54833 w 54869"/>
                    <a:gd name="connsiteY0" fmla="*/ 51809 h 51809"/>
                    <a:gd name="connsiteX1" fmla="*/ 38502 w 54869"/>
                    <a:gd name="connsiteY1" fmla="*/ 51809 h 51809"/>
                    <a:gd name="connsiteX2" fmla="*/ 32699 w 54869"/>
                    <a:gd name="connsiteY2" fmla="*/ 42878 h 51809"/>
                    <a:gd name="connsiteX3" fmla="*/ 27342 w 54869"/>
                    <a:gd name="connsiteY3" fmla="*/ 34169 h 51809"/>
                    <a:gd name="connsiteX4" fmla="*/ 21985 w 54869"/>
                    <a:gd name="connsiteY4" fmla="*/ 42878 h 51809"/>
                    <a:gd name="connsiteX5" fmla="*/ 15996 w 54869"/>
                    <a:gd name="connsiteY5" fmla="*/ 51809 h 51809"/>
                    <a:gd name="connsiteX6" fmla="*/ 0 w 54869"/>
                    <a:gd name="connsiteY6" fmla="*/ 51809 h 51809"/>
                    <a:gd name="connsiteX7" fmla="*/ 18228 w 54869"/>
                    <a:gd name="connsiteY7" fmla="*/ 25275 h 51809"/>
                    <a:gd name="connsiteX8" fmla="*/ 1265 w 54869"/>
                    <a:gd name="connsiteY8" fmla="*/ 0 h 51809"/>
                    <a:gd name="connsiteX9" fmla="*/ 17484 w 54869"/>
                    <a:gd name="connsiteY9" fmla="*/ 0 h 51809"/>
                    <a:gd name="connsiteX10" fmla="*/ 23585 w 54869"/>
                    <a:gd name="connsiteY10" fmla="*/ 9450 h 51809"/>
                    <a:gd name="connsiteX11" fmla="*/ 27491 w 54869"/>
                    <a:gd name="connsiteY11" fmla="*/ 16047 h 51809"/>
                    <a:gd name="connsiteX12" fmla="*/ 31508 w 54869"/>
                    <a:gd name="connsiteY12" fmla="*/ 9450 h 51809"/>
                    <a:gd name="connsiteX13" fmla="*/ 37721 w 54869"/>
                    <a:gd name="connsiteY13" fmla="*/ 0 h 51809"/>
                    <a:gd name="connsiteX14" fmla="*/ 53605 w 54869"/>
                    <a:gd name="connsiteY14" fmla="*/ 0 h 51809"/>
                    <a:gd name="connsiteX15" fmla="*/ 36754 w 54869"/>
                    <a:gd name="connsiteY15" fmla="*/ 25275 h 51809"/>
                    <a:gd name="connsiteX16" fmla="*/ 54870 w 54869"/>
                    <a:gd name="connsiteY16" fmla="*/ 51809 h 5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4869" h="51809">
                      <a:moveTo>
                        <a:pt x="54833" y="51809"/>
                      </a:moveTo>
                      <a:lnTo>
                        <a:pt x="38502" y="51809"/>
                      </a:lnTo>
                      <a:lnTo>
                        <a:pt x="32699" y="42878"/>
                      </a:lnTo>
                      <a:lnTo>
                        <a:pt x="27342" y="34169"/>
                      </a:lnTo>
                      <a:lnTo>
                        <a:pt x="21985" y="42878"/>
                      </a:lnTo>
                      <a:lnTo>
                        <a:pt x="15996" y="51809"/>
                      </a:lnTo>
                      <a:lnTo>
                        <a:pt x="0" y="51809"/>
                      </a:lnTo>
                      <a:lnTo>
                        <a:pt x="18228" y="25275"/>
                      </a:lnTo>
                      <a:lnTo>
                        <a:pt x="1265" y="0"/>
                      </a:lnTo>
                      <a:lnTo>
                        <a:pt x="17484" y="0"/>
                      </a:lnTo>
                      <a:lnTo>
                        <a:pt x="23585" y="9450"/>
                      </a:lnTo>
                      <a:lnTo>
                        <a:pt x="27491" y="16047"/>
                      </a:lnTo>
                      <a:lnTo>
                        <a:pt x="31508" y="9450"/>
                      </a:lnTo>
                      <a:lnTo>
                        <a:pt x="37721" y="0"/>
                      </a:lnTo>
                      <a:lnTo>
                        <a:pt x="53605" y="0"/>
                      </a:lnTo>
                      <a:lnTo>
                        <a:pt x="36754" y="25275"/>
                      </a:lnTo>
                      <a:lnTo>
                        <a:pt x="54870" y="51809"/>
                      </a:lnTo>
                      <a:close/>
                    </a:path>
                  </a:pathLst>
                </a:custGeom>
                <a:grpFill/>
                <a:ln w="0" cap="flat">
                  <a:noFill/>
                  <a:prstDash val="solid"/>
                  <a:miter/>
                </a:ln>
              </p:spPr>
              <p:txBody>
                <a:bodyPr rtlCol="0" anchor="ctr"/>
                <a:lstStyle/>
                <a:p>
                  <a:endParaRPr lang="en-BG"/>
                </a:p>
              </p:txBody>
            </p:sp>
            <p:sp>
              <p:nvSpPr>
                <p:cNvPr id="160" name="Freeform 159">
                  <a:extLst>
                    <a:ext uri="{FF2B5EF4-FFF2-40B4-BE49-F238E27FC236}">
                      <a16:creationId xmlns:a16="http://schemas.microsoft.com/office/drawing/2014/main" id="{766F60E3-F759-D646-A51C-58DEFCB69DAB}"/>
                    </a:ext>
                  </a:extLst>
                </p:cNvPr>
                <p:cNvSpPr/>
                <p:nvPr/>
              </p:nvSpPr>
              <p:spPr>
                <a:xfrm>
                  <a:off x="2348493" y="2351304"/>
                  <a:ext cx="48769" cy="54106"/>
                </a:xfrm>
                <a:custGeom>
                  <a:avLst/>
                  <a:gdLst>
                    <a:gd name="connsiteX0" fmla="*/ 0 w 48769"/>
                    <a:gd name="connsiteY0" fmla="*/ 27053 h 54106"/>
                    <a:gd name="connsiteX1" fmla="*/ 28012 w 48769"/>
                    <a:gd name="connsiteY1" fmla="*/ 0 h 54106"/>
                    <a:gd name="connsiteX2" fmla="*/ 48025 w 48769"/>
                    <a:gd name="connsiteY2" fmla="*/ 8079 h 54106"/>
                    <a:gd name="connsiteX3" fmla="*/ 39916 w 48769"/>
                    <a:gd name="connsiteY3" fmla="*/ 16788 h 54106"/>
                    <a:gd name="connsiteX4" fmla="*/ 28532 w 48769"/>
                    <a:gd name="connsiteY4" fmla="*/ 12156 h 54106"/>
                    <a:gd name="connsiteX5" fmla="*/ 13913 w 48769"/>
                    <a:gd name="connsiteY5" fmla="*/ 27053 h 54106"/>
                    <a:gd name="connsiteX6" fmla="*/ 28532 w 48769"/>
                    <a:gd name="connsiteY6" fmla="*/ 41951 h 54106"/>
                    <a:gd name="connsiteX7" fmla="*/ 40548 w 48769"/>
                    <a:gd name="connsiteY7" fmla="*/ 36911 h 54106"/>
                    <a:gd name="connsiteX8" fmla="*/ 48769 w 48769"/>
                    <a:gd name="connsiteY8" fmla="*/ 45731 h 54106"/>
                    <a:gd name="connsiteX9" fmla="*/ 28235 w 48769"/>
                    <a:gd name="connsiteY9" fmla="*/ 54107 h 54106"/>
                    <a:gd name="connsiteX10" fmla="*/ 0 w 48769"/>
                    <a:gd name="connsiteY10" fmla="*/ 27053 h 54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769" h="54106">
                      <a:moveTo>
                        <a:pt x="0" y="27053"/>
                      </a:moveTo>
                      <a:cubicBezTo>
                        <a:pt x="0" y="10895"/>
                        <a:pt x="11272" y="0"/>
                        <a:pt x="28012" y="0"/>
                      </a:cubicBezTo>
                      <a:cubicBezTo>
                        <a:pt x="35712" y="0"/>
                        <a:pt x="42445" y="2742"/>
                        <a:pt x="48025" y="8079"/>
                      </a:cubicBezTo>
                      <a:lnTo>
                        <a:pt x="39916" y="16788"/>
                      </a:lnTo>
                      <a:cubicBezTo>
                        <a:pt x="36977" y="13860"/>
                        <a:pt x="32848" y="12156"/>
                        <a:pt x="28532" y="12156"/>
                      </a:cubicBezTo>
                      <a:cubicBezTo>
                        <a:pt x="19902" y="12156"/>
                        <a:pt x="13913" y="18233"/>
                        <a:pt x="13913" y="27053"/>
                      </a:cubicBezTo>
                      <a:cubicBezTo>
                        <a:pt x="13913" y="35874"/>
                        <a:pt x="19828" y="41951"/>
                        <a:pt x="28532" y="41951"/>
                      </a:cubicBezTo>
                      <a:cubicBezTo>
                        <a:pt x="33182" y="41951"/>
                        <a:pt x="37386" y="40173"/>
                        <a:pt x="40548" y="36911"/>
                      </a:cubicBezTo>
                      <a:lnTo>
                        <a:pt x="48769" y="45731"/>
                      </a:lnTo>
                      <a:cubicBezTo>
                        <a:pt x="42854" y="51402"/>
                        <a:pt x="36233" y="54107"/>
                        <a:pt x="28235" y="54107"/>
                      </a:cubicBezTo>
                      <a:cubicBezTo>
                        <a:pt x="11086" y="54107"/>
                        <a:pt x="0" y="43508"/>
                        <a:pt x="0" y="27053"/>
                      </a:cubicBezTo>
                      <a:close/>
                    </a:path>
                  </a:pathLst>
                </a:custGeom>
                <a:grpFill/>
                <a:ln w="0" cap="flat">
                  <a:noFill/>
                  <a:prstDash val="solid"/>
                  <a:miter/>
                </a:ln>
              </p:spPr>
              <p:txBody>
                <a:bodyPr rtlCol="0" anchor="ctr"/>
                <a:lstStyle/>
                <a:p>
                  <a:endParaRPr lang="en-BG"/>
                </a:p>
              </p:txBody>
            </p:sp>
            <p:sp>
              <p:nvSpPr>
                <p:cNvPr id="161" name="Freeform 160">
                  <a:extLst>
                    <a:ext uri="{FF2B5EF4-FFF2-40B4-BE49-F238E27FC236}">
                      <a16:creationId xmlns:a16="http://schemas.microsoft.com/office/drawing/2014/main" id="{04082BF2-3E9E-304F-BB91-9253C60D54EF}"/>
                    </a:ext>
                  </a:extLst>
                </p:cNvPr>
                <p:cNvSpPr/>
                <p:nvPr/>
              </p:nvSpPr>
              <p:spPr>
                <a:xfrm>
                  <a:off x="2405520" y="2330847"/>
                  <a:ext cx="51893" cy="73414"/>
                </a:xfrm>
                <a:custGeom>
                  <a:avLst/>
                  <a:gdLst>
                    <a:gd name="connsiteX0" fmla="*/ 51857 w 51893"/>
                    <a:gd name="connsiteY0" fmla="*/ 44471 h 73414"/>
                    <a:gd name="connsiteX1" fmla="*/ 51857 w 51893"/>
                    <a:gd name="connsiteY1" fmla="*/ 73415 h 73414"/>
                    <a:gd name="connsiteX2" fmla="*/ 37870 w 51893"/>
                    <a:gd name="connsiteY2" fmla="*/ 73415 h 73414"/>
                    <a:gd name="connsiteX3" fmla="*/ 37870 w 51893"/>
                    <a:gd name="connsiteY3" fmla="*/ 45324 h 73414"/>
                    <a:gd name="connsiteX4" fmla="*/ 26821 w 51893"/>
                    <a:gd name="connsiteY4" fmla="*/ 32724 h 73414"/>
                    <a:gd name="connsiteX5" fmla="*/ 13987 w 51893"/>
                    <a:gd name="connsiteY5" fmla="*/ 46139 h 73414"/>
                    <a:gd name="connsiteX6" fmla="*/ 13987 w 51893"/>
                    <a:gd name="connsiteY6" fmla="*/ 73415 h 73414"/>
                    <a:gd name="connsiteX7" fmla="*/ 0 w 51893"/>
                    <a:gd name="connsiteY7" fmla="*/ 73415 h 73414"/>
                    <a:gd name="connsiteX8" fmla="*/ 0 w 51893"/>
                    <a:gd name="connsiteY8" fmla="*/ 0 h 73414"/>
                    <a:gd name="connsiteX9" fmla="*/ 13987 w 51893"/>
                    <a:gd name="connsiteY9" fmla="*/ 0 h 73414"/>
                    <a:gd name="connsiteX10" fmla="*/ 13987 w 51893"/>
                    <a:gd name="connsiteY10" fmla="*/ 27498 h 73414"/>
                    <a:gd name="connsiteX11" fmla="*/ 30318 w 51893"/>
                    <a:gd name="connsiteY11" fmla="*/ 20568 h 73414"/>
                    <a:gd name="connsiteX12" fmla="*/ 51894 w 51893"/>
                    <a:gd name="connsiteY12" fmla="*/ 44471 h 7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893" h="73414">
                      <a:moveTo>
                        <a:pt x="51857" y="44471"/>
                      </a:moveTo>
                      <a:lnTo>
                        <a:pt x="51857" y="73415"/>
                      </a:lnTo>
                      <a:lnTo>
                        <a:pt x="37870" y="73415"/>
                      </a:lnTo>
                      <a:lnTo>
                        <a:pt x="37870" y="45324"/>
                      </a:lnTo>
                      <a:cubicBezTo>
                        <a:pt x="37870" y="37356"/>
                        <a:pt x="33778" y="32724"/>
                        <a:pt x="26821" y="32724"/>
                      </a:cubicBezTo>
                      <a:cubicBezTo>
                        <a:pt x="19121" y="32724"/>
                        <a:pt x="13987" y="38171"/>
                        <a:pt x="13987" y="46139"/>
                      </a:cubicBezTo>
                      <a:lnTo>
                        <a:pt x="13987" y="73415"/>
                      </a:lnTo>
                      <a:lnTo>
                        <a:pt x="0" y="73415"/>
                      </a:lnTo>
                      <a:lnTo>
                        <a:pt x="0" y="0"/>
                      </a:lnTo>
                      <a:lnTo>
                        <a:pt x="13987" y="0"/>
                      </a:lnTo>
                      <a:lnTo>
                        <a:pt x="13987" y="27498"/>
                      </a:lnTo>
                      <a:cubicBezTo>
                        <a:pt x="18005" y="22977"/>
                        <a:pt x="23473" y="20568"/>
                        <a:pt x="30318" y="20568"/>
                      </a:cubicBezTo>
                      <a:cubicBezTo>
                        <a:pt x="43598" y="20568"/>
                        <a:pt x="51894" y="29907"/>
                        <a:pt x="51894" y="44471"/>
                      </a:cubicBezTo>
                      <a:close/>
                    </a:path>
                  </a:pathLst>
                </a:custGeom>
                <a:grpFill/>
                <a:ln w="0" cap="flat">
                  <a:noFill/>
                  <a:prstDash val="solid"/>
                  <a:miter/>
                </a:ln>
              </p:spPr>
              <p:txBody>
                <a:bodyPr rtlCol="0" anchor="ctr"/>
                <a:lstStyle/>
                <a:p>
                  <a:endParaRPr lang="en-BG"/>
                </a:p>
              </p:txBody>
            </p:sp>
            <p:sp>
              <p:nvSpPr>
                <p:cNvPr id="162" name="Freeform 161">
                  <a:extLst>
                    <a:ext uri="{FF2B5EF4-FFF2-40B4-BE49-F238E27FC236}">
                      <a16:creationId xmlns:a16="http://schemas.microsoft.com/office/drawing/2014/main" id="{A0E4B07B-B667-854A-B104-0B897EA36443}"/>
                    </a:ext>
                  </a:extLst>
                </p:cNvPr>
                <p:cNvSpPr/>
                <p:nvPr/>
              </p:nvSpPr>
              <p:spPr>
                <a:xfrm>
                  <a:off x="2467160" y="2351304"/>
                  <a:ext cx="56320" cy="54106"/>
                </a:xfrm>
                <a:custGeom>
                  <a:avLst/>
                  <a:gdLst>
                    <a:gd name="connsiteX0" fmla="*/ 56321 w 56320"/>
                    <a:gd name="connsiteY0" fmla="*/ 1149 h 54106"/>
                    <a:gd name="connsiteX1" fmla="*/ 56321 w 56320"/>
                    <a:gd name="connsiteY1" fmla="*/ 52958 h 54106"/>
                    <a:gd name="connsiteX2" fmla="*/ 44193 w 56320"/>
                    <a:gd name="connsiteY2" fmla="*/ 52958 h 54106"/>
                    <a:gd name="connsiteX3" fmla="*/ 43263 w 56320"/>
                    <a:gd name="connsiteY3" fmla="*/ 46658 h 54106"/>
                    <a:gd name="connsiteX4" fmla="*/ 25259 w 56320"/>
                    <a:gd name="connsiteY4" fmla="*/ 54107 h 54106"/>
                    <a:gd name="connsiteX5" fmla="*/ 0 w 56320"/>
                    <a:gd name="connsiteY5" fmla="*/ 27053 h 54106"/>
                    <a:gd name="connsiteX6" fmla="*/ 25259 w 56320"/>
                    <a:gd name="connsiteY6" fmla="*/ 0 h 54106"/>
                    <a:gd name="connsiteX7" fmla="*/ 43263 w 56320"/>
                    <a:gd name="connsiteY7" fmla="*/ 7338 h 54106"/>
                    <a:gd name="connsiteX8" fmla="*/ 44193 w 56320"/>
                    <a:gd name="connsiteY8" fmla="*/ 1149 h 54106"/>
                    <a:gd name="connsiteX9" fmla="*/ 56321 w 56320"/>
                    <a:gd name="connsiteY9" fmla="*/ 1149 h 54106"/>
                    <a:gd name="connsiteX10" fmla="*/ 42445 w 56320"/>
                    <a:gd name="connsiteY10" fmla="*/ 27053 h 54106"/>
                    <a:gd name="connsiteX11" fmla="*/ 28123 w 56320"/>
                    <a:gd name="connsiteY11" fmla="*/ 12156 h 54106"/>
                    <a:gd name="connsiteX12" fmla="*/ 13913 w 56320"/>
                    <a:gd name="connsiteY12" fmla="*/ 27053 h 54106"/>
                    <a:gd name="connsiteX13" fmla="*/ 28123 w 56320"/>
                    <a:gd name="connsiteY13" fmla="*/ 41951 h 54106"/>
                    <a:gd name="connsiteX14" fmla="*/ 42445 w 56320"/>
                    <a:gd name="connsiteY14" fmla="*/ 27053 h 54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320" h="54106">
                      <a:moveTo>
                        <a:pt x="56321" y="1149"/>
                      </a:moveTo>
                      <a:lnTo>
                        <a:pt x="56321" y="52958"/>
                      </a:lnTo>
                      <a:lnTo>
                        <a:pt x="44193" y="52958"/>
                      </a:lnTo>
                      <a:lnTo>
                        <a:pt x="43263" y="46658"/>
                      </a:lnTo>
                      <a:cubicBezTo>
                        <a:pt x="38948" y="51476"/>
                        <a:pt x="32624" y="54107"/>
                        <a:pt x="25259" y="54107"/>
                      </a:cubicBezTo>
                      <a:cubicBezTo>
                        <a:pt x="10304" y="54107"/>
                        <a:pt x="0" y="42989"/>
                        <a:pt x="0" y="27053"/>
                      </a:cubicBezTo>
                      <a:cubicBezTo>
                        <a:pt x="0" y="11118"/>
                        <a:pt x="10304" y="0"/>
                        <a:pt x="25259" y="0"/>
                      </a:cubicBezTo>
                      <a:cubicBezTo>
                        <a:pt x="32624" y="0"/>
                        <a:pt x="39060" y="2631"/>
                        <a:pt x="43263" y="7338"/>
                      </a:cubicBezTo>
                      <a:lnTo>
                        <a:pt x="44193" y="1149"/>
                      </a:lnTo>
                      <a:lnTo>
                        <a:pt x="56321" y="1149"/>
                      </a:lnTo>
                      <a:close/>
                      <a:moveTo>
                        <a:pt x="42445" y="27053"/>
                      </a:moveTo>
                      <a:cubicBezTo>
                        <a:pt x="42445" y="18344"/>
                        <a:pt x="36568" y="12156"/>
                        <a:pt x="28123" y="12156"/>
                      </a:cubicBezTo>
                      <a:cubicBezTo>
                        <a:pt x="19679" y="12156"/>
                        <a:pt x="13913" y="18344"/>
                        <a:pt x="13913" y="27053"/>
                      </a:cubicBezTo>
                      <a:cubicBezTo>
                        <a:pt x="13913" y="35762"/>
                        <a:pt x="19828" y="41951"/>
                        <a:pt x="28123" y="41951"/>
                      </a:cubicBezTo>
                      <a:cubicBezTo>
                        <a:pt x="36419" y="41951"/>
                        <a:pt x="42445" y="35762"/>
                        <a:pt x="42445" y="27053"/>
                      </a:cubicBezTo>
                      <a:close/>
                    </a:path>
                  </a:pathLst>
                </a:custGeom>
                <a:grpFill/>
                <a:ln w="0" cap="flat">
                  <a:noFill/>
                  <a:prstDash val="solid"/>
                  <a:miter/>
                </a:ln>
              </p:spPr>
              <p:txBody>
                <a:bodyPr rtlCol="0" anchor="ctr"/>
                <a:lstStyle/>
                <a:p>
                  <a:endParaRPr lang="en-BG"/>
                </a:p>
              </p:txBody>
            </p:sp>
            <p:sp>
              <p:nvSpPr>
                <p:cNvPr id="163" name="Freeform 162">
                  <a:extLst>
                    <a:ext uri="{FF2B5EF4-FFF2-40B4-BE49-F238E27FC236}">
                      <a16:creationId xmlns:a16="http://schemas.microsoft.com/office/drawing/2014/main" id="{5A25827B-FB51-F54A-A881-C080F4DE3D27}"/>
                    </a:ext>
                  </a:extLst>
                </p:cNvPr>
                <p:cNvSpPr/>
                <p:nvPr/>
              </p:nvSpPr>
              <p:spPr>
                <a:xfrm>
                  <a:off x="2536985" y="2351378"/>
                  <a:ext cx="51931" cy="52883"/>
                </a:xfrm>
                <a:custGeom>
                  <a:avLst/>
                  <a:gdLst>
                    <a:gd name="connsiteX0" fmla="*/ 51894 w 51931"/>
                    <a:gd name="connsiteY0" fmla="*/ 23940 h 52883"/>
                    <a:gd name="connsiteX1" fmla="*/ 51894 w 51931"/>
                    <a:gd name="connsiteY1" fmla="*/ 52884 h 52883"/>
                    <a:gd name="connsiteX2" fmla="*/ 37907 w 51931"/>
                    <a:gd name="connsiteY2" fmla="*/ 52884 h 52883"/>
                    <a:gd name="connsiteX3" fmla="*/ 37907 w 51931"/>
                    <a:gd name="connsiteY3" fmla="*/ 24793 h 52883"/>
                    <a:gd name="connsiteX4" fmla="*/ 26635 w 51931"/>
                    <a:gd name="connsiteY4" fmla="*/ 12193 h 52883"/>
                    <a:gd name="connsiteX5" fmla="*/ 13987 w 51931"/>
                    <a:gd name="connsiteY5" fmla="*/ 25719 h 52883"/>
                    <a:gd name="connsiteX6" fmla="*/ 13987 w 51931"/>
                    <a:gd name="connsiteY6" fmla="*/ 52884 h 52883"/>
                    <a:gd name="connsiteX7" fmla="*/ 0 w 51931"/>
                    <a:gd name="connsiteY7" fmla="*/ 52884 h 52883"/>
                    <a:gd name="connsiteX8" fmla="*/ 0 w 51931"/>
                    <a:gd name="connsiteY8" fmla="*/ 1075 h 52883"/>
                    <a:gd name="connsiteX9" fmla="*/ 12090 w 51931"/>
                    <a:gd name="connsiteY9" fmla="*/ 1075 h 52883"/>
                    <a:gd name="connsiteX10" fmla="*/ 13057 w 51931"/>
                    <a:gd name="connsiteY10" fmla="*/ 7041 h 52883"/>
                    <a:gd name="connsiteX11" fmla="*/ 30132 w 51931"/>
                    <a:gd name="connsiteY11" fmla="*/ 0 h 52883"/>
                    <a:gd name="connsiteX12" fmla="*/ 51931 w 51931"/>
                    <a:gd name="connsiteY12" fmla="*/ 23903 h 52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931" h="52883">
                      <a:moveTo>
                        <a:pt x="51894" y="23940"/>
                      </a:moveTo>
                      <a:lnTo>
                        <a:pt x="51894" y="52884"/>
                      </a:lnTo>
                      <a:lnTo>
                        <a:pt x="37907" y="52884"/>
                      </a:lnTo>
                      <a:lnTo>
                        <a:pt x="37907" y="24793"/>
                      </a:lnTo>
                      <a:cubicBezTo>
                        <a:pt x="37907" y="16825"/>
                        <a:pt x="33592" y="12193"/>
                        <a:pt x="26635" y="12193"/>
                      </a:cubicBezTo>
                      <a:cubicBezTo>
                        <a:pt x="19046" y="12193"/>
                        <a:pt x="13987" y="17752"/>
                        <a:pt x="13987" y="25719"/>
                      </a:cubicBezTo>
                      <a:lnTo>
                        <a:pt x="13987" y="52884"/>
                      </a:lnTo>
                      <a:lnTo>
                        <a:pt x="0" y="52884"/>
                      </a:lnTo>
                      <a:lnTo>
                        <a:pt x="0" y="1075"/>
                      </a:lnTo>
                      <a:lnTo>
                        <a:pt x="12090" y="1075"/>
                      </a:lnTo>
                      <a:lnTo>
                        <a:pt x="13057" y="7041"/>
                      </a:lnTo>
                      <a:cubicBezTo>
                        <a:pt x="17149" y="2520"/>
                        <a:pt x="23287" y="0"/>
                        <a:pt x="30132" y="0"/>
                      </a:cubicBezTo>
                      <a:cubicBezTo>
                        <a:pt x="43412" y="0"/>
                        <a:pt x="51931" y="9228"/>
                        <a:pt x="51931" y="23903"/>
                      </a:cubicBezTo>
                      <a:close/>
                    </a:path>
                  </a:pathLst>
                </a:custGeom>
                <a:grpFill/>
                <a:ln w="0" cap="flat">
                  <a:noFill/>
                  <a:prstDash val="solid"/>
                  <a:miter/>
                </a:ln>
              </p:spPr>
              <p:txBody>
                <a:bodyPr rtlCol="0" anchor="ctr"/>
                <a:lstStyle/>
                <a:p>
                  <a:endParaRPr lang="en-BG"/>
                </a:p>
              </p:txBody>
            </p:sp>
            <p:sp>
              <p:nvSpPr>
                <p:cNvPr id="164" name="Freeform 163">
                  <a:extLst>
                    <a:ext uri="{FF2B5EF4-FFF2-40B4-BE49-F238E27FC236}">
                      <a16:creationId xmlns:a16="http://schemas.microsoft.com/office/drawing/2014/main" id="{A7DCBC5A-C6E7-DB43-B221-0DB76C6C1C27}"/>
                    </a:ext>
                  </a:extLst>
                </p:cNvPr>
                <p:cNvSpPr/>
                <p:nvPr/>
              </p:nvSpPr>
              <p:spPr>
                <a:xfrm>
                  <a:off x="2598253" y="2346301"/>
                  <a:ext cx="57734" cy="88349"/>
                </a:xfrm>
                <a:custGeom>
                  <a:avLst/>
                  <a:gdLst>
                    <a:gd name="connsiteX0" fmla="*/ 44417 w 57734"/>
                    <a:gd name="connsiteY0" fmla="*/ 50290 h 88349"/>
                    <a:gd name="connsiteX1" fmla="*/ 56321 w 57734"/>
                    <a:gd name="connsiteY1" fmla="*/ 66744 h 88349"/>
                    <a:gd name="connsiteX2" fmla="*/ 28198 w 57734"/>
                    <a:gd name="connsiteY2" fmla="*/ 88350 h 88349"/>
                    <a:gd name="connsiteX3" fmla="*/ 521 w 57734"/>
                    <a:gd name="connsiteY3" fmla="*/ 64521 h 88349"/>
                    <a:gd name="connsiteX4" fmla="*/ 14099 w 57734"/>
                    <a:gd name="connsiteY4" fmla="*/ 64521 h 88349"/>
                    <a:gd name="connsiteX5" fmla="*/ 28198 w 57734"/>
                    <a:gd name="connsiteY5" fmla="*/ 76268 h 88349"/>
                    <a:gd name="connsiteX6" fmla="*/ 42110 w 57734"/>
                    <a:gd name="connsiteY6" fmla="*/ 66411 h 88349"/>
                    <a:gd name="connsiteX7" fmla="*/ 28421 w 57734"/>
                    <a:gd name="connsiteY7" fmla="*/ 56960 h 88349"/>
                    <a:gd name="connsiteX8" fmla="*/ 0 w 57734"/>
                    <a:gd name="connsiteY8" fmla="*/ 30945 h 88349"/>
                    <a:gd name="connsiteX9" fmla="*/ 28123 w 57734"/>
                    <a:gd name="connsiteY9" fmla="*/ 4818 h 88349"/>
                    <a:gd name="connsiteX10" fmla="*/ 41180 w 57734"/>
                    <a:gd name="connsiteY10" fmla="*/ 7857 h 88349"/>
                    <a:gd name="connsiteX11" fmla="*/ 47616 w 57734"/>
                    <a:gd name="connsiteY11" fmla="*/ 0 h 88349"/>
                    <a:gd name="connsiteX12" fmla="*/ 57734 w 57734"/>
                    <a:gd name="connsiteY12" fmla="*/ 7560 h 88349"/>
                    <a:gd name="connsiteX13" fmla="*/ 50666 w 57734"/>
                    <a:gd name="connsiteY13" fmla="*/ 15861 h 88349"/>
                    <a:gd name="connsiteX14" fmla="*/ 56358 w 57734"/>
                    <a:gd name="connsiteY14" fmla="*/ 30982 h 88349"/>
                    <a:gd name="connsiteX15" fmla="*/ 44454 w 57734"/>
                    <a:gd name="connsiteY15" fmla="*/ 50290 h 88349"/>
                    <a:gd name="connsiteX16" fmla="*/ 42520 w 57734"/>
                    <a:gd name="connsiteY16" fmla="*/ 30982 h 88349"/>
                    <a:gd name="connsiteX17" fmla="*/ 28198 w 57734"/>
                    <a:gd name="connsiteY17" fmla="*/ 17047 h 88349"/>
                    <a:gd name="connsiteX18" fmla="*/ 13876 w 57734"/>
                    <a:gd name="connsiteY18" fmla="*/ 30982 h 88349"/>
                    <a:gd name="connsiteX19" fmla="*/ 28198 w 57734"/>
                    <a:gd name="connsiteY19" fmla="*/ 44842 h 88349"/>
                    <a:gd name="connsiteX20" fmla="*/ 42520 w 57734"/>
                    <a:gd name="connsiteY20" fmla="*/ 30982 h 88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7734" h="88349">
                      <a:moveTo>
                        <a:pt x="44417" y="50290"/>
                      </a:moveTo>
                      <a:cubicBezTo>
                        <a:pt x="52006" y="53440"/>
                        <a:pt x="56321" y="59221"/>
                        <a:pt x="56321" y="66744"/>
                      </a:cubicBezTo>
                      <a:cubicBezTo>
                        <a:pt x="56321" y="79863"/>
                        <a:pt x="45272" y="88350"/>
                        <a:pt x="28198" y="88350"/>
                      </a:cubicBezTo>
                      <a:cubicBezTo>
                        <a:pt x="11123" y="88350"/>
                        <a:pt x="-446" y="78714"/>
                        <a:pt x="521" y="64521"/>
                      </a:cubicBezTo>
                      <a:lnTo>
                        <a:pt x="14099" y="64521"/>
                      </a:lnTo>
                      <a:cubicBezTo>
                        <a:pt x="13876" y="71747"/>
                        <a:pt x="19270" y="76268"/>
                        <a:pt x="28198" y="76268"/>
                      </a:cubicBezTo>
                      <a:cubicBezTo>
                        <a:pt x="36530" y="76268"/>
                        <a:pt x="42110" y="72266"/>
                        <a:pt x="42110" y="66411"/>
                      </a:cubicBezTo>
                      <a:cubicBezTo>
                        <a:pt x="42110" y="60555"/>
                        <a:pt x="37051" y="56960"/>
                        <a:pt x="28421" y="56960"/>
                      </a:cubicBezTo>
                      <a:cubicBezTo>
                        <a:pt x="11048" y="56960"/>
                        <a:pt x="0" y="46806"/>
                        <a:pt x="0" y="30945"/>
                      </a:cubicBezTo>
                      <a:cubicBezTo>
                        <a:pt x="0" y="15083"/>
                        <a:pt x="11681" y="4818"/>
                        <a:pt x="28123" y="4818"/>
                      </a:cubicBezTo>
                      <a:cubicBezTo>
                        <a:pt x="32959" y="4818"/>
                        <a:pt x="37498" y="5855"/>
                        <a:pt x="41180" y="7857"/>
                      </a:cubicBezTo>
                      <a:lnTo>
                        <a:pt x="47616" y="0"/>
                      </a:lnTo>
                      <a:lnTo>
                        <a:pt x="57734" y="7560"/>
                      </a:lnTo>
                      <a:lnTo>
                        <a:pt x="50666" y="15861"/>
                      </a:lnTo>
                      <a:cubicBezTo>
                        <a:pt x="54684" y="20494"/>
                        <a:pt x="56358" y="25089"/>
                        <a:pt x="56358" y="30982"/>
                      </a:cubicBezTo>
                      <a:cubicBezTo>
                        <a:pt x="56358" y="39468"/>
                        <a:pt x="52154" y="46287"/>
                        <a:pt x="44454" y="50290"/>
                      </a:cubicBezTo>
                      <a:close/>
                      <a:moveTo>
                        <a:pt x="42520" y="30982"/>
                      </a:moveTo>
                      <a:cubicBezTo>
                        <a:pt x="42520" y="22606"/>
                        <a:pt x="36828" y="17047"/>
                        <a:pt x="28198" y="17047"/>
                      </a:cubicBezTo>
                      <a:cubicBezTo>
                        <a:pt x="19567" y="17047"/>
                        <a:pt x="13876" y="22606"/>
                        <a:pt x="13876" y="30982"/>
                      </a:cubicBezTo>
                      <a:cubicBezTo>
                        <a:pt x="13876" y="39357"/>
                        <a:pt x="19679" y="44842"/>
                        <a:pt x="28198" y="44842"/>
                      </a:cubicBezTo>
                      <a:cubicBezTo>
                        <a:pt x="36716" y="44842"/>
                        <a:pt x="42520" y="39172"/>
                        <a:pt x="42520" y="30982"/>
                      </a:cubicBezTo>
                      <a:close/>
                    </a:path>
                  </a:pathLst>
                </a:custGeom>
                <a:grpFill/>
                <a:ln w="0" cap="flat">
                  <a:noFill/>
                  <a:prstDash val="solid"/>
                  <a:miter/>
                </a:ln>
              </p:spPr>
              <p:txBody>
                <a:bodyPr rtlCol="0" anchor="ctr"/>
                <a:lstStyle/>
                <a:p>
                  <a:endParaRPr lang="en-BG"/>
                </a:p>
              </p:txBody>
            </p:sp>
            <p:sp>
              <p:nvSpPr>
                <p:cNvPr id="165" name="Freeform 164">
                  <a:extLst>
                    <a:ext uri="{FF2B5EF4-FFF2-40B4-BE49-F238E27FC236}">
                      <a16:creationId xmlns:a16="http://schemas.microsoft.com/office/drawing/2014/main" id="{116E5D78-71EF-E14D-A71D-2B66F39DFD29}"/>
                    </a:ext>
                  </a:extLst>
                </p:cNvPr>
                <p:cNvSpPr/>
                <p:nvPr/>
              </p:nvSpPr>
              <p:spPr>
                <a:xfrm>
                  <a:off x="2662497" y="2351415"/>
                  <a:ext cx="54666" cy="54218"/>
                </a:xfrm>
                <a:custGeom>
                  <a:avLst/>
                  <a:gdLst>
                    <a:gd name="connsiteX0" fmla="*/ 54312 w 54666"/>
                    <a:gd name="connsiteY0" fmla="*/ 31538 h 54218"/>
                    <a:gd name="connsiteX1" fmla="*/ 14210 w 54666"/>
                    <a:gd name="connsiteY1" fmla="*/ 31538 h 54218"/>
                    <a:gd name="connsiteX2" fmla="*/ 29276 w 54666"/>
                    <a:gd name="connsiteY2" fmla="*/ 42359 h 54218"/>
                    <a:gd name="connsiteX3" fmla="*/ 43822 w 54666"/>
                    <a:gd name="connsiteY3" fmla="*/ 37430 h 54218"/>
                    <a:gd name="connsiteX4" fmla="*/ 51596 w 54666"/>
                    <a:gd name="connsiteY4" fmla="*/ 45398 h 54218"/>
                    <a:gd name="connsiteX5" fmla="*/ 28756 w 54666"/>
                    <a:gd name="connsiteY5" fmla="*/ 54218 h 54218"/>
                    <a:gd name="connsiteX6" fmla="*/ 0 w 54666"/>
                    <a:gd name="connsiteY6" fmla="*/ 27053 h 54218"/>
                    <a:gd name="connsiteX7" fmla="*/ 27379 w 54666"/>
                    <a:gd name="connsiteY7" fmla="*/ 0 h 54218"/>
                    <a:gd name="connsiteX8" fmla="*/ 54349 w 54666"/>
                    <a:gd name="connsiteY8" fmla="*/ 31575 h 54218"/>
                    <a:gd name="connsiteX9" fmla="*/ 14396 w 54666"/>
                    <a:gd name="connsiteY9" fmla="*/ 22310 h 54218"/>
                    <a:gd name="connsiteX10" fmla="*/ 41143 w 54666"/>
                    <a:gd name="connsiteY10" fmla="*/ 22310 h 54218"/>
                    <a:gd name="connsiteX11" fmla="*/ 27788 w 54666"/>
                    <a:gd name="connsiteY11" fmla="*/ 11414 h 54218"/>
                    <a:gd name="connsiteX12" fmla="*/ 14434 w 54666"/>
                    <a:gd name="connsiteY12" fmla="*/ 22310 h 54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666" h="54218">
                      <a:moveTo>
                        <a:pt x="54312" y="31538"/>
                      </a:moveTo>
                      <a:lnTo>
                        <a:pt x="14210" y="31538"/>
                      </a:lnTo>
                      <a:cubicBezTo>
                        <a:pt x="15140" y="38023"/>
                        <a:pt x="20832" y="42359"/>
                        <a:pt x="29276" y="42359"/>
                      </a:cubicBezTo>
                      <a:cubicBezTo>
                        <a:pt x="34856" y="42359"/>
                        <a:pt x="40436" y="40469"/>
                        <a:pt x="43822" y="37430"/>
                      </a:cubicBezTo>
                      <a:lnTo>
                        <a:pt x="51596" y="45398"/>
                      </a:lnTo>
                      <a:cubicBezTo>
                        <a:pt x="46128" y="50957"/>
                        <a:pt x="37795" y="54218"/>
                        <a:pt x="28756" y="54218"/>
                      </a:cubicBezTo>
                      <a:cubicBezTo>
                        <a:pt x="11160" y="54218"/>
                        <a:pt x="0" y="43619"/>
                        <a:pt x="0" y="27053"/>
                      </a:cubicBezTo>
                      <a:cubicBezTo>
                        <a:pt x="0" y="10488"/>
                        <a:pt x="11048" y="0"/>
                        <a:pt x="27379" y="0"/>
                      </a:cubicBezTo>
                      <a:cubicBezTo>
                        <a:pt x="46240" y="0"/>
                        <a:pt x="56656" y="12378"/>
                        <a:pt x="54349" y="31575"/>
                      </a:cubicBezTo>
                      <a:close/>
                      <a:moveTo>
                        <a:pt x="14396" y="22310"/>
                      </a:moveTo>
                      <a:lnTo>
                        <a:pt x="41143" y="22310"/>
                      </a:lnTo>
                      <a:cubicBezTo>
                        <a:pt x="40622" y="15602"/>
                        <a:pt x="35563" y="11414"/>
                        <a:pt x="27788" y="11414"/>
                      </a:cubicBezTo>
                      <a:cubicBezTo>
                        <a:pt x="20423" y="11414"/>
                        <a:pt x="15475" y="15417"/>
                        <a:pt x="14434" y="22310"/>
                      </a:cubicBezTo>
                      <a:close/>
                    </a:path>
                  </a:pathLst>
                </a:custGeom>
                <a:grpFill/>
                <a:ln w="0" cap="flat">
                  <a:noFill/>
                  <a:prstDash val="solid"/>
                  <a:miter/>
                </a:ln>
              </p:spPr>
              <p:txBody>
                <a:bodyPr rtlCol="0" anchor="ctr"/>
                <a:lstStyle/>
                <a:p>
                  <a:endParaRPr lang="en-BG"/>
                </a:p>
              </p:txBody>
            </p:sp>
          </p:grpSp>
        </p:grpSp>
      </p:grpSp>
      <p:grpSp>
        <p:nvGrpSpPr>
          <p:cNvPr id="7" name="Group 6">
            <a:extLst>
              <a:ext uri="{FF2B5EF4-FFF2-40B4-BE49-F238E27FC236}">
                <a16:creationId xmlns:a16="http://schemas.microsoft.com/office/drawing/2014/main" id="{62DBB686-97C0-5245-813A-6444731BB1F7}"/>
              </a:ext>
            </a:extLst>
          </p:cNvPr>
          <p:cNvGrpSpPr/>
          <p:nvPr/>
        </p:nvGrpSpPr>
        <p:grpSpPr>
          <a:xfrm>
            <a:off x="246993" y="3395559"/>
            <a:ext cx="11945007" cy="3462440"/>
            <a:chOff x="246993" y="3395559"/>
            <a:chExt cx="11945007" cy="3462440"/>
          </a:xfrm>
        </p:grpSpPr>
        <p:sp>
          <p:nvSpPr>
            <p:cNvPr id="30" name="Rectangle 29">
              <a:extLst>
                <a:ext uri="{FF2B5EF4-FFF2-40B4-BE49-F238E27FC236}">
                  <a16:creationId xmlns:a16="http://schemas.microsoft.com/office/drawing/2014/main" id="{94B567CE-70FE-E541-8892-22DCB326F384}"/>
                </a:ext>
              </a:extLst>
            </p:cNvPr>
            <p:cNvSpPr/>
            <p:nvPr/>
          </p:nvSpPr>
          <p:spPr>
            <a:xfrm>
              <a:off x="8547539" y="3851808"/>
              <a:ext cx="3644461" cy="3006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G"/>
            </a:p>
          </p:txBody>
        </p:sp>
        <p:pic>
          <p:nvPicPr>
            <p:cNvPr id="32" name="Picture 31" descr="Logo&#10;&#10;Description automatically generated">
              <a:extLst>
                <a:ext uri="{FF2B5EF4-FFF2-40B4-BE49-F238E27FC236}">
                  <a16:creationId xmlns:a16="http://schemas.microsoft.com/office/drawing/2014/main" id="{5F96E30E-1B10-8C49-862A-EA771B48244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608636" y="6044409"/>
              <a:ext cx="755712" cy="193966"/>
            </a:xfrm>
            <a:prstGeom prst="rect">
              <a:avLst/>
            </a:prstGeom>
          </p:spPr>
        </p:pic>
        <p:pic>
          <p:nvPicPr>
            <p:cNvPr id="33" name="Picture 32" descr="Text, logo&#10;&#10;Description automatically generated">
              <a:extLst>
                <a:ext uri="{FF2B5EF4-FFF2-40B4-BE49-F238E27FC236}">
                  <a16:creationId xmlns:a16="http://schemas.microsoft.com/office/drawing/2014/main" id="{810FAB5A-614E-574B-B364-4EBE9AAC09FB}"/>
                </a:ext>
              </a:extLst>
            </p:cNvPr>
            <p:cNvPicPr>
              <a:picLocks noChangeAspect="1"/>
            </p:cNvPicPr>
            <p:nvPr/>
          </p:nvPicPr>
          <p:blipFill rotWithShape="1">
            <a:blip r:embed="rId13">
              <a:extLst>
                <a:ext uri="{28A0092B-C50C-407E-A947-70E740481C1C}">
                  <a14:useLocalDpi xmlns:a14="http://schemas.microsoft.com/office/drawing/2010/main" val="0"/>
                </a:ext>
              </a:extLst>
            </a:blip>
            <a:srcRect l="9512" t="26916" r="9376" b="25849"/>
            <a:stretch/>
          </p:blipFill>
          <p:spPr>
            <a:xfrm>
              <a:off x="1419907" y="6417043"/>
              <a:ext cx="1133171" cy="229416"/>
            </a:xfrm>
            <a:prstGeom prst="rect">
              <a:avLst/>
            </a:prstGeom>
          </p:spPr>
        </p:pic>
        <p:pic>
          <p:nvPicPr>
            <p:cNvPr id="34" name="Graphic 33">
              <a:extLst>
                <a:ext uri="{FF2B5EF4-FFF2-40B4-BE49-F238E27FC236}">
                  <a16:creationId xmlns:a16="http://schemas.microsoft.com/office/drawing/2014/main" id="{91E61A53-A460-4645-9217-B3A70FA7BCE8}"/>
                </a:ext>
              </a:extLst>
            </p:cNvPr>
            <p:cNvPicPr>
              <a:picLocks noChangeAspect="1"/>
            </p:cNvPicPr>
            <p:nvPr/>
          </p:nvPicPr>
          <p:blipFill>
            <a:blip r:embed="rId14">
              <a:biLevel thresh="25000"/>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464819" y="4457311"/>
              <a:ext cx="482119" cy="331630"/>
            </a:xfrm>
            <a:prstGeom prst="rect">
              <a:avLst/>
            </a:prstGeom>
          </p:spPr>
        </p:pic>
        <p:pic>
          <p:nvPicPr>
            <p:cNvPr id="35" name="Picture 34" descr="Logo&#10;&#10;Description automatically generated with medium confidence">
              <a:extLst>
                <a:ext uri="{FF2B5EF4-FFF2-40B4-BE49-F238E27FC236}">
                  <a16:creationId xmlns:a16="http://schemas.microsoft.com/office/drawing/2014/main" id="{38B6F919-4728-0649-AB3D-6F5A7F36B3CC}"/>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96832" y="6212671"/>
              <a:ext cx="691522" cy="332087"/>
            </a:xfrm>
            <a:prstGeom prst="rect">
              <a:avLst/>
            </a:prstGeom>
          </p:spPr>
        </p:pic>
        <p:pic>
          <p:nvPicPr>
            <p:cNvPr id="36" name="Picture 35" descr="Logo&#10;&#10;Description automatically generated with medium confidence">
              <a:extLst>
                <a:ext uri="{FF2B5EF4-FFF2-40B4-BE49-F238E27FC236}">
                  <a16:creationId xmlns:a16="http://schemas.microsoft.com/office/drawing/2014/main" id="{7A437C9E-3516-A546-A403-0EA7B3176275}"/>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90434" y="4931306"/>
              <a:ext cx="904318" cy="195390"/>
            </a:xfrm>
            <a:prstGeom prst="rect">
              <a:avLst/>
            </a:prstGeom>
          </p:spPr>
        </p:pic>
        <p:pic>
          <p:nvPicPr>
            <p:cNvPr id="37" name="Graphic 36">
              <a:extLst>
                <a:ext uri="{FF2B5EF4-FFF2-40B4-BE49-F238E27FC236}">
                  <a16:creationId xmlns:a16="http://schemas.microsoft.com/office/drawing/2014/main" id="{712E5810-4622-2D4F-BEE7-D9CAE136A594}"/>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292265" y="5636471"/>
              <a:ext cx="827226" cy="230367"/>
            </a:xfrm>
            <a:prstGeom prst="rect">
              <a:avLst/>
            </a:prstGeom>
          </p:spPr>
        </p:pic>
        <p:pic>
          <p:nvPicPr>
            <p:cNvPr id="38" name="Picture 37" descr="Logo, company name&#10;&#10;Description automatically generated">
              <a:extLst>
                <a:ext uri="{FF2B5EF4-FFF2-40B4-BE49-F238E27FC236}">
                  <a16:creationId xmlns:a16="http://schemas.microsoft.com/office/drawing/2014/main" id="{6359C2FB-3B21-FB4A-94DF-8BED08776354}"/>
                </a:ext>
              </a:extLst>
            </p:cNvPr>
            <p:cNvPicPr>
              <a:picLocks noChangeAspect="1"/>
            </p:cNvPicPr>
            <p:nvPr/>
          </p:nvPicPr>
          <p:blipFill rotWithShape="1">
            <a:blip r:embed="rId20">
              <a:lum bright="70000" contrast="-70000"/>
              <a:extLst>
                <a:ext uri="{28A0092B-C50C-407E-A947-70E740481C1C}">
                  <a14:useLocalDpi xmlns:a14="http://schemas.microsoft.com/office/drawing/2010/main" val="0"/>
                </a:ext>
              </a:extLst>
            </a:blip>
            <a:srcRect l="9382" t="22167" r="7441" b="17830"/>
            <a:stretch/>
          </p:blipFill>
          <p:spPr>
            <a:xfrm>
              <a:off x="379975" y="4481630"/>
              <a:ext cx="725236" cy="260939"/>
            </a:xfrm>
            <a:prstGeom prst="rect">
              <a:avLst/>
            </a:prstGeom>
          </p:spPr>
        </p:pic>
        <p:pic>
          <p:nvPicPr>
            <p:cNvPr id="39" name="Graphic 38">
              <a:extLst>
                <a:ext uri="{FF2B5EF4-FFF2-40B4-BE49-F238E27FC236}">
                  <a16:creationId xmlns:a16="http://schemas.microsoft.com/office/drawing/2014/main" id="{9657C78D-F0BB-EF49-8B56-8FB9343BA319}"/>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610899" y="4072749"/>
              <a:ext cx="751187" cy="218527"/>
            </a:xfrm>
            <a:prstGeom prst="rect">
              <a:avLst/>
            </a:prstGeom>
          </p:spPr>
        </p:pic>
        <p:pic>
          <p:nvPicPr>
            <p:cNvPr id="40" name="Picture 39" descr="A picture containing text&#10;&#10;Description automatically generated">
              <a:extLst>
                <a:ext uri="{FF2B5EF4-FFF2-40B4-BE49-F238E27FC236}">
                  <a16:creationId xmlns:a16="http://schemas.microsoft.com/office/drawing/2014/main" id="{DB7F6F62-C875-114F-BA56-A7F71411F0DE}"/>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980615" y="5255725"/>
              <a:ext cx="438011" cy="451151"/>
            </a:xfrm>
            <a:prstGeom prst="rect">
              <a:avLst/>
            </a:prstGeom>
          </p:spPr>
        </p:pic>
        <p:pic>
          <p:nvPicPr>
            <p:cNvPr id="41" name="Graphic 40">
              <a:extLst>
                <a:ext uri="{FF2B5EF4-FFF2-40B4-BE49-F238E27FC236}">
                  <a16:creationId xmlns:a16="http://schemas.microsoft.com/office/drawing/2014/main" id="{4599D153-B4ED-7945-A2B2-0D9249816D8C}"/>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2908890" y="4476195"/>
              <a:ext cx="581462" cy="271808"/>
            </a:xfrm>
            <a:prstGeom prst="rect">
              <a:avLst/>
            </a:prstGeom>
          </p:spPr>
        </p:pic>
        <p:pic>
          <p:nvPicPr>
            <p:cNvPr id="42" name="Graphic 41">
              <a:extLst>
                <a:ext uri="{FF2B5EF4-FFF2-40B4-BE49-F238E27FC236}">
                  <a16:creationId xmlns:a16="http://schemas.microsoft.com/office/drawing/2014/main" id="{0CB08378-67BF-E143-B3F2-75B529FF0CAD}"/>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2901606" y="5842774"/>
              <a:ext cx="596030" cy="220073"/>
            </a:xfrm>
            <a:prstGeom prst="rect">
              <a:avLst/>
            </a:prstGeom>
          </p:spPr>
        </p:pic>
        <p:pic>
          <p:nvPicPr>
            <p:cNvPr id="43" name="Picture 42">
              <a:extLst>
                <a:ext uri="{FF2B5EF4-FFF2-40B4-BE49-F238E27FC236}">
                  <a16:creationId xmlns:a16="http://schemas.microsoft.com/office/drawing/2014/main" id="{BEFF9FA6-FD32-8B43-A751-022C2E185D6F}"/>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4937511" y="4893794"/>
              <a:ext cx="1058722" cy="123107"/>
            </a:xfrm>
            <a:prstGeom prst="rect">
              <a:avLst/>
            </a:prstGeom>
          </p:spPr>
        </p:pic>
        <p:pic>
          <p:nvPicPr>
            <p:cNvPr id="44" name="Picture 43" descr="A black and white sign&#10;&#10;Description automatically generated with low confidence">
              <a:extLst>
                <a:ext uri="{FF2B5EF4-FFF2-40B4-BE49-F238E27FC236}">
                  <a16:creationId xmlns:a16="http://schemas.microsoft.com/office/drawing/2014/main" id="{3CA3DA21-6E44-A34E-8C93-DB96068E6265}"/>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7363733" y="5072341"/>
              <a:ext cx="940693" cy="201308"/>
            </a:xfrm>
            <a:prstGeom prst="rect">
              <a:avLst/>
            </a:prstGeom>
          </p:spPr>
        </p:pic>
        <p:pic>
          <p:nvPicPr>
            <p:cNvPr id="45" name="Picture 44" descr="Logo&#10;&#10;Description automatically generated with low confidence">
              <a:extLst>
                <a:ext uri="{FF2B5EF4-FFF2-40B4-BE49-F238E27FC236}">
                  <a16:creationId xmlns:a16="http://schemas.microsoft.com/office/drawing/2014/main" id="{8EFD8141-0E46-5848-904B-8E8D55DED2CC}"/>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7512558" y="6420600"/>
              <a:ext cx="643043" cy="199987"/>
            </a:xfrm>
            <a:prstGeom prst="rect">
              <a:avLst/>
            </a:prstGeom>
          </p:spPr>
        </p:pic>
        <p:pic>
          <p:nvPicPr>
            <p:cNvPr id="46" name="Picture 45" descr="Logo&#10;&#10;Description automatically generated">
              <a:extLst>
                <a:ext uri="{FF2B5EF4-FFF2-40B4-BE49-F238E27FC236}">
                  <a16:creationId xmlns:a16="http://schemas.microsoft.com/office/drawing/2014/main" id="{4CDE1857-7E6F-3844-8CBF-0EB0E3CBC541}"/>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2997287" y="6185284"/>
              <a:ext cx="404667" cy="386862"/>
            </a:xfrm>
            <a:prstGeom prst="rect">
              <a:avLst/>
            </a:prstGeom>
          </p:spPr>
        </p:pic>
        <p:pic>
          <p:nvPicPr>
            <p:cNvPr id="47" name="Picture 46" descr="Icon&#10;&#10;Description automatically generated">
              <a:extLst>
                <a:ext uri="{FF2B5EF4-FFF2-40B4-BE49-F238E27FC236}">
                  <a16:creationId xmlns:a16="http://schemas.microsoft.com/office/drawing/2014/main" id="{B53F0121-232E-A247-A8BA-9872B26DC3CB}"/>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4019191" y="4492216"/>
              <a:ext cx="499515" cy="239767"/>
            </a:xfrm>
            <a:prstGeom prst="rect">
              <a:avLst/>
            </a:prstGeom>
          </p:spPr>
        </p:pic>
        <p:pic>
          <p:nvPicPr>
            <p:cNvPr id="48" name="Picture 47" descr="A picture containing text, tableware, dishware, clipart&#10;&#10;Description automatically generated">
              <a:extLst>
                <a:ext uri="{FF2B5EF4-FFF2-40B4-BE49-F238E27FC236}">
                  <a16:creationId xmlns:a16="http://schemas.microsoft.com/office/drawing/2014/main" id="{1310CBCB-D538-D349-9C3C-663184AE6383}"/>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433752" y="4012459"/>
              <a:ext cx="617681" cy="339107"/>
            </a:xfrm>
            <a:prstGeom prst="rect">
              <a:avLst/>
            </a:prstGeom>
          </p:spPr>
        </p:pic>
        <p:pic>
          <p:nvPicPr>
            <p:cNvPr id="49" name="Picture 48" descr="A black and white sign&#10;&#10;Description automatically generated with low confidence">
              <a:extLst>
                <a:ext uri="{FF2B5EF4-FFF2-40B4-BE49-F238E27FC236}">
                  <a16:creationId xmlns:a16="http://schemas.microsoft.com/office/drawing/2014/main" id="{CA5185F2-8C43-9641-932F-63D206C50A5B}"/>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4992168" y="4033905"/>
              <a:ext cx="949408" cy="296215"/>
            </a:xfrm>
            <a:prstGeom prst="rect">
              <a:avLst/>
            </a:prstGeom>
          </p:spPr>
        </p:pic>
        <p:pic>
          <p:nvPicPr>
            <p:cNvPr id="50" name="Graphic 49">
              <a:extLst>
                <a:ext uri="{FF2B5EF4-FFF2-40B4-BE49-F238E27FC236}">
                  <a16:creationId xmlns:a16="http://schemas.microsoft.com/office/drawing/2014/main" id="{DD7F7914-123A-D34C-B723-B02368982D60}"/>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6348602" y="6376384"/>
              <a:ext cx="714552" cy="234078"/>
            </a:xfrm>
            <a:prstGeom prst="rect">
              <a:avLst/>
            </a:prstGeom>
          </p:spPr>
        </p:pic>
        <p:pic>
          <p:nvPicPr>
            <p:cNvPr id="51" name="Picture 50" descr="Logo&#10;&#10;Description automatically generated with low confidence">
              <a:extLst>
                <a:ext uri="{FF2B5EF4-FFF2-40B4-BE49-F238E27FC236}">
                  <a16:creationId xmlns:a16="http://schemas.microsoft.com/office/drawing/2014/main" id="{DF62F8BA-1847-D346-AE07-D27416E48E86}"/>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1354415" y="5204342"/>
              <a:ext cx="1264155" cy="199969"/>
            </a:xfrm>
            <a:prstGeom prst="rect">
              <a:avLst/>
            </a:prstGeom>
          </p:spPr>
        </p:pic>
        <p:pic>
          <p:nvPicPr>
            <p:cNvPr id="52" name="Picture 51" descr="Logo&#10;&#10;Description automatically generated">
              <a:extLst>
                <a:ext uri="{FF2B5EF4-FFF2-40B4-BE49-F238E27FC236}">
                  <a16:creationId xmlns:a16="http://schemas.microsoft.com/office/drawing/2014/main" id="{DC014B72-FA0C-C541-B4F8-8F2EB84BEFC2}"/>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46993" y="5831879"/>
              <a:ext cx="991199" cy="241862"/>
            </a:xfrm>
            <a:prstGeom prst="rect">
              <a:avLst/>
            </a:prstGeom>
          </p:spPr>
        </p:pic>
        <p:pic>
          <p:nvPicPr>
            <p:cNvPr id="53" name="Graphic 52">
              <a:extLst>
                <a:ext uri="{FF2B5EF4-FFF2-40B4-BE49-F238E27FC236}">
                  <a16:creationId xmlns:a16="http://schemas.microsoft.com/office/drawing/2014/main" id="{53FADC18-2B59-F74A-9B0B-313C0E4E6A18}"/>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3836837" y="4942941"/>
              <a:ext cx="864221" cy="172120"/>
            </a:xfrm>
            <a:prstGeom prst="rect">
              <a:avLst/>
            </a:prstGeom>
          </p:spPr>
        </p:pic>
        <p:pic>
          <p:nvPicPr>
            <p:cNvPr id="54" name="Picture 53" descr="Logo&#10;&#10;Description automatically generated">
              <a:extLst>
                <a:ext uri="{FF2B5EF4-FFF2-40B4-BE49-F238E27FC236}">
                  <a16:creationId xmlns:a16="http://schemas.microsoft.com/office/drawing/2014/main" id="{BFB2EF98-3E2F-654F-A9B8-F4C8628B9888}"/>
                </a:ext>
              </a:extLst>
            </p:cNvPr>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3848323" y="5788420"/>
              <a:ext cx="841250" cy="328780"/>
            </a:xfrm>
            <a:prstGeom prst="rect">
              <a:avLst/>
            </a:prstGeom>
          </p:spPr>
        </p:pic>
        <p:pic>
          <p:nvPicPr>
            <p:cNvPr id="55" name="Graphic 54">
              <a:extLst>
                <a:ext uri="{FF2B5EF4-FFF2-40B4-BE49-F238E27FC236}">
                  <a16:creationId xmlns:a16="http://schemas.microsoft.com/office/drawing/2014/main" id="{2C40EDBF-82FC-F34A-B381-7B41E68E0821}"/>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7427826" y="4069704"/>
              <a:ext cx="812507" cy="337446"/>
            </a:xfrm>
            <a:prstGeom prst="rect">
              <a:avLst/>
            </a:prstGeom>
          </p:spPr>
        </p:pic>
        <p:pic>
          <p:nvPicPr>
            <p:cNvPr id="56" name="Picture 55" descr="Logo&#10;&#10;Description automatically generated">
              <a:extLst>
                <a:ext uri="{FF2B5EF4-FFF2-40B4-BE49-F238E27FC236}">
                  <a16:creationId xmlns:a16="http://schemas.microsoft.com/office/drawing/2014/main" id="{2D4BCD5C-C2E5-094A-8A14-66FBF18DB569}"/>
                </a:ext>
              </a:extLst>
            </p:cNvPr>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2786007" y="4889199"/>
              <a:ext cx="827226" cy="279603"/>
            </a:xfrm>
            <a:prstGeom prst="rect">
              <a:avLst/>
            </a:prstGeom>
          </p:spPr>
        </p:pic>
        <p:pic>
          <p:nvPicPr>
            <p:cNvPr id="57" name="Picture 56" descr="Graphical user interface, application&#10;&#10;Description automatically generated">
              <a:extLst>
                <a:ext uri="{FF2B5EF4-FFF2-40B4-BE49-F238E27FC236}">
                  <a16:creationId xmlns:a16="http://schemas.microsoft.com/office/drawing/2014/main" id="{CC6EEDFF-028A-8A45-9997-455B313CB041}"/>
                </a:ext>
              </a:extLst>
            </p:cNvPr>
            <p:cNvPicPr>
              <a:picLocks noChangeAspect="1"/>
            </p:cNvPicPr>
            <p:nvPr/>
          </p:nvPicPr>
          <p:blipFill rotWithShape="1">
            <a:blip r:embed="rId45">
              <a:extLst>
                <a:ext uri="{28A0092B-C50C-407E-A947-70E740481C1C}">
                  <a14:useLocalDpi xmlns:a14="http://schemas.microsoft.com/office/drawing/2010/main" val="0"/>
                </a:ext>
              </a:extLst>
            </a:blip>
            <a:srcRect l="27568" t="24545" r="28361" b="32175"/>
            <a:stretch/>
          </p:blipFill>
          <p:spPr>
            <a:xfrm>
              <a:off x="5085452" y="5440893"/>
              <a:ext cx="762840" cy="421485"/>
            </a:xfrm>
            <a:prstGeom prst="rect">
              <a:avLst/>
            </a:prstGeom>
          </p:spPr>
        </p:pic>
        <p:pic>
          <p:nvPicPr>
            <p:cNvPr id="58" name="Picture 57" descr="Logo, company name&#10;&#10;Description automatically generated">
              <a:extLst>
                <a:ext uri="{FF2B5EF4-FFF2-40B4-BE49-F238E27FC236}">
                  <a16:creationId xmlns:a16="http://schemas.microsoft.com/office/drawing/2014/main" id="{E5348E4C-9FDC-6940-897E-CE755EF669FE}"/>
                </a:ext>
              </a:extLst>
            </p:cNvPr>
            <p:cNvPicPr>
              <a:picLocks noChangeAspect="1"/>
            </p:cNvPicPr>
            <p:nvPr/>
          </p:nvPicPr>
          <p:blipFill>
            <a:blip r:embed="rId46">
              <a:extLst>
                <a:ext uri="{28A0092B-C50C-407E-A947-70E740481C1C}">
                  <a14:useLocalDpi xmlns:a14="http://schemas.microsoft.com/office/drawing/2010/main" val="0"/>
                </a:ext>
              </a:extLst>
            </a:blip>
            <a:stretch>
              <a:fillRect/>
            </a:stretch>
          </p:blipFill>
          <p:spPr>
            <a:xfrm>
              <a:off x="6376570" y="6030694"/>
              <a:ext cx="658617" cy="207681"/>
            </a:xfrm>
            <a:prstGeom prst="rect">
              <a:avLst/>
            </a:prstGeom>
          </p:spPr>
        </p:pic>
        <p:pic>
          <p:nvPicPr>
            <p:cNvPr id="59" name="Graphic 58">
              <a:extLst>
                <a:ext uri="{FF2B5EF4-FFF2-40B4-BE49-F238E27FC236}">
                  <a16:creationId xmlns:a16="http://schemas.microsoft.com/office/drawing/2014/main" id="{161DD9E4-0BAC-F449-B116-B2C4A8BCDC9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4955288" y="6445307"/>
              <a:ext cx="1023169" cy="253678"/>
            </a:xfrm>
            <a:prstGeom prst="rect">
              <a:avLst/>
            </a:prstGeom>
          </p:spPr>
        </p:pic>
        <p:pic>
          <p:nvPicPr>
            <p:cNvPr id="60" name="Picture 59" descr="Logo&#10;&#10;Description automatically generated">
              <a:extLst>
                <a:ext uri="{FF2B5EF4-FFF2-40B4-BE49-F238E27FC236}">
                  <a16:creationId xmlns:a16="http://schemas.microsoft.com/office/drawing/2014/main" id="{E363A230-791C-4B4D-A53C-6A35FB86B3F1}"/>
                </a:ext>
              </a:extLst>
            </p:cNvPr>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5015060" y="6025369"/>
              <a:ext cx="903623" cy="278282"/>
            </a:xfrm>
            <a:prstGeom prst="rect">
              <a:avLst/>
            </a:prstGeom>
          </p:spPr>
        </p:pic>
        <p:pic>
          <p:nvPicPr>
            <p:cNvPr id="61" name="Picture 60" descr="Text&#10;&#10;Description automatically generated">
              <a:extLst>
                <a:ext uri="{FF2B5EF4-FFF2-40B4-BE49-F238E27FC236}">
                  <a16:creationId xmlns:a16="http://schemas.microsoft.com/office/drawing/2014/main" id="{44A758EF-1025-264E-AAF1-68F584106169}"/>
                </a:ext>
              </a:extLst>
            </p:cNvPr>
            <p:cNvPicPr>
              <a:picLocks noChangeAspect="1"/>
            </p:cNvPicPr>
            <p:nvPr/>
          </p:nvPicPr>
          <p:blipFill>
            <a:blip r:embed="rId50">
              <a:extLst>
                <a:ext uri="{28A0092B-C50C-407E-A947-70E740481C1C}">
                  <a14:useLocalDpi xmlns:a14="http://schemas.microsoft.com/office/drawing/2010/main" val="0"/>
                </a:ext>
              </a:extLst>
            </a:blip>
            <a:stretch>
              <a:fillRect/>
            </a:stretch>
          </p:blipFill>
          <p:spPr>
            <a:xfrm>
              <a:off x="4877472" y="4460163"/>
              <a:ext cx="1178800" cy="303873"/>
            </a:xfrm>
            <a:prstGeom prst="rect">
              <a:avLst/>
            </a:prstGeom>
          </p:spPr>
        </p:pic>
        <p:pic>
          <p:nvPicPr>
            <p:cNvPr id="62" name="Graphic 61">
              <a:extLst>
                <a:ext uri="{FF2B5EF4-FFF2-40B4-BE49-F238E27FC236}">
                  <a16:creationId xmlns:a16="http://schemas.microsoft.com/office/drawing/2014/main" id="{B1DD7D6E-1538-8B42-9C6A-82B712BA46E7}"/>
                </a:ext>
              </a:extLst>
            </p:cNvPr>
            <p:cNvPicPr>
              <a:picLocks noChangeAspect="1"/>
            </p:cNvPicPr>
            <p:nvPr/>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1645044" y="4805333"/>
              <a:ext cx="682897" cy="341448"/>
            </a:xfrm>
            <a:prstGeom prst="rect">
              <a:avLst/>
            </a:prstGeom>
          </p:spPr>
        </p:pic>
        <p:pic>
          <p:nvPicPr>
            <p:cNvPr id="63" name="Picture 62" descr="Logo&#10;&#10;Description automatically generated">
              <a:extLst>
                <a:ext uri="{FF2B5EF4-FFF2-40B4-BE49-F238E27FC236}">
                  <a16:creationId xmlns:a16="http://schemas.microsoft.com/office/drawing/2014/main" id="{9BC223B6-5BE9-6642-8763-D7977269B30E}"/>
                </a:ext>
              </a:extLst>
            </p:cNvPr>
            <p:cNvPicPr>
              <a:picLocks noChangeAspect="1"/>
            </p:cNvPicPr>
            <p:nvPr/>
          </p:nvPicPr>
          <p:blipFill rotWithShape="1">
            <a:blip r:embed="rId53">
              <a:extLst>
                <a:ext uri="{28A0092B-C50C-407E-A947-70E740481C1C}">
                  <a14:useLocalDpi xmlns:a14="http://schemas.microsoft.com/office/drawing/2010/main" val="0"/>
                </a:ext>
              </a:extLst>
            </a:blip>
            <a:srcRect t="11509" b="11455"/>
            <a:stretch/>
          </p:blipFill>
          <p:spPr>
            <a:xfrm>
              <a:off x="1634320" y="5548601"/>
              <a:ext cx="704344" cy="305214"/>
            </a:xfrm>
            <a:prstGeom prst="rect">
              <a:avLst/>
            </a:prstGeom>
          </p:spPr>
        </p:pic>
        <p:pic>
          <p:nvPicPr>
            <p:cNvPr id="64" name="Graphic 63">
              <a:extLst>
                <a:ext uri="{FF2B5EF4-FFF2-40B4-BE49-F238E27FC236}">
                  <a16:creationId xmlns:a16="http://schemas.microsoft.com/office/drawing/2014/main" id="{C3DFE2BB-4F0C-744C-9FAF-64DAEE085868}"/>
                </a:ext>
              </a:extLst>
            </p:cNvPr>
            <p:cNvPicPr>
              <a:picLocks noChangeAspect="1"/>
            </p:cNvPicPr>
            <p:nvPr/>
          </p:nvPicPr>
          <p:blipFill rotWithShape="1">
            <a:blip r:embed="rId54">
              <a:extLst>
                <a:ext uri="{28A0092B-C50C-407E-A947-70E740481C1C}">
                  <a14:useLocalDpi xmlns:a14="http://schemas.microsoft.com/office/drawing/2010/main" val="0"/>
                </a:ext>
                <a:ext uri="{96DAC541-7B7A-43D3-8B79-37D633B846F1}">
                  <asvg:svgBlip xmlns:asvg="http://schemas.microsoft.com/office/drawing/2016/SVG/main" r:embed="rId55"/>
                </a:ext>
              </a:extLst>
            </a:blip>
            <a:srcRect l="7878" t="8620" r="7584" b="10071"/>
            <a:stretch/>
          </p:blipFill>
          <p:spPr>
            <a:xfrm>
              <a:off x="3874497" y="6141392"/>
              <a:ext cx="788902" cy="474646"/>
            </a:xfrm>
            <a:prstGeom prst="rect">
              <a:avLst/>
            </a:prstGeom>
          </p:spPr>
        </p:pic>
        <p:pic>
          <p:nvPicPr>
            <p:cNvPr id="65" name="Picture 64" descr="Logo&#10;&#10;Description automatically generated">
              <a:extLst>
                <a:ext uri="{FF2B5EF4-FFF2-40B4-BE49-F238E27FC236}">
                  <a16:creationId xmlns:a16="http://schemas.microsoft.com/office/drawing/2014/main" id="{76D9F9DD-2E19-B344-B25A-843ED2C73F4C}"/>
                </a:ext>
              </a:extLst>
            </p:cNvPr>
            <p:cNvPicPr>
              <a:picLocks noChangeAspect="1"/>
            </p:cNvPicPr>
            <p:nvPr/>
          </p:nvPicPr>
          <p:blipFill rotWithShape="1">
            <a:blip r:embed="rId56">
              <a:extLst>
                <a:ext uri="{28A0092B-C50C-407E-A947-70E740481C1C}">
                  <a14:useLocalDpi xmlns:a14="http://schemas.microsoft.com/office/drawing/2010/main" val="0"/>
                </a:ext>
              </a:extLst>
            </a:blip>
            <a:srcRect l="22678" t="17879" r="23060" b="17816"/>
            <a:stretch/>
          </p:blipFill>
          <p:spPr>
            <a:xfrm>
              <a:off x="4070488" y="5196798"/>
              <a:ext cx="396920" cy="569007"/>
            </a:xfrm>
            <a:prstGeom prst="rect">
              <a:avLst/>
            </a:prstGeom>
          </p:spPr>
        </p:pic>
        <p:pic>
          <p:nvPicPr>
            <p:cNvPr id="66" name="Picture 65" descr="A picture containing text, clipart, gauge&#10;&#10;Description automatically generated">
              <a:extLst>
                <a:ext uri="{FF2B5EF4-FFF2-40B4-BE49-F238E27FC236}">
                  <a16:creationId xmlns:a16="http://schemas.microsoft.com/office/drawing/2014/main" id="{C91BCD11-6FB2-1E48-B3B9-62A9AF2F6D2F}"/>
                </a:ext>
              </a:extLst>
            </p:cNvPr>
            <p:cNvPicPr>
              <a:picLocks noChangeAspect="1"/>
            </p:cNvPicPr>
            <p:nvPr/>
          </p:nvPicPr>
          <p:blipFill>
            <a:blip r:embed="rId57">
              <a:extLst>
                <a:ext uri="{28A0092B-C50C-407E-A947-70E740481C1C}">
                  <a14:useLocalDpi xmlns:a14="http://schemas.microsoft.com/office/drawing/2010/main" val="0"/>
                </a:ext>
              </a:extLst>
            </a:blip>
            <a:stretch>
              <a:fillRect/>
            </a:stretch>
          </p:blipFill>
          <p:spPr>
            <a:xfrm>
              <a:off x="2920041" y="3984225"/>
              <a:ext cx="559158" cy="395575"/>
            </a:xfrm>
            <a:prstGeom prst="rect">
              <a:avLst/>
            </a:prstGeom>
          </p:spPr>
        </p:pic>
        <p:pic>
          <p:nvPicPr>
            <p:cNvPr id="67" name="Picture 66" descr="A close up of a keyboard&#10;&#10;Description automatically generated with low confidence">
              <a:extLst>
                <a:ext uri="{FF2B5EF4-FFF2-40B4-BE49-F238E27FC236}">
                  <a16:creationId xmlns:a16="http://schemas.microsoft.com/office/drawing/2014/main" id="{A25B07F8-7859-2346-8DBF-4F020DC31D3F}"/>
                </a:ext>
              </a:extLst>
            </p:cNvPr>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6328273" y="4931482"/>
              <a:ext cx="717407" cy="308261"/>
            </a:xfrm>
            <a:prstGeom prst="rect">
              <a:avLst/>
            </a:prstGeom>
          </p:spPr>
        </p:pic>
        <p:pic>
          <p:nvPicPr>
            <p:cNvPr id="68" name="Picture 67" descr="A picture containing text, clipart, gear&#10;&#10;Description automatically generated">
              <a:extLst>
                <a:ext uri="{FF2B5EF4-FFF2-40B4-BE49-F238E27FC236}">
                  <a16:creationId xmlns:a16="http://schemas.microsoft.com/office/drawing/2014/main" id="{E13817C8-8129-4340-8CE1-DA52356B2216}"/>
                </a:ext>
              </a:extLst>
            </p:cNvPr>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5080151" y="5157396"/>
              <a:ext cx="771055" cy="179808"/>
            </a:xfrm>
            <a:prstGeom prst="rect">
              <a:avLst/>
            </a:prstGeom>
          </p:spPr>
        </p:pic>
        <p:pic>
          <p:nvPicPr>
            <p:cNvPr id="69" name="Picture 68" descr="A screenshot of a video game&#10;&#10;Description automatically generated with medium confidence">
              <a:extLst>
                <a:ext uri="{FF2B5EF4-FFF2-40B4-BE49-F238E27FC236}">
                  <a16:creationId xmlns:a16="http://schemas.microsoft.com/office/drawing/2014/main" id="{3EDB5D64-0E49-5545-8C89-4FD4AA130680}"/>
                </a:ext>
              </a:extLst>
            </p:cNvPr>
            <p:cNvPicPr>
              <a:picLocks noChangeAspect="1"/>
            </p:cNvPicPr>
            <p:nvPr/>
          </p:nvPicPr>
          <p:blipFill>
            <a:blip r:embed="rId60">
              <a:biLevel thresh="25000"/>
              <a:extLst>
                <a:ext uri="{28A0092B-C50C-407E-A947-70E740481C1C}">
                  <a14:useLocalDpi xmlns:a14="http://schemas.microsoft.com/office/drawing/2010/main" val="0"/>
                </a:ext>
              </a:extLst>
            </a:blip>
            <a:stretch>
              <a:fillRect/>
            </a:stretch>
          </p:blipFill>
          <p:spPr>
            <a:xfrm>
              <a:off x="6175324" y="4150001"/>
              <a:ext cx="1061108" cy="176851"/>
            </a:xfrm>
            <a:prstGeom prst="rect">
              <a:avLst/>
            </a:prstGeom>
            <a:noFill/>
            <a:ln>
              <a:noFill/>
            </a:ln>
          </p:spPr>
        </p:pic>
        <p:pic>
          <p:nvPicPr>
            <p:cNvPr id="70" name="Picture 69" descr="Logo&#10;&#10;Description automatically generated">
              <a:extLst>
                <a:ext uri="{FF2B5EF4-FFF2-40B4-BE49-F238E27FC236}">
                  <a16:creationId xmlns:a16="http://schemas.microsoft.com/office/drawing/2014/main" id="{37011AE0-35A7-5F41-8EB4-4F7C2FBFE89D}"/>
                </a:ext>
              </a:extLst>
            </p:cNvPr>
            <p:cNvPicPr>
              <a:picLocks noChangeAspect="1"/>
            </p:cNvPicPr>
            <p:nvPr/>
          </p:nvPicPr>
          <p:blipFill>
            <a:blip r:embed="rId61">
              <a:extLst>
                <a:ext uri="{28A0092B-C50C-407E-A947-70E740481C1C}">
                  <a14:useLocalDpi xmlns:a14="http://schemas.microsoft.com/office/drawing/2010/main" val="0"/>
                </a:ext>
              </a:extLst>
            </a:blip>
            <a:stretch>
              <a:fillRect/>
            </a:stretch>
          </p:blipFill>
          <p:spPr>
            <a:xfrm>
              <a:off x="3788536" y="4017622"/>
              <a:ext cx="960825" cy="328780"/>
            </a:xfrm>
            <a:prstGeom prst="rect">
              <a:avLst/>
            </a:prstGeom>
          </p:spPr>
        </p:pic>
        <p:pic>
          <p:nvPicPr>
            <p:cNvPr id="71" name="Graphic 70">
              <a:extLst>
                <a:ext uri="{FF2B5EF4-FFF2-40B4-BE49-F238E27FC236}">
                  <a16:creationId xmlns:a16="http://schemas.microsoft.com/office/drawing/2014/main" id="{DFA8B198-7EB0-3747-A68E-DC1AFF008700}"/>
                </a:ext>
              </a:extLst>
            </p:cNvPr>
            <p:cNvPicPr>
              <a:picLocks noChangeAspect="1"/>
            </p:cNvPicPr>
            <p:nvPr/>
          </p:nvPicPr>
          <p:blipFill>
            <a:blip r:embed="rId62">
              <a:extLst>
                <a:ext uri="{28A0092B-C50C-407E-A947-70E740481C1C}">
                  <a14:useLocalDpi xmlns:a14="http://schemas.microsoft.com/office/drawing/2010/main" val="0"/>
                </a:ext>
                <a:ext uri="{96DAC541-7B7A-43D3-8B79-37D633B846F1}">
                  <asvg:svgBlip xmlns:asvg="http://schemas.microsoft.com/office/drawing/2016/SVG/main" r:embed="rId63"/>
                </a:ext>
              </a:extLst>
            </a:blip>
            <a:stretch>
              <a:fillRect/>
            </a:stretch>
          </p:blipFill>
          <p:spPr>
            <a:xfrm>
              <a:off x="1455037" y="4411704"/>
              <a:ext cx="1062912" cy="252828"/>
            </a:xfrm>
            <a:prstGeom prst="rect">
              <a:avLst/>
            </a:prstGeom>
          </p:spPr>
        </p:pic>
        <p:pic>
          <p:nvPicPr>
            <p:cNvPr id="72" name="Picture 71" descr="Icon&#10;&#10;Description automatically generated">
              <a:extLst>
                <a:ext uri="{FF2B5EF4-FFF2-40B4-BE49-F238E27FC236}">
                  <a16:creationId xmlns:a16="http://schemas.microsoft.com/office/drawing/2014/main" id="{5B60CEF6-F13A-B04F-B032-E71EC821435B}"/>
                </a:ext>
              </a:extLst>
            </p:cNvPr>
            <p:cNvPicPr>
              <a:picLocks noChangeAspect="1"/>
            </p:cNvPicPr>
            <p:nvPr/>
          </p:nvPicPr>
          <p:blipFill>
            <a:blip r:embed="rId64">
              <a:extLst>
                <a:ext uri="{28A0092B-C50C-407E-A947-70E740481C1C}">
                  <a14:useLocalDpi xmlns:a14="http://schemas.microsoft.com/office/drawing/2010/main" val="0"/>
                </a:ext>
              </a:extLst>
            </a:blip>
            <a:stretch>
              <a:fillRect/>
            </a:stretch>
          </p:blipFill>
          <p:spPr>
            <a:xfrm>
              <a:off x="6174422" y="5371871"/>
              <a:ext cx="1062912" cy="189954"/>
            </a:xfrm>
            <a:prstGeom prst="rect">
              <a:avLst/>
            </a:prstGeom>
          </p:spPr>
        </p:pic>
        <p:pic>
          <p:nvPicPr>
            <p:cNvPr id="73" name="Picture 72" descr="Logo&#10;&#10;Description automatically generated with medium confidence">
              <a:extLst>
                <a:ext uri="{FF2B5EF4-FFF2-40B4-BE49-F238E27FC236}">
                  <a16:creationId xmlns:a16="http://schemas.microsoft.com/office/drawing/2014/main" id="{479BEB4E-04D0-4142-9BE2-3853040A3A50}"/>
                </a:ext>
              </a:extLst>
            </p:cNvPr>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7452659" y="5934153"/>
              <a:ext cx="762840" cy="253033"/>
            </a:xfrm>
            <a:prstGeom prst="rect">
              <a:avLst/>
            </a:prstGeom>
          </p:spPr>
        </p:pic>
        <p:pic>
          <p:nvPicPr>
            <p:cNvPr id="74" name="Picture 73" descr="A picture containing text, clipart&#10;&#10;Description automatically generated">
              <a:extLst>
                <a:ext uri="{FF2B5EF4-FFF2-40B4-BE49-F238E27FC236}">
                  <a16:creationId xmlns:a16="http://schemas.microsoft.com/office/drawing/2014/main" id="{FD1626B5-5C06-7643-929A-740D14D60C3D}"/>
                </a:ext>
              </a:extLst>
            </p:cNvPr>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7405236" y="4625247"/>
              <a:ext cx="857686" cy="175648"/>
            </a:xfrm>
            <a:prstGeom prst="rect">
              <a:avLst/>
            </a:prstGeom>
          </p:spPr>
        </p:pic>
        <p:pic>
          <p:nvPicPr>
            <p:cNvPr id="75" name="Picture 74" descr="Icon&#10;&#10;Description automatically generated">
              <a:extLst>
                <a:ext uri="{FF2B5EF4-FFF2-40B4-BE49-F238E27FC236}">
                  <a16:creationId xmlns:a16="http://schemas.microsoft.com/office/drawing/2014/main" id="{E79AE9D1-63A8-3E41-8C2F-BDB2EB3E201D}"/>
                </a:ext>
              </a:extLst>
            </p:cNvPr>
            <p:cNvPicPr>
              <a:picLocks noChangeAspect="1"/>
            </p:cNvPicPr>
            <p:nvPr/>
          </p:nvPicPr>
          <p:blipFill>
            <a:blip r:embed="rId67">
              <a:extLst>
                <a:ext uri="{28A0092B-C50C-407E-A947-70E740481C1C}">
                  <a14:useLocalDpi xmlns:a14="http://schemas.microsoft.com/office/drawing/2010/main" val="0"/>
                </a:ext>
              </a:extLst>
            </a:blip>
            <a:stretch>
              <a:fillRect/>
            </a:stretch>
          </p:blipFill>
          <p:spPr>
            <a:xfrm>
              <a:off x="337604" y="5312016"/>
              <a:ext cx="809977" cy="338570"/>
            </a:xfrm>
            <a:prstGeom prst="rect">
              <a:avLst/>
            </a:prstGeom>
          </p:spPr>
        </p:pic>
        <p:pic>
          <p:nvPicPr>
            <p:cNvPr id="76" name="Picture 75" descr="Text, logo&#10;&#10;Description automatically generated">
              <a:extLst>
                <a:ext uri="{FF2B5EF4-FFF2-40B4-BE49-F238E27FC236}">
                  <a16:creationId xmlns:a16="http://schemas.microsoft.com/office/drawing/2014/main" id="{DEC28286-670C-2F46-BA81-F9416941B4AF}"/>
                </a:ext>
              </a:extLst>
            </p:cNvPr>
            <p:cNvPicPr>
              <a:picLocks noChangeAspect="1"/>
            </p:cNvPicPr>
            <p:nvPr/>
          </p:nvPicPr>
          <p:blipFill>
            <a:blip r:embed="rId68">
              <a:extLst>
                <a:ext uri="{28A0092B-C50C-407E-A947-70E740481C1C}">
                  <a14:useLocalDpi xmlns:a14="http://schemas.microsoft.com/office/drawing/2010/main" val="0"/>
                </a:ext>
              </a:extLst>
            </a:blip>
            <a:stretch>
              <a:fillRect/>
            </a:stretch>
          </p:blipFill>
          <p:spPr>
            <a:xfrm>
              <a:off x="7361672" y="5505352"/>
              <a:ext cx="944815" cy="161346"/>
            </a:xfrm>
            <a:prstGeom prst="rect">
              <a:avLst/>
            </a:prstGeom>
          </p:spPr>
        </p:pic>
        <p:pic>
          <p:nvPicPr>
            <p:cNvPr id="77" name="Picture 76" descr="Graphical user interface, text&#10;&#10;Description automatically generated">
              <a:extLst>
                <a:ext uri="{FF2B5EF4-FFF2-40B4-BE49-F238E27FC236}">
                  <a16:creationId xmlns:a16="http://schemas.microsoft.com/office/drawing/2014/main" id="{53DDB877-0ECD-6E45-B58A-AA44811F7551}"/>
                </a:ext>
              </a:extLst>
            </p:cNvPr>
            <p:cNvPicPr>
              <a:picLocks noChangeAspect="1"/>
            </p:cNvPicPr>
            <p:nvPr/>
          </p:nvPicPr>
          <p:blipFill rotWithShape="1">
            <a:blip r:embed="rId69">
              <a:extLst>
                <a:ext uri="{28A0092B-C50C-407E-A947-70E740481C1C}">
                  <a14:useLocalDpi xmlns:a14="http://schemas.microsoft.com/office/drawing/2010/main" val="0"/>
                </a:ext>
              </a:extLst>
            </a:blip>
            <a:srcRect t="41390" b="36561"/>
            <a:stretch/>
          </p:blipFill>
          <p:spPr>
            <a:xfrm>
              <a:off x="8667012" y="5814359"/>
              <a:ext cx="1216708" cy="268264"/>
            </a:xfrm>
            <a:prstGeom prst="rect">
              <a:avLst/>
            </a:prstGeom>
          </p:spPr>
        </p:pic>
        <p:pic>
          <p:nvPicPr>
            <p:cNvPr id="78" name="Picture 77" descr="Logo&#10;&#10;Description automatically generated">
              <a:extLst>
                <a:ext uri="{FF2B5EF4-FFF2-40B4-BE49-F238E27FC236}">
                  <a16:creationId xmlns:a16="http://schemas.microsoft.com/office/drawing/2014/main" id="{F2B5E614-912E-7342-A10C-331A8E967FBC}"/>
                </a:ext>
              </a:extLst>
            </p:cNvPr>
            <p:cNvPicPr>
              <a:picLocks noChangeAspect="1"/>
            </p:cNvPicPr>
            <p:nvPr/>
          </p:nvPicPr>
          <p:blipFill rotWithShape="1">
            <a:blip r:embed="rId70">
              <a:extLst>
                <a:ext uri="{28A0092B-C50C-407E-A947-70E740481C1C}">
                  <a14:useLocalDpi xmlns:a14="http://schemas.microsoft.com/office/drawing/2010/main" val="0"/>
                </a:ext>
              </a:extLst>
            </a:blip>
            <a:srcRect l="12115" t="9766" r="13535" b="8324"/>
            <a:stretch/>
          </p:blipFill>
          <p:spPr>
            <a:xfrm>
              <a:off x="9078860" y="6169426"/>
              <a:ext cx="435095" cy="479330"/>
            </a:xfrm>
            <a:prstGeom prst="rect">
              <a:avLst/>
            </a:prstGeom>
          </p:spPr>
        </p:pic>
        <p:pic>
          <p:nvPicPr>
            <p:cNvPr id="79" name="Picture 78" descr="A picture containing text, sign, clipart&#10;&#10;Description automatically generated">
              <a:extLst>
                <a:ext uri="{FF2B5EF4-FFF2-40B4-BE49-F238E27FC236}">
                  <a16:creationId xmlns:a16="http://schemas.microsoft.com/office/drawing/2014/main" id="{A91FDAA6-6DF5-9F40-B133-AD0B90AD93DD}"/>
                </a:ext>
              </a:extLst>
            </p:cNvPr>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10108429" y="5767271"/>
              <a:ext cx="751573" cy="324680"/>
            </a:xfrm>
            <a:prstGeom prst="rect">
              <a:avLst/>
            </a:prstGeom>
          </p:spPr>
        </p:pic>
        <p:pic>
          <p:nvPicPr>
            <p:cNvPr id="80" name="Graphic 79">
              <a:extLst>
                <a:ext uri="{FF2B5EF4-FFF2-40B4-BE49-F238E27FC236}">
                  <a16:creationId xmlns:a16="http://schemas.microsoft.com/office/drawing/2014/main" id="{9C09CBF0-87A3-1944-BB54-08B14232D27B}"/>
                </a:ext>
              </a:extLst>
            </p:cNvPr>
            <p:cNvPicPr>
              <a:picLocks noChangeAspect="1"/>
            </p:cNvPicPr>
            <p:nvPr/>
          </p:nvPicPr>
          <p:blipFill>
            <a:blip r:embed="rId72">
              <a:extLst>
                <a:ext uri="{28A0092B-C50C-407E-A947-70E740481C1C}">
                  <a14:useLocalDpi xmlns:a14="http://schemas.microsoft.com/office/drawing/2010/main" val="0"/>
                </a:ext>
                <a:ext uri="{96DAC541-7B7A-43D3-8B79-37D633B846F1}">
                  <asvg:svgBlip xmlns:asvg="http://schemas.microsoft.com/office/drawing/2016/SVG/main" r:embed="rId73"/>
                </a:ext>
              </a:extLst>
            </a:blip>
            <a:stretch>
              <a:fillRect/>
            </a:stretch>
          </p:blipFill>
          <p:spPr>
            <a:xfrm>
              <a:off x="8878867" y="5501040"/>
              <a:ext cx="792998" cy="250099"/>
            </a:xfrm>
            <a:prstGeom prst="rect">
              <a:avLst/>
            </a:prstGeom>
          </p:spPr>
        </p:pic>
        <p:pic>
          <p:nvPicPr>
            <p:cNvPr id="81" name="Picture 80" descr="Logo&#10;&#10;Description automatically generated">
              <a:extLst>
                <a:ext uri="{FF2B5EF4-FFF2-40B4-BE49-F238E27FC236}">
                  <a16:creationId xmlns:a16="http://schemas.microsoft.com/office/drawing/2014/main" id="{80248941-FD10-874C-A5B5-4A1DC1FAA52F}"/>
                </a:ext>
              </a:extLst>
            </p:cNvPr>
            <p:cNvPicPr>
              <a:picLocks noChangeAspect="1"/>
            </p:cNvPicPr>
            <p:nvPr/>
          </p:nvPicPr>
          <p:blipFill rotWithShape="1">
            <a:blip r:embed="rId74">
              <a:extLst>
                <a:ext uri="{28A0092B-C50C-407E-A947-70E740481C1C}">
                  <a14:useLocalDpi xmlns:a14="http://schemas.microsoft.com/office/drawing/2010/main" val="0"/>
                </a:ext>
              </a:extLst>
            </a:blip>
            <a:srcRect b="21522"/>
            <a:stretch/>
          </p:blipFill>
          <p:spPr>
            <a:xfrm>
              <a:off x="8785352" y="4457311"/>
              <a:ext cx="980028" cy="309578"/>
            </a:xfrm>
            <a:prstGeom prst="rect">
              <a:avLst/>
            </a:prstGeom>
          </p:spPr>
        </p:pic>
        <p:pic>
          <p:nvPicPr>
            <p:cNvPr id="82" name="Picture 81" descr="Shape&#10;&#10;Description automatically generated with medium confidence">
              <a:extLst>
                <a:ext uri="{FF2B5EF4-FFF2-40B4-BE49-F238E27FC236}">
                  <a16:creationId xmlns:a16="http://schemas.microsoft.com/office/drawing/2014/main" id="{71BA8A75-FBA6-D94B-A17C-0FB1A133C690}"/>
                </a:ext>
              </a:extLst>
            </p:cNvPr>
            <p:cNvPicPr>
              <a:picLocks noChangeAspect="1"/>
            </p:cNvPicPr>
            <p:nvPr/>
          </p:nvPicPr>
          <p:blipFill>
            <a:blip r:embed="rId75">
              <a:extLst>
                <a:ext uri="{28A0092B-C50C-407E-A947-70E740481C1C}">
                  <a14:useLocalDpi xmlns:a14="http://schemas.microsoft.com/office/drawing/2010/main" val="0"/>
                </a:ext>
              </a:extLst>
            </a:blip>
            <a:stretch>
              <a:fillRect/>
            </a:stretch>
          </p:blipFill>
          <p:spPr>
            <a:xfrm>
              <a:off x="11087761" y="4070428"/>
              <a:ext cx="990528" cy="173986"/>
            </a:xfrm>
            <a:prstGeom prst="rect">
              <a:avLst/>
            </a:prstGeom>
          </p:spPr>
        </p:pic>
        <p:pic>
          <p:nvPicPr>
            <p:cNvPr id="83" name="Picture 82" descr="Logo&#10;&#10;Description automatically generated">
              <a:extLst>
                <a:ext uri="{FF2B5EF4-FFF2-40B4-BE49-F238E27FC236}">
                  <a16:creationId xmlns:a16="http://schemas.microsoft.com/office/drawing/2014/main" id="{FD4D3ECA-D963-1949-9BB6-340CDECA21C2}"/>
                </a:ext>
              </a:extLst>
            </p:cNvPr>
            <p:cNvPicPr>
              <a:picLocks noChangeAspect="1"/>
            </p:cNvPicPr>
            <p:nvPr/>
          </p:nvPicPr>
          <p:blipFill rotWithShape="1">
            <a:blip r:embed="rId76">
              <a:extLst>
                <a:ext uri="{28A0092B-C50C-407E-A947-70E740481C1C}">
                  <a14:useLocalDpi xmlns:a14="http://schemas.microsoft.com/office/drawing/2010/main" val="0"/>
                </a:ext>
              </a:extLst>
            </a:blip>
            <a:srcRect b="17395"/>
            <a:stretch/>
          </p:blipFill>
          <p:spPr>
            <a:xfrm>
              <a:off x="10229093" y="4818258"/>
              <a:ext cx="510244" cy="421485"/>
            </a:xfrm>
            <a:prstGeom prst="rect">
              <a:avLst/>
            </a:prstGeom>
          </p:spPr>
        </p:pic>
        <p:pic>
          <p:nvPicPr>
            <p:cNvPr id="84" name="Picture 83" descr="Logo&#10;&#10;Description automatically generated">
              <a:extLst>
                <a:ext uri="{FF2B5EF4-FFF2-40B4-BE49-F238E27FC236}">
                  <a16:creationId xmlns:a16="http://schemas.microsoft.com/office/drawing/2014/main" id="{051F196B-BFB8-2D4C-A846-5A8A6BD9F697}"/>
                </a:ext>
              </a:extLst>
            </p:cNvPr>
            <p:cNvPicPr>
              <a:picLocks noChangeAspect="1"/>
            </p:cNvPicPr>
            <p:nvPr/>
          </p:nvPicPr>
          <p:blipFill>
            <a:blip r:embed="rId77">
              <a:extLst>
                <a:ext uri="{28A0092B-C50C-407E-A947-70E740481C1C}">
                  <a14:useLocalDpi xmlns:a14="http://schemas.microsoft.com/office/drawing/2010/main" val="0"/>
                </a:ext>
              </a:extLst>
            </a:blip>
            <a:stretch>
              <a:fillRect/>
            </a:stretch>
          </p:blipFill>
          <p:spPr>
            <a:xfrm>
              <a:off x="11076662" y="4910842"/>
              <a:ext cx="1012726" cy="362293"/>
            </a:xfrm>
            <a:prstGeom prst="rect">
              <a:avLst/>
            </a:prstGeom>
          </p:spPr>
        </p:pic>
        <p:pic>
          <p:nvPicPr>
            <p:cNvPr id="85" name="Graphic 84">
              <a:extLst>
                <a:ext uri="{FF2B5EF4-FFF2-40B4-BE49-F238E27FC236}">
                  <a16:creationId xmlns:a16="http://schemas.microsoft.com/office/drawing/2014/main" id="{4F30C690-1C2A-9E47-B7B9-0A2527AF6ED5}"/>
                </a:ext>
              </a:extLst>
            </p:cNvPr>
            <p:cNvPicPr>
              <a:picLocks noChangeAspect="1"/>
            </p:cNvPicPr>
            <p:nvPr/>
          </p:nvPicPr>
          <p:blipFill>
            <a:blip r:embed="rId78">
              <a:extLst>
                <a:ext uri="{28A0092B-C50C-407E-A947-70E740481C1C}">
                  <a14:useLocalDpi xmlns:a14="http://schemas.microsoft.com/office/drawing/2010/main" val="0"/>
                </a:ext>
                <a:ext uri="{96DAC541-7B7A-43D3-8B79-37D633B846F1}">
                  <asvg:svgBlip xmlns:asvg="http://schemas.microsoft.com/office/drawing/2016/SVG/main" r:embed="rId79"/>
                </a:ext>
              </a:extLst>
            </a:blip>
            <a:stretch>
              <a:fillRect/>
            </a:stretch>
          </p:blipFill>
          <p:spPr>
            <a:xfrm>
              <a:off x="11207239" y="4538118"/>
              <a:ext cx="751573" cy="187893"/>
            </a:xfrm>
            <a:prstGeom prst="rect">
              <a:avLst/>
            </a:prstGeom>
          </p:spPr>
        </p:pic>
        <p:pic>
          <p:nvPicPr>
            <p:cNvPr id="86" name="Picture 85" descr="Text&#10;&#10;Description automatically generated">
              <a:extLst>
                <a:ext uri="{FF2B5EF4-FFF2-40B4-BE49-F238E27FC236}">
                  <a16:creationId xmlns:a16="http://schemas.microsoft.com/office/drawing/2014/main" id="{25771227-9E54-5D4B-8EB7-3E791FCC6271}"/>
                </a:ext>
              </a:extLst>
            </p:cNvPr>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11034715" y="5883969"/>
              <a:ext cx="1095674" cy="219529"/>
            </a:xfrm>
            <a:prstGeom prst="rect">
              <a:avLst/>
            </a:prstGeom>
          </p:spPr>
        </p:pic>
        <p:pic>
          <p:nvPicPr>
            <p:cNvPr id="87" name="Graphic 86">
              <a:extLst>
                <a:ext uri="{FF2B5EF4-FFF2-40B4-BE49-F238E27FC236}">
                  <a16:creationId xmlns:a16="http://schemas.microsoft.com/office/drawing/2014/main" id="{DEDBCC1C-65F2-C145-A892-AD36469929FB}"/>
                </a:ext>
              </a:extLst>
            </p:cNvPr>
            <p:cNvPicPr>
              <a:picLocks noChangeAspect="1"/>
            </p:cNvPicPr>
            <p:nvPr/>
          </p:nvPicPr>
          <p:blipFill>
            <a:blip r:embed="rId81">
              <a:extLst>
                <a:ext uri="{28A0092B-C50C-407E-A947-70E740481C1C}">
                  <a14:useLocalDpi xmlns:a14="http://schemas.microsoft.com/office/drawing/2010/main" val="0"/>
                </a:ext>
                <a:ext uri="{96DAC541-7B7A-43D3-8B79-37D633B846F1}">
                  <asvg:svgBlip xmlns:asvg="http://schemas.microsoft.com/office/drawing/2016/SVG/main" r:embed="rId82"/>
                </a:ext>
              </a:extLst>
            </a:blip>
            <a:stretch>
              <a:fillRect/>
            </a:stretch>
          </p:blipFill>
          <p:spPr>
            <a:xfrm>
              <a:off x="11258608" y="5455378"/>
              <a:ext cx="767558" cy="291888"/>
            </a:xfrm>
            <a:prstGeom prst="rect">
              <a:avLst/>
            </a:prstGeom>
          </p:spPr>
        </p:pic>
        <p:pic>
          <p:nvPicPr>
            <p:cNvPr id="88" name="Picture 87" descr="Logo, company name&#10;&#10;Description automatically generated">
              <a:extLst>
                <a:ext uri="{FF2B5EF4-FFF2-40B4-BE49-F238E27FC236}">
                  <a16:creationId xmlns:a16="http://schemas.microsoft.com/office/drawing/2014/main" id="{09047DEE-1181-6B46-97ED-A7E74E96AA0C}"/>
                </a:ext>
              </a:extLst>
            </p:cNvPr>
            <p:cNvPicPr>
              <a:picLocks noChangeAspect="1"/>
            </p:cNvPicPr>
            <p:nvPr/>
          </p:nvPicPr>
          <p:blipFill rotWithShape="1">
            <a:blip r:embed="rId83">
              <a:extLst>
                <a:ext uri="{28A0092B-C50C-407E-A947-70E740481C1C}">
                  <a14:useLocalDpi xmlns:a14="http://schemas.microsoft.com/office/drawing/2010/main" val="0"/>
                </a:ext>
              </a:extLst>
            </a:blip>
            <a:srcRect l="21373" t="27442" r="21538" b="29399"/>
            <a:stretch/>
          </p:blipFill>
          <p:spPr>
            <a:xfrm>
              <a:off x="10100400" y="4001524"/>
              <a:ext cx="789902" cy="360977"/>
            </a:xfrm>
            <a:prstGeom prst="rect">
              <a:avLst/>
            </a:prstGeom>
          </p:spPr>
        </p:pic>
        <p:pic>
          <p:nvPicPr>
            <p:cNvPr id="89" name="Picture 88">
              <a:extLst>
                <a:ext uri="{FF2B5EF4-FFF2-40B4-BE49-F238E27FC236}">
                  <a16:creationId xmlns:a16="http://schemas.microsoft.com/office/drawing/2014/main" id="{E870E24F-DA28-1C48-8197-A01ED3CCBFD9}"/>
                </a:ext>
              </a:extLst>
            </p:cNvPr>
            <p:cNvPicPr>
              <a:picLocks noChangeAspect="1"/>
            </p:cNvPicPr>
            <p:nvPr/>
          </p:nvPicPr>
          <p:blipFill>
            <a:blip r:embed="rId84">
              <a:extLst>
                <a:ext uri="{28A0092B-C50C-407E-A947-70E740481C1C}">
                  <a14:useLocalDpi xmlns:a14="http://schemas.microsoft.com/office/drawing/2010/main" val="0"/>
                </a:ext>
              </a:extLst>
            </a:blip>
            <a:stretch>
              <a:fillRect/>
            </a:stretch>
          </p:blipFill>
          <p:spPr>
            <a:xfrm>
              <a:off x="8832810" y="4900605"/>
              <a:ext cx="885111" cy="256791"/>
            </a:xfrm>
            <a:prstGeom prst="rect">
              <a:avLst/>
            </a:prstGeom>
          </p:spPr>
        </p:pic>
        <p:pic>
          <p:nvPicPr>
            <p:cNvPr id="90" name="Picture 89" descr="Logo, company name&#10;&#10;Description automatically generated">
              <a:extLst>
                <a:ext uri="{FF2B5EF4-FFF2-40B4-BE49-F238E27FC236}">
                  <a16:creationId xmlns:a16="http://schemas.microsoft.com/office/drawing/2014/main" id="{2222710C-78E7-A54C-9754-DEA7E1C9B913}"/>
                </a:ext>
              </a:extLst>
            </p:cNvPr>
            <p:cNvPicPr>
              <a:picLocks noChangeAspect="1"/>
            </p:cNvPicPr>
            <p:nvPr/>
          </p:nvPicPr>
          <p:blipFill rotWithShape="1">
            <a:blip r:embed="rId85">
              <a:extLst>
                <a:ext uri="{28A0092B-C50C-407E-A947-70E740481C1C}">
                  <a14:useLocalDpi xmlns:a14="http://schemas.microsoft.com/office/drawing/2010/main" val="0"/>
                </a:ext>
              </a:extLst>
            </a:blip>
            <a:srcRect l="15529" t="18567" r="14488" b="17833"/>
            <a:stretch/>
          </p:blipFill>
          <p:spPr>
            <a:xfrm>
              <a:off x="10168565" y="5272053"/>
              <a:ext cx="631300" cy="457975"/>
            </a:xfrm>
            <a:prstGeom prst="rect">
              <a:avLst/>
            </a:prstGeom>
          </p:spPr>
        </p:pic>
        <p:pic>
          <p:nvPicPr>
            <p:cNvPr id="91" name="Graphic 90">
              <a:extLst>
                <a:ext uri="{FF2B5EF4-FFF2-40B4-BE49-F238E27FC236}">
                  <a16:creationId xmlns:a16="http://schemas.microsoft.com/office/drawing/2014/main" id="{7CB4366D-123E-2544-963D-78E4ED7D7203}"/>
                </a:ext>
              </a:extLst>
            </p:cNvPr>
            <p:cNvPicPr>
              <a:picLocks noChangeAspect="1"/>
            </p:cNvPicPr>
            <p:nvPr/>
          </p:nvPicPr>
          <p:blipFill rotWithShape="1">
            <a:blip r:embed="rId86">
              <a:extLst>
                <a:ext uri="{28A0092B-C50C-407E-A947-70E740481C1C}">
                  <a14:useLocalDpi xmlns:a14="http://schemas.microsoft.com/office/drawing/2010/main" val="0"/>
                </a:ext>
                <a:ext uri="{96DAC541-7B7A-43D3-8B79-37D633B846F1}">
                  <asvg:svgBlip xmlns:asvg="http://schemas.microsoft.com/office/drawing/2016/SVG/main" r:embed="rId87"/>
                </a:ext>
              </a:extLst>
            </a:blip>
            <a:srcRect l="14011" t="15044" r="17342" b="12552"/>
            <a:stretch/>
          </p:blipFill>
          <p:spPr>
            <a:xfrm>
              <a:off x="10234457" y="6115291"/>
              <a:ext cx="499515" cy="526849"/>
            </a:xfrm>
            <a:prstGeom prst="rect">
              <a:avLst/>
            </a:prstGeom>
          </p:spPr>
        </p:pic>
        <p:pic>
          <p:nvPicPr>
            <p:cNvPr id="92" name="Graphic 91">
              <a:extLst>
                <a:ext uri="{FF2B5EF4-FFF2-40B4-BE49-F238E27FC236}">
                  <a16:creationId xmlns:a16="http://schemas.microsoft.com/office/drawing/2014/main" id="{FFADC681-0714-9E48-8884-7D91E05650B5}"/>
                </a:ext>
              </a:extLst>
            </p:cNvPr>
            <p:cNvPicPr>
              <a:picLocks noChangeAspect="1"/>
            </p:cNvPicPr>
            <p:nvPr/>
          </p:nvPicPr>
          <p:blipFill>
            <a:blip r:embed="rId88">
              <a:alphaModFix/>
              <a:extLst>
                <a:ext uri="{28A0092B-C50C-407E-A947-70E740481C1C}">
                  <a14:useLocalDpi xmlns:a14="http://schemas.microsoft.com/office/drawing/2010/main" val="0"/>
                </a:ext>
                <a:ext uri="{96DAC541-7B7A-43D3-8B79-37D633B846F1}">
                  <asvg:svgBlip xmlns:asvg="http://schemas.microsoft.com/office/drawing/2016/SVG/main" r:embed="rId89"/>
                </a:ext>
              </a:extLst>
            </a:blip>
            <a:stretch>
              <a:fillRect/>
            </a:stretch>
          </p:blipFill>
          <p:spPr>
            <a:xfrm>
              <a:off x="11072838" y="6250133"/>
              <a:ext cx="939098" cy="270460"/>
            </a:xfrm>
            <a:prstGeom prst="rect">
              <a:avLst/>
            </a:prstGeom>
          </p:spPr>
        </p:pic>
        <p:pic>
          <p:nvPicPr>
            <p:cNvPr id="93" name="Picture 92" descr="Shape&#10;&#10;Description automatically generated with medium confidence">
              <a:extLst>
                <a:ext uri="{FF2B5EF4-FFF2-40B4-BE49-F238E27FC236}">
                  <a16:creationId xmlns:a16="http://schemas.microsoft.com/office/drawing/2014/main" id="{7DA38F2D-CF8D-4F40-9524-A5C012A6EECE}"/>
                </a:ext>
              </a:extLst>
            </p:cNvPr>
            <p:cNvPicPr>
              <a:picLocks noChangeAspect="1"/>
            </p:cNvPicPr>
            <p:nvPr/>
          </p:nvPicPr>
          <p:blipFill>
            <a:blip r:embed="rId90">
              <a:extLst>
                <a:ext uri="{28A0092B-C50C-407E-A947-70E740481C1C}">
                  <a14:useLocalDpi xmlns:a14="http://schemas.microsoft.com/office/drawing/2010/main" val="0"/>
                </a:ext>
              </a:extLst>
            </a:blip>
            <a:stretch>
              <a:fillRect/>
            </a:stretch>
          </p:blipFill>
          <p:spPr>
            <a:xfrm>
              <a:off x="9933715" y="4520160"/>
              <a:ext cx="1101000" cy="183878"/>
            </a:xfrm>
            <a:prstGeom prst="rect">
              <a:avLst/>
            </a:prstGeom>
          </p:spPr>
        </p:pic>
        <p:pic>
          <p:nvPicPr>
            <p:cNvPr id="94" name="Picture 93" descr="Shape&#10;&#10;Description automatically generated with medium confidence">
              <a:extLst>
                <a:ext uri="{FF2B5EF4-FFF2-40B4-BE49-F238E27FC236}">
                  <a16:creationId xmlns:a16="http://schemas.microsoft.com/office/drawing/2014/main" id="{D38A2793-7774-0444-9CE3-674510D3B4A2}"/>
                </a:ext>
              </a:extLst>
            </p:cNvPr>
            <p:cNvPicPr>
              <a:picLocks noChangeAspect="1"/>
            </p:cNvPicPr>
            <p:nvPr/>
          </p:nvPicPr>
          <p:blipFill>
            <a:blip r:embed="rId91">
              <a:extLst>
                <a:ext uri="{28A0092B-C50C-407E-A947-70E740481C1C}">
                  <a14:useLocalDpi xmlns:a14="http://schemas.microsoft.com/office/drawing/2010/main" val="0"/>
                </a:ext>
              </a:extLst>
            </a:blip>
            <a:stretch>
              <a:fillRect/>
            </a:stretch>
          </p:blipFill>
          <p:spPr>
            <a:xfrm>
              <a:off x="8806041" y="5193715"/>
              <a:ext cx="938649" cy="247178"/>
            </a:xfrm>
            <a:prstGeom prst="rect">
              <a:avLst/>
            </a:prstGeom>
          </p:spPr>
        </p:pic>
        <p:pic>
          <p:nvPicPr>
            <p:cNvPr id="95" name="Picture 94" descr="Shape&#10;&#10;Description automatically generated with medium confidence">
              <a:extLst>
                <a:ext uri="{FF2B5EF4-FFF2-40B4-BE49-F238E27FC236}">
                  <a16:creationId xmlns:a16="http://schemas.microsoft.com/office/drawing/2014/main" id="{F9C0E20B-99C0-F84F-8888-D9DC8696F3C0}"/>
                </a:ext>
              </a:extLst>
            </p:cNvPr>
            <p:cNvPicPr>
              <a:picLocks noChangeAspect="1"/>
            </p:cNvPicPr>
            <p:nvPr/>
          </p:nvPicPr>
          <p:blipFill>
            <a:blip r:embed="rId92">
              <a:extLst>
                <a:ext uri="{28A0092B-C50C-407E-A947-70E740481C1C}">
                  <a14:useLocalDpi xmlns:a14="http://schemas.microsoft.com/office/drawing/2010/main" val="0"/>
                </a:ext>
              </a:extLst>
            </a:blip>
            <a:stretch>
              <a:fillRect/>
            </a:stretch>
          </p:blipFill>
          <p:spPr>
            <a:xfrm>
              <a:off x="8667012" y="4095458"/>
              <a:ext cx="1216709" cy="173109"/>
            </a:xfrm>
            <a:prstGeom prst="rect">
              <a:avLst/>
            </a:prstGeom>
          </p:spPr>
        </p:pic>
        <p:sp>
          <p:nvSpPr>
            <p:cNvPr id="166" name="TextBox 165">
              <a:extLst>
                <a:ext uri="{FF2B5EF4-FFF2-40B4-BE49-F238E27FC236}">
                  <a16:creationId xmlns:a16="http://schemas.microsoft.com/office/drawing/2014/main" id="{73962405-F7F7-4443-A55A-7FF3C4E49BD6}"/>
                </a:ext>
              </a:extLst>
            </p:cNvPr>
            <p:cNvSpPr txBox="1"/>
            <p:nvPr/>
          </p:nvSpPr>
          <p:spPr>
            <a:xfrm>
              <a:off x="290008" y="3395559"/>
              <a:ext cx="147968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FFEA24"/>
                  </a:solidFill>
                  <a:latin typeface="+mj-lt"/>
                </a:rPr>
                <a:t>Companies</a:t>
              </a:r>
              <a:endParaRPr kumimoji="0" lang="en-US" sz="1600" b="0" i="0" u="none" strike="noStrike" kern="1200" cap="none" spc="0" normalizeH="0" baseline="0" noProof="0" dirty="0">
                <a:ln>
                  <a:noFill/>
                </a:ln>
                <a:solidFill>
                  <a:srgbClr val="FFEA24"/>
                </a:solidFill>
                <a:effectLst/>
                <a:uLnTx/>
                <a:uFillTx/>
                <a:latin typeface="+mj-lt"/>
              </a:endParaRPr>
            </a:p>
          </p:txBody>
        </p:sp>
      </p:grpSp>
      <p:grpSp>
        <p:nvGrpSpPr>
          <p:cNvPr id="8" name="Group 7">
            <a:extLst>
              <a:ext uri="{FF2B5EF4-FFF2-40B4-BE49-F238E27FC236}">
                <a16:creationId xmlns:a16="http://schemas.microsoft.com/office/drawing/2014/main" id="{69EDD6F4-DB13-BF46-B6BB-943BB3E091BE}"/>
              </a:ext>
            </a:extLst>
          </p:cNvPr>
          <p:cNvGrpSpPr/>
          <p:nvPr/>
        </p:nvGrpSpPr>
        <p:grpSpPr>
          <a:xfrm>
            <a:off x="273961" y="2556486"/>
            <a:ext cx="2243988" cy="670527"/>
            <a:chOff x="273961" y="2388605"/>
            <a:chExt cx="2243988" cy="670527"/>
          </a:xfrm>
        </p:grpSpPr>
        <p:sp>
          <p:nvSpPr>
            <p:cNvPr id="167" name="TextBox 166">
              <a:extLst>
                <a:ext uri="{FF2B5EF4-FFF2-40B4-BE49-F238E27FC236}">
                  <a16:creationId xmlns:a16="http://schemas.microsoft.com/office/drawing/2014/main" id="{DD2DC214-CB67-ED44-ACA2-4639AACDD880}"/>
                </a:ext>
              </a:extLst>
            </p:cNvPr>
            <p:cNvSpPr txBox="1"/>
            <p:nvPr/>
          </p:nvSpPr>
          <p:spPr>
            <a:xfrm>
              <a:off x="273961" y="2554591"/>
              <a:ext cx="111760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FFEA24"/>
                  </a:solidFill>
                  <a:latin typeface="+mj-lt"/>
                </a:rPr>
                <a:t>Advisors</a:t>
              </a:r>
              <a:endParaRPr kumimoji="0" lang="en-US" sz="1600" b="0" i="0" u="none" strike="noStrike" kern="1200" cap="none" spc="0" normalizeH="0" baseline="0" noProof="0" dirty="0">
                <a:ln>
                  <a:noFill/>
                </a:ln>
                <a:solidFill>
                  <a:srgbClr val="FFEA24"/>
                </a:solidFill>
                <a:effectLst/>
                <a:uLnTx/>
                <a:uFillTx/>
                <a:latin typeface="+mj-lt"/>
              </a:endParaRPr>
            </a:p>
          </p:txBody>
        </p:sp>
        <p:pic>
          <p:nvPicPr>
            <p:cNvPr id="168" name="Graphic 167">
              <a:extLst>
                <a:ext uri="{FF2B5EF4-FFF2-40B4-BE49-F238E27FC236}">
                  <a16:creationId xmlns:a16="http://schemas.microsoft.com/office/drawing/2014/main" id="{B9F3B5A4-44D7-CA45-893C-4F31C6FC985A}"/>
                </a:ext>
              </a:extLst>
            </p:cNvPr>
            <p:cNvPicPr>
              <a:picLocks noChangeAspect="1"/>
            </p:cNvPicPr>
            <p:nvPr/>
          </p:nvPicPr>
          <p:blipFill>
            <a:blip r:embed="rId93">
              <a:extLst>
                <a:ext uri="{28A0092B-C50C-407E-A947-70E740481C1C}">
                  <a14:useLocalDpi xmlns:a14="http://schemas.microsoft.com/office/drawing/2010/main" val="0"/>
                </a:ext>
                <a:ext uri="{96DAC541-7B7A-43D3-8B79-37D633B846F1}">
                  <asvg:svgBlip xmlns:asvg="http://schemas.microsoft.com/office/drawing/2016/SVG/main" r:embed="rId94"/>
                </a:ext>
              </a:extLst>
            </a:blip>
            <a:stretch>
              <a:fillRect/>
            </a:stretch>
          </p:blipFill>
          <p:spPr>
            <a:xfrm>
              <a:off x="1935471" y="2388605"/>
              <a:ext cx="582478" cy="670527"/>
            </a:xfrm>
            <a:prstGeom prst="rect">
              <a:avLst/>
            </a:prstGeom>
          </p:spPr>
        </p:pic>
      </p:grpSp>
      <p:pic>
        <p:nvPicPr>
          <p:cNvPr id="170" name="Picture 169" descr="A picture containing sitting, plane, table, airplane&#10;&#10;Description automatically generated">
            <a:extLst>
              <a:ext uri="{FF2B5EF4-FFF2-40B4-BE49-F238E27FC236}">
                <a16:creationId xmlns:a16="http://schemas.microsoft.com/office/drawing/2014/main" id="{40CB5E64-40FD-3E44-B1A2-62265D9E3961}"/>
              </a:ext>
            </a:extLst>
          </p:cNvPr>
          <p:cNvPicPr>
            <a:picLocks noChangeAspect="1"/>
          </p:cNvPicPr>
          <p:nvPr/>
        </p:nvPicPr>
        <p:blipFill>
          <a:blip r:embed="rId95">
            <a:extLst>
              <a:ext uri="{28A0092B-C50C-407E-A947-70E740481C1C}">
                <a14:useLocalDpi xmlns:a14="http://schemas.microsoft.com/office/drawing/2010/main" val="0"/>
              </a:ext>
            </a:extLst>
          </a:blip>
          <a:stretch>
            <a:fillRect/>
          </a:stretch>
        </p:blipFill>
        <p:spPr>
          <a:xfrm rot="300408">
            <a:off x="8865005" y="286959"/>
            <a:ext cx="1279060" cy="1240823"/>
          </a:xfrm>
          <a:prstGeom prst="rect">
            <a:avLst/>
          </a:prstGeom>
        </p:spPr>
      </p:pic>
    </p:spTree>
    <p:extLst>
      <p:ext uri="{BB962C8B-B14F-4D97-AF65-F5344CB8AC3E}">
        <p14:creationId xmlns:p14="http://schemas.microsoft.com/office/powerpoint/2010/main" val="3190121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object 3"/>
          <p:cNvSpPr txBox="1"/>
          <p:nvPr/>
        </p:nvSpPr>
        <p:spPr>
          <a:xfrm>
            <a:off x="5103910" y="1685145"/>
            <a:ext cx="5931397" cy="184665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p>
            <a:pPr indent="6350" defTabSz="554805" hangingPunct="0">
              <a:defRPr sz="8000" b="1" spc="-378">
                <a:solidFill>
                  <a:srgbClr val="4594D1"/>
                </a:solidFill>
                <a:latin typeface="Uniform-Black"/>
                <a:ea typeface="Uniform-Black"/>
                <a:cs typeface="Uniform-Black"/>
                <a:sym typeface="Uniform Black"/>
              </a:defRPr>
            </a:pPr>
            <a:r>
              <a:rPr sz="4000" b="1" kern="0" spc="-189" dirty="0">
                <a:solidFill>
                  <a:srgbClr val="4594D1"/>
                </a:solidFill>
                <a:latin typeface="Uniform-Black"/>
                <a:sym typeface="Uniform Black"/>
              </a:rPr>
              <a:t>Entering Frankfurt</a:t>
            </a:r>
          </a:p>
          <a:p>
            <a:pPr indent="6350" defTabSz="554805" hangingPunct="0">
              <a:defRPr sz="8000" b="1" spc="-378">
                <a:solidFill>
                  <a:srgbClr val="4594D1"/>
                </a:solidFill>
                <a:latin typeface="Uniform-Black"/>
                <a:ea typeface="Uniform-Black"/>
                <a:cs typeface="Uniform-Black"/>
                <a:sym typeface="Uniform Black"/>
              </a:defRPr>
            </a:pPr>
            <a:r>
              <a:rPr sz="4000" b="1" kern="0" spc="-189" dirty="0">
                <a:solidFill>
                  <a:srgbClr val="4594D1"/>
                </a:solidFill>
                <a:latin typeface="Uniform-Black"/>
                <a:sym typeface="Uniform Black"/>
              </a:rPr>
              <a:t>Stock Exchange</a:t>
            </a:r>
            <a:br>
              <a:rPr sz="4000" b="1" kern="0" spc="-189" dirty="0">
                <a:solidFill>
                  <a:srgbClr val="4594D1"/>
                </a:solidFill>
                <a:latin typeface="Uniform-Black"/>
                <a:sym typeface="Uniform Black"/>
              </a:rPr>
            </a:br>
            <a:r>
              <a:rPr sz="4000" b="1" kern="0" spc="-189" dirty="0">
                <a:solidFill>
                  <a:srgbClr val="326B97"/>
                </a:solidFill>
                <a:latin typeface="Uniform-Black"/>
                <a:sym typeface="Uniform Black"/>
              </a:rPr>
              <a:t>Shelly</a:t>
            </a:r>
            <a:r>
              <a:rPr lang="en-US" sz="4000" b="1" kern="0" spc="-189" dirty="0">
                <a:solidFill>
                  <a:srgbClr val="326B97"/>
                </a:solidFill>
                <a:latin typeface="Uniform-Black"/>
                <a:sym typeface="Uniform Black"/>
              </a:rPr>
              <a:t> Group</a:t>
            </a:r>
            <a:r>
              <a:rPr sz="4000" b="1" kern="0" spc="-189" dirty="0">
                <a:solidFill>
                  <a:srgbClr val="326B97"/>
                </a:solidFill>
                <a:latin typeface="Uniform-Black"/>
                <a:sym typeface="Uniform Black"/>
              </a:rPr>
              <a:t>’s story</a:t>
            </a:r>
          </a:p>
        </p:txBody>
      </p:sp>
      <p:pic>
        <p:nvPicPr>
          <p:cNvPr id="70" name="Image" descr="Image"/>
          <p:cNvPicPr>
            <a:picLocks noChangeAspect="1"/>
          </p:cNvPicPr>
          <p:nvPr/>
        </p:nvPicPr>
        <p:blipFill>
          <a:blip r:embed="rId2"/>
          <a:stretch>
            <a:fillRect/>
          </a:stretch>
        </p:blipFill>
        <p:spPr>
          <a:xfrm>
            <a:off x="11288886" y="571589"/>
            <a:ext cx="305388" cy="305387"/>
          </a:xfrm>
          <a:prstGeom prst="rect">
            <a:avLst/>
          </a:prstGeom>
          <a:ln w="12700">
            <a:miter lim="400000"/>
          </a:ln>
        </p:spPr>
      </p:pic>
      <p:pic>
        <p:nvPicPr>
          <p:cNvPr id="71" name="Picture 3" descr="Picture 3"/>
          <p:cNvPicPr>
            <a:picLocks noChangeAspect="1"/>
          </p:cNvPicPr>
          <p:nvPr/>
        </p:nvPicPr>
        <p:blipFill>
          <a:blip r:embed="rId3"/>
          <a:srcRect/>
          <a:stretch>
            <a:fillRect/>
          </a:stretch>
        </p:blipFill>
        <p:spPr>
          <a:xfrm>
            <a:off x="551874" y="478625"/>
            <a:ext cx="4018750" cy="5855693"/>
          </a:xfrm>
          <a:custGeom>
            <a:avLst/>
            <a:gdLst/>
            <a:ahLst/>
            <a:cxnLst>
              <a:cxn ang="0">
                <a:pos x="wd2" y="hd2"/>
              </a:cxn>
              <a:cxn ang="5400000">
                <a:pos x="wd2" y="hd2"/>
              </a:cxn>
              <a:cxn ang="10800000">
                <a:pos x="wd2" y="hd2"/>
              </a:cxn>
              <a:cxn ang="16200000">
                <a:pos x="wd2" y="hd2"/>
              </a:cxn>
            </a:cxnLst>
            <a:rect l="0" t="0" r="r" b="b"/>
            <a:pathLst>
              <a:path w="21600" h="21600" extrusionOk="0">
                <a:moveTo>
                  <a:pt x="3600" y="0"/>
                </a:moveTo>
                <a:cubicBezTo>
                  <a:pt x="1611" y="0"/>
                  <a:pt x="0" y="1106"/>
                  <a:pt x="0" y="2470"/>
                </a:cubicBezTo>
                <a:lnTo>
                  <a:pt x="0" y="19130"/>
                </a:lnTo>
                <a:cubicBezTo>
                  <a:pt x="0" y="20494"/>
                  <a:pt x="1611" y="21600"/>
                  <a:pt x="3600" y="21600"/>
                </a:cubicBezTo>
                <a:lnTo>
                  <a:pt x="18000" y="21600"/>
                </a:lnTo>
                <a:cubicBezTo>
                  <a:pt x="19989" y="21600"/>
                  <a:pt x="21600" y="20494"/>
                  <a:pt x="21600" y="19130"/>
                </a:cubicBezTo>
                <a:lnTo>
                  <a:pt x="21600" y="2470"/>
                </a:lnTo>
                <a:cubicBezTo>
                  <a:pt x="21600" y="1106"/>
                  <a:pt x="19989" y="0"/>
                  <a:pt x="18000" y="0"/>
                </a:cubicBezTo>
                <a:lnTo>
                  <a:pt x="3600" y="0"/>
                </a:lnTo>
                <a:close/>
              </a:path>
            </a:pathLst>
          </a:custGeom>
          <a:ln w="12700">
            <a:miter lim="400000"/>
          </a:ln>
          <a:effectLst>
            <a:outerShdw blurRad="177800" dist="127000" dir="5400000" rotWithShape="0">
              <a:srgbClr val="000000">
                <a:alpha val="30000"/>
              </a:srgbClr>
            </a:outerShdw>
          </a:effectLst>
        </p:spPr>
      </p:pic>
    </p:spTree>
  </p:cSld>
  <p:clrMapOvr>
    <a:masterClrMapping/>
  </p:clrMapOvr>
  <p:transition spd="med"/>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5" name="Group 69"/>
          <p:cNvGrpSpPr/>
          <p:nvPr/>
        </p:nvGrpSpPr>
        <p:grpSpPr>
          <a:xfrm>
            <a:off x="1810189" y="409587"/>
            <a:ext cx="3430392" cy="503583"/>
            <a:chOff x="0" y="0"/>
            <a:chExt cx="6860782" cy="1007164"/>
          </a:xfrm>
        </p:grpSpPr>
        <p:sp>
          <p:nvSpPr>
            <p:cNvPr id="73" name="Rounded Rectangle 23"/>
            <p:cNvSpPr/>
            <p:nvPr/>
          </p:nvSpPr>
          <p:spPr>
            <a:xfrm>
              <a:off x="0" y="0"/>
              <a:ext cx="6860783" cy="1007165"/>
            </a:xfrm>
            <a:prstGeom prst="roundRect">
              <a:avLst>
                <a:gd name="adj" fmla="val 50000"/>
              </a:avLst>
            </a:prstGeom>
            <a:solidFill>
              <a:srgbClr val="4594D1"/>
            </a:solidFill>
            <a:ln w="12700" cap="flat">
              <a:noFill/>
              <a:miter lim="400000"/>
            </a:ln>
            <a:effectLst/>
          </p:spPr>
          <p:txBody>
            <a:bodyPr wrap="square" lIns="27726" tIns="27726" rIns="27726" bIns="27726" numCol="1" anchor="ctr">
              <a:noAutofit/>
            </a:bodyPr>
            <a:lstStyle/>
            <a:p>
              <a:pPr algn="ctr" defTabSz="457200" hangingPunct="0">
                <a:defRPr sz="2800">
                  <a:solidFill>
                    <a:srgbClr val="4594D1"/>
                  </a:solidFill>
                  <a:latin typeface="Roboto"/>
                  <a:ea typeface="Roboto"/>
                  <a:cs typeface="Roboto"/>
                  <a:sym typeface="Roboto"/>
                </a:defRPr>
              </a:pPr>
              <a:endParaRPr sz="1400" kern="0" dirty="0">
                <a:solidFill>
                  <a:srgbClr val="4594D1"/>
                </a:solidFill>
                <a:latin typeface="Roboto"/>
                <a:ea typeface="Roboto"/>
                <a:cs typeface="Roboto"/>
                <a:sym typeface="Roboto"/>
              </a:endParaRPr>
            </a:p>
          </p:txBody>
        </p:sp>
        <p:sp>
          <p:nvSpPr>
            <p:cNvPr id="74" name="Rectangle 132"/>
            <p:cNvSpPr txBox="1"/>
            <p:nvPr/>
          </p:nvSpPr>
          <p:spPr>
            <a:xfrm>
              <a:off x="2174945" y="121181"/>
              <a:ext cx="2510893" cy="696799"/>
            </a:xfrm>
            <a:prstGeom prst="rect">
              <a:avLst/>
            </a:prstGeom>
            <a:noFill/>
            <a:ln w="12700" cap="flat">
              <a:noFill/>
              <a:miter lim="400000"/>
            </a:ln>
            <a:effectLst>
              <a:outerShdw blurRad="50800" dist="38100" dir="2700000" rotWithShape="0">
                <a:srgbClr val="000000">
                  <a:alpha val="40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2860" tIns="22860" rIns="22860" bIns="22860" numCol="1" anchor="t">
              <a:noAutofit/>
            </a:bodyPr>
            <a:lstStyle>
              <a:lvl1pPr algn="ctr" defTabSz="914400">
                <a:defRPr sz="4000" b="1" spc="74">
                  <a:solidFill>
                    <a:srgbClr val="FFFFFF"/>
                  </a:solidFill>
                  <a:latin typeface="Roboto"/>
                  <a:ea typeface="Roboto"/>
                  <a:cs typeface="Roboto"/>
                  <a:sym typeface="Roboto"/>
                </a:defRPr>
              </a:lvl1pPr>
            </a:lstStyle>
            <a:p>
              <a:pPr defTabSz="457200" hangingPunct="0"/>
              <a:r>
                <a:rPr sz="2000" kern="0" spc="37" dirty="0"/>
                <a:t>Pros</a:t>
              </a:r>
            </a:p>
          </p:txBody>
        </p:sp>
      </p:grpSp>
      <p:grpSp>
        <p:nvGrpSpPr>
          <p:cNvPr id="78" name="Group 91"/>
          <p:cNvGrpSpPr/>
          <p:nvPr/>
        </p:nvGrpSpPr>
        <p:grpSpPr>
          <a:xfrm>
            <a:off x="7842892" y="404728"/>
            <a:ext cx="3429001" cy="492660"/>
            <a:chOff x="0" y="0"/>
            <a:chExt cx="6858000" cy="985318"/>
          </a:xfrm>
        </p:grpSpPr>
        <p:sp>
          <p:nvSpPr>
            <p:cNvPr id="76" name="Rounded Rectangle 35"/>
            <p:cNvSpPr/>
            <p:nvPr/>
          </p:nvSpPr>
          <p:spPr>
            <a:xfrm>
              <a:off x="0" y="0"/>
              <a:ext cx="6858000" cy="985319"/>
            </a:xfrm>
            <a:prstGeom prst="roundRect">
              <a:avLst>
                <a:gd name="adj" fmla="val 50000"/>
              </a:avLst>
            </a:prstGeom>
            <a:solidFill>
              <a:srgbClr val="A6A6A6"/>
            </a:solidFill>
            <a:ln w="12700" cap="flat">
              <a:noFill/>
              <a:miter lim="400000"/>
            </a:ln>
            <a:effectLst/>
          </p:spPr>
          <p:txBody>
            <a:bodyPr wrap="square" lIns="27726" tIns="27726" rIns="27726" bIns="27726" numCol="1" anchor="ctr">
              <a:noAutofit/>
            </a:bodyPr>
            <a:lstStyle/>
            <a:p>
              <a:pPr algn="ctr" defTabSz="457200" hangingPunct="0">
                <a:defRPr sz="2800">
                  <a:solidFill>
                    <a:srgbClr val="FFFFFF"/>
                  </a:solidFill>
                  <a:latin typeface="Roboto"/>
                  <a:ea typeface="Roboto"/>
                  <a:cs typeface="Roboto"/>
                  <a:sym typeface="Roboto"/>
                </a:defRPr>
              </a:pPr>
              <a:endParaRPr sz="1400" kern="0" dirty="0">
                <a:solidFill>
                  <a:srgbClr val="FFFFFF"/>
                </a:solidFill>
                <a:latin typeface="Roboto"/>
                <a:ea typeface="Roboto"/>
                <a:cs typeface="Roboto"/>
                <a:sym typeface="Roboto"/>
              </a:endParaRPr>
            </a:p>
          </p:txBody>
        </p:sp>
        <p:sp>
          <p:nvSpPr>
            <p:cNvPr id="77" name="Rectangle 93"/>
            <p:cNvSpPr txBox="1"/>
            <p:nvPr/>
          </p:nvSpPr>
          <p:spPr>
            <a:xfrm>
              <a:off x="2452654" y="128724"/>
              <a:ext cx="1854537" cy="696517"/>
            </a:xfrm>
            <a:prstGeom prst="rect">
              <a:avLst/>
            </a:prstGeom>
            <a:noFill/>
            <a:ln w="12700" cap="flat">
              <a:noFill/>
              <a:miter lim="400000"/>
            </a:ln>
            <a:effectLst>
              <a:outerShdw blurRad="50800" dist="38100" dir="2700000" rotWithShape="0">
                <a:srgbClr val="000000">
                  <a:alpha val="40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2860" tIns="22860" rIns="22860" bIns="22860" numCol="1" anchor="t">
              <a:noAutofit/>
            </a:bodyPr>
            <a:lstStyle>
              <a:lvl1pPr algn="ctr" defTabSz="914400">
                <a:defRPr sz="4000" b="1" spc="74">
                  <a:solidFill>
                    <a:srgbClr val="FFFFFF"/>
                  </a:solidFill>
                  <a:latin typeface="Roboto"/>
                  <a:ea typeface="Roboto"/>
                  <a:cs typeface="Roboto"/>
                  <a:sym typeface="Roboto"/>
                </a:defRPr>
              </a:lvl1pPr>
            </a:lstStyle>
            <a:p>
              <a:pPr defTabSz="457200" hangingPunct="0"/>
              <a:r>
                <a:rPr sz="2000" kern="0" spc="37" dirty="0"/>
                <a:t>Cons</a:t>
              </a:r>
            </a:p>
          </p:txBody>
        </p:sp>
      </p:grpSp>
      <p:sp>
        <p:nvSpPr>
          <p:cNvPr id="79" name="Rectangle 96"/>
          <p:cNvSpPr txBox="1"/>
          <p:nvPr/>
        </p:nvSpPr>
        <p:spPr>
          <a:xfrm>
            <a:off x="1719444" y="1550611"/>
            <a:ext cx="3758026" cy="69788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2860" rIns="22860">
            <a:spAutoFit/>
          </a:bodyPr>
          <a:lstStyle>
            <a:lvl1pPr>
              <a:lnSpc>
                <a:spcPct val="113000"/>
              </a:lnSpc>
              <a:defRPr sz="3600" b="1">
                <a:solidFill>
                  <a:srgbClr val="686868"/>
                </a:solidFill>
                <a:latin typeface="Roboto"/>
                <a:ea typeface="Roboto"/>
                <a:cs typeface="Roboto"/>
                <a:sym typeface="Roboto"/>
              </a:defRPr>
            </a:lvl1pPr>
          </a:lstStyle>
          <a:p>
            <a:pPr defTabSz="554805" hangingPunct="0"/>
            <a:r>
              <a:rPr sz="1800" kern="0" dirty="0">
                <a:solidFill>
                  <a:srgbClr val="5C5C5C"/>
                </a:solidFill>
              </a:rPr>
              <a:t>Access to a huge number of investors of every size</a:t>
            </a:r>
          </a:p>
        </p:txBody>
      </p:sp>
      <p:sp>
        <p:nvSpPr>
          <p:cNvPr id="80" name="Rectangle 124"/>
          <p:cNvSpPr txBox="1"/>
          <p:nvPr/>
        </p:nvSpPr>
        <p:spPr>
          <a:xfrm>
            <a:off x="1719444" y="2563006"/>
            <a:ext cx="3611882" cy="69788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2860" rIns="22860">
            <a:spAutoFit/>
          </a:bodyPr>
          <a:lstStyle>
            <a:lvl1pPr>
              <a:lnSpc>
                <a:spcPct val="113000"/>
              </a:lnSpc>
              <a:defRPr sz="3600" b="1">
                <a:solidFill>
                  <a:srgbClr val="686868"/>
                </a:solidFill>
                <a:latin typeface="Roboto"/>
                <a:ea typeface="Roboto"/>
                <a:cs typeface="Roboto"/>
                <a:sym typeface="Roboto"/>
              </a:defRPr>
            </a:lvl1pPr>
          </a:lstStyle>
          <a:p>
            <a:pPr defTabSz="554805" hangingPunct="0"/>
            <a:r>
              <a:rPr sz="1800" kern="0" dirty="0">
                <a:solidFill>
                  <a:srgbClr val="5C5C5C"/>
                </a:solidFill>
              </a:rPr>
              <a:t>More institutional investors leading to share price stabilization</a:t>
            </a:r>
          </a:p>
        </p:txBody>
      </p:sp>
      <p:sp>
        <p:nvSpPr>
          <p:cNvPr id="81" name="Rectangle 125"/>
          <p:cNvSpPr txBox="1"/>
          <p:nvPr/>
        </p:nvSpPr>
        <p:spPr>
          <a:xfrm>
            <a:off x="1719444" y="3782144"/>
            <a:ext cx="3611881" cy="38484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2860" rIns="22860">
            <a:spAutoFit/>
          </a:bodyPr>
          <a:lstStyle>
            <a:lvl1pPr>
              <a:lnSpc>
                <a:spcPct val="113000"/>
              </a:lnSpc>
              <a:defRPr sz="3600" b="1">
                <a:solidFill>
                  <a:srgbClr val="686868"/>
                </a:solidFill>
                <a:latin typeface="Roboto"/>
                <a:ea typeface="Roboto"/>
                <a:cs typeface="Roboto"/>
                <a:sym typeface="Roboto"/>
              </a:defRPr>
            </a:lvl1pPr>
          </a:lstStyle>
          <a:p>
            <a:pPr defTabSz="554805" hangingPunct="0"/>
            <a:r>
              <a:rPr sz="1800" kern="0" dirty="0">
                <a:solidFill>
                  <a:srgbClr val="5C5C5C"/>
                </a:solidFill>
              </a:rPr>
              <a:t>Uplift potential</a:t>
            </a:r>
          </a:p>
        </p:txBody>
      </p:sp>
      <p:sp>
        <p:nvSpPr>
          <p:cNvPr id="82" name="Rectangle 126"/>
          <p:cNvSpPr txBox="1"/>
          <p:nvPr/>
        </p:nvSpPr>
        <p:spPr>
          <a:xfrm>
            <a:off x="7751452" y="1561799"/>
            <a:ext cx="3937431" cy="69788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2860" rIns="22860">
            <a:spAutoFit/>
          </a:bodyPr>
          <a:lstStyle>
            <a:lvl1pPr>
              <a:lnSpc>
                <a:spcPct val="113000"/>
              </a:lnSpc>
              <a:defRPr sz="3600" b="1">
                <a:solidFill>
                  <a:srgbClr val="686868"/>
                </a:solidFill>
                <a:latin typeface="Roboto"/>
                <a:ea typeface="Roboto"/>
                <a:cs typeface="Roboto"/>
                <a:sym typeface="Roboto"/>
              </a:defRPr>
            </a:lvl1pPr>
          </a:lstStyle>
          <a:p>
            <a:pPr defTabSz="554805" hangingPunct="0"/>
            <a:r>
              <a:rPr sz="1800" kern="0" dirty="0">
                <a:solidFill>
                  <a:srgbClr val="5C5C5C"/>
                </a:solidFill>
              </a:rPr>
              <a:t>Limited visibility due to huge number of investment opportunities</a:t>
            </a:r>
          </a:p>
        </p:txBody>
      </p:sp>
      <p:sp>
        <p:nvSpPr>
          <p:cNvPr id="83" name="Rectangle 127"/>
          <p:cNvSpPr txBox="1"/>
          <p:nvPr/>
        </p:nvSpPr>
        <p:spPr>
          <a:xfrm>
            <a:off x="7751452" y="2706077"/>
            <a:ext cx="3611881" cy="38484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2860" rIns="22860">
            <a:spAutoFit/>
          </a:bodyPr>
          <a:lstStyle>
            <a:lvl1pPr>
              <a:lnSpc>
                <a:spcPct val="113000"/>
              </a:lnSpc>
              <a:defRPr sz="3600" b="1">
                <a:solidFill>
                  <a:srgbClr val="686868"/>
                </a:solidFill>
                <a:latin typeface="Roboto"/>
                <a:ea typeface="Roboto"/>
                <a:cs typeface="Roboto"/>
                <a:sym typeface="Roboto"/>
              </a:defRPr>
            </a:lvl1pPr>
          </a:lstStyle>
          <a:p>
            <a:pPr defTabSz="554805" hangingPunct="0"/>
            <a:r>
              <a:rPr sz="1800" kern="0" dirty="0">
                <a:solidFill>
                  <a:srgbClr val="5C5C5C"/>
                </a:solidFill>
              </a:rPr>
              <a:t>No room for mistakes</a:t>
            </a:r>
          </a:p>
        </p:txBody>
      </p:sp>
      <p:sp>
        <p:nvSpPr>
          <p:cNvPr id="84" name="Rectangle 128"/>
          <p:cNvSpPr txBox="1"/>
          <p:nvPr/>
        </p:nvSpPr>
        <p:spPr>
          <a:xfrm>
            <a:off x="7751452" y="3816740"/>
            <a:ext cx="3611881" cy="38484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2860" rIns="22860">
            <a:spAutoFit/>
          </a:bodyPr>
          <a:lstStyle>
            <a:lvl1pPr>
              <a:lnSpc>
                <a:spcPct val="113000"/>
              </a:lnSpc>
              <a:defRPr sz="3600" b="1">
                <a:solidFill>
                  <a:srgbClr val="686868"/>
                </a:solidFill>
                <a:latin typeface="Roboto"/>
                <a:ea typeface="Roboto"/>
                <a:cs typeface="Roboto"/>
                <a:sym typeface="Roboto"/>
              </a:defRPr>
            </a:lvl1pPr>
          </a:lstStyle>
          <a:p>
            <a:pPr defTabSz="554805" hangingPunct="0"/>
            <a:r>
              <a:rPr sz="1800" kern="0" dirty="0">
                <a:solidFill>
                  <a:srgbClr val="5C5C5C"/>
                </a:solidFill>
              </a:rPr>
              <a:t>High market requirements</a:t>
            </a:r>
          </a:p>
        </p:txBody>
      </p:sp>
      <p:sp>
        <p:nvSpPr>
          <p:cNvPr id="85" name="Rectangle 129"/>
          <p:cNvSpPr txBox="1"/>
          <p:nvPr/>
        </p:nvSpPr>
        <p:spPr>
          <a:xfrm>
            <a:off x="1719444" y="5895494"/>
            <a:ext cx="3611881" cy="38484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2860" rIns="22860">
            <a:spAutoFit/>
          </a:bodyPr>
          <a:lstStyle>
            <a:lvl1pPr>
              <a:lnSpc>
                <a:spcPct val="113000"/>
              </a:lnSpc>
              <a:defRPr sz="3600" b="1">
                <a:solidFill>
                  <a:srgbClr val="686868"/>
                </a:solidFill>
                <a:latin typeface="Roboto"/>
                <a:ea typeface="Roboto"/>
                <a:cs typeface="Roboto"/>
                <a:sym typeface="Roboto"/>
              </a:defRPr>
            </a:lvl1pPr>
          </a:lstStyle>
          <a:p>
            <a:pPr defTabSz="554805" hangingPunct="0"/>
            <a:r>
              <a:rPr sz="1800" kern="0" dirty="0">
                <a:solidFill>
                  <a:srgbClr val="5C5C5C"/>
                </a:solidFill>
              </a:rPr>
              <a:t>Higher trading volume</a:t>
            </a:r>
          </a:p>
        </p:txBody>
      </p:sp>
      <p:sp>
        <p:nvSpPr>
          <p:cNvPr id="86" name="Rectangle 130"/>
          <p:cNvSpPr txBox="1"/>
          <p:nvPr/>
        </p:nvSpPr>
        <p:spPr>
          <a:xfrm>
            <a:off x="1719444" y="4688134"/>
            <a:ext cx="3611880" cy="69788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2860" rIns="22860">
            <a:spAutoFit/>
          </a:bodyPr>
          <a:lstStyle>
            <a:lvl1pPr>
              <a:lnSpc>
                <a:spcPct val="113000"/>
              </a:lnSpc>
              <a:defRPr sz="3600" b="1">
                <a:solidFill>
                  <a:srgbClr val="686868"/>
                </a:solidFill>
                <a:latin typeface="Roboto"/>
                <a:ea typeface="Roboto"/>
                <a:cs typeface="Roboto"/>
                <a:sym typeface="Roboto"/>
              </a:defRPr>
            </a:lvl1pPr>
          </a:lstStyle>
          <a:p>
            <a:pPr defTabSz="554805" hangingPunct="0"/>
            <a:r>
              <a:rPr sz="1800" kern="0" dirty="0">
                <a:solidFill>
                  <a:srgbClr val="5C5C5C"/>
                </a:solidFill>
              </a:rPr>
              <a:t>Wider Investors structure gives higher security</a:t>
            </a:r>
          </a:p>
        </p:txBody>
      </p:sp>
      <p:sp>
        <p:nvSpPr>
          <p:cNvPr id="87" name="Rectangle 133"/>
          <p:cNvSpPr txBox="1"/>
          <p:nvPr/>
        </p:nvSpPr>
        <p:spPr>
          <a:xfrm>
            <a:off x="7751452" y="4838819"/>
            <a:ext cx="3611881" cy="38484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2860" rIns="22860">
            <a:spAutoFit/>
          </a:bodyPr>
          <a:lstStyle>
            <a:lvl1pPr>
              <a:lnSpc>
                <a:spcPct val="113000"/>
              </a:lnSpc>
              <a:defRPr sz="3600" b="1">
                <a:solidFill>
                  <a:srgbClr val="686868"/>
                </a:solidFill>
                <a:latin typeface="Roboto"/>
                <a:ea typeface="Roboto"/>
                <a:cs typeface="Roboto"/>
                <a:sym typeface="Roboto"/>
              </a:defRPr>
            </a:lvl1pPr>
          </a:lstStyle>
          <a:p>
            <a:pPr defTabSz="554805" hangingPunct="0"/>
            <a:r>
              <a:rPr sz="1800" kern="0" dirty="0">
                <a:solidFill>
                  <a:srgbClr val="5C5C5C"/>
                </a:solidFill>
              </a:rPr>
              <a:t>Fight for the spotlight</a:t>
            </a:r>
          </a:p>
        </p:txBody>
      </p:sp>
      <p:sp>
        <p:nvSpPr>
          <p:cNvPr id="88" name="Rectangle 134"/>
          <p:cNvSpPr txBox="1"/>
          <p:nvPr/>
        </p:nvSpPr>
        <p:spPr>
          <a:xfrm>
            <a:off x="7751452" y="5868911"/>
            <a:ext cx="3611881" cy="38484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2860" rIns="22860">
            <a:spAutoFit/>
          </a:bodyPr>
          <a:lstStyle>
            <a:lvl1pPr>
              <a:lnSpc>
                <a:spcPct val="113000"/>
              </a:lnSpc>
              <a:defRPr sz="3600" b="1">
                <a:solidFill>
                  <a:srgbClr val="686868"/>
                </a:solidFill>
                <a:latin typeface="Roboto"/>
                <a:ea typeface="Roboto"/>
                <a:cs typeface="Roboto"/>
                <a:sym typeface="Roboto"/>
              </a:defRPr>
            </a:lvl1pPr>
          </a:lstStyle>
          <a:p>
            <a:pPr defTabSz="554805" hangingPunct="0"/>
            <a:r>
              <a:rPr sz="1800" kern="0" dirty="0">
                <a:solidFill>
                  <a:srgbClr val="5C5C5C"/>
                </a:solidFill>
              </a:rPr>
              <a:t>Time consuming</a:t>
            </a:r>
          </a:p>
        </p:txBody>
      </p:sp>
      <p:sp>
        <p:nvSpPr>
          <p:cNvPr id="89" name="Freeform 8"/>
          <p:cNvSpPr/>
          <p:nvPr/>
        </p:nvSpPr>
        <p:spPr>
          <a:xfrm>
            <a:off x="698150" y="1449802"/>
            <a:ext cx="837786" cy="837786"/>
          </a:xfrm>
          <a:prstGeom prst="rect">
            <a:avLst/>
          </a:prstGeom>
          <a:blipFill>
            <a:blip r:embed="rId2"/>
            <a:stretch>
              <a:fillRect/>
            </a:stretch>
          </a:blipFill>
          <a:ln w="12700">
            <a:miter lim="400000"/>
          </a:ln>
        </p:spPr>
        <p:txBody>
          <a:bodyPr lIns="27726" tIns="27726" rIns="27726" bIns="27726"/>
          <a:lstStyle/>
          <a:p>
            <a:pPr defTabSz="554805" hangingPunct="0">
              <a:defRPr sz="2600">
                <a:latin typeface="Calibri"/>
                <a:ea typeface="Calibri"/>
                <a:cs typeface="Calibri"/>
                <a:sym typeface="Calibri"/>
              </a:defRPr>
            </a:pPr>
            <a:endParaRPr sz="1300" kern="0" dirty="0">
              <a:solidFill>
                <a:srgbClr val="000000"/>
              </a:solidFill>
              <a:latin typeface="Calibri"/>
              <a:cs typeface="Calibri"/>
              <a:sym typeface="Calibri"/>
            </a:endParaRPr>
          </a:p>
        </p:txBody>
      </p:sp>
      <p:sp>
        <p:nvSpPr>
          <p:cNvPr id="90" name="Freeform 8"/>
          <p:cNvSpPr/>
          <p:nvPr/>
        </p:nvSpPr>
        <p:spPr>
          <a:xfrm>
            <a:off x="713165" y="5607412"/>
            <a:ext cx="837786" cy="837786"/>
          </a:xfrm>
          <a:prstGeom prst="rect">
            <a:avLst/>
          </a:prstGeom>
          <a:blipFill>
            <a:blip r:embed="rId2"/>
            <a:stretch>
              <a:fillRect/>
            </a:stretch>
          </a:blipFill>
          <a:ln w="12700">
            <a:miter lim="400000"/>
          </a:ln>
        </p:spPr>
        <p:txBody>
          <a:bodyPr lIns="27726" tIns="27726" rIns="27726" bIns="27726"/>
          <a:lstStyle/>
          <a:p>
            <a:pPr defTabSz="554805" hangingPunct="0">
              <a:defRPr sz="2600">
                <a:latin typeface="Calibri"/>
                <a:ea typeface="Calibri"/>
                <a:cs typeface="Calibri"/>
                <a:sym typeface="Calibri"/>
              </a:defRPr>
            </a:pPr>
            <a:endParaRPr sz="1300" kern="0" dirty="0">
              <a:solidFill>
                <a:srgbClr val="000000"/>
              </a:solidFill>
              <a:latin typeface="Calibri"/>
              <a:cs typeface="Calibri"/>
              <a:sym typeface="Calibri"/>
            </a:endParaRPr>
          </a:p>
        </p:txBody>
      </p:sp>
      <p:sp>
        <p:nvSpPr>
          <p:cNvPr id="91" name="Freeform 8"/>
          <p:cNvSpPr/>
          <p:nvPr/>
        </p:nvSpPr>
        <p:spPr>
          <a:xfrm>
            <a:off x="698150" y="4576137"/>
            <a:ext cx="837786" cy="837786"/>
          </a:xfrm>
          <a:prstGeom prst="rect">
            <a:avLst/>
          </a:prstGeom>
          <a:blipFill>
            <a:blip r:embed="rId2"/>
            <a:stretch>
              <a:fillRect/>
            </a:stretch>
          </a:blipFill>
          <a:ln w="12700">
            <a:miter lim="400000"/>
          </a:ln>
        </p:spPr>
        <p:txBody>
          <a:bodyPr lIns="27726" tIns="27726" rIns="27726" bIns="27726"/>
          <a:lstStyle/>
          <a:p>
            <a:pPr defTabSz="554805" hangingPunct="0">
              <a:defRPr sz="2600">
                <a:latin typeface="Calibri"/>
                <a:ea typeface="Calibri"/>
                <a:cs typeface="Calibri"/>
                <a:sym typeface="Calibri"/>
              </a:defRPr>
            </a:pPr>
            <a:endParaRPr sz="1300" kern="0" dirty="0">
              <a:solidFill>
                <a:srgbClr val="000000"/>
              </a:solidFill>
              <a:latin typeface="Calibri"/>
              <a:cs typeface="Calibri"/>
              <a:sym typeface="Calibri"/>
            </a:endParaRPr>
          </a:p>
        </p:txBody>
      </p:sp>
      <p:sp>
        <p:nvSpPr>
          <p:cNvPr id="92" name="Freeform 8"/>
          <p:cNvSpPr/>
          <p:nvPr/>
        </p:nvSpPr>
        <p:spPr>
          <a:xfrm>
            <a:off x="713165" y="3544861"/>
            <a:ext cx="837786" cy="837786"/>
          </a:xfrm>
          <a:prstGeom prst="rect">
            <a:avLst/>
          </a:prstGeom>
          <a:blipFill>
            <a:blip r:embed="rId2"/>
            <a:stretch>
              <a:fillRect/>
            </a:stretch>
          </a:blipFill>
          <a:ln w="12700">
            <a:miter lim="400000"/>
          </a:ln>
        </p:spPr>
        <p:txBody>
          <a:bodyPr lIns="27726" tIns="27726" rIns="27726" bIns="27726"/>
          <a:lstStyle/>
          <a:p>
            <a:pPr defTabSz="554805" hangingPunct="0">
              <a:defRPr sz="2600">
                <a:latin typeface="Calibri"/>
                <a:ea typeface="Calibri"/>
                <a:cs typeface="Calibri"/>
                <a:sym typeface="Calibri"/>
              </a:defRPr>
            </a:pPr>
            <a:endParaRPr sz="1300" kern="0" dirty="0">
              <a:solidFill>
                <a:srgbClr val="000000"/>
              </a:solidFill>
              <a:latin typeface="Calibri"/>
              <a:cs typeface="Calibri"/>
              <a:sym typeface="Calibri"/>
            </a:endParaRPr>
          </a:p>
        </p:txBody>
      </p:sp>
      <p:sp>
        <p:nvSpPr>
          <p:cNvPr id="93" name="Freeform 8"/>
          <p:cNvSpPr/>
          <p:nvPr/>
        </p:nvSpPr>
        <p:spPr>
          <a:xfrm>
            <a:off x="671531" y="2451009"/>
            <a:ext cx="837786" cy="837786"/>
          </a:xfrm>
          <a:prstGeom prst="rect">
            <a:avLst/>
          </a:prstGeom>
          <a:blipFill>
            <a:blip r:embed="rId2"/>
            <a:stretch>
              <a:fillRect/>
            </a:stretch>
          </a:blipFill>
          <a:ln w="12700">
            <a:miter lim="400000"/>
          </a:ln>
        </p:spPr>
        <p:txBody>
          <a:bodyPr lIns="27726" tIns="27726" rIns="27726" bIns="27726"/>
          <a:lstStyle/>
          <a:p>
            <a:pPr defTabSz="554805" hangingPunct="0">
              <a:defRPr sz="2600">
                <a:latin typeface="Calibri"/>
                <a:ea typeface="Calibri"/>
                <a:cs typeface="Calibri"/>
                <a:sym typeface="Calibri"/>
              </a:defRPr>
            </a:pPr>
            <a:endParaRPr sz="1300" kern="0" dirty="0">
              <a:solidFill>
                <a:srgbClr val="000000"/>
              </a:solidFill>
              <a:latin typeface="Calibri"/>
              <a:cs typeface="Calibri"/>
              <a:sym typeface="Calibri"/>
            </a:endParaRPr>
          </a:p>
        </p:txBody>
      </p:sp>
      <p:sp>
        <p:nvSpPr>
          <p:cNvPr id="94" name="Freeform 8"/>
          <p:cNvSpPr/>
          <p:nvPr/>
        </p:nvSpPr>
        <p:spPr>
          <a:xfrm>
            <a:off x="6638767" y="1449802"/>
            <a:ext cx="837786" cy="837786"/>
          </a:xfrm>
          <a:prstGeom prst="rect">
            <a:avLst/>
          </a:prstGeom>
          <a:blipFill>
            <a:blip r:embed="rId3"/>
            <a:stretch>
              <a:fillRect/>
            </a:stretch>
          </a:blipFill>
          <a:ln w="12700">
            <a:miter lim="400000"/>
          </a:ln>
        </p:spPr>
        <p:txBody>
          <a:bodyPr lIns="27726" tIns="27726" rIns="27726" bIns="27726"/>
          <a:lstStyle/>
          <a:p>
            <a:pPr defTabSz="554805" hangingPunct="0">
              <a:defRPr sz="2600">
                <a:latin typeface="Calibri"/>
                <a:ea typeface="Calibri"/>
                <a:cs typeface="Calibri"/>
                <a:sym typeface="Calibri"/>
              </a:defRPr>
            </a:pPr>
            <a:endParaRPr sz="1300" kern="0" dirty="0">
              <a:solidFill>
                <a:srgbClr val="000000"/>
              </a:solidFill>
              <a:latin typeface="Calibri"/>
              <a:cs typeface="Calibri"/>
              <a:sym typeface="Calibri"/>
            </a:endParaRPr>
          </a:p>
        </p:txBody>
      </p:sp>
      <p:sp>
        <p:nvSpPr>
          <p:cNvPr id="95" name="Freeform 8"/>
          <p:cNvSpPr/>
          <p:nvPr/>
        </p:nvSpPr>
        <p:spPr>
          <a:xfrm>
            <a:off x="6656087" y="2451009"/>
            <a:ext cx="837786" cy="837786"/>
          </a:xfrm>
          <a:prstGeom prst="rect">
            <a:avLst/>
          </a:prstGeom>
          <a:blipFill>
            <a:blip r:embed="rId3"/>
            <a:stretch>
              <a:fillRect/>
            </a:stretch>
          </a:blipFill>
          <a:ln w="12700">
            <a:miter lim="400000"/>
          </a:ln>
        </p:spPr>
        <p:txBody>
          <a:bodyPr lIns="27726" tIns="27726" rIns="27726" bIns="27726"/>
          <a:lstStyle/>
          <a:p>
            <a:pPr defTabSz="554805" hangingPunct="0">
              <a:defRPr sz="2600">
                <a:latin typeface="Calibri"/>
                <a:ea typeface="Calibri"/>
                <a:cs typeface="Calibri"/>
                <a:sym typeface="Calibri"/>
              </a:defRPr>
            </a:pPr>
            <a:endParaRPr sz="1300" kern="0" dirty="0">
              <a:solidFill>
                <a:srgbClr val="000000"/>
              </a:solidFill>
              <a:latin typeface="Calibri"/>
              <a:cs typeface="Calibri"/>
              <a:sym typeface="Calibri"/>
            </a:endParaRPr>
          </a:p>
        </p:txBody>
      </p:sp>
      <p:sp>
        <p:nvSpPr>
          <p:cNvPr id="96" name="Freeform 8"/>
          <p:cNvSpPr/>
          <p:nvPr/>
        </p:nvSpPr>
        <p:spPr>
          <a:xfrm>
            <a:off x="6680966" y="3544861"/>
            <a:ext cx="837786" cy="837786"/>
          </a:xfrm>
          <a:prstGeom prst="rect">
            <a:avLst/>
          </a:prstGeom>
          <a:blipFill>
            <a:blip r:embed="rId3"/>
            <a:stretch>
              <a:fillRect/>
            </a:stretch>
          </a:blipFill>
          <a:ln w="12700">
            <a:miter lim="400000"/>
          </a:ln>
        </p:spPr>
        <p:txBody>
          <a:bodyPr lIns="27726" tIns="27726" rIns="27726" bIns="27726"/>
          <a:lstStyle/>
          <a:p>
            <a:pPr defTabSz="554805" hangingPunct="0">
              <a:defRPr sz="2600">
                <a:latin typeface="Calibri"/>
                <a:ea typeface="Calibri"/>
                <a:cs typeface="Calibri"/>
                <a:sym typeface="Calibri"/>
              </a:defRPr>
            </a:pPr>
            <a:endParaRPr sz="1300" kern="0" dirty="0">
              <a:solidFill>
                <a:srgbClr val="000000"/>
              </a:solidFill>
              <a:latin typeface="Calibri"/>
              <a:cs typeface="Calibri"/>
              <a:sym typeface="Calibri"/>
            </a:endParaRPr>
          </a:p>
        </p:txBody>
      </p:sp>
      <p:sp>
        <p:nvSpPr>
          <p:cNvPr id="97" name="Freeform 8"/>
          <p:cNvSpPr/>
          <p:nvPr/>
        </p:nvSpPr>
        <p:spPr>
          <a:xfrm>
            <a:off x="6647398" y="4576137"/>
            <a:ext cx="837786" cy="837786"/>
          </a:xfrm>
          <a:prstGeom prst="rect">
            <a:avLst/>
          </a:prstGeom>
          <a:blipFill>
            <a:blip r:embed="rId3"/>
            <a:stretch>
              <a:fillRect/>
            </a:stretch>
          </a:blipFill>
          <a:ln w="12700">
            <a:miter lim="400000"/>
          </a:ln>
        </p:spPr>
        <p:txBody>
          <a:bodyPr lIns="27726" tIns="27726" rIns="27726" bIns="27726"/>
          <a:lstStyle/>
          <a:p>
            <a:pPr defTabSz="554805" hangingPunct="0">
              <a:defRPr sz="2600">
                <a:latin typeface="Calibri"/>
                <a:ea typeface="Calibri"/>
                <a:cs typeface="Calibri"/>
                <a:sym typeface="Calibri"/>
              </a:defRPr>
            </a:pPr>
            <a:endParaRPr sz="1300" kern="0" dirty="0">
              <a:solidFill>
                <a:srgbClr val="000000"/>
              </a:solidFill>
              <a:latin typeface="Calibri"/>
              <a:cs typeface="Calibri"/>
              <a:sym typeface="Calibri"/>
            </a:endParaRPr>
          </a:p>
        </p:txBody>
      </p:sp>
      <p:sp>
        <p:nvSpPr>
          <p:cNvPr id="98" name="Freeform 8"/>
          <p:cNvSpPr/>
          <p:nvPr/>
        </p:nvSpPr>
        <p:spPr>
          <a:xfrm>
            <a:off x="6680966" y="5607412"/>
            <a:ext cx="837786" cy="837786"/>
          </a:xfrm>
          <a:prstGeom prst="rect">
            <a:avLst/>
          </a:prstGeom>
          <a:blipFill>
            <a:blip r:embed="rId3"/>
            <a:stretch>
              <a:fillRect/>
            </a:stretch>
          </a:blipFill>
          <a:ln w="12700">
            <a:miter lim="400000"/>
          </a:ln>
        </p:spPr>
        <p:txBody>
          <a:bodyPr lIns="27726" tIns="27726" rIns="27726" bIns="27726"/>
          <a:lstStyle/>
          <a:p>
            <a:pPr defTabSz="554805" hangingPunct="0">
              <a:defRPr sz="2600">
                <a:latin typeface="Calibri"/>
                <a:ea typeface="Calibri"/>
                <a:cs typeface="Calibri"/>
                <a:sym typeface="Calibri"/>
              </a:defRPr>
            </a:pPr>
            <a:endParaRPr sz="1300" kern="0" dirty="0">
              <a:solidFill>
                <a:srgbClr val="000000"/>
              </a:solidFill>
              <a:latin typeface="Calibri"/>
              <a:cs typeface="Calibri"/>
              <a:sym typeface="Calibri"/>
            </a:endParaRPr>
          </a:p>
        </p:txBody>
      </p:sp>
      <p:sp>
        <p:nvSpPr>
          <p:cNvPr id="99" name="Freeform 44"/>
          <p:cNvSpPr/>
          <p:nvPr/>
        </p:nvSpPr>
        <p:spPr>
          <a:xfrm>
            <a:off x="918932" y="1595990"/>
            <a:ext cx="441240" cy="452764"/>
          </a:xfrm>
          <a:prstGeom prst="rect">
            <a:avLst/>
          </a:prstGeom>
          <a:blipFill>
            <a:blip r:embed="rId4"/>
            <a:stretch>
              <a:fillRect/>
            </a:stretch>
          </a:blipFill>
          <a:ln w="12700">
            <a:miter lim="400000"/>
          </a:ln>
        </p:spPr>
        <p:txBody>
          <a:bodyPr lIns="27726" tIns="27726" rIns="27726" bIns="27726"/>
          <a:lstStyle/>
          <a:p>
            <a:pPr defTabSz="457200" hangingPunct="0">
              <a:defRPr sz="1800">
                <a:latin typeface="Calibri"/>
                <a:ea typeface="Calibri"/>
                <a:cs typeface="Calibri"/>
                <a:sym typeface="Calibri"/>
              </a:defRPr>
            </a:pPr>
            <a:endParaRPr sz="900" kern="0" dirty="0">
              <a:solidFill>
                <a:srgbClr val="000000"/>
              </a:solidFill>
              <a:latin typeface="Calibri"/>
              <a:cs typeface="Calibri"/>
              <a:sym typeface="Calibri"/>
            </a:endParaRPr>
          </a:p>
        </p:txBody>
      </p:sp>
      <p:sp>
        <p:nvSpPr>
          <p:cNvPr id="100" name="Freeform 22"/>
          <p:cNvSpPr/>
          <p:nvPr/>
        </p:nvSpPr>
        <p:spPr>
          <a:xfrm>
            <a:off x="878632" y="2648964"/>
            <a:ext cx="423584" cy="423584"/>
          </a:xfrm>
          <a:prstGeom prst="rect">
            <a:avLst/>
          </a:prstGeom>
          <a:blipFill>
            <a:blip r:embed="rId5"/>
            <a:stretch>
              <a:fillRect/>
            </a:stretch>
          </a:blipFill>
          <a:ln w="12700">
            <a:miter lim="400000"/>
          </a:ln>
        </p:spPr>
        <p:txBody>
          <a:bodyPr lIns="27726" tIns="27726" rIns="27726" bIns="27726"/>
          <a:lstStyle/>
          <a:p>
            <a:pPr defTabSz="457200" hangingPunct="0">
              <a:defRPr sz="1800">
                <a:latin typeface="Calibri"/>
                <a:ea typeface="Calibri"/>
                <a:cs typeface="Calibri"/>
                <a:sym typeface="Calibri"/>
              </a:defRPr>
            </a:pPr>
            <a:endParaRPr sz="900" kern="0" dirty="0">
              <a:solidFill>
                <a:srgbClr val="000000"/>
              </a:solidFill>
              <a:latin typeface="Calibri"/>
              <a:cs typeface="Calibri"/>
              <a:sym typeface="Calibri"/>
            </a:endParaRPr>
          </a:p>
        </p:txBody>
      </p:sp>
      <p:sp>
        <p:nvSpPr>
          <p:cNvPr id="101" name="Freeform 7"/>
          <p:cNvSpPr/>
          <p:nvPr/>
        </p:nvSpPr>
        <p:spPr>
          <a:xfrm>
            <a:off x="964789" y="3755668"/>
            <a:ext cx="349526" cy="399666"/>
          </a:xfrm>
          <a:prstGeom prst="rect">
            <a:avLst/>
          </a:prstGeom>
          <a:blipFill>
            <a:blip r:embed="rId6"/>
            <a:stretch>
              <a:fillRect/>
            </a:stretch>
          </a:blipFill>
          <a:ln w="12700">
            <a:miter lim="400000"/>
          </a:ln>
        </p:spPr>
        <p:txBody>
          <a:bodyPr lIns="27726" tIns="27726" rIns="27726" bIns="27726"/>
          <a:lstStyle/>
          <a:p>
            <a:pPr defTabSz="554805" hangingPunct="0">
              <a:defRPr>
                <a:latin typeface="+mj-lt"/>
                <a:ea typeface="+mj-ea"/>
                <a:cs typeface="+mj-cs"/>
                <a:sym typeface="Helvetica Neue"/>
              </a:defRPr>
            </a:pPr>
            <a:endParaRPr sz="1000" kern="0" dirty="0">
              <a:solidFill>
                <a:srgbClr val="000000"/>
              </a:solidFill>
              <a:latin typeface="Helvetica Neue"/>
              <a:ea typeface="Helvetica Neue"/>
              <a:cs typeface="Helvetica Neue"/>
              <a:sym typeface="Helvetica Neue"/>
            </a:endParaRPr>
          </a:p>
        </p:txBody>
      </p:sp>
      <p:sp>
        <p:nvSpPr>
          <p:cNvPr id="102" name="Freeform 32"/>
          <p:cNvSpPr/>
          <p:nvPr/>
        </p:nvSpPr>
        <p:spPr>
          <a:xfrm>
            <a:off x="933485" y="4764820"/>
            <a:ext cx="397144" cy="365372"/>
          </a:xfrm>
          <a:prstGeom prst="rect">
            <a:avLst/>
          </a:prstGeom>
          <a:blipFill>
            <a:blip r:embed="rId7"/>
            <a:stretch>
              <a:fillRect/>
            </a:stretch>
          </a:blipFill>
          <a:ln w="12700">
            <a:miter lim="400000"/>
          </a:ln>
        </p:spPr>
        <p:txBody>
          <a:bodyPr lIns="27726" tIns="27726" rIns="27726" bIns="27726"/>
          <a:lstStyle/>
          <a:p>
            <a:pPr defTabSz="457200" hangingPunct="0">
              <a:defRPr sz="1800">
                <a:latin typeface="Calibri"/>
                <a:ea typeface="Calibri"/>
                <a:cs typeface="Calibri"/>
                <a:sym typeface="Calibri"/>
              </a:defRPr>
            </a:pPr>
            <a:endParaRPr sz="900" kern="0" dirty="0">
              <a:solidFill>
                <a:srgbClr val="000000"/>
              </a:solidFill>
              <a:latin typeface="Calibri"/>
              <a:cs typeface="Calibri"/>
              <a:sym typeface="Calibri"/>
            </a:endParaRPr>
          </a:p>
        </p:txBody>
      </p:sp>
      <p:sp>
        <p:nvSpPr>
          <p:cNvPr id="103" name="Freeform 36"/>
          <p:cNvSpPr/>
          <p:nvPr/>
        </p:nvSpPr>
        <p:spPr>
          <a:xfrm>
            <a:off x="952095" y="5843619"/>
            <a:ext cx="374915" cy="365372"/>
          </a:xfrm>
          <a:prstGeom prst="rect">
            <a:avLst/>
          </a:prstGeom>
          <a:blipFill>
            <a:blip r:embed="rId8"/>
            <a:stretch>
              <a:fillRect/>
            </a:stretch>
          </a:blipFill>
          <a:ln w="12700">
            <a:miter lim="400000"/>
          </a:ln>
        </p:spPr>
        <p:txBody>
          <a:bodyPr lIns="27726" tIns="27726" rIns="27726" bIns="27726"/>
          <a:lstStyle/>
          <a:p>
            <a:pPr defTabSz="457200" hangingPunct="0">
              <a:defRPr sz="1800">
                <a:latin typeface="Calibri"/>
                <a:ea typeface="Calibri"/>
                <a:cs typeface="Calibri"/>
                <a:sym typeface="Calibri"/>
              </a:defRPr>
            </a:pPr>
            <a:endParaRPr sz="900" kern="0" dirty="0">
              <a:solidFill>
                <a:srgbClr val="000000"/>
              </a:solidFill>
              <a:latin typeface="Calibri"/>
              <a:cs typeface="Calibri"/>
              <a:sym typeface="Calibri"/>
            </a:endParaRPr>
          </a:p>
        </p:txBody>
      </p:sp>
      <p:sp>
        <p:nvSpPr>
          <p:cNvPr id="104" name="Freeform 48"/>
          <p:cNvSpPr/>
          <p:nvPr/>
        </p:nvSpPr>
        <p:spPr>
          <a:xfrm>
            <a:off x="6912676" y="1665932"/>
            <a:ext cx="341894" cy="401799"/>
          </a:xfrm>
          <a:prstGeom prst="rect">
            <a:avLst/>
          </a:prstGeom>
          <a:blipFill>
            <a:blip r:embed="rId9"/>
            <a:stretch>
              <a:fillRect/>
            </a:stretch>
          </a:blipFill>
          <a:ln w="12700">
            <a:miter lim="400000"/>
          </a:ln>
        </p:spPr>
        <p:txBody>
          <a:bodyPr lIns="27726" tIns="27726" rIns="27726" bIns="27726"/>
          <a:lstStyle/>
          <a:p>
            <a:pPr defTabSz="457200" hangingPunct="0">
              <a:defRPr sz="1800">
                <a:latin typeface="Calibri"/>
                <a:ea typeface="Calibri"/>
                <a:cs typeface="Calibri"/>
                <a:sym typeface="Calibri"/>
              </a:defRPr>
            </a:pPr>
            <a:endParaRPr sz="900" kern="0" dirty="0">
              <a:solidFill>
                <a:srgbClr val="000000"/>
              </a:solidFill>
              <a:latin typeface="Calibri"/>
              <a:cs typeface="Calibri"/>
              <a:sym typeface="Calibri"/>
            </a:endParaRPr>
          </a:p>
        </p:txBody>
      </p:sp>
      <p:sp>
        <p:nvSpPr>
          <p:cNvPr id="105" name="Freeform 4"/>
          <p:cNvSpPr/>
          <p:nvPr/>
        </p:nvSpPr>
        <p:spPr>
          <a:xfrm>
            <a:off x="6878333" y="2618080"/>
            <a:ext cx="393292" cy="426648"/>
          </a:xfrm>
          <a:prstGeom prst="rect">
            <a:avLst/>
          </a:prstGeom>
          <a:blipFill>
            <a:blip r:embed="rId10"/>
            <a:stretch>
              <a:fillRect/>
            </a:stretch>
          </a:blipFill>
          <a:ln w="12700">
            <a:miter lim="400000"/>
          </a:ln>
        </p:spPr>
        <p:txBody>
          <a:bodyPr lIns="27726" tIns="27726" rIns="27726" bIns="27726"/>
          <a:lstStyle/>
          <a:p>
            <a:pPr defTabSz="457200" hangingPunct="0">
              <a:defRPr sz="1800">
                <a:latin typeface="Calibri"/>
                <a:ea typeface="Calibri"/>
                <a:cs typeface="Calibri"/>
                <a:sym typeface="Calibri"/>
              </a:defRPr>
            </a:pPr>
            <a:endParaRPr sz="900" kern="0" dirty="0">
              <a:solidFill>
                <a:srgbClr val="000000"/>
              </a:solidFill>
              <a:latin typeface="Calibri"/>
              <a:cs typeface="Calibri"/>
              <a:sym typeface="Calibri"/>
            </a:endParaRPr>
          </a:p>
        </p:txBody>
      </p:sp>
      <p:sp>
        <p:nvSpPr>
          <p:cNvPr id="106" name="Freeform 37"/>
          <p:cNvSpPr/>
          <p:nvPr/>
        </p:nvSpPr>
        <p:spPr>
          <a:xfrm>
            <a:off x="6950980" y="3755668"/>
            <a:ext cx="303591" cy="365372"/>
          </a:xfrm>
          <a:prstGeom prst="rect">
            <a:avLst/>
          </a:prstGeom>
          <a:blipFill>
            <a:blip r:embed="rId11"/>
            <a:stretch>
              <a:fillRect/>
            </a:stretch>
          </a:blipFill>
          <a:ln w="12700">
            <a:miter lim="400000"/>
          </a:ln>
        </p:spPr>
        <p:txBody>
          <a:bodyPr lIns="27726" tIns="27726" rIns="27726" bIns="27726"/>
          <a:lstStyle/>
          <a:p>
            <a:pPr defTabSz="457200" hangingPunct="0">
              <a:defRPr sz="1800">
                <a:latin typeface="Calibri"/>
                <a:ea typeface="Calibri"/>
                <a:cs typeface="Calibri"/>
                <a:sym typeface="Calibri"/>
              </a:defRPr>
            </a:pPr>
            <a:endParaRPr sz="900" kern="0" dirty="0">
              <a:solidFill>
                <a:srgbClr val="000000"/>
              </a:solidFill>
              <a:latin typeface="Calibri"/>
              <a:cs typeface="Calibri"/>
              <a:sym typeface="Calibri"/>
            </a:endParaRPr>
          </a:p>
        </p:txBody>
      </p:sp>
      <p:sp>
        <p:nvSpPr>
          <p:cNvPr id="107" name="Freeform 3"/>
          <p:cNvSpPr/>
          <p:nvPr/>
        </p:nvSpPr>
        <p:spPr>
          <a:xfrm>
            <a:off x="6872794" y="4797990"/>
            <a:ext cx="404372" cy="394079"/>
          </a:xfrm>
          <a:prstGeom prst="rect">
            <a:avLst/>
          </a:prstGeom>
          <a:blipFill>
            <a:blip r:embed="rId12"/>
            <a:stretch>
              <a:fillRect/>
            </a:stretch>
          </a:blipFill>
          <a:ln w="12700">
            <a:miter lim="400000"/>
          </a:ln>
        </p:spPr>
        <p:txBody>
          <a:bodyPr lIns="27726" tIns="27726" rIns="27726" bIns="27726"/>
          <a:lstStyle/>
          <a:p>
            <a:pPr defTabSz="457200" hangingPunct="0">
              <a:defRPr sz="1800">
                <a:latin typeface="Calibri"/>
                <a:ea typeface="Calibri"/>
                <a:cs typeface="Calibri"/>
                <a:sym typeface="Calibri"/>
              </a:defRPr>
            </a:pPr>
            <a:endParaRPr sz="900" kern="0" dirty="0">
              <a:solidFill>
                <a:srgbClr val="000000"/>
              </a:solidFill>
              <a:latin typeface="Calibri"/>
              <a:cs typeface="Calibri"/>
              <a:sym typeface="Calibri"/>
            </a:endParaRPr>
          </a:p>
        </p:txBody>
      </p:sp>
      <p:sp>
        <p:nvSpPr>
          <p:cNvPr id="108" name="Freeform 3"/>
          <p:cNvSpPr/>
          <p:nvPr/>
        </p:nvSpPr>
        <p:spPr>
          <a:xfrm>
            <a:off x="6883922" y="5806268"/>
            <a:ext cx="437707" cy="437707"/>
          </a:xfrm>
          <a:prstGeom prst="rect">
            <a:avLst/>
          </a:prstGeom>
          <a:blipFill>
            <a:blip r:embed="rId13"/>
            <a:stretch>
              <a:fillRect/>
            </a:stretch>
          </a:blipFill>
          <a:ln w="12700">
            <a:miter lim="400000"/>
          </a:ln>
        </p:spPr>
        <p:txBody>
          <a:bodyPr lIns="27726" tIns="27726" rIns="27726" bIns="27726"/>
          <a:lstStyle/>
          <a:p>
            <a:pPr defTabSz="457200" hangingPunct="0">
              <a:defRPr sz="1800">
                <a:latin typeface="Calibri"/>
                <a:ea typeface="Calibri"/>
                <a:cs typeface="Calibri"/>
                <a:sym typeface="Calibri"/>
              </a:defRPr>
            </a:pPr>
            <a:endParaRPr sz="900" kern="0" dirty="0">
              <a:solidFill>
                <a:srgbClr val="000000"/>
              </a:solidFill>
              <a:latin typeface="Calibri"/>
              <a:cs typeface="Calibri"/>
              <a:sym typeface="Calibri"/>
            </a:endParaRPr>
          </a:p>
        </p:txBody>
      </p:sp>
      <p:sp>
        <p:nvSpPr>
          <p:cNvPr id="109" name="Line"/>
          <p:cNvSpPr/>
          <p:nvPr/>
        </p:nvSpPr>
        <p:spPr>
          <a:xfrm flipV="1">
            <a:off x="5979337" y="401788"/>
            <a:ext cx="1" cy="5964036"/>
          </a:xfrm>
          <a:prstGeom prst="line">
            <a:avLst/>
          </a:prstGeom>
          <a:ln w="25400">
            <a:solidFill>
              <a:schemeClr val="accent1">
                <a:alpha val="30179"/>
              </a:schemeClr>
            </a:solidFill>
          </a:ln>
        </p:spPr>
        <p:txBody>
          <a:bodyPr lIns="22859" tIns="22859" rIns="22859" bIns="22859"/>
          <a:lstStyle/>
          <a:p>
            <a:pPr defTabSz="554805" hangingPunct="0"/>
            <a:endParaRPr sz="1000" kern="0" dirty="0">
              <a:solidFill>
                <a:srgbClr val="000000"/>
              </a:solidFill>
              <a:latin typeface="Helvetica Neue"/>
              <a:ea typeface="Helvetica Neue"/>
              <a:cs typeface="Helvetica Neue"/>
              <a:sym typeface="Helvetica Neue"/>
            </a:endParaRPr>
          </a:p>
        </p:txBody>
      </p:sp>
      <p:pic>
        <p:nvPicPr>
          <p:cNvPr id="2" name="Image" descr="Image">
            <a:extLst>
              <a:ext uri="{FF2B5EF4-FFF2-40B4-BE49-F238E27FC236}">
                <a16:creationId xmlns:a16="http://schemas.microsoft.com/office/drawing/2014/main" id="{6335BAFD-DC7F-FC01-F262-8CA2F6265AA8}"/>
              </a:ext>
            </a:extLst>
          </p:cNvPr>
          <p:cNvPicPr>
            <a:picLocks noChangeAspect="1"/>
          </p:cNvPicPr>
          <p:nvPr/>
        </p:nvPicPr>
        <p:blipFill>
          <a:blip r:embed="rId14"/>
          <a:stretch>
            <a:fillRect/>
          </a:stretch>
        </p:blipFill>
        <p:spPr>
          <a:xfrm>
            <a:off x="11688883" y="133790"/>
            <a:ext cx="305388" cy="305387"/>
          </a:xfrm>
          <a:prstGeom prst="rect">
            <a:avLst/>
          </a:prstGeom>
          <a:ln w="12700">
            <a:miter lim="400000"/>
          </a:ln>
        </p:spPr>
      </p:pic>
    </p:spTree>
  </p:cSld>
  <p:clrMapOvr>
    <a:masterClrMapping/>
  </p:clrMapOvr>
  <p:transition spd="med"/>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3">
            <a:extLst>
              <a:ext uri="{FF2B5EF4-FFF2-40B4-BE49-F238E27FC236}">
                <a16:creationId xmlns:a16="http://schemas.microsoft.com/office/drawing/2014/main" id="{47830F87-883E-3EBC-B220-FA0A8121B258}"/>
              </a:ext>
            </a:extLst>
          </p:cNvPr>
          <p:cNvSpPr/>
          <p:nvPr/>
        </p:nvSpPr>
        <p:spPr>
          <a:xfrm>
            <a:off x="1142840" y="4014635"/>
            <a:ext cx="3369351" cy="753401"/>
          </a:xfrm>
          <a:prstGeom prst="roundRect">
            <a:avLst>
              <a:gd name="adj" fmla="val 19910"/>
            </a:avLst>
          </a:prstGeom>
          <a:solidFill>
            <a:srgbClr val="E5E5E5"/>
          </a:solidFill>
          <a:ln w="12700">
            <a:miter lim="400000"/>
          </a:ln>
        </p:spPr>
        <p:txBody>
          <a:bodyPr lIns="27726" tIns="27726" rIns="27726" bIns="27726" anchor="ctr"/>
          <a:lstStyle/>
          <a:p>
            <a:pPr defTabSz="554805" hangingPunct="0">
              <a:defRPr>
                <a:latin typeface="Calibri"/>
                <a:ea typeface="Calibri"/>
                <a:cs typeface="Calibri"/>
                <a:sym typeface="Calibri"/>
              </a:defRPr>
            </a:pPr>
            <a:endParaRPr sz="1000" kern="0" dirty="0">
              <a:solidFill>
                <a:srgbClr val="000000"/>
              </a:solidFill>
              <a:latin typeface="Calibri"/>
              <a:cs typeface="Calibri"/>
              <a:sym typeface="Calibri"/>
            </a:endParaRPr>
          </a:p>
        </p:txBody>
      </p:sp>
      <p:sp>
        <p:nvSpPr>
          <p:cNvPr id="135" name="Freeform 3"/>
          <p:cNvSpPr/>
          <p:nvPr/>
        </p:nvSpPr>
        <p:spPr>
          <a:xfrm>
            <a:off x="4593329" y="2132648"/>
            <a:ext cx="3051052" cy="3051052"/>
          </a:xfrm>
          <a:prstGeom prst="ellipse">
            <a:avLst/>
          </a:prstGeom>
          <a:solidFill>
            <a:srgbClr val="376092"/>
          </a:solidFill>
          <a:ln w="12700">
            <a:miter lim="400000"/>
          </a:ln>
        </p:spPr>
        <p:txBody>
          <a:bodyPr lIns="27726" tIns="27726" rIns="27726" bIns="27726"/>
          <a:lstStyle/>
          <a:p>
            <a:pPr defTabSz="554805" hangingPunct="0">
              <a:defRPr sz="2600">
                <a:latin typeface="Calibri"/>
                <a:ea typeface="Calibri"/>
                <a:cs typeface="Calibri"/>
                <a:sym typeface="Calibri"/>
              </a:defRPr>
            </a:pPr>
            <a:endParaRPr sz="1300" kern="0" dirty="0">
              <a:solidFill>
                <a:srgbClr val="000000"/>
              </a:solidFill>
              <a:latin typeface="Calibri"/>
              <a:cs typeface="Calibri"/>
              <a:sym typeface="Calibri"/>
            </a:endParaRPr>
          </a:p>
        </p:txBody>
      </p:sp>
      <p:sp>
        <p:nvSpPr>
          <p:cNvPr id="136" name="Rectangle: Rounded Corners 3"/>
          <p:cNvSpPr/>
          <p:nvPr/>
        </p:nvSpPr>
        <p:spPr>
          <a:xfrm>
            <a:off x="7511335" y="4006687"/>
            <a:ext cx="3369351" cy="753401"/>
          </a:xfrm>
          <a:prstGeom prst="roundRect">
            <a:avLst>
              <a:gd name="adj" fmla="val 19910"/>
            </a:avLst>
          </a:prstGeom>
          <a:solidFill>
            <a:srgbClr val="E5E5E5"/>
          </a:solidFill>
          <a:ln w="12700">
            <a:miter lim="400000"/>
          </a:ln>
        </p:spPr>
        <p:txBody>
          <a:bodyPr lIns="27726" tIns="27726" rIns="27726" bIns="27726" anchor="ctr"/>
          <a:lstStyle/>
          <a:p>
            <a:pPr defTabSz="554805" hangingPunct="0">
              <a:defRPr>
                <a:latin typeface="Calibri"/>
                <a:ea typeface="Calibri"/>
                <a:cs typeface="Calibri"/>
                <a:sym typeface="Calibri"/>
              </a:defRPr>
            </a:pPr>
            <a:endParaRPr sz="1000" kern="0" dirty="0">
              <a:solidFill>
                <a:srgbClr val="000000"/>
              </a:solidFill>
              <a:latin typeface="Calibri"/>
              <a:cs typeface="Calibri"/>
              <a:sym typeface="Calibri"/>
            </a:endParaRPr>
          </a:p>
        </p:txBody>
      </p:sp>
      <p:sp>
        <p:nvSpPr>
          <p:cNvPr id="137" name="Rectangle: Rounded Corners 11"/>
          <p:cNvSpPr/>
          <p:nvPr/>
        </p:nvSpPr>
        <p:spPr>
          <a:xfrm>
            <a:off x="7333660" y="2633476"/>
            <a:ext cx="3121058" cy="753401"/>
          </a:xfrm>
          <a:prstGeom prst="roundRect">
            <a:avLst>
              <a:gd name="adj" fmla="val 19910"/>
            </a:avLst>
          </a:prstGeom>
          <a:solidFill>
            <a:srgbClr val="E5E5E5"/>
          </a:solidFill>
          <a:ln w="12700">
            <a:miter lim="400000"/>
          </a:ln>
        </p:spPr>
        <p:txBody>
          <a:bodyPr lIns="27726" tIns="27726" rIns="27726" bIns="27726" anchor="ctr"/>
          <a:lstStyle/>
          <a:p>
            <a:pPr defTabSz="554805" hangingPunct="0">
              <a:defRPr>
                <a:latin typeface="Calibri"/>
                <a:ea typeface="Calibri"/>
                <a:cs typeface="Calibri"/>
                <a:sym typeface="Calibri"/>
              </a:defRPr>
            </a:pPr>
            <a:endParaRPr sz="1000" kern="0" dirty="0">
              <a:solidFill>
                <a:srgbClr val="000000"/>
              </a:solidFill>
              <a:latin typeface="Calibri"/>
              <a:cs typeface="Calibri"/>
              <a:sym typeface="Calibri"/>
            </a:endParaRPr>
          </a:p>
        </p:txBody>
      </p:sp>
      <p:sp>
        <p:nvSpPr>
          <p:cNvPr id="138" name="Rectangle: Rounded Corners 1"/>
          <p:cNvSpPr/>
          <p:nvPr/>
        </p:nvSpPr>
        <p:spPr>
          <a:xfrm>
            <a:off x="1482060" y="2640032"/>
            <a:ext cx="3188719" cy="753401"/>
          </a:xfrm>
          <a:prstGeom prst="roundRect">
            <a:avLst>
              <a:gd name="adj" fmla="val 19910"/>
            </a:avLst>
          </a:prstGeom>
          <a:solidFill>
            <a:srgbClr val="E5E5E5"/>
          </a:solidFill>
          <a:ln w="12700">
            <a:miter lim="400000"/>
          </a:ln>
        </p:spPr>
        <p:txBody>
          <a:bodyPr lIns="27726" tIns="27726" rIns="27726" bIns="27726" anchor="ctr"/>
          <a:lstStyle/>
          <a:p>
            <a:pPr defTabSz="554805" hangingPunct="0">
              <a:defRPr>
                <a:latin typeface="Calibri"/>
                <a:ea typeface="Calibri"/>
                <a:cs typeface="Calibri"/>
                <a:sym typeface="Calibri"/>
              </a:defRPr>
            </a:pPr>
            <a:endParaRPr sz="1000" kern="0" dirty="0">
              <a:solidFill>
                <a:srgbClr val="000000"/>
              </a:solidFill>
              <a:latin typeface="Calibri"/>
              <a:cs typeface="Calibri"/>
              <a:sym typeface="Calibri"/>
            </a:endParaRPr>
          </a:p>
        </p:txBody>
      </p:sp>
      <p:sp>
        <p:nvSpPr>
          <p:cNvPr id="139" name="Rectangle: Rounded Corners 31"/>
          <p:cNvSpPr/>
          <p:nvPr/>
        </p:nvSpPr>
        <p:spPr>
          <a:xfrm>
            <a:off x="4724342" y="1160874"/>
            <a:ext cx="2506463" cy="753401"/>
          </a:xfrm>
          <a:prstGeom prst="roundRect">
            <a:avLst>
              <a:gd name="adj" fmla="val 19910"/>
            </a:avLst>
          </a:prstGeom>
          <a:solidFill>
            <a:srgbClr val="E5E5E5"/>
          </a:solidFill>
          <a:ln w="12700">
            <a:miter lim="400000"/>
          </a:ln>
        </p:spPr>
        <p:txBody>
          <a:bodyPr lIns="27726" tIns="27726" rIns="27726" bIns="27726" anchor="ctr"/>
          <a:lstStyle/>
          <a:p>
            <a:pPr defTabSz="554805" hangingPunct="0">
              <a:defRPr>
                <a:latin typeface="Calibri"/>
                <a:ea typeface="Calibri"/>
                <a:cs typeface="Calibri"/>
                <a:sym typeface="Calibri"/>
              </a:defRPr>
            </a:pPr>
            <a:endParaRPr sz="1000" kern="0" dirty="0">
              <a:solidFill>
                <a:srgbClr val="000000"/>
              </a:solidFill>
              <a:latin typeface="Calibri"/>
              <a:cs typeface="Calibri"/>
              <a:sym typeface="Calibri"/>
            </a:endParaRPr>
          </a:p>
        </p:txBody>
      </p:sp>
      <p:sp>
        <p:nvSpPr>
          <p:cNvPr id="140" name="Freeform 6"/>
          <p:cNvSpPr/>
          <p:nvPr/>
        </p:nvSpPr>
        <p:spPr>
          <a:xfrm>
            <a:off x="4649246" y="2188564"/>
            <a:ext cx="2939219" cy="2939219"/>
          </a:xfrm>
          <a:prstGeom prst="ellipse">
            <a:avLst/>
          </a:prstGeom>
          <a:solidFill>
            <a:srgbClr val="FAF8F8"/>
          </a:solidFill>
          <a:ln w="12700">
            <a:miter lim="400000"/>
          </a:ln>
        </p:spPr>
        <p:txBody>
          <a:bodyPr lIns="27726" tIns="27726" rIns="27726" bIns="27726"/>
          <a:lstStyle/>
          <a:p>
            <a:pPr defTabSz="554805" hangingPunct="0">
              <a:defRPr sz="2600">
                <a:latin typeface="Calibri"/>
                <a:ea typeface="Calibri"/>
                <a:cs typeface="Calibri"/>
                <a:sym typeface="Calibri"/>
              </a:defRPr>
            </a:pPr>
            <a:endParaRPr sz="1300" kern="0" dirty="0">
              <a:solidFill>
                <a:srgbClr val="000000"/>
              </a:solidFill>
              <a:latin typeface="Calibri"/>
              <a:cs typeface="Calibri"/>
              <a:sym typeface="Calibri"/>
            </a:endParaRPr>
          </a:p>
        </p:txBody>
      </p:sp>
      <p:sp>
        <p:nvSpPr>
          <p:cNvPr id="141" name="Freeform 8"/>
          <p:cNvSpPr/>
          <p:nvPr/>
        </p:nvSpPr>
        <p:spPr>
          <a:xfrm>
            <a:off x="5455727" y="1627911"/>
            <a:ext cx="1076783" cy="1076783"/>
          </a:xfrm>
          <a:prstGeom prst="rect">
            <a:avLst/>
          </a:prstGeom>
          <a:blipFill>
            <a:blip r:embed="rId2"/>
            <a:stretch>
              <a:fillRect/>
            </a:stretch>
          </a:blipFill>
          <a:ln w="12700">
            <a:miter lim="400000"/>
          </a:ln>
        </p:spPr>
        <p:txBody>
          <a:bodyPr lIns="27726" tIns="27726" rIns="27726" bIns="27726"/>
          <a:lstStyle/>
          <a:p>
            <a:pPr defTabSz="554805" hangingPunct="0">
              <a:defRPr sz="2600">
                <a:latin typeface="Calibri"/>
                <a:ea typeface="Calibri"/>
                <a:cs typeface="Calibri"/>
                <a:sym typeface="Calibri"/>
              </a:defRPr>
            </a:pPr>
            <a:endParaRPr sz="1300" kern="0" dirty="0">
              <a:solidFill>
                <a:srgbClr val="000000"/>
              </a:solidFill>
              <a:latin typeface="Calibri"/>
              <a:cs typeface="Calibri"/>
              <a:sym typeface="Calibri"/>
            </a:endParaRPr>
          </a:p>
        </p:txBody>
      </p:sp>
      <p:sp>
        <p:nvSpPr>
          <p:cNvPr id="142" name="Freeform 9"/>
          <p:cNvSpPr/>
          <p:nvPr/>
        </p:nvSpPr>
        <p:spPr>
          <a:xfrm>
            <a:off x="6917367" y="2471785"/>
            <a:ext cx="1076783" cy="1076783"/>
          </a:xfrm>
          <a:prstGeom prst="rect">
            <a:avLst/>
          </a:prstGeom>
          <a:blipFill>
            <a:blip r:embed="rId2"/>
            <a:stretch>
              <a:fillRect/>
            </a:stretch>
          </a:blipFill>
          <a:ln w="12700">
            <a:miter lim="400000"/>
          </a:ln>
        </p:spPr>
        <p:txBody>
          <a:bodyPr lIns="27726" tIns="27726" rIns="27726" bIns="27726"/>
          <a:lstStyle/>
          <a:p>
            <a:pPr defTabSz="554805" hangingPunct="0">
              <a:defRPr sz="2600">
                <a:latin typeface="Calibri"/>
                <a:ea typeface="Calibri"/>
                <a:cs typeface="Calibri"/>
                <a:sym typeface="Calibri"/>
              </a:defRPr>
            </a:pPr>
            <a:endParaRPr sz="1300" kern="0" dirty="0">
              <a:solidFill>
                <a:srgbClr val="000000"/>
              </a:solidFill>
              <a:latin typeface="Calibri"/>
              <a:cs typeface="Calibri"/>
              <a:sym typeface="Calibri"/>
            </a:endParaRPr>
          </a:p>
        </p:txBody>
      </p:sp>
      <p:sp>
        <p:nvSpPr>
          <p:cNvPr id="143" name="Freeform 10"/>
          <p:cNvSpPr/>
          <p:nvPr/>
        </p:nvSpPr>
        <p:spPr>
          <a:xfrm>
            <a:off x="3994088" y="2478341"/>
            <a:ext cx="1076783" cy="1076782"/>
          </a:xfrm>
          <a:prstGeom prst="rect">
            <a:avLst/>
          </a:prstGeom>
          <a:blipFill>
            <a:blip r:embed="rId2"/>
            <a:stretch>
              <a:fillRect/>
            </a:stretch>
          </a:blipFill>
          <a:ln w="12700">
            <a:miter lim="400000"/>
          </a:ln>
        </p:spPr>
        <p:txBody>
          <a:bodyPr lIns="27726" tIns="27726" rIns="27726" bIns="27726"/>
          <a:lstStyle/>
          <a:p>
            <a:pPr defTabSz="554805" hangingPunct="0">
              <a:defRPr sz="2600">
                <a:latin typeface="Calibri"/>
                <a:ea typeface="Calibri"/>
                <a:cs typeface="Calibri"/>
                <a:sym typeface="Calibri"/>
              </a:defRPr>
            </a:pPr>
            <a:endParaRPr sz="1300" kern="0" dirty="0">
              <a:solidFill>
                <a:srgbClr val="000000"/>
              </a:solidFill>
              <a:latin typeface="Calibri"/>
              <a:cs typeface="Calibri"/>
              <a:sym typeface="Calibri"/>
            </a:endParaRPr>
          </a:p>
        </p:txBody>
      </p:sp>
      <p:sp>
        <p:nvSpPr>
          <p:cNvPr id="144" name="Freeform 11"/>
          <p:cNvSpPr/>
          <p:nvPr/>
        </p:nvSpPr>
        <p:spPr>
          <a:xfrm>
            <a:off x="6922327" y="3816517"/>
            <a:ext cx="1076783" cy="1076782"/>
          </a:xfrm>
          <a:prstGeom prst="rect">
            <a:avLst/>
          </a:prstGeom>
          <a:blipFill>
            <a:blip r:embed="rId2"/>
            <a:stretch>
              <a:fillRect/>
            </a:stretch>
          </a:blipFill>
          <a:ln w="12700">
            <a:miter lim="400000"/>
          </a:ln>
        </p:spPr>
        <p:txBody>
          <a:bodyPr lIns="27726" tIns="27726" rIns="27726" bIns="27726"/>
          <a:lstStyle/>
          <a:p>
            <a:pPr defTabSz="554805" hangingPunct="0">
              <a:defRPr sz="2600">
                <a:latin typeface="Calibri"/>
                <a:ea typeface="Calibri"/>
                <a:cs typeface="Calibri"/>
                <a:sym typeface="Calibri"/>
              </a:defRPr>
            </a:pPr>
            <a:endParaRPr sz="1300" kern="0" dirty="0">
              <a:solidFill>
                <a:srgbClr val="000000"/>
              </a:solidFill>
              <a:latin typeface="Calibri"/>
              <a:cs typeface="Calibri"/>
              <a:sym typeface="Calibri"/>
            </a:endParaRPr>
          </a:p>
        </p:txBody>
      </p:sp>
      <p:sp>
        <p:nvSpPr>
          <p:cNvPr id="145" name="Freeform 16"/>
          <p:cNvSpPr/>
          <p:nvPr/>
        </p:nvSpPr>
        <p:spPr>
          <a:xfrm>
            <a:off x="7194130" y="2801200"/>
            <a:ext cx="523258" cy="417953"/>
          </a:xfrm>
          <a:prstGeom prst="rect">
            <a:avLst/>
          </a:prstGeom>
          <a:blipFill>
            <a:blip r:embed="rId3"/>
            <a:stretch>
              <a:fillRect/>
            </a:stretch>
          </a:blipFill>
          <a:ln w="12700">
            <a:miter lim="400000"/>
          </a:ln>
        </p:spPr>
        <p:txBody>
          <a:bodyPr lIns="27726" tIns="27726" rIns="27726" bIns="27726"/>
          <a:lstStyle/>
          <a:p>
            <a:pPr defTabSz="554805" hangingPunct="0">
              <a:defRPr sz="2600">
                <a:latin typeface="Calibri"/>
                <a:ea typeface="Calibri"/>
                <a:cs typeface="Calibri"/>
                <a:sym typeface="Calibri"/>
              </a:defRPr>
            </a:pPr>
            <a:endParaRPr sz="1300" kern="0" dirty="0">
              <a:solidFill>
                <a:srgbClr val="000000"/>
              </a:solidFill>
              <a:latin typeface="Calibri"/>
              <a:cs typeface="Calibri"/>
              <a:sym typeface="Calibri"/>
            </a:endParaRPr>
          </a:p>
        </p:txBody>
      </p:sp>
      <p:sp>
        <p:nvSpPr>
          <p:cNvPr id="146" name="Freeform 17"/>
          <p:cNvSpPr/>
          <p:nvPr/>
        </p:nvSpPr>
        <p:spPr>
          <a:xfrm>
            <a:off x="5760707" y="1932890"/>
            <a:ext cx="466824" cy="466824"/>
          </a:xfrm>
          <a:prstGeom prst="rect">
            <a:avLst/>
          </a:prstGeom>
          <a:blipFill>
            <a:blip r:embed="rId4"/>
            <a:stretch>
              <a:fillRect/>
            </a:stretch>
          </a:blipFill>
          <a:ln w="12700">
            <a:miter lim="400000"/>
          </a:ln>
        </p:spPr>
        <p:txBody>
          <a:bodyPr lIns="27726" tIns="27726" rIns="27726" bIns="27726"/>
          <a:lstStyle/>
          <a:p>
            <a:pPr defTabSz="554805" hangingPunct="0">
              <a:defRPr sz="2600">
                <a:latin typeface="Calibri"/>
                <a:ea typeface="Calibri"/>
                <a:cs typeface="Calibri"/>
                <a:sym typeface="Calibri"/>
              </a:defRPr>
            </a:pPr>
            <a:endParaRPr sz="1300" kern="0" dirty="0">
              <a:solidFill>
                <a:srgbClr val="000000"/>
              </a:solidFill>
              <a:latin typeface="Calibri"/>
              <a:cs typeface="Calibri"/>
              <a:sym typeface="Calibri"/>
            </a:endParaRPr>
          </a:p>
        </p:txBody>
      </p:sp>
      <p:sp>
        <p:nvSpPr>
          <p:cNvPr id="147" name="Freeform 18"/>
          <p:cNvSpPr/>
          <p:nvPr/>
        </p:nvSpPr>
        <p:spPr>
          <a:xfrm>
            <a:off x="4272754" y="2757008"/>
            <a:ext cx="519450" cy="519449"/>
          </a:xfrm>
          <a:prstGeom prst="rect">
            <a:avLst/>
          </a:prstGeom>
          <a:blipFill>
            <a:blip r:embed="rId5"/>
            <a:stretch>
              <a:fillRect/>
            </a:stretch>
          </a:blipFill>
          <a:ln w="12700">
            <a:miter lim="400000"/>
          </a:ln>
        </p:spPr>
        <p:txBody>
          <a:bodyPr lIns="27726" tIns="27726" rIns="27726" bIns="27726"/>
          <a:lstStyle/>
          <a:p>
            <a:pPr defTabSz="554805" hangingPunct="0">
              <a:defRPr sz="2600">
                <a:latin typeface="Calibri"/>
                <a:ea typeface="Calibri"/>
                <a:cs typeface="Calibri"/>
                <a:sym typeface="Calibri"/>
              </a:defRPr>
            </a:pPr>
            <a:endParaRPr sz="1300" kern="0" dirty="0">
              <a:solidFill>
                <a:srgbClr val="000000"/>
              </a:solidFill>
              <a:latin typeface="Calibri"/>
              <a:cs typeface="Calibri"/>
              <a:sym typeface="Calibri"/>
            </a:endParaRPr>
          </a:p>
        </p:txBody>
      </p:sp>
      <p:sp>
        <p:nvSpPr>
          <p:cNvPr id="148" name="TextBox 20"/>
          <p:cNvSpPr txBox="1"/>
          <p:nvPr/>
        </p:nvSpPr>
        <p:spPr>
          <a:xfrm>
            <a:off x="5365753" y="1269502"/>
            <a:ext cx="1256730" cy="33701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nSpc>
                <a:spcPts val="5600"/>
              </a:lnSpc>
              <a:defRPr sz="4000" b="1">
                <a:solidFill>
                  <a:srgbClr val="4594D1"/>
                </a:solidFill>
                <a:latin typeface="Uniform-Black"/>
                <a:ea typeface="Uniform-Black"/>
                <a:cs typeface="Uniform-Black"/>
                <a:sym typeface="Uniform-Black"/>
              </a:defRPr>
            </a:lvl1pPr>
          </a:lstStyle>
          <a:p>
            <a:pPr defTabSz="554805" hangingPunct="0">
              <a:lnSpc>
                <a:spcPts val="2800"/>
              </a:lnSpc>
            </a:pPr>
            <a:r>
              <a:rPr sz="2000" kern="0" dirty="0"/>
              <a:t>Visibility</a:t>
            </a:r>
          </a:p>
        </p:txBody>
      </p:sp>
      <p:sp>
        <p:nvSpPr>
          <p:cNvPr id="149" name="TextBox 21"/>
          <p:cNvSpPr txBox="1"/>
          <p:nvPr/>
        </p:nvSpPr>
        <p:spPr>
          <a:xfrm>
            <a:off x="1097122" y="2804194"/>
            <a:ext cx="2712174" cy="33701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gn="r">
              <a:lnSpc>
                <a:spcPts val="5600"/>
              </a:lnSpc>
              <a:defRPr sz="4000" b="1">
                <a:solidFill>
                  <a:srgbClr val="4594D1"/>
                </a:solidFill>
                <a:latin typeface="Uniform-Black"/>
                <a:ea typeface="Uniform-Black"/>
                <a:cs typeface="Uniform-Black"/>
                <a:sym typeface="Uniform-Black"/>
              </a:defRPr>
            </a:lvl1pPr>
          </a:lstStyle>
          <a:p>
            <a:pPr defTabSz="554805" hangingPunct="0">
              <a:lnSpc>
                <a:spcPts val="2800"/>
              </a:lnSpc>
            </a:pPr>
            <a:r>
              <a:rPr sz="2000" kern="0" dirty="0"/>
              <a:t>Precise reporting</a:t>
            </a:r>
          </a:p>
        </p:txBody>
      </p:sp>
      <p:sp>
        <p:nvSpPr>
          <p:cNvPr id="150" name="TextBox 22"/>
          <p:cNvSpPr txBox="1"/>
          <p:nvPr/>
        </p:nvSpPr>
        <p:spPr>
          <a:xfrm>
            <a:off x="8086371" y="2809331"/>
            <a:ext cx="2206472" cy="33701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gn="ctr">
              <a:lnSpc>
                <a:spcPts val="5600"/>
              </a:lnSpc>
              <a:defRPr sz="4000" b="1">
                <a:solidFill>
                  <a:srgbClr val="4594D1"/>
                </a:solidFill>
                <a:latin typeface="Uniform-Black"/>
                <a:ea typeface="Uniform-Black"/>
                <a:cs typeface="Uniform-Black"/>
                <a:sym typeface="Uniform-Black"/>
              </a:defRPr>
            </a:lvl1pPr>
          </a:lstStyle>
          <a:p>
            <a:pPr defTabSz="554805" hangingPunct="0">
              <a:lnSpc>
                <a:spcPts val="2800"/>
              </a:lnSpc>
            </a:pPr>
            <a:r>
              <a:rPr sz="2000" kern="0" dirty="0"/>
              <a:t>Team of advisors</a:t>
            </a:r>
          </a:p>
        </p:txBody>
      </p:sp>
      <p:sp>
        <p:nvSpPr>
          <p:cNvPr id="151" name="Freeform 28"/>
          <p:cNvSpPr/>
          <p:nvPr/>
        </p:nvSpPr>
        <p:spPr>
          <a:xfrm>
            <a:off x="7243454" y="4118877"/>
            <a:ext cx="434528" cy="435320"/>
          </a:xfrm>
          <a:prstGeom prst="rect">
            <a:avLst/>
          </a:prstGeom>
          <a:blipFill>
            <a:blip r:embed="rId6"/>
            <a:stretch>
              <a:fillRect/>
            </a:stretch>
          </a:blipFill>
          <a:ln w="12700">
            <a:miter lim="400000"/>
          </a:ln>
        </p:spPr>
        <p:txBody>
          <a:bodyPr lIns="27726" tIns="27726" rIns="27726" bIns="27726"/>
          <a:lstStyle/>
          <a:p>
            <a:pPr defTabSz="554805" hangingPunct="0">
              <a:defRPr sz="2600">
                <a:latin typeface="Calibri"/>
                <a:ea typeface="Calibri"/>
                <a:cs typeface="Calibri"/>
                <a:sym typeface="Calibri"/>
              </a:defRPr>
            </a:pPr>
            <a:endParaRPr sz="1300" kern="0" dirty="0">
              <a:solidFill>
                <a:srgbClr val="000000"/>
              </a:solidFill>
              <a:latin typeface="Calibri"/>
              <a:cs typeface="Calibri"/>
              <a:sym typeface="Calibri"/>
            </a:endParaRPr>
          </a:p>
        </p:txBody>
      </p:sp>
      <p:sp>
        <p:nvSpPr>
          <p:cNvPr id="152" name="object 3"/>
          <p:cNvSpPr txBox="1"/>
          <p:nvPr/>
        </p:nvSpPr>
        <p:spPr>
          <a:xfrm>
            <a:off x="3448135" y="283938"/>
            <a:ext cx="5326065" cy="615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indent="12700" algn="ctr">
              <a:defRPr sz="8000" b="1" spc="-374">
                <a:solidFill>
                  <a:srgbClr val="4594D0"/>
                </a:solidFill>
                <a:latin typeface="Uniform-Black"/>
                <a:ea typeface="Uniform-Black"/>
                <a:cs typeface="Uniform-Black"/>
                <a:sym typeface="Uniform-Black"/>
              </a:defRPr>
            </a:lvl1pPr>
          </a:lstStyle>
          <a:p>
            <a:pPr indent="6350" defTabSz="554805" hangingPunct="0"/>
            <a:r>
              <a:rPr sz="4000" kern="0" spc="-187" dirty="0"/>
              <a:t>What it takes </a:t>
            </a:r>
          </a:p>
        </p:txBody>
      </p:sp>
      <p:sp>
        <p:nvSpPr>
          <p:cNvPr id="153" name="TextBox 22"/>
          <p:cNvSpPr txBox="1"/>
          <p:nvPr/>
        </p:nvSpPr>
        <p:spPr>
          <a:xfrm>
            <a:off x="8248209" y="4006687"/>
            <a:ext cx="4033442" cy="69608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gn="ctr">
              <a:lnSpc>
                <a:spcPts val="5600"/>
              </a:lnSpc>
              <a:defRPr sz="4000" b="1">
                <a:solidFill>
                  <a:srgbClr val="4594D1"/>
                </a:solidFill>
                <a:latin typeface="Uniform-Black"/>
                <a:ea typeface="Uniform-Black"/>
                <a:cs typeface="Uniform-Black"/>
                <a:sym typeface="Uniform-Black"/>
              </a:defRPr>
            </a:lvl1pPr>
          </a:lstStyle>
          <a:p>
            <a:pPr algn="l" defTabSz="554805" hangingPunct="0">
              <a:lnSpc>
                <a:spcPts val="2800"/>
              </a:lnSpc>
            </a:pPr>
            <a:r>
              <a:rPr lang="en-US" sz="2000" kern="0" dirty="0"/>
              <a:t>Build trust -</a:t>
            </a:r>
          </a:p>
          <a:p>
            <a:pPr algn="l" defTabSz="554805" hangingPunct="0">
              <a:lnSpc>
                <a:spcPts val="2800"/>
              </a:lnSpc>
            </a:pPr>
            <a:r>
              <a:rPr lang="en-US" sz="2000" kern="0" dirty="0"/>
              <a:t>promise &amp; deliver</a:t>
            </a:r>
          </a:p>
        </p:txBody>
      </p:sp>
      <p:sp>
        <p:nvSpPr>
          <p:cNvPr id="155" name="TextBox 21"/>
          <p:cNvSpPr txBox="1"/>
          <p:nvPr/>
        </p:nvSpPr>
        <p:spPr>
          <a:xfrm>
            <a:off x="1159681" y="4169249"/>
            <a:ext cx="2712173" cy="33701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gn="r">
              <a:lnSpc>
                <a:spcPts val="5600"/>
              </a:lnSpc>
              <a:defRPr sz="4000" b="1">
                <a:solidFill>
                  <a:srgbClr val="4594D1"/>
                </a:solidFill>
                <a:latin typeface="Uniform-Black"/>
                <a:ea typeface="Uniform-Black"/>
                <a:cs typeface="Uniform-Black"/>
                <a:sym typeface="Uniform-Black"/>
              </a:defRPr>
            </a:lvl1pPr>
          </a:lstStyle>
          <a:p>
            <a:pPr defTabSz="554805" hangingPunct="0">
              <a:lnSpc>
                <a:spcPts val="2800"/>
              </a:lnSpc>
            </a:pPr>
            <a:r>
              <a:rPr sz="2000" kern="0" dirty="0"/>
              <a:t>Time – Rule of 7</a:t>
            </a:r>
          </a:p>
        </p:txBody>
      </p:sp>
      <p:sp>
        <p:nvSpPr>
          <p:cNvPr id="156" name="Freeform 11"/>
          <p:cNvSpPr/>
          <p:nvPr/>
        </p:nvSpPr>
        <p:spPr>
          <a:xfrm>
            <a:off x="3994924" y="3815178"/>
            <a:ext cx="1076783" cy="1076782"/>
          </a:xfrm>
          <a:prstGeom prst="rect">
            <a:avLst/>
          </a:prstGeom>
          <a:blipFill>
            <a:blip r:embed="rId2"/>
            <a:stretch>
              <a:fillRect/>
            </a:stretch>
          </a:blipFill>
          <a:ln w="12700">
            <a:miter lim="400000"/>
          </a:ln>
        </p:spPr>
        <p:txBody>
          <a:bodyPr lIns="27726" tIns="27726" rIns="27726" bIns="27726"/>
          <a:lstStyle/>
          <a:p>
            <a:pPr defTabSz="554805" hangingPunct="0">
              <a:defRPr sz="2600">
                <a:latin typeface="Calibri"/>
                <a:ea typeface="Calibri"/>
                <a:cs typeface="Calibri"/>
                <a:sym typeface="Calibri"/>
              </a:defRPr>
            </a:pPr>
            <a:endParaRPr sz="1300" kern="0" dirty="0">
              <a:solidFill>
                <a:srgbClr val="000000"/>
              </a:solidFill>
              <a:latin typeface="Calibri"/>
              <a:cs typeface="Calibri"/>
              <a:sym typeface="Calibri"/>
            </a:endParaRPr>
          </a:p>
        </p:txBody>
      </p:sp>
      <p:sp>
        <p:nvSpPr>
          <p:cNvPr id="157" name="Freeform 3"/>
          <p:cNvSpPr/>
          <p:nvPr/>
        </p:nvSpPr>
        <p:spPr>
          <a:xfrm>
            <a:off x="4314462" y="4136550"/>
            <a:ext cx="437707" cy="437707"/>
          </a:xfrm>
          <a:prstGeom prst="rect">
            <a:avLst/>
          </a:prstGeom>
          <a:blipFill>
            <a:blip r:embed="rId7"/>
            <a:stretch>
              <a:fillRect/>
            </a:stretch>
          </a:blipFill>
          <a:ln w="12700">
            <a:miter lim="400000"/>
          </a:ln>
        </p:spPr>
        <p:txBody>
          <a:bodyPr lIns="27726" tIns="27726" rIns="27726" bIns="27726"/>
          <a:lstStyle/>
          <a:p>
            <a:pPr defTabSz="457200" hangingPunct="0">
              <a:defRPr sz="1800">
                <a:latin typeface="Calibri"/>
                <a:ea typeface="Calibri"/>
                <a:cs typeface="Calibri"/>
                <a:sym typeface="Calibri"/>
              </a:defRPr>
            </a:pPr>
            <a:endParaRPr sz="900" kern="0" dirty="0">
              <a:solidFill>
                <a:srgbClr val="000000"/>
              </a:solidFill>
              <a:latin typeface="Calibri"/>
              <a:cs typeface="Calibri"/>
              <a:sym typeface="Calibri"/>
            </a:endParaRPr>
          </a:p>
        </p:txBody>
      </p:sp>
      <p:pic>
        <p:nvPicPr>
          <p:cNvPr id="2" name="Image" descr="Image">
            <a:extLst>
              <a:ext uri="{FF2B5EF4-FFF2-40B4-BE49-F238E27FC236}">
                <a16:creationId xmlns:a16="http://schemas.microsoft.com/office/drawing/2014/main" id="{F4FABD83-3A9B-18F1-1E0C-7CDF2BD7C908}"/>
              </a:ext>
            </a:extLst>
          </p:cNvPr>
          <p:cNvPicPr>
            <a:picLocks noChangeAspect="1"/>
          </p:cNvPicPr>
          <p:nvPr/>
        </p:nvPicPr>
        <p:blipFill>
          <a:blip r:embed="rId8"/>
          <a:stretch>
            <a:fillRect/>
          </a:stretch>
        </p:blipFill>
        <p:spPr>
          <a:xfrm>
            <a:off x="11288886" y="571589"/>
            <a:ext cx="305388" cy="305387"/>
          </a:xfrm>
          <a:prstGeom prst="rect">
            <a:avLst/>
          </a:prstGeom>
          <a:ln w="12700">
            <a:miter lim="400000"/>
          </a:ln>
        </p:spPr>
      </p:pic>
      <p:sp>
        <p:nvSpPr>
          <p:cNvPr id="3" name="Rectangle: Rounded Corners 1">
            <a:extLst>
              <a:ext uri="{FF2B5EF4-FFF2-40B4-BE49-F238E27FC236}">
                <a16:creationId xmlns:a16="http://schemas.microsoft.com/office/drawing/2014/main" id="{7171791F-581D-5DFA-5D5C-7BDA90469073}"/>
              </a:ext>
            </a:extLst>
          </p:cNvPr>
          <p:cNvSpPr/>
          <p:nvPr/>
        </p:nvSpPr>
        <p:spPr>
          <a:xfrm>
            <a:off x="4762356" y="5466920"/>
            <a:ext cx="2506464" cy="753401"/>
          </a:xfrm>
          <a:prstGeom prst="roundRect">
            <a:avLst>
              <a:gd name="adj" fmla="val 19910"/>
            </a:avLst>
          </a:prstGeom>
          <a:solidFill>
            <a:srgbClr val="E5E5E5"/>
          </a:solidFill>
          <a:ln w="12700">
            <a:miter lim="400000"/>
          </a:ln>
        </p:spPr>
        <p:txBody>
          <a:bodyPr lIns="27726" tIns="27726" rIns="27726" bIns="27726" anchor="ctr"/>
          <a:lstStyle/>
          <a:p>
            <a:pPr defTabSz="554805" hangingPunct="0">
              <a:defRPr>
                <a:latin typeface="Calibri"/>
                <a:ea typeface="Calibri"/>
                <a:cs typeface="Calibri"/>
                <a:sym typeface="Calibri"/>
              </a:defRPr>
            </a:pPr>
            <a:endParaRPr sz="1000" kern="0" dirty="0">
              <a:solidFill>
                <a:srgbClr val="000000"/>
              </a:solidFill>
              <a:latin typeface="Calibri"/>
              <a:cs typeface="Calibri"/>
              <a:sym typeface="Calibri"/>
            </a:endParaRPr>
          </a:p>
        </p:txBody>
      </p:sp>
      <p:sp>
        <p:nvSpPr>
          <p:cNvPr id="4" name="TextBox 21">
            <a:extLst>
              <a:ext uri="{FF2B5EF4-FFF2-40B4-BE49-F238E27FC236}">
                <a16:creationId xmlns:a16="http://schemas.microsoft.com/office/drawing/2014/main" id="{ED8B021E-A8C3-F269-A6DC-ED909ECFBC55}"/>
              </a:ext>
            </a:extLst>
          </p:cNvPr>
          <p:cNvSpPr txBox="1"/>
          <p:nvPr/>
        </p:nvSpPr>
        <p:spPr>
          <a:xfrm>
            <a:off x="4621487" y="5731111"/>
            <a:ext cx="2712173" cy="33701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gn="r">
              <a:lnSpc>
                <a:spcPts val="5600"/>
              </a:lnSpc>
              <a:defRPr sz="4000" b="1">
                <a:solidFill>
                  <a:srgbClr val="4594D1"/>
                </a:solidFill>
                <a:latin typeface="Uniform-Black"/>
                <a:ea typeface="Uniform-Black"/>
                <a:cs typeface="Uniform-Black"/>
                <a:sym typeface="Uniform-Black"/>
              </a:defRPr>
            </a:lvl1pPr>
          </a:lstStyle>
          <a:p>
            <a:pPr algn="ctr" defTabSz="554805" hangingPunct="0">
              <a:lnSpc>
                <a:spcPts val="2800"/>
              </a:lnSpc>
            </a:pPr>
            <a:r>
              <a:rPr lang="en-US" sz="2000" kern="0" dirty="0"/>
              <a:t>Resources</a:t>
            </a:r>
            <a:endParaRPr sz="2000" kern="0" dirty="0"/>
          </a:p>
        </p:txBody>
      </p:sp>
      <p:sp>
        <p:nvSpPr>
          <p:cNvPr id="5" name="Freeform 11">
            <a:extLst>
              <a:ext uri="{FF2B5EF4-FFF2-40B4-BE49-F238E27FC236}">
                <a16:creationId xmlns:a16="http://schemas.microsoft.com/office/drawing/2014/main" id="{A8116392-6F99-7716-6BF2-7EA3EF111B22}"/>
              </a:ext>
            </a:extLst>
          </p:cNvPr>
          <p:cNvSpPr/>
          <p:nvPr/>
        </p:nvSpPr>
        <p:spPr>
          <a:xfrm>
            <a:off x="5455727" y="4653682"/>
            <a:ext cx="1076783" cy="1076782"/>
          </a:xfrm>
          <a:prstGeom prst="rect">
            <a:avLst/>
          </a:prstGeom>
          <a:blipFill>
            <a:blip r:embed="rId2"/>
            <a:stretch>
              <a:fillRect/>
            </a:stretch>
          </a:blipFill>
          <a:ln w="12700">
            <a:miter lim="400000"/>
          </a:ln>
        </p:spPr>
        <p:txBody>
          <a:bodyPr lIns="27726" tIns="27726" rIns="27726" bIns="27726"/>
          <a:lstStyle/>
          <a:p>
            <a:pPr defTabSz="554805" hangingPunct="0">
              <a:defRPr sz="2600">
                <a:latin typeface="Calibri"/>
                <a:ea typeface="Calibri"/>
                <a:cs typeface="Calibri"/>
                <a:sym typeface="Calibri"/>
              </a:defRPr>
            </a:pPr>
            <a:endParaRPr sz="1300" kern="0" dirty="0">
              <a:solidFill>
                <a:srgbClr val="000000"/>
              </a:solidFill>
              <a:latin typeface="Calibri"/>
              <a:cs typeface="Calibri"/>
              <a:sym typeface="Calibri"/>
            </a:endParaRPr>
          </a:p>
        </p:txBody>
      </p:sp>
      <p:sp>
        <p:nvSpPr>
          <p:cNvPr id="7" name="Freeform 14">
            <a:extLst>
              <a:ext uri="{FF2B5EF4-FFF2-40B4-BE49-F238E27FC236}">
                <a16:creationId xmlns:a16="http://schemas.microsoft.com/office/drawing/2014/main" id="{0C6B7573-98F1-DDCE-94AB-94A83698B13F}"/>
              </a:ext>
            </a:extLst>
          </p:cNvPr>
          <p:cNvSpPr/>
          <p:nvPr/>
        </p:nvSpPr>
        <p:spPr>
          <a:xfrm>
            <a:off x="5801388" y="4962982"/>
            <a:ext cx="428401" cy="413602"/>
          </a:xfrm>
          <a:custGeom>
            <a:avLst/>
            <a:gdLst/>
            <a:ahLst/>
            <a:cxnLst/>
            <a:rect l="l" t="t" r="r" b="b"/>
            <a:pathLst>
              <a:path w="856802" h="827204">
                <a:moveTo>
                  <a:pt x="0" y="0"/>
                </a:moveTo>
                <a:lnTo>
                  <a:pt x="856802" y="0"/>
                </a:lnTo>
                <a:lnTo>
                  <a:pt x="856802" y="827204"/>
                </a:lnTo>
                <a:lnTo>
                  <a:pt x="0" y="827204"/>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pPr defTabSz="554805" hangingPunct="0"/>
            <a:endParaRPr lang="bg-BG" sz="1000" kern="0">
              <a:solidFill>
                <a:srgbClr val="000000"/>
              </a:solidFill>
              <a:latin typeface="Helvetica Neue"/>
              <a:ea typeface="Helvetica Neue"/>
              <a:cs typeface="Helvetica Neue"/>
              <a:sym typeface="Helvetica Neue"/>
            </a:endParaRPr>
          </a:p>
        </p:txBody>
      </p:sp>
    </p:spTree>
    <p:extLst>
      <p:ext uri="{BB962C8B-B14F-4D97-AF65-F5344CB8AC3E}">
        <p14:creationId xmlns:p14="http://schemas.microsoft.com/office/powerpoint/2010/main" val="1357095629"/>
      </p:ext>
    </p:extLst>
  </p:cSld>
  <p:clrMapOvr>
    <a:masterClrMapping/>
  </p:clrMapOvr>
  <p:transition spd="med"/>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object 3"/>
          <p:cNvSpPr txBox="1"/>
          <p:nvPr/>
        </p:nvSpPr>
        <p:spPr>
          <a:xfrm>
            <a:off x="778717" y="1612900"/>
            <a:ext cx="3436885" cy="61555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p>
            <a:pPr indent="6350" defTabSz="554805" hangingPunct="0">
              <a:defRPr sz="8000" b="1" spc="-374">
                <a:solidFill>
                  <a:srgbClr val="4594D0"/>
                </a:solidFill>
                <a:latin typeface="Uniform-Black"/>
                <a:ea typeface="Uniform-Black"/>
                <a:cs typeface="Uniform-Black"/>
                <a:sym typeface="Uniform Black"/>
              </a:defRPr>
            </a:pPr>
            <a:r>
              <a:rPr sz="4000" b="1" kern="0" spc="-187" dirty="0">
                <a:solidFill>
                  <a:srgbClr val="4594D0"/>
                </a:solidFill>
                <a:latin typeface="Uniform-Black"/>
                <a:sym typeface="Uniform Black"/>
              </a:rPr>
              <a:t>Visibility</a:t>
            </a:r>
          </a:p>
        </p:txBody>
      </p:sp>
      <p:pic>
        <p:nvPicPr>
          <p:cNvPr id="108" name="Image" descr="Image"/>
          <p:cNvPicPr>
            <a:picLocks noChangeAspect="1"/>
          </p:cNvPicPr>
          <p:nvPr/>
        </p:nvPicPr>
        <p:blipFill>
          <a:blip r:embed="rId2"/>
          <a:stretch>
            <a:fillRect/>
          </a:stretch>
        </p:blipFill>
        <p:spPr>
          <a:xfrm>
            <a:off x="11288886" y="571589"/>
            <a:ext cx="305388" cy="305387"/>
          </a:xfrm>
          <a:prstGeom prst="rect">
            <a:avLst/>
          </a:prstGeom>
          <a:ln w="12700">
            <a:miter lim="400000"/>
          </a:ln>
        </p:spPr>
      </p:pic>
      <p:sp>
        <p:nvSpPr>
          <p:cNvPr id="109" name="object 3"/>
          <p:cNvSpPr txBox="1"/>
          <p:nvPr/>
        </p:nvSpPr>
        <p:spPr>
          <a:xfrm>
            <a:off x="811976" y="2465567"/>
            <a:ext cx="4307352" cy="123110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p>
            <a:pPr marR="9246" indent="6350" defTabSz="554805" hangingPunct="0">
              <a:lnSpc>
                <a:spcPct val="100299"/>
              </a:lnSpc>
              <a:defRPr sz="4000" b="1" spc="-112">
                <a:solidFill>
                  <a:srgbClr val="5C5C5C"/>
                </a:solidFill>
                <a:latin typeface="Uniform-Medium"/>
                <a:ea typeface="Uniform-Medium"/>
                <a:cs typeface="Uniform-Medium"/>
                <a:sym typeface="Uniform Medium"/>
              </a:defRPr>
            </a:pPr>
            <a:r>
              <a:rPr sz="2000" b="1" kern="0" spc="-56" dirty="0">
                <a:solidFill>
                  <a:srgbClr val="5C5C5C"/>
                </a:solidFill>
                <a:latin typeface="Uniform-Medium"/>
                <a:sym typeface="Uniform Medium"/>
              </a:rPr>
              <a:t>Introducing quarterly earning calls, </a:t>
            </a:r>
            <a:r>
              <a:rPr sz="2000" b="1" kern="0" spc="-49" dirty="0">
                <a:solidFill>
                  <a:srgbClr val="5C5C5C"/>
                </a:solidFill>
                <a:latin typeface="Uniform-Black"/>
                <a:ea typeface="Uniform-Black"/>
                <a:cs typeface="Uniform-Black"/>
                <a:sym typeface="Uniform Black"/>
              </a:rPr>
              <a:t>attending investors summits and road shows </a:t>
            </a:r>
            <a:r>
              <a:rPr sz="2000" kern="0" spc="-49" dirty="0">
                <a:solidFill>
                  <a:srgbClr val="5C5C5C"/>
                </a:solidFill>
                <a:latin typeface="Uniform-Black"/>
                <a:ea typeface="Uniform-Black"/>
                <a:cs typeface="Uniform-Black"/>
                <a:sym typeface="Uniform Black"/>
              </a:rPr>
              <a:t>is essential to making the company known by the investors, and the public.</a:t>
            </a:r>
          </a:p>
        </p:txBody>
      </p:sp>
      <p:pic>
        <p:nvPicPr>
          <p:cNvPr id="110" name="Picture 6" descr="Picture 6"/>
          <p:cNvPicPr>
            <a:picLocks noChangeAspect="1"/>
          </p:cNvPicPr>
          <p:nvPr/>
        </p:nvPicPr>
        <p:blipFill>
          <a:blip r:embed="rId3"/>
          <a:stretch>
            <a:fillRect/>
          </a:stretch>
        </p:blipFill>
        <p:spPr>
          <a:xfrm>
            <a:off x="5799132" y="1612900"/>
            <a:ext cx="5562601" cy="4171951"/>
          </a:xfrm>
          <a:custGeom>
            <a:avLst/>
            <a:gdLst/>
            <a:ahLst/>
            <a:cxnLst>
              <a:cxn ang="0">
                <a:pos x="wd2" y="hd2"/>
              </a:cxn>
              <a:cxn ang="5400000">
                <a:pos x="wd2" y="hd2"/>
              </a:cxn>
              <a:cxn ang="10800000">
                <a:pos x="wd2" y="hd2"/>
              </a:cxn>
              <a:cxn ang="16200000">
                <a:pos x="wd2" y="hd2"/>
              </a:cxn>
            </a:cxnLst>
            <a:rect l="0" t="0" r="r" b="b"/>
            <a:pathLst>
              <a:path w="21600" h="21600" extrusionOk="0">
                <a:moveTo>
                  <a:pt x="2700" y="0"/>
                </a:moveTo>
                <a:cubicBezTo>
                  <a:pt x="1209" y="0"/>
                  <a:pt x="0" y="1612"/>
                  <a:pt x="0" y="3600"/>
                </a:cubicBezTo>
                <a:lnTo>
                  <a:pt x="0" y="18000"/>
                </a:lnTo>
                <a:cubicBezTo>
                  <a:pt x="0" y="19988"/>
                  <a:pt x="1209" y="21600"/>
                  <a:pt x="2700" y="21600"/>
                </a:cubicBezTo>
                <a:lnTo>
                  <a:pt x="18900" y="21600"/>
                </a:lnTo>
                <a:cubicBezTo>
                  <a:pt x="20391" y="21600"/>
                  <a:pt x="21600" y="19988"/>
                  <a:pt x="21600" y="18000"/>
                </a:cubicBezTo>
                <a:lnTo>
                  <a:pt x="21600" y="3600"/>
                </a:lnTo>
                <a:cubicBezTo>
                  <a:pt x="21600" y="1612"/>
                  <a:pt x="20391" y="0"/>
                  <a:pt x="18900" y="0"/>
                </a:cubicBezTo>
                <a:lnTo>
                  <a:pt x="2700" y="0"/>
                </a:lnTo>
                <a:close/>
              </a:path>
            </a:pathLst>
          </a:custGeom>
          <a:ln w="12700">
            <a:miter lim="400000"/>
          </a:ln>
          <a:effectLst>
            <a:outerShdw blurRad="177800" dist="127134" dir="5400000" rotWithShape="0">
              <a:srgbClr val="000000">
                <a:alpha val="30000"/>
              </a:srgbClr>
            </a:outerShdw>
          </a:effectLst>
        </p:spPr>
      </p:pic>
    </p:spTree>
  </p:cSld>
  <p:clrMapOvr>
    <a:masterClrMapping/>
  </p:clrMapOvr>
  <p:transition spd="med"/>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object 3"/>
          <p:cNvSpPr txBox="1"/>
          <p:nvPr/>
        </p:nvSpPr>
        <p:spPr>
          <a:xfrm>
            <a:off x="7434899" y="1613159"/>
            <a:ext cx="4637035" cy="61555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indent="12700">
              <a:defRPr sz="8000" b="1" spc="-374">
                <a:solidFill>
                  <a:srgbClr val="4594D0"/>
                </a:solidFill>
                <a:latin typeface="Uniform-Black"/>
                <a:ea typeface="Uniform-Black"/>
                <a:cs typeface="Uniform-Black"/>
                <a:sym typeface="Uniform Black"/>
              </a:defRPr>
            </a:lvl1pPr>
          </a:lstStyle>
          <a:p>
            <a:pPr indent="6350" defTabSz="554805" hangingPunct="0"/>
            <a:r>
              <a:rPr sz="4000" kern="0" spc="-187" dirty="0"/>
              <a:t>Precise reporting</a:t>
            </a:r>
          </a:p>
        </p:txBody>
      </p:sp>
      <p:pic>
        <p:nvPicPr>
          <p:cNvPr id="113" name="Image" descr="Image"/>
          <p:cNvPicPr>
            <a:picLocks noChangeAspect="1"/>
          </p:cNvPicPr>
          <p:nvPr/>
        </p:nvPicPr>
        <p:blipFill>
          <a:blip r:embed="rId2"/>
          <a:stretch>
            <a:fillRect/>
          </a:stretch>
        </p:blipFill>
        <p:spPr>
          <a:xfrm>
            <a:off x="11288886" y="571589"/>
            <a:ext cx="305388" cy="305387"/>
          </a:xfrm>
          <a:prstGeom prst="rect">
            <a:avLst/>
          </a:prstGeom>
          <a:ln w="12700">
            <a:miter lim="400000"/>
          </a:ln>
        </p:spPr>
      </p:pic>
      <p:sp>
        <p:nvSpPr>
          <p:cNvPr id="114" name="object 3"/>
          <p:cNvSpPr txBox="1"/>
          <p:nvPr/>
        </p:nvSpPr>
        <p:spPr>
          <a:xfrm>
            <a:off x="7465058" y="2447715"/>
            <a:ext cx="4307352" cy="123110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p>
            <a:pPr marR="9246" indent="6350" defTabSz="554805" hangingPunct="0">
              <a:lnSpc>
                <a:spcPct val="100299"/>
              </a:lnSpc>
              <a:defRPr sz="4000" spc="-112">
                <a:solidFill>
                  <a:srgbClr val="5C5C5C"/>
                </a:solidFill>
                <a:latin typeface="Uniform-Medium"/>
                <a:ea typeface="Uniform-Medium"/>
                <a:cs typeface="Uniform-Medium"/>
                <a:sym typeface="Uniform Medium"/>
              </a:defRPr>
            </a:pPr>
            <a:r>
              <a:rPr lang="en-US" sz="2000" kern="0" spc="-56" dirty="0">
                <a:solidFill>
                  <a:srgbClr val="5C5C5C"/>
                </a:solidFill>
                <a:latin typeface="Uniform-Medium"/>
                <a:sym typeface="Uniform Medium"/>
              </a:rPr>
              <a:t>Publishing</a:t>
            </a:r>
            <a:r>
              <a:rPr sz="2000" kern="0" spc="-56" dirty="0">
                <a:solidFill>
                  <a:srgbClr val="5C5C5C"/>
                </a:solidFill>
                <a:latin typeface="Uniform-Medium"/>
                <a:sym typeface="Uniform Medium"/>
              </a:rPr>
              <a:t> </a:t>
            </a:r>
            <a:r>
              <a:rPr sz="2000" b="1" kern="0" spc="-56" dirty="0">
                <a:solidFill>
                  <a:srgbClr val="5C5C5C"/>
                </a:solidFill>
                <a:latin typeface="Uniform-Black" panose="02000000000000000000" pitchFamily="50" charset="0"/>
                <a:sym typeface="Uniform Medium"/>
              </a:rPr>
              <a:t>relevant corporate news</a:t>
            </a:r>
            <a:r>
              <a:rPr lang="de-DE" sz="2000" b="1" kern="0" spc="-56" dirty="0">
                <a:solidFill>
                  <a:srgbClr val="5C5C5C"/>
                </a:solidFill>
                <a:latin typeface="Uniform-Black" panose="02000000000000000000" pitchFamily="50" charset="0"/>
                <a:sym typeface="Uniform Medium"/>
              </a:rPr>
              <a:t>, </a:t>
            </a:r>
            <a:r>
              <a:rPr lang="en-US" sz="2000" kern="0" spc="-56" dirty="0">
                <a:solidFill>
                  <a:srgbClr val="5C5C5C"/>
                </a:solidFill>
                <a:latin typeface="Uniform-Medium"/>
                <a:sym typeface="Uniform Medium"/>
              </a:rPr>
              <a:t>announcements</a:t>
            </a:r>
            <a:r>
              <a:rPr lang="de-DE" sz="2000" kern="0" spc="-56" dirty="0">
                <a:solidFill>
                  <a:srgbClr val="5C5C5C"/>
                </a:solidFill>
                <a:latin typeface="Uniform-Medium"/>
                <a:sym typeface="Uniform Medium"/>
              </a:rPr>
              <a:t> and </a:t>
            </a:r>
            <a:r>
              <a:rPr lang="en-US" sz="2000" kern="0" spc="-56" dirty="0">
                <a:solidFill>
                  <a:srgbClr val="5C5C5C"/>
                </a:solidFill>
                <a:latin typeface="Uniform-Black" panose="02000000000000000000" pitchFamily="50" charset="0"/>
                <a:sym typeface="Uniform Medium"/>
              </a:rPr>
              <a:t>solid financial reporting to strengthen strategic investment opportunities.</a:t>
            </a:r>
          </a:p>
        </p:txBody>
      </p:sp>
      <p:pic>
        <p:nvPicPr>
          <p:cNvPr id="115" name="Picture 3" descr="Picture 3"/>
          <p:cNvPicPr>
            <a:picLocks noChangeAspect="1"/>
          </p:cNvPicPr>
          <p:nvPr/>
        </p:nvPicPr>
        <p:blipFill>
          <a:blip r:embed="rId3"/>
          <a:srcRect/>
          <a:stretch>
            <a:fillRect/>
          </a:stretch>
        </p:blipFill>
        <p:spPr>
          <a:xfrm>
            <a:off x="574006" y="1494359"/>
            <a:ext cx="6484686" cy="3601150"/>
          </a:xfrm>
          <a:custGeom>
            <a:avLst/>
            <a:gdLst/>
            <a:ahLst/>
            <a:cxnLst>
              <a:cxn ang="0">
                <a:pos x="wd2" y="hd2"/>
              </a:cxn>
              <a:cxn ang="5400000">
                <a:pos x="wd2" y="hd2"/>
              </a:cxn>
              <a:cxn ang="10800000">
                <a:pos x="wd2" y="hd2"/>
              </a:cxn>
              <a:cxn ang="16200000">
                <a:pos x="wd2" y="hd2"/>
              </a:cxn>
            </a:cxnLst>
            <a:rect l="0" t="0" r="r" b="b"/>
            <a:pathLst>
              <a:path w="21600" h="21600" extrusionOk="0">
                <a:moveTo>
                  <a:pt x="1999" y="0"/>
                </a:moveTo>
                <a:cubicBezTo>
                  <a:pt x="895" y="0"/>
                  <a:pt x="0" y="1612"/>
                  <a:pt x="0" y="3600"/>
                </a:cubicBezTo>
                <a:lnTo>
                  <a:pt x="0" y="18000"/>
                </a:lnTo>
                <a:cubicBezTo>
                  <a:pt x="0" y="19988"/>
                  <a:pt x="895" y="21600"/>
                  <a:pt x="1999" y="21600"/>
                </a:cubicBezTo>
                <a:lnTo>
                  <a:pt x="19601" y="21600"/>
                </a:lnTo>
                <a:cubicBezTo>
                  <a:pt x="20705" y="21600"/>
                  <a:pt x="21600" y="19988"/>
                  <a:pt x="21600" y="18000"/>
                </a:cubicBezTo>
                <a:lnTo>
                  <a:pt x="21600" y="3600"/>
                </a:lnTo>
                <a:cubicBezTo>
                  <a:pt x="21600" y="1612"/>
                  <a:pt x="20705" y="0"/>
                  <a:pt x="19601" y="0"/>
                </a:cubicBezTo>
                <a:lnTo>
                  <a:pt x="1999" y="0"/>
                </a:lnTo>
                <a:close/>
              </a:path>
            </a:pathLst>
          </a:custGeom>
          <a:ln w="12700">
            <a:miter lim="400000"/>
          </a:ln>
          <a:effectLst>
            <a:outerShdw blurRad="177800" dist="127134" dir="5400000" rotWithShape="0">
              <a:srgbClr val="000000">
                <a:alpha val="30000"/>
              </a:srgbClr>
            </a:outerShdw>
          </a:effectLst>
        </p:spPr>
      </p:pic>
    </p:spTree>
  </p:cSld>
  <p:clrMapOvr>
    <a:masterClrMapping/>
  </p:clrMapOvr>
  <p:transition spd="med"/>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object 3"/>
          <p:cNvSpPr txBox="1"/>
          <p:nvPr/>
        </p:nvSpPr>
        <p:spPr>
          <a:xfrm>
            <a:off x="468366" y="1638801"/>
            <a:ext cx="4865635" cy="61555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indent="12700">
              <a:defRPr sz="8000" b="1" spc="-374">
                <a:solidFill>
                  <a:srgbClr val="4594D0"/>
                </a:solidFill>
                <a:latin typeface="Uniform-Black"/>
                <a:ea typeface="Uniform-Black"/>
                <a:cs typeface="Uniform-Black"/>
                <a:sym typeface="Uniform Black"/>
              </a:defRPr>
            </a:lvl1pPr>
          </a:lstStyle>
          <a:p>
            <a:pPr indent="6350" defTabSz="554805" hangingPunct="0"/>
            <a:r>
              <a:rPr lang="sl-SI" sz="4000" kern="0" spc="-187" dirty="0"/>
              <a:t>Time – </a:t>
            </a:r>
            <a:r>
              <a:rPr lang="en-US" sz="4000" kern="0" spc="-187" dirty="0"/>
              <a:t>the </a:t>
            </a:r>
            <a:r>
              <a:rPr lang="sl-SI" sz="4000" kern="0" spc="-187" dirty="0"/>
              <a:t>rule of 7</a:t>
            </a:r>
          </a:p>
        </p:txBody>
      </p:sp>
      <p:pic>
        <p:nvPicPr>
          <p:cNvPr id="118" name="Image" descr="Image"/>
          <p:cNvPicPr>
            <a:picLocks noChangeAspect="1"/>
          </p:cNvPicPr>
          <p:nvPr/>
        </p:nvPicPr>
        <p:blipFill>
          <a:blip r:embed="rId2"/>
          <a:stretch>
            <a:fillRect/>
          </a:stretch>
        </p:blipFill>
        <p:spPr>
          <a:xfrm>
            <a:off x="11288886" y="571589"/>
            <a:ext cx="305388" cy="305387"/>
          </a:xfrm>
          <a:prstGeom prst="rect">
            <a:avLst/>
          </a:prstGeom>
          <a:ln w="12700">
            <a:miter lim="400000"/>
          </a:ln>
        </p:spPr>
      </p:pic>
      <p:sp>
        <p:nvSpPr>
          <p:cNvPr id="119" name="object 3"/>
          <p:cNvSpPr txBox="1"/>
          <p:nvPr/>
        </p:nvSpPr>
        <p:spPr>
          <a:xfrm>
            <a:off x="495259" y="2527124"/>
            <a:ext cx="4307352" cy="92333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p>
            <a:pPr marR="9246" indent="6350" defTabSz="554805" hangingPunct="0">
              <a:lnSpc>
                <a:spcPct val="100299"/>
              </a:lnSpc>
              <a:defRPr sz="4000" spc="-112">
                <a:solidFill>
                  <a:srgbClr val="5C5C5C"/>
                </a:solidFill>
                <a:latin typeface="Uniform-Medium"/>
                <a:ea typeface="Uniform-Medium"/>
                <a:cs typeface="Uniform-Medium"/>
                <a:sym typeface="Uniform Medium"/>
              </a:defRPr>
            </a:pPr>
            <a:r>
              <a:rPr lang="en-US" sz="2000" kern="0" spc="-56" dirty="0">
                <a:solidFill>
                  <a:srgbClr val="5C5C5C"/>
                </a:solidFill>
                <a:latin typeface="Uniform-Medium"/>
                <a:sym typeface="Uniform Medium"/>
              </a:rPr>
              <a:t>Do not expect miracles just because your numbers are outstanding. </a:t>
            </a:r>
            <a:r>
              <a:rPr lang="en-US" sz="2000" b="1" kern="0" spc="-56" dirty="0">
                <a:solidFill>
                  <a:srgbClr val="5C5C5C"/>
                </a:solidFill>
                <a:latin typeface="Uniform-Black" panose="02000000000000000000" pitchFamily="50" charset="0"/>
                <a:sym typeface="Uniform Medium"/>
              </a:rPr>
              <a:t>It takes more than one meeting to convince.</a:t>
            </a:r>
          </a:p>
        </p:txBody>
      </p:sp>
      <p:sp>
        <p:nvSpPr>
          <p:cNvPr id="121" name="Text"/>
          <p:cNvSpPr txBox="1"/>
          <p:nvPr/>
        </p:nvSpPr>
        <p:spPr>
          <a:xfrm>
            <a:off x="5948703" y="3410623"/>
            <a:ext cx="56058" cy="194493"/>
          </a:xfrm>
          <a:prstGeom prst="rect">
            <a:avLst/>
          </a:prstGeom>
          <a:ln w="12700">
            <a:miter lim="400000"/>
          </a:ln>
        </p:spPr>
        <p:txBody>
          <a:bodyPr wrap="none" lIns="27726" tIns="27726" rIns="27726" bIns="27726">
            <a:spAutoFit/>
          </a:bodyPr>
          <a:lstStyle/>
          <a:p>
            <a:pPr defTabSz="554805" hangingPunct="0">
              <a:defRPr sz="1800"/>
            </a:pPr>
            <a:endParaRPr sz="900" kern="0" dirty="0">
              <a:solidFill>
                <a:srgbClr val="000000"/>
              </a:solidFill>
              <a:latin typeface="Helvetica Neue"/>
              <a:ea typeface="Helvetica Neue"/>
              <a:cs typeface="Helvetica Neue"/>
              <a:sym typeface="Helvetica Neue"/>
            </a:endParaRPr>
          </a:p>
        </p:txBody>
      </p:sp>
      <p:sp>
        <p:nvSpPr>
          <p:cNvPr id="2" name="Textfeld 1">
            <a:extLst>
              <a:ext uri="{FF2B5EF4-FFF2-40B4-BE49-F238E27FC236}">
                <a16:creationId xmlns:a16="http://schemas.microsoft.com/office/drawing/2014/main" id="{F7333DF8-5F82-1298-C0A0-0D0D2E011B39}"/>
              </a:ext>
            </a:extLst>
          </p:cNvPr>
          <p:cNvSpPr txBox="1"/>
          <p:nvPr/>
        </p:nvSpPr>
        <p:spPr>
          <a:xfrm>
            <a:off x="-308344" y="-595424"/>
            <a:ext cx="56058" cy="20988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7726" tIns="27726" rIns="27726" bIns="27726" numCol="1" spcCol="38100" rtlCol="0" anchor="t">
            <a:spAutoFit/>
          </a:bodyPr>
          <a:lstStyle/>
          <a:p>
            <a:pPr defTabSz="554805" hangingPunct="0"/>
            <a:endParaRPr lang="de-DE" sz="1000" kern="0" dirty="0">
              <a:solidFill>
                <a:srgbClr val="000000"/>
              </a:solidFill>
              <a:latin typeface="Helvetica Neue"/>
              <a:ea typeface="Helvetica Neue"/>
              <a:cs typeface="Helvetica Neue"/>
              <a:sym typeface="Helvetica Neue"/>
            </a:endParaRPr>
          </a:p>
        </p:txBody>
      </p:sp>
      <p:pic>
        <p:nvPicPr>
          <p:cNvPr id="3" name="Picture 2" descr="A group of people sitting at a table&#10;&#10;Description automatically generated">
            <a:extLst>
              <a:ext uri="{FF2B5EF4-FFF2-40B4-BE49-F238E27FC236}">
                <a16:creationId xmlns:a16="http://schemas.microsoft.com/office/drawing/2014/main" id="{445C6EB1-7F04-CCA4-C746-D69772454FC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99132" y="1612900"/>
            <a:ext cx="5562601" cy="3708401"/>
          </a:xfrm>
          <a:prstGeom prst="roundRect">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cSld>
  <p:clrMapOvr>
    <a:masterClrMapping/>
  </p:clrMapOvr>
  <p:transition spd="med"/>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lose-up of a graph&#10;&#10;Description automatically generated">
            <a:extLst>
              <a:ext uri="{FF2B5EF4-FFF2-40B4-BE49-F238E27FC236}">
                <a16:creationId xmlns:a16="http://schemas.microsoft.com/office/drawing/2014/main" id="{5EABBD47-A65C-D230-D972-9192BF59142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8922" y="1612900"/>
            <a:ext cx="5657586" cy="3771724"/>
          </a:xfrm>
          <a:prstGeom prst="roundRect">
            <a:avLst/>
          </a:prstGeom>
        </p:spPr>
      </p:pic>
      <p:sp>
        <p:nvSpPr>
          <p:cNvPr id="117" name="object 3"/>
          <p:cNvSpPr txBox="1"/>
          <p:nvPr/>
        </p:nvSpPr>
        <p:spPr>
          <a:xfrm>
            <a:off x="6797444" y="1638801"/>
            <a:ext cx="4865635" cy="615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indent="12700">
              <a:defRPr sz="8000" b="1" spc="-374">
                <a:solidFill>
                  <a:srgbClr val="4594D0"/>
                </a:solidFill>
                <a:latin typeface="Uniform-Black"/>
                <a:ea typeface="Uniform-Black"/>
                <a:cs typeface="Uniform-Black"/>
                <a:sym typeface="Uniform Black"/>
              </a:defRPr>
            </a:lvl1pPr>
          </a:lstStyle>
          <a:p>
            <a:pPr indent="6350" defTabSz="554805" hangingPunct="0"/>
            <a:r>
              <a:rPr lang="en-US" sz="4000" kern="0" spc="-187" dirty="0"/>
              <a:t>Resources</a:t>
            </a:r>
            <a:endParaRPr lang="sl-SI" sz="4000" kern="0" spc="-187" dirty="0"/>
          </a:p>
        </p:txBody>
      </p:sp>
      <p:pic>
        <p:nvPicPr>
          <p:cNvPr id="118" name="Image" descr="Image"/>
          <p:cNvPicPr>
            <a:picLocks noChangeAspect="1"/>
          </p:cNvPicPr>
          <p:nvPr/>
        </p:nvPicPr>
        <p:blipFill>
          <a:blip r:embed="rId3"/>
          <a:stretch>
            <a:fillRect/>
          </a:stretch>
        </p:blipFill>
        <p:spPr>
          <a:xfrm>
            <a:off x="11288886" y="571589"/>
            <a:ext cx="305388" cy="305387"/>
          </a:xfrm>
          <a:prstGeom prst="rect">
            <a:avLst/>
          </a:prstGeom>
          <a:ln w="12700">
            <a:miter lim="400000"/>
          </a:ln>
        </p:spPr>
      </p:pic>
      <p:sp>
        <p:nvSpPr>
          <p:cNvPr id="119" name="object 3"/>
          <p:cNvSpPr txBox="1"/>
          <p:nvPr/>
        </p:nvSpPr>
        <p:spPr>
          <a:xfrm>
            <a:off x="6824337" y="2527124"/>
            <a:ext cx="4623593" cy="215443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marR="9246" indent="6350" defTabSz="554805" hangingPunct="0">
              <a:lnSpc>
                <a:spcPct val="100299"/>
              </a:lnSpc>
              <a:defRPr sz="4000" spc="-112">
                <a:solidFill>
                  <a:srgbClr val="5C5C5C"/>
                </a:solidFill>
                <a:latin typeface="Uniform-Medium"/>
                <a:ea typeface="Uniform-Medium"/>
                <a:cs typeface="Uniform-Medium"/>
                <a:sym typeface="Uniform Medium"/>
              </a:defRPr>
            </a:pPr>
            <a:r>
              <a:rPr lang="en-US" sz="2000" kern="0" spc="-56" dirty="0">
                <a:solidFill>
                  <a:srgbClr val="5C5C5C"/>
                </a:solidFill>
                <a:latin typeface="Uniform-Medium"/>
                <a:sym typeface="Uniform Medium"/>
              </a:rPr>
              <a:t>The additional costs for being listed on Frankfurt Stock Exchange include spending approximately 200 000 EUR on one-time expense</a:t>
            </a:r>
          </a:p>
          <a:p>
            <a:pPr marR="9246" indent="6350" defTabSz="554805" hangingPunct="0">
              <a:lnSpc>
                <a:spcPct val="100299"/>
              </a:lnSpc>
              <a:defRPr sz="4000" spc="-112">
                <a:solidFill>
                  <a:srgbClr val="5C5C5C"/>
                </a:solidFill>
                <a:latin typeface="Uniform-Medium"/>
                <a:ea typeface="Uniform-Medium"/>
                <a:cs typeface="Uniform-Medium"/>
                <a:sym typeface="Uniform Medium"/>
              </a:defRPr>
            </a:pPr>
            <a:r>
              <a:rPr lang="en-US" sz="2000" kern="0" spc="-56" dirty="0">
                <a:solidFill>
                  <a:srgbClr val="5C5C5C"/>
                </a:solidFill>
                <a:latin typeface="Uniform-Medium"/>
                <a:sym typeface="Uniform Medium"/>
              </a:rPr>
              <a:t>and approximately 200 000 – 250 000 EUR additional annual </a:t>
            </a:r>
            <a:r>
              <a:rPr lang="en-US" sz="2000" b="1" kern="0" spc="-56" dirty="0">
                <a:solidFill>
                  <a:srgbClr val="5C5C5C"/>
                </a:solidFill>
                <a:latin typeface="Uniform-Medium"/>
                <a:sym typeface="Uniform Medium"/>
              </a:rPr>
              <a:t>cost</a:t>
            </a:r>
            <a:r>
              <a:rPr lang="en-US" sz="2000" kern="0" spc="-56" dirty="0">
                <a:solidFill>
                  <a:srgbClr val="5C5C5C"/>
                </a:solidFill>
                <a:latin typeface="Uniform-Medium"/>
                <a:sym typeface="Uniform Medium"/>
              </a:rPr>
              <a:t>. </a:t>
            </a:r>
          </a:p>
          <a:p>
            <a:pPr marR="9246" indent="6350" defTabSz="554805" hangingPunct="0">
              <a:lnSpc>
                <a:spcPct val="100299"/>
              </a:lnSpc>
              <a:defRPr sz="4000" spc="-112">
                <a:solidFill>
                  <a:srgbClr val="5C5C5C"/>
                </a:solidFill>
                <a:latin typeface="Uniform-Medium"/>
                <a:ea typeface="Uniform-Medium"/>
                <a:cs typeface="Uniform-Medium"/>
                <a:sym typeface="Uniform Medium"/>
              </a:defRPr>
            </a:pPr>
            <a:r>
              <a:rPr lang="en-US" sz="2000" kern="0" spc="-56" dirty="0">
                <a:solidFill>
                  <a:srgbClr val="5C5C5C"/>
                </a:solidFill>
                <a:latin typeface="Uniform-Black" panose="02000000000000000000" pitchFamily="50" charset="0"/>
                <a:sym typeface="Uniform Medium"/>
              </a:rPr>
              <a:t>Be prepared to </a:t>
            </a:r>
            <a:r>
              <a:rPr lang="en-US" sz="2000" kern="0" spc="-56">
                <a:solidFill>
                  <a:srgbClr val="5C5C5C"/>
                </a:solidFill>
                <a:latin typeface="Uniform-Black" panose="02000000000000000000" pitchFamily="50" charset="0"/>
                <a:sym typeface="Uniform Medium"/>
              </a:rPr>
              <a:t>allocate extra </a:t>
            </a:r>
            <a:r>
              <a:rPr lang="en-US" sz="2000" kern="0" spc="-56" dirty="0">
                <a:solidFill>
                  <a:srgbClr val="5C5C5C"/>
                </a:solidFill>
                <a:latin typeface="Uniform-Black" panose="02000000000000000000" pitchFamily="50" charset="0"/>
                <a:sym typeface="Uniform Medium"/>
              </a:rPr>
              <a:t>resources. </a:t>
            </a:r>
          </a:p>
        </p:txBody>
      </p:sp>
      <p:sp>
        <p:nvSpPr>
          <p:cNvPr id="121" name="Text"/>
          <p:cNvSpPr txBox="1"/>
          <p:nvPr/>
        </p:nvSpPr>
        <p:spPr>
          <a:xfrm>
            <a:off x="5948703" y="3410623"/>
            <a:ext cx="56058" cy="194493"/>
          </a:xfrm>
          <a:prstGeom prst="rect">
            <a:avLst/>
          </a:prstGeom>
          <a:ln w="12700">
            <a:miter lim="400000"/>
          </a:ln>
        </p:spPr>
        <p:txBody>
          <a:bodyPr wrap="none" lIns="27726" tIns="27726" rIns="27726" bIns="27726">
            <a:spAutoFit/>
          </a:bodyPr>
          <a:lstStyle/>
          <a:p>
            <a:pPr defTabSz="554805" hangingPunct="0">
              <a:defRPr sz="1800"/>
            </a:pPr>
            <a:endParaRPr sz="900" kern="0" dirty="0">
              <a:solidFill>
                <a:srgbClr val="000000"/>
              </a:solidFill>
              <a:latin typeface="Helvetica Neue"/>
              <a:ea typeface="Helvetica Neue"/>
              <a:cs typeface="Helvetica Neue"/>
              <a:sym typeface="Helvetica Neue"/>
            </a:endParaRPr>
          </a:p>
        </p:txBody>
      </p:sp>
      <p:sp>
        <p:nvSpPr>
          <p:cNvPr id="2" name="Textfeld 1">
            <a:extLst>
              <a:ext uri="{FF2B5EF4-FFF2-40B4-BE49-F238E27FC236}">
                <a16:creationId xmlns:a16="http://schemas.microsoft.com/office/drawing/2014/main" id="{F7333DF8-5F82-1298-C0A0-0D0D2E011B39}"/>
              </a:ext>
            </a:extLst>
          </p:cNvPr>
          <p:cNvSpPr txBox="1"/>
          <p:nvPr/>
        </p:nvSpPr>
        <p:spPr>
          <a:xfrm>
            <a:off x="-308344" y="-595424"/>
            <a:ext cx="56058" cy="20988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7726" tIns="27726" rIns="27726" bIns="27726" numCol="1" spcCol="38100" rtlCol="0" anchor="t">
            <a:spAutoFit/>
          </a:bodyPr>
          <a:lstStyle/>
          <a:p>
            <a:pPr defTabSz="554805" hangingPunct="0"/>
            <a:endParaRPr lang="de-DE" sz="1000" kern="0" dirty="0">
              <a:solidFill>
                <a:srgbClr val="000000"/>
              </a:solidFill>
              <a:latin typeface="Helvetica Neue"/>
              <a:ea typeface="Helvetica Neue"/>
              <a:cs typeface="Helvetica Neue"/>
              <a:sym typeface="Helvetica Neue"/>
            </a:endParaRPr>
          </a:p>
        </p:txBody>
      </p:sp>
    </p:spTree>
    <p:extLst>
      <p:ext uri="{BB962C8B-B14F-4D97-AF65-F5344CB8AC3E}">
        <p14:creationId xmlns:p14="http://schemas.microsoft.com/office/powerpoint/2010/main" val="1693735400"/>
      </p:ext>
    </p:extLst>
  </p:cSld>
  <p:clrMapOvr>
    <a:masterClrMapping/>
  </p:clrMapOvr>
  <p:transition spd="med"/>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object 3"/>
          <p:cNvSpPr txBox="1"/>
          <p:nvPr/>
        </p:nvSpPr>
        <p:spPr>
          <a:xfrm>
            <a:off x="468366" y="1638801"/>
            <a:ext cx="4865635" cy="123110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indent="12700">
              <a:defRPr sz="8000" b="1" spc="-374">
                <a:solidFill>
                  <a:srgbClr val="4594D0"/>
                </a:solidFill>
                <a:latin typeface="Uniform-Black"/>
                <a:ea typeface="Uniform-Black"/>
                <a:cs typeface="Uniform-Black"/>
                <a:sym typeface="Uniform Black"/>
              </a:defRPr>
            </a:lvl1pPr>
          </a:lstStyle>
          <a:p>
            <a:pPr indent="6350" defTabSz="554805" hangingPunct="0"/>
            <a:r>
              <a:rPr lang="en-US" sz="4000" kern="0" spc="-187" dirty="0"/>
              <a:t>Build trust </a:t>
            </a:r>
            <a:r>
              <a:rPr lang="de-DE" sz="4000" kern="0" spc="-187" dirty="0"/>
              <a:t>– </a:t>
            </a:r>
            <a:r>
              <a:rPr lang="en-US" sz="4000" kern="0" spc="-187" dirty="0"/>
              <a:t>promise and deliver</a:t>
            </a:r>
          </a:p>
        </p:txBody>
      </p:sp>
      <p:pic>
        <p:nvPicPr>
          <p:cNvPr id="118" name="Image" descr="Image"/>
          <p:cNvPicPr>
            <a:picLocks noChangeAspect="1"/>
          </p:cNvPicPr>
          <p:nvPr/>
        </p:nvPicPr>
        <p:blipFill>
          <a:blip r:embed="rId2"/>
          <a:stretch>
            <a:fillRect/>
          </a:stretch>
        </p:blipFill>
        <p:spPr>
          <a:xfrm>
            <a:off x="11288886" y="571589"/>
            <a:ext cx="305388" cy="305387"/>
          </a:xfrm>
          <a:prstGeom prst="rect">
            <a:avLst/>
          </a:prstGeom>
          <a:ln w="12700">
            <a:miter lim="400000"/>
          </a:ln>
        </p:spPr>
      </p:pic>
      <p:sp>
        <p:nvSpPr>
          <p:cNvPr id="119" name="object 3"/>
          <p:cNvSpPr txBox="1"/>
          <p:nvPr/>
        </p:nvSpPr>
        <p:spPr>
          <a:xfrm>
            <a:off x="468366" y="3100863"/>
            <a:ext cx="4307352" cy="92333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marR="9246" indent="6350" defTabSz="554805" hangingPunct="0">
              <a:lnSpc>
                <a:spcPct val="100299"/>
              </a:lnSpc>
              <a:defRPr sz="4000" spc="-112">
                <a:solidFill>
                  <a:srgbClr val="5C5C5C"/>
                </a:solidFill>
                <a:latin typeface="Uniform-Medium"/>
                <a:ea typeface="Uniform-Medium"/>
                <a:cs typeface="Uniform-Medium"/>
                <a:sym typeface="Uniform Medium"/>
              </a:defRPr>
            </a:pPr>
            <a:r>
              <a:rPr lang="en-US" sz="2000" kern="0" spc="-56" dirty="0">
                <a:solidFill>
                  <a:srgbClr val="5C5C5C"/>
                </a:solidFill>
                <a:latin typeface="Uniform-Medium"/>
                <a:sym typeface="Uniform Medium"/>
              </a:rPr>
              <a:t>Be ambitious, but make sure that you deliver. </a:t>
            </a:r>
          </a:p>
          <a:p>
            <a:pPr marR="9246" indent="6350" defTabSz="554805" hangingPunct="0">
              <a:lnSpc>
                <a:spcPct val="100299"/>
              </a:lnSpc>
              <a:defRPr sz="4000" spc="-112">
                <a:solidFill>
                  <a:srgbClr val="5C5C5C"/>
                </a:solidFill>
                <a:latin typeface="Uniform-Medium"/>
                <a:ea typeface="Uniform-Medium"/>
                <a:cs typeface="Uniform-Medium"/>
                <a:sym typeface="Uniform Medium"/>
              </a:defRPr>
            </a:pPr>
            <a:r>
              <a:rPr lang="en-US" sz="2000" kern="0" spc="-56" dirty="0">
                <a:solidFill>
                  <a:srgbClr val="5C5C5C"/>
                </a:solidFill>
                <a:latin typeface="Uniform-Black" panose="02000000000000000000" pitchFamily="50" charset="0"/>
                <a:sym typeface="Uniform Medium"/>
              </a:rPr>
              <a:t>Be careful what you say and be relevant.</a:t>
            </a:r>
          </a:p>
        </p:txBody>
      </p:sp>
      <p:pic>
        <p:nvPicPr>
          <p:cNvPr id="120" name="Picture 3" descr="Picture 3"/>
          <p:cNvPicPr>
            <a:picLocks noChangeAspect="1"/>
          </p:cNvPicPr>
          <p:nvPr/>
        </p:nvPicPr>
        <p:blipFill>
          <a:blip r:embed="rId3"/>
          <a:srcRect/>
          <a:stretch>
            <a:fillRect/>
          </a:stretch>
        </p:blipFill>
        <p:spPr>
          <a:xfrm>
            <a:off x="5485897" y="1613024"/>
            <a:ext cx="6376195" cy="3297035"/>
          </a:xfrm>
          <a:custGeom>
            <a:avLst/>
            <a:gdLst/>
            <a:ahLst/>
            <a:cxnLst>
              <a:cxn ang="0">
                <a:pos x="wd2" y="hd2"/>
              </a:cxn>
              <a:cxn ang="5400000">
                <a:pos x="wd2" y="hd2"/>
              </a:cxn>
              <a:cxn ang="10800000">
                <a:pos x="wd2" y="hd2"/>
              </a:cxn>
              <a:cxn ang="16200000">
                <a:pos x="wd2" y="hd2"/>
              </a:cxn>
            </a:cxnLst>
            <a:rect l="0" t="0" r="r" b="b"/>
            <a:pathLst>
              <a:path w="21600" h="21600" extrusionOk="0">
                <a:moveTo>
                  <a:pt x="1861" y="0"/>
                </a:moveTo>
                <a:cubicBezTo>
                  <a:pt x="833" y="0"/>
                  <a:pt x="0" y="1612"/>
                  <a:pt x="0" y="3600"/>
                </a:cubicBezTo>
                <a:lnTo>
                  <a:pt x="0" y="18000"/>
                </a:lnTo>
                <a:cubicBezTo>
                  <a:pt x="0" y="19988"/>
                  <a:pt x="833" y="21600"/>
                  <a:pt x="1861" y="21600"/>
                </a:cubicBezTo>
                <a:lnTo>
                  <a:pt x="19739" y="21600"/>
                </a:lnTo>
                <a:cubicBezTo>
                  <a:pt x="20767" y="21600"/>
                  <a:pt x="21600" y="19988"/>
                  <a:pt x="21600" y="18000"/>
                </a:cubicBezTo>
                <a:lnTo>
                  <a:pt x="21600" y="3600"/>
                </a:lnTo>
                <a:cubicBezTo>
                  <a:pt x="21600" y="1612"/>
                  <a:pt x="20767" y="0"/>
                  <a:pt x="19739" y="0"/>
                </a:cubicBezTo>
                <a:lnTo>
                  <a:pt x="1861" y="0"/>
                </a:lnTo>
                <a:close/>
              </a:path>
            </a:pathLst>
          </a:custGeom>
          <a:ln w="12700">
            <a:miter lim="400000"/>
          </a:ln>
          <a:effectLst>
            <a:outerShdw blurRad="177800" dist="127000" dir="5400000" rotWithShape="0">
              <a:srgbClr val="000000">
                <a:alpha val="30000"/>
              </a:srgbClr>
            </a:outerShdw>
          </a:effectLst>
        </p:spPr>
      </p:pic>
      <p:sp>
        <p:nvSpPr>
          <p:cNvPr id="121" name="Text"/>
          <p:cNvSpPr txBox="1"/>
          <p:nvPr/>
        </p:nvSpPr>
        <p:spPr>
          <a:xfrm>
            <a:off x="5948703" y="3410623"/>
            <a:ext cx="56058" cy="194493"/>
          </a:xfrm>
          <a:prstGeom prst="rect">
            <a:avLst/>
          </a:prstGeom>
          <a:ln w="12700">
            <a:miter lim="400000"/>
          </a:ln>
        </p:spPr>
        <p:txBody>
          <a:bodyPr wrap="none" lIns="27726" tIns="27726" rIns="27726" bIns="27726">
            <a:spAutoFit/>
          </a:bodyPr>
          <a:lstStyle/>
          <a:p>
            <a:pPr defTabSz="554805" hangingPunct="0">
              <a:defRPr sz="1800"/>
            </a:pPr>
            <a:endParaRPr sz="900" kern="0">
              <a:solidFill>
                <a:srgbClr val="000000"/>
              </a:solidFill>
              <a:latin typeface="Helvetica Neue"/>
              <a:ea typeface="Helvetica Neue"/>
              <a:cs typeface="Helvetica Neue"/>
              <a:sym typeface="Helvetica Neue"/>
            </a:endParaRPr>
          </a:p>
        </p:txBody>
      </p:sp>
      <p:sp>
        <p:nvSpPr>
          <p:cNvPr id="2" name="Textfeld 1">
            <a:extLst>
              <a:ext uri="{FF2B5EF4-FFF2-40B4-BE49-F238E27FC236}">
                <a16:creationId xmlns:a16="http://schemas.microsoft.com/office/drawing/2014/main" id="{F7333DF8-5F82-1298-C0A0-0D0D2E011B39}"/>
              </a:ext>
            </a:extLst>
          </p:cNvPr>
          <p:cNvSpPr txBox="1"/>
          <p:nvPr/>
        </p:nvSpPr>
        <p:spPr>
          <a:xfrm>
            <a:off x="-308344" y="-595424"/>
            <a:ext cx="56058" cy="20988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7726" tIns="27726" rIns="27726" bIns="27726" numCol="1" spcCol="38100" rtlCol="0" anchor="t">
            <a:spAutoFit/>
          </a:bodyPr>
          <a:lstStyle/>
          <a:p>
            <a:pPr defTabSz="554805" hangingPunct="0"/>
            <a:endParaRPr lang="de-DE" sz="1000" kern="0" dirty="0">
              <a:solidFill>
                <a:srgbClr val="000000"/>
              </a:solidFill>
              <a:latin typeface="Helvetica Neue"/>
              <a:ea typeface="Helvetica Neue"/>
              <a:cs typeface="Helvetica Neue"/>
              <a:sym typeface="Helvetica Neue"/>
            </a:endParaRPr>
          </a:p>
        </p:txBody>
      </p:sp>
    </p:spTree>
    <p:extLst>
      <p:ext uri="{BB962C8B-B14F-4D97-AF65-F5344CB8AC3E}">
        <p14:creationId xmlns:p14="http://schemas.microsoft.com/office/powerpoint/2010/main" val="767438591"/>
      </p:ext>
    </p:extLst>
  </p:cSld>
  <p:clrMapOvr>
    <a:masterClrMapping/>
  </p:clrMapOvr>
  <p:transition spd="med"/>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object 3"/>
          <p:cNvSpPr txBox="1"/>
          <p:nvPr/>
        </p:nvSpPr>
        <p:spPr>
          <a:xfrm>
            <a:off x="7528458" y="1603412"/>
            <a:ext cx="3436885" cy="123110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indent="12700">
              <a:defRPr sz="8000" b="1" spc="-374">
                <a:solidFill>
                  <a:srgbClr val="4594D0"/>
                </a:solidFill>
                <a:latin typeface="Uniform-Black"/>
                <a:ea typeface="Uniform-Black"/>
                <a:cs typeface="Uniform-Black"/>
                <a:sym typeface="Uniform Black"/>
              </a:defRPr>
            </a:lvl1pPr>
          </a:lstStyle>
          <a:p>
            <a:pPr indent="6350" defTabSz="554805" hangingPunct="0"/>
            <a:r>
              <a:rPr sz="4000" kern="0" spc="-187" dirty="0"/>
              <a:t>Professional </a:t>
            </a:r>
            <a:r>
              <a:rPr lang="en-US" sz="4000" kern="0" spc="-187" dirty="0"/>
              <a:t>advisors</a:t>
            </a:r>
          </a:p>
        </p:txBody>
      </p:sp>
      <p:pic>
        <p:nvPicPr>
          <p:cNvPr id="124" name="Image" descr="Image"/>
          <p:cNvPicPr>
            <a:picLocks noChangeAspect="1"/>
          </p:cNvPicPr>
          <p:nvPr/>
        </p:nvPicPr>
        <p:blipFill>
          <a:blip r:embed="rId2"/>
          <a:stretch>
            <a:fillRect/>
          </a:stretch>
        </p:blipFill>
        <p:spPr>
          <a:xfrm>
            <a:off x="11288886" y="571589"/>
            <a:ext cx="305388" cy="305387"/>
          </a:xfrm>
          <a:prstGeom prst="rect">
            <a:avLst/>
          </a:prstGeom>
          <a:ln w="12700">
            <a:miter lim="400000"/>
          </a:ln>
        </p:spPr>
      </p:pic>
      <p:pic>
        <p:nvPicPr>
          <p:cNvPr id="125" name="Picture 1" descr="Picture 1"/>
          <p:cNvPicPr>
            <a:picLocks noChangeAspect="1"/>
          </p:cNvPicPr>
          <p:nvPr/>
        </p:nvPicPr>
        <p:blipFill>
          <a:blip r:embed="rId3"/>
          <a:srcRect t="14181" r="4478" b="14179"/>
          <a:stretch>
            <a:fillRect/>
          </a:stretch>
        </p:blipFill>
        <p:spPr>
          <a:xfrm>
            <a:off x="391390" y="1613173"/>
            <a:ext cx="6667302" cy="3750469"/>
          </a:xfrm>
          <a:custGeom>
            <a:avLst/>
            <a:gdLst/>
            <a:ahLst/>
            <a:cxnLst>
              <a:cxn ang="0">
                <a:pos x="wd2" y="hd2"/>
              </a:cxn>
              <a:cxn ang="5400000">
                <a:pos x="wd2" y="hd2"/>
              </a:cxn>
              <a:cxn ang="10800000">
                <a:pos x="wd2" y="hd2"/>
              </a:cxn>
              <a:cxn ang="16200000">
                <a:pos x="wd2" y="hd2"/>
              </a:cxn>
            </a:cxnLst>
            <a:rect l="0" t="0" r="r" b="b"/>
            <a:pathLst>
              <a:path w="21600" h="21600" extrusionOk="0">
                <a:moveTo>
                  <a:pt x="2025" y="0"/>
                </a:moveTo>
                <a:cubicBezTo>
                  <a:pt x="907" y="0"/>
                  <a:pt x="0" y="1612"/>
                  <a:pt x="0" y="3600"/>
                </a:cubicBezTo>
                <a:lnTo>
                  <a:pt x="0" y="18000"/>
                </a:lnTo>
                <a:cubicBezTo>
                  <a:pt x="0" y="19988"/>
                  <a:pt x="907" y="21600"/>
                  <a:pt x="2025" y="21600"/>
                </a:cubicBezTo>
                <a:lnTo>
                  <a:pt x="19575" y="21600"/>
                </a:lnTo>
                <a:cubicBezTo>
                  <a:pt x="20693" y="21600"/>
                  <a:pt x="21600" y="19988"/>
                  <a:pt x="21600" y="18000"/>
                </a:cubicBezTo>
                <a:lnTo>
                  <a:pt x="21600" y="3600"/>
                </a:lnTo>
                <a:cubicBezTo>
                  <a:pt x="21600" y="1612"/>
                  <a:pt x="20693" y="0"/>
                  <a:pt x="19575" y="0"/>
                </a:cubicBezTo>
                <a:lnTo>
                  <a:pt x="2025" y="0"/>
                </a:lnTo>
                <a:close/>
              </a:path>
            </a:pathLst>
          </a:custGeom>
          <a:ln w="12700">
            <a:miter lim="400000"/>
          </a:ln>
          <a:effectLst>
            <a:outerShdw blurRad="177800" dist="127134" dir="5400000" rotWithShape="0">
              <a:srgbClr val="000000">
                <a:alpha val="30000"/>
              </a:srgbClr>
            </a:outerShdw>
          </a:effectLst>
        </p:spPr>
      </p:pic>
      <p:sp>
        <p:nvSpPr>
          <p:cNvPr id="126" name="object 3"/>
          <p:cNvSpPr txBox="1"/>
          <p:nvPr/>
        </p:nvSpPr>
        <p:spPr>
          <a:xfrm>
            <a:off x="7530230" y="3029251"/>
            <a:ext cx="4307352" cy="153888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spAutoFit/>
          </a:bodyPr>
          <a:lstStyle/>
          <a:p>
            <a:pPr marR="9208" indent="6350" defTabSz="554805" hangingPunct="0">
              <a:lnSpc>
                <a:spcPct val="100299"/>
              </a:lnSpc>
              <a:defRPr sz="4000" spc="-112">
                <a:solidFill>
                  <a:srgbClr val="5C5C5C"/>
                </a:solidFill>
                <a:latin typeface="Uniform-Medium"/>
                <a:ea typeface="Uniform-Medium"/>
                <a:cs typeface="Uniform-Medium"/>
                <a:sym typeface="Uniform Medium"/>
              </a:defRPr>
            </a:pPr>
            <a:r>
              <a:rPr sz="2000" kern="0" spc="-56" dirty="0">
                <a:solidFill>
                  <a:srgbClr val="5C5C5C"/>
                </a:solidFill>
                <a:latin typeface="Uniform-Black" panose="02000000000000000000" pitchFamily="50" charset="0"/>
                <a:sym typeface="Uniform Medium"/>
              </a:rPr>
              <a:t>Adding strategic partners to </a:t>
            </a:r>
            <a:r>
              <a:rPr sz="2000" b="1" kern="0" spc="-56" dirty="0">
                <a:solidFill>
                  <a:srgbClr val="5C5C5C"/>
                </a:solidFill>
                <a:latin typeface="Uniform-Black" panose="02000000000000000000" pitchFamily="50" charset="0"/>
                <a:sym typeface="Uniform Medium"/>
              </a:rPr>
              <a:t>y</a:t>
            </a:r>
            <a:r>
              <a:rPr sz="2000" b="1" kern="0" spc="-49" dirty="0">
                <a:solidFill>
                  <a:srgbClr val="5C5C5C"/>
                </a:solidFill>
                <a:latin typeface="Uniform-Black" panose="02000000000000000000" pitchFamily="50" charset="0"/>
                <a:ea typeface="Uniform-Black"/>
                <a:cs typeface="Uniform-Black"/>
                <a:sym typeface="Uniform Black"/>
              </a:rPr>
              <a:t>our team to streamline the process </a:t>
            </a:r>
            <a:r>
              <a:rPr sz="2000" kern="0" spc="-49" dirty="0">
                <a:solidFill>
                  <a:srgbClr val="5C5C5C"/>
                </a:solidFill>
                <a:latin typeface="Uniform-Medium" panose="02000000000000000000" pitchFamily="50" charset="0"/>
                <a:ea typeface="Uniform-Black"/>
                <a:cs typeface="Uniform-Black"/>
                <a:sym typeface="Uniform Black"/>
              </a:rPr>
              <a:t>– advisors, legal, corporate relations, impeccable financial team, staff to make sure that the company covers both BSE and FSE regulations.</a:t>
            </a:r>
            <a:r>
              <a:rPr lang="en-US" sz="2000" kern="0" spc="-49" dirty="0">
                <a:solidFill>
                  <a:srgbClr val="5C5C5C"/>
                </a:solidFill>
                <a:latin typeface="Uniform-Medium" panose="02000000000000000000" pitchFamily="50" charset="0"/>
                <a:ea typeface="Uniform-Black"/>
                <a:cs typeface="Uniform-Black"/>
                <a:sym typeface="Uniform Black"/>
              </a:rPr>
              <a:t> </a:t>
            </a:r>
            <a:endParaRPr lang="en-US" sz="2000" kern="0" spc="-56" dirty="0">
              <a:solidFill>
                <a:srgbClr val="5C5C5C"/>
              </a:solidFill>
              <a:latin typeface="Uniform-Medium" panose="02000000000000000000" pitchFamily="50" charset="0"/>
              <a:sym typeface="Uniform Medium"/>
            </a:endParaRPr>
          </a:p>
        </p:txBody>
      </p:sp>
    </p:spTree>
  </p:cSld>
  <p:clrMapOvr>
    <a:masterClrMapping/>
  </p:clrMapOvr>
  <p:transition spd="med"/>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8D43F6B-9DA1-4542-6A86-2C18C9B862C5}"/>
              </a:ext>
            </a:extLst>
          </p:cNvPr>
          <p:cNvPicPr>
            <a:picLocks noChangeAspect="1"/>
          </p:cNvPicPr>
          <p:nvPr/>
        </p:nvPicPr>
        <p:blipFill>
          <a:blip r:embed="rId2"/>
          <a:stretch>
            <a:fillRect/>
          </a:stretch>
        </p:blipFill>
        <p:spPr>
          <a:xfrm>
            <a:off x="10027322" y="1991884"/>
            <a:ext cx="1923455" cy="1277223"/>
          </a:xfrm>
          <a:prstGeom prst="rect">
            <a:avLst/>
          </a:prstGeom>
        </p:spPr>
      </p:pic>
      <p:graphicFrame>
        <p:nvGraphicFramePr>
          <p:cNvPr id="111" name="Chart 5"/>
          <p:cNvGraphicFramePr/>
          <p:nvPr>
            <p:extLst>
              <p:ext uri="{D42A27DB-BD31-4B8C-83A1-F6EECF244321}">
                <p14:modId xmlns:p14="http://schemas.microsoft.com/office/powerpoint/2010/main" val="1938435355"/>
              </p:ext>
            </p:extLst>
          </p:nvPr>
        </p:nvGraphicFramePr>
        <p:xfrm>
          <a:off x="241224" y="367277"/>
          <a:ext cx="9949296" cy="6094473"/>
        </p:xfrm>
        <a:graphic>
          <a:graphicData uri="http://schemas.openxmlformats.org/drawingml/2006/chart">
            <c:chart xmlns:c="http://schemas.openxmlformats.org/drawingml/2006/chart" xmlns:r="http://schemas.openxmlformats.org/officeDocument/2006/relationships" r:id="rId3"/>
          </a:graphicData>
        </a:graphic>
      </p:graphicFrame>
      <p:sp>
        <p:nvSpPr>
          <p:cNvPr id="112" name="Rectangle: Rounded Corners 8"/>
          <p:cNvSpPr/>
          <p:nvPr/>
        </p:nvSpPr>
        <p:spPr>
          <a:xfrm>
            <a:off x="3356453" y="2659354"/>
            <a:ext cx="1911189" cy="1264542"/>
          </a:xfrm>
          <a:prstGeom prst="roundRect">
            <a:avLst>
              <a:gd name="adj" fmla="val 20972"/>
            </a:avLst>
          </a:prstGeom>
          <a:solidFill>
            <a:srgbClr val="4594D1">
              <a:alpha val="0"/>
            </a:srgbClr>
          </a:solidFill>
          <a:ln w="25400">
            <a:solidFill>
              <a:schemeClr val="accent1">
                <a:alpha val="30000"/>
              </a:schemeClr>
            </a:solidFill>
          </a:ln>
        </p:spPr>
        <p:txBody>
          <a:bodyPr lIns="27726" tIns="27726" rIns="27726" bIns="27726" anchor="ctr"/>
          <a:lstStyle/>
          <a:p>
            <a:pPr defTabSz="554805" hangingPunct="0">
              <a:defRPr>
                <a:latin typeface="+mj-lt"/>
                <a:ea typeface="+mj-ea"/>
                <a:cs typeface="+mj-cs"/>
                <a:sym typeface="Helvetica Neue"/>
              </a:defRPr>
            </a:pPr>
            <a:endParaRPr sz="1000" kern="0" dirty="0">
              <a:solidFill>
                <a:srgbClr val="000000"/>
              </a:solidFill>
              <a:latin typeface="Helvetica Neue"/>
              <a:ea typeface="Helvetica Neue"/>
              <a:cs typeface="Helvetica Neue"/>
              <a:sym typeface="Helvetica Neue"/>
            </a:endParaRPr>
          </a:p>
        </p:txBody>
      </p:sp>
      <p:pic>
        <p:nvPicPr>
          <p:cNvPr id="5" name="Picture 4">
            <a:extLst>
              <a:ext uri="{FF2B5EF4-FFF2-40B4-BE49-F238E27FC236}">
                <a16:creationId xmlns:a16="http://schemas.microsoft.com/office/drawing/2014/main" id="{8E9DC801-443C-CBE5-4A2F-305C6C34818F}"/>
              </a:ext>
            </a:extLst>
          </p:cNvPr>
          <p:cNvPicPr>
            <a:picLocks noChangeAspect="1"/>
          </p:cNvPicPr>
          <p:nvPr/>
        </p:nvPicPr>
        <p:blipFill>
          <a:blip r:embed="rId2"/>
          <a:stretch>
            <a:fillRect/>
          </a:stretch>
        </p:blipFill>
        <p:spPr>
          <a:xfrm>
            <a:off x="6443859" y="2646673"/>
            <a:ext cx="1923455" cy="1277223"/>
          </a:xfrm>
          <a:prstGeom prst="rect">
            <a:avLst/>
          </a:prstGeom>
        </p:spPr>
      </p:pic>
      <p:sp>
        <p:nvSpPr>
          <p:cNvPr id="113" name="Rectangle: Rounded Corners 3"/>
          <p:cNvSpPr/>
          <p:nvPr/>
        </p:nvSpPr>
        <p:spPr>
          <a:xfrm>
            <a:off x="487212" y="2033020"/>
            <a:ext cx="1911188" cy="788869"/>
          </a:xfrm>
          <a:prstGeom prst="roundRect">
            <a:avLst>
              <a:gd name="adj" fmla="val 24398"/>
            </a:avLst>
          </a:prstGeom>
          <a:solidFill>
            <a:srgbClr val="4594D1">
              <a:alpha val="0"/>
            </a:srgbClr>
          </a:solidFill>
          <a:ln w="25400">
            <a:solidFill>
              <a:schemeClr val="accent1">
                <a:alpha val="30000"/>
              </a:schemeClr>
            </a:solidFill>
          </a:ln>
        </p:spPr>
        <p:txBody>
          <a:bodyPr lIns="27726" tIns="27726" rIns="27726" bIns="27726" anchor="ctr"/>
          <a:lstStyle/>
          <a:p>
            <a:pPr defTabSz="554805" hangingPunct="0">
              <a:defRPr>
                <a:latin typeface="+mj-lt"/>
                <a:ea typeface="+mj-ea"/>
                <a:cs typeface="+mj-cs"/>
                <a:sym typeface="Helvetica Neue"/>
              </a:defRPr>
            </a:pPr>
            <a:endParaRPr sz="1000" kern="0">
              <a:solidFill>
                <a:srgbClr val="000000"/>
              </a:solidFill>
              <a:latin typeface="Helvetica Neue"/>
              <a:ea typeface="Helvetica Neue"/>
              <a:cs typeface="Helvetica Neue"/>
              <a:sym typeface="Helvetica Neue"/>
            </a:endParaRPr>
          </a:p>
        </p:txBody>
      </p:sp>
      <p:pic>
        <p:nvPicPr>
          <p:cNvPr id="114" name="Image" descr="Image"/>
          <p:cNvPicPr>
            <a:picLocks noChangeAspect="1"/>
          </p:cNvPicPr>
          <p:nvPr/>
        </p:nvPicPr>
        <p:blipFill>
          <a:blip r:embed="rId4"/>
          <a:stretch>
            <a:fillRect/>
          </a:stretch>
        </p:blipFill>
        <p:spPr>
          <a:xfrm>
            <a:off x="11288886" y="571589"/>
            <a:ext cx="305388" cy="305388"/>
          </a:xfrm>
          <a:prstGeom prst="rect">
            <a:avLst/>
          </a:prstGeom>
          <a:ln w="12700">
            <a:miter lim="400000"/>
          </a:ln>
        </p:spPr>
      </p:pic>
      <p:sp>
        <p:nvSpPr>
          <p:cNvPr id="115" name="TextBox 7"/>
          <p:cNvSpPr txBox="1"/>
          <p:nvPr/>
        </p:nvSpPr>
        <p:spPr>
          <a:xfrm>
            <a:off x="702649" y="2083499"/>
            <a:ext cx="1911189" cy="54074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7726" tIns="27726" rIns="27726" bIns="27726">
            <a:spAutoFit/>
          </a:bodyPr>
          <a:lstStyle/>
          <a:p>
            <a:pPr defTabSz="554805" hangingPunct="0">
              <a:defRPr sz="2100">
                <a:solidFill>
                  <a:srgbClr val="5991CC"/>
                </a:solidFill>
                <a:latin typeface="Uniform"/>
                <a:ea typeface="Uniform"/>
                <a:cs typeface="Uniform"/>
                <a:sym typeface="Uniform"/>
              </a:defRPr>
            </a:pPr>
            <a:r>
              <a:rPr sz="1050" b="1" kern="0" dirty="0">
                <a:solidFill>
                  <a:srgbClr val="5991CC"/>
                </a:solidFill>
                <a:latin typeface="Uniform"/>
                <a:sym typeface="Uniform"/>
              </a:rPr>
              <a:t>22/11/2021</a:t>
            </a:r>
          </a:p>
          <a:p>
            <a:pPr defTabSz="554805" hangingPunct="0">
              <a:defRPr sz="2100">
                <a:solidFill>
                  <a:srgbClr val="5C5C5C"/>
                </a:solidFill>
                <a:latin typeface="Uniform"/>
                <a:ea typeface="Uniform"/>
                <a:cs typeface="Uniform"/>
                <a:sym typeface="Uniform"/>
              </a:defRPr>
            </a:pPr>
            <a:r>
              <a:rPr sz="1050" kern="0" dirty="0">
                <a:solidFill>
                  <a:srgbClr val="5C5C5C"/>
                </a:solidFill>
                <a:latin typeface="Uniform"/>
                <a:sym typeface="Uniform"/>
              </a:rPr>
              <a:t>Price share when Shelly</a:t>
            </a:r>
            <a:r>
              <a:rPr lang="en-US" sz="1050" kern="0" dirty="0">
                <a:solidFill>
                  <a:srgbClr val="5C5C5C"/>
                </a:solidFill>
                <a:latin typeface="Uniform"/>
                <a:sym typeface="Uniform"/>
              </a:rPr>
              <a:t> Group</a:t>
            </a:r>
            <a:r>
              <a:rPr sz="1050" kern="0" dirty="0">
                <a:solidFill>
                  <a:srgbClr val="5C5C5C"/>
                </a:solidFill>
                <a:latin typeface="Uniform"/>
                <a:sym typeface="Uniform"/>
              </a:rPr>
              <a:t> enters Frankfurt Stock Exchange</a:t>
            </a:r>
          </a:p>
        </p:txBody>
      </p:sp>
      <p:sp>
        <p:nvSpPr>
          <p:cNvPr id="116" name="TextBox 1"/>
          <p:cNvSpPr txBox="1"/>
          <p:nvPr/>
        </p:nvSpPr>
        <p:spPr>
          <a:xfrm>
            <a:off x="3493985" y="2787223"/>
            <a:ext cx="1660721" cy="54074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7726" tIns="27726" rIns="27726" bIns="27726">
            <a:spAutoFit/>
          </a:bodyPr>
          <a:lstStyle/>
          <a:p>
            <a:pPr defTabSz="554805" hangingPunct="0">
              <a:defRPr sz="2100" b="1">
                <a:solidFill>
                  <a:srgbClr val="5991CC"/>
                </a:solidFill>
                <a:latin typeface="Uniform"/>
                <a:ea typeface="Uniform"/>
                <a:cs typeface="Uniform"/>
                <a:sym typeface="Uniform"/>
              </a:defRPr>
            </a:pPr>
            <a:r>
              <a:rPr sz="1050" b="1" kern="0" dirty="0">
                <a:solidFill>
                  <a:srgbClr val="5991CC"/>
                </a:solidFill>
                <a:latin typeface="Uniform"/>
                <a:sym typeface="Uniform"/>
              </a:rPr>
              <a:t>In 2022:</a:t>
            </a:r>
          </a:p>
          <a:p>
            <a:pPr defTabSz="554805" hangingPunct="0">
              <a:defRPr sz="2100">
                <a:solidFill>
                  <a:srgbClr val="5C5C5C"/>
                </a:solidFill>
                <a:latin typeface="Uniform"/>
                <a:ea typeface="Uniform"/>
                <a:cs typeface="Uniform"/>
                <a:sym typeface="Uniform"/>
              </a:defRPr>
            </a:pPr>
            <a:r>
              <a:rPr sz="1050" kern="0" dirty="0">
                <a:solidFill>
                  <a:srgbClr val="5C5C5C"/>
                </a:solidFill>
                <a:latin typeface="Uniform"/>
                <a:sym typeface="Uniform"/>
              </a:rPr>
              <a:t>-</a:t>
            </a:r>
            <a:r>
              <a:rPr lang="en-US" sz="1050" kern="0" dirty="0">
                <a:solidFill>
                  <a:srgbClr val="5C5C5C"/>
                </a:solidFill>
                <a:latin typeface="Uniform"/>
                <a:sym typeface="Uniform"/>
              </a:rPr>
              <a:t> </a:t>
            </a:r>
            <a:r>
              <a:rPr sz="1050" kern="0" dirty="0">
                <a:solidFill>
                  <a:srgbClr val="5C5C5C"/>
                </a:solidFill>
                <a:latin typeface="Uniform"/>
                <a:sym typeface="Uniform"/>
              </a:rPr>
              <a:t>4 quarterly earnings calls</a:t>
            </a:r>
          </a:p>
          <a:p>
            <a:pPr defTabSz="554805" hangingPunct="0">
              <a:defRPr sz="2100">
                <a:solidFill>
                  <a:srgbClr val="5C5C5C"/>
                </a:solidFill>
                <a:latin typeface="Uniform"/>
                <a:ea typeface="Uniform"/>
                <a:cs typeface="Uniform"/>
                <a:sym typeface="Uniform"/>
              </a:defRPr>
            </a:pPr>
            <a:r>
              <a:rPr sz="1050" kern="0" dirty="0">
                <a:solidFill>
                  <a:srgbClr val="5C5C5C"/>
                </a:solidFill>
                <a:latin typeface="Uniform"/>
                <a:sym typeface="Uniform"/>
              </a:rPr>
              <a:t>-</a:t>
            </a:r>
            <a:r>
              <a:rPr lang="en-US" sz="1050" kern="0" dirty="0">
                <a:solidFill>
                  <a:srgbClr val="5C5C5C"/>
                </a:solidFill>
                <a:latin typeface="Uniform"/>
                <a:sym typeface="Uniform"/>
              </a:rPr>
              <a:t> 3 investors conferences</a:t>
            </a:r>
            <a:endParaRPr sz="1050" kern="0" dirty="0">
              <a:solidFill>
                <a:srgbClr val="5C5C5C"/>
              </a:solidFill>
              <a:latin typeface="Uniform"/>
              <a:sym typeface="Uniform"/>
            </a:endParaRPr>
          </a:p>
        </p:txBody>
      </p:sp>
      <p:sp>
        <p:nvSpPr>
          <p:cNvPr id="117" name="Textfeld 4"/>
          <p:cNvSpPr txBox="1"/>
          <p:nvPr/>
        </p:nvSpPr>
        <p:spPr>
          <a:xfrm>
            <a:off x="6414094" y="1327358"/>
            <a:ext cx="1911189" cy="36377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7726" tIns="27726" rIns="27726" bIns="27726">
            <a:spAutoFit/>
          </a:bodyPr>
          <a:lstStyle>
            <a:lvl1pPr>
              <a:defRPr sz="4000" b="1">
                <a:solidFill>
                  <a:srgbClr val="4594D1"/>
                </a:solidFill>
                <a:latin typeface="+mj-lt"/>
                <a:ea typeface="+mj-ea"/>
                <a:cs typeface="+mj-cs"/>
                <a:sym typeface="Helvetica Neue"/>
              </a:defRPr>
            </a:lvl1pPr>
          </a:lstStyle>
          <a:p>
            <a:pPr defTabSz="554805" hangingPunct="0"/>
            <a:r>
              <a:rPr sz="2000" kern="0" dirty="0">
                <a:latin typeface="Helvetica Neue"/>
                <a:ea typeface="Helvetica Neue"/>
                <a:cs typeface="Helvetica Neue"/>
              </a:rPr>
              <a:t>2023</a:t>
            </a:r>
          </a:p>
        </p:txBody>
      </p:sp>
      <p:sp>
        <p:nvSpPr>
          <p:cNvPr id="119" name="TextBox 1"/>
          <p:cNvSpPr txBox="1"/>
          <p:nvPr/>
        </p:nvSpPr>
        <p:spPr>
          <a:xfrm>
            <a:off x="6594254" y="2763380"/>
            <a:ext cx="1682619" cy="70232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7726" tIns="27726" rIns="27726" bIns="27726">
            <a:spAutoFit/>
          </a:bodyPr>
          <a:lstStyle/>
          <a:p>
            <a:pPr defTabSz="554805" hangingPunct="0">
              <a:defRPr sz="2100" b="1">
                <a:solidFill>
                  <a:srgbClr val="5991CC"/>
                </a:solidFill>
                <a:latin typeface="Uniform"/>
                <a:ea typeface="Uniform"/>
                <a:cs typeface="Uniform"/>
                <a:sym typeface="Uniform"/>
              </a:defRPr>
            </a:pPr>
            <a:r>
              <a:rPr sz="1050" b="1" kern="0" dirty="0">
                <a:solidFill>
                  <a:srgbClr val="5991CC"/>
                </a:solidFill>
                <a:latin typeface="Uniform"/>
                <a:sym typeface="Uniform"/>
              </a:rPr>
              <a:t>In 2023:</a:t>
            </a:r>
          </a:p>
          <a:p>
            <a:pPr defTabSz="554805" hangingPunct="0">
              <a:defRPr sz="2100">
                <a:solidFill>
                  <a:srgbClr val="5C5C5C"/>
                </a:solidFill>
                <a:latin typeface="Uniform"/>
                <a:ea typeface="Uniform"/>
                <a:cs typeface="Uniform"/>
                <a:sym typeface="Uniform"/>
              </a:defRPr>
            </a:pPr>
            <a:r>
              <a:rPr sz="1050" kern="0" dirty="0">
                <a:solidFill>
                  <a:srgbClr val="5C5C5C"/>
                </a:solidFill>
                <a:latin typeface="Uniform"/>
                <a:sym typeface="Uniform"/>
              </a:rPr>
              <a:t>-</a:t>
            </a:r>
            <a:r>
              <a:rPr lang="en-US" sz="1050" kern="0" dirty="0">
                <a:solidFill>
                  <a:srgbClr val="5C5C5C"/>
                </a:solidFill>
                <a:latin typeface="Uniform"/>
                <a:sym typeface="Uniform"/>
              </a:rPr>
              <a:t> </a:t>
            </a:r>
            <a:r>
              <a:rPr sz="1050" kern="0" dirty="0">
                <a:solidFill>
                  <a:srgbClr val="5C5C5C"/>
                </a:solidFill>
                <a:latin typeface="Uniform"/>
                <a:sym typeface="Uniform"/>
              </a:rPr>
              <a:t>4 quarterly earnings calls</a:t>
            </a:r>
          </a:p>
          <a:p>
            <a:pPr defTabSz="554805" hangingPunct="0">
              <a:defRPr sz="2100">
                <a:solidFill>
                  <a:srgbClr val="5C5C5C"/>
                </a:solidFill>
                <a:latin typeface="Uniform"/>
                <a:ea typeface="Uniform"/>
                <a:cs typeface="Uniform"/>
                <a:sym typeface="Uniform"/>
              </a:defRPr>
            </a:pPr>
            <a:r>
              <a:rPr sz="1050" kern="0" dirty="0">
                <a:solidFill>
                  <a:srgbClr val="5C5C5C"/>
                </a:solidFill>
                <a:latin typeface="Uniform"/>
                <a:sym typeface="Uniform"/>
              </a:rPr>
              <a:t>-</a:t>
            </a:r>
            <a:r>
              <a:rPr lang="en-US" sz="1050" kern="0" dirty="0">
                <a:solidFill>
                  <a:srgbClr val="5C5C5C"/>
                </a:solidFill>
                <a:latin typeface="Uniform"/>
                <a:sym typeface="Uniform"/>
              </a:rPr>
              <a:t> 7 investors conferences</a:t>
            </a:r>
          </a:p>
          <a:p>
            <a:pPr defTabSz="554805" hangingPunct="0">
              <a:defRPr sz="2100">
                <a:solidFill>
                  <a:srgbClr val="5C5C5C"/>
                </a:solidFill>
                <a:latin typeface="Uniform"/>
                <a:ea typeface="Uniform"/>
                <a:cs typeface="Uniform"/>
                <a:sym typeface="Uniform"/>
              </a:defRPr>
            </a:pPr>
            <a:r>
              <a:rPr lang="en-US" sz="1050" kern="0" dirty="0">
                <a:solidFill>
                  <a:srgbClr val="5C5C5C"/>
                </a:solidFill>
                <a:latin typeface="Uniform"/>
                <a:sym typeface="Uniform"/>
              </a:rPr>
              <a:t>- 5 roadshows</a:t>
            </a:r>
            <a:endParaRPr sz="1050" kern="0" dirty="0">
              <a:solidFill>
                <a:srgbClr val="5C5C5C"/>
              </a:solidFill>
              <a:latin typeface="Uniform"/>
              <a:sym typeface="Uniform"/>
            </a:endParaRPr>
          </a:p>
        </p:txBody>
      </p:sp>
      <p:sp>
        <p:nvSpPr>
          <p:cNvPr id="120" name="TextBox 9"/>
          <p:cNvSpPr txBox="1"/>
          <p:nvPr/>
        </p:nvSpPr>
        <p:spPr>
          <a:xfrm>
            <a:off x="3899963" y="6537168"/>
            <a:ext cx="976765" cy="24065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7726" tIns="27726" rIns="27726" bIns="27726">
            <a:spAutoFit/>
          </a:bodyPr>
          <a:lstStyle>
            <a:lvl1pPr>
              <a:defRPr sz="2400" b="1">
                <a:solidFill>
                  <a:srgbClr val="4594D1"/>
                </a:solidFill>
                <a:latin typeface="Uniform-Black"/>
                <a:ea typeface="Uniform-Black"/>
                <a:cs typeface="Uniform-Black"/>
                <a:sym typeface="Uniform-Black"/>
              </a:defRPr>
            </a:lvl1pPr>
          </a:lstStyle>
          <a:p>
            <a:pPr defTabSz="554805" hangingPunct="0"/>
            <a:r>
              <a:rPr sz="1200" kern="0"/>
              <a:t>Q3 2022</a:t>
            </a:r>
          </a:p>
        </p:txBody>
      </p:sp>
      <p:sp>
        <p:nvSpPr>
          <p:cNvPr id="121" name="TextBox 9"/>
          <p:cNvSpPr txBox="1"/>
          <p:nvPr/>
        </p:nvSpPr>
        <p:spPr>
          <a:xfrm>
            <a:off x="4952793" y="6537268"/>
            <a:ext cx="976764" cy="24065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7726" tIns="27726" rIns="27726" bIns="27726">
            <a:spAutoFit/>
          </a:bodyPr>
          <a:lstStyle>
            <a:lvl1pPr>
              <a:defRPr sz="2400" b="1">
                <a:solidFill>
                  <a:srgbClr val="4594D1"/>
                </a:solidFill>
                <a:latin typeface="Uniform-Black"/>
                <a:ea typeface="Uniform-Black"/>
                <a:cs typeface="Uniform-Black"/>
                <a:sym typeface="Uniform-Black"/>
              </a:defRPr>
            </a:lvl1pPr>
          </a:lstStyle>
          <a:p>
            <a:pPr defTabSz="554805" hangingPunct="0"/>
            <a:r>
              <a:rPr sz="1200" kern="0"/>
              <a:t>Q4 2022</a:t>
            </a:r>
          </a:p>
        </p:txBody>
      </p:sp>
      <p:sp>
        <p:nvSpPr>
          <p:cNvPr id="122" name="TextBox 9"/>
          <p:cNvSpPr txBox="1"/>
          <p:nvPr/>
        </p:nvSpPr>
        <p:spPr>
          <a:xfrm>
            <a:off x="6023213" y="6537168"/>
            <a:ext cx="976765" cy="24065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7726" tIns="27726" rIns="27726" bIns="27726">
            <a:spAutoFit/>
          </a:bodyPr>
          <a:lstStyle>
            <a:lvl1pPr>
              <a:defRPr sz="2400" b="1">
                <a:solidFill>
                  <a:srgbClr val="4594D1"/>
                </a:solidFill>
                <a:latin typeface="Uniform-Black"/>
                <a:ea typeface="Uniform-Black"/>
                <a:cs typeface="Uniform-Black"/>
                <a:sym typeface="Uniform-Black"/>
              </a:defRPr>
            </a:lvl1pPr>
          </a:lstStyle>
          <a:p>
            <a:pPr defTabSz="554805" hangingPunct="0"/>
            <a:r>
              <a:rPr sz="1200" kern="0"/>
              <a:t>Q1 2023</a:t>
            </a:r>
          </a:p>
        </p:txBody>
      </p:sp>
      <p:sp>
        <p:nvSpPr>
          <p:cNvPr id="123" name="TextBox 9"/>
          <p:cNvSpPr txBox="1"/>
          <p:nvPr/>
        </p:nvSpPr>
        <p:spPr>
          <a:xfrm>
            <a:off x="7073502" y="6539090"/>
            <a:ext cx="976765" cy="24065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7726" tIns="27726" rIns="27726" bIns="27726">
            <a:spAutoFit/>
          </a:bodyPr>
          <a:lstStyle>
            <a:lvl1pPr>
              <a:defRPr sz="2400" b="1">
                <a:solidFill>
                  <a:srgbClr val="4594D1"/>
                </a:solidFill>
                <a:latin typeface="Uniform-Black"/>
                <a:ea typeface="Uniform-Black"/>
                <a:cs typeface="Uniform-Black"/>
                <a:sym typeface="Uniform-Black"/>
              </a:defRPr>
            </a:lvl1pPr>
          </a:lstStyle>
          <a:p>
            <a:pPr defTabSz="554805" hangingPunct="0"/>
            <a:r>
              <a:rPr sz="1200" kern="0"/>
              <a:t>Q2 2023</a:t>
            </a:r>
          </a:p>
        </p:txBody>
      </p:sp>
      <p:sp>
        <p:nvSpPr>
          <p:cNvPr id="124" name="TextBox 9"/>
          <p:cNvSpPr txBox="1"/>
          <p:nvPr/>
        </p:nvSpPr>
        <p:spPr>
          <a:xfrm>
            <a:off x="8031083" y="6537268"/>
            <a:ext cx="976765" cy="24065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7726" tIns="27726" rIns="27726" bIns="27726">
            <a:spAutoFit/>
          </a:bodyPr>
          <a:lstStyle>
            <a:lvl1pPr>
              <a:defRPr sz="2400" b="1">
                <a:solidFill>
                  <a:srgbClr val="4594D1"/>
                </a:solidFill>
                <a:latin typeface="Uniform-Black"/>
                <a:ea typeface="Uniform-Black"/>
                <a:cs typeface="Uniform-Black"/>
                <a:sym typeface="Uniform-Black"/>
              </a:defRPr>
            </a:lvl1pPr>
          </a:lstStyle>
          <a:p>
            <a:pPr defTabSz="554805" hangingPunct="0"/>
            <a:r>
              <a:rPr sz="1200" kern="0"/>
              <a:t>Q3 2023</a:t>
            </a:r>
          </a:p>
        </p:txBody>
      </p:sp>
      <p:sp>
        <p:nvSpPr>
          <p:cNvPr id="125" name="TextBox 9"/>
          <p:cNvSpPr txBox="1"/>
          <p:nvPr/>
        </p:nvSpPr>
        <p:spPr>
          <a:xfrm>
            <a:off x="8873226" y="6537168"/>
            <a:ext cx="976765" cy="24065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7726" tIns="27726" rIns="27726" bIns="27726">
            <a:spAutoFit/>
          </a:bodyPr>
          <a:lstStyle>
            <a:lvl1pPr>
              <a:defRPr sz="2400" b="1">
                <a:solidFill>
                  <a:srgbClr val="4594D1"/>
                </a:solidFill>
                <a:latin typeface="Uniform-Black"/>
                <a:ea typeface="Uniform-Black"/>
                <a:cs typeface="Uniform-Black"/>
                <a:sym typeface="Uniform-Black"/>
              </a:defRPr>
            </a:lvl1pPr>
          </a:lstStyle>
          <a:p>
            <a:pPr defTabSz="554805" hangingPunct="0"/>
            <a:r>
              <a:rPr sz="1200" kern="0"/>
              <a:t>Q4 2023</a:t>
            </a:r>
          </a:p>
        </p:txBody>
      </p:sp>
      <p:sp>
        <p:nvSpPr>
          <p:cNvPr id="126" name="TextBox 7"/>
          <p:cNvSpPr txBox="1"/>
          <p:nvPr/>
        </p:nvSpPr>
        <p:spPr>
          <a:xfrm>
            <a:off x="1103141" y="6527849"/>
            <a:ext cx="976747" cy="24065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7726" tIns="27726" rIns="27726" bIns="27726">
            <a:spAutoFit/>
          </a:bodyPr>
          <a:lstStyle>
            <a:lvl1pPr>
              <a:defRPr sz="2400" b="1">
                <a:solidFill>
                  <a:srgbClr val="4594D1"/>
                </a:solidFill>
                <a:latin typeface="Uniform-Black"/>
                <a:ea typeface="Uniform-Black"/>
                <a:cs typeface="Uniform-Black"/>
                <a:sym typeface="Uniform-Black"/>
              </a:defRPr>
            </a:lvl1pPr>
          </a:lstStyle>
          <a:p>
            <a:pPr defTabSz="554805" hangingPunct="0"/>
            <a:r>
              <a:rPr sz="1200" kern="0"/>
              <a:t>Q4 2021</a:t>
            </a:r>
          </a:p>
        </p:txBody>
      </p:sp>
      <p:sp>
        <p:nvSpPr>
          <p:cNvPr id="127" name="TextBox 8"/>
          <p:cNvSpPr txBox="1"/>
          <p:nvPr/>
        </p:nvSpPr>
        <p:spPr>
          <a:xfrm>
            <a:off x="2039414" y="6533459"/>
            <a:ext cx="976747" cy="24065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7726" tIns="27726" rIns="27726" bIns="27726">
            <a:spAutoFit/>
          </a:bodyPr>
          <a:lstStyle>
            <a:lvl1pPr>
              <a:defRPr sz="2400" b="1">
                <a:solidFill>
                  <a:srgbClr val="4594D1"/>
                </a:solidFill>
                <a:latin typeface="Uniform-Black"/>
                <a:ea typeface="Uniform-Black"/>
                <a:cs typeface="Uniform-Black"/>
                <a:sym typeface="Uniform-Black"/>
              </a:defRPr>
            </a:lvl1pPr>
          </a:lstStyle>
          <a:p>
            <a:pPr defTabSz="554805" hangingPunct="0"/>
            <a:r>
              <a:rPr sz="1200" kern="0"/>
              <a:t>Q1 2022</a:t>
            </a:r>
          </a:p>
        </p:txBody>
      </p:sp>
      <p:sp>
        <p:nvSpPr>
          <p:cNvPr id="128" name="TextBox 9"/>
          <p:cNvSpPr txBox="1"/>
          <p:nvPr/>
        </p:nvSpPr>
        <p:spPr>
          <a:xfrm>
            <a:off x="2919524" y="6535730"/>
            <a:ext cx="976747" cy="24065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7726" tIns="27726" rIns="27726" bIns="27726">
            <a:spAutoFit/>
          </a:bodyPr>
          <a:lstStyle>
            <a:lvl1pPr>
              <a:defRPr sz="2400" b="1">
                <a:solidFill>
                  <a:srgbClr val="4594D1"/>
                </a:solidFill>
                <a:latin typeface="Uniform-Black"/>
                <a:ea typeface="Uniform-Black"/>
                <a:cs typeface="Uniform-Black"/>
                <a:sym typeface="Uniform-Black"/>
              </a:defRPr>
            </a:lvl1pPr>
          </a:lstStyle>
          <a:p>
            <a:pPr defTabSz="554805" hangingPunct="0"/>
            <a:r>
              <a:rPr sz="1200" kern="0"/>
              <a:t>Q2 2022</a:t>
            </a:r>
          </a:p>
        </p:txBody>
      </p:sp>
      <p:sp>
        <p:nvSpPr>
          <p:cNvPr id="129" name="Line"/>
          <p:cNvSpPr/>
          <p:nvPr/>
        </p:nvSpPr>
        <p:spPr>
          <a:xfrm flipV="1">
            <a:off x="6363226" y="1389086"/>
            <a:ext cx="1" cy="4919287"/>
          </a:xfrm>
          <a:prstGeom prst="line">
            <a:avLst/>
          </a:prstGeom>
          <a:ln w="25400">
            <a:solidFill>
              <a:srgbClr val="5A92CC"/>
            </a:solidFill>
          </a:ln>
        </p:spPr>
        <p:txBody>
          <a:bodyPr lIns="22859" tIns="22859" rIns="22859" bIns="22859"/>
          <a:lstStyle/>
          <a:p>
            <a:pPr defTabSz="554805" hangingPunct="0"/>
            <a:endParaRPr sz="1000" kern="0">
              <a:solidFill>
                <a:srgbClr val="000000"/>
              </a:solidFill>
              <a:latin typeface="Helvetica Neue"/>
              <a:ea typeface="Helvetica Neue"/>
              <a:cs typeface="Helvetica Neue"/>
              <a:sym typeface="Helvetica Neue"/>
            </a:endParaRPr>
          </a:p>
        </p:txBody>
      </p:sp>
      <p:sp>
        <p:nvSpPr>
          <p:cNvPr id="130" name="Textfeld 4"/>
          <p:cNvSpPr txBox="1"/>
          <p:nvPr/>
        </p:nvSpPr>
        <p:spPr>
          <a:xfrm>
            <a:off x="2515803" y="2415450"/>
            <a:ext cx="1911189" cy="36377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7726" tIns="27726" rIns="27726" bIns="27726">
            <a:spAutoFit/>
          </a:bodyPr>
          <a:lstStyle/>
          <a:p>
            <a:pPr marL="0" lvl="1" defTabSz="554805" hangingPunct="0">
              <a:defRPr sz="4000" b="1">
                <a:solidFill>
                  <a:srgbClr val="4594D1"/>
                </a:solidFill>
                <a:latin typeface="+mj-lt"/>
                <a:ea typeface="+mj-ea"/>
                <a:cs typeface="+mj-cs"/>
                <a:sym typeface="Helvetica Neue"/>
              </a:defRPr>
            </a:pPr>
            <a:r>
              <a:rPr sz="2000" b="1" kern="0" dirty="0">
                <a:solidFill>
                  <a:srgbClr val="4594D1"/>
                </a:solidFill>
                <a:latin typeface="Helvetica Neue"/>
                <a:ea typeface="Helvetica Neue"/>
                <a:cs typeface="Helvetica Neue"/>
                <a:sym typeface="Helvetica Neue"/>
              </a:rPr>
              <a:t>2022</a:t>
            </a:r>
          </a:p>
        </p:txBody>
      </p:sp>
      <p:sp>
        <p:nvSpPr>
          <p:cNvPr id="131" name="Line"/>
          <p:cNvSpPr/>
          <p:nvPr/>
        </p:nvSpPr>
        <p:spPr>
          <a:xfrm flipV="1">
            <a:off x="2458572" y="2453209"/>
            <a:ext cx="1" cy="3856103"/>
          </a:xfrm>
          <a:prstGeom prst="line">
            <a:avLst/>
          </a:prstGeom>
          <a:ln w="25400">
            <a:solidFill>
              <a:srgbClr val="5A92CC"/>
            </a:solidFill>
          </a:ln>
        </p:spPr>
        <p:txBody>
          <a:bodyPr lIns="22859" tIns="22859" rIns="22859" bIns="22859"/>
          <a:lstStyle/>
          <a:p>
            <a:pPr defTabSz="554805" hangingPunct="0"/>
            <a:endParaRPr sz="1000" kern="0">
              <a:solidFill>
                <a:srgbClr val="000000"/>
              </a:solidFill>
              <a:latin typeface="Helvetica Neue"/>
              <a:ea typeface="Helvetica Neue"/>
              <a:cs typeface="Helvetica Neue"/>
              <a:sym typeface="Helvetica Neue"/>
            </a:endParaRPr>
          </a:p>
        </p:txBody>
      </p:sp>
      <p:sp>
        <p:nvSpPr>
          <p:cNvPr id="132" name="Textfeld 4"/>
          <p:cNvSpPr txBox="1"/>
          <p:nvPr/>
        </p:nvSpPr>
        <p:spPr>
          <a:xfrm>
            <a:off x="1718186" y="2836098"/>
            <a:ext cx="683155" cy="36377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7726" tIns="27726" rIns="27726" bIns="27726">
            <a:spAutoFit/>
          </a:bodyPr>
          <a:lstStyle/>
          <a:p>
            <a:pPr marL="0" lvl="1" defTabSz="554805" hangingPunct="0">
              <a:defRPr sz="4000" b="1">
                <a:solidFill>
                  <a:srgbClr val="4594D1"/>
                </a:solidFill>
                <a:latin typeface="+mj-lt"/>
                <a:ea typeface="+mj-ea"/>
                <a:cs typeface="+mj-cs"/>
                <a:sym typeface="Helvetica Neue"/>
              </a:defRPr>
            </a:pPr>
            <a:r>
              <a:rPr sz="2000" b="1" kern="0">
                <a:solidFill>
                  <a:srgbClr val="4594D1"/>
                </a:solidFill>
                <a:latin typeface="Helvetica Neue"/>
                <a:ea typeface="Helvetica Neue"/>
                <a:cs typeface="Helvetica Neue"/>
                <a:sym typeface="Helvetica Neue"/>
              </a:rPr>
              <a:t>2021</a:t>
            </a:r>
          </a:p>
        </p:txBody>
      </p:sp>
      <p:sp>
        <p:nvSpPr>
          <p:cNvPr id="133" name="Line"/>
          <p:cNvSpPr/>
          <p:nvPr/>
        </p:nvSpPr>
        <p:spPr>
          <a:xfrm flipV="1">
            <a:off x="1703687" y="2899229"/>
            <a:ext cx="1" cy="3406705"/>
          </a:xfrm>
          <a:prstGeom prst="line">
            <a:avLst/>
          </a:prstGeom>
          <a:ln w="25400">
            <a:solidFill>
              <a:srgbClr val="5A92CC"/>
            </a:solidFill>
          </a:ln>
        </p:spPr>
        <p:txBody>
          <a:bodyPr lIns="22859" tIns="22859" rIns="22859" bIns="22859"/>
          <a:lstStyle/>
          <a:p>
            <a:pPr defTabSz="554805" hangingPunct="0"/>
            <a:endParaRPr sz="1000" kern="0">
              <a:solidFill>
                <a:srgbClr val="000000"/>
              </a:solidFill>
              <a:latin typeface="Helvetica Neue"/>
              <a:ea typeface="Helvetica Neue"/>
              <a:cs typeface="Helvetica Neue"/>
              <a:sym typeface="Helvetica Neue"/>
            </a:endParaRPr>
          </a:p>
        </p:txBody>
      </p:sp>
      <p:sp>
        <p:nvSpPr>
          <p:cNvPr id="2" name="TextBox 1">
            <a:extLst>
              <a:ext uri="{FF2B5EF4-FFF2-40B4-BE49-F238E27FC236}">
                <a16:creationId xmlns:a16="http://schemas.microsoft.com/office/drawing/2014/main" id="{38482CFF-335D-CEE2-562B-7E8379C86559}"/>
              </a:ext>
            </a:extLst>
          </p:cNvPr>
          <p:cNvSpPr txBox="1"/>
          <p:nvPr/>
        </p:nvSpPr>
        <p:spPr>
          <a:xfrm>
            <a:off x="10320814" y="6249793"/>
            <a:ext cx="1805941" cy="517658"/>
          </a:xfrm>
          <a:prstGeom prst="rect">
            <a:avLst/>
          </a:prstGeom>
          <a:solidFill>
            <a:srgbClr val="5C5C5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7726" tIns="27726" rIns="27726" bIns="27726" numCol="1" spcCol="38100" rtlCol="0" anchor="t">
            <a:spAutoFit/>
          </a:bodyPr>
          <a:lstStyle/>
          <a:p>
            <a:pPr defTabSz="554805" hangingPunct="0"/>
            <a:r>
              <a:rPr lang="bg-BG" sz="1000" b="1" kern="0" dirty="0">
                <a:solidFill>
                  <a:srgbClr val="FFFFFF"/>
                </a:solidFill>
                <a:latin typeface="Helvetica Neue"/>
                <a:ea typeface="Helvetica Neue"/>
                <a:cs typeface="Helvetica Neue"/>
                <a:sym typeface="Helvetica Neue"/>
              </a:rPr>
              <a:t>*</a:t>
            </a:r>
            <a:r>
              <a:rPr lang="en-US" sz="1000" b="1" kern="0" dirty="0">
                <a:solidFill>
                  <a:srgbClr val="FFFFFF"/>
                </a:solidFill>
                <a:latin typeface="Helvetica Neue"/>
                <a:ea typeface="Helvetica Neue"/>
                <a:cs typeface="Helvetica Neue"/>
                <a:sym typeface="Helvetica Neue"/>
              </a:rPr>
              <a:t>Data from BSE on Shelly Group AD rounded stock price on closing</a:t>
            </a:r>
            <a:endParaRPr lang="bg-BG" sz="1000" b="1" kern="0" dirty="0">
              <a:solidFill>
                <a:srgbClr val="FFFFFF"/>
              </a:solidFill>
              <a:latin typeface="Helvetica Neue"/>
              <a:ea typeface="Helvetica Neue"/>
              <a:cs typeface="Helvetica Neue"/>
              <a:sym typeface="Helvetica Neue"/>
            </a:endParaRPr>
          </a:p>
        </p:txBody>
      </p:sp>
      <p:sp>
        <p:nvSpPr>
          <p:cNvPr id="3" name="Textfeld 4">
            <a:extLst>
              <a:ext uri="{FF2B5EF4-FFF2-40B4-BE49-F238E27FC236}">
                <a16:creationId xmlns:a16="http://schemas.microsoft.com/office/drawing/2014/main" id="{E88982CA-EF0E-9C16-8131-80AD09BA62B5}"/>
              </a:ext>
            </a:extLst>
          </p:cNvPr>
          <p:cNvSpPr txBox="1"/>
          <p:nvPr/>
        </p:nvSpPr>
        <p:spPr>
          <a:xfrm>
            <a:off x="9412084" y="1218389"/>
            <a:ext cx="1911189" cy="36377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7726" tIns="27726" rIns="27726" bIns="27726">
            <a:spAutoFit/>
          </a:bodyPr>
          <a:lstStyle>
            <a:lvl1pPr>
              <a:defRPr sz="4000" b="1">
                <a:solidFill>
                  <a:srgbClr val="4594D1"/>
                </a:solidFill>
                <a:latin typeface="+mj-lt"/>
                <a:ea typeface="+mj-ea"/>
                <a:cs typeface="+mj-cs"/>
                <a:sym typeface="Helvetica Neue"/>
              </a:defRPr>
            </a:lvl1pPr>
          </a:lstStyle>
          <a:p>
            <a:pPr defTabSz="554805" hangingPunct="0"/>
            <a:r>
              <a:rPr sz="2000" kern="0" dirty="0">
                <a:latin typeface="Helvetica Neue"/>
                <a:ea typeface="Helvetica Neue"/>
                <a:cs typeface="Helvetica Neue"/>
              </a:rPr>
              <a:t>202</a:t>
            </a:r>
            <a:r>
              <a:rPr lang="en-US" sz="2000" kern="0" dirty="0">
                <a:latin typeface="Helvetica Neue"/>
                <a:ea typeface="Helvetica Neue"/>
                <a:cs typeface="Helvetica Neue"/>
              </a:rPr>
              <a:t>4</a:t>
            </a:r>
            <a:endParaRPr sz="2000" kern="0" dirty="0">
              <a:latin typeface="Helvetica Neue"/>
              <a:ea typeface="Helvetica Neue"/>
              <a:cs typeface="Helvetica Neue"/>
            </a:endParaRPr>
          </a:p>
        </p:txBody>
      </p:sp>
      <p:sp>
        <p:nvSpPr>
          <p:cNvPr id="4" name="Line">
            <a:extLst>
              <a:ext uri="{FF2B5EF4-FFF2-40B4-BE49-F238E27FC236}">
                <a16:creationId xmlns:a16="http://schemas.microsoft.com/office/drawing/2014/main" id="{DED56A1B-6484-8A9D-59F6-C00BFF80A050}"/>
              </a:ext>
            </a:extLst>
          </p:cNvPr>
          <p:cNvSpPr/>
          <p:nvPr/>
        </p:nvSpPr>
        <p:spPr>
          <a:xfrm flipV="1">
            <a:off x="9361216" y="1280118"/>
            <a:ext cx="1" cy="4919287"/>
          </a:xfrm>
          <a:prstGeom prst="line">
            <a:avLst/>
          </a:prstGeom>
          <a:ln w="25400">
            <a:solidFill>
              <a:srgbClr val="5A92CC"/>
            </a:solidFill>
          </a:ln>
        </p:spPr>
        <p:txBody>
          <a:bodyPr lIns="22859" tIns="22859" rIns="22859" bIns="22859"/>
          <a:lstStyle/>
          <a:p>
            <a:pPr defTabSz="554805" hangingPunct="0"/>
            <a:endParaRPr sz="1000" kern="0">
              <a:solidFill>
                <a:srgbClr val="000000"/>
              </a:solidFill>
              <a:latin typeface="Helvetica Neue"/>
              <a:ea typeface="Helvetica Neue"/>
              <a:cs typeface="Helvetica Neue"/>
              <a:sym typeface="Helvetica Neue"/>
            </a:endParaRPr>
          </a:p>
        </p:txBody>
      </p:sp>
      <p:sp>
        <p:nvSpPr>
          <p:cNvPr id="7" name="TextBox 7">
            <a:extLst>
              <a:ext uri="{FF2B5EF4-FFF2-40B4-BE49-F238E27FC236}">
                <a16:creationId xmlns:a16="http://schemas.microsoft.com/office/drawing/2014/main" id="{2F87FF6E-4086-8232-08EA-E4BB2D480539}"/>
              </a:ext>
            </a:extLst>
          </p:cNvPr>
          <p:cNvSpPr txBox="1"/>
          <p:nvPr/>
        </p:nvSpPr>
        <p:spPr>
          <a:xfrm>
            <a:off x="10205019" y="2129700"/>
            <a:ext cx="1682181" cy="70232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7726" tIns="27726" rIns="27726" bIns="27726">
            <a:spAutoFit/>
          </a:bodyPr>
          <a:lstStyle/>
          <a:p>
            <a:pPr defTabSz="554805" hangingPunct="0">
              <a:defRPr sz="2100">
                <a:solidFill>
                  <a:srgbClr val="5991CC"/>
                </a:solidFill>
                <a:latin typeface="Uniform"/>
                <a:ea typeface="Uniform"/>
                <a:cs typeface="Uniform"/>
                <a:sym typeface="Uniform"/>
              </a:defRPr>
            </a:pPr>
            <a:r>
              <a:rPr lang="en-US" sz="1050" b="1" kern="0" dirty="0">
                <a:solidFill>
                  <a:srgbClr val="5991CC"/>
                </a:solidFill>
                <a:latin typeface="Uniform"/>
                <a:sym typeface="Uniform"/>
              </a:rPr>
              <a:t>In 2024:</a:t>
            </a:r>
            <a:endParaRPr sz="1050" b="1" kern="0" dirty="0">
              <a:solidFill>
                <a:srgbClr val="5991CC"/>
              </a:solidFill>
              <a:latin typeface="Uniform"/>
              <a:sym typeface="Uniform"/>
            </a:endParaRPr>
          </a:p>
          <a:p>
            <a:pPr defTabSz="554805" hangingPunct="0">
              <a:defRPr sz="2100">
                <a:solidFill>
                  <a:srgbClr val="5C5C5C"/>
                </a:solidFill>
                <a:latin typeface="Uniform"/>
                <a:ea typeface="Uniform"/>
                <a:cs typeface="Uniform"/>
                <a:sym typeface="Uniform"/>
              </a:defRPr>
            </a:pPr>
            <a:r>
              <a:rPr lang="en-US" sz="1050" kern="0" dirty="0">
                <a:solidFill>
                  <a:srgbClr val="5C5C5C"/>
                </a:solidFill>
                <a:latin typeface="Uniform"/>
                <a:sym typeface="Uniform"/>
              </a:rPr>
              <a:t>- </a:t>
            </a:r>
            <a:r>
              <a:rPr lang="sl-SI" sz="1050" kern="0" dirty="0">
                <a:solidFill>
                  <a:srgbClr val="5C5C5C"/>
                </a:solidFill>
                <a:sym typeface="Uniform"/>
              </a:rPr>
              <a:t>4 quarterly earnings calls</a:t>
            </a:r>
            <a:endParaRPr lang="en-US" sz="1050" kern="0" dirty="0">
              <a:solidFill>
                <a:srgbClr val="5C5C5C"/>
              </a:solidFill>
              <a:latin typeface="Uniform"/>
              <a:sym typeface="Uniform"/>
            </a:endParaRPr>
          </a:p>
          <a:p>
            <a:pPr defTabSz="554805" hangingPunct="0">
              <a:defRPr sz="2100">
                <a:solidFill>
                  <a:srgbClr val="5C5C5C"/>
                </a:solidFill>
                <a:latin typeface="Uniform"/>
                <a:ea typeface="Uniform"/>
                <a:cs typeface="Uniform"/>
                <a:sym typeface="Uniform"/>
              </a:defRPr>
            </a:pPr>
            <a:r>
              <a:rPr lang="en-US" sz="1050" kern="0" dirty="0">
                <a:solidFill>
                  <a:srgbClr val="5C5C5C"/>
                </a:solidFill>
                <a:latin typeface="Uniform"/>
                <a:sym typeface="Uniform"/>
              </a:rPr>
              <a:t>- 5</a:t>
            </a:r>
            <a:r>
              <a:rPr lang="sl-SI" sz="1050" kern="0" dirty="0">
                <a:solidFill>
                  <a:srgbClr val="5C5C5C"/>
                </a:solidFill>
                <a:sym typeface="Uniform"/>
              </a:rPr>
              <a:t> investors</a:t>
            </a:r>
            <a:r>
              <a:rPr lang="en-US" sz="1050" kern="0" dirty="0">
                <a:solidFill>
                  <a:srgbClr val="5C5C5C"/>
                </a:solidFill>
                <a:latin typeface="Uniform"/>
                <a:sym typeface="Uniform"/>
              </a:rPr>
              <a:t> </a:t>
            </a:r>
            <a:r>
              <a:rPr lang="sl-SI" sz="1050" kern="0" dirty="0">
                <a:solidFill>
                  <a:srgbClr val="5C5C5C"/>
                </a:solidFill>
                <a:sym typeface="Uniform"/>
              </a:rPr>
              <a:t>conferences</a:t>
            </a:r>
            <a:endParaRPr lang="en-US" sz="1050" kern="0" dirty="0">
              <a:solidFill>
                <a:srgbClr val="5C5C5C"/>
              </a:solidFill>
              <a:latin typeface="Uniform"/>
              <a:sym typeface="Uniform"/>
            </a:endParaRPr>
          </a:p>
          <a:p>
            <a:pPr defTabSz="554805" hangingPunct="0">
              <a:defRPr sz="2100">
                <a:solidFill>
                  <a:srgbClr val="5C5C5C"/>
                </a:solidFill>
                <a:latin typeface="Uniform"/>
                <a:ea typeface="Uniform"/>
                <a:cs typeface="Uniform"/>
                <a:sym typeface="Uniform"/>
              </a:defRPr>
            </a:pPr>
            <a:r>
              <a:rPr lang="en-US" sz="1050" kern="0" dirty="0">
                <a:solidFill>
                  <a:srgbClr val="5C5C5C"/>
                </a:solidFill>
                <a:latin typeface="Uniform"/>
                <a:sym typeface="Uniform"/>
              </a:rPr>
              <a:t>- 4 roadshows</a:t>
            </a:r>
            <a:endParaRPr lang="sl-SI" sz="1050" kern="0" dirty="0">
              <a:solidFill>
                <a:srgbClr val="5C5C5C"/>
              </a:solidFill>
              <a:sym typeface="Uniform"/>
            </a:endParaRPr>
          </a:p>
        </p:txBody>
      </p:sp>
    </p:spTree>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02.xml><?xml version="1.0" encoding="utf-8"?>
<p:tagLst xmlns:a="http://schemas.openxmlformats.org/drawingml/2006/main" xmlns:r="http://schemas.openxmlformats.org/officeDocument/2006/relationships" xmlns:p="http://schemas.openxmlformats.org/presentationml/2006/main">
  <p:tag name="MIO_GUID" val="b20c709f-ef0b-4800-8bc3-b9a75cd66f9b"/>
  <p:tag name="MIO_EKGUID" val="45c184f3-d6c6-45c1-93b2-35f5a97b5b50"/>
  <p:tag name="MIO_UPDATE" val="True"/>
  <p:tag name="MIO_VERSION" val="30.03.2021 09:51:19"/>
  <p:tag name="MIO_DBID" val="0F45B44C-9BC7-4D85-81C4-7155EE70A7B9"/>
  <p:tag name="MIO_LASTDOWNLOADED" val="30.09.2021 14:27:46.423"/>
  <p:tag name="MIO_OBJECTNAME" val="Name of Chapter in second line (2)"/>
  <p:tag name="MIO_LASTEDITORNAME" val="Stephan Grambach"/>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05.xml><?xml version="1.0" encoding="utf-8"?>
<p:tagLst xmlns:a="http://schemas.openxmlformats.org/drawingml/2006/main" xmlns:r="http://schemas.openxmlformats.org/officeDocument/2006/relationships" xmlns:p="http://schemas.openxmlformats.org/presentationml/2006/main">
  <p:tag name="MIO_GUID" val="b20c709f-ef0b-4800-8bc3-b9a75cd66f9b"/>
  <p:tag name="MIO_EKGUID" val="45c184f3-d6c6-45c1-93b2-35f5a97b5b50"/>
  <p:tag name="MIO_UPDATE" val="True"/>
  <p:tag name="MIO_VERSION" val="30.03.2021 09:51:19"/>
  <p:tag name="MIO_DBID" val="0F45B44C-9BC7-4D85-81C4-7155EE70A7B9"/>
  <p:tag name="MIO_LASTDOWNLOADED" val="30.09.2021 14:27:46.423"/>
  <p:tag name="MIO_OBJECTNAME" val="Name of Chapter in second line (2)"/>
  <p:tag name="MIO_LASTEDITORNAME" val="Stephan Grambach"/>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VZ0.sUiJVthkTkHyBx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IO_FALLBACK_LAYOUT" val="21"/>
  <p:tag name="MIO_SHOW_DATE" val="True"/>
  <p:tag name="MIO_SHOW_FOOTER" val="True"/>
  <p:tag name="MIO_SHOW_PAGENUMBER" val="True"/>
  <p:tag name="MIO_AVOID_BLANK_LAYOUT" val="True"/>
  <p:tag name="MIO_CD_LAYOUT_VALID_AREA" val="False"/>
  <p:tag name="MIO_NUMBER_OF_VALID_LAYOUTS" val="36"/>
  <p:tag name="MIO_HDS" val="True"/>
  <p:tag name="MIO_SKIPVERSION" val="01.01.0001 00:00:00"/>
  <p:tag name="MIO_EKGUID" val="c65902dc-e053-4881-b73f-33b075c5b3a5"/>
  <p:tag name="MIO_UPDATE" val="True"/>
  <p:tag name="MIO_VERSION" val="27.05.2021 09:14:37"/>
  <p:tag name="MIO_DBID" val="0F45B44C-9BC7-4D85-81C4-7155EE70A7B9"/>
  <p:tag name="MIO_LASTDOWNLOADED" val="26.01.2022 17:25:52.827"/>
  <p:tag name="MIO_OBJECTNAME" val="Clearstream"/>
  <p:tag name="MIO_CDID" val="b581ecfa-a3b5-4558-9b02-8db253accba1"/>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TVZ0.sUiJVthkTkHyBxyxw"/>
</p:tagLst>
</file>

<file path=ppt/tags/tag43.xml><?xml version="1.0" encoding="utf-8"?>
<p:tagLst xmlns:a="http://schemas.openxmlformats.org/drawingml/2006/main" xmlns:r="http://schemas.openxmlformats.org/officeDocument/2006/relationships" xmlns:p="http://schemas.openxmlformats.org/presentationml/2006/main">
  <p:tag name="MIO_FALLBACK_LAYOUT" val="21"/>
  <p:tag name="MIO_SHOW_DATE" val="True"/>
  <p:tag name="MIO_SHOW_FOOTER" val="True"/>
  <p:tag name="MIO_SHOW_PAGENUMBER" val="True"/>
  <p:tag name="MIO_AVOID_BLANK_LAYOUT" val="True"/>
  <p:tag name="MIO_CD_LAYOUT_VALID_AREA" val="False"/>
  <p:tag name="MIO_NUMBER_OF_VALID_LAYOUTS" val="36"/>
  <p:tag name="MIO_HDS" val="True"/>
  <p:tag name="MIO_SKIPVERSION" val="01.01.0001 00:00:00"/>
  <p:tag name="MIO_EKGUID" val="c65902dc-e053-4881-b73f-33b075c5b3a5"/>
  <p:tag name="MIO_UPDATE" val="True"/>
  <p:tag name="MIO_VERSION" val="27.05.2021 09:14:37"/>
  <p:tag name="MIO_DBID" val="0F45B44C-9BC7-4D85-81C4-7155EE70A7B9"/>
  <p:tag name="MIO_LASTDOWNLOADED" val="26.01.2022 17:25:52.827"/>
  <p:tag name="MIO_OBJECTNAME" val="Clearstream"/>
  <p:tag name="MIO_CDID" val="b581ecfa-a3b5-4558-9b02-8db253accba1"/>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MIO_GUID" val="8fc0a0c6-089c-423e-8dea-355e8f63b869"/>
  <p:tag name="MIO_EKGUID" val="b141f07c-c4c5-497e-bd0f-8baffecfa9ac"/>
  <p:tag name="MIO_UPDATE" val="True"/>
  <p:tag name="MIO_VERSION" val="01.12.2022 09:41:37"/>
  <p:tag name="MIO_DBID" val="0F45B44C-9BC7-4D85-81C4-7155EE70A7B9"/>
  <p:tag name="MIO_LASTDOWNLOADED" val="31.05.2023 12:01:30.607"/>
  <p:tag name="MIO_OBJECTNAME" val="Key figures"/>
  <p:tag name="MIO_LASTEDITORNAME" val="Valerie de Jon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xml><?xml version="1.0" encoding="utf-8"?>
<p:tagLst xmlns:a="http://schemas.openxmlformats.org/drawingml/2006/main" xmlns:r="http://schemas.openxmlformats.org/officeDocument/2006/relationships" xmlns:p="http://schemas.openxmlformats.org/presentationml/2006/main">
  <p:tag name="MIO_EKGUID" val="89626ef0-3055-4f6c-8283-b069c68896e9"/>
  <p:tag name="MIO_GUID" val="35075fb0-c139-4ffb-b01b-749d6700788b"/>
  <p:tag name="MIO_UPDATE" val="True"/>
  <p:tag name="MIO_VERSION" val="30.03.2021 13:23:05"/>
  <p:tag name="MIO_DBID" val="0F45B44C-9BC7-4D85-81C4-7155EE70A7B9"/>
  <p:tag name="MIO_LASTDOWNLOADED" val="06.09.2022 15:10:15.156"/>
  <p:tag name="MIO_OBJECTNAME" val="Globe"/>
  <p:tag name="MIO_LASTEDITORNAME" val="Stephan Grambach"/>
</p:tagLst>
</file>

<file path=ppt/tags/tag82.xml><?xml version="1.0" encoding="utf-8"?>
<p:tagLst xmlns:a="http://schemas.openxmlformats.org/drawingml/2006/main" xmlns:r="http://schemas.openxmlformats.org/officeDocument/2006/relationships" xmlns:p="http://schemas.openxmlformats.org/presentationml/2006/main">
  <p:tag name="MIO_EKGUID" val="80baeef3-05e1-4f7d-aac8-7f4a5c024ab8"/>
  <p:tag name="MIO_GUID" val="fe0fc9f9-a40e-4775-aefe-d149009b738c"/>
  <p:tag name="MIO_UPDATE" val="True"/>
  <p:tag name="MIO_VERSION" val="30.03.2021 13:03:03"/>
  <p:tag name="MIO_DBID" val="0F45B44C-9BC7-4D85-81C4-7155EE70A7B9"/>
  <p:tag name="MIO_LASTDOWNLOADED" val="06.09.2022 17:29:52.704"/>
  <p:tag name="MIO_OBJECTNAME" val="Trend"/>
  <p:tag name="MIO_LASTEDITORNAME" val="Stephan Grambach"/>
</p:tagLst>
</file>

<file path=ppt/tags/tag83.xml><?xml version="1.0" encoding="utf-8"?>
<p:tagLst xmlns:a="http://schemas.openxmlformats.org/drawingml/2006/main" xmlns:r="http://schemas.openxmlformats.org/officeDocument/2006/relationships" xmlns:p="http://schemas.openxmlformats.org/presentationml/2006/main">
  <p:tag name="MIO_EKGUID" val="119ed80d-4c5b-4675-891a-9dbbd7fd52c1"/>
  <p:tag name="MIO_GUID" val="19310455-67eb-4004-935b-36ffc8cf25e6"/>
  <p:tag name="MIO_UPDATE" val="True"/>
  <p:tag name="MIO_VERSION" val="30.03.2021 13:13:25"/>
  <p:tag name="MIO_DBID" val="0F45B44C-9BC7-4D85-81C4-7155EE70A7B9"/>
  <p:tag name="MIO_LASTDOWNLOADED" val="27.09.2022 15:06:57.628"/>
  <p:tag name="MIO_OBJECTNAME" val="Three-People-Heart"/>
  <p:tag name="MIO_LASTEDITORNAME" val="Stephan Grambach"/>
</p:tagLst>
</file>

<file path=ppt/tags/tag84.xml><?xml version="1.0" encoding="utf-8"?>
<p:tagLst xmlns:a="http://schemas.openxmlformats.org/drawingml/2006/main" xmlns:r="http://schemas.openxmlformats.org/officeDocument/2006/relationships" xmlns:p="http://schemas.openxmlformats.org/presentationml/2006/main">
  <p:tag name="MIO_GUID" val="bba660a6-307a-428a-a647-a2b0eb62f7be"/>
  <p:tag name="MIO_EKGUID" val="062c3972-fec4-400e-a512-b1534d8bc0e3"/>
  <p:tag name="MIO_UPDATE" val="True"/>
  <p:tag name="MIO_VERSION" val="14.03.2024 11:45:00"/>
  <p:tag name="MIO_DBID" val="0f45b44c-9bc7-4d85-81c4-7155ee70a7b9"/>
  <p:tag name="MIO_LASTDOWNLOADED" val="14.03.2024 12:48:46"/>
  <p:tag name="MIO_OBJECTNAME" val="What is post-trading about?"/>
  <p:tag name="MIO_LASTEDITORNAME" val="Valerie de Jong"/>
</p:tagLst>
</file>

<file path=ppt/tags/tag85.xml><?xml version="1.0" encoding="utf-8"?>
<p:tagLst xmlns:a="http://schemas.openxmlformats.org/drawingml/2006/main" xmlns:r="http://schemas.openxmlformats.org/officeDocument/2006/relationships" xmlns:p="http://schemas.openxmlformats.org/presentationml/2006/main">
  <p:tag name="MIO_GUID" val="fa9b309f-6fac-4ad6-b210-4940f0079289"/>
  <p:tag name="MIO_EKGUID" val="73b00892-81b6-4b3b-ad2b-14ae741c2b67"/>
  <p:tag name="MIO_UPDATE" val="True"/>
  <p:tag name="MIO_VERSION" val="08.05.2023 09:44:30"/>
  <p:tag name="MIO_DBID" val="0F45B44C-9BC7-4D85-81C4-7155EE70A7B9"/>
  <p:tag name="MIO_LASTDOWNLOADED" val="31.05.2023 12:01:51.326"/>
  <p:tag name="MIO_OBJECTNAME" val="On the basis of five unique capabilities, Clearstream creates tangible client value"/>
  <p:tag name="MIO_LASTEDITORNAME" val="Valerie de Jo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MIO_GUID" val="5e622335-791b-4d40-8e5c-85cf8163304a"/>
  <p:tag name="MIO_EKGUID" val="d45546e2-5e9d-48eb-922f-771e2e0bab9d"/>
  <p:tag name="MIO_UPDATE" val="True"/>
  <p:tag name="MIO_VERSION" val="17.01.2022 15:47:03"/>
  <p:tag name="MIO_DBID" val="0F45B44C-9BC7-4D85-81C4-7155EE70A7B9"/>
  <p:tag name="MIO_LASTDOWNLOADED" val="08.02.2022 18:43:31.179"/>
  <p:tag name="MIO_OBJECTNAME" val="304 Market Reach"/>
  <p:tag name="MIO_LASTEDITORNAME" val="Manuel Brinkmann"/>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MIO_EKGUID" val="62d5d4a5-4aaf-4f77-8917-cc26dfebd439"/>
  <p:tag name="MIO_GUID" val="67eb2779-a932-4505-8646-0652721993df"/>
  <p:tag name="MIO_UPDATE" val="True"/>
  <p:tag name="MIO_VERSION" val="30.03.2021 13:14:19"/>
  <p:tag name="MIO_DBID" val="0F45B44C-9BC7-4D85-81C4-7155EE70A7B9"/>
  <p:tag name="MIO_LASTDOWNLOADED" val="05.07.2021 17:01:42.289"/>
  <p:tag name="MIO_OBJECTNAME" val="Emoji-Emotionless-Questionaire"/>
  <p:tag name="MIO_LASTEDITORNAME" val="Stephan Grambach"/>
</p:tagLst>
</file>

<file path=ppt/tags/tag91.xml><?xml version="1.0" encoding="utf-8"?>
<p:tagLst xmlns:a="http://schemas.openxmlformats.org/drawingml/2006/main" xmlns:r="http://schemas.openxmlformats.org/officeDocument/2006/relationships" xmlns:p="http://schemas.openxmlformats.org/presentationml/2006/main">
  <p:tag name="MIO_EKGUID" val="90a0db19-7d8b-49f0-a7ae-6bf1640981b8"/>
  <p:tag name="MIO_GUID" val="c2de5adb-92f7-45db-bd43-398ddf402a80"/>
  <p:tag name="MIO_UPDATE" val="True"/>
  <p:tag name="MIO_VERSION" val="30.03.2021 13:14:15"/>
  <p:tag name="MIO_DBID" val="0F45B44C-9BC7-4D85-81C4-7155EE70A7B9"/>
  <p:tag name="MIO_LASTDOWNLOADED" val="05.07.2021 17:01:42.344"/>
  <p:tag name="MIO_OBJECTNAME" val="Check"/>
  <p:tag name="MIO_LASTEDITORNAME" val="Stephan Grambach"/>
</p:tagLst>
</file>

<file path=ppt/tags/tag9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9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94.xml><?xml version="1.0" encoding="utf-8"?>
<p:tagLst xmlns:a="http://schemas.openxmlformats.org/drawingml/2006/main" xmlns:r="http://schemas.openxmlformats.org/officeDocument/2006/relationships" xmlns:p="http://schemas.openxmlformats.org/presentationml/2006/main">
  <p:tag name="MIO_GUID" val="b20c709f-ef0b-4800-8bc3-b9a75cd66f9b"/>
  <p:tag name="MIO_EKGUID" val="45c184f3-d6c6-45c1-93b2-35f5a97b5b50"/>
  <p:tag name="MIO_UPDATE" val="True"/>
  <p:tag name="MIO_VERSION" val="30.03.2021 09:51:19"/>
  <p:tag name="MIO_DBID" val="0F45B44C-9BC7-4D85-81C4-7155EE70A7B9"/>
  <p:tag name="MIO_LASTDOWNLOADED" val="30.09.2021 14:27:46.423"/>
  <p:tag name="MIO_OBJECTNAME" val="Name of Chapter in second line (2)"/>
  <p:tag name="MIO_LASTEDITORNAME" val="Stephan Grambach"/>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MIO_GUID" val="b20c709f-ef0b-4800-8bc3-b9a75cd66f9b"/>
  <p:tag name="MIO_EKGUID" val="45c184f3-d6c6-45c1-93b2-35f5a97b5b50"/>
  <p:tag name="MIO_UPDATE" val="True"/>
  <p:tag name="MIO_VERSION" val="30.03.2021 09:51:19"/>
  <p:tag name="MIO_DBID" val="0F45B44C-9BC7-4D85-81C4-7155EE70A7B9"/>
  <p:tag name="MIO_LASTDOWNLOADED" val="30.09.2021 14:27:46.423"/>
  <p:tag name="MIO_OBJECTNAME" val="Name of Chapter in second line (2)"/>
  <p:tag name="MIO_LASTEDITORNAME" val="Stephan Grambach"/>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99.xml><?xml version="1.0" encoding="utf-8"?>
<p:tagLst xmlns:a="http://schemas.openxmlformats.org/drawingml/2006/main" xmlns:r="http://schemas.openxmlformats.org/officeDocument/2006/relationships" xmlns:p="http://schemas.openxmlformats.org/presentationml/2006/main">
  <p:tag name="MIO_GUID" val="b20c709f-ef0b-4800-8bc3-b9a75cd66f9b"/>
  <p:tag name="MIO_EKGUID" val="45c184f3-d6c6-45c1-93b2-35f5a97b5b50"/>
  <p:tag name="MIO_UPDATE" val="True"/>
  <p:tag name="MIO_VERSION" val="30.03.2021 09:51:19"/>
  <p:tag name="MIO_DBID" val="0F45B44C-9BC7-4D85-81C4-7155EE70A7B9"/>
  <p:tag name="MIO_LASTDOWNLOADED" val="30.09.2021 14:27:46.423"/>
  <p:tag name="MIO_OBJECTNAME" val="Name of Chapter in second line (2)"/>
  <p:tag name="MIO_LASTEDITORNAME" val="Stephan Grambach"/>
</p:tagLst>
</file>

<file path=ppt/theme/theme1.xml><?xml version="1.0" encoding="utf-8"?>
<a:theme xmlns:a="http://schemas.openxmlformats.org/drawingml/2006/main" name="Office Theme">
  <a:themeElements>
    <a:clrScheme name="BSE Theme Colors">
      <a:dk1>
        <a:sysClr val="windowText" lastClr="000000"/>
      </a:dk1>
      <a:lt1>
        <a:sysClr val="window" lastClr="FFFFFF"/>
      </a:lt1>
      <a:dk2>
        <a:srgbClr val="44546A"/>
      </a:dk2>
      <a:lt2>
        <a:srgbClr val="E7E6E6"/>
      </a:lt2>
      <a:accent1>
        <a:srgbClr val="060366"/>
      </a:accent1>
      <a:accent2>
        <a:srgbClr val="0437AA"/>
      </a:accent2>
      <a:accent3>
        <a:srgbClr val="7BB1FF"/>
      </a:accent3>
      <a:accent4>
        <a:srgbClr val="A9C2E5"/>
      </a:accent4>
      <a:accent5>
        <a:srgbClr val="FF27FF"/>
      </a:accent5>
      <a:accent6>
        <a:srgbClr val="00FCCC"/>
      </a:accent6>
      <a:hlink>
        <a:srgbClr val="0563C1"/>
      </a:hlink>
      <a:folHlink>
        <a:srgbClr val="ECB65A"/>
      </a:folHlink>
    </a:clrScheme>
    <a:fontScheme name="BSE Fonts Set">
      <a:majorFont>
        <a:latin typeface="Nexa Extra Bold"/>
        <a:ea typeface=""/>
        <a:cs typeface=""/>
      </a:majorFont>
      <a:minorFont>
        <a:latin typeface="Nexa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Theme">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Office Theme">
      <a:majorFont>
        <a:latin typeface="Helvetica Neue"/>
        <a:ea typeface="Helvetica Neue"/>
        <a:cs typeface="Helvetica Neue"/>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35000"/>
              </a:srgbClr>
            </a:outerShdw>
          </a:effectLst>
        </a:effectStyle>
        <a:effectStyle>
          <a:effectLst>
            <a:outerShdw blurRad="38100" dist="25400" dir="5400000" rotWithShape="0">
              <a:srgbClr val="000000">
                <a:alpha val="35000"/>
              </a:srgbClr>
            </a:outerShdw>
          </a:effectLst>
        </a:effectStyle>
        <a:effectStyle>
          <a:effectLst>
            <a:outerShdw blurRad="38100" dist="25400" dir="5400000" rotWithShape="0">
              <a:srgbClr val="000000">
                <a:alpha val="35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5400" dir="5400000" rotWithShape="0">
            <a:srgbClr val="000000">
              <a:alpha val="35000"/>
            </a:srgbClr>
          </a:outerShdw>
        </a:effectLst>
        <a:sp3d/>
      </a:spPr>
      <a:bodyPr rot="0" spcFirstLastPara="1" vertOverflow="overflow" horzOverflow="overflow" vert="horz" wrap="square" lIns="55452" tIns="55452" rIns="55452" bIns="55452" numCol="1" spcCol="38100" rtlCol="0" anchor="ctr">
        <a:spAutoFit/>
      </a:bodyPr>
      <a:lstStyle>
        <a:defPPr marL="0" marR="0" indent="0" algn="l" defTabSz="1109609" rtl="0" fontAlgn="auto" latinLnBrk="0" hangingPunct="0">
          <a:lnSpc>
            <a:spcPct val="100000"/>
          </a:lnSpc>
          <a:spcBef>
            <a:spcPts val="0"/>
          </a:spcBef>
          <a:spcAft>
            <a:spcPts val="0"/>
          </a:spcAft>
          <a:buClrTx/>
          <a:buSzTx/>
          <a:buFontTx/>
          <a:buNone/>
          <a:tabLst/>
          <a:defRPr kumimoji="0" sz="2000" b="0" i="0" u="none" strike="noStrike" cap="none" spc="0" normalizeH="0" baseline="0">
            <a:ln>
              <a:noFill/>
            </a:ln>
            <a:solidFill>
              <a:srgbClr val="000000"/>
            </a:solidFill>
            <a:effectLst/>
            <a:uFillTx/>
            <a:latin typeface="+mj-lt"/>
            <a:ea typeface="+mj-ea"/>
            <a:cs typeface="+mj-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5400" dir="5400000" rotWithShape="0">
            <a:srgbClr val="000000">
              <a:alpha val="35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5452" tIns="55452" rIns="55452" bIns="55452" numCol="1" spcCol="38100" rtlCol="0" anchor="t">
        <a:spAutoFit/>
      </a:bodyPr>
      <a:lstStyle>
        <a:defPPr marL="0" marR="0" indent="0" algn="l" defTabSz="1109609" rtl="0" fontAlgn="auto" latinLnBrk="0" hangingPunct="0">
          <a:lnSpc>
            <a:spcPct val="100000"/>
          </a:lnSpc>
          <a:spcBef>
            <a:spcPts val="0"/>
          </a:spcBef>
          <a:spcAft>
            <a:spcPts val="0"/>
          </a:spcAft>
          <a:buClrTx/>
          <a:buSzTx/>
          <a:buFontTx/>
          <a:buNone/>
          <a:tabLst/>
          <a:defRPr kumimoji="0" sz="2000" b="0" i="0" u="none" strike="noStrike" cap="none" spc="0" normalizeH="0" baseline="0">
            <a:ln>
              <a:noFill/>
            </a:ln>
            <a:solidFill>
              <a:srgbClr val="000000"/>
            </a:solidFill>
            <a:effectLst/>
            <a:uFillTx/>
            <a:latin typeface="+mj-lt"/>
            <a:ea typeface="+mj-ea"/>
            <a:cs typeface="+mj-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Clearstream">
  <a:themeElements>
    <a:clrScheme name="Clearstream">
      <a:dk1>
        <a:srgbClr val="666666"/>
      </a:dk1>
      <a:lt1>
        <a:srgbClr val="FFFFFF"/>
      </a:lt1>
      <a:dk2>
        <a:srgbClr val="878787"/>
      </a:dk2>
      <a:lt2>
        <a:srgbClr val="E3E3E3"/>
      </a:lt2>
      <a:accent1>
        <a:srgbClr val="00A5C0"/>
      </a:accent1>
      <a:accent2>
        <a:srgbClr val="77B700"/>
      </a:accent2>
      <a:accent3>
        <a:srgbClr val="686C6E"/>
      </a:accent3>
      <a:accent4>
        <a:srgbClr val="000099"/>
      </a:accent4>
      <a:accent5>
        <a:srgbClr val="BF2296"/>
      </a:accent5>
      <a:accent6>
        <a:srgbClr val="FF6600"/>
      </a:accent6>
      <a:hlink>
        <a:srgbClr val="00A5C0"/>
      </a:hlink>
      <a:folHlink>
        <a:srgbClr val="00A5C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a:solidFill>
            <a:schemeClr val="tx1"/>
          </a:solidFill>
        </a:ln>
      </a:spPr>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defPPr algn="ctr">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0" indent="0" algn="l">
          <a:spcAft>
            <a:spcPts val="600"/>
          </a:spcAft>
          <a:buFontTx/>
          <a:buNone/>
          <a:defRPr sz="1600" dirty="0" err="1"/>
        </a:defPPr>
      </a:lstStyle>
    </a:txDef>
  </a:objectDefaults>
  <a:extraClrSchemeLst/>
  <a:custClrLst>
    <a:custClr name="Black 80%">
      <a:srgbClr val="5A5A5A"/>
    </a:custClr>
    <a:custClr name="Black 30%">
      <a:srgbClr val="C8C8C8"/>
    </a:custClr>
    <a:custClr name="Yellow">
      <a:srgbClr val="FFCC00"/>
    </a:custClr>
    <a:custClr name="Green">
      <a:srgbClr val="00C78B"/>
    </a:custClr>
    <a:custClr name="Violette">
      <a:srgbClr val="5F3799"/>
    </a:custClr>
    <a:custClr name="Red">
      <a:srgbClr val="E00034"/>
    </a:custClr>
  </a:custClrLst>
  <a:extLst>
    <a:ext uri="{05A4C25C-085E-4340-85A3-A5531E510DB2}">
      <thm15:themeFamily xmlns:thm15="http://schemas.microsoft.com/office/thememl/2012/main" name="K16_Deutsche_Boerse_Group_Master_empower_final.potx" id="{EF0194E1-8EED-4DF6-884D-9D670CF467FF}" vid="{7F7F911C-BBF2-404A-BEB8-2674AAA25836}"/>
    </a:ext>
  </a:extLst>
</a:theme>
</file>

<file path=ppt/theme/theme4.xml><?xml version="1.0" encoding="utf-8"?>
<a:theme xmlns:a="http://schemas.openxmlformats.org/drawingml/2006/main" name="2_Clearstream">
  <a:themeElements>
    <a:clrScheme name="Clearstream">
      <a:dk1>
        <a:srgbClr val="666666"/>
      </a:dk1>
      <a:lt1>
        <a:srgbClr val="FFFFFF"/>
      </a:lt1>
      <a:dk2>
        <a:srgbClr val="878787"/>
      </a:dk2>
      <a:lt2>
        <a:srgbClr val="E3E3E3"/>
      </a:lt2>
      <a:accent1>
        <a:srgbClr val="00A5C0"/>
      </a:accent1>
      <a:accent2>
        <a:srgbClr val="77B700"/>
      </a:accent2>
      <a:accent3>
        <a:srgbClr val="686C6E"/>
      </a:accent3>
      <a:accent4>
        <a:srgbClr val="000099"/>
      </a:accent4>
      <a:accent5>
        <a:srgbClr val="BF2296"/>
      </a:accent5>
      <a:accent6>
        <a:srgbClr val="FF6600"/>
      </a:accent6>
      <a:hlink>
        <a:srgbClr val="00A5C0"/>
      </a:hlink>
      <a:folHlink>
        <a:srgbClr val="00A5C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a:solidFill>
            <a:schemeClr val="tx1"/>
          </a:solidFill>
        </a:ln>
      </a:spPr>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defPPr algn="ctr">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0" indent="0" algn="l">
          <a:spcAft>
            <a:spcPts val="600"/>
          </a:spcAft>
          <a:buFontTx/>
          <a:buNone/>
          <a:defRPr sz="1600" dirty="0" err="1"/>
        </a:defPPr>
      </a:lstStyle>
    </a:txDef>
  </a:objectDefaults>
  <a:extraClrSchemeLst/>
  <a:custClrLst>
    <a:custClr name="Black 80%">
      <a:srgbClr val="5A5A5A"/>
    </a:custClr>
    <a:custClr name="Black 30%">
      <a:srgbClr val="C8C8C8"/>
    </a:custClr>
    <a:custClr name="Yellow">
      <a:srgbClr val="FFCC00"/>
    </a:custClr>
    <a:custClr name="Green">
      <a:srgbClr val="00C78B"/>
    </a:custClr>
    <a:custClr name="Violette">
      <a:srgbClr val="5F3799"/>
    </a:custClr>
    <a:custClr name="Red">
      <a:srgbClr val="E00034"/>
    </a:custClr>
  </a:custClrLst>
  <a:extLst>
    <a:ext uri="{05A4C25C-085E-4340-85A3-A5531E510DB2}">
      <thm15:themeFamily xmlns:thm15="http://schemas.microsoft.com/office/thememl/2012/main" name="K16_Deutsche_Boerse_Group_Master_empower_final.potx" id="{EF0194E1-8EED-4DF6-884D-9D670CF467FF}" vid="{7F7F911C-BBF2-404A-BEB8-2674AAA25836}"/>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2007 - 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007 - 2010">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 - 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7785</TotalTime>
  <Words>6895</Words>
  <Application>Microsoft Macintosh PowerPoint</Application>
  <PresentationFormat>Widescreen</PresentationFormat>
  <Paragraphs>779</Paragraphs>
  <Slides>103</Slides>
  <Notes>21</Notes>
  <HiddenSlides>0</HiddenSlides>
  <MMClips>0</MMClips>
  <ScaleCrop>false</ScaleCrop>
  <HeadingPairs>
    <vt:vector size="8" baseType="variant">
      <vt:variant>
        <vt:lpstr>Fonts Used</vt:lpstr>
      </vt:variant>
      <vt:variant>
        <vt:i4>21</vt:i4>
      </vt:variant>
      <vt:variant>
        <vt:lpstr>Theme</vt:lpstr>
      </vt:variant>
      <vt:variant>
        <vt:i4>4</vt:i4>
      </vt:variant>
      <vt:variant>
        <vt:lpstr>Embedded OLE Servers</vt:lpstr>
      </vt:variant>
      <vt:variant>
        <vt:i4>2</vt:i4>
      </vt:variant>
      <vt:variant>
        <vt:lpstr>Slide Titles</vt:lpstr>
      </vt:variant>
      <vt:variant>
        <vt:i4>103</vt:i4>
      </vt:variant>
    </vt:vector>
  </HeadingPairs>
  <TitlesOfParts>
    <vt:vector size="130" baseType="lpstr">
      <vt:lpstr>Arial</vt:lpstr>
      <vt:lpstr>Montserrat ExtraBold</vt:lpstr>
      <vt:lpstr>Nexa Book</vt:lpstr>
      <vt:lpstr>Montserrat Black</vt:lpstr>
      <vt:lpstr>System Font Regular</vt:lpstr>
      <vt:lpstr>Uniform-Medium</vt:lpstr>
      <vt:lpstr>Trebuchet MS</vt:lpstr>
      <vt:lpstr>Montserrat SemiBold</vt:lpstr>
      <vt:lpstr>Bebas Neue Bold</vt:lpstr>
      <vt:lpstr>newsGothic_light</vt:lpstr>
      <vt:lpstr>Bebas Neue Book</vt:lpstr>
      <vt:lpstr>Calibri</vt:lpstr>
      <vt:lpstr>Montserrat</vt:lpstr>
      <vt:lpstr>Nexa Extra Bold Italic</vt:lpstr>
      <vt:lpstr>Helvetica Neue</vt:lpstr>
      <vt:lpstr>Wingdings</vt:lpstr>
      <vt:lpstr>Uniform-Black</vt:lpstr>
      <vt:lpstr>Uniform</vt:lpstr>
      <vt:lpstr>Nexa Extra Bold</vt:lpstr>
      <vt:lpstr>Roboto</vt:lpstr>
      <vt:lpstr>Helvetica</vt:lpstr>
      <vt:lpstr>Office Theme</vt:lpstr>
      <vt:lpstr>1_Office Theme</vt:lpstr>
      <vt:lpstr>Clearstream</vt:lpstr>
      <vt:lpstr>2_Clearstream</vt:lpstr>
      <vt:lpstr>think-cell Slide</vt:lpstr>
      <vt:lpstr>think-cell Folie</vt:lpstr>
      <vt:lpstr>PowerPoint Presentation</vt:lpstr>
      <vt:lpstr>Boyko Atanasov</vt:lpstr>
      <vt:lpstr>Manyu Moravenov</vt:lpstr>
      <vt:lpstr>PowerPoint Presentation</vt:lpstr>
      <vt:lpstr>BSE Trading data </vt:lpstr>
      <vt:lpstr>BSE Trading data </vt:lpstr>
      <vt:lpstr>Investor data </vt:lpstr>
      <vt:lpstr>BSE Projects &amp; Initiatives </vt:lpstr>
      <vt:lpstr> beamUpLab - Companies</vt:lpstr>
      <vt:lpstr> beam - Success stories</vt:lpstr>
      <vt:lpstr>Green Finance &amp; Energy Centre - Participants</vt:lpstr>
      <vt:lpstr>Green Finance &amp; Energy Centre - Activity of the Centre</vt:lpstr>
      <vt:lpstr>Variety of Tools</vt:lpstr>
      <vt:lpstr>BSE Approach to Sustainability</vt:lpstr>
      <vt:lpstr>Deutsche Börse &amp; BSE</vt:lpstr>
      <vt:lpstr>More than 15 years successful cooperation (1/2)</vt:lpstr>
      <vt:lpstr>More than 15 years successful cooperation (2/2)</vt:lpstr>
      <vt:lpstr>EuroBridge Market (1/2)</vt:lpstr>
      <vt:lpstr>Key benefits</vt:lpstr>
      <vt:lpstr>Michael Ri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aphael Sülz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Krasimira Rayanova</vt:lpstr>
      <vt:lpstr> We at Group Deutsche Börse create trust  in the markets of today and tomorrow</vt:lpstr>
      <vt:lpstr>  Group Deutsche Börse – Products and Services</vt:lpstr>
      <vt:lpstr>The infrastructure of the securites business  </vt:lpstr>
      <vt:lpstr>PowerPoint Presentation</vt:lpstr>
      <vt:lpstr>PowerPoint Presentation</vt:lpstr>
      <vt:lpstr>Clearstream Key Figures</vt:lpstr>
      <vt:lpstr>What is post-trading about? </vt:lpstr>
      <vt:lpstr>On the basis of five unique capabilities, Clearstream creates tangible client value</vt:lpstr>
      <vt:lpstr>Market coverage Our Custody Solution across Europe and beyond</vt:lpstr>
      <vt:lpstr>European Post-Trade Landscape Generic Clearstream model and value proposition for Europe</vt:lpstr>
      <vt:lpstr>PowerPoint Presentation</vt:lpstr>
      <vt:lpstr>PowerPoint Presentation</vt:lpstr>
      <vt:lpstr>QUIZ</vt:lpstr>
      <vt:lpstr>PowerPoint Presentation</vt:lpstr>
      <vt:lpstr>PowerPoint Presentation</vt:lpstr>
      <vt:lpstr>PowerPoint Presentation</vt:lpstr>
      <vt:lpstr>PowerPoint Presentation</vt:lpstr>
      <vt:lpstr>Maria Filipov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olfgang Kirsch</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lgarian Stock Exchange</dc:title>
  <dc:creator>Сервиз Финансови Пазари</dc:creator>
  <cp:lastModifiedBy>Microsoft Office User</cp:lastModifiedBy>
  <cp:revision>322</cp:revision>
  <dcterms:created xsi:type="dcterms:W3CDTF">2022-01-28T12:41:05Z</dcterms:created>
  <dcterms:modified xsi:type="dcterms:W3CDTF">2024-04-10T14:41:52Z</dcterms:modified>
</cp:coreProperties>
</file>